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ppt/tags/tag7.xml" ContentType="application/vnd.openxmlformats-officedocument.presentationml.tags+xml"/>
  <Override PartName="/ppt/theme/themeOverride3.xml" ContentType="application/vnd.openxmlformats-officedocument.themeOverride+xml"/>
  <Override PartName="/ppt/tags/tag8.xml" ContentType="application/vnd.openxmlformats-officedocument.presentationml.tags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ags/tag9.xml" ContentType="application/vnd.openxmlformats-officedocument.presentationml.tags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theme/themeOverride10.xml" ContentType="application/vnd.openxmlformats-officedocument.themeOverride+xml"/>
  <Override PartName="/ppt/notesSlides/notesSlide2.xml" ContentType="application/vnd.openxmlformats-officedocument.presentationml.notesSlide+xml"/>
  <Override PartName="/ppt/theme/themeOverride11.xml" ContentType="application/vnd.openxmlformats-officedocument.themeOverr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2.xml" ContentType="application/vnd.openxmlformats-officedocument.themeOverride+xml"/>
  <Override PartName="/ppt/theme/themeOverride13.xml" ContentType="application/vnd.openxmlformats-officedocument.themeOverride+xml"/>
  <Override PartName="/ppt/theme/themeOverride14.xml" ContentType="application/vnd.openxmlformats-officedocument.themeOverride+xml"/>
  <Override PartName="/ppt/theme/themeOverride15.xml" ContentType="application/vnd.openxmlformats-officedocument.themeOverride+xml"/>
  <Override PartName="/ppt/theme/themeOverride16.xml" ContentType="application/vnd.openxmlformats-officedocument.themeOverride+xml"/>
  <Override PartName="/ppt/tags/tag10.xml" ContentType="application/vnd.openxmlformats-officedocument.presentationml.tags+xml"/>
  <Override PartName="/ppt/theme/themeOverride17.xml" ContentType="application/vnd.openxmlformats-officedocument.themeOverride+xml"/>
  <Override PartName="/ppt/theme/themeOverride18.xml" ContentType="application/vnd.openxmlformats-officedocument.themeOverride+xml"/>
  <Override PartName="/ppt/theme/themeOverride19.xml" ContentType="application/vnd.openxmlformats-officedocument.themeOverride+xml"/>
  <Override PartName="/ppt/theme/themeOverride20.xml" ContentType="application/vnd.openxmlformats-officedocument.themeOverride+xml"/>
  <Override PartName="/ppt/theme/themeOverride21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heme/themeOverride22.xml" ContentType="application/vnd.openxmlformats-officedocument.themeOverr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Override23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4"/>
  </p:notesMasterIdLst>
  <p:sldIdLst>
    <p:sldId id="256" r:id="rId2"/>
    <p:sldId id="1764" r:id="rId3"/>
    <p:sldId id="280" r:id="rId4"/>
    <p:sldId id="258" r:id="rId5"/>
    <p:sldId id="1744" r:id="rId6"/>
    <p:sldId id="288" r:id="rId7"/>
    <p:sldId id="1750" r:id="rId8"/>
    <p:sldId id="1766" r:id="rId9"/>
    <p:sldId id="1781" r:id="rId10"/>
    <p:sldId id="1784" r:id="rId11"/>
    <p:sldId id="1785" r:id="rId12"/>
    <p:sldId id="1797" r:id="rId13"/>
    <p:sldId id="1783" r:id="rId14"/>
    <p:sldId id="1745" r:id="rId15"/>
    <p:sldId id="1743" r:id="rId16"/>
    <p:sldId id="1759" r:id="rId17"/>
    <p:sldId id="1748" r:id="rId18"/>
    <p:sldId id="1761" r:id="rId19"/>
    <p:sldId id="1762" r:id="rId20"/>
    <p:sldId id="1765" r:id="rId21"/>
    <p:sldId id="261" r:id="rId22"/>
    <p:sldId id="1753" r:id="rId23"/>
  </p:sldIdLst>
  <p:sldSz cx="12192000" cy="6858000"/>
  <p:notesSz cx="6858000" cy="9144000"/>
  <p:custDataLst>
    <p:tags r:id="rId2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B24A0"/>
    <a:srgbClr val="D66554"/>
    <a:srgbClr val="646561"/>
    <a:srgbClr val="EF65A5"/>
    <a:srgbClr val="00A49F"/>
    <a:srgbClr val="3A239D"/>
    <a:srgbClr val="525BE9"/>
    <a:srgbClr val="5051E1"/>
    <a:srgbClr val="4007A4"/>
    <a:srgbClr val="4B28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18" autoAdjust="0"/>
    <p:restoredTop sz="96517" autoAdjust="0"/>
  </p:normalViewPr>
  <p:slideViewPr>
    <p:cSldViewPr snapToGrid="0">
      <p:cViewPr varScale="1">
        <p:scale>
          <a:sx n="96" d="100"/>
          <a:sy n="96" d="100"/>
        </p:scale>
        <p:origin x="90" y="43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H:\360MoveData\Users\zhh\Desktop\20&#22799;&#35013;&#32467;&#26500;&#27719;&#25253;ppt\15-18-&#20013;&#31867;_v1-&#31179;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file:///H:\360MoveData\Users\zhh\Desktop\20&#22799;&#35013;&#32467;&#26500;&#27719;&#25253;ppt\15-18-&#20013;&#31867;_v1-&#31179;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en-US" b="1" dirty="0"/>
              <a:t>男毛衫</a:t>
            </a:r>
            <a:r>
              <a:rPr lang="en-US" altLang="zh-CN" b="1" dirty="0"/>
              <a:t>-</a:t>
            </a:r>
            <a:r>
              <a:rPr lang="zh-CN" altLang="en-US" b="1" dirty="0"/>
              <a:t>业态规模变化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南中北!$X$19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南中北!$W$20:$W$23</c:f>
              <c:strCache>
                <c:ptCount val="4"/>
                <c:pt idx="0">
                  <c:v>地铺</c:v>
                </c:pt>
                <c:pt idx="1">
                  <c:v>SPM店</c:v>
                </c:pt>
                <c:pt idx="2">
                  <c:v>商超</c:v>
                </c:pt>
                <c:pt idx="3">
                  <c:v>特卖</c:v>
                </c:pt>
              </c:strCache>
            </c:strRef>
          </c:cat>
          <c:val>
            <c:numRef>
              <c:f>南中北!$X$20:$X$23</c:f>
              <c:numCache>
                <c:formatCode>0%</c:formatCode>
                <c:ptCount val="4"/>
                <c:pt idx="0">
                  <c:v>0.87035582361574804</c:v>
                </c:pt>
                <c:pt idx="1">
                  <c:v>1.29568004967167E-2</c:v>
                </c:pt>
                <c:pt idx="2">
                  <c:v>0.10523627288012299</c:v>
                </c:pt>
                <c:pt idx="3">
                  <c:v>1.14511030074123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62-4F92-A0E7-168DB62F5CBA}"/>
            </c:ext>
          </c:extLst>
        </c:ser>
        <c:ser>
          <c:idx val="1"/>
          <c:order val="1"/>
          <c:tx>
            <c:strRef>
              <c:f>南中北!$Y$19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南中北!$W$20:$W$23</c:f>
              <c:strCache>
                <c:ptCount val="4"/>
                <c:pt idx="0">
                  <c:v>地铺</c:v>
                </c:pt>
                <c:pt idx="1">
                  <c:v>SPM店</c:v>
                </c:pt>
                <c:pt idx="2">
                  <c:v>商超</c:v>
                </c:pt>
                <c:pt idx="3">
                  <c:v>特卖</c:v>
                </c:pt>
              </c:strCache>
            </c:strRef>
          </c:cat>
          <c:val>
            <c:numRef>
              <c:f>南中北!$Y$20:$Y$23</c:f>
              <c:numCache>
                <c:formatCode>0%</c:formatCode>
                <c:ptCount val="4"/>
                <c:pt idx="0">
                  <c:v>0.84276414400411803</c:v>
                </c:pt>
                <c:pt idx="1">
                  <c:v>3.0290216344116098E-2</c:v>
                </c:pt>
                <c:pt idx="2">
                  <c:v>0.11526433588325399</c:v>
                </c:pt>
                <c:pt idx="3">
                  <c:v>1.16813037685122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A62-4F92-A0E7-168DB62F5CBA}"/>
            </c:ext>
          </c:extLst>
        </c:ser>
        <c:ser>
          <c:idx val="2"/>
          <c:order val="2"/>
          <c:tx>
            <c:strRef>
              <c:f>南中北!$Z$19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南中北!$W$20:$W$23</c:f>
              <c:strCache>
                <c:ptCount val="4"/>
                <c:pt idx="0">
                  <c:v>地铺</c:v>
                </c:pt>
                <c:pt idx="1">
                  <c:v>SPM店</c:v>
                </c:pt>
                <c:pt idx="2">
                  <c:v>商超</c:v>
                </c:pt>
                <c:pt idx="3">
                  <c:v>特卖</c:v>
                </c:pt>
              </c:strCache>
            </c:strRef>
          </c:cat>
          <c:val>
            <c:numRef>
              <c:f>南中北!$Z$20:$Z$23</c:f>
              <c:numCache>
                <c:formatCode>0%</c:formatCode>
                <c:ptCount val="4"/>
                <c:pt idx="0">
                  <c:v>0.80335036118732495</c:v>
                </c:pt>
                <c:pt idx="1">
                  <c:v>7.0365626185923597E-2</c:v>
                </c:pt>
                <c:pt idx="2">
                  <c:v>0.118297038018315</c:v>
                </c:pt>
                <c:pt idx="3">
                  <c:v>7.986974608435800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A62-4F92-A0E7-168DB62F5CBA}"/>
            </c:ext>
          </c:extLst>
        </c:ser>
        <c:ser>
          <c:idx val="3"/>
          <c:order val="3"/>
          <c:tx>
            <c:strRef>
              <c:f>南中北!$AA$19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南中北!$W$20:$W$23</c:f>
              <c:strCache>
                <c:ptCount val="4"/>
                <c:pt idx="0">
                  <c:v>地铺</c:v>
                </c:pt>
                <c:pt idx="1">
                  <c:v>SPM店</c:v>
                </c:pt>
                <c:pt idx="2">
                  <c:v>商超</c:v>
                </c:pt>
                <c:pt idx="3">
                  <c:v>特卖</c:v>
                </c:pt>
              </c:strCache>
            </c:strRef>
          </c:cat>
          <c:val>
            <c:numRef>
              <c:f>南中北!$AA$20:$AA$23</c:f>
              <c:numCache>
                <c:formatCode>0%</c:formatCode>
                <c:ptCount val="4"/>
                <c:pt idx="0">
                  <c:v>0.75843640170107696</c:v>
                </c:pt>
                <c:pt idx="1">
                  <c:v>0.102546542392251</c:v>
                </c:pt>
                <c:pt idx="2">
                  <c:v>0.131315662268084</c:v>
                </c:pt>
                <c:pt idx="3">
                  <c:v>7.701393638587580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A62-4F92-A0E7-168DB62F5CBA}"/>
            </c:ext>
          </c:extLst>
        </c:ser>
        <c:ser>
          <c:idx val="4"/>
          <c:order val="4"/>
          <c:tx>
            <c:strRef>
              <c:f>南中北!$AC$19</c:f>
              <c:strCache>
                <c:ptCount val="1"/>
                <c:pt idx="0">
                  <c:v>2019预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南中北!$AC$20:$AC$23</c:f>
              <c:numCache>
                <c:formatCode>0%</c:formatCode>
                <c:ptCount val="4"/>
                <c:pt idx="0">
                  <c:v>0.67410865939803588</c:v>
                </c:pt>
                <c:pt idx="1">
                  <c:v>0.17480286844038589</c:v>
                </c:pt>
                <c:pt idx="2">
                  <c:v>0.14736698865291403</c:v>
                </c:pt>
                <c:pt idx="3">
                  <c:v>3.721483508662861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A62-4F92-A0E7-168DB62F5C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192149631"/>
        <c:axId val="703691135"/>
      </c:barChart>
      <c:catAx>
        <c:axId val="119214963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03691135"/>
        <c:crosses val="autoZero"/>
        <c:auto val="1"/>
        <c:lblAlgn val="ctr"/>
        <c:lblOffset val="100"/>
        <c:noMultiLvlLbl val="0"/>
      </c:catAx>
      <c:valAx>
        <c:axId val="703691135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1921496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cap="all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/>
              <a:t>18</a:t>
            </a:r>
            <a:r>
              <a:rPr lang="zh-CN" altLang="en-US" dirty="0"/>
              <a:t>男毛衫</a:t>
            </a:r>
            <a:r>
              <a:rPr lang="en-US" altLang="zh-CN" dirty="0"/>
              <a:t>-</a:t>
            </a:r>
            <a:r>
              <a:rPr lang="zh-CN" altLang="en-US" dirty="0"/>
              <a:t>业态规模</a:t>
            </a:r>
            <a:endParaRPr lang="zh-CN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cap="all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7992144148012659"/>
          <c:y val="0.15236451870397535"/>
          <c:w val="0.60832748714866236"/>
          <c:h val="0.77037780353327578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027B-4B19-A2DC-1AAE83FFA7F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027B-4B19-A2DC-1AAE83FFA7F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027B-4B19-A2DC-1AAE83FFA7FF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027B-4B19-A2DC-1AAE83FFA7FF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1-027B-4B19-A2DC-1AAE83FFA7FF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3-027B-4B19-A2DC-1AAE83FFA7FF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5-027B-4B19-A2DC-1AAE83FFA7FF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7-027B-4B19-A2DC-1AAE83FFA7FF}"/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南中北!$W$20:$W$23</c:f>
              <c:strCache>
                <c:ptCount val="4"/>
                <c:pt idx="0">
                  <c:v>地铺</c:v>
                </c:pt>
                <c:pt idx="1">
                  <c:v>SPM店</c:v>
                </c:pt>
                <c:pt idx="2">
                  <c:v>商超</c:v>
                </c:pt>
                <c:pt idx="3">
                  <c:v>特卖</c:v>
                </c:pt>
              </c:strCache>
            </c:strRef>
          </c:cat>
          <c:val>
            <c:numRef>
              <c:f>南中北!$AA$20:$AA$23</c:f>
              <c:numCache>
                <c:formatCode>0%</c:formatCode>
                <c:ptCount val="4"/>
                <c:pt idx="0">
                  <c:v>0.75843640170107696</c:v>
                </c:pt>
                <c:pt idx="1">
                  <c:v>0.102546542392251</c:v>
                </c:pt>
                <c:pt idx="2">
                  <c:v>0.131315662268084</c:v>
                </c:pt>
                <c:pt idx="3">
                  <c:v>7.701393638587580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27B-4B19-A2DC-1AAE83FFA7FF}"/>
            </c:ext>
          </c:extLst>
        </c:ser>
        <c:dLbls>
          <c:dLblPos val="out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cs:styleClr val="auto"/>
    </cs:fontRef>
    <cs:defRPr sz="100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0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4713</cdr:x>
      <cdr:y>0.10791</cdr:y>
    </cdr:from>
    <cdr:to>
      <cdr:x>0.25556</cdr:x>
      <cdr:y>0.19729</cdr:y>
    </cdr:to>
    <cdr:sp macro="" textlink="">
      <cdr:nvSpPr>
        <cdr:cNvPr id="2" name="箭头: 下 1">
          <a:extLst xmlns:a="http://schemas.openxmlformats.org/drawingml/2006/main">
            <a:ext uri="{FF2B5EF4-FFF2-40B4-BE49-F238E27FC236}">
              <a16:creationId xmlns:a16="http://schemas.microsoft.com/office/drawing/2014/main" id="{67B102AE-5C88-4B36-AD91-FDD43F9F9E61}"/>
            </a:ext>
          </a:extLst>
        </cdr:cNvPr>
        <cdr:cNvSpPr/>
      </cdr:nvSpPr>
      <cdr:spPr>
        <a:xfrm xmlns:a="http://schemas.openxmlformats.org/drawingml/2006/main" rot="18656011">
          <a:off x="1006132" y="315645"/>
          <a:ext cx="372929" cy="642233"/>
        </a:xfrm>
        <a:prstGeom xmlns:a="http://schemas.openxmlformats.org/drawingml/2006/main" prst="downArrow">
          <a:avLst/>
        </a:prstGeom>
        <a:solidFill xmlns:a="http://schemas.openxmlformats.org/drawingml/2006/main">
          <a:srgbClr val="FF0000"/>
        </a:solidFill>
        <a:ln xmlns:a="http://schemas.openxmlformats.org/drawingml/2006/main">
          <a:solidFill>
            <a:schemeClr val="bg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zh-CN" altLang="en-US"/>
        </a:p>
      </cdr:txBody>
    </cdr:sp>
  </cdr:relSizeAnchor>
  <cdr:relSizeAnchor xmlns:cdr="http://schemas.openxmlformats.org/drawingml/2006/chartDrawing">
    <cdr:from>
      <cdr:x>0.38046</cdr:x>
      <cdr:y>0.65169</cdr:y>
    </cdr:from>
    <cdr:to>
      <cdr:x>0.47327</cdr:x>
      <cdr:y>0.72094</cdr:y>
    </cdr:to>
    <cdr:sp macro="" textlink="">
      <cdr:nvSpPr>
        <cdr:cNvPr id="3" name="箭头: 下 2">
          <a:extLst xmlns:a="http://schemas.openxmlformats.org/drawingml/2006/main">
            <a:ext uri="{FF2B5EF4-FFF2-40B4-BE49-F238E27FC236}">
              <a16:creationId xmlns:a16="http://schemas.microsoft.com/office/drawing/2014/main" id="{4EEB72F5-0B47-412C-A667-62F8214945D7}"/>
            </a:ext>
          </a:extLst>
        </cdr:cNvPr>
        <cdr:cNvSpPr/>
      </cdr:nvSpPr>
      <cdr:spPr>
        <a:xfrm xmlns:a="http://schemas.openxmlformats.org/drawingml/2006/main" rot="13718887">
          <a:off x="2374544" y="2774583"/>
          <a:ext cx="307699" cy="549756"/>
        </a:xfrm>
        <a:prstGeom xmlns:a="http://schemas.openxmlformats.org/drawingml/2006/main" prst="downArrow">
          <a:avLst/>
        </a:prstGeom>
        <a:solidFill xmlns:a="http://schemas.openxmlformats.org/drawingml/2006/main">
          <a:srgbClr val="FF0000"/>
        </a:solidFill>
        <a:ln xmlns:a="http://schemas.openxmlformats.org/drawingml/2006/main">
          <a:solidFill>
            <a:schemeClr val="bg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zh-CN" altLang="en-US"/>
        </a:p>
      </cdr:txBody>
    </cdr:sp>
  </cdr:relSizeAnchor>
  <cdr:relSizeAnchor xmlns:cdr="http://schemas.openxmlformats.org/drawingml/2006/chartDrawing">
    <cdr:from>
      <cdr:x>0.61364</cdr:x>
      <cdr:y>0.66441</cdr:y>
    </cdr:from>
    <cdr:to>
      <cdr:x>0.69755</cdr:x>
      <cdr:y>0.73286</cdr:y>
    </cdr:to>
    <cdr:sp macro="" textlink="">
      <cdr:nvSpPr>
        <cdr:cNvPr id="4" name="箭头: 下 3">
          <a:extLst xmlns:a="http://schemas.openxmlformats.org/drawingml/2006/main">
            <a:ext uri="{FF2B5EF4-FFF2-40B4-BE49-F238E27FC236}">
              <a16:creationId xmlns:a16="http://schemas.microsoft.com/office/drawing/2014/main" id="{807A945D-9BF2-4885-9742-1865088D2E02}"/>
            </a:ext>
          </a:extLst>
        </cdr:cNvPr>
        <cdr:cNvSpPr/>
      </cdr:nvSpPr>
      <cdr:spPr>
        <a:xfrm xmlns:a="http://schemas.openxmlformats.org/drawingml/2006/main" rot="15144105">
          <a:off x="3731148" y="2855673"/>
          <a:ext cx="304130" cy="497027"/>
        </a:xfrm>
        <a:prstGeom xmlns:a="http://schemas.openxmlformats.org/drawingml/2006/main" prst="downArrow">
          <a:avLst/>
        </a:prstGeom>
        <a:solidFill xmlns:a="http://schemas.openxmlformats.org/drawingml/2006/main">
          <a:srgbClr val="FF0000"/>
        </a:solidFill>
        <a:ln xmlns:a="http://schemas.openxmlformats.org/drawingml/2006/main">
          <a:solidFill>
            <a:schemeClr val="bg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zh-CN" altLang="en-US"/>
        </a:p>
      </cdr:txBody>
    </cdr:sp>
  </cdr:relSizeAnchor>
  <cdr:relSizeAnchor xmlns:cdr="http://schemas.openxmlformats.org/drawingml/2006/chartDrawing">
    <cdr:from>
      <cdr:x>0.8278</cdr:x>
      <cdr:y>0.70744</cdr:y>
    </cdr:from>
    <cdr:to>
      <cdr:x>0.93291</cdr:x>
      <cdr:y>0.78336</cdr:y>
    </cdr:to>
    <cdr:sp macro="" textlink="">
      <cdr:nvSpPr>
        <cdr:cNvPr id="5" name="箭头: 下 4">
          <a:extLst xmlns:a="http://schemas.openxmlformats.org/drawingml/2006/main">
            <a:ext uri="{FF2B5EF4-FFF2-40B4-BE49-F238E27FC236}">
              <a16:creationId xmlns:a16="http://schemas.microsoft.com/office/drawing/2014/main" id="{F0CB3F59-11B1-4C7C-B082-F6C197282C0B}"/>
            </a:ext>
          </a:extLst>
        </cdr:cNvPr>
        <cdr:cNvSpPr/>
      </cdr:nvSpPr>
      <cdr:spPr>
        <a:xfrm xmlns:a="http://schemas.openxmlformats.org/drawingml/2006/main" rot="16200000">
          <a:off x="5045830" y="3000675"/>
          <a:ext cx="337354" cy="622591"/>
        </a:xfrm>
        <a:prstGeom xmlns:a="http://schemas.openxmlformats.org/drawingml/2006/main" prst="downArrow">
          <a:avLst/>
        </a:prstGeom>
        <a:solidFill xmlns:a="http://schemas.openxmlformats.org/drawingml/2006/main">
          <a:srgbClr val="FF0000"/>
        </a:solidFill>
        <a:ln xmlns:a="http://schemas.openxmlformats.org/drawingml/2006/main">
          <a:solidFill>
            <a:schemeClr val="bg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zh-CN" altLang="en-US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7/2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877071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208385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811195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BD7E147C-6E7F-42EC-A894-080AD81D97D1}"/>
              </a:ext>
            </a:extLst>
          </p:cNvPr>
          <p:cNvGrpSpPr/>
          <p:nvPr userDrawn="1"/>
        </p:nvGrpSpPr>
        <p:grpSpPr>
          <a:xfrm>
            <a:off x="-4763" y="-3517"/>
            <a:ext cx="12215766" cy="6869253"/>
            <a:chOff x="-4763" y="-3517"/>
            <a:chExt cx="12215766" cy="6869253"/>
          </a:xfrm>
        </p:grpSpPr>
        <p:sp>
          <p:nvSpPr>
            <p:cNvPr id="6" name="立方体 5">
              <a:extLst>
                <a:ext uri="{FF2B5EF4-FFF2-40B4-BE49-F238E27FC236}">
                  <a16:creationId xmlns:a16="http://schemas.microsoft.com/office/drawing/2014/main" id="{09BB0DEF-6654-4CDF-AB1A-7CAFA7E26901}"/>
                </a:ext>
              </a:extLst>
            </p:cNvPr>
            <p:cNvSpPr/>
            <p:nvPr userDrawn="1"/>
          </p:nvSpPr>
          <p:spPr>
            <a:xfrm>
              <a:off x="0" y="5766550"/>
              <a:ext cx="12192000" cy="1099186"/>
            </a:xfrm>
            <a:prstGeom prst="cub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7" name="171a5da4-c0df-458e-a05c-fa476a893fdf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65BD9059-A4F8-445E-8FDF-37938AA7D325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1"/>
              </p:custDataLst>
            </p:nvPr>
          </p:nvGrpSpPr>
          <p:grpSpPr>
            <a:xfrm>
              <a:off x="4980081" y="952500"/>
              <a:ext cx="6534882" cy="5027382"/>
              <a:chOff x="3125788" y="1206500"/>
              <a:chExt cx="5794376" cy="4457700"/>
            </a:xfrm>
          </p:grpSpPr>
          <p:sp>
            <p:nvSpPr>
              <p:cNvPr id="8" name="îṧļiďê">
                <a:extLst>
                  <a:ext uri="{FF2B5EF4-FFF2-40B4-BE49-F238E27FC236}">
                    <a16:creationId xmlns:a16="http://schemas.microsoft.com/office/drawing/2014/main" id="{CFC44760-A3EF-4428-B2A2-EE37B899AC95}"/>
                  </a:ext>
                </a:extLst>
              </p:cNvPr>
              <p:cNvSpPr/>
              <p:nvPr/>
            </p:nvSpPr>
            <p:spPr bwMode="auto">
              <a:xfrm>
                <a:off x="7348538" y="3675063"/>
                <a:ext cx="334963" cy="200025"/>
              </a:xfrm>
              <a:prstGeom prst="rect">
                <a:avLst/>
              </a:pr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" name="îŝ1idè">
                <a:extLst>
                  <a:ext uri="{FF2B5EF4-FFF2-40B4-BE49-F238E27FC236}">
                    <a16:creationId xmlns:a16="http://schemas.microsoft.com/office/drawing/2014/main" id="{5E5E5E2B-4F27-4C77-94B8-1BFDF61874EF}"/>
                  </a:ext>
                </a:extLst>
              </p:cNvPr>
              <p:cNvSpPr/>
              <p:nvPr/>
            </p:nvSpPr>
            <p:spPr bwMode="auto">
              <a:xfrm>
                <a:off x="7154863" y="3941763"/>
                <a:ext cx="333375" cy="200025"/>
              </a:xfrm>
              <a:prstGeom prst="rect">
                <a:avLst/>
              </a:pr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" name="î$1íḍè">
                <a:extLst>
                  <a:ext uri="{FF2B5EF4-FFF2-40B4-BE49-F238E27FC236}">
                    <a16:creationId xmlns:a16="http://schemas.microsoft.com/office/drawing/2014/main" id="{95690D9D-B845-47C2-AA64-ACFEEFBA3F15}"/>
                  </a:ext>
                </a:extLst>
              </p:cNvPr>
              <p:cNvSpPr/>
              <p:nvPr/>
            </p:nvSpPr>
            <p:spPr bwMode="auto">
              <a:xfrm>
                <a:off x="7543801" y="3941763"/>
                <a:ext cx="333375" cy="200025"/>
              </a:xfrm>
              <a:prstGeom prst="rect">
                <a:avLst/>
              </a:pr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" name="îṥľïḓê">
                <a:extLst>
                  <a:ext uri="{FF2B5EF4-FFF2-40B4-BE49-F238E27FC236}">
                    <a16:creationId xmlns:a16="http://schemas.microsoft.com/office/drawing/2014/main" id="{97078F06-F1EA-48BF-8396-AA357BA1FEFB}"/>
                  </a:ext>
                </a:extLst>
              </p:cNvPr>
              <p:cNvSpPr/>
              <p:nvPr/>
            </p:nvSpPr>
            <p:spPr bwMode="auto">
              <a:xfrm>
                <a:off x="3719513" y="1296988"/>
                <a:ext cx="3794125" cy="2522538"/>
              </a:xfrm>
              <a:prstGeom prst="rect">
                <a:avLst/>
              </a:prstGeom>
              <a:solidFill>
                <a:srgbClr val="EF6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" name="îṧḻîdè">
                <a:extLst>
                  <a:ext uri="{FF2B5EF4-FFF2-40B4-BE49-F238E27FC236}">
                    <a16:creationId xmlns:a16="http://schemas.microsoft.com/office/drawing/2014/main" id="{6B9D121D-70C5-483B-8E42-AF40CDB869E6}"/>
                  </a:ext>
                </a:extLst>
              </p:cNvPr>
              <p:cNvSpPr/>
              <p:nvPr/>
            </p:nvSpPr>
            <p:spPr bwMode="auto">
              <a:xfrm>
                <a:off x="3719513" y="1296988"/>
                <a:ext cx="3794125" cy="25225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" name="iŝľîḍe">
                <a:extLst>
                  <a:ext uri="{FF2B5EF4-FFF2-40B4-BE49-F238E27FC236}">
                    <a16:creationId xmlns:a16="http://schemas.microsoft.com/office/drawing/2014/main" id="{989A0AB7-59CF-47AE-BEAE-9B689E3242CA}"/>
                  </a:ext>
                </a:extLst>
              </p:cNvPr>
              <p:cNvSpPr/>
              <p:nvPr/>
            </p:nvSpPr>
            <p:spPr bwMode="auto">
              <a:xfrm>
                <a:off x="3805238" y="1400175"/>
                <a:ext cx="3622675" cy="232251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" name="ïS1ídé">
                <a:extLst>
                  <a:ext uri="{FF2B5EF4-FFF2-40B4-BE49-F238E27FC236}">
                    <a16:creationId xmlns:a16="http://schemas.microsoft.com/office/drawing/2014/main" id="{B034D983-81A2-4AA5-90A5-99BAEBBAD953}"/>
                  </a:ext>
                </a:extLst>
              </p:cNvPr>
              <p:cNvSpPr/>
              <p:nvPr/>
            </p:nvSpPr>
            <p:spPr bwMode="auto">
              <a:xfrm>
                <a:off x="3805238" y="1400175"/>
                <a:ext cx="3622675" cy="23225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" name="ísḻíḋê">
                <a:extLst>
                  <a:ext uri="{FF2B5EF4-FFF2-40B4-BE49-F238E27FC236}">
                    <a16:creationId xmlns:a16="http://schemas.microsoft.com/office/drawing/2014/main" id="{2D705130-1BE9-4C4D-A44D-DCAAF0743399}"/>
                  </a:ext>
                </a:extLst>
              </p:cNvPr>
              <p:cNvSpPr/>
              <p:nvPr/>
            </p:nvSpPr>
            <p:spPr bwMode="auto">
              <a:xfrm>
                <a:off x="6961188" y="1927225"/>
                <a:ext cx="30163" cy="140176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" name="îṧļíḑé">
                <a:extLst>
                  <a:ext uri="{FF2B5EF4-FFF2-40B4-BE49-F238E27FC236}">
                    <a16:creationId xmlns:a16="http://schemas.microsoft.com/office/drawing/2014/main" id="{8F091BA5-398C-4B60-9A93-D12B5D7336C0}"/>
                  </a:ext>
                </a:extLst>
              </p:cNvPr>
              <p:cNvSpPr/>
              <p:nvPr/>
            </p:nvSpPr>
            <p:spPr bwMode="auto">
              <a:xfrm>
                <a:off x="6542088" y="1927225"/>
                <a:ext cx="23813" cy="140176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" name="ïṧľíḑé">
                <a:extLst>
                  <a:ext uri="{FF2B5EF4-FFF2-40B4-BE49-F238E27FC236}">
                    <a16:creationId xmlns:a16="http://schemas.microsoft.com/office/drawing/2014/main" id="{18E215B0-943C-43B1-A1EC-DC705A53E6B2}"/>
                  </a:ext>
                </a:extLst>
              </p:cNvPr>
              <p:cNvSpPr/>
              <p:nvPr/>
            </p:nvSpPr>
            <p:spPr bwMode="auto">
              <a:xfrm>
                <a:off x="6116638" y="1927225"/>
                <a:ext cx="30163" cy="140176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" name="í$ḷíḋe">
                <a:extLst>
                  <a:ext uri="{FF2B5EF4-FFF2-40B4-BE49-F238E27FC236}">
                    <a16:creationId xmlns:a16="http://schemas.microsoft.com/office/drawing/2014/main" id="{216860BD-D192-42A4-AF65-26370F148A75}"/>
                  </a:ext>
                </a:extLst>
              </p:cNvPr>
              <p:cNvSpPr/>
              <p:nvPr/>
            </p:nvSpPr>
            <p:spPr bwMode="auto">
              <a:xfrm>
                <a:off x="5692776" y="1927225"/>
                <a:ext cx="30163" cy="140176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" name="ïsļíďe">
                <a:extLst>
                  <a:ext uri="{FF2B5EF4-FFF2-40B4-BE49-F238E27FC236}">
                    <a16:creationId xmlns:a16="http://schemas.microsoft.com/office/drawing/2014/main" id="{C43DF0C2-DE2B-4419-BA8F-83B7D3CE3533}"/>
                  </a:ext>
                </a:extLst>
              </p:cNvPr>
              <p:cNvSpPr/>
              <p:nvPr/>
            </p:nvSpPr>
            <p:spPr bwMode="auto">
              <a:xfrm>
                <a:off x="5273676" y="1927225"/>
                <a:ext cx="23813" cy="140176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" name="îśľïḍé">
                <a:extLst>
                  <a:ext uri="{FF2B5EF4-FFF2-40B4-BE49-F238E27FC236}">
                    <a16:creationId xmlns:a16="http://schemas.microsoft.com/office/drawing/2014/main" id="{8EAC979B-C83E-421C-8DEC-9FE51CDEEC2D}"/>
                  </a:ext>
                </a:extLst>
              </p:cNvPr>
              <p:cNvSpPr/>
              <p:nvPr/>
            </p:nvSpPr>
            <p:spPr bwMode="auto">
              <a:xfrm>
                <a:off x="4848226" y="1927225"/>
                <a:ext cx="30163" cy="140176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3" name="ï$ľïde">
                <a:extLst>
                  <a:ext uri="{FF2B5EF4-FFF2-40B4-BE49-F238E27FC236}">
                    <a16:creationId xmlns:a16="http://schemas.microsoft.com/office/drawing/2014/main" id="{6344437A-B8ED-41D2-9A64-92863E17DA6A}"/>
                  </a:ext>
                </a:extLst>
              </p:cNvPr>
              <p:cNvSpPr/>
              <p:nvPr/>
            </p:nvSpPr>
            <p:spPr bwMode="auto">
              <a:xfrm>
                <a:off x="4848226" y="1927225"/>
                <a:ext cx="30163" cy="14017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" name="ïṧ1ïḑé">
                <a:extLst>
                  <a:ext uri="{FF2B5EF4-FFF2-40B4-BE49-F238E27FC236}">
                    <a16:creationId xmlns:a16="http://schemas.microsoft.com/office/drawing/2014/main" id="{6FFD968A-35B7-4DF8-95C0-9B683BBC38A2}"/>
                  </a:ext>
                </a:extLst>
              </p:cNvPr>
              <p:cNvSpPr/>
              <p:nvPr/>
            </p:nvSpPr>
            <p:spPr bwMode="auto">
              <a:xfrm>
                <a:off x="4970463" y="1630363"/>
                <a:ext cx="2330450" cy="1795463"/>
              </a:xfrm>
              <a:custGeom>
                <a:avLst/>
                <a:gdLst>
                  <a:gd name="T0" fmla="*/ 382 w 384"/>
                  <a:gd name="T1" fmla="*/ 222 h 296"/>
                  <a:gd name="T2" fmla="*/ 353 w 384"/>
                  <a:gd name="T3" fmla="*/ 112 h 296"/>
                  <a:gd name="T4" fmla="*/ 345 w 384"/>
                  <a:gd name="T5" fmla="*/ 87 h 296"/>
                  <a:gd name="T6" fmla="*/ 334 w 384"/>
                  <a:gd name="T7" fmla="*/ 73 h 296"/>
                  <a:gd name="T8" fmla="*/ 306 w 384"/>
                  <a:gd name="T9" fmla="*/ 90 h 296"/>
                  <a:gd name="T10" fmla="*/ 298 w 384"/>
                  <a:gd name="T11" fmla="*/ 114 h 296"/>
                  <a:gd name="T12" fmla="*/ 287 w 384"/>
                  <a:gd name="T13" fmla="*/ 138 h 296"/>
                  <a:gd name="T14" fmla="*/ 270 w 384"/>
                  <a:gd name="T15" fmla="*/ 122 h 296"/>
                  <a:gd name="T16" fmla="*/ 262 w 384"/>
                  <a:gd name="T17" fmla="*/ 100 h 296"/>
                  <a:gd name="T18" fmla="*/ 236 w 384"/>
                  <a:gd name="T19" fmla="*/ 73 h 296"/>
                  <a:gd name="T20" fmla="*/ 209 w 384"/>
                  <a:gd name="T21" fmla="*/ 97 h 296"/>
                  <a:gd name="T22" fmla="*/ 201 w 384"/>
                  <a:gd name="T23" fmla="*/ 135 h 296"/>
                  <a:gd name="T24" fmla="*/ 195 w 384"/>
                  <a:gd name="T25" fmla="*/ 193 h 296"/>
                  <a:gd name="T26" fmla="*/ 186 w 384"/>
                  <a:gd name="T27" fmla="*/ 250 h 296"/>
                  <a:gd name="T28" fmla="*/ 153 w 384"/>
                  <a:gd name="T29" fmla="*/ 275 h 296"/>
                  <a:gd name="T30" fmla="*/ 121 w 384"/>
                  <a:gd name="T31" fmla="*/ 237 h 296"/>
                  <a:gd name="T32" fmla="*/ 102 w 384"/>
                  <a:gd name="T33" fmla="*/ 187 h 296"/>
                  <a:gd name="T34" fmla="*/ 79 w 384"/>
                  <a:gd name="T35" fmla="*/ 86 h 296"/>
                  <a:gd name="T36" fmla="*/ 65 w 384"/>
                  <a:gd name="T37" fmla="*/ 30 h 296"/>
                  <a:gd name="T38" fmla="*/ 33 w 384"/>
                  <a:gd name="T39" fmla="*/ 2 h 296"/>
                  <a:gd name="T40" fmla="*/ 9 w 384"/>
                  <a:gd name="T41" fmla="*/ 37 h 296"/>
                  <a:gd name="T42" fmla="*/ 0 w 384"/>
                  <a:gd name="T43" fmla="*/ 101 h 296"/>
                  <a:gd name="T44" fmla="*/ 12 w 384"/>
                  <a:gd name="T45" fmla="*/ 101 h 296"/>
                  <a:gd name="T46" fmla="*/ 19 w 384"/>
                  <a:gd name="T47" fmla="*/ 46 h 296"/>
                  <a:gd name="T48" fmla="*/ 25 w 384"/>
                  <a:gd name="T49" fmla="*/ 21 h 296"/>
                  <a:gd name="T50" fmla="*/ 48 w 384"/>
                  <a:gd name="T51" fmla="*/ 21 h 296"/>
                  <a:gd name="T52" fmla="*/ 56 w 384"/>
                  <a:gd name="T53" fmla="*/ 42 h 296"/>
                  <a:gd name="T54" fmla="*/ 63 w 384"/>
                  <a:gd name="T55" fmla="*/ 66 h 296"/>
                  <a:gd name="T56" fmla="*/ 73 w 384"/>
                  <a:gd name="T57" fmla="*/ 114 h 296"/>
                  <a:gd name="T58" fmla="*/ 97 w 384"/>
                  <a:gd name="T59" fmla="*/ 209 h 296"/>
                  <a:gd name="T60" fmla="*/ 115 w 384"/>
                  <a:gd name="T61" fmla="*/ 252 h 296"/>
                  <a:gd name="T62" fmla="*/ 143 w 384"/>
                  <a:gd name="T63" fmla="*/ 283 h 296"/>
                  <a:gd name="T64" fmla="*/ 198 w 384"/>
                  <a:gd name="T65" fmla="*/ 252 h 296"/>
                  <a:gd name="T66" fmla="*/ 206 w 384"/>
                  <a:gd name="T67" fmla="*/ 203 h 296"/>
                  <a:gd name="T68" fmla="*/ 211 w 384"/>
                  <a:gd name="T69" fmla="*/ 148 h 296"/>
                  <a:gd name="T70" fmla="*/ 218 w 384"/>
                  <a:gd name="T71" fmla="*/ 105 h 296"/>
                  <a:gd name="T72" fmla="*/ 228 w 384"/>
                  <a:gd name="T73" fmla="*/ 90 h 296"/>
                  <a:gd name="T74" fmla="*/ 237 w 384"/>
                  <a:gd name="T75" fmla="*/ 84 h 296"/>
                  <a:gd name="T76" fmla="*/ 247 w 384"/>
                  <a:gd name="T77" fmla="*/ 95 h 296"/>
                  <a:gd name="T78" fmla="*/ 256 w 384"/>
                  <a:gd name="T79" fmla="*/ 117 h 296"/>
                  <a:gd name="T80" fmla="*/ 264 w 384"/>
                  <a:gd name="T81" fmla="*/ 137 h 296"/>
                  <a:gd name="T82" fmla="*/ 293 w 384"/>
                  <a:gd name="T83" fmla="*/ 148 h 296"/>
                  <a:gd name="T84" fmla="*/ 312 w 384"/>
                  <a:gd name="T85" fmla="*/ 108 h 296"/>
                  <a:gd name="T86" fmla="*/ 326 w 384"/>
                  <a:gd name="T87" fmla="*/ 84 h 296"/>
                  <a:gd name="T88" fmla="*/ 340 w 384"/>
                  <a:gd name="T89" fmla="*/ 107 h 296"/>
                  <a:gd name="T90" fmla="*/ 371 w 384"/>
                  <a:gd name="T91" fmla="*/ 225 h 296"/>
                  <a:gd name="T92" fmla="*/ 382 w 384"/>
                  <a:gd name="T93" fmla="*/ 222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84" h="296">
                    <a:moveTo>
                      <a:pt x="382" y="222"/>
                    </a:moveTo>
                    <a:cubicBezTo>
                      <a:pt x="374" y="185"/>
                      <a:pt x="365" y="148"/>
                      <a:pt x="353" y="112"/>
                    </a:cubicBezTo>
                    <a:cubicBezTo>
                      <a:pt x="351" y="104"/>
                      <a:pt x="348" y="95"/>
                      <a:pt x="345" y="87"/>
                    </a:cubicBezTo>
                    <a:cubicBezTo>
                      <a:pt x="343" y="81"/>
                      <a:pt x="340" y="76"/>
                      <a:pt x="334" y="73"/>
                    </a:cubicBezTo>
                    <a:cubicBezTo>
                      <a:pt x="321" y="67"/>
                      <a:pt x="310" y="79"/>
                      <a:pt x="306" y="90"/>
                    </a:cubicBezTo>
                    <a:cubicBezTo>
                      <a:pt x="303" y="98"/>
                      <a:pt x="300" y="106"/>
                      <a:pt x="298" y="114"/>
                    </a:cubicBezTo>
                    <a:cubicBezTo>
                      <a:pt x="296" y="120"/>
                      <a:pt x="294" y="134"/>
                      <a:pt x="287" y="138"/>
                    </a:cubicBezTo>
                    <a:cubicBezTo>
                      <a:pt x="277" y="142"/>
                      <a:pt x="272" y="128"/>
                      <a:pt x="270" y="122"/>
                    </a:cubicBezTo>
                    <a:cubicBezTo>
                      <a:pt x="267" y="114"/>
                      <a:pt x="265" y="107"/>
                      <a:pt x="262" y="100"/>
                    </a:cubicBezTo>
                    <a:cubicBezTo>
                      <a:pt x="257" y="89"/>
                      <a:pt x="251" y="71"/>
                      <a:pt x="236" y="73"/>
                    </a:cubicBezTo>
                    <a:cubicBezTo>
                      <a:pt x="224" y="74"/>
                      <a:pt x="214" y="86"/>
                      <a:pt x="209" y="97"/>
                    </a:cubicBezTo>
                    <a:cubicBezTo>
                      <a:pt x="204" y="109"/>
                      <a:pt x="202" y="122"/>
                      <a:pt x="201" y="135"/>
                    </a:cubicBezTo>
                    <a:cubicBezTo>
                      <a:pt x="199" y="154"/>
                      <a:pt x="197" y="174"/>
                      <a:pt x="195" y="193"/>
                    </a:cubicBezTo>
                    <a:cubicBezTo>
                      <a:pt x="193" y="212"/>
                      <a:pt x="192" y="232"/>
                      <a:pt x="186" y="250"/>
                    </a:cubicBezTo>
                    <a:cubicBezTo>
                      <a:pt x="181" y="263"/>
                      <a:pt x="170" y="279"/>
                      <a:pt x="153" y="275"/>
                    </a:cubicBezTo>
                    <a:cubicBezTo>
                      <a:pt x="136" y="271"/>
                      <a:pt x="127" y="252"/>
                      <a:pt x="121" y="237"/>
                    </a:cubicBezTo>
                    <a:cubicBezTo>
                      <a:pt x="113" y="221"/>
                      <a:pt x="107" y="204"/>
                      <a:pt x="102" y="187"/>
                    </a:cubicBezTo>
                    <a:cubicBezTo>
                      <a:pt x="92" y="154"/>
                      <a:pt x="86" y="120"/>
                      <a:pt x="79" y="86"/>
                    </a:cubicBezTo>
                    <a:cubicBezTo>
                      <a:pt x="75" y="67"/>
                      <a:pt x="71" y="48"/>
                      <a:pt x="65" y="30"/>
                    </a:cubicBezTo>
                    <a:cubicBezTo>
                      <a:pt x="60" y="16"/>
                      <a:pt x="50" y="0"/>
                      <a:pt x="33" y="2"/>
                    </a:cubicBezTo>
                    <a:cubicBezTo>
                      <a:pt x="16" y="4"/>
                      <a:pt x="11" y="22"/>
                      <a:pt x="9" y="37"/>
                    </a:cubicBezTo>
                    <a:cubicBezTo>
                      <a:pt x="6" y="58"/>
                      <a:pt x="3" y="80"/>
                      <a:pt x="0" y="101"/>
                    </a:cubicBezTo>
                    <a:cubicBezTo>
                      <a:pt x="0" y="109"/>
                      <a:pt x="11" y="109"/>
                      <a:pt x="12" y="101"/>
                    </a:cubicBezTo>
                    <a:cubicBezTo>
                      <a:pt x="15" y="83"/>
                      <a:pt x="17" y="65"/>
                      <a:pt x="19" y="46"/>
                    </a:cubicBezTo>
                    <a:cubicBezTo>
                      <a:pt x="20" y="38"/>
                      <a:pt x="21" y="28"/>
                      <a:pt x="25" y="21"/>
                    </a:cubicBezTo>
                    <a:cubicBezTo>
                      <a:pt x="31" y="12"/>
                      <a:pt x="41" y="12"/>
                      <a:pt x="48" y="21"/>
                    </a:cubicBezTo>
                    <a:cubicBezTo>
                      <a:pt x="52" y="27"/>
                      <a:pt x="54" y="35"/>
                      <a:pt x="56" y="42"/>
                    </a:cubicBezTo>
                    <a:cubicBezTo>
                      <a:pt x="59" y="50"/>
                      <a:pt x="61" y="58"/>
                      <a:pt x="63" y="66"/>
                    </a:cubicBezTo>
                    <a:cubicBezTo>
                      <a:pt x="66" y="82"/>
                      <a:pt x="70" y="98"/>
                      <a:pt x="73" y="114"/>
                    </a:cubicBezTo>
                    <a:cubicBezTo>
                      <a:pt x="79" y="146"/>
                      <a:pt x="86" y="178"/>
                      <a:pt x="97" y="209"/>
                    </a:cubicBezTo>
                    <a:cubicBezTo>
                      <a:pt x="102" y="224"/>
                      <a:pt x="108" y="239"/>
                      <a:pt x="115" y="252"/>
                    </a:cubicBezTo>
                    <a:cubicBezTo>
                      <a:pt x="122" y="265"/>
                      <a:pt x="130" y="277"/>
                      <a:pt x="143" y="283"/>
                    </a:cubicBezTo>
                    <a:cubicBezTo>
                      <a:pt x="169" y="296"/>
                      <a:pt x="190" y="275"/>
                      <a:pt x="198" y="252"/>
                    </a:cubicBezTo>
                    <a:cubicBezTo>
                      <a:pt x="203" y="236"/>
                      <a:pt x="204" y="219"/>
                      <a:pt x="206" y="203"/>
                    </a:cubicBezTo>
                    <a:cubicBezTo>
                      <a:pt x="208" y="185"/>
                      <a:pt x="210" y="166"/>
                      <a:pt x="211" y="148"/>
                    </a:cubicBezTo>
                    <a:cubicBezTo>
                      <a:pt x="213" y="134"/>
                      <a:pt x="213" y="119"/>
                      <a:pt x="218" y="105"/>
                    </a:cubicBezTo>
                    <a:cubicBezTo>
                      <a:pt x="220" y="100"/>
                      <a:pt x="224" y="94"/>
                      <a:pt x="228" y="90"/>
                    </a:cubicBezTo>
                    <a:cubicBezTo>
                      <a:pt x="230" y="88"/>
                      <a:pt x="234" y="84"/>
                      <a:pt x="237" y="84"/>
                    </a:cubicBezTo>
                    <a:cubicBezTo>
                      <a:pt x="242" y="84"/>
                      <a:pt x="245" y="92"/>
                      <a:pt x="247" y="95"/>
                    </a:cubicBezTo>
                    <a:cubicBezTo>
                      <a:pt x="251" y="102"/>
                      <a:pt x="254" y="110"/>
                      <a:pt x="256" y="117"/>
                    </a:cubicBezTo>
                    <a:cubicBezTo>
                      <a:pt x="258" y="124"/>
                      <a:pt x="260" y="131"/>
                      <a:pt x="264" y="137"/>
                    </a:cubicBezTo>
                    <a:cubicBezTo>
                      <a:pt x="270" y="147"/>
                      <a:pt x="282" y="154"/>
                      <a:pt x="293" y="148"/>
                    </a:cubicBezTo>
                    <a:cubicBezTo>
                      <a:pt x="306" y="141"/>
                      <a:pt x="308" y="121"/>
                      <a:pt x="312" y="108"/>
                    </a:cubicBezTo>
                    <a:cubicBezTo>
                      <a:pt x="314" y="101"/>
                      <a:pt x="317" y="85"/>
                      <a:pt x="326" y="84"/>
                    </a:cubicBezTo>
                    <a:cubicBezTo>
                      <a:pt x="335" y="82"/>
                      <a:pt x="338" y="102"/>
                      <a:pt x="340" y="107"/>
                    </a:cubicBezTo>
                    <a:cubicBezTo>
                      <a:pt x="352" y="146"/>
                      <a:pt x="362" y="186"/>
                      <a:pt x="371" y="225"/>
                    </a:cubicBezTo>
                    <a:cubicBezTo>
                      <a:pt x="372" y="233"/>
                      <a:pt x="384" y="230"/>
                      <a:pt x="382" y="222"/>
                    </a:cubicBezTo>
                  </a:path>
                </a:pathLst>
              </a:custGeom>
              <a:solidFill>
                <a:srgbClr val="EF6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" name="îṩľíḓê">
                <a:extLst>
                  <a:ext uri="{FF2B5EF4-FFF2-40B4-BE49-F238E27FC236}">
                    <a16:creationId xmlns:a16="http://schemas.microsoft.com/office/drawing/2014/main" id="{495BA552-D41A-4C4B-A6C9-73FAC9FA6125}"/>
                  </a:ext>
                </a:extLst>
              </p:cNvPr>
              <p:cNvSpPr/>
              <p:nvPr/>
            </p:nvSpPr>
            <p:spPr bwMode="auto">
              <a:xfrm>
                <a:off x="6991351" y="1557338"/>
                <a:ext cx="254000" cy="255588"/>
              </a:xfrm>
              <a:custGeom>
                <a:avLst/>
                <a:gdLst>
                  <a:gd name="T0" fmla="*/ 160 w 160"/>
                  <a:gd name="T1" fmla="*/ 0 h 161"/>
                  <a:gd name="T2" fmla="*/ 160 w 160"/>
                  <a:gd name="T3" fmla="*/ 107 h 161"/>
                  <a:gd name="T4" fmla="*/ 107 w 160"/>
                  <a:gd name="T5" fmla="*/ 161 h 161"/>
                  <a:gd name="T6" fmla="*/ 0 w 160"/>
                  <a:gd name="T7" fmla="*/ 161 h 161"/>
                  <a:gd name="T8" fmla="*/ 0 w 160"/>
                  <a:gd name="T9" fmla="*/ 0 h 161"/>
                  <a:gd name="T10" fmla="*/ 160 w 160"/>
                  <a:gd name="T11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0" h="161">
                    <a:moveTo>
                      <a:pt x="160" y="0"/>
                    </a:moveTo>
                    <a:lnTo>
                      <a:pt x="160" y="107"/>
                    </a:lnTo>
                    <a:lnTo>
                      <a:pt x="107" y="161"/>
                    </a:lnTo>
                    <a:lnTo>
                      <a:pt x="0" y="161"/>
                    </a:lnTo>
                    <a:lnTo>
                      <a:pt x="0" y="0"/>
                    </a:lnTo>
                    <a:lnTo>
                      <a:pt x="160" y="0"/>
                    </a:lnTo>
                    <a:close/>
                  </a:path>
                </a:pathLst>
              </a:custGeom>
              <a:solidFill>
                <a:srgbClr val="00BE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" name="ïsḻïḑe">
                <a:extLst>
                  <a:ext uri="{FF2B5EF4-FFF2-40B4-BE49-F238E27FC236}">
                    <a16:creationId xmlns:a16="http://schemas.microsoft.com/office/drawing/2014/main" id="{E908BA0B-844B-47A4-BE9F-78382CAD8E4E}"/>
                  </a:ext>
                </a:extLst>
              </p:cNvPr>
              <p:cNvSpPr/>
              <p:nvPr/>
            </p:nvSpPr>
            <p:spPr bwMode="auto">
              <a:xfrm>
                <a:off x="7161213" y="1727200"/>
                <a:ext cx="84138" cy="85725"/>
              </a:xfrm>
              <a:custGeom>
                <a:avLst/>
                <a:gdLst>
                  <a:gd name="T0" fmla="*/ 53 w 53"/>
                  <a:gd name="T1" fmla="*/ 0 h 54"/>
                  <a:gd name="T2" fmla="*/ 0 w 53"/>
                  <a:gd name="T3" fmla="*/ 54 h 54"/>
                  <a:gd name="T4" fmla="*/ 0 w 53"/>
                  <a:gd name="T5" fmla="*/ 0 h 54"/>
                  <a:gd name="T6" fmla="*/ 53 w 53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3" h="54">
                    <a:moveTo>
                      <a:pt x="53" y="0"/>
                    </a:moveTo>
                    <a:lnTo>
                      <a:pt x="0" y="54"/>
                    </a:lnTo>
                    <a:lnTo>
                      <a:pt x="0" y="0"/>
                    </a:lnTo>
                    <a:lnTo>
                      <a:pt x="53" y="0"/>
                    </a:lnTo>
                    <a:close/>
                  </a:path>
                </a:pathLst>
              </a:cu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7" name="í$ḻîḓè">
                <a:extLst>
                  <a:ext uri="{FF2B5EF4-FFF2-40B4-BE49-F238E27FC236}">
                    <a16:creationId xmlns:a16="http://schemas.microsoft.com/office/drawing/2014/main" id="{319F4E3F-C3DF-4BF1-927A-6B3FFBFA8C3A}"/>
                  </a:ext>
                </a:extLst>
              </p:cNvPr>
              <p:cNvSpPr/>
              <p:nvPr/>
            </p:nvSpPr>
            <p:spPr bwMode="auto">
              <a:xfrm>
                <a:off x="6621463" y="1557338"/>
                <a:ext cx="254000" cy="255588"/>
              </a:xfrm>
              <a:prstGeom prst="rect">
                <a:avLst/>
              </a:prstGeom>
              <a:solidFill>
                <a:srgbClr val="FF67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8" name="i$lïḍè">
                <a:extLst>
                  <a:ext uri="{FF2B5EF4-FFF2-40B4-BE49-F238E27FC236}">
                    <a16:creationId xmlns:a16="http://schemas.microsoft.com/office/drawing/2014/main" id="{CD66EDF3-D568-4EBB-81FD-103538A466F1}"/>
                  </a:ext>
                </a:extLst>
              </p:cNvPr>
              <p:cNvSpPr/>
              <p:nvPr/>
            </p:nvSpPr>
            <p:spPr bwMode="auto">
              <a:xfrm>
                <a:off x="4514851" y="3492500"/>
                <a:ext cx="2773363" cy="2381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9" name="iṥ1îḍé">
                <a:extLst>
                  <a:ext uri="{FF2B5EF4-FFF2-40B4-BE49-F238E27FC236}">
                    <a16:creationId xmlns:a16="http://schemas.microsoft.com/office/drawing/2014/main" id="{1A72435A-E049-48EF-9725-9BDCAA9B8256}"/>
                  </a:ext>
                </a:extLst>
              </p:cNvPr>
              <p:cNvSpPr/>
              <p:nvPr/>
            </p:nvSpPr>
            <p:spPr bwMode="auto">
              <a:xfrm>
                <a:off x="3992563" y="1763713"/>
                <a:ext cx="522288" cy="4921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0" name="ïşļïḓè">
                <a:extLst>
                  <a:ext uri="{FF2B5EF4-FFF2-40B4-BE49-F238E27FC236}">
                    <a16:creationId xmlns:a16="http://schemas.microsoft.com/office/drawing/2014/main" id="{18E2197E-9B36-4226-9A0F-D7D779CA9308}"/>
                  </a:ext>
                </a:extLst>
              </p:cNvPr>
              <p:cNvSpPr/>
              <p:nvPr/>
            </p:nvSpPr>
            <p:spPr bwMode="auto">
              <a:xfrm>
                <a:off x="3992563" y="1909763"/>
                <a:ext cx="522288" cy="4921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1" name="î$ľîďè">
                <a:extLst>
                  <a:ext uri="{FF2B5EF4-FFF2-40B4-BE49-F238E27FC236}">
                    <a16:creationId xmlns:a16="http://schemas.microsoft.com/office/drawing/2014/main" id="{3A0F0480-2286-45E6-8231-9E4CAA3E24AA}"/>
                  </a:ext>
                </a:extLst>
              </p:cNvPr>
              <p:cNvSpPr/>
              <p:nvPr/>
            </p:nvSpPr>
            <p:spPr bwMode="auto">
              <a:xfrm>
                <a:off x="3992563" y="2049463"/>
                <a:ext cx="522288" cy="47625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2" name="ïSļíḑê">
                <a:extLst>
                  <a:ext uri="{FF2B5EF4-FFF2-40B4-BE49-F238E27FC236}">
                    <a16:creationId xmlns:a16="http://schemas.microsoft.com/office/drawing/2014/main" id="{FF6F29FF-8E75-4B55-B263-A7554FED8B79}"/>
                  </a:ext>
                </a:extLst>
              </p:cNvPr>
              <p:cNvSpPr/>
              <p:nvPr/>
            </p:nvSpPr>
            <p:spPr bwMode="auto">
              <a:xfrm>
                <a:off x="3992563" y="2195513"/>
                <a:ext cx="522288" cy="47625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3" name="íś1ïḓè">
                <a:extLst>
                  <a:ext uri="{FF2B5EF4-FFF2-40B4-BE49-F238E27FC236}">
                    <a16:creationId xmlns:a16="http://schemas.microsoft.com/office/drawing/2014/main" id="{93927BF3-6FC2-4E10-BF3A-6A45EFA7F738}"/>
                  </a:ext>
                </a:extLst>
              </p:cNvPr>
              <p:cNvSpPr/>
              <p:nvPr/>
            </p:nvSpPr>
            <p:spPr bwMode="auto">
              <a:xfrm>
                <a:off x="4035426" y="1570038"/>
                <a:ext cx="90488" cy="90488"/>
              </a:xfrm>
              <a:prstGeom prst="ellipse">
                <a:avLst/>
              </a:prstGeom>
              <a:solidFill>
                <a:srgbClr val="5202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4" name="íṧḻïḍe">
                <a:extLst>
                  <a:ext uri="{FF2B5EF4-FFF2-40B4-BE49-F238E27FC236}">
                    <a16:creationId xmlns:a16="http://schemas.microsoft.com/office/drawing/2014/main" id="{4184CBCD-9183-4105-A262-DAEE40D33C65}"/>
                  </a:ext>
                </a:extLst>
              </p:cNvPr>
              <p:cNvSpPr/>
              <p:nvPr/>
            </p:nvSpPr>
            <p:spPr bwMode="auto">
              <a:xfrm>
                <a:off x="4211638" y="1570038"/>
                <a:ext cx="90488" cy="90488"/>
              </a:xfrm>
              <a:prstGeom prst="ellipse">
                <a:avLst/>
              </a:prstGeom>
              <a:solidFill>
                <a:srgbClr val="5202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" name="ïśļíďé">
                <a:extLst>
                  <a:ext uri="{FF2B5EF4-FFF2-40B4-BE49-F238E27FC236}">
                    <a16:creationId xmlns:a16="http://schemas.microsoft.com/office/drawing/2014/main" id="{66F789EB-94DB-442C-80DE-E0A880BAB924}"/>
                  </a:ext>
                </a:extLst>
              </p:cNvPr>
              <p:cNvSpPr/>
              <p:nvPr/>
            </p:nvSpPr>
            <p:spPr bwMode="auto">
              <a:xfrm>
                <a:off x="4381501" y="1570038"/>
                <a:ext cx="90488" cy="90488"/>
              </a:xfrm>
              <a:prstGeom prst="ellipse">
                <a:avLst/>
              </a:prstGeom>
              <a:solidFill>
                <a:srgbClr val="5202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" name="îṣļíďè">
                <a:extLst>
                  <a:ext uri="{FF2B5EF4-FFF2-40B4-BE49-F238E27FC236}">
                    <a16:creationId xmlns:a16="http://schemas.microsoft.com/office/drawing/2014/main" id="{266F7BE6-2A06-4310-AAF3-332F56E66029}"/>
                  </a:ext>
                </a:extLst>
              </p:cNvPr>
              <p:cNvSpPr/>
              <p:nvPr/>
            </p:nvSpPr>
            <p:spPr bwMode="auto">
              <a:xfrm>
                <a:off x="3719513" y="2509838"/>
                <a:ext cx="449263" cy="1309688"/>
              </a:xfrm>
              <a:custGeom>
                <a:avLst/>
                <a:gdLst>
                  <a:gd name="T0" fmla="*/ 14 w 74"/>
                  <a:gd name="T1" fmla="*/ 72 h 216"/>
                  <a:gd name="T2" fmla="*/ 4 w 74"/>
                  <a:gd name="T3" fmla="*/ 78 h 216"/>
                  <a:gd name="T4" fmla="*/ 0 w 74"/>
                  <a:gd name="T5" fmla="*/ 80 h 216"/>
                  <a:gd name="T6" fmla="*/ 0 w 74"/>
                  <a:gd name="T7" fmla="*/ 216 h 216"/>
                  <a:gd name="T8" fmla="*/ 74 w 74"/>
                  <a:gd name="T9" fmla="*/ 216 h 216"/>
                  <a:gd name="T10" fmla="*/ 68 w 74"/>
                  <a:gd name="T11" fmla="*/ 200 h 216"/>
                  <a:gd name="T12" fmla="*/ 14 w 74"/>
                  <a:gd name="T13" fmla="*/ 200 h 216"/>
                  <a:gd name="T14" fmla="*/ 14 w 74"/>
                  <a:gd name="T15" fmla="*/ 72 h 216"/>
                  <a:gd name="T16" fmla="*/ 5 w 74"/>
                  <a:gd name="T17" fmla="*/ 48 h 216"/>
                  <a:gd name="T18" fmla="*/ 5 w 74"/>
                  <a:gd name="T19" fmla="*/ 48 h 216"/>
                  <a:gd name="T20" fmla="*/ 5 w 74"/>
                  <a:gd name="T21" fmla="*/ 48 h 216"/>
                  <a:gd name="T22" fmla="*/ 5 w 74"/>
                  <a:gd name="T23" fmla="*/ 48 h 216"/>
                  <a:gd name="T24" fmla="*/ 14 w 74"/>
                  <a:gd name="T25" fmla="*/ 4 h 216"/>
                  <a:gd name="T26" fmla="*/ 10 w 74"/>
                  <a:gd name="T27" fmla="*/ 6 h 216"/>
                  <a:gd name="T28" fmla="*/ 0 w 74"/>
                  <a:gd name="T29" fmla="*/ 14 h 216"/>
                  <a:gd name="T30" fmla="*/ 0 w 74"/>
                  <a:gd name="T31" fmla="*/ 50 h 216"/>
                  <a:gd name="T32" fmla="*/ 2 w 74"/>
                  <a:gd name="T33" fmla="*/ 54 h 216"/>
                  <a:gd name="T34" fmla="*/ 3 w 74"/>
                  <a:gd name="T35" fmla="*/ 50 h 216"/>
                  <a:gd name="T36" fmla="*/ 2 w 74"/>
                  <a:gd name="T37" fmla="*/ 54 h 216"/>
                  <a:gd name="T38" fmla="*/ 10 w 74"/>
                  <a:gd name="T39" fmla="*/ 62 h 216"/>
                  <a:gd name="T40" fmla="*/ 14 w 74"/>
                  <a:gd name="T41" fmla="*/ 62 h 216"/>
                  <a:gd name="T42" fmla="*/ 14 w 74"/>
                  <a:gd name="T43" fmla="*/ 62 h 216"/>
                  <a:gd name="T44" fmla="*/ 14 w 74"/>
                  <a:gd name="T45" fmla="*/ 64 h 216"/>
                  <a:gd name="T46" fmla="*/ 14 w 74"/>
                  <a:gd name="T47" fmla="*/ 4 h 216"/>
                  <a:gd name="T48" fmla="*/ 14 w 74"/>
                  <a:gd name="T49" fmla="*/ 0 h 216"/>
                  <a:gd name="T50" fmla="*/ 0 w 74"/>
                  <a:gd name="T51" fmla="*/ 9 h 216"/>
                  <a:gd name="T52" fmla="*/ 0 w 74"/>
                  <a:gd name="T53" fmla="*/ 13 h 216"/>
                  <a:gd name="T54" fmla="*/ 14 w 74"/>
                  <a:gd name="T55" fmla="*/ 3 h 216"/>
                  <a:gd name="T56" fmla="*/ 14 w 74"/>
                  <a:gd name="T57" fmla="*/ 0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4" h="216">
                    <a:moveTo>
                      <a:pt x="14" y="72"/>
                    </a:moveTo>
                    <a:cubicBezTo>
                      <a:pt x="11" y="73"/>
                      <a:pt x="8" y="75"/>
                      <a:pt x="4" y="78"/>
                    </a:cubicBezTo>
                    <a:cubicBezTo>
                      <a:pt x="4" y="78"/>
                      <a:pt x="3" y="79"/>
                      <a:pt x="0" y="80"/>
                    </a:cubicBezTo>
                    <a:cubicBezTo>
                      <a:pt x="0" y="216"/>
                      <a:pt x="0" y="216"/>
                      <a:pt x="0" y="216"/>
                    </a:cubicBezTo>
                    <a:cubicBezTo>
                      <a:pt x="74" y="216"/>
                      <a:pt x="74" y="216"/>
                      <a:pt x="74" y="216"/>
                    </a:cubicBezTo>
                    <a:cubicBezTo>
                      <a:pt x="72" y="211"/>
                      <a:pt x="70" y="206"/>
                      <a:pt x="68" y="200"/>
                    </a:cubicBezTo>
                    <a:cubicBezTo>
                      <a:pt x="14" y="200"/>
                      <a:pt x="14" y="200"/>
                      <a:pt x="14" y="200"/>
                    </a:cubicBezTo>
                    <a:cubicBezTo>
                      <a:pt x="14" y="72"/>
                      <a:pt x="14" y="72"/>
                      <a:pt x="14" y="72"/>
                    </a:cubicBezTo>
                    <a:moveTo>
                      <a:pt x="5" y="48"/>
                    </a:moveTo>
                    <a:cubicBezTo>
                      <a:pt x="5" y="48"/>
                      <a:pt x="5" y="48"/>
                      <a:pt x="5" y="48"/>
                    </a:cubicBezTo>
                    <a:cubicBezTo>
                      <a:pt x="5" y="48"/>
                      <a:pt x="5" y="48"/>
                      <a:pt x="5" y="48"/>
                    </a:cubicBezTo>
                    <a:cubicBezTo>
                      <a:pt x="5" y="48"/>
                      <a:pt x="5" y="48"/>
                      <a:pt x="5" y="48"/>
                    </a:cubicBezTo>
                    <a:moveTo>
                      <a:pt x="14" y="4"/>
                    </a:moveTo>
                    <a:cubicBezTo>
                      <a:pt x="13" y="5"/>
                      <a:pt x="12" y="5"/>
                      <a:pt x="10" y="6"/>
                    </a:cubicBezTo>
                    <a:cubicBezTo>
                      <a:pt x="6" y="8"/>
                      <a:pt x="2" y="11"/>
                      <a:pt x="0" y="14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1" y="53"/>
                      <a:pt x="2" y="54"/>
                      <a:pt x="2" y="54"/>
                    </a:cubicBezTo>
                    <a:cubicBezTo>
                      <a:pt x="2" y="54"/>
                      <a:pt x="2" y="53"/>
                      <a:pt x="3" y="50"/>
                    </a:cubicBezTo>
                    <a:cubicBezTo>
                      <a:pt x="3" y="52"/>
                      <a:pt x="2" y="53"/>
                      <a:pt x="2" y="54"/>
                    </a:cubicBezTo>
                    <a:cubicBezTo>
                      <a:pt x="2" y="59"/>
                      <a:pt x="6" y="62"/>
                      <a:pt x="10" y="62"/>
                    </a:cubicBezTo>
                    <a:cubicBezTo>
                      <a:pt x="12" y="62"/>
                      <a:pt x="13" y="62"/>
                      <a:pt x="14" y="62"/>
                    </a:cubicBezTo>
                    <a:cubicBezTo>
                      <a:pt x="14" y="62"/>
                      <a:pt x="14" y="62"/>
                      <a:pt x="14" y="62"/>
                    </a:cubicBezTo>
                    <a:cubicBezTo>
                      <a:pt x="14" y="63"/>
                      <a:pt x="14" y="64"/>
                      <a:pt x="14" y="64"/>
                    </a:cubicBezTo>
                    <a:cubicBezTo>
                      <a:pt x="14" y="4"/>
                      <a:pt x="14" y="4"/>
                      <a:pt x="14" y="4"/>
                    </a:cubicBezTo>
                    <a:moveTo>
                      <a:pt x="14" y="0"/>
                    </a:moveTo>
                    <a:cubicBezTo>
                      <a:pt x="8" y="2"/>
                      <a:pt x="3" y="5"/>
                      <a:pt x="0" y="9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4" y="8"/>
                      <a:pt x="8" y="4"/>
                      <a:pt x="14" y="3"/>
                    </a:cubicBezTo>
                    <a:cubicBezTo>
                      <a:pt x="14" y="0"/>
                      <a:pt x="14" y="0"/>
                      <a:pt x="14" y="0"/>
                    </a:cubicBezTo>
                  </a:path>
                </a:pathLst>
              </a:custGeom>
              <a:solidFill>
                <a:srgbClr val="DC60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" name="ïṥlïdè">
                <a:extLst>
                  <a:ext uri="{FF2B5EF4-FFF2-40B4-BE49-F238E27FC236}">
                    <a16:creationId xmlns:a16="http://schemas.microsoft.com/office/drawing/2014/main" id="{A2CC7523-57F2-43B9-A684-6392A253644E}"/>
                  </a:ext>
                </a:extLst>
              </p:cNvPr>
              <p:cNvSpPr/>
              <p:nvPr/>
            </p:nvSpPr>
            <p:spPr bwMode="auto">
              <a:xfrm>
                <a:off x="3805238" y="2255838"/>
                <a:ext cx="1208088" cy="1466850"/>
              </a:xfrm>
              <a:custGeom>
                <a:avLst/>
                <a:gdLst>
                  <a:gd name="T0" fmla="*/ 153 w 199"/>
                  <a:gd name="T1" fmla="*/ 11 h 242"/>
                  <a:gd name="T2" fmla="*/ 150 w 199"/>
                  <a:gd name="T3" fmla="*/ 12 h 242"/>
                  <a:gd name="T4" fmla="*/ 147 w 199"/>
                  <a:gd name="T5" fmla="*/ 24 h 242"/>
                  <a:gd name="T6" fmla="*/ 147 w 199"/>
                  <a:gd name="T7" fmla="*/ 44 h 242"/>
                  <a:gd name="T8" fmla="*/ 146 w 199"/>
                  <a:gd name="T9" fmla="*/ 45 h 242"/>
                  <a:gd name="T10" fmla="*/ 146 w 199"/>
                  <a:gd name="T11" fmla="*/ 46 h 242"/>
                  <a:gd name="T12" fmla="*/ 146 w 199"/>
                  <a:gd name="T13" fmla="*/ 47 h 242"/>
                  <a:gd name="T14" fmla="*/ 145 w 199"/>
                  <a:gd name="T15" fmla="*/ 49 h 242"/>
                  <a:gd name="T16" fmla="*/ 145 w 199"/>
                  <a:gd name="T17" fmla="*/ 52 h 242"/>
                  <a:gd name="T18" fmla="*/ 144 w 199"/>
                  <a:gd name="T19" fmla="*/ 54 h 242"/>
                  <a:gd name="T20" fmla="*/ 143 w 199"/>
                  <a:gd name="T21" fmla="*/ 57 h 242"/>
                  <a:gd name="T22" fmla="*/ 142 w 199"/>
                  <a:gd name="T23" fmla="*/ 59 h 242"/>
                  <a:gd name="T24" fmla="*/ 142 w 199"/>
                  <a:gd name="T25" fmla="*/ 62 h 242"/>
                  <a:gd name="T26" fmla="*/ 141 w 199"/>
                  <a:gd name="T27" fmla="*/ 65 h 242"/>
                  <a:gd name="T28" fmla="*/ 139 w 199"/>
                  <a:gd name="T29" fmla="*/ 68 h 242"/>
                  <a:gd name="T30" fmla="*/ 95 w 199"/>
                  <a:gd name="T31" fmla="*/ 127 h 242"/>
                  <a:gd name="T32" fmla="*/ 35 w 199"/>
                  <a:gd name="T33" fmla="*/ 121 h 242"/>
                  <a:gd name="T34" fmla="*/ 30 w 199"/>
                  <a:gd name="T35" fmla="*/ 111 h 242"/>
                  <a:gd name="T36" fmla="*/ 33 w 199"/>
                  <a:gd name="T37" fmla="*/ 111 h 242"/>
                  <a:gd name="T38" fmla="*/ 40 w 199"/>
                  <a:gd name="T39" fmla="*/ 58 h 242"/>
                  <a:gd name="T40" fmla="*/ 22 w 199"/>
                  <a:gd name="T41" fmla="*/ 44 h 242"/>
                  <a:gd name="T42" fmla="*/ 0 w 199"/>
                  <a:gd name="T43" fmla="*/ 42 h 242"/>
                  <a:gd name="T44" fmla="*/ 9 w 199"/>
                  <a:gd name="T45" fmla="*/ 43 h 242"/>
                  <a:gd name="T46" fmla="*/ 0 w 199"/>
                  <a:gd name="T47" fmla="*/ 46 h 242"/>
                  <a:gd name="T48" fmla="*/ 1 w 199"/>
                  <a:gd name="T49" fmla="*/ 114 h 242"/>
                  <a:gd name="T50" fmla="*/ 0 w 199"/>
                  <a:gd name="T51" fmla="*/ 242 h 242"/>
                  <a:gd name="T52" fmla="*/ 51 w 199"/>
                  <a:gd name="T53" fmla="*/ 187 h 242"/>
                  <a:gd name="T54" fmla="*/ 68 w 199"/>
                  <a:gd name="T55" fmla="*/ 178 h 242"/>
                  <a:gd name="T56" fmla="*/ 156 w 199"/>
                  <a:gd name="T57" fmla="*/ 78 h 242"/>
                  <a:gd name="T58" fmla="*/ 157 w 199"/>
                  <a:gd name="T59" fmla="*/ 75 h 242"/>
                  <a:gd name="T60" fmla="*/ 158 w 199"/>
                  <a:gd name="T61" fmla="*/ 71 h 242"/>
                  <a:gd name="T62" fmla="*/ 158 w 199"/>
                  <a:gd name="T63" fmla="*/ 69 h 242"/>
                  <a:gd name="T64" fmla="*/ 159 w 199"/>
                  <a:gd name="T65" fmla="*/ 65 h 242"/>
                  <a:gd name="T66" fmla="*/ 159 w 199"/>
                  <a:gd name="T67" fmla="*/ 62 h 242"/>
                  <a:gd name="T68" fmla="*/ 160 w 199"/>
                  <a:gd name="T69" fmla="*/ 60 h 242"/>
                  <a:gd name="T70" fmla="*/ 160 w 199"/>
                  <a:gd name="T71" fmla="*/ 55 h 242"/>
                  <a:gd name="T72" fmla="*/ 161 w 199"/>
                  <a:gd name="T73" fmla="*/ 53 h 242"/>
                  <a:gd name="T74" fmla="*/ 161 w 199"/>
                  <a:gd name="T75" fmla="*/ 50 h 242"/>
                  <a:gd name="T76" fmla="*/ 161 w 199"/>
                  <a:gd name="T77" fmla="*/ 48 h 242"/>
                  <a:gd name="T78" fmla="*/ 161 w 199"/>
                  <a:gd name="T79" fmla="*/ 46 h 242"/>
                  <a:gd name="T80" fmla="*/ 161 w 199"/>
                  <a:gd name="T81" fmla="*/ 46 h 242"/>
                  <a:gd name="T82" fmla="*/ 172 w 199"/>
                  <a:gd name="T83" fmla="*/ 36 h 242"/>
                  <a:gd name="T84" fmla="*/ 168 w 199"/>
                  <a:gd name="T85" fmla="*/ 15 h 242"/>
                  <a:gd name="T86" fmla="*/ 192 w 199"/>
                  <a:gd name="T87" fmla="*/ 0 h 242"/>
                  <a:gd name="T88" fmla="*/ 185 w 199"/>
                  <a:gd name="T89" fmla="*/ 5 h 242"/>
                  <a:gd name="T90" fmla="*/ 177 w 199"/>
                  <a:gd name="T91" fmla="*/ 16 h 242"/>
                  <a:gd name="T92" fmla="*/ 195 w 199"/>
                  <a:gd name="T93" fmla="*/ 8 h 242"/>
                  <a:gd name="T94" fmla="*/ 198 w 199"/>
                  <a:gd name="T95" fmla="*/ 4 h 242"/>
                  <a:gd name="T96" fmla="*/ 192 w 199"/>
                  <a:gd name="T97" fmla="*/ 0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99" h="242">
                    <a:moveTo>
                      <a:pt x="155" y="11"/>
                    </a:moveTo>
                    <a:cubicBezTo>
                      <a:pt x="154" y="11"/>
                      <a:pt x="154" y="11"/>
                      <a:pt x="153" y="11"/>
                    </a:cubicBezTo>
                    <a:cubicBezTo>
                      <a:pt x="152" y="11"/>
                      <a:pt x="152" y="11"/>
                      <a:pt x="151" y="12"/>
                    </a:cubicBezTo>
                    <a:cubicBezTo>
                      <a:pt x="150" y="12"/>
                      <a:pt x="150" y="12"/>
                      <a:pt x="150" y="12"/>
                    </a:cubicBezTo>
                    <a:cubicBezTo>
                      <a:pt x="150" y="13"/>
                      <a:pt x="150" y="13"/>
                      <a:pt x="150" y="13"/>
                    </a:cubicBezTo>
                    <a:cubicBezTo>
                      <a:pt x="146" y="16"/>
                      <a:pt x="147" y="24"/>
                      <a:pt x="147" y="24"/>
                    </a:cubicBezTo>
                    <a:cubicBezTo>
                      <a:pt x="138" y="29"/>
                      <a:pt x="147" y="43"/>
                      <a:pt x="147" y="43"/>
                    </a:cubicBezTo>
                    <a:cubicBezTo>
                      <a:pt x="147" y="43"/>
                      <a:pt x="147" y="44"/>
                      <a:pt x="147" y="44"/>
                    </a:cubicBezTo>
                    <a:cubicBezTo>
                      <a:pt x="147" y="44"/>
                      <a:pt x="147" y="44"/>
                      <a:pt x="147" y="44"/>
                    </a:cubicBezTo>
                    <a:cubicBezTo>
                      <a:pt x="146" y="45"/>
                      <a:pt x="146" y="45"/>
                      <a:pt x="146" y="45"/>
                    </a:cubicBezTo>
                    <a:cubicBezTo>
                      <a:pt x="146" y="45"/>
                      <a:pt x="146" y="45"/>
                      <a:pt x="146" y="45"/>
                    </a:cubicBezTo>
                    <a:cubicBezTo>
                      <a:pt x="146" y="46"/>
                      <a:pt x="146" y="46"/>
                      <a:pt x="146" y="46"/>
                    </a:cubicBezTo>
                    <a:cubicBezTo>
                      <a:pt x="146" y="47"/>
                      <a:pt x="146" y="47"/>
                      <a:pt x="146" y="47"/>
                    </a:cubicBezTo>
                    <a:cubicBezTo>
                      <a:pt x="146" y="47"/>
                      <a:pt x="146" y="47"/>
                      <a:pt x="146" y="47"/>
                    </a:cubicBezTo>
                    <a:cubicBezTo>
                      <a:pt x="146" y="48"/>
                      <a:pt x="146" y="48"/>
                      <a:pt x="146" y="48"/>
                    </a:cubicBezTo>
                    <a:cubicBezTo>
                      <a:pt x="145" y="49"/>
                      <a:pt x="145" y="49"/>
                      <a:pt x="145" y="49"/>
                    </a:cubicBezTo>
                    <a:cubicBezTo>
                      <a:pt x="145" y="50"/>
                      <a:pt x="145" y="50"/>
                      <a:pt x="145" y="50"/>
                    </a:cubicBezTo>
                    <a:cubicBezTo>
                      <a:pt x="145" y="51"/>
                      <a:pt x="145" y="51"/>
                      <a:pt x="145" y="52"/>
                    </a:cubicBezTo>
                    <a:cubicBezTo>
                      <a:pt x="145" y="52"/>
                      <a:pt x="144" y="53"/>
                      <a:pt x="144" y="53"/>
                    </a:cubicBezTo>
                    <a:cubicBezTo>
                      <a:pt x="144" y="54"/>
                      <a:pt x="144" y="54"/>
                      <a:pt x="144" y="54"/>
                    </a:cubicBezTo>
                    <a:cubicBezTo>
                      <a:pt x="144" y="55"/>
                      <a:pt x="144" y="55"/>
                      <a:pt x="144" y="56"/>
                    </a:cubicBezTo>
                    <a:cubicBezTo>
                      <a:pt x="144" y="56"/>
                      <a:pt x="143" y="56"/>
                      <a:pt x="143" y="57"/>
                    </a:cubicBezTo>
                    <a:cubicBezTo>
                      <a:pt x="143" y="57"/>
                      <a:pt x="143" y="58"/>
                      <a:pt x="143" y="58"/>
                    </a:cubicBezTo>
                    <a:cubicBezTo>
                      <a:pt x="143" y="59"/>
                      <a:pt x="143" y="59"/>
                      <a:pt x="142" y="59"/>
                    </a:cubicBezTo>
                    <a:cubicBezTo>
                      <a:pt x="142" y="60"/>
                      <a:pt x="142" y="60"/>
                      <a:pt x="142" y="61"/>
                    </a:cubicBezTo>
                    <a:cubicBezTo>
                      <a:pt x="142" y="61"/>
                      <a:pt x="142" y="62"/>
                      <a:pt x="142" y="62"/>
                    </a:cubicBezTo>
                    <a:cubicBezTo>
                      <a:pt x="141" y="63"/>
                      <a:pt x="141" y="63"/>
                      <a:pt x="141" y="64"/>
                    </a:cubicBezTo>
                    <a:cubicBezTo>
                      <a:pt x="141" y="64"/>
                      <a:pt x="141" y="65"/>
                      <a:pt x="141" y="65"/>
                    </a:cubicBezTo>
                    <a:cubicBezTo>
                      <a:pt x="140" y="66"/>
                      <a:pt x="140" y="66"/>
                      <a:pt x="140" y="67"/>
                    </a:cubicBezTo>
                    <a:cubicBezTo>
                      <a:pt x="140" y="67"/>
                      <a:pt x="140" y="68"/>
                      <a:pt x="139" y="68"/>
                    </a:cubicBezTo>
                    <a:cubicBezTo>
                      <a:pt x="139" y="69"/>
                      <a:pt x="139" y="70"/>
                      <a:pt x="139" y="71"/>
                    </a:cubicBezTo>
                    <a:cubicBezTo>
                      <a:pt x="131" y="92"/>
                      <a:pt x="117" y="119"/>
                      <a:pt x="95" y="127"/>
                    </a:cubicBezTo>
                    <a:cubicBezTo>
                      <a:pt x="86" y="129"/>
                      <a:pt x="78" y="131"/>
                      <a:pt x="71" y="131"/>
                    </a:cubicBezTo>
                    <a:cubicBezTo>
                      <a:pt x="54" y="131"/>
                      <a:pt x="41" y="125"/>
                      <a:pt x="35" y="121"/>
                    </a:cubicBezTo>
                    <a:cubicBezTo>
                      <a:pt x="33" y="119"/>
                      <a:pt x="31" y="119"/>
                      <a:pt x="31" y="118"/>
                    </a:cubicBezTo>
                    <a:cubicBezTo>
                      <a:pt x="31" y="116"/>
                      <a:pt x="30" y="114"/>
                      <a:pt x="30" y="111"/>
                    </a:cubicBezTo>
                    <a:cubicBezTo>
                      <a:pt x="30" y="111"/>
                      <a:pt x="30" y="111"/>
                      <a:pt x="30" y="111"/>
                    </a:cubicBezTo>
                    <a:cubicBezTo>
                      <a:pt x="31" y="111"/>
                      <a:pt x="32" y="111"/>
                      <a:pt x="33" y="111"/>
                    </a:cubicBezTo>
                    <a:cubicBezTo>
                      <a:pt x="58" y="107"/>
                      <a:pt x="42" y="64"/>
                      <a:pt x="42" y="64"/>
                    </a:cubicBezTo>
                    <a:cubicBezTo>
                      <a:pt x="42" y="64"/>
                      <a:pt x="42" y="61"/>
                      <a:pt x="40" y="58"/>
                    </a:cubicBezTo>
                    <a:cubicBezTo>
                      <a:pt x="40" y="58"/>
                      <a:pt x="39" y="56"/>
                      <a:pt x="36" y="52"/>
                    </a:cubicBezTo>
                    <a:cubicBezTo>
                      <a:pt x="33" y="49"/>
                      <a:pt x="29" y="45"/>
                      <a:pt x="22" y="44"/>
                    </a:cubicBezTo>
                    <a:cubicBezTo>
                      <a:pt x="18" y="41"/>
                      <a:pt x="14" y="40"/>
                      <a:pt x="9" y="40"/>
                    </a:cubicBezTo>
                    <a:cubicBezTo>
                      <a:pt x="6" y="40"/>
                      <a:pt x="3" y="41"/>
                      <a:pt x="0" y="42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3" y="44"/>
                      <a:pt x="6" y="43"/>
                      <a:pt x="9" y="43"/>
                    </a:cubicBezTo>
                    <a:cubicBezTo>
                      <a:pt x="9" y="43"/>
                      <a:pt x="10" y="43"/>
                      <a:pt x="10" y="43"/>
                    </a:cubicBezTo>
                    <a:cubicBezTo>
                      <a:pt x="7" y="44"/>
                      <a:pt x="4" y="45"/>
                      <a:pt x="0" y="46"/>
                    </a:cubicBezTo>
                    <a:cubicBezTo>
                      <a:pt x="0" y="106"/>
                      <a:pt x="0" y="106"/>
                      <a:pt x="0" y="106"/>
                    </a:cubicBezTo>
                    <a:cubicBezTo>
                      <a:pt x="0" y="109"/>
                      <a:pt x="0" y="111"/>
                      <a:pt x="1" y="114"/>
                    </a:cubicBezTo>
                    <a:cubicBezTo>
                      <a:pt x="1" y="114"/>
                      <a:pt x="0" y="114"/>
                      <a:pt x="0" y="114"/>
                    </a:cubicBezTo>
                    <a:cubicBezTo>
                      <a:pt x="0" y="242"/>
                      <a:pt x="0" y="242"/>
                      <a:pt x="0" y="242"/>
                    </a:cubicBezTo>
                    <a:cubicBezTo>
                      <a:pt x="54" y="242"/>
                      <a:pt x="54" y="242"/>
                      <a:pt x="54" y="242"/>
                    </a:cubicBezTo>
                    <a:cubicBezTo>
                      <a:pt x="50" y="225"/>
                      <a:pt x="47" y="206"/>
                      <a:pt x="51" y="187"/>
                    </a:cubicBezTo>
                    <a:cubicBezTo>
                      <a:pt x="52" y="184"/>
                      <a:pt x="52" y="181"/>
                      <a:pt x="53" y="178"/>
                    </a:cubicBezTo>
                    <a:cubicBezTo>
                      <a:pt x="57" y="178"/>
                      <a:pt x="62" y="178"/>
                      <a:pt x="68" y="178"/>
                    </a:cubicBezTo>
                    <a:cubicBezTo>
                      <a:pt x="71" y="178"/>
                      <a:pt x="75" y="178"/>
                      <a:pt x="80" y="178"/>
                    </a:cubicBezTo>
                    <a:cubicBezTo>
                      <a:pt x="128" y="175"/>
                      <a:pt x="148" y="117"/>
                      <a:pt x="156" y="78"/>
                    </a:cubicBezTo>
                    <a:cubicBezTo>
                      <a:pt x="157" y="77"/>
                      <a:pt x="157" y="76"/>
                      <a:pt x="157" y="75"/>
                    </a:cubicBezTo>
                    <a:cubicBezTo>
                      <a:pt x="157" y="75"/>
                      <a:pt x="157" y="75"/>
                      <a:pt x="157" y="75"/>
                    </a:cubicBezTo>
                    <a:cubicBezTo>
                      <a:pt x="157" y="74"/>
                      <a:pt x="157" y="73"/>
                      <a:pt x="158" y="72"/>
                    </a:cubicBezTo>
                    <a:cubicBezTo>
                      <a:pt x="158" y="71"/>
                      <a:pt x="158" y="71"/>
                      <a:pt x="158" y="71"/>
                    </a:cubicBezTo>
                    <a:cubicBezTo>
                      <a:pt x="158" y="70"/>
                      <a:pt x="158" y="70"/>
                      <a:pt x="158" y="69"/>
                    </a:cubicBezTo>
                    <a:cubicBezTo>
                      <a:pt x="158" y="69"/>
                      <a:pt x="158" y="69"/>
                      <a:pt x="158" y="69"/>
                    </a:cubicBezTo>
                    <a:cubicBezTo>
                      <a:pt x="158" y="67"/>
                      <a:pt x="159" y="66"/>
                      <a:pt x="159" y="65"/>
                    </a:cubicBezTo>
                    <a:cubicBezTo>
                      <a:pt x="159" y="65"/>
                      <a:pt x="159" y="65"/>
                      <a:pt x="159" y="65"/>
                    </a:cubicBezTo>
                    <a:cubicBezTo>
                      <a:pt x="159" y="65"/>
                      <a:pt x="159" y="64"/>
                      <a:pt x="159" y="63"/>
                    </a:cubicBezTo>
                    <a:cubicBezTo>
                      <a:pt x="159" y="62"/>
                      <a:pt x="159" y="62"/>
                      <a:pt x="159" y="62"/>
                    </a:cubicBezTo>
                    <a:cubicBezTo>
                      <a:pt x="159" y="62"/>
                      <a:pt x="160" y="61"/>
                      <a:pt x="160" y="60"/>
                    </a:cubicBezTo>
                    <a:cubicBezTo>
                      <a:pt x="160" y="60"/>
                      <a:pt x="160" y="60"/>
                      <a:pt x="160" y="60"/>
                    </a:cubicBezTo>
                    <a:cubicBezTo>
                      <a:pt x="160" y="58"/>
                      <a:pt x="160" y="57"/>
                      <a:pt x="160" y="55"/>
                    </a:cubicBezTo>
                    <a:cubicBezTo>
                      <a:pt x="160" y="55"/>
                      <a:pt x="160" y="55"/>
                      <a:pt x="160" y="55"/>
                    </a:cubicBezTo>
                    <a:cubicBezTo>
                      <a:pt x="160" y="54"/>
                      <a:pt x="161" y="54"/>
                      <a:pt x="161" y="53"/>
                    </a:cubicBezTo>
                    <a:cubicBezTo>
                      <a:pt x="161" y="53"/>
                      <a:pt x="161" y="53"/>
                      <a:pt x="161" y="53"/>
                    </a:cubicBezTo>
                    <a:cubicBezTo>
                      <a:pt x="161" y="52"/>
                      <a:pt x="161" y="51"/>
                      <a:pt x="161" y="50"/>
                    </a:cubicBezTo>
                    <a:cubicBezTo>
                      <a:pt x="161" y="50"/>
                      <a:pt x="161" y="50"/>
                      <a:pt x="161" y="50"/>
                    </a:cubicBezTo>
                    <a:cubicBezTo>
                      <a:pt x="161" y="49"/>
                      <a:pt x="161" y="49"/>
                      <a:pt x="161" y="48"/>
                    </a:cubicBezTo>
                    <a:cubicBezTo>
                      <a:pt x="161" y="48"/>
                      <a:pt x="161" y="48"/>
                      <a:pt x="161" y="48"/>
                    </a:cubicBezTo>
                    <a:cubicBezTo>
                      <a:pt x="161" y="48"/>
                      <a:pt x="161" y="47"/>
                      <a:pt x="161" y="47"/>
                    </a:cubicBezTo>
                    <a:cubicBezTo>
                      <a:pt x="161" y="46"/>
                      <a:pt x="161" y="46"/>
                      <a:pt x="161" y="46"/>
                    </a:cubicBezTo>
                    <a:cubicBezTo>
                      <a:pt x="161" y="46"/>
                      <a:pt x="161" y="46"/>
                      <a:pt x="161" y="46"/>
                    </a:cubicBezTo>
                    <a:cubicBezTo>
                      <a:pt x="161" y="46"/>
                      <a:pt x="161" y="46"/>
                      <a:pt x="161" y="46"/>
                    </a:cubicBezTo>
                    <a:cubicBezTo>
                      <a:pt x="161" y="46"/>
                      <a:pt x="161" y="46"/>
                      <a:pt x="161" y="46"/>
                    </a:cubicBezTo>
                    <a:cubicBezTo>
                      <a:pt x="166" y="42"/>
                      <a:pt x="170" y="39"/>
                      <a:pt x="172" y="36"/>
                    </a:cubicBezTo>
                    <a:cubicBezTo>
                      <a:pt x="172" y="12"/>
                      <a:pt x="172" y="12"/>
                      <a:pt x="172" y="12"/>
                    </a:cubicBezTo>
                    <a:cubicBezTo>
                      <a:pt x="168" y="15"/>
                      <a:pt x="168" y="15"/>
                      <a:pt x="168" y="15"/>
                    </a:cubicBezTo>
                    <a:cubicBezTo>
                      <a:pt x="164" y="12"/>
                      <a:pt x="158" y="11"/>
                      <a:pt x="155" y="11"/>
                    </a:cubicBezTo>
                    <a:moveTo>
                      <a:pt x="192" y="0"/>
                    </a:moveTo>
                    <a:cubicBezTo>
                      <a:pt x="191" y="0"/>
                      <a:pt x="191" y="0"/>
                      <a:pt x="191" y="0"/>
                    </a:cubicBezTo>
                    <a:cubicBezTo>
                      <a:pt x="187" y="0"/>
                      <a:pt x="185" y="5"/>
                      <a:pt x="185" y="5"/>
                    </a:cubicBezTo>
                    <a:cubicBezTo>
                      <a:pt x="177" y="9"/>
                      <a:pt x="177" y="9"/>
                      <a:pt x="177" y="9"/>
                    </a:cubicBezTo>
                    <a:cubicBezTo>
                      <a:pt x="177" y="16"/>
                      <a:pt x="177" y="16"/>
                      <a:pt x="177" y="16"/>
                    </a:cubicBezTo>
                    <a:cubicBezTo>
                      <a:pt x="188" y="9"/>
                      <a:pt x="188" y="9"/>
                      <a:pt x="188" y="9"/>
                    </a:cubicBezTo>
                    <a:cubicBezTo>
                      <a:pt x="188" y="9"/>
                      <a:pt x="191" y="8"/>
                      <a:pt x="195" y="8"/>
                    </a:cubicBezTo>
                    <a:cubicBezTo>
                      <a:pt x="197" y="8"/>
                      <a:pt x="198" y="6"/>
                      <a:pt x="199" y="4"/>
                    </a:cubicBezTo>
                    <a:cubicBezTo>
                      <a:pt x="199" y="4"/>
                      <a:pt x="198" y="4"/>
                      <a:pt x="198" y="4"/>
                    </a:cubicBezTo>
                    <a:cubicBezTo>
                      <a:pt x="195" y="4"/>
                      <a:pt x="193" y="3"/>
                      <a:pt x="192" y="0"/>
                    </a:cubicBezTo>
                    <a:cubicBezTo>
                      <a:pt x="192" y="0"/>
                      <a:pt x="192" y="0"/>
                      <a:pt x="192" y="0"/>
                    </a:cubicBezTo>
                  </a:path>
                </a:pathLst>
              </a:custGeom>
              <a:solidFill>
                <a:srgbClr val="EAEAEB">
                  <a:alpha val="23000"/>
                </a:srgbClr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" name="ïṧ1iḋe">
                <a:extLst>
                  <a:ext uri="{FF2B5EF4-FFF2-40B4-BE49-F238E27FC236}">
                    <a16:creationId xmlns:a16="http://schemas.microsoft.com/office/drawing/2014/main" id="{7104C5E3-9B7D-4A73-8642-EB6D365E7050}"/>
                  </a:ext>
                </a:extLst>
              </p:cNvPr>
              <p:cNvSpPr/>
              <p:nvPr/>
            </p:nvSpPr>
            <p:spPr bwMode="auto">
              <a:xfrm>
                <a:off x="4848226" y="2309813"/>
                <a:ext cx="30163" cy="163513"/>
              </a:xfrm>
              <a:custGeom>
                <a:avLst/>
                <a:gdLst>
                  <a:gd name="T0" fmla="*/ 5 w 5"/>
                  <a:gd name="T1" fmla="*/ 0 h 27"/>
                  <a:gd name="T2" fmla="*/ 0 w 5"/>
                  <a:gd name="T3" fmla="*/ 3 h 27"/>
                  <a:gd name="T4" fmla="*/ 0 w 5"/>
                  <a:gd name="T5" fmla="*/ 27 h 27"/>
                  <a:gd name="T6" fmla="*/ 1 w 5"/>
                  <a:gd name="T7" fmla="*/ 26 h 27"/>
                  <a:gd name="T8" fmla="*/ 4 w 5"/>
                  <a:gd name="T9" fmla="*/ 17 h 27"/>
                  <a:gd name="T10" fmla="*/ 4 w 5"/>
                  <a:gd name="T11" fmla="*/ 16 h 27"/>
                  <a:gd name="T12" fmla="*/ 3 w 5"/>
                  <a:gd name="T13" fmla="*/ 13 h 27"/>
                  <a:gd name="T14" fmla="*/ 3 w 5"/>
                  <a:gd name="T15" fmla="*/ 12 h 27"/>
                  <a:gd name="T16" fmla="*/ 1 w 5"/>
                  <a:gd name="T17" fmla="*/ 9 h 27"/>
                  <a:gd name="T18" fmla="*/ 5 w 5"/>
                  <a:gd name="T19" fmla="*/ 7 h 27"/>
                  <a:gd name="T20" fmla="*/ 5 w 5"/>
                  <a:gd name="T2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27">
                    <a:moveTo>
                      <a:pt x="5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6"/>
                      <a:pt x="0" y="26"/>
                      <a:pt x="1" y="26"/>
                    </a:cubicBezTo>
                    <a:cubicBezTo>
                      <a:pt x="3" y="23"/>
                      <a:pt x="4" y="20"/>
                      <a:pt x="4" y="17"/>
                    </a:cubicBezTo>
                    <a:cubicBezTo>
                      <a:pt x="4" y="17"/>
                      <a:pt x="4" y="16"/>
                      <a:pt x="4" y="16"/>
                    </a:cubicBezTo>
                    <a:cubicBezTo>
                      <a:pt x="4" y="15"/>
                      <a:pt x="4" y="14"/>
                      <a:pt x="3" y="13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2" y="11"/>
                      <a:pt x="2" y="10"/>
                      <a:pt x="1" y="9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solidFill>
                <a:srgbClr val="D8CF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" name="í$liḍê">
                <a:extLst>
                  <a:ext uri="{FF2B5EF4-FFF2-40B4-BE49-F238E27FC236}">
                    <a16:creationId xmlns:a16="http://schemas.microsoft.com/office/drawing/2014/main" id="{71988013-5ABF-4008-8FE4-709C2CEB11A3}"/>
                  </a:ext>
                </a:extLst>
              </p:cNvPr>
              <p:cNvSpPr/>
              <p:nvPr/>
            </p:nvSpPr>
            <p:spPr bwMode="auto">
              <a:xfrm>
                <a:off x="4970463" y="2243138"/>
                <a:ext cx="47625" cy="36513"/>
              </a:xfrm>
              <a:custGeom>
                <a:avLst/>
                <a:gdLst>
                  <a:gd name="T0" fmla="*/ 8 w 8"/>
                  <a:gd name="T1" fmla="*/ 0 h 6"/>
                  <a:gd name="T2" fmla="*/ 4 w 8"/>
                  <a:gd name="T3" fmla="*/ 3 h 6"/>
                  <a:gd name="T4" fmla="*/ 2 w 8"/>
                  <a:gd name="T5" fmla="*/ 2 h 6"/>
                  <a:gd name="T6" fmla="*/ 0 w 8"/>
                  <a:gd name="T7" fmla="*/ 2 h 6"/>
                  <a:gd name="T8" fmla="*/ 6 w 8"/>
                  <a:gd name="T9" fmla="*/ 6 h 6"/>
                  <a:gd name="T10" fmla="*/ 7 w 8"/>
                  <a:gd name="T11" fmla="*/ 6 h 6"/>
                  <a:gd name="T12" fmla="*/ 8 w 8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6">
                    <a:moveTo>
                      <a:pt x="8" y="0"/>
                    </a:moveTo>
                    <a:cubicBezTo>
                      <a:pt x="7" y="2"/>
                      <a:pt x="6" y="3"/>
                      <a:pt x="4" y="3"/>
                    </a:cubicBezTo>
                    <a:cubicBezTo>
                      <a:pt x="4" y="3"/>
                      <a:pt x="3" y="3"/>
                      <a:pt x="2" y="2"/>
                    </a:cubicBezTo>
                    <a:cubicBezTo>
                      <a:pt x="2" y="2"/>
                      <a:pt x="1" y="2"/>
                      <a:pt x="0" y="2"/>
                    </a:cubicBezTo>
                    <a:cubicBezTo>
                      <a:pt x="1" y="5"/>
                      <a:pt x="3" y="6"/>
                      <a:pt x="6" y="6"/>
                    </a:cubicBezTo>
                    <a:cubicBezTo>
                      <a:pt x="6" y="6"/>
                      <a:pt x="7" y="6"/>
                      <a:pt x="7" y="6"/>
                    </a:cubicBezTo>
                    <a:cubicBezTo>
                      <a:pt x="8" y="3"/>
                      <a:pt x="8" y="0"/>
                      <a:pt x="8" y="0"/>
                    </a:cubicBezTo>
                  </a:path>
                </a:pathLst>
              </a:custGeom>
              <a:solidFill>
                <a:srgbClr val="DC60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0" name="íŝḻiḓé">
                <a:extLst>
                  <a:ext uri="{FF2B5EF4-FFF2-40B4-BE49-F238E27FC236}">
                    <a16:creationId xmlns:a16="http://schemas.microsoft.com/office/drawing/2014/main" id="{486F404D-5592-4A31-8018-F362987828F9}"/>
                  </a:ext>
                </a:extLst>
              </p:cNvPr>
              <p:cNvSpPr/>
              <p:nvPr/>
            </p:nvSpPr>
            <p:spPr bwMode="auto">
              <a:xfrm>
                <a:off x="3822701" y="2303463"/>
                <a:ext cx="1141413" cy="1042988"/>
              </a:xfrm>
              <a:custGeom>
                <a:avLst/>
                <a:gdLst>
                  <a:gd name="T0" fmla="*/ 22 w 188"/>
                  <a:gd name="T1" fmla="*/ 108 h 172"/>
                  <a:gd name="T2" fmla="*/ 87 w 188"/>
                  <a:gd name="T3" fmla="*/ 117 h 172"/>
                  <a:gd name="T4" fmla="*/ 140 w 188"/>
                  <a:gd name="T5" fmla="*/ 33 h 172"/>
                  <a:gd name="T6" fmla="*/ 140 w 188"/>
                  <a:gd name="T7" fmla="*/ 14 h 172"/>
                  <a:gd name="T8" fmla="*/ 146 w 188"/>
                  <a:gd name="T9" fmla="*/ 1 h 172"/>
                  <a:gd name="T10" fmla="*/ 154 w 188"/>
                  <a:gd name="T11" fmla="*/ 36 h 172"/>
                  <a:gd name="T12" fmla="*/ 72 w 188"/>
                  <a:gd name="T13" fmla="*/ 168 h 172"/>
                  <a:gd name="T14" fmla="*/ 13 w 188"/>
                  <a:gd name="T15" fmla="*/ 136 h 172"/>
                  <a:gd name="T16" fmla="*/ 22 w 188"/>
                  <a:gd name="T17" fmla="*/ 108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8" h="172">
                    <a:moveTo>
                      <a:pt x="22" y="108"/>
                    </a:moveTo>
                    <a:cubicBezTo>
                      <a:pt x="22" y="108"/>
                      <a:pt x="50" y="129"/>
                      <a:pt x="87" y="117"/>
                    </a:cubicBezTo>
                    <a:cubicBezTo>
                      <a:pt x="125" y="104"/>
                      <a:pt x="140" y="33"/>
                      <a:pt x="140" y="33"/>
                    </a:cubicBezTo>
                    <a:cubicBezTo>
                      <a:pt x="140" y="33"/>
                      <a:pt x="131" y="19"/>
                      <a:pt x="140" y="14"/>
                    </a:cubicBezTo>
                    <a:cubicBezTo>
                      <a:pt x="140" y="14"/>
                      <a:pt x="138" y="2"/>
                      <a:pt x="146" y="1"/>
                    </a:cubicBezTo>
                    <a:cubicBezTo>
                      <a:pt x="155" y="0"/>
                      <a:pt x="188" y="10"/>
                      <a:pt x="154" y="36"/>
                    </a:cubicBezTo>
                    <a:cubicBezTo>
                      <a:pt x="154" y="36"/>
                      <a:pt x="145" y="163"/>
                      <a:pt x="72" y="168"/>
                    </a:cubicBezTo>
                    <a:cubicBezTo>
                      <a:pt x="0" y="172"/>
                      <a:pt x="13" y="136"/>
                      <a:pt x="13" y="136"/>
                    </a:cubicBezTo>
                    <a:lnTo>
                      <a:pt x="22" y="108"/>
                    </a:lnTo>
                    <a:close/>
                  </a:path>
                </a:pathLst>
              </a:cu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1" name="îṩlïḓê">
                <a:extLst>
                  <a:ext uri="{FF2B5EF4-FFF2-40B4-BE49-F238E27FC236}">
                    <a16:creationId xmlns:a16="http://schemas.microsoft.com/office/drawing/2014/main" id="{F1783950-84DB-4180-8B7C-596825D2BA4C}"/>
                  </a:ext>
                </a:extLst>
              </p:cNvPr>
              <p:cNvSpPr/>
              <p:nvPr/>
            </p:nvSpPr>
            <p:spPr bwMode="auto">
              <a:xfrm>
                <a:off x="4618038" y="2303463"/>
                <a:ext cx="346075" cy="412750"/>
              </a:xfrm>
              <a:custGeom>
                <a:avLst/>
                <a:gdLst>
                  <a:gd name="T0" fmla="*/ 15 w 57"/>
                  <a:gd name="T1" fmla="*/ 1 h 68"/>
                  <a:gd name="T2" fmla="*/ 9 w 57"/>
                  <a:gd name="T3" fmla="*/ 14 h 68"/>
                  <a:gd name="T4" fmla="*/ 9 w 57"/>
                  <a:gd name="T5" fmla="*/ 33 h 68"/>
                  <a:gd name="T6" fmla="*/ 0 w 57"/>
                  <a:gd name="T7" fmla="*/ 63 h 68"/>
                  <a:gd name="T8" fmla="*/ 18 w 57"/>
                  <a:gd name="T9" fmla="*/ 68 h 68"/>
                  <a:gd name="T10" fmla="*/ 23 w 57"/>
                  <a:gd name="T11" fmla="*/ 36 h 68"/>
                  <a:gd name="T12" fmla="*/ 15 w 57"/>
                  <a:gd name="T13" fmla="*/ 1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7" h="68">
                    <a:moveTo>
                      <a:pt x="15" y="1"/>
                    </a:moveTo>
                    <a:cubicBezTo>
                      <a:pt x="7" y="2"/>
                      <a:pt x="9" y="14"/>
                      <a:pt x="9" y="14"/>
                    </a:cubicBezTo>
                    <a:cubicBezTo>
                      <a:pt x="0" y="19"/>
                      <a:pt x="9" y="33"/>
                      <a:pt x="9" y="33"/>
                    </a:cubicBezTo>
                    <a:cubicBezTo>
                      <a:pt x="9" y="33"/>
                      <a:pt x="6" y="47"/>
                      <a:pt x="0" y="63"/>
                    </a:cubicBezTo>
                    <a:cubicBezTo>
                      <a:pt x="6" y="65"/>
                      <a:pt x="12" y="67"/>
                      <a:pt x="18" y="68"/>
                    </a:cubicBezTo>
                    <a:cubicBezTo>
                      <a:pt x="22" y="50"/>
                      <a:pt x="23" y="36"/>
                      <a:pt x="23" y="36"/>
                    </a:cubicBezTo>
                    <a:cubicBezTo>
                      <a:pt x="57" y="10"/>
                      <a:pt x="24" y="0"/>
                      <a:pt x="15" y="1"/>
                    </a:cubicBez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2" name="íšľîďe">
                <a:extLst>
                  <a:ext uri="{FF2B5EF4-FFF2-40B4-BE49-F238E27FC236}">
                    <a16:creationId xmlns:a16="http://schemas.microsoft.com/office/drawing/2014/main" id="{6DE8C0E8-DB41-44C7-8E2B-604FF8C1C7F9}"/>
                  </a:ext>
                </a:extLst>
              </p:cNvPr>
              <p:cNvSpPr/>
              <p:nvPr/>
            </p:nvSpPr>
            <p:spPr bwMode="auto">
              <a:xfrm>
                <a:off x="3313113" y="2595563"/>
                <a:ext cx="388938" cy="1012825"/>
              </a:xfrm>
              <a:custGeom>
                <a:avLst/>
                <a:gdLst>
                  <a:gd name="T0" fmla="*/ 36 w 64"/>
                  <a:gd name="T1" fmla="*/ 3 h 167"/>
                  <a:gd name="T2" fmla="*/ 21 w 64"/>
                  <a:gd name="T3" fmla="*/ 20 h 167"/>
                  <a:gd name="T4" fmla="*/ 24 w 64"/>
                  <a:gd name="T5" fmla="*/ 44 h 167"/>
                  <a:gd name="T6" fmla="*/ 8 w 64"/>
                  <a:gd name="T7" fmla="*/ 74 h 167"/>
                  <a:gd name="T8" fmla="*/ 4 w 64"/>
                  <a:gd name="T9" fmla="*/ 111 h 167"/>
                  <a:gd name="T10" fmla="*/ 18 w 64"/>
                  <a:gd name="T11" fmla="*/ 138 h 167"/>
                  <a:gd name="T12" fmla="*/ 17 w 64"/>
                  <a:gd name="T13" fmla="*/ 167 h 167"/>
                  <a:gd name="T14" fmla="*/ 54 w 64"/>
                  <a:gd name="T15" fmla="*/ 134 h 167"/>
                  <a:gd name="T16" fmla="*/ 57 w 64"/>
                  <a:gd name="T17" fmla="*/ 85 h 167"/>
                  <a:gd name="T18" fmla="*/ 51 w 64"/>
                  <a:gd name="T19" fmla="*/ 51 h 167"/>
                  <a:gd name="T20" fmla="*/ 53 w 64"/>
                  <a:gd name="T21" fmla="*/ 42 h 167"/>
                  <a:gd name="T22" fmla="*/ 50 w 64"/>
                  <a:gd name="T23" fmla="*/ 28 h 167"/>
                  <a:gd name="T24" fmla="*/ 49 w 64"/>
                  <a:gd name="T25" fmla="*/ 14 h 167"/>
                  <a:gd name="T26" fmla="*/ 54 w 64"/>
                  <a:gd name="T27" fmla="*/ 11 h 167"/>
                  <a:gd name="T28" fmla="*/ 60 w 64"/>
                  <a:gd name="T29" fmla="*/ 10 h 167"/>
                  <a:gd name="T30" fmla="*/ 58 w 64"/>
                  <a:gd name="T31" fmla="*/ 3 h 167"/>
                  <a:gd name="T32" fmla="*/ 36 w 64"/>
                  <a:gd name="T33" fmla="*/ 3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4" h="167">
                    <a:moveTo>
                      <a:pt x="36" y="3"/>
                    </a:moveTo>
                    <a:cubicBezTo>
                      <a:pt x="29" y="6"/>
                      <a:pt x="22" y="12"/>
                      <a:pt x="21" y="20"/>
                    </a:cubicBezTo>
                    <a:cubicBezTo>
                      <a:pt x="20" y="28"/>
                      <a:pt x="25" y="36"/>
                      <a:pt x="24" y="44"/>
                    </a:cubicBezTo>
                    <a:cubicBezTo>
                      <a:pt x="24" y="55"/>
                      <a:pt x="14" y="64"/>
                      <a:pt x="8" y="74"/>
                    </a:cubicBezTo>
                    <a:cubicBezTo>
                      <a:pt x="2" y="85"/>
                      <a:pt x="0" y="99"/>
                      <a:pt x="4" y="111"/>
                    </a:cubicBezTo>
                    <a:cubicBezTo>
                      <a:pt x="8" y="121"/>
                      <a:pt x="14" y="129"/>
                      <a:pt x="18" y="138"/>
                    </a:cubicBezTo>
                    <a:cubicBezTo>
                      <a:pt x="22" y="147"/>
                      <a:pt x="24" y="159"/>
                      <a:pt x="17" y="167"/>
                    </a:cubicBezTo>
                    <a:cubicBezTo>
                      <a:pt x="33" y="162"/>
                      <a:pt x="47" y="149"/>
                      <a:pt x="54" y="134"/>
                    </a:cubicBezTo>
                    <a:cubicBezTo>
                      <a:pt x="61" y="119"/>
                      <a:pt x="62" y="101"/>
                      <a:pt x="57" y="85"/>
                    </a:cubicBezTo>
                    <a:cubicBezTo>
                      <a:pt x="53" y="74"/>
                      <a:pt x="48" y="62"/>
                      <a:pt x="51" y="51"/>
                    </a:cubicBezTo>
                    <a:cubicBezTo>
                      <a:pt x="51" y="48"/>
                      <a:pt x="53" y="45"/>
                      <a:pt x="53" y="42"/>
                    </a:cubicBezTo>
                    <a:cubicBezTo>
                      <a:pt x="54" y="38"/>
                      <a:pt x="52" y="33"/>
                      <a:pt x="50" y="28"/>
                    </a:cubicBezTo>
                    <a:cubicBezTo>
                      <a:pt x="48" y="24"/>
                      <a:pt x="47" y="19"/>
                      <a:pt x="49" y="14"/>
                    </a:cubicBezTo>
                    <a:cubicBezTo>
                      <a:pt x="50" y="13"/>
                      <a:pt x="52" y="11"/>
                      <a:pt x="54" y="11"/>
                    </a:cubicBezTo>
                    <a:cubicBezTo>
                      <a:pt x="56" y="10"/>
                      <a:pt x="59" y="11"/>
                      <a:pt x="60" y="10"/>
                    </a:cubicBezTo>
                    <a:cubicBezTo>
                      <a:pt x="64" y="9"/>
                      <a:pt x="61" y="5"/>
                      <a:pt x="58" y="3"/>
                    </a:cubicBezTo>
                    <a:cubicBezTo>
                      <a:pt x="53" y="0"/>
                      <a:pt x="42" y="1"/>
                      <a:pt x="36" y="3"/>
                    </a:cubicBezTo>
                    <a:close/>
                  </a:path>
                </a:pathLst>
              </a:custGeom>
              <a:solidFill>
                <a:srgbClr val="0E0E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3" name="iṩḷîdé">
                <a:extLst>
                  <a:ext uri="{FF2B5EF4-FFF2-40B4-BE49-F238E27FC236}">
                    <a16:creationId xmlns:a16="http://schemas.microsoft.com/office/drawing/2014/main" id="{625437A3-0B17-4710-8407-2075696B96EF}"/>
                  </a:ext>
                </a:extLst>
              </p:cNvPr>
              <p:cNvSpPr/>
              <p:nvPr/>
            </p:nvSpPr>
            <p:spPr bwMode="auto">
              <a:xfrm>
                <a:off x="3695701" y="5457825"/>
                <a:ext cx="273050" cy="169863"/>
              </a:xfrm>
              <a:custGeom>
                <a:avLst/>
                <a:gdLst>
                  <a:gd name="T0" fmla="*/ 3 w 45"/>
                  <a:gd name="T1" fmla="*/ 0 h 28"/>
                  <a:gd name="T2" fmla="*/ 2 w 45"/>
                  <a:gd name="T3" fmla="*/ 8 h 28"/>
                  <a:gd name="T4" fmla="*/ 0 w 45"/>
                  <a:gd name="T5" fmla="*/ 18 h 28"/>
                  <a:gd name="T6" fmla="*/ 41 w 45"/>
                  <a:gd name="T7" fmla="*/ 28 h 28"/>
                  <a:gd name="T8" fmla="*/ 44 w 45"/>
                  <a:gd name="T9" fmla="*/ 24 h 28"/>
                  <a:gd name="T10" fmla="*/ 36 w 45"/>
                  <a:gd name="T11" fmla="*/ 16 h 28"/>
                  <a:gd name="T12" fmla="*/ 20 w 45"/>
                  <a:gd name="T13" fmla="*/ 5 h 28"/>
                  <a:gd name="T14" fmla="*/ 3 w 45"/>
                  <a:gd name="T1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" h="28">
                    <a:moveTo>
                      <a:pt x="3" y="0"/>
                    </a:moveTo>
                    <a:cubicBezTo>
                      <a:pt x="2" y="8"/>
                      <a:pt x="2" y="8"/>
                      <a:pt x="2" y="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41" y="28"/>
                      <a:pt x="41" y="28"/>
                      <a:pt x="41" y="28"/>
                    </a:cubicBezTo>
                    <a:cubicBezTo>
                      <a:pt x="44" y="28"/>
                      <a:pt x="45" y="26"/>
                      <a:pt x="44" y="24"/>
                    </a:cubicBezTo>
                    <a:cubicBezTo>
                      <a:pt x="42" y="21"/>
                      <a:pt x="39" y="18"/>
                      <a:pt x="36" y="16"/>
                    </a:cubicBezTo>
                    <a:cubicBezTo>
                      <a:pt x="29" y="10"/>
                      <a:pt x="20" y="5"/>
                      <a:pt x="20" y="5"/>
                    </a:cubicBez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4" name="iṣ1íďé">
                <a:extLst>
                  <a:ext uri="{FF2B5EF4-FFF2-40B4-BE49-F238E27FC236}">
                    <a16:creationId xmlns:a16="http://schemas.microsoft.com/office/drawing/2014/main" id="{BDA4F43B-A29A-4E4D-B01A-FBD850150714}"/>
                  </a:ext>
                </a:extLst>
              </p:cNvPr>
              <p:cNvSpPr/>
              <p:nvPr/>
            </p:nvSpPr>
            <p:spPr bwMode="auto">
              <a:xfrm>
                <a:off x="4144963" y="5457825"/>
                <a:ext cx="285750" cy="109538"/>
              </a:xfrm>
              <a:custGeom>
                <a:avLst/>
                <a:gdLst>
                  <a:gd name="T0" fmla="*/ 0 w 47"/>
                  <a:gd name="T1" fmla="*/ 0 h 18"/>
                  <a:gd name="T2" fmla="*/ 1 w 47"/>
                  <a:gd name="T3" fmla="*/ 8 h 18"/>
                  <a:gd name="T4" fmla="*/ 1 w 47"/>
                  <a:gd name="T5" fmla="*/ 18 h 18"/>
                  <a:gd name="T6" fmla="*/ 43 w 47"/>
                  <a:gd name="T7" fmla="*/ 18 h 18"/>
                  <a:gd name="T8" fmla="*/ 45 w 47"/>
                  <a:gd name="T9" fmla="*/ 14 h 18"/>
                  <a:gd name="T10" fmla="*/ 36 w 47"/>
                  <a:gd name="T11" fmla="*/ 8 h 18"/>
                  <a:gd name="T12" fmla="*/ 18 w 47"/>
                  <a:gd name="T13" fmla="*/ 1 h 18"/>
                  <a:gd name="T14" fmla="*/ 0 w 47"/>
                  <a:gd name="T1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7" h="18">
                    <a:moveTo>
                      <a:pt x="0" y="0"/>
                    </a:moveTo>
                    <a:cubicBezTo>
                      <a:pt x="1" y="8"/>
                      <a:pt x="1" y="8"/>
                      <a:pt x="1" y="8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43" y="18"/>
                      <a:pt x="43" y="18"/>
                      <a:pt x="43" y="18"/>
                    </a:cubicBezTo>
                    <a:cubicBezTo>
                      <a:pt x="46" y="18"/>
                      <a:pt x="47" y="16"/>
                      <a:pt x="45" y="14"/>
                    </a:cubicBezTo>
                    <a:cubicBezTo>
                      <a:pt x="43" y="12"/>
                      <a:pt x="39" y="10"/>
                      <a:pt x="36" y="8"/>
                    </a:cubicBezTo>
                    <a:cubicBezTo>
                      <a:pt x="27" y="4"/>
                      <a:pt x="18" y="1"/>
                      <a:pt x="18" y="1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5" name="îṩlîdè">
                <a:extLst>
                  <a:ext uri="{FF2B5EF4-FFF2-40B4-BE49-F238E27FC236}">
                    <a16:creationId xmlns:a16="http://schemas.microsoft.com/office/drawing/2014/main" id="{CBCA2BD2-2859-4FEA-A665-87581DDBB423}"/>
                  </a:ext>
                </a:extLst>
              </p:cNvPr>
              <p:cNvSpPr/>
              <p:nvPr/>
            </p:nvSpPr>
            <p:spPr bwMode="auto">
              <a:xfrm>
                <a:off x="3671888" y="3825875"/>
                <a:ext cx="679450" cy="1668463"/>
              </a:xfrm>
              <a:custGeom>
                <a:avLst/>
                <a:gdLst>
                  <a:gd name="T0" fmla="*/ 5 w 112"/>
                  <a:gd name="T1" fmla="*/ 14 h 275"/>
                  <a:gd name="T2" fmla="*/ 14 w 112"/>
                  <a:gd name="T3" fmla="*/ 138 h 275"/>
                  <a:gd name="T4" fmla="*/ 5 w 112"/>
                  <a:gd name="T5" fmla="*/ 272 h 275"/>
                  <a:gd name="T6" fmla="*/ 28 w 112"/>
                  <a:gd name="T7" fmla="*/ 275 h 275"/>
                  <a:gd name="T8" fmla="*/ 58 w 112"/>
                  <a:gd name="T9" fmla="*/ 165 h 275"/>
                  <a:gd name="T10" fmla="*/ 58 w 112"/>
                  <a:gd name="T11" fmla="*/ 84 h 275"/>
                  <a:gd name="T12" fmla="*/ 78 w 112"/>
                  <a:gd name="T13" fmla="*/ 150 h 275"/>
                  <a:gd name="T14" fmla="*/ 76 w 112"/>
                  <a:gd name="T15" fmla="*/ 270 h 275"/>
                  <a:gd name="T16" fmla="*/ 98 w 112"/>
                  <a:gd name="T17" fmla="*/ 270 h 275"/>
                  <a:gd name="T18" fmla="*/ 112 w 112"/>
                  <a:gd name="T19" fmla="*/ 138 h 275"/>
                  <a:gd name="T20" fmla="*/ 82 w 112"/>
                  <a:gd name="T21" fmla="*/ 0 h 275"/>
                  <a:gd name="T22" fmla="*/ 5 w 112"/>
                  <a:gd name="T23" fmla="*/ 14 h 2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2" h="275">
                    <a:moveTo>
                      <a:pt x="5" y="14"/>
                    </a:moveTo>
                    <a:cubicBezTo>
                      <a:pt x="5" y="14"/>
                      <a:pt x="0" y="80"/>
                      <a:pt x="14" y="138"/>
                    </a:cubicBezTo>
                    <a:cubicBezTo>
                      <a:pt x="5" y="272"/>
                      <a:pt x="5" y="272"/>
                      <a:pt x="5" y="272"/>
                    </a:cubicBezTo>
                    <a:cubicBezTo>
                      <a:pt x="28" y="275"/>
                      <a:pt x="28" y="275"/>
                      <a:pt x="28" y="275"/>
                    </a:cubicBezTo>
                    <a:cubicBezTo>
                      <a:pt x="28" y="275"/>
                      <a:pt x="51" y="186"/>
                      <a:pt x="58" y="165"/>
                    </a:cubicBezTo>
                    <a:cubicBezTo>
                      <a:pt x="66" y="142"/>
                      <a:pt x="58" y="84"/>
                      <a:pt x="58" y="84"/>
                    </a:cubicBezTo>
                    <a:cubicBezTo>
                      <a:pt x="58" y="84"/>
                      <a:pt x="78" y="129"/>
                      <a:pt x="78" y="150"/>
                    </a:cubicBezTo>
                    <a:cubicBezTo>
                      <a:pt x="78" y="171"/>
                      <a:pt x="76" y="270"/>
                      <a:pt x="76" y="270"/>
                    </a:cubicBezTo>
                    <a:cubicBezTo>
                      <a:pt x="76" y="270"/>
                      <a:pt x="91" y="274"/>
                      <a:pt x="98" y="270"/>
                    </a:cubicBezTo>
                    <a:cubicBezTo>
                      <a:pt x="106" y="266"/>
                      <a:pt x="112" y="138"/>
                      <a:pt x="112" y="138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82" y="0"/>
                      <a:pt x="48" y="10"/>
                      <a:pt x="5" y="14"/>
                    </a:cubicBezTo>
                    <a:close/>
                  </a:path>
                </a:pathLst>
              </a:custGeom>
              <a:solidFill>
                <a:srgbClr val="0E0E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6" name="îṣḷîḋé">
                <a:extLst>
                  <a:ext uri="{FF2B5EF4-FFF2-40B4-BE49-F238E27FC236}">
                    <a16:creationId xmlns:a16="http://schemas.microsoft.com/office/drawing/2014/main" id="{B3DBA6E4-2168-4B8B-AD09-836305999287}"/>
                  </a:ext>
                </a:extLst>
              </p:cNvPr>
              <p:cNvSpPr/>
              <p:nvPr/>
            </p:nvSpPr>
            <p:spPr bwMode="auto">
              <a:xfrm>
                <a:off x="3519488" y="2922588"/>
                <a:ext cx="715963" cy="1212850"/>
              </a:xfrm>
              <a:custGeom>
                <a:avLst/>
                <a:gdLst>
                  <a:gd name="T0" fmla="*/ 48 w 118"/>
                  <a:gd name="T1" fmla="*/ 0 h 200"/>
                  <a:gd name="T2" fmla="*/ 6 w 118"/>
                  <a:gd name="T3" fmla="*/ 52 h 200"/>
                  <a:gd name="T4" fmla="*/ 8 w 118"/>
                  <a:gd name="T5" fmla="*/ 171 h 200"/>
                  <a:gd name="T6" fmla="*/ 31 w 118"/>
                  <a:gd name="T7" fmla="*/ 200 h 200"/>
                  <a:gd name="T8" fmla="*/ 34 w 118"/>
                  <a:gd name="T9" fmla="*/ 181 h 200"/>
                  <a:gd name="T10" fmla="*/ 44 w 118"/>
                  <a:gd name="T11" fmla="*/ 197 h 200"/>
                  <a:gd name="T12" fmla="*/ 118 w 118"/>
                  <a:gd name="T13" fmla="*/ 178 h 200"/>
                  <a:gd name="T14" fmla="*/ 94 w 118"/>
                  <a:gd name="T15" fmla="*/ 75 h 200"/>
                  <a:gd name="T16" fmla="*/ 74 w 118"/>
                  <a:gd name="T17" fmla="*/ 6 h 200"/>
                  <a:gd name="T18" fmla="*/ 48 w 118"/>
                  <a:gd name="T19" fmla="*/ 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8" h="200">
                    <a:moveTo>
                      <a:pt x="48" y="0"/>
                    </a:moveTo>
                    <a:cubicBezTo>
                      <a:pt x="48" y="0"/>
                      <a:pt x="18" y="7"/>
                      <a:pt x="6" y="52"/>
                    </a:cubicBezTo>
                    <a:cubicBezTo>
                      <a:pt x="0" y="75"/>
                      <a:pt x="8" y="171"/>
                      <a:pt x="8" y="171"/>
                    </a:cubicBezTo>
                    <a:cubicBezTo>
                      <a:pt x="8" y="171"/>
                      <a:pt x="12" y="200"/>
                      <a:pt x="31" y="200"/>
                    </a:cubicBezTo>
                    <a:cubicBezTo>
                      <a:pt x="34" y="181"/>
                      <a:pt x="34" y="181"/>
                      <a:pt x="34" y="181"/>
                    </a:cubicBezTo>
                    <a:cubicBezTo>
                      <a:pt x="44" y="197"/>
                      <a:pt x="44" y="197"/>
                      <a:pt x="44" y="197"/>
                    </a:cubicBezTo>
                    <a:cubicBezTo>
                      <a:pt x="118" y="178"/>
                      <a:pt x="118" y="178"/>
                      <a:pt x="118" y="178"/>
                    </a:cubicBezTo>
                    <a:cubicBezTo>
                      <a:pt x="118" y="178"/>
                      <a:pt x="84" y="125"/>
                      <a:pt x="94" y="75"/>
                    </a:cubicBezTo>
                    <a:cubicBezTo>
                      <a:pt x="104" y="25"/>
                      <a:pt x="74" y="6"/>
                      <a:pt x="74" y="6"/>
                    </a:cubicBezTo>
                    <a:cubicBezTo>
                      <a:pt x="74" y="6"/>
                      <a:pt x="56" y="19"/>
                      <a:pt x="48" y="0"/>
                    </a:cubicBezTo>
                    <a:close/>
                  </a:path>
                </a:pathLst>
              </a:custGeom>
              <a:solidFill>
                <a:srgbClr val="00BE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7" name="íşḻiḓè">
                <a:extLst>
                  <a:ext uri="{FF2B5EF4-FFF2-40B4-BE49-F238E27FC236}">
                    <a16:creationId xmlns:a16="http://schemas.microsoft.com/office/drawing/2014/main" id="{9B83BE22-1FAC-4897-807D-B09329ED4E51}"/>
                  </a:ext>
                </a:extLst>
              </p:cNvPr>
              <p:cNvSpPr/>
              <p:nvPr/>
            </p:nvSpPr>
            <p:spPr bwMode="auto">
              <a:xfrm>
                <a:off x="3744913" y="2503488"/>
                <a:ext cx="387350" cy="431800"/>
              </a:xfrm>
              <a:custGeom>
                <a:avLst/>
                <a:gdLst>
                  <a:gd name="T0" fmla="*/ 48 w 64"/>
                  <a:gd name="T1" fmla="*/ 21 h 71"/>
                  <a:gd name="T2" fmla="*/ 39 w 64"/>
                  <a:gd name="T3" fmla="*/ 68 h 71"/>
                  <a:gd name="T4" fmla="*/ 2 w 64"/>
                  <a:gd name="T5" fmla="*/ 44 h 71"/>
                  <a:gd name="T6" fmla="*/ 21 w 64"/>
                  <a:gd name="T7" fmla="*/ 6 h 71"/>
                  <a:gd name="T8" fmla="*/ 48 w 64"/>
                  <a:gd name="T9" fmla="*/ 2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71">
                    <a:moveTo>
                      <a:pt x="48" y="21"/>
                    </a:moveTo>
                    <a:cubicBezTo>
                      <a:pt x="48" y="21"/>
                      <a:pt x="64" y="64"/>
                      <a:pt x="39" y="68"/>
                    </a:cubicBezTo>
                    <a:cubicBezTo>
                      <a:pt x="14" y="71"/>
                      <a:pt x="2" y="55"/>
                      <a:pt x="2" y="44"/>
                    </a:cubicBezTo>
                    <a:cubicBezTo>
                      <a:pt x="2" y="33"/>
                      <a:pt x="0" y="12"/>
                      <a:pt x="21" y="6"/>
                    </a:cubicBezTo>
                    <a:cubicBezTo>
                      <a:pt x="42" y="0"/>
                      <a:pt x="48" y="21"/>
                      <a:pt x="48" y="21"/>
                    </a:cubicBez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8" name="ïšlïďê">
                <a:extLst>
                  <a:ext uri="{FF2B5EF4-FFF2-40B4-BE49-F238E27FC236}">
                    <a16:creationId xmlns:a16="http://schemas.microsoft.com/office/drawing/2014/main" id="{E2E1ACBD-61F3-4DA8-A2F5-796992B80E51}"/>
                  </a:ext>
                </a:extLst>
              </p:cNvPr>
              <p:cNvSpPr/>
              <p:nvPr/>
            </p:nvSpPr>
            <p:spPr bwMode="auto">
              <a:xfrm>
                <a:off x="3708401" y="2776538"/>
                <a:ext cx="96838" cy="96838"/>
              </a:xfrm>
              <a:prstGeom prst="ellipse">
                <a:avLst/>
              </a:pr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9" name="işļíde">
                <a:extLst>
                  <a:ext uri="{FF2B5EF4-FFF2-40B4-BE49-F238E27FC236}">
                    <a16:creationId xmlns:a16="http://schemas.microsoft.com/office/drawing/2014/main" id="{6FC94D29-D649-4835-81AC-3179F4B3912F}"/>
                  </a:ext>
                </a:extLst>
              </p:cNvPr>
              <p:cNvSpPr/>
              <p:nvPr/>
            </p:nvSpPr>
            <p:spPr bwMode="auto">
              <a:xfrm>
                <a:off x="3556001" y="2436813"/>
                <a:ext cx="466725" cy="388938"/>
              </a:xfrm>
              <a:custGeom>
                <a:avLst/>
                <a:gdLst>
                  <a:gd name="T0" fmla="*/ 28 w 77"/>
                  <a:gd name="T1" fmla="*/ 58 h 64"/>
                  <a:gd name="T2" fmla="*/ 39 w 77"/>
                  <a:gd name="T3" fmla="*/ 58 h 64"/>
                  <a:gd name="T4" fmla="*/ 65 w 77"/>
                  <a:gd name="T5" fmla="*/ 29 h 64"/>
                  <a:gd name="T6" fmla="*/ 77 w 77"/>
                  <a:gd name="T7" fmla="*/ 26 h 64"/>
                  <a:gd name="T8" fmla="*/ 33 w 77"/>
                  <a:gd name="T9" fmla="*/ 16 h 64"/>
                  <a:gd name="T10" fmla="*/ 25 w 77"/>
                  <a:gd name="T11" fmla="*/ 64 h 64"/>
                  <a:gd name="T12" fmla="*/ 28 w 77"/>
                  <a:gd name="T13" fmla="*/ 58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7" h="64">
                    <a:moveTo>
                      <a:pt x="28" y="58"/>
                    </a:moveTo>
                    <a:cubicBezTo>
                      <a:pt x="28" y="58"/>
                      <a:pt x="34" y="54"/>
                      <a:pt x="39" y="58"/>
                    </a:cubicBezTo>
                    <a:cubicBezTo>
                      <a:pt x="39" y="58"/>
                      <a:pt x="68" y="45"/>
                      <a:pt x="65" y="29"/>
                    </a:cubicBezTo>
                    <a:cubicBezTo>
                      <a:pt x="65" y="29"/>
                      <a:pt x="70" y="25"/>
                      <a:pt x="77" y="26"/>
                    </a:cubicBezTo>
                    <a:cubicBezTo>
                      <a:pt x="77" y="26"/>
                      <a:pt x="66" y="0"/>
                      <a:pt x="33" y="16"/>
                    </a:cubicBezTo>
                    <a:cubicBezTo>
                      <a:pt x="0" y="32"/>
                      <a:pt x="25" y="64"/>
                      <a:pt x="25" y="64"/>
                    </a:cubicBezTo>
                    <a:cubicBezTo>
                      <a:pt x="25" y="64"/>
                      <a:pt x="25" y="61"/>
                      <a:pt x="28" y="58"/>
                    </a:cubicBezTo>
                    <a:close/>
                  </a:path>
                </a:pathLst>
              </a:custGeom>
              <a:solidFill>
                <a:srgbClr val="0E0E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0" name="í$ļîḍè">
                <a:extLst>
                  <a:ext uri="{FF2B5EF4-FFF2-40B4-BE49-F238E27FC236}">
                    <a16:creationId xmlns:a16="http://schemas.microsoft.com/office/drawing/2014/main" id="{2F4315C2-7E7B-4495-BCB8-F57556C0F12A}"/>
                  </a:ext>
                </a:extLst>
              </p:cNvPr>
              <p:cNvSpPr/>
              <p:nvPr/>
            </p:nvSpPr>
            <p:spPr bwMode="auto">
              <a:xfrm>
                <a:off x="3775076" y="2819400"/>
                <a:ext cx="193675" cy="206375"/>
              </a:xfrm>
              <a:custGeom>
                <a:avLst/>
                <a:gdLst>
                  <a:gd name="T0" fmla="*/ 32 w 32"/>
                  <a:gd name="T1" fmla="*/ 31 h 34"/>
                  <a:gd name="T2" fmla="*/ 7 w 32"/>
                  <a:gd name="T3" fmla="*/ 31 h 34"/>
                  <a:gd name="T4" fmla="*/ 2 w 32"/>
                  <a:gd name="T5" fmla="*/ 21 h 34"/>
                  <a:gd name="T6" fmla="*/ 1 w 32"/>
                  <a:gd name="T7" fmla="*/ 9 h 34"/>
                  <a:gd name="T8" fmla="*/ 0 w 32"/>
                  <a:gd name="T9" fmla="*/ 6 h 34"/>
                  <a:gd name="T10" fmla="*/ 0 w 32"/>
                  <a:gd name="T11" fmla="*/ 0 h 34"/>
                  <a:gd name="T12" fmla="*/ 28 w 32"/>
                  <a:gd name="T13" fmla="*/ 1 h 34"/>
                  <a:gd name="T14" fmla="*/ 31 w 32"/>
                  <a:gd name="T15" fmla="*/ 16 h 34"/>
                  <a:gd name="T16" fmla="*/ 32 w 32"/>
                  <a:gd name="T17" fmla="*/ 25 h 34"/>
                  <a:gd name="T18" fmla="*/ 32 w 32"/>
                  <a:gd name="T19" fmla="*/ 3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34">
                    <a:moveTo>
                      <a:pt x="32" y="31"/>
                    </a:moveTo>
                    <a:cubicBezTo>
                      <a:pt x="29" y="32"/>
                      <a:pt x="12" y="34"/>
                      <a:pt x="7" y="31"/>
                    </a:cubicBezTo>
                    <a:cubicBezTo>
                      <a:pt x="4" y="30"/>
                      <a:pt x="3" y="25"/>
                      <a:pt x="2" y="21"/>
                    </a:cubicBezTo>
                    <a:cubicBezTo>
                      <a:pt x="1" y="17"/>
                      <a:pt x="1" y="12"/>
                      <a:pt x="1" y="9"/>
                    </a:cubicBezTo>
                    <a:cubicBezTo>
                      <a:pt x="0" y="7"/>
                      <a:pt x="0" y="6"/>
                      <a:pt x="0" y="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8" y="1"/>
                      <a:pt x="28" y="1"/>
                      <a:pt x="28" y="1"/>
                    </a:cubicBezTo>
                    <a:cubicBezTo>
                      <a:pt x="28" y="1"/>
                      <a:pt x="30" y="9"/>
                      <a:pt x="31" y="16"/>
                    </a:cubicBezTo>
                    <a:cubicBezTo>
                      <a:pt x="31" y="19"/>
                      <a:pt x="32" y="22"/>
                      <a:pt x="32" y="25"/>
                    </a:cubicBezTo>
                    <a:cubicBezTo>
                      <a:pt x="32" y="28"/>
                      <a:pt x="32" y="31"/>
                      <a:pt x="32" y="31"/>
                    </a:cubicBez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" name="îṧḷidè">
                <a:extLst>
                  <a:ext uri="{FF2B5EF4-FFF2-40B4-BE49-F238E27FC236}">
                    <a16:creationId xmlns:a16="http://schemas.microsoft.com/office/drawing/2014/main" id="{36BA17AC-7991-449D-A155-43C34D559F07}"/>
                  </a:ext>
                </a:extLst>
              </p:cNvPr>
              <p:cNvSpPr/>
              <p:nvPr/>
            </p:nvSpPr>
            <p:spPr bwMode="auto">
              <a:xfrm>
                <a:off x="3779838" y="2873375"/>
                <a:ext cx="188913" cy="98425"/>
              </a:xfrm>
              <a:custGeom>
                <a:avLst/>
                <a:gdLst>
                  <a:gd name="T0" fmla="*/ 31 w 31"/>
                  <a:gd name="T1" fmla="*/ 16 h 16"/>
                  <a:gd name="T2" fmla="*/ 1 w 31"/>
                  <a:gd name="T3" fmla="*/ 12 h 16"/>
                  <a:gd name="T4" fmla="*/ 0 w 31"/>
                  <a:gd name="T5" fmla="*/ 0 h 16"/>
                  <a:gd name="T6" fmla="*/ 30 w 31"/>
                  <a:gd name="T7" fmla="*/ 7 h 16"/>
                  <a:gd name="T8" fmla="*/ 31 w 31"/>
                  <a:gd name="T9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6">
                    <a:moveTo>
                      <a:pt x="31" y="16"/>
                    </a:moveTo>
                    <a:cubicBezTo>
                      <a:pt x="1" y="12"/>
                      <a:pt x="1" y="12"/>
                      <a:pt x="1" y="12"/>
                    </a:cubicBezTo>
                    <a:cubicBezTo>
                      <a:pt x="0" y="8"/>
                      <a:pt x="0" y="3"/>
                      <a:pt x="0" y="0"/>
                    </a:cubicBezTo>
                    <a:cubicBezTo>
                      <a:pt x="1" y="2"/>
                      <a:pt x="10" y="12"/>
                      <a:pt x="30" y="7"/>
                    </a:cubicBezTo>
                    <a:cubicBezTo>
                      <a:pt x="30" y="10"/>
                      <a:pt x="31" y="13"/>
                      <a:pt x="31" y="16"/>
                    </a:cubicBezTo>
                    <a:close/>
                  </a:path>
                </a:pathLst>
              </a:cu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" name="íṥ1iḋe">
                <a:extLst>
                  <a:ext uri="{FF2B5EF4-FFF2-40B4-BE49-F238E27FC236}">
                    <a16:creationId xmlns:a16="http://schemas.microsoft.com/office/drawing/2014/main" id="{1FE6241C-E6E1-4705-B5B8-CAAC0964ED13}"/>
                  </a:ext>
                </a:extLst>
              </p:cNvPr>
              <p:cNvSpPr/>
              <p:nvPr/>
            </p:nvSpPr>
            <p:spPr bwMode="auto">
              <a:xfrm>
                <a:off x="3568701" y="4019550"/>
                <a:ext cx="236538" cy="165100"/>
              </a:xfrm>
              <a:custGeom>
                <a:avLst/>
                <a:gdLst>
                  <a:gd name="T0" fmla="*/ 5 w 39"/>
                  <a:gd name="T1" fmla="*/ 27 h 27"/>
                  <a:gd name="T2" fmla="*/ 5 w 39"/>
                  <a:gd name="T3" fmla="*/ 20 h 27"/>
                  <a:gd name="T4" fmla="*/ 20 w 39"/>
                  <a:gd name="T5" fmla="*/ 5 h 27"/>
                  <a:gd name="T6" fmla="*/ 35 w 39"/>
                  <a:gd name="T7" fmla="*/ 20 h 27"/>
                  <a:gd name="T8" fmla="*/ 35 w 39"/>
                  <a:gd name="T9" fmla="*/ 27 h 27"/>
                  <a:gd name="T10" fmla="*/ 39 w 39"/>
                  <a:gd name="T11" fmla="*/ 27 h 27"/>
                  <a:gd name="T12" fmla="*/ 39 w 39"/>
                  <a:gd name="T13" fmla="*/ 20 h 27"/>
                  <a:gd name="T14" fmla="*/ 20 w 39"/>
                  <a:gd name="T15" fmla="*/ 0 h 27"/>
                  <a:gd name="T16" fmla="*/ 0 w 39"/>
                  <a:gd name="T17" fmla="*/ 20 h 27"/>
                  <a:gd name="T18" fmla="*/ 0 w 39"/>
                  <a:gd name="T19" fmla="*/ 27 h 27"/>
                  <a:gd name="T20" fmla="*/ 5 w 39"/>
                  <a:gd name="T21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9" h="27">
                    <a:moveTo>
                      <a:pt x="5" y="27"/>
                    </a:moveTo>
                    <a:cubicBezTo>
                      <a:pt x="5" y="20"/>
                      <a:pt x="5" y="20"/>
                      <a:pt x="5" y="20"/>
                    </a:cubicBezTo>
                    <a:cubicBezTo>
                      <a:pt x="5" y="11"/>
                      <a:pt x="11" y="5"/>
                      <a:pt x="20" y="5"/>
                    </a:cubicBezTo>
                    <a:cubicBezTo>
                      <a:pt x="28" y="5"/>
                      <a:pt x="35" y="11"/>
                      <a:pt x="35" y="20"/>
                    </a:cubicBezTo>
                    <a:cubicBezTo>
                      <a:pt x="35" y="27"/>
                      <a:pt x="35" y="27"/>
                      <a:pt x="35" y="27"/>
                    </a:cubicBezTo>
                    <a:cubicBezTo>
                      <a:pt x="39" y="27"/>
                      <a:pt x="39" y="27"/>
                      <a:pt x="39" y="27"/>
                    </a:cubicBezTo>
                    <a:cubicBezTo>
                      <a:pt x="39" y="20"/>
                      <a:pt x="39" y="20"/>
                      <a:pt x="39" y="20"/>
                    </a:cubicBezTo>
                    <a:cubicBezTo>
                      <a:pt x="39" y="9"/>
                      <a:pt x="31" y="0"/>
                      <a:pt x="20" y="0"/>
                    </a:cubicBezTo>
                    <a:cubicBezTo>
                      <a:pt x="9" y="0"/>
                      <a:pt x="0" y="9"/>
                      <a:pt x="0" y="20"/>
                    </a:cubicBezTo>
                    <a:cubicBezTo>
                      <a:pt x="0" y="27"/>
                      <a:pt x="0" y="27"/>
                      <a:pt x="0" y="27"/>
                    </a:cubicBezTo>
                    <a:lnTo>
                      <a:pt x="5" y="27"/>
                    </a:lnTo>
                    <a:close/>
                  </a:path>
                </a:pathLst>
              </a:cu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" name="îSḻïḓe">
                <a:extLst>
                  <a:ext uri="{FF2B5EF4-FFF2-40B4-BE49-F238E27FC236}">
                    <a16:creationId xmlns:a16="http://schemas.microsoft.com/office/drawing/2014/main" id="{03640A8D-FAB9-4515-AAF9-A7C0D15B6533}"/>
                  </a:ext>
                </a:extLst>
              </p:cNvPr>
              <p:cNvSpPr/>
              <p:nvPr/>
            </p:nvSpPr>
            <p:spPr bwMode="auto">
              <a:xfrm>
                <a:off x="3482976" y="4152900"/>
                <a:ext cx="406400" cy="436563"/>
              </a:xfrm>
              <a:custGeom>
                <a:avLst/>
                <a:gdLst>
                  <a:gd name="T0" fmla="*/ 67 w 67"/>
                  <a:gd name="T1" fmla="*/ 0 h 72"/>
                  <a:gd name="T2" fmla="*/ 67 w 67"/>
                  <a:gd name="T3" fmla="*/ 68 h 72"/>
                  <a:gd name="T4" fmla="*/ 63 w 67"/>
                  <a:gd name="T5" fmla="*/ 72 h 72"/>
                  <a:gd name="T6" fmla="*/ 5 w 67"/>
                  <a:gd name="T7" fmla="*/ 72 h 72"/>
                  <a:gd name="T8" fmla="*/ 0 w 67"/>
                  <a:gd name="T9" fmla="*/ 68 h 72"/>
                  <a:gd name="T10" fmla="*/ 0 w 67"/>
                  <a:gd name="T11" fmla="*/ 0 h 72"/>
                  <a:gd name="T12" fmla="*/ 67 w 67"/>
                  <a:gd name="T13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7" h="72">
                    <a:moveTo>
                      <a:pt x="67" y="0"/>
                    </a:moveTo>
                    <a:cubicBezTo>
                      <a:pt x="67" y="68"/>
                      <a:pt x="67" y="68"/>
                      <a:pt x="67" y="68"/>
                    </a:cubicBezTo>
                    <a:cubicBezTo>
                      <a:pt x="67" y="70"/>
                      <a:pt x="65" y="72"/>
                      <a:pt x="63" y="72"/>
                    </a:cubicBezTo>
                    <a:cubicBezTo>
                      <a:pt x="5" y="72"/>
                      <a:pt x="5" y="72"/>
                      <a:pt x="5" y="72"/>
                    </a:cubicBezTo>
                    <a:cubicBezTo>
                      <a:pt x="2" y="72"/>
                      <a:pt x="0" y="70"/>
                      <a:pt x="0" y="68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" name="íṥļíḑe">
                <a:extLst>
                  <a:ext uri="{FF2B5EF4-FFF2-40B4-BE49-F238E27FC236}">
                    <a16:creationId xmlns:a16="http://schemas.microsoft.com/office/drawing/2014/main" id="{C43E987C-B89F-46DB-A198-39069E291CC1}"/>
                  </a:ext>
                </a:extLst>
              </p:cNvPr>
              <p:cNvSpPr/>
              <p:nvPr/>
            </p:nvSpPr>
            <p:spPr bwMode="auto">
              <a:xfrm>
                <a:off x="3482976" y="4152900"/>
                <a:ext cx="406400" cy="255588"/>
              </a:xfrm>
              <a:custGeom>
                <a:avLst/>
                <a:gdLst>
                  <a:gd name="T0" fmla="*/ 67 w 67"/>
                  <a:gd name="T1" fmla="*/ 0 h 42"/>
                  <a:gd name="T2" fmla="*/ 67 w 67"/>
                  <a:gd name="T3" fmla="*/ 16 h 42"/>
                  <a:gd name="T4" fmla="*/ 67 w 67"/>
                  <a:gd name="T5" fmla="*/ 16 h 42"/>
                  <a:gd name="T6" fmla="*/ 53 w 67"/>
                  <a:gd name="T7" fmla="*/ 14 h 42"/>
                  <a:gd name="T8" fmla="*/ 41 w 67"/>
                  <a:gd name="T9" fmla="*/ 26 h 42"/>
                  <a:gd name="T10" fmla="*/ 26 w 67"/>
                  <a:gd name="T11" fmla="*/ 26 h 42"/>
                  <a:gd name="T12" fmla="*/ 22 w 67"/>
                  <a:gd name="T13" fmla="*/ 22 h 42"/>
                  <a:gd name="T14" fmla="*/ 13 w 67"/>
                  <a:gd name="T15" fmla="*/ 27 h 42"/>
                  <a:gd name="T16" fmla="*/ 9 w 67"/>
                  <a:gd name="T17" fmla="*/ 38 h 42"/>
                  <a:gd name="T18" fmla="*/ 6 w 67"/>
                  <a:gd name="T19" fmla="*/ 41 h 42"/>
                  <a:gd name="T20" fmla="*/ 0 w 67"/>
                  <a:gd name="T21" fmla="*/ 41 h 42"/>
                  <a:gd name="T22" fmla="*/ 0 w 67"/>
                  <a:gd name="T23" fmla="*/ 0 h 42"/>
                  <a:gd name="T24" fmla="*/ 67 w 67"/>
                  <a:gd name="T25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7" h="42">
                    <a:moveTo>
                      <a:pt x="67" y="0"/>
                    </a:moveTo>
                    <a:cubicBezTo>
                      <a:pt x="67" y="16"/>
                      <a:pt x="67" y="16"/>
                      <a:pt x="67" y="16"/>
                    </a:cubicBezTo>
                    <a:cubicBezTo>
                      <a:pt x="67" y="16"/>
                      <a:pt x="67" y="16"/>
                      <a:pt x="67" y="16"/>
                    </a:cubicBezTo>
                    <a:cubicBezTo>
                      <a:pt x="63" y="18"/>
                      <a:pt x="58" y="13"/>
                      <a:pt x="53" y="14"/>
                    </a:cubicBezTo>
                    <a:cubicBezTo>
                      <a:pt x="47" y="15"/>
                      <a:pt x="45" y="22"/>
                      <a:pt x="41" y="26"/>
                    </a:cubicBezTo>
                    <a:cubicBezTo>
                      <a:pt x="37" y="30"/>
                      <a:pt x="30" y="30"/>
                      <a:pt x="26" y="26"/>
                    </a:cubicBezTo>
                    <a:cubicBezTo>
                      <a:pt x="25" y="25"/>
                      <a:pt x="24" y="23"/>
                      <a:pt x="22" y="22"/>
                    </a:cubicBezTo>
                    <a:cubicBezTo>
                      <a:pt x="18" y="20"/>
                      <a:pt x="14" y="23"/>
                      <a:pt x="13" y="27"/>
                    </a:cubicBezTo>
                    <a:cubicBezTo>
                      <a:pt x="11" y="30"/>
                      <a:pt x="10" y="34"/>
                      <a:pt x="9" y="38"/>
                    </a:cubicBezTo>
                    <a:cubicBezTo>
                      <a:pt x="8" y="39"/>
                      <a:pt x="7" y="41"/>
                      <a:pt x="6" y="41"/>
                    </a:cubicBezTo>
                    <a:cubicBezTo>
                      <a:pt x="4" y="42"/>
                      <a:pt x="2" y="42"/>
                      <a:pt x="0" y="41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F065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" name="îśļîde">
                <a:extLst>
                  <a:ext uri="{FF2B5EF4-FFF2-40B4-BE49-F238E27FC236}">
                    <a16:creationId xmlns:a16="http://schemas.microsoft.com/office/drawing/2014/main" id="{8B17128F-531F-4403-B62A-7D12BD03B707}"/>
                  </a:ext>
                </a:extLst>
              </p:cNvPr>
              <p:cNvSpPr/>
              <p:nvPr/>
            </p:nvSpPr>
            <p:spPr bwMode="auto">
              <a:xfrm>
                <a:off x="3276601" y="2971800"/>
                <a:ext cx="455613" cy="1157288"/>
              </a:xfrm>
              <a:custGeom>
                <a:avLst/>
                <a:gdLst>
                  <a:gd name="T0" fmla="*/ 55 w 75"/>
                  <a:gd name="T1" fmla="*/ 191 h 191"/>
                  <a:gd name="T2" fmla="*/ 73 w 75"/>
                  <a:gd name="T3" fmla="*/ 180 h 191"/>
                  <a:gd name="T4" fmla="*/ 52 w 75"/>
                  <a:gd name="T5" fmla="*/ 174 h 191"/>
                  <a:gd name="T6" fmla="*/ 29 w 75"/>
                  <a:gd name="T7" fmla="*/ 124 h 191"/>
                  <a:gd name="T8" fmla="*/ 43 w 75"/>
                  <a:gd name="T9" fmla="*/ 92 h 191"/>
                  <a:gd name="T10" fmla="*/ 56 w 75"/>
                  <a:gd name="T11" fmla="*/ 66 h 191"/>
                  <a:gd name="T12" fmla="*/ 64 w 75"/>
                  <a:gd name="T13" fmla="*/ 39 h 191"/>
                  <a:gd name="T14" fmla="*/ 73 w 75"/>
                  <a:gd name="T15" fmla="*/ 1 h 191"/>
                  <a:gd name="T16" fmla="*/ 73 w 75"/>
                  <a:gd name="T17" fmla="*/ 0 h 191"/>
                  <a:gd name="T18" fmla="*/ 9 w 75"/>
                  <a:gd name="T19" fmla="*/ 72 h 191"/>
                  <a:gd name="T20" fmla="*/ 3 w 75"/>
                  <a:gd name="T21" fmla="*/ 106 h 191"/>
                  <a:gd name="T22" fmla="*/ 55 w 75"/>
                  <a:gd name="T23" fmla="*/ 191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5" h="191">
                    <a:moveTo>
                      <a:pt x="55" y="191"/>
                    </a:moveTo>
                    <a:cubicBezTo>
                      <a:pt x="55" y="191"/>
                      <a:pt x="75" y="190"/>
                      <a:pt x="73" y="180"/>
                    </a:cubicBezTo>
                    <a:cubicBezTo>
                      <a:pt x="72" y="172"/>
                      <a:pt x="52" y="174"/>
                      <a:pt x="52" y="174"/>
                    </a:cubicBezTo>
                    <a:cubicBezTo>
                      <a:pt x="52" y="174"/>
                      <a:pt x="29" y="154"/>
                      <a:pt x="29" y="124"/>
                    </a:cubicBezTo>
                    <a:cubicBezTo>
                      <a:pt x="29" y="111"/>
                      <a:pt x="35" y="100"/>
                      <a:pt x="43" y="92"/>
                    </a:cubicBezTo>
                    <a:cubicBezTo>
                      <a:pt x="51" y="83"/>
                      <a:pt x="56" y="66"/>
                      <a:pt x="56" y="66"/>
                    </a:cubicBezTo>
                    <a:cubicBezTo>
                      <a:pt x="56" y="66"/>
                      <a:pt x="62" y="52"/>
                      <a:pt x="64" y="39"/>
                    </a:cubicBezTo>
                    <a:cubicBezTo>
                      <a:pt x="66" y="26"/>
                      <a:pt x="69" y="14"/>
                      <a:pt x="73" y="1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73" y="0"/>
                      <a:pt x="26" y="21"/>
                      <a:pt x="9" y="72"/>
                    </a:cubicBezTo>
                    <a:cubicBezTo>
                      <a:pt x="6" y="82"/>
                      <a:pt x="3" y="94"/>
                      <a:pt x="3" y="106"/>
                    </a:cubicBezTo>
                    <a:cubicBezTo>
                      <a:pt x="0" y="170"/>
                      <a:pt x="55" y="191"/>
                      <a:pt x="55" y="191"/>
                    </a:cubicBez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" name="iŝļîḑê">
                <a:extLst>
                  <a:ext uri="{FF2B5EF4-FFF2-40B4-BE49-F238E27FC236}">
                    <a16:creationId xmlns:a16="http://schemas.microsoft.com/office/drawing/2014/main" id="{3EF68C37-7E29-4E6C-9BF3-6040B2AA4D73}"/>
                  </a:ext>
                </a:extLst>
              </p:cNvPr>
              <p:cNvSpPr/>
              <p:nvPr/>
            </p:nvSpPr>
            <p:spPr bwMode="auto">
              <a:xfrm>
                <a:off x="3282951" y="2971800"/>
                <a:ext cx="436563" cy="1047750"/>
              </a:xfrm>
              <a:custGeom>
                <a:avLst/>
                <a:gdLst>
                  <a:gd name="T0" fmla="*/ 8 w 72"/>
                  <a:gd name="T1" fmla="*/ 72 h 173"/>
                  <a:gd name="T2" fmla="*/ 2 w 72"/>
                  <a:gd name="T3" fmla="*/ 106 h 173"/>
                  <a:gd name="T4" fmla="*/ 27 w 72"/>
                  <a:gd name="T5" fmla="*/ 173 h 173"/>
                  <a:gd name="T6" fmla="*/ 39 w 72"/>
                  <a:gd name="T7" fmla="*/ 159 h 173"/>
                  <a:gd name="T8" fmla="*/ 28 w 72"/>
                  <a:gd name="T9" fmla="*/ 124 h 173"/>
                  <a:gd name="T10" fmla="*/ 42 w 72"/>
                  <a:gd name="T11" fmla="*/ 92 h 173"/>
                  <a:gd name="T12" fmla="*/ 55 w 72"/>
                  <a:gd name="T13" fmla="*/ 66 h 173"/>
                  <a:gd name="T14" fmla="*/ 63 w 72"/>
                  <a:gd name="T15" fmla="*/ 39 h 173"/>
                  <a:gd name="T16" fmla="*/ 72 w 72"/>
                  <a:gd name="T17" fmla="*/ 1 h 173"/>
                  <a:gd name="T18" fmla="*/ 72 w 72"/>
                  <a:gd name="T19" fmla="*/ 0 h 173"/>
                  <a:gd name="T20" fmla="*/ 8 w 72"/>
                  <a:gd name="T21" fmla="*/ 72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2" h="173">
                    <a:moveTo>
                      <a:pt x="8" y="72"/>
                    </a:moveTo>
                    <a:cubicBezTo>
                      <a:pt x="5" y="82"/>
                      <a:pt x="2" y="94"/>
                      <a:pt x="2" y="106"/>
                    </a:cubicBezTo>
                    <a:cubicBezTo>
                      <a:pt x="0" y="139"/>
                      <a:pt x="14" y="160"/>
                      <a:pt x="27" y="173"/>
                    </a:cubicBezTo>
                    <a:cubicBezTo>
                      <a:pt x="32" y="169"/>
                      <a:pt x="35" y="164"/>
                      <a:pt x="39" y="159"/>
                    </a:cubicBezTo>
                    <a:cubicBezTo>
                      <a:pt x="33" y="151"/>
                      <a:pt x="28" y="138"/>
                      <a:pt x="28" y="124"/>
                    </a:cubicBezTo>
                    <a:cubicBezTo>
                      <a:pt x="28" y="111"/>
                      <a:pt x="34" y="100"/>
                      <a:pt x="42" y="92"/>
                    </a:cubicBezTo>
                    <a:cubicBezTo>
                      <a:pt x="50" y="83"/>
                      <a:pt x="55" y="66"/>
                      <a:pt x="55" y="66"/>
                    </a:cubicBezTo>
                    <a:cubicBezTo>
                      <a:pt x="55" y="66"/>
                      <a:pt x="61" y="52"/>
                      <a:pt x="63" y="39"/>
                    </a:cubicBezTo>
                    <a:cubicBezTo>
                      <a:pt x="65" y="26"/>
                      <a:pt x="68" y="14"/>
                      <a:pt x="72" y="1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72" y="0"/>
                      <a:pt x="25" y="21"/>
                      <a:pt x="8" y="72"/>
                    </a:cubicBezTo>
                    <a:close/>
                  </a:path>
                </a:pathLst>
              </a:cu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" name="îṣḷïḍè">
                <a:extLst>
                  <a:ext uri="{FF2B5EF4-FFF2-40B4-BE49-F238E27FC236}">
                    <a16:creationId xmlns:a16="http://schemas.microsoft.com/office/drawing/2014/main" id="{EE02B727-C4E7-4EE4-88ED-F805E25EB907}"/>
                  </a:ext>
                </a:extLst>
              </p:cNvPr>
              <p:cNvSpPr/>
              <p:nvPr/>
            </p:nvSpPr>
            <p:spPr bwMode="auto">
              <a:xfrm>
                <a:off x="4708526" y="2266950"/>
                <a:ext cx="212725" cy="139700"/>
              </a:xfrm>
              <a:custGeom>
                <a:avLst/>
                <a:gdLst>
                  <a:gd name="T0" fmla="*/ 5 w 35"/>
                  <a:gd name="T1" fmla="*/ 23 h 23"/>
                  <a:gd name="T2" fmla="*/ 0 w 35"/>
                  <a:gd name="T3" fmla="*/ 20 h 23"/>
                  <a:gd name="T4" fmla="*/ 32 w 35"/>
                  <a:gd name="T5" fmla="*/ 0 h 23"/>
                  <a:gd name="T6" fmla="*/ 35 w 35"/>
                  <a:gd name="T7" fmla="*/ 5 h 23"/>
                  <a:gd name="T8" fmla="*/ 5 w 35"/>
                  <a:gd name="T9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3">
                    <a:moveTo>
                      <a:pt x="5" y="23"/>
                    </a:moveTo>
                    <a:cubicBezTo>
                      <a:pt x="6" y="21"/>
                      <a:pt x="0" y="20"/>
                      <a:pt x="0" y="2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5" y="5"/>
                      <a:pt x="35" y="5"/>
                      <a:pt x="35" y="5"/>
                    </a:cubicBezTo>
                    <a:lnTo>
                      <a:pt x="5" y="23"/>
                    </a:lnTo>
                    <a:close/>
                  </a:path>
                </a:pathLst>
              </a:custGeom>
              <a:solidFill>
                <a:srgbClr val="0E0E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" name="ïSḷíḑê">
                <a:extLst>
                  <a:ext uri="{FF2B5EF4-FFF2-40B4-BE49-F238E27FC236}">
                    <a16:creationId xmlns:a16="http://schemas.microsoft.com/office/drawing/2014/main" id="{7D359A2A-8060-4F68-9052-468A41E6C3E5}"/>
                  </a:ext>
                </a:extLst>
              </p:cNvPr>
              <p:cNvSpPr/>
              <p:nvPr/>
            </p:nvSpPr>
            <p:spPr bwMode="auto">
              <a:xfrm>
                <a:off x="4903788" y="2230438"/>
                <a:ext cx="90488" cy="68263"/>
              </a:xfrm>
              <a:custGeom>
                <a:avLst/>
                <a:gdLst>
                  <a:gd name="T0" fmla="*/ 0 w 15"/>
                  <a:gd name="T1" fmla="*/ 6 h 11"/>
                  <a:gd name="T2" fmla="*/ 6 w 15"/>
                  <a:gd name="T3" fmla="*/ 2 h 11"/>
                  <a:gd name="T4" fmla="*/ 15 w 15"/>
                  <a:gd name="T5" fmla="*/ 0 h 11"/>
                  <a:gd name="T6" fmla="*/ 10 w 15"/>
                  <a:gd name="T7" fmla="*/ 10 h 11"/>
                  <a:gd name="T8" fmla="*/ 3 w 15"/>
                  <a:gd name="T9" fmla="*/ 11 h 11"/>
                  <a:gd name="T10" fmla="*/ 0 w 15"/>
                  <a:gd name="T11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11">
                    <a:moveTo>
                      <a:pt x="0" y="6"/>
                    </a:moveTo>
                    <a:cubicBezTo>
                      <a:pt x="0" y="6"/>
                      <a:pt x="2" y="2"/>
                      <a:pt x="6" y="2"/>
                    </a:cubicBezTo>
                    <a:cubicBezTo>
                      <a:pt x="10" y="2"/>
                      <a:pt x="12" y="5"/>
                      <a:pt x="15" y="0"/>
                    </a:cubicBezTo>
                    <a:cubicBezTo>
                      <a:pt x="15" y="0"/>
                      <a:pt x="15" y="9"/>
                      <a:pt x="10" y="10"/>
                    </a:cubicBezTo>
                    <a:cubicBezTo>
                      <a:pt x="5" y="10"/>
                      <a:pt x="3" y="11"/>
                      <a:pt x="3" y="11"/>
                    </a:cubicBez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3535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" name="íŝľíḋê">
                <a:extLst>
                  <a:ext uri="{FF2B5EF4-FFF2-40B4-BE49-F238E27FC236}">
                    <a16:creationId xmlns:a16="http://schemas.microsoft.com/office/drawing/2014/main" id="{70922FAC-926B-4670-AF41-544964DFF592}"/>
                  </a:ext>
                </a:extLst>
              </p:cNvPr>
              <p:cNvSpPr/>
              <p:nvPr/>
            </p:nvSpPr>
            <p:spPr bwMode="auto">
              <a:xfrm>
                <a:off x="3362326" y="2673350"/>
                <a:ext cx="144463" cy="412750"/>
              </a:xfrm>
              <a:custGeom>
                <a:avLst/>
                <a:gdLst>
                  <a:gd name="T0" fmla="*/ 22 w 24"/>
                  <a:gd name="T1" fmla="*/ 0 h 68"/>
                  <a:gd name="T2" fmla="*/ 21 w 24"/>
                  <a:gd name="T3" fmla="*/ 0 h 68"/>
                  <a:gd name="T4" fmla="*/ 9 w 24"/>
                  <a:gd name="T5" fmla="*/ 29 h 68"/>
                  <a:gd name="T6" fmla="*/ 9 w 24"/>
                  <a:gd name="T7" fmla="*/ 44 h 68"/>
                  <a:gd name="T8" fmla="*/ 0 w 24"/>
                  <a:gd name="T9" fmla="*/ 67 h 68"/>
                  <a:gd name="T10" fmla="*/ 1 w 24"/>
                  <a:gd name="T11" fmla="*/ 68 h 68"/>
                  <a:gd name="T12" fmla="*/ 10 w 24"/>
                  <a:gd name="T13" fmla="*/ 33 h 68"/>
                  <a:gd name="T14" fmla="*/ 21 w 24"/>
                  <a:gd name="T15" fmla="*/ 12 h 68"/>
                  <a:gd name="T16" fmla="*/ 22 w 24"/>
                  <a:gd name="T17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68">
                    <a:moveTo>
                      <a:pt x="22" y="0"/>
                    </a:moveTo>
                    <a:cubicBezTo>
                      <a:pt x="22" y="0"/>
                      <a:pt x="21" y="0"/>
                      <a:pt x="21" y="0"/>
                    </a:cubicBezTo>
                    <a:cubicBezTo>
                      <a:pt x="23" y="12"/>
                      <a:pt x="11" y="18"/>
                      <a:pt x="9" y="29"/>
                    </a:cubicBezTo>
                    <a:cubicBezTo>
                      <a:pt x="8" y="34"/>
                      <a:pt x="9" y="39"/>
                      <a:pt x="9" y="44"/>
                    </a:cubicBezTo>
                    <a:cubicBezTo>
                      <a:pt x="9" y="52"/>
                      <a:pt x="6" y="60"/>
                      <a:pt x="0" y="67"/>
                    </a:cubicBezTo>
                    <a:cubicBezTo>
                      <a:pt x="0" y="68"/>
                      <a:pt x="0" y="68"/>
                      <a:pt x="1" y="68"/>
                    </a:cubicBezTo>
                    <a:cubicBezTo>
                      <a:pt x="10" y="57"/>
                      <a:pt x="9" y="47"/>
                      <a:pt x="10" y="33"/>
                    </a:cubicBezTo>
                    <a:cubicBezTo>
                      <a:pt x="10" y="24"/>
                      <a:pt x="16" y="20"/>
                      <a:pt x="21" y="12"/>
                    </a:cubicBezTo>
                    <a:cubicBezTo>
                      <a:pt x="23" y="8"/>
                      <a:pt x="24" y="5"/>
                      <a:pt x="22" y="0"/>
                    </a:cubicBezTo>
                    <a:close/>
                  </a:path>
                </a:pathLst>
              </a:custGeom>
              <a:solidFill>
                <a:srgbClr val="1111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" name="îślîḍé">
                <a:extLst>
                  <a:ext uri="{FF2B5EF4-FFF2-40B4-BE49-F238E27FC236}">
                    <a16:creationId xmlns:a16="http://schemas.microsoft.com/office/drawing/2014/main" id="{3F795F23-1E08-4074-BFCD-0AD673ECA5E1}"/>
                  </a:ext>
                </a:extLst>
              </p:cNvPr>
              <p:cNvSpPr/>
              <p:nvPr/>
            </p:nvSpPr>
            <p:spPr bwMode="auto">
              <a:xfrm>
                <a:off x="3652838" y="2449513"/>
                <a:ext cx="266700" cy="187325"/>
              </a:xfrm>
              <a:custGeom>
                <a:avLst/>
                <a:gdLst>
                  <a:gd name="T0" fmla="*/ 44 w 44"/>
                  <a:gd name="T1" fmla="*/ 10 h 31"/>
                  <a:gd name="T2" fmla="*/ 0 w 44"/>
                  <a:gd name="T3" fmla="*/ 30 h 31"/>
                  <a:gd name="T4" fmla="*/ 1 w 44"/>
                  <a:gd name="T5" fmla="*/ 30 h 31"/>
                  <a:gd name="T6" fmla="*/ 43 w 44"/>
                  <a:gd name="T7" fmla="*/ 12 h 31"/>
                  <a:gd name="T8" fmla="*/ 44 w 44"/>
                  <a:gd name="T9" fmla="*/ 1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31">
                    <a:moveTo>
                      <a:pt x="44" y="10"/>
                    </a:moveTo>
                    <a:cubicBezTo>
                      <a:pt x="27" y="0"/>
                      <a:pt x="4" y="11"/>
                      <a:pt x="0" y="30"/>
                    </a:cubicBezTo>
                    <a:cubicBezTo>
                      <a:pt x="0" y="31"/>
                      <a:pt x="1" y="31"/>
                      <a:pt x="1" y="30"/>
                    </a:cubicBezTo>
                    <a:cubicBezTo>
                      <a:pt x="9" y="11"/>
                      <a:pt x="24" y="6"/>
                      <a:pt x="43" y="12"/>
                    </a:cubicBezTo>
                    <a:cubicBezTo>
                      <a:pt x="44" y="12"/>
                      <a:pt x="44" y="10"/>
                      <a:pt x="44" y="10"/>
                    </a:cubicBezTo>
                    <a:close/>
                  </a:path>
                </a:pathLst>
              </a:custGeom>
              <a:solidFill>
                <a:srgbClr val="1111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" name="ïšľïdè">
                <a:extLst>
                  <a:ext uri="{FF2B5EF4-FFF2-40B4-BE49-F238E27FC236}">
                    <a16:creationId xmlns:a16="http://schemas.microsoft.com/office/drawing/2014/main" id="{0C8A839D-DB6C-478C-9551-5178109E1CB5}"/>
                  </a:ext>
                </a:extLst>
              </p:cNvPr>
              <p:cNvSpPr/>
              <p:nvPr/>
            </p:nvSpPr>
            <p:spPr bwMode="auto">
              <a:xfrm>
                <a:off x="8096251" y="2025650"/>
                <a:ext cx="612775" cy="1400175"/>
              </a:xfrm>
              <a:custGeom>
                <a:avLst/>
                <a:gdLst>
                  <a:gd name="T0" fmla="*/ 43 w 101"/>
                  <a:gd name="T1" fmla="*/ 192 h 231"/>
                  <a:gd name="T2" fmla="*/ 13 w 101"/>
                  <a:gd name="T3" fmla="*/ 116 h 231"/>
                  <a:gd name="T4" fmla="*/ 18 w 101"/>
                  <a:gd name="T5" fmla="*/ 15 h 231"/>
                  <a:gd name="T6" fmla="*/ 1 w 101"/>
                  <a:gd name="T7" fmla="*/ 13 h 231"/>
                  <a:gd name="T8" fmla="*/ 13 w 101"/>
                  <a:gd name="T9" fmla="*/ 5 h 231"/>
                  <a:gd name="T10" fmla="*/ 26 w 101"/>
                  <a:gd name="T11" fmla="*/ 2 h 231"/>
                  <a:gd name="T12" fmla="*/ 39 w 101"/>
                  <a:gd name="T13" fmla="*/ 117 h 231"/>
                  <a:gd name="T14" fmla="*/ 94 w 101"/>
                  <a:gd name="T15" fmla="*/ 192 h 231"/>
                  <a:gd name="T16" fmla="*/ 62 w 101"/>
                  <a:gd name="T17" fmla="*/ 231 h 231"/>
                  <a:gd name="T18" fmla="*/ 43 w 101"/>
                  <a:gd name="T19" fmla="*/ 192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1" h="231">
                    <a:moveTo>
                      <a:pt x="43" y="192"/>
                    </a:moveTo>
                    <a:cubicBezTo>
                      <a:pt x="43" y="192"/>
                      <a:pt x="12" y="126"/>
                      <a:pt x="13" y="116"/>
                    </a:cubicBezTo>
                    <a:cubicBezTo>
                      <a:pt x="14" y="107"/>
                      <a:pt x="18" y="15"/>
                      <a:pt x="18" y="15"/>
                    </a:cubicBezTo>
                    <a:cubicBezTo>
                      <a:pt x="18" y="15"/>
                      <a:pt x="0" y="16"/>
                      <a:pt x="1" y="13"/>
                    </a:cubicBezTo>
                    <a:cubicBezTo>
                      <a:pt x="1" y="9"/>
                      <a:pt x="13" y="5"/>
                      <a:pt x="13" y="5"/>
                    </a:cubicBezTo>
                    <a:cubicBezTo>
                      <a:pt x="13" y="5"/>
                      <a:pt x="20" y="0"/>
                      <a:pt x="26" y="2"/>
                    </a:cubicBezTo>
                    <a:cubicBezTo>
                      <a:pt x="33" y="4"/>
                      <a:pt x="39" y="117"/>
                      <a:pt x="39" y="117"/>
                    </a:cubicBezTo>
                    <a:cubicBezTo>
                      <a:pt x="39" y="117"/>
                      <a:pt x="101" y="173"/>
                      <a:pt x="94" y="192"/>
                    </a:cubicBezTo>
                    <a:cubicBezTo>
                      <a:pt x="87" y="210"/>
                      <a:pt x="62" y="231"/>
                      <a:pt x="62" y="231"/>
                    </a:cubicBezTo>
                    <a:lnTo>
                      <a:pt x="43" y="192"/>
                    </a:ln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" name="îşļïḋe">
                <a:extLst>
                  <a:ext uri="{FF2B5EF4-FFF2-40B4-BE49-F238E27FC236}">
                    <a16:creationId xmlns:a16="http://schemas.microsoft.com/office/drawing/2014/main" id="{15253BA3-FC50-496D-9383-D6ABC67EB64E}"/>
                  </a:ext>
                </a:extLst>
              </p:cNvPr>
              <p:cNvSpPr/>
              <p:nvPr/>
            </p:nvSpPr>
            <p:spPr bwMode="auto">
              <a:xfrm>
                <a:off x="8167688" y="2419350"/>
                <a:ext cx="541338" cy="1006475"/>
              </a:xfrm>
              <a:custGeom>
                <a:avLst/>
                <a:gdLst>
                  <a:gd name="T0" fmla="*/ 27 w 89"/>
                  <a:gd name="T1" fmla="*/ 52 h 166"/>
                  <a:gd name="T2" fmla="*/ 24 w 89"/>
                  <a:gd name="T3" fmla="*/ 0 h 166"/>
                  <a:gd name="T4" fmla="*/ 3 w 89"/>
                  <a:gd name="T5" fmla="*/ 6 h 166"/>
                  <a:gd name="T6" fmla="*/ 1 w 89"/>
                  <a:gd name="T7" fmla="*/ 51 h 166"/>
                  <a:gd name="T8" fmla="*/ 31 w 89"/>
                  <a:gd name="T9" fmla="*/ 127 h 166"/>
                  <a:gd name="T10" fmla="*/ 50 w 89"/>
                  <a:gd name="T11" fmla="*/ 166 h 166"/>
                  <a:gd name="T12" fmla="*/ 82 w 89"/>
                  <a:gd name="T13" fmla="*/ 127 h 166"/>
                  <a:gd name="T14" fmla="*/ 27 w 89"/>
                  <a:gd name="T15" fmla="*/ 52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9" h="166">
                    <a:moveTo>
                      <a:pt x="27" y="52"/>
                    </a:moveTo>
                    <a:cubicBezTo>
                      <a:pt x="27" y="52"/>
                      <a:pt x="26" y="27"/>
                      <a:pt x="24" y="0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27"/>
                      <a:pt x="2" y="47"/>
                      <a:pt x="1" y="51"/>
                    </a:cubicBezTo>
                    <a:cubicBezTo>
                      <a:pt x="0" y="61"/>
                      <a:pt x="31" y="127"/>
                      <a:pt x="31" y="127"/>
                    </a:cubicBezTo>
                    <a:cubicBezTo>
                      <a:pt x="50" y="166"/>
                      <a:pt x="50" y="166"/>
                      <a:pt x="50" y="166"/>
                    </a:cubicBezTo>
                    <a:cubicBezTo>
                      <a:pt x="50" y="166"/>
                      <a:pt x="75" y="145"/>
                      <a:pt x="82" y="127"/>
                    </a:cubicBezTo>
                    <a:cubicBezTo>
                      <a:pt x="89" y="108"/>
                      <a:pt x="27" y="52"/>
                      <a:pt x="27" y="52"/>
                    </a:cubicBezTo>
                    <a:close/>
                  </a:path>
                </a:pathLst>
              </a:custGeom>
              <a:solidFill>
                <a:srgbClr val="E349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" name="iṩ1íḍé">
                <a:extLst>
                  <a:ext uri="{FF2B5EF4-FFF2-40B4-BE49-F238E27FC236}">
                    <a16:creationId xmlns:a16="http://schemas.microsoft.com/office/drawing/2014/main" id="{AF025A14-123D-4513-A3FF-9FEAF30C09A8}"/>
                  </a:ext>
                </a:extLst>
              </p:cNvPr>
              <p:cNvSpPr/>
              <p:nvPr/>
            </p:nvSpPr>
            <p:spPr bwMode="auto">
              <a:xfrm>
                <a:off x="7427913" y="2152650"/>
                <a:ext cx="85725" cy="1309688"/>
              </a:xfrm>
              <a:prstGeom prst="rect">
                <a:avLst/>
              </a:prstGeom>
              <a:solidFill>
                <a:srgbClr val="DC60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" name="í$ļîḋè">
                <a:extLst>
                  <a:ext uri="{FF2B5EF4-FFF2-40B4-BE49-F238E27FC236}">
                    <a16:creationId xmlns:a16="http://schemas.microsoft.com/office/drawing/2014/main" id="{42E35A17-D15D-4BE3-9F83-71186710F080}"/>
                  </a:ext>
                </a:extLst>
              </p:cNvPr>
              <p:cNvSpPr/>
              <p:nvPr/>
            </p:nvSpPr>
            <p:spPr bwMode="auto">
              <a:xfrm>
                <a:off x="7427913" y="2152650"/>
                <a:ext cx="85725" cy="13096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" name="îṣļîdè">
                <a:extLst>
                  <a:ext uri="{FF2B5EF4-FFF2-40B4-BE49-F238E27FC236}">
                    <a16:creationId xmlns:a16="http://schemas.microsoft.com/office/drawing/2014/main" id="{97343EA7-2738-4394-B80B-F709AAF0CF33}"/>
                  </a:ext>
                </a:extLst>
              </p:cNvPr>
              <p:cNvSpPr/>
              <p:nvPr/>
            </p:nvSpPr>
            <p:spPr bwMode="auto">
              <a:xfrm>
                <a:off x="7112001" y="2152650"/>
                <a:ext cx="315913" cy="1309688"/>
              </a:xfrm>
              <a:custGeom>
                <a:avLst/>
                <a:gdLst>
                  <a:gd name="T0" fmla="*/ 52 w 52"/>
                  <a:gd name="T1" fmla="*/ 0 h 216"/>
                  <a:gd name="T2" fmla="*/ 0 w 52"/>
                  <a:gd name="T3" fmla="*/ 0 h 216"/>
                  <a:gd name="T4" fmla="*/ 0 w 52"/>
                  <a:gd name="T5" fmla="*/ 24 h 216"/>
                  <a:gd name="T6" fmla="*/ 0 w 52"/>
                  <a:gd name="T7" fmla="*/ 26 h 216"/>
                  <a:gd name="T8" fmla="*/ 29 w 52"/>
                  <a:gd name="T9" fmla="*/ 136 h 216"/>
                  <a:gd name="T10" fmla="*/ 23 w 52"/>
                  <a:gd name="T11" fmla="*/ 144 h 216"/>
                  <a:gd name="T12" fmla="*/ 18 w 52"/>
                  <a:gd name="T13" fmla="*/ 139 h 216"/>
                  <a:gd name="T14" fmla="*/ 0 w 52"/>
                  <a:gd name="T15" fmla="*/ 66 h 216"/>
                  <a:gd name="T16" fmla="*/ 0 w 52"/>
                  <a:gd name="T17" fmla="*/ 216 h 216"/>
                  <a:gd name="T18" fmla="*/ 52 w 52"/>
                  <a:gd name="T19" fmla="*/ 216 h 216"/>
                  <a:gd name="T20" fmla="*/ 52 w 52"/>
                  <a:gd name="T21" fmla="*/ 0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2" h="216">
                    <a:moveTo>
                      <a:pt x="5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5"/>
                      <a:pt x="0" y="25"/>
                      <a:pt x="0" y="26"/>
                    </a:cubicBezTo>
                    <a:cubicBezTo>
                      <a:pt x="12" y="62"/>
                      <a:pt x="21" y="99"/>
                      <a:pt x="29" y="136"/>
                    </a:cubicBezTo>
                    <a:cubicBezTo>
                      <a:pt x="30" y="141"/>
                      <a:pt x="26" y="144"/>
                      <a:pt x="23" y="144"/>
                    </a:cubicBezTo>
                    <a:cubicBezTo>
                      <a:pt x="21" y="144"/>
                      <a:pt x="18" y="142"/>
                      <a:pt x="18" y="139"/>
                    </a:cubicBezTo>
                    <a:cubicBezTo>
                      <a:pt x="13" y="115"/>
                      <a:pt x="7" y="90"/>
                      <a:pt x="0" y="66"/>
                    </a:cubicBezTo>
                    <a:cubicBezTo>
                      <a:pt x="0" y="216"/>
                      <a:pt x="0" y="216"/>
                      <a:pt x="0" y="216"/>
                    </a:cubicBezTo>
                    <a:cubicBezTo>
                      <a:pt x="52" y="216"/>
                      <a:pt x="52" y="216"/>
                      <a:pt x="52" y="216"/>
                    </a:cubicBezTo>
                    <a:cubicBezTo>
                      <a:pt x="52" y="0"/>
                      <a:pt x="52" y="0"/>
                      <a:pt x="52" y="0"/>
                    </a:cubicBezTo>
                  </a:path>
                </a:pathLst>
              </a:custGeom>
              <a:solidFill>
                <a:srgbClr val="EAEA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" name="îṧlidé">
                <a:extLst>
                  <a:ext uri="{FF2B5EF4-FFF2-40B4-BE49-F238E27FC236}">
                    <a16:creationId xmlns:a16="http://schemas.microsoft.com/office/drawing/2014/main" id="{01679FFC-B79A-425A-BB93-ACF004C1AF08}"/>
                  </a:ext>
                </a:extLst>
              </p:cNvPr>
              <p:cNvSpPr/>
              <p:nvPr/>
            </p:nvSpPr>
            <p:spPr bwMode="auto">
              <a:xfrm>
                <a:off x="7112001" y="2298700"/>
                <a:ext cx="182563" cy="727075"/>
              </a:xfrm>
              <a:custGeom>
                <a:avLst/>
                <a:gdLst>
                  <a:gd name="T0" fmla="*/ 0 w 30"/>
                  <a:gd name="T1" fmla="*/ 0 h 120"/>
                  <a:gd name="T2" fmla="*/ 0 w 30"/>
                  <a:gd name="T3" fmla="*/ 42 h 120"/>
                  <a:gd name="T4" fmla="*/ 18 w 30"/>
                  <a:gd name="T5" fmla="*/ 115 h 120"/>
                  <a:gd name="T6" fmla="*/ 23 w 30"/>
                  <a:gd name="T7" fmla="*/ 120 h 120"/>
                  <a:gd name="T8" fmla="*/ 29 w 30"/>
                  <a:gd name="T9" fmla="*/ 112 h 120"/>
                  <a:gd name="T10" fmla="*/ 0 w 30"/>
                  <a:gd name="T11" fmla="*/ 2 h 120"/>
                  <a:gd name="T12" fmla="*/ 0 w 30"/>
                  <a:gd name="T13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120">
                    <a:moveTo>
                      <a:pt x="0" y="0"/>
                    </a:moveTo>
                    <a:cubicBezTo>
                      <a:pt x="0" y="42"/>
                      <a:pt x="0" y="42"/>
                      <a:pt x="0" y="42"/>
                    </a:cubicBezTo>
                    <a:cubicBezTo>
                      <a:pt x="7" y="66"/>
                      <a:pt x="13" y="91"/>
                      <a:pt x="18" y="115"/>
                    </a:cubicBezTo>
                    <a:cubicBezTo>
                      <a:pt x="18" y="118"/>
                      <a:pt x="21" y="120"/>
                      <a:pt x="23" y="120"/>
                    </a:cubicBezTo>
                    <a:cubicBezTo>
                      <a:pt x="26" y="120"/>
                      <a:pt x="30" y="117"/>
                      <a:pt x="29" y="112"/>
                    </a:cubicBezTo>
                    <a:cubicBezTo>
                      <a:pt x="21" y="75"/>
                      <a:pt x="12" y="38"/>
                      <a:pt x="0" y="2"/>
                    </a:cubicBezTo>
                    <a:cubicBezTo>
                      <a:pt x="0" y="1"/>
                      <a:pt x="0" y="1"/>
                      <a:pt x="0" y="0"/>
                    </a:cubicBezTo>
                  </a:path>
                </a:pathLst>
              </a:custGeom>
              <a:solidFill>
                <a:srgbClr val="DC60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" name="ïšḻiḓé">
                <a:extLst>
                  <a:ext uri="{FF2B5EF4-FFF2-40B4-BE49-F238E27FC236}">
                    <a16:creationId xmlns:a16="http://schemas.microsoft.com/office/drawing/2014/main" id="{67E23B47-EB7D-47C0-B5BA-AA384DF44677}"/>
                  </a:ext>
                </a:extLst>
              </p:cNvPr>
              <p:cNvSpPr/>
              <p:nvPr/>
            </p:nvSpPr>
            <p:spPr bwMode="auto">
              <a:xfrm>
                <a:off x="7161213" y="2116138"/>
                <a:ext cx="1042988" cy="1309688"/>
              </a:xfrm>
              <a:prstGeom prst="rect">
                <a:avLst/>
              </a:prstGeom>
              <a:solidFill>
                <a:srgbClr val="3E03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" name="íṡľíḋê">
                <a:extLst>
                  <a:ext uri="{FF2B5EF4-FFF2-40B4-BE49-F238E27FC236}">
                    <a16:creationId xmlns:a16="http://schemas.microsoft.com/office/drawing/2014/main" id="{5F4CC8EC-873B-42BA-9569-7C3EE848D43F}"/>
                  </a:ext>
                </a:extLst>
              </p:cNvPr>
              <p:cNvSpPr/>
              <p:nvPr/>
            </p:nvSpPr>
            <p:spPr bwMode="auto">
              <a:xfrm>
                <a:off x="7337426" y="2432050"/>
                <a:ext cx="692150" cy="4762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" name="ïṡḻïḋe">
                <a:extLst>
                  <a:ext uri="{FF2B5EF4-FFF2-40B4-BE49-F238E27FC236}">
                    <a16:creationId xmlns:a16="http://schemas.microsoft.com/office/drawing/2014/main" id="{BD490DF8-9B58-4176-866E-1B90F8BF76D4}"/>
                  </a:ext>
                </a:extLst>
              </p:cNvPr>
              <p:cNvSpPr/>
              <p:nvPr/>
            </p:nvSpPr>
            <p:spPr bwMode="auto">
              <a:xfrm>
                <a:off x="7573963" y="2432050"/>
                <a:ext cx="455613" cy="47625"/>
              </a:xfrm>
              <a:prstGeom prst="rect">
                <a:avLst/>
              </a:prstGeom>
              <a:solidFill>
                <a:srgbClr val="00BE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" name="isļïḋè">
                <a:extLst>
                  <a:ext uri="{FF2B5EF4-FFF2-40B4-BE49-F238E27FC236}">
                    <a16:creationId xmlns:a16="http://schemas.microsoft.com/office/drawing/2014/main" id="{617C4158-0332-4966-BBE1-38E59F1C15EC}"/>
                  </a:ext>
                </a:extLst>
              </p:cNvPr>
              <p:cNvSpPr/>
              <p:nvPr/>
            </p:nvSpPr>
            <p:spPr bwMode="auto">
              <a:xfrm>
                <a:off x="7337426" y="2770188"/>
                <a:ext cx="692150" cy="4921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" name="ïSḻíḋé">
                <a:extLst>
                  <a:ext uri="{FF2B5EF4-FFF2-40B4-BE49-F238E27FC236}">
                    <a16:creationId xmlns:a16="http://schemas.microsoft.com/office/drawing/2014/main" id="{67840776-ED6A-4750-AC8D-A27EAA6F989E}"/>
                  </a:ext>
                </a:extLst>
              </p:cNvPr>
              <p:cNvSpPr/>
              <p:nvPr/>
            </p:nvSpPr>
            <p:spPr bwMode="auto">
              <a:xfrm>
                <a:off x="7470776" y="2770188"/>
                <a:ext cx="558800" cy="49213"/>
              </a:xfrm>
              <a:prstGeom prst="rect">
                <a:avLst/>
              </a:prstGeom>
              <a:solidFill>
                <a:srgbClr val="00BE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" name="ï$lîḍé">
                <a:extLst>
                  <a:ext uri="{FF2B5EF4-FFF2-40B4-BE49-F238E27FC236}">
                    <a16:creationId xmlns:a16="http://schemas.microsoft.com/office/drawing/2014/main" id="{EE10911F-FD4D-441E-98D8-0FAE425FF137}"/>
                  </a:ext>
                </a:extLst>
              </p:cNvPr>
              <p:cNvSpPr/>
              <p:nvPr/>
            </p:nvSpPr>
            <p:spPr bwMode="auto">
              <a:xfrm>
                <a:off x="7337426" y="2262188"/>
                <a:ext cx="692150" cy="4762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3" name="îsľïḋê">
                <a:extLst>
                  <a:ext uri="{FF2B5EF4-FFF2-40B4-BE49-F238E27FC236}">
                    <a16:creationId xmlns:a16="http://schemas.microsoft.com/office/drawing/2014/main" id="{37A265A1-F9C4-4780-82F1-6385AD29581C}"/>
                  </a:ext>
                </a:extLst>
              </p:cNvPr>
              <p:cNvSpPr/>
              <p:nvPr/>
            </p:nvSpPr>
            <p:spPr bwMode="auto">
              <a:xfrm>
                <a:off x="7810501" y="2262188"/>
                <a:ext cx="219075" cy="47625"/>
              </a:xfrm>
              <a:prstGeom prst="rect">
                <a:avLst/>
              </a:prstGeom>
              <a:solidFill>
                <a:srgbClr val="00BE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4" name="iṡľïďé">
                <a:extLst>
                  <a:ext uri="{FF2B5EF4-FFF2-40B4-BE49-F238E27FC236}">
                    <a16:creationId xmlns:a16="http://schemas.microsoft.com/office/drawing/2014/main" id="{EB6B12BF-3E1E-4734-82E0-832B7B2D4471}"/>
                  </a:ext>
                </a:extLst>
              </p:cNvPr>
              <p:cNvSpPr/>
              <p:nvPr/>
            </p:nvSpPr>
            <p:spPr bwMode="auto">
              <a:xfrm>
                <a:off x="7337426" y="2601913"/>
                <a:ext cx="692150" cy="4762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5" name="íšľïďe">
                <a:extLst>
                  <a:ext uri="{FF2B5EF4-FFF2-40B4-BE49-F238E27FC236}">
                    <a16:creationId xmlns:a16="http://schemas.microsoft.com/office/drawing/2014/main" id="{7A8DEF91-77DC-444F-8267-DA729380E8CF}"/>
                  </a:ext>
                </a:extLst>
              </p:cNvPr>
              <p:cNvSpPr/>
              <p:nvPr/>
            </p:nvSpPr>
            <p:spPr bwMode="auto">
              <a:xfrm>
                <a:off x="7731126" y="2601913"/>
                <a:ext cx="298450" cy="47625"/>
              </a:xfrm>
              <a:prstGeom prst="rect">
                <a:avLst/>
              </a:prstGeom>
              <a:solidFill>
                <a:srgbClr val="00BE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6" name="ïşļîḍê">
                <a:extLst>
                  <a:ext uri="{FF2B5EF4-FFF2-40B4-BE49-F238E27FC236}">
                    <a16:creationId xmlns:a16="http://schemas.microsoft.com/office/drawing/2014/main" id="{B744CE6A-8077-4C02-8812-5D548CA712AF}"/>
                  </a:ext>
                </a:extLst>
              </p:cNvPr>
              <p:cNvSpPr/>
              <p:nvPr/>
            </p:nvSpPr>
            <p:spPr bwMode="auto">
              <a:xfrm>
                <a:off x="7810501" y="2946400"/>
                <a:ext cx="66675" cy="6667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7" name="ï$lïḍe">
                <a:extLst>
                  <a:ext uri="{FF2B5EF4-FFF2-40B4-BE49-F238E27FC236}">
                    <a16:creationId xmlns:a16="http://schemas.microsoft.com/office/drawing/2014/main" id="{C4A0F85C-2975-4A41-909D-72050233BAC0}"/>
                  </a:ext>
                </a:extLst>
              </p:cNvPr>
              <p:cNvSpPr/>
              <p:nvPr/>
            </p:nvSpPr>
            <p:spPr bwMode="auto">
              <a:xfrm>
                <a:off x="7920038" y="2946400"/>
                <a:ext cx="73025" cy="66675"/>
              </a:xfrm>
              <a:prstGeom prst="rect">
                <a:avLst/>
              </a:prstGeom>
              <a:solidFill>
                <a:srgbClr val="E349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8" name="í$ḻíḋe">
                <a:extLst>
                  <a:ext uri="{FF2B5EF4-FFF2-40B4-BE49-F238E27FC236}">
                    <a16:creationId xmlns:a16="http://schemas.microsoft.com/office/drawing/2014/main" id="{B68D0D39-7A80-486F-A29A-33317B019773}"/>
                  </a:ext>
                </a:extLst>
              </p:cNvPr>
              <p:cNvSpPr/>
              <p:nvPr/>
            </p:nvSpPr>
            <p:spPr bwMode="auto">
              <a:xfrm>
                <a:off x="8029576" y="2946400"/>
                <a:ext cx="71438" cy="66675"/>
              </a:xfrm>
              <a:prstGeom prst="rect">
                <a:avLst/>
              </a:prstGeom>
              <a:solidFill>
                <a:srgbClr val="E349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9" name="î$ḻïďê">
                <a:extLst>
                  <a:ext uri="{FF2B5EF4-FFF2-40B4-BE49-F238E27FC236}">
                    <a16:creationId xmlns:a16="http://schemas.microsoft.com/office/drawing/2014/main" id="{869DDF94-5F7D-4F93-B3B6-2B98198EFBBC}"/>
                  </a:ext>
                </a:extLst>
              </p:cNvPr>
              <p:cNvSpPr/>
              <p:nvPr/>
            </p:nvSpPr>
            <p:spPr bwMode="auto">
              <a:xfrm>
                <a:off x="7810501" y="3073400"/>
                <a:ext cx="66675" cy="7302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0" name="is1íḓè">
                <a:extLst>
                  <a:ext uri="{FF2B5EF4-FFF2-40B4-BE49-F238E27FC236}">
                    <a16:creationId xmlns:a16="http://schemas.microsoft.com/office/drawing/2014/main" id="{33388345-C851-452A-92D7-4FC2D8C7D3F1}"/>
                  </a:ext>
                </a:extLst>
              </p:cNvPr>
              <p:cNvSpPr/>
              <p:nvPr/>
            </p:nvSpPr>
            <p:spPr bwMode="auto">
              <a:xfrm>
                <a:off x="7920038" y="3073400"/>
                <a:ext cx="73025" cy="73025"/>
              </a:xfrm>
              <a:prstGeom prst="rect">
                <a:avLst/>
              </a:prstGeom>
              <a:solidFill>
                <a:srgbClr val="E349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1" name="işlíḑè">
                <a:extLst>
                  <a:ext uri="{FF2B5EF4-FFF2-40B4-BE49-F238E27FC236}">
                    <a16:creationId xmlns:a16="http://schemas.microsoft.com/office/drawing/2014/main" id="{7F98E3FE-A153-4F2D-B1C4-97BA497E725D}"/>
                  </a:ext>
                </a:extLst>
              </p:cNvPr>
              <p:cNvSpPr/>
              <p:nvPr/>
            </p:nvSpPr>
            <p:spPr bwMode="auto">
              <a:xfrm>
                <a:off x="8029576" y="3073400"/>
                <a:ext cx="71438" cy="73025"/>
              </a:xfrm>
              <a:prstGeom prst="rect">
                <a:avLst/>
              </a:prstGeom>
              <a:solidFill>
                <a:srgbClr val="E349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2" name="ïşḷîdê">
                <a:extLst>
                  <a:ext uri="{FF2B5EF4-FFF2-40B4-BE49-F238E27FC236}">
                    <a16:creationId xmlns:a16="http://schemas.microsoft.com/office/drawing/2014/main" id="{81811175-7936-4CD4-BDC3-FBFC51665778}"/>
                  </a:ext>
                </a:extLst>
              </p:cNvPr>
              <p:cNvSpPr/>
              <p:nvPr/>
            </p:nvSpPr>
            <p:spPr bwMode="auto">
              <a:xfrm>
                <a:off x="7810501" y="3208338"/>
                <a:ext cx="66675" cy="7143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3" name="î$ḻíḋé">
                <a:extLst>
                  <a:ext uri="{FF2B5EF4-FFF2-40B4-BE49-F238E27FC236}">
                    <a16:creationId xmlns:a16="http://schemas.microsoft.com/office/drawing/2014/main" id="{F41159E4-F48A-4545-A509-DFAD8B913020}"/>
                  </a:ext>
                </a:extLst>
              </p:cNvPr>
              <p:cNvSpPr/>
              <p:nvPr/>
            </p:nvSpPr>
            <p:spPr bwMode="auto">
              <a:xfrm>
                <a:off x="7920038" y="3208338"/>
                <a:ext cx="73025" cy="7143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4" name="îsḷíḋé">
                <a:extLst>
                  <a:ext uri="{FF2B5EF4-FFF2-40B4-BE49-F238E27FC236}">
                    <a16:creationId xmlns:a16="http://schemas.microsoft.com/office/drawing/2014/main" id="{690D1DC8-81EE-4223-A99B-C794101D73F2}"/>
                  </a:ext>
                </a:extLst>
              </p:cNvPr>
              <p:cNvSpPr/>
              <p:nvPr/>
            </p:nvSpPr>
            <p:spPr bwMode="auto">
              <a:xfrm>
                <a:off x="8029576" y="3208338"/>
                <a:ext cx="71438" cy="7143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5" name="is1îḑe">
                <a:extLst>
                  <a:ext uri="{FF2B5EF4-FFF2-40B4-BE49-F238E27FC236}">
                    <a16:creationId xmlns:a16="http://schemas.microsoft.com/office/drawing/2014/main" id="{5F1AAA46-2D03-42E0-93D6-800AD5EE567C}"/>
                  </a:ext>
                </a:extLst>
              </p:cNvPr>
              <p:cNvSpPr/>
              <p:nvPr/>
            </p:nvSpPr>
            <p:spPr bwMode="auto">
              <a:xfrm>
                <a:off x="7264401" y="2959100"/>
                <a:ext cx="309563" cy="174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6" name="îṥľïďè">
                <a:extLst>
                  <a:ext uri="{FF2B5EF4-FFF2-40B4-BE49-F238E27FC236}">
                    <a16:creationId xmlns:a16="http://schemas.microsoft.com/office/drawing/2014/main" id="{71442A14-D9E9-4233-848A-F33D56668409}"/>
                  </a:ext>
                </a:extLst>
              </p:cNvPr>
              <p:cNvSpPr/>
              <p:nvPr/>
            </p:nvSpPr>
            <p:spPr bwMode="auto">
              <a:xfrm>
                <a:off x="7264401" y="3013075"/>
                <a:ext cx="309563" cy="254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7" name="ï$ļíḋe">
                <a:extLst>
                  <a:ext uri="{FF2B5EF4-FFF2-40B4-BE49-F238E27FC236}">
                    <a16:creationId xmlns:a16="http://schemas.microsoft.com/office/drawing/2014/main" id="{0E4C8B4E-5C03-4FD3-B04B-9B4452CD771B}"/>
                  </a:ext>
                </a:extLst>
              </p:cNvPr>
              <p:cNvSpPr/>
              <p:nvPr/>
            </p:nvSpPr>
            <p:spPr bwMode="auto">
              <a:xfrm>
                <a:off x="7264401" y="3073400"/>
                <a:ext cx="309563" cy="190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8" name="íS1ïdé">
                <a:extLst>
                  <a:ext uri="{FF2B5EF4-FFF2-40B4-BE49-F238E27FC236}">
                    <a16:creationId xmlns:a16="http://schemas.microsoft.com/office/drawing/2014/main" id="{7D5FFEE5-D30F-4299-A66C-4EAD3BF965EC}"/>
                  </a:ext>
                </a:extLst>
              </p:cNvPr>
              <p:cNvSpPr/>
              <p:nvPr/>
            </p:nvSpPr>
            <p:spPr bwMode="auto">
              <a:xfrm>
                <a:off x="7264401" y="3128963"/>
                <a:ext cx="193675" cy="174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9" name="ïŝḻíḑé">
                <a:extLst>
                  <a:ext uri="{FF2B5EF4-FFF2-40B4-BE49-F238E27FC236}">
                    <a16:creationId xmlns:a16="http://schemas.microsoft.com/office/drawing/2014/main" id="{11ED3043-5B6B-480A-B6BE-6E70EB69A051}"/>
                  </a:ext>
                </a:extLst>
              </p:cNvPr>
              <p:cNvSpPr/>
              <p:nvPr/>
            </p:nvSpPr>
            <p:spPr bwMode="auto">
              <a:xfrm>
                <a:off x="8513763" y="5499100"/>
                <a:ext cx="273050" cy="165100"/>
              </a:xfrm>
              <a:custGeom>
                <a:avLst/>
                <a:gdLst>
                  <a:gd name="T0" fmla="*/ 42 w 45"/>
                  <a:gd name="T1" fmla="*/ 0 h 27"/>
                  <a:gd name="T2" fmla="*/ 43 w 45"/>
                  <a:gd name="T3" fmla="*/ 7 h 27"/>
                  <a:gd name="T4" fmla="*/ 45 w 45"/>
                  <a:gd name="T5" fmla="*/ 17 h 27"/>
                  <a:gd name="T6" fmla="*/ 4 w 45"/>
                  <a:gd name="T7" fmla="*/ 27 h 27"/>
                  <a:gd name="T8" fmla="*/ 1 w 45"/>
                  <a:gd name="T9" fmla="*/ 23 h 27"/>
                  <a:gd name="T10" fmla="*/ 9 w 45"/>
                  <a:gd name="T11" fmla="*/ 15 h 27"/>
                  <a:gd name="T12" fmla="*/ 25 w 45"/>
                  <a:gd name="T13" fmla="*/ 4 h 27"/>
                  <a:gd name="T14" fmla="*/ 42 w 45"/>
                  <a:gd name="T1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" h="27">
                    <a:moveTo>
                      <a:pt x="42" y="0"/>
                    </a:moveTo>
                    <a:cubicBezTo>
                      <a:pt x="43" y="7"/>
                      <a:pt x="43" y="7"/>
                      <a:pt x="43" y="7"/>
                    </a:cubicBezTo>
                    <a:cubicBezTo>
                      <a:pt x="45" y="17"/>
                      <a:pt x="45" y="17"/>
                      <a:pt x="45" y="17"/>
                    </a:cubicBezTo>
                    <a:cubicBezTo>
                      <a:pt x="4" y="27"/>
                      <a:pt x="4" y="27"/>
                      <a:pt x="4" y="27"/>
                    </a:cubicBezTo>
                    <a:cubicBezTo>
                      <a:pt x="1" y="27"/>
                      <a:pt x="0" y="25"/>
                      <a:pt x="1" y="23"/>
                    </a:cubicBezTo>
                    <a:cubicBezTo>
                      <a:pt x="3" y="20"/>
                      <a:pt x="6" y="17"/>
                      <a:pt x="9" y="15"/>
                    </a:cubicBezTo>
                    <a:cubicBezTo>
                      <a:pt x="16" y="9"/>
                      <a:pt x="25" y="4"/>
                      <a:pt x="25" y="4"/>
                    </a:cubicBezTo>
                    <a:lnTo>
                      <a:pt x="4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0" name="îŝḷíḋè">
                <a:extLst>
                  <a:ext uri="{FF2B5EF4-FFF2-40B4-BE49-F238E27FC236}">
                    <a16:creationId xmlns:a16="http://schemas.microsoft.com/office/drawing/2014/main" id="{29C2B050-520D-4CB9-A232-7355DAB30879}"/>
                  </a:ext>
                </a:extLst>
              </p:cNvPr>
              <p:cNvSpPr/>
              <p:nvPr/>
            </p:nvSpPr>
            <p:spPr bwMode="auto">
              <a:xfrm>
                <a:off x="8053388" y="5499100"/>
                <a:ext cx="284163" cy="109538"/>
              </a:xfrm>
              <a:custGeom>
                <a:avLst/>
                <a:gdLst>
                  <a:gd name="T0" fmla="*/ 47 w 47"/>
                  <a:gd name="T1" fmla="*/ 0 h 18"/>
                  <a:gd name="T2" fmla="*/ 47 w 47"/>
                  <a:gd name="T3" fmla="*/ 7 h 18"/>
                  <a:gd name="T4" fmla="*/ 46 w 47"/>
                  <a:gd name="T5" fmla="*/ 17 h 18"/>
                  <a:gd name="T6" fmla="*/ 4 w 47"/>
                  <a:gd name="T7" fmla="*/ 18 h 18"/>
                  <a:gd name="T8" fmla="*/ 2 w 47"/>
                  <a:gd name="T9" fmla="*/ 13 h 18"/>
                  <a:gd name="T10" fmla="*/ 11 w 47"/>
                  <a:gd name="T11" fmla="*/ 7 h 18"/>
                  <a:gd name="T12" fmla="*/ 29 w 47"/>
                  <a:gd name="T13" fmla="*/ 0 h 18"/>
                  <a:gd name="T14" fmla="*/ 47 w 47"/>
                  <a:gd name="T1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7" h="18">
                    <a:moveTo>
                      <a:pt x="47" y="0"/>
                    </a:moveTo>
                    <a:cubicBezTo>
                      <a:pt x="47" y="7"/>
                      <a:pt x="47" y="7"/>
                      <a:pt x="47" y="7"/>
                    </a:cubicBezTo>
                    <a:cubicBezTo>
                      <a:pt x="46" y="17"/>
                      <a:pt x="46" y="17"/>
                      <a:pt x="46" y="17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1" y="18"/>
                      <a:pt x="0" y="15"/>
                      <a:pt x="2" y="13"/>
                    </a:cubicBezTo>
                    <a:cubicBezTo>
                      <a:pt x="4" y="11"/>
                      <a:pt x="8" y="9"/>
                      <a:pt x="11" y="7"/>
                    </a:cubicBezTo>
                    <a:cubicBezTo>
                      <a:pt x="20" y="3"/>
                      <a:pt x="29" y="0"/>
                      <a:pt x="29" y="0"/>
                    </a:cubicBezTo>
                    <a:lnTo>
                      <a:pt x="47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1" name="íśľîdé">
                <a:extLst>
                  <a:ext uri="{FF2B5EF4-FFF2-40B4-BE49-F238E27FC236}">
                    <a16:creationId xmlns:a16="http://schemas.microsoft.com/office/drawing/2014/main" id="{EC9B2A48-E27B-4068-8000-137D6B0181EC}"/>
                  </a:ext>
                </a:extLst>
              </p:cNvPr>
              <p:cNvSpPr/>
              <p:nvPr/>
            </p:nvSpPr>
            <p:spPr bwMode="auto">
              <a:xfrm>
                <a:off x="8132763" y="3868738"/>
                <a:ext cx="679450" cy="1662113"/>
              </a:xfrm>
              <a:custGeom>
                <a:avLst/>
                <a:gdLst>
                  <a:gd name="T0" fmla="*/ 112 w 112"/>
                  <a:gd name="T1" fmla="*/ 14 h 274"/>
                  <a:gd name="T2" fmla="*/ 92 w 112"/>
                  <a:gd name="T3" fmla="*/ 137 h 274"/>
                  <a:gd name="T4" fmla="*/ 107 w 112"/>
                  <a:gd name="T5" fmla="*/ 271 h 274"/>
                  <a:gd name="T6" fmla="*/ 84 w 112"/>
                  <a:gd name="T7" fmla="*/ 274 h 274"/>
                  <a:gd name="T8" fmla="*/ 54 w 112"/>
                  <a:gd name="T9" fmla="*/ 165 h 274"/>
                  <a:gd name="T10" fmla="*/ 54 w 112"/>
                  <a:gd name="T11" fmla="*/ 83 h 274"/>
                  <a:gd name="T12" fmla="*/ 34 w 112"/>
                  <a:gd name="T13" fmla="*/ 149 h 274"/>
                  <a:gd name="T14" fmla="*/ 36 w 112"/>
                  <a:gd name="T15" fmla="*/ 269 h 274"/>
                  <a:gd name="T16" fmla="*/ 14 w 112"/>
                  <a:gd name="T17" fmla="*/ 269 h 274"/>
                  <a:gd name="T18" fmla="*/ 0 w 112"/>
                  <a:gd name="T19" fmla="*/ 138 h 274"/>
                  <a:gd name="T20" fmla="*/ 30 w 112"/>
                  <a:gd name="T21" fmla="*/ 0 h 274"/>
                  <a:gd name="T22" fmla="*/ 112 w 112"/>
                  <a:gd name="T23" fmla="*/ 14 h 2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2" h="274">
                    <a:moveTo>
                      <a:pt x="112" y="14"/>
                    </a:moveTo>
                    <a:cubicBezTo>
                      <a:pt x="112" y="14"/>
                      <a:pt x="107" y="79"/>
                      <a:pt x="92" y="137"/>
                    </a:cubicBezTo>
                    <a:cubicBezTo>
                      <a:pt x="107" y="271"/>
                      <a:pt x="107" y="271"/>
                      <a:pt x="107" y="271"/>
                    </a:cubicBezTo>
                    <a:cubicBezTo>
                      <a:pt x="84" y="274"/>
                      <a:pt x="84" y="274"/>
                      <a:pt x="84" y="274"/>
                    </a:cubicBezTo>
                    <a:cubicBezTo>
                      <a:pt x="84" y="274"/>
                      <a:pt x="61" y="185"/>
                      <a:pt x="54" y="165"/>
                    </a:cubicBezTo>
                    <a:cubicBezTo>
                      <a:pt x="46" y="141"/>
                      <a:pt x="54" y="83"/>
                      <a:pt x="54" y="83"/>
                    </a:cubicBezTo>
                    <a:cubicBezTo>
                      <a:pt x="54" y="83"/>
                      <a:pt x="34" y="128"/>
                      <a:pt x="34" y="149"/>
                    </a:cubicBezTo>
                    <a:cubicBezTo>
                      <a:pt x="34" y="170"/>
                      <a:pt x="36" y="269"/>
                      <a:pt x="36" y="269"/>
                    </a:cubicBezTo>
                    <a:cubicBezTo>
                      <a:pt x="36" y="269"/>
                      <a:pt x="21" y="273"/>
                      <a:pt x="14" y="269"/>
                    </a:cubicBezTo>
                    <a:cubicBezTo>
                      <a:pt x="6" y="265"/>
                      <a:pt x="0" y="138"/>
                      <a:pt x="0" y="138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0" y="0"/>
                      <a:pt x="69" y="10"/>
                      <a:pt x="112" y="14"/>
                    </a:cubicBezTo>
                    <a:close/>
                  </a:path>
                </a:pathLst>
              </a:custGeom>
              <a:solidFill>
                <a:srgbClr val="0E0E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2" name="îšlîḑe">
                <a:extLst>
                  <a:ext uri="{FF2B5EF4-FFF2-40B4-BE49-F238E27FC236}">
                    <a16:creationId xmlns:a16="http://schemas.microsoft.com/office/drawing/2014/main" id="{AD272650-D1CA-406A-8F72-6D3A7544618B}"/>
                  </a:ext>
                </a:extLst>
              </p:cNvPr>
              <p:cNvSpPr/>
              <p:nvPr/>
            </p:nvSpPr>
            <p:spPr bwMode="auto">
              <a:xfrm>
                <a:off x="8253413" y="2952750"/>
                <a:ext cx="655638" cy="1098550"/>
              </a:xfrm>
              <a:custGeom>
                <a:avLst/>
                <a:gdLst>
                  <a:gd name="T0" fmla="*/ 102 w 108"/>
                  <a:gd name="T1" fmla="*/ 170 h 181"/>
                  <a:gd name="T2" fmla="*/ 102 w 108"/>
                  <a:gd name="T3" fmla="*/ 45 h 181"/>
                  <a:gd name="T4" fmla="*/ 63 w 108"/>
                  <a:gd name="T5" fmla="*/ 1 h 181"/>
                  <a:gd name="T6" fmla="*/ 37 w 108"/>
                  <a:gd name="T7" fmla="*/ 7 h 181"/>
                  <a:gd name="T8" fmla="*/ 17 w 108"/>
                  <a:gd name="T9" fmla="*/ 76 h 181"/>
                  <a:gd name="T10" fmla="*/ 0 w 108"/>
                  <a:gd name="T11" fmla="*/ 156 h 181"/>
                  <a:gd name="T12" fmla="*/ 102 w 108"/>
                  <a:gd name="T13" fmla="*/ 17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8" h="181">
                    <a:moveTo>
                      <a:pt x="102" y="170"/>
                    </a:moveTo>
                    <a:cubicBezTo>
                      <a:pt x="104" y="156"/>
                      <a:pt x="108" y="66"/>
                      <a:pt x="102" y="45"/>
                    </a:cubicBezTo>
                    <a:cubicBezTo>
                      <a:pt x="90" y="0"/>
                      <a:pt x="63" y="1"/>
                      <a:pt x="63" y="1"/>
                    </a:cubicBezTo>
                    <a:cubicBezTo>
                      <a:pt x="54" y="20"/>
                      <a:pt x="37" y="7"/>
                      <a:pt x="37" y="7"/>
                    </a:cubicBezTo>
                    <a:cubicBezTo>
                      <a:pt x="37" y="7"/>
                      <a:pt x="6" y="26"/>
                      <a:pt x="17" y="76"/>
                    </a:cubicBezTo>
                    <a:cubicBezTo>
                      <a:pt x="23" y="109"/>
                      <a:pt x="10" y="138"/>
                      <a:pt x="0" y="156"/>
                    </a:cubicBezTo>
                    <a:cubicBezTo>
                      <a:pt x="30" y="176"/>
                      <a:pt x="68" y="181"/>
                      <a:pt x="102" y="170"/>
                    </a:cubicBezTo>
                    <a:close/>
                  </a:path>
                </a:pathLst>
              </a:custGeom>
              <a:solidFill>
                <a:srgbClr val="FF67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3" name="i$ḻíde">
                <a:extLst>
                  <a:ext uri="{FF2B5EF4-FFF2-40B4-BE49-F238E27FC236}">
                    <a16:creationId xmlns:a16="http://schemas.microsoft.com/office/drawing/2014/main" id="{3A0D70F1-80DF-424F-9C00-B5D0F1FA296D}"/>
                  </a:ext>
                </a:extLst>
              </p:cNvPr>
              <p:cNvSpPr/>
              <p:nvPr/>
            </p:nvSpPr>
            <p:spPr bwMode="auto">
              <a:xfrm>
                <a:off x="8313738" y="2540000"/>
                <a:ext cx="382588" cy="431800"/>
              </a:xfrm>
              <a:custGeom>
                <a:avLst/>
                <a:gdLst>
                  <a:gd name="T0" fmla="*/ 15 w 63"/>
                  <a:gd name="T1" fmla="*/ 21 h 71"/>
                  <a:gd name="T2" fmla="*/ 25 w 63"/>
                  <a:gd name="T3" fmla="*/ 68 h 71"/>
                  <a:gd name="T4" fmla="*/ 61 w 63"/>
                  <a:gd name="T5" fmla="*/ 44 h 71"/>
                  <a:gd name="T6" fmla="*/ 43 w 63"/>
                  <a:gd name="T7" fmla="*/ 6 h 71"/>
                  <a:gd name="T8" fmla="*/ 15 w 63"/>
                  <a:gd name="T9" fmla="*/ 2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71">
                    <a:moveTo>
                      <a:pt x="15" y="21"/>
                    </a:moveTo>
                    <a:cubicBezTo>
                      <a:pt x="15" y="21"/>
                      <a:pt x="0" y="64"/>
                      <a:pt x="25" y="68"/>
                    </a:cubicBezTo>
                    <a:cubicBezTo>
                      <a:pt x="49" y="71"/>
                      <a:pt x="61" y="55"/>
                      <a:pt x="61" y="44"/>
                    </a:cubicBezTo>
                    <a:cubicBezTo>
                      <a:pt x="61" y="33"/>
                      <a:pt x="63" y="12"/>
                      <a:pt x="43" y="6"/>
                    </a:cubicBezTo>
                    <a:cubicBezTo>
                      <a:pt x="22" y="0"/>
                      <a:pt x="15" y="21"/>
                      <a:pt x="15" y="21"/>
                    </a:cubicBez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4" name="îs1íḓê">
                <a:extLst>
                  <a:ext uri="{FF2B5EF4-FFF2-40B4-BE49-F238E27FC236}">
                    <a16:creationId xmlns:a16="http://schemas.microsoft.com/office/drawing/2014/main" id="{9467CD81-176D-4A5D-A9D4-39E275A6AE48}"/>
                  </a:ext>
                </a:extLst>
              </p:cNvPr>
              <p:cNvSpPr/>
              <p:nvPr/>
            </p:nvSpPr>
            <p:spPr bwMode="auto">
              <a:xfrm>
                <a:off x="8636001" y="2813050"/>
                <a:ext cx="96838" cy="96838"/>
              </a:xfrm>
              <a:prstGeom prst="ellipse">
                <a:avLst/>
              </a:pr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5" name="í$ḻîḋe">
                <a:extLst>
                  <a:ext uri="{FF2B5EF4-FFF2-40B4-BE49-F238E27FC236}">
                    <a16:creationId xmlns:a16="http://schemas.microsoft.com/office/drawing/2014/main" id="{2C3D0E62-ED85-4091-B129-82E698EAA4CA}"/>
                  </a:ext>
                </a:extLst>
              </p:cNvPr>
              <p:cNvSpPr/>
              <p:nvPr/>
            </p:nvSpPr>
            <p:spPr bwMode="auto">
              <a:xfrm>
                <a:off x="8423276" y="2473325"/>
                <a:ext cx="461963" cy="388938"/>
              </a:xfrm>
              <a:custGeom>
                <a:avLst/>
                <a:gdLst>
                  <a:gd name="T0" fmla="*/ 49 w 76"/>
                  <a:gd name="T1" fmla="*/ 58 h 64"/>
                  <a:gd name="T2" fmla="*/ 38 w 76"/>
                  <a:gd name="T3" fmla="*/ 58 h 64"/>
                  <a:gd name="T4" fmla="*/ 12 w 76"/>
                  <a:gd name="T5" fmla="*/ 29 h 64"/>
                  <a:gd name="T6" fmla="*/ 0 w 76"/>
                  <a:gd name="T7" fmla="*/ 26 h 64"/>
                  <a:gd name="T8" fmla="*/ 43 w 76"/>
                  <a:gd name="T9" fmla="*/ 16 h 64"/>
                  <a:gd name="T10" fmla="*/ 51 w 76"/>
                  <a:gd name="T11" fmla="*/ 64 h 64"/>
                  <a:gd name="T12" fmla="*/ 49 w 76"/>
                  <a:gd name="T13" fmla="*/ 58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" h="64">
                    <a:moveTo>
                      <a:pt x="49" y="58"/>
                    </a:moveTo>
                    <a:cubicBezTo>
                      <a:pt x="49" y="58"/>
                      <a:pt x="43" y="55"/>
                      <a:pt x="38" y="58"/>
                    </a:cubicBezTo>
                    <a:cubicBezTo>
                      <a:pt x="38" y="58"/>
                      <a:pt x="9" y="45"/>
                      <a:pt x="12" y="29"/>
                    </a:cubicBezTo>
                    <a:cubicBezTo>
                      <a:pt x="12" y="29"/>
                      <a:pt x="6" y="25"/>
                      <a:pt x="0" y="26"/>
                    </a:cubicBezTo>
                    <a:cubicBezTo>
                      <a:pt x="0" y="26"/>
                      <a:pt x="10" y="0"/>
                      <a:pt x="43" y="16"/>
                    </a:cubicBezTo>
                    <a:cubicBezTo>
                      <a:pt x="76" y="32"/>
                      <a:pt x="51" y="64"/>
                      <a:pt x="51" y="64"/>
                    </a:cubicBezTo>
                    <a:cubicBezTo>
                      <a:pt x="51" y="64"/>
                      <a:pt x="52" y="61"/>
                      <a:pt x="49" y="58"/>
                    </a:cubicBezTo>
                    <a:close/>
                  </a:path>
                </a:pathLst>
              </a:custGeom>
              <a:solidFill>
                <a:srgbClr val="0E0E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6" name="îś1idê">
                <a:extLst>
                  <a:ext uri="{FF2B5EF4-FFF2-40B4-BE49-F238E27FC236}">
                    <a16:creationId xmlns:a16="http://schemas.microsoft.com/office/drawing/2014/main" id="{E952942B-E867-4D36-AB21-7222E8A69002}"/>
                  </a:ext>
                </a:extLst>
              </p:cNvPr>
              <p:cNvSpPr/>
              <p:nvPr/>
            </p:nvSpPr>
            <p:spPr bwMode="auto">
              <a:xfrm>
                <a:off x="8472488" y="2855913"/>
                <a:ext cx="193675" cy="212725"/>
              </a:xfrm>
              <a:custGeom>
                <a:avLst/>
                <a:gdLst>
                  <a:gd name="T0" fmla="*/ 32 w 32"/>
                  <a:gd name="T1" fmla="*/ 0 h 35"/>
                  <a:gd name="T2" fmla="*/ 32 w 32"/>
                  <a:gd name="T3" fmla="*/ 6 h 35"/>
                  <a:gd name="T4" fmla="*/ 32 w 32"/>
                  <a:gd name="T5" fmla="*/ 9 h 35"/>
                  <a:gd name="T6" fmla="*/ 31 w 32"/>
                  <a:gd name="T7" fmla="*/ 18 h 35"/>
                  <a:gd name="T8" fmla="*/ 26 w 32"/>
                  <a:gd name="T9" fmla="*/ 31 h 35"/>
                  <a:gd name="T10" fmla="*/ 1 w 32"/>
                  <a:gd name="T11" fmla="*/ 31 h 35"/>
                  <a:gd name="T12" fmla="*/ 1 w 32"/>
                  <a:gd name="T13" fmla="*/ 23 h 35"/>
                  <a:gd name="T14" fmla="*/ 2 w 32"/>
                  <a:gd name="T15" fmla="*/ 16 h 35"/>
                  <a:gd name="T16" fmla="*/ 2 w 32"/>
                  <a:gd name="T17" fmla="*/ 16 h 35"/>
                  <a:gd name="T18" fmla="*/ 4 w 32"/>
                  <a:gd name="T19" fmla="*/ 1 h 35"/>
                  <a:gd name="T20" fmla="*/ 32 w 32"/>
                  <a:gd name="T21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2" h="35">
                    <a:moveTo>
                      <a:pt x="32" y="0"/>
                    </a:moveTo>
                    <a:cubicBezTo>
                      <a:pt x="32" y="6"/>
                      <a:pt x="32" y="6"/>
                      <a:pt x="32" y="6"/>
                    </a:cubicBezTo>
                    <a:cubicBezTo>
                      <a:pt x="32" y="6"/>
                      <a:pt x="32" y="7"/>
                      <a:pt x="32" y="9"/>
                    </a:cubicBezTo>
                    <a:cubicBezTo>
                      <a:pt x="32" y="11"/>
                      <a:pt x="31" y="15"/>
                      <a:pt x="31" y="18"/>
                    </a:cubicBezTo>
                    <a:cubicBezTo>
                      <a:pt x="30" y="24"/>
                      <a:pt x="28" y="29"/>
                      <a:pt x="26" y="31"/>
                    </a:cubicBezTo>
                    <a:cubicBezTo>
                      <a:pt x="21" y="35"/>
                      <a:pt x="3" y="33"/>
                      <a:pt x="1" y="31"/>
                    </a:cubicBezTo>
                    <a:cubicBezTo>
                      <a:pt x="0" y="31"/>
                      <a:pt x="0" y="27"/>
                      <a:pt x="1" y="23"/>
                    </a:cubicBezTo>
                    <a:cubicBezTo>
                      <a:pt x="1" y="21"/>
                      <a:pt x="1" y="19"/>
                      <a:pt x="2" y="16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3" y="9"/>
                      <a:pt x="4" y="1"/>
                      <a:pt x="4" y="1"/>
                    </a:cubicBez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7" name="ïŝḻíḋe">
                <a:extLst>
                  <a:ext uri="{FF2B5EF4-FFF2-40B4-BE49-F238E27FC236}">
                    <a16:creationId xmlns:a16="http://schemas.microsoft.com/office/drawing/2014/main" id="{2E95D32C-F678-4629-841A-412191D472CE}"/>
                  </a:ext>
                </a:extLst>
              </p:cNvPr>
              <p:cNvSpPr/>
              <p:nvPr/>
            </p:nvSpPr>
            <p:spPr bwMode="auto">
              <a:xfrm>
                <a:off x="8477251" y="2909888"/>
                <a:ext cx="188913" cy="92075"/>
              </a:xfrm>
              <a:custGeom>
                <a:avLst/>
                <a:gdLst>
                  <a:gd name="T0" fmla="*/ 31 w 31"/>
                  <a:gd name="T1" fmla="*/ 0 h 15"/>
                  <a:gd name="T2" fmla="*/ 30 w 31"/>
                  <a:gd name="T3" fmla="*/ 9 h 15"/>
                  <a:gd name="T4" fmla="*/ 0 w 31"/>
                  <a:gd name="T5" fmla="*/ 14 h 15"/>
                  <a:gd name="T6" fmla="*/ 1 w 31"/>
                  <a:gd name="T7" fmla="*/ 7 h 15"/>
                  <a:gd name="T8" fmla="*/ 1 w 31"/>
                  <a:gd name="T9" fmla="*/ 7 h 15"/>
                  <a:gd name="T10" fmla="*/ 31 w 31"/>
                  <a:gd name="T11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1" h="15">
                    <a:moveTo>
                      <a:pt x="31" y="0"/>
                    </a:moveTo>
                    <a:cubicBezTo>
                      <a:pt x="31" y="2"/>
                      <a:pt x="30" y="6"/>
                      <a:pt x="30" y="9"/>
                    </a:cubicBezTo>
                    <a:cubicBezTo>
                      <a:pt x="22" y="11"/>
                      <a:pt x="8" y="15"/>
                      <a:pt x="0" y="14"/>
                    </a:cubicBezTo>
                    <a:cubicBezTo>
                      <a:pt x="0" y="12"/>
                      <a:pt x="0" y="10"/>
                      <a:pt x="1" y="7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2" y="7"/>
                      <a:pt x="27" y="6"/>
                      <a:pt x="31" y="0"/>
                    </a:cubicBezTo>
                    <a:close/>
                  </a:path>
                </a:pathLst>
              </a:cu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8" name="íṩ1ïḋè">
                <a:extLst>
                  <a:ext uri="{FF2B5EF4-FFF2-40B4-BE49-F238E27FC236}">
                    <a16:creationId xmlns:a16="http://schemas.microsoft.com/office/drawing/2014/main" id="{BA83A6D4-7DE9-4F36-A8BE-EBDE87FB13F1}"/>
                  </a:ext>
                </a:extLst>
              </p:cNvPr>
              <p:cNvSpPr/>
              <p:nvPr/>
            </p:nvSpPr>
            <p:spPr bwMode="auto">
              <a:xfrm>
                <a:off x="8296276" y="2559050"/>
                <a:ext cx="485775" cy="254000"/>
              </a:xfrm>
              <a:custGeom>
                <a:avLst/>
                <a:gdLst>
                  <a:gd name="T0" fmla="*/ 77 w 80"/>
                  <a:gd name="T1" fmla="*/ 42 h 42"/>
                  <a:gd name="T2" fmla="*/ 80 w 80"/>
                  <a:gd name="T3" fmla="*/ 37 h 42"/>
                  <a:gd name="T4" fmla="*/ 3 w 80"/>
                  <a:gd name="T5" fmla="*/ 3 h 42"/>
                  <a:gd name="T6" fmla="*/ 77 w 80"/>
                  <a:gd name="T7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" h="42">
                    <a:moveTo>
                      <a:pt x="77" y="42"/>
                    </a:moveTo>
                    <a:cubicBezTo>
                      <a:pt x="77" y="42"/>
                      <a:pt x="80" y="40"/>
                      <a:pt x="80" y="37"/>
                    </a:cubicBezTo>
                    <a:cubicBezTo>
                      <a:pt x="80" y="37"/>
                      <a:pt x="7" y="0"/>
                      <a:pt x="3" y="3"/>
                    </a:cubicBezTo>
                    <a:cubicBezTo>
                      <a:pt x="0" y="5"/>
                      <a:pt x="77" y="42"/>
                      <a:pt x="77" y="42"/>
                    </a:cubicBezTo>
                    <a:close/>
                  </a:path>
                </a:pathLst>
              </a:custGeom>
              <a:solidFill>
                <a:srgbClr val="E349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9" name="ï$ļîďe">
                <a:extLst>
                  <a:ext uri="{FF2B5EF4-FFF2-40B4-BE49-F238E27FC236}">
                    <a16:creationId xmlns:a16="http://schemas.microsoft.com/office/drawing/2014/main" id="{2150022D-FD2E-4E96-966F-4450180DCBFD}"/>
                  </a:ext>
                </a:extLst>
              </p:cNvPr>
              <p:cNvSpPr/>
              <p:nvPr/>
            </p:nvSpPr>
            <p:spPr bwMode="auto">
              <a:xfrm>
                <a:off x="8435976" y="2498725"/>
                <a:ext cx="363538" cy="277813"/>
              </a:xfrm>
              <a:custGeom>
                <a:avLst/>
                <a:gdLst>
                  <a:gd name="T0" fmla="*/ 57 w 60"/>
                  <a:gd name="T1" fmla="*/ 46 h 46"/>
                  <a:gd name="T2" fmla="*/ 0 w 60"/>
                  <a:gd name="T3" fmla="*/ 19 h 46"/>
                  <a:gd name="T4" fmla="*/ 41 w 60"/>
                  <a:gd name="T5" fmla="*/ 12 h 46"/>
                  <a:gd name="T6" fmla="*/ 57 w 60"/>
                  <a:gd name="T7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46">
                    <a:moveTo>
                      <a:pt x="57" y="46"/>
                    </a:moveTo>
                    <a:cubicBezTo>
                      <a:pt x="51" y="44"/>
                      <a:pt x="20" y="28"/>
                      <a:pt x="0" y="19"/>
                    </a:cubicBezTo>
                    <a:cubicBezTo>
                      <a:pt x="4" y="13"/>
                      <a:pt x="16" y="0"/>
                      <a:pt x="41" y="12"/>
                    </a:cubicBezTo>
                    <a:cubicBezTo>
                      <a:pt x="60" y="21"/>
                      <a:pt x="60" y="36"/>
                      <a:pt x="57" y="46"/>
                    </a:cubicBezTo>
                    <a:close/>
                  </a:path>
                </a:pathLst>
              </a:custGeom>
              <a:solidFill>
                <a:srgbClr val="FF67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0" name="í$ļîḋê">
                <a:extLst>
                  <a:ext uri="{FF2B5EF4-FFF2-40B4-BE49-F238E27FC236}">
                    <a16:creationId xmlns:a16="http://schemas.microsoft.com/office/drawing/2014/main" id="{99AABFA5-6BB8-46DB-884C-508426F2E574}"/>
                  </a:ext>
                </a:extLst>
              </p:cNvPr>
              <p:cNvSpPr/>
              <p:nvPr/>
            </p:nvSpPr>
            <p:spPr bwMode="auto">
              <a:xfrm>
                <a:off x="7488238" y="2989263"/>
                <a:ext cx="1431925" cy="619125"/>
              </a:xfrm>
              <a:custGeom>
                <a:avLst/>
                <a:gdLst>
                  <a:gd name="T0" fmla="*/ 171 w 236"/>
                  <a:gd name="T1" fmla="*/ 66 h 102"/>
                  <a:gd name="T2" fmla="*/ 39 w 236"/>
                  <a:gd name="T3" fmla="*/ 72 h 102"/>
                  <a:gd name="T4" fmla="*/ 28 w 236"/>
                  <a:gd name="T5" fmla="*/ 60 h 102"/>
                  <a:gd name="T6" fmla="*/ 30 w 236"/>
                  <a:gd name="T7" fmla="*/ 72 h 102"/>
                  <a:gd name="T8" fmla="*/ 10 w 236"/>
                  <a:gd name="T9" fmla="*/ 81 h 102"/>
                  <a:gd name="T10" fmla="*/ 38 w 236"/>
                  <a:gd name="T11" fmla="*/ 83 h 102"/>
                  <a:gd name="T12" fmla="*/ 178 w 236"/>
                  <a:gd name="T13" fmla="*/ 95 h 102"/>
                  <a:gd name="T14" fmla="*/ 219 w 236"/>
                  <a:gd name="T15" fmla="*/ 22 h 102"/>
                  <a:gd name="T16" fmla="*/ 171 w 236"/>
                  <a:gd name="T17" fmla="*/ 66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6" h="102">
                    <a:moveTo>
                      <a:pt x="171" y="66"/>
                    </a:moveTo>
                    <a:cubicBezTo>
                      <a:pt x="171" y="66"/>
                      <a:pt x="68" y="73"/>
                      <a:pt x="39" y="72"/>
                    </a:cubicBezTo>
                    <a:cubicBezTo>
                      <a:pt x="39" y="72"/>
                      <a:pt x="28" y="56"/>
                      <a:pt x="28" y="60"/>
                    </a:cubicBezTo>
                    <a:cubicBezTo>
                      <a:pt x="27" y="65"/>
                      <a:pt x="30" y="72"/>
                      <a:pt x="30" y="72"/>
                    </a:cubicBezTo>
                    <a:cubicBezTo>
                      <a:pt x="30" y="72"/>
                      <a:pt x="0" y="68"/>
                      <a:pt x="10" y="81"/>
                    </a:cubicBezTo>
                    <a:cubicBezTo>
                      <a:pt x="21" y="94"/>
                      <a:pt x="38" y="83"/>
                      <a:pt x="38" y="83"/>
                    </a:cubicBezTo>
                    <a:cubicBezTo>
                      <a:pt x="38" y="83"/>
                      <a:pt x="158" y="102"/>
                      <a:pt x="178" y="95"/>
                    </a:cubicBezTo>
                    <a:cubicBezTo>
                      <a:pt x="197" y="88"/>
                      <a:pt x="236" y="44"/>
                      <a:pt x="219" y="22"/>
                    </a:cubicBezTo>
                    <a:cubicBezTo>
                      <a:pt x="202" y="0"/>
                      <a:pt x="181" y="28"/>
                      <a:pt x="171" y="66"/>
                    </a:cubicBez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1" name="îşļiďe">
                <a:extLst>
                  <a:ext uri="{FF2B5EF4-FFF2-40B4-BE49-F238E27FC236}">
                    <a16:creationId xmlns:a16="http://schemas.microsoft.com/office/drawing/2014/main" id="{E994CA8B-8818-4ABE-943A-10B5392FE9BC}"/>
                  </a:ext>
                </a:extLst>
              </p:cNvPr>
              <p:cNvSpPr/>
              <p:nvPr/>
            </p:nvSpPr>
            <p:spPr bwMode="auto">
              <a:xfrm>
                <a:off x="8083551" y="2989263"/>
                <a:ext cx="836613" cy="600075"/>
              </a:xfrm>
              <a:custGeom>
                <a:avLst/>
                <a:gdLst>
                  <a:gd name="T0" fmla="*/ 121 w 138"/>
                  <a:gd name="T1" fmla="*/ 22 h 99"/>
                  <a:gd name="T2" fmla="*/ 73 w 138"/>
                  <a:gd name="T3" fmla="*/ 66 h 99"/>
                  <a:gd name="T4" fmla="*/ 0 w 138"/>
                  <a:gd name="T5" fmla="*/ 70 h 99"/>
                  <a:gd name="T6" fmla="*/ 1 w 138"/>
                  <a:gd name="T7" fmla="*/ 92 h 99"/>
                  <a:gd name="T8" fmla="*/ 80 w 138"/>
                  <a:gd name="T9" fmla="*/ 95 h 99"/>
                  <a:gd name="T10" fmla="*/ 121 w 138"/>
                  <a:gd name="T11" fmla="*/ 22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8" h="99">
                    <a:moveTo>
                      <a:pt x="121" y="22"/>
                    </a:moveTo>
                    <a:cubicBezTo>
                      <a:pt x="104" y="0"/>
                      <a:pt x="83" y="28"/>
                      <a:pt x="73" y="66"/>
                    </a:cubicBezTo>
                    <a:cubicBezTo>
                      <a:pt x="73" y="66"/>
                      <a:pt x="36" y="68"/>
                      <a:pt x="0" y="70"/>
                    </a:cubicBezTo>
                    <a:cubicBezTo>
                      <a:pt x="1" y="92"/>
                      <a:pt x="1" y="92"/>
                      <a:pt x="1" y="92"/>
                    </a:cubicBezTo>
                    <a:cubicBezTo>
                      <a:pt x="32" y="95"/>
                      <a:pt x="69" y="99"/>
                      <a:pt x="80" y="95"/>
                    </a:cubicBezTo>
                    <a:cubicBezTo>
                      <a:pt x="99" y="88"/>
                      <a:pt x="138" y="44"/>
                      <a:pt x="121" y="22"/>
                    </a:cubicBezTo>
                    <a:close/>
                  </a:path>
                </a:pathLst>
              </a:custGeom>
              <a:solidFill>
                <a:srgbClr val="E349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2" name="iSlïḑè">
                <a:extLst>
                  <a:ext uri="{FF2B5EF4-FFF2-40B4-BE49-F238E27FC236}">
                    <a16:creationId xmlns:a16="http://schemas.microsoft.com/office/drawing/2014/main" id="{7709A773-1550-49B5-B479-38D141E25461}"/>
                  </a:ext>
                </a:extLst>
              </p:cNvPr>
              <p:cNvSpPr/>
              <p:nvPr/>
            </p:nvSpPr>
            <p:spPr bwMode="auto">
              <a:xfrm>
                <a:off x="5473701" y="4518025"/>
                <a:ext cx="285750" cy="284163"/>
              </a:xfrm>
              <a:custGeom>
                <a:avLst/>
                <a:gdLst>
                  <a:gd name="T0" fmla="*/ 23 w 47"/>
                  <a:gd name="T1" fmla="*/ 47 h 47"/>
                  <a:gd name="T2" fmla="*/ 0 w 47"/>
                  <a:gd name="T3" fmla="*/ 24 h 47"/>
                  <a:gd name="T4" fmla="*/ 23 w 47"/>
                  <a:gd name="T5" fmla="*/ 0 h 47"/>
                  <a:gd name="T6" fmla="*/ 47 w 47"/>
                  <a:gd name="T7" fmla="*/ 24 h 47"/>
                  <a:gd name="T8" fmla="*/ 23 w 47"/>
                  <a:gd name="T9" fmla="*/ 47 h 47"/>
                  <a:gd name="T10" fmla="*/ 23 w 47"/>
                  <a:gd name="T11" fmla="*/ 12 h 47"/>
                  <a:gd name="T12" fmla="*/ 12 w 47"/>
                  <a:gd name="T13" fmla="*/ 24 h 47"/>
                  <a:gd name="T14" fmla="*/ 23 w 47"/>
                  <a:gd name="T15" fmla="*/ 35 h 47"/>
                  <a:gd name="T16" fmla="*/ 35 w 47"/>
                  <a:gd name="T17" fmla="*/ 24 h 47"/>
                  <a:gd name="T18" fmla="*/ 23 w 47"/>
                  <a:gd name="T19" fmla="*/ 12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7" h="47">
                    <a:moveTo>
                      <a:pt x="23" y="47"/>
                    </a:moveTo>
                    <a:cubicBezTo>
                      <a:pt x="11" y="47"/>
                      <a:pt x="0" y="36"/>
                      <a:pt x="0" y="24"/>
                    </a:cubicBezTo>
                    <a:cubicBezTo>
                      <a:pt x="0" y="11"/>
                      <a:pt x="11" y="0"/>
                      <a:pt x="23" y="0"/>
                    </a:cubicBezTo>
                    <a:cubicBezTo>
                      <a:pt x="36" y="0"/>
                      <a:pt x="47" y="11"/>
                      <a:pt x="47" y="24"/>
                    </a:cubicBezTo>
                    <a:cubicBezTo>
                      <a:pt x="47" y="36"/>
                      <a:pt x="36" y="47"/>
                      <a:pt x="23" y="47"/>
                    </a:cubicBezTo>
                    <a:close/>
                    <a:moveTo>
                      <a:pt x="23" y="12"/>
                    </a:moveTo>
                    <a:cubicBezTo>
                      <a:pt x="17" y="12"/>
                      <a:pt x="12" y="17"/>
                      <a:pt x="12" y="24"/>
                    </a:cubicBezTo>
                    <a:cubicBezTo>
                      <a:pt x="12" y="30"/>
                      <a:pt x="17" y="35"/>
                      <a:pt x="23" y="35"/>
                    </a:cubicBezTo>
                    <a:cubicBezTo>
                      <a:pt x="30" y="35"/>
                      <a:pt x="35" y="30"/>
                      <a:pt x="35" y="24"/>
                    </a:cubicBezTo>
                    <a:cubicBezTo>
                      <a:pt x="35" y="17"/>
                      <a:pt x="30" y="12"/>
                      <a:pt x="23" y="12"/>
                    </a:cubicBezTo>
                    <a:close/>
                  </a:path>
                </a:pathLst>
              </a:cu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3" name="i$ḷïḓe">
                <a:extLst>
                  <a:ext uri="{FF2B5EF4-FFF2-40B4-BE49-F238E27FC236}">
                    <a16:creationId xmlns:a16="http://schemas.microsoft.com/office/drawing/2014/main" id="{C3FE4C91-7AFD-41B5-90EE-2AB1077564AE}"/>
                  </a:ext>
                </a:extLst>
              </p:cNvPr>
              <p:cNvSpPr/>
              <p:nvPr/>
            </p:nvSpPr>
            <p:spPr bwMode="auto">
              <a:xfrm>
                <a:off x="3125788" y="2219325"/>
                <a:ext cx="193675" cy="193675"/>
              </a:xfrm>
              <a:custGeom>
                <a:avLst/>
                <a:gdLst>
                  <a:gd name="T0" fmla="*/ 122 w 122"/>
                  <a:gd name="T1" fmla="*/ 122 h 122"/>
                  <a:gd name="T2" fmla="*/ 0 w 122"/>
                  <a:gd name="T3" fmla="*/ 122 h 122"/>
                  <a:gd name="T4" fmla="*/ 0 w 122"/>
                  <a:gd name="T5" fmla="*/ 0 h 122"/>
                  <a:gd name="T6" fmla="*/ 45 w 122"/>
                  <a:gd name="T7" fmla="*/ 0 h 122"/>
                  <a:gd name="T8" fmla="*/ 45 w 122"/>
                  <a:gd name="T9" fmla="*/ 76 h 122"/>
                  <a:gd name="T10" fmla="*/ 122 w 122"/>
                  <a:gd name="T11" fmla="*/ 76 h 122"/>
                  <a:gd name="T12" fmla="*/ 122 w 122"/>
                  <a:gd name="T1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2" h="122">
                    <a:moveTo>
                      <a:pt x="122" y="122"/>
                    </a:moveTo>
                    <a:lnTo>
                      <a:pt x="0" y="122"/>
                    </a:lnTo>
                    <a:lnTo>
                      <a:pt x="0" y="0"/>
                    </a:lnTo>
                    <a:lnTo>
                      <a:pt x="45" y="0"/>
                    </a:lnTo>
                    <a:lnTo>
                      <a:pt x="45" y="76"/>
                    </a:lnTo>
                    <a:lnTo>
                      <a:pt x="122" y="76"/>
                    </a:lnTo>
                    <a:lnTo>
                      <a:pt x="122" y="122"/>
                    </a:lnTo>
                    <a:close/>
                  </a:path>
                </a:pathLst>
              </a:custGeom>
              <a:solidFill>
                <a:srgbClr val="00BE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4" name="îṥḻîďe">
                <a:extLst>
                  <a:ext uri="{FF2B5EF4-FFF2-40B4-BE49-F238E27FC236}">
                    <a16:creationId xmlns:a16="http://schemas.microsoft.com/office/drawing/2014/main" id="{9632E59E-A4FE-4115-8DF4-865C23304605}"/>
                  </a:ext>
                </a:extLst>
              </p:cNvPr>
              <p:cNvSpPr/>
              <p:nvPr/>
            </p:nvSpPr>
            <p:spPr bwMode="auto">
              <a:xfrm>
                <a:off x="8101013" y="1333500"/>
                <a:ext cx="231775" cy="363538"/>
              </a:xfrm>
              <a:custGeom>
                <a:avLst/>
                <a:gdLst>
                  <a:gd name="T0" fmla="*/ 16 w 38"/>
                  <a:gd name="T1" fmla="*/ 10 h 60"/>
                  <a:gd name="T2" fmla="*/ 19 w 38"/>
                  <a:gd name="T3" fmla="*/ 0 h 60"/>
                  <a:gd name="T4" fmla="*/ 22 w 38"/>
                  <a:gd name="T5" fmla="*/ 10 h 60"/>
                  <a:gd name="T6" fmla="*/ 38 w 38"/>
                  <a:gd name="T7" fmla="*/ 30 h 60"/>
                  <a:gd name="T8" fmla="*/ 22 w 38"/>
                  <a:gd name="T9" fmla="*/ 50 h 60"/>
                  <a:gd name="T10" fmla="*/ 19 w 38"/>
                  <a:gd name="T11" fmla="*/ 60 h 60"/>
                  <a:gd name="T12" fmla="*/ 16 w 38"/>
                  <a:gd name="T13" fmla="*/ 50 h 60"/>
                  <a:gd name="T14" fmla="*/ 0 w 38"/>
                  <a:gd name="T15" fmla="*/ 30 h 60"/>
                  <a:gd name="T16" fmla="*/ 16 w 38"/>
                  <a:gd name="T17" fmla="*/ 1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" h="60">
                    <a:moveTo>
                      <a:pt x="16" y="10"/>
                    </a:moveTo>
                    <a:cubicBezTo>
                      <a:pt x="19" y="0"/>
                      <a:pt x="19" y="0"/>
                      <a:pt x="19" y="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19"/>
                      <a:pt x="30" y="26"/>
                      <a:pt x="38" y="30"/>
                    </a:cubicBezTo>
                    <a:cubicBezTo>
                      <a:pt x="30" y="34"/>
                      <a:pt x="24" y="41"/>
                      <a:pt x="22" y="50"/>
                    </a:cubicBezTo>
                    <a:cubicBezTo>
                      <a:pt x="19" y="60"/>
                      <a:pt x="19" y="60"/>
                      <a:pt x="19" y="60"/>
                    </a:cubicBezTo>
                    <a:cubicBezTo>
                      <a:pt x="16" y="50"/>
                      <a:pt x="16" y="50"/>
                      <a:pt x="16" y="50"/>
                    </a:cubicBezTo>
                    <a:cubicBezTo>
                      <a:pt x="14" y="41"/>
                      <a:pt x="8" y="34"/>
                      <a:pt x="0" y="30"/>
                    </a:cubicBezTo>
                    <a:cubicBezTo>
                      <a:pt x="8" y="26"/>
                      <a:pt x="14" y="19"/>
                      <a:pt x="16" y="10"/>
                    </a:cubicBezTo>
                    <a:close/>
                  </a:path>
                </a:pathLst>
              </a:custGeom>
              <a:solidFill>
                <a:srgbClr val="EF65A5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5" name="îSľïḓê">
                <a:extLst>
                  <a:ext uri="{FF2B5EF4-FFF2-40B4-BE49-F238E27FC236}">
                    <a16:creationId xmlns:a16="http://schemas.microsoft.com/office/drawing/2014/main" id="{4F07A109-9837-4F71-A4A3-FED0C1BE3CD1}"/>
                  </a:ext>
                </a:extLst>
              </p:cNvPr>
              <p:cNvSpPr/>
              <p:nvPr/>
            </p:nvSpPr>
            <p:spPr bwMode="auto">
              <a:xfrm>
                <a:off x="7840663" y="1206500"/>
                <a:ext cx="157163" cy="254000"/>
              </a:xfrm>
              <a:custGeom>
                <a:avLst/>
                <a:gdLst>
                  <a:gd name="T0" fmla="*/ 15 w 26"/>
                  <a:gd name="T1" fmla="*/ 7 h 42"/>
                  <a:gd name="T2" fmla="*/ 13 w 26"/>
                  <a:gd name="T3" fmla="*/ 0 h 42"/>
                  <a:gd name="T4" fmla="*/ 11 w 26"/>
                  <a:gd name="T5" fmla="*/ 7 h 42"/>
                  <a:gd name="T6" fmla="*/ 0 w 26"/>
                  <a:gd name="T7" fmla="*/ 21 h 42"/>
                  <a:gd name="T8" fmla="*/ 11 w 26"/>
                  <a:gd name="T9" fmla="*/ 35 h 42"/>
                  <a:gd name="T10" fmla="*/ 13 w 26"/>
                  <a:gd name="T11" fmla="*/ 42 h 42"/>
                  <a:gd name="T12" fmla="*/ 15 w 26"/>
                  <a:gd name="T13" fmla="*/ 35 h 42"/>
                  <a:gd name="T14" fmla="*/ 26 w 26"/>
                  <a:gd name="T15" fmla="*/ 21 h 42"/>
                  <a:gd name="T16" fmla="*/ 15 w 26"/>
                  <a:gd name="T17" fmla="*/ 7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42">
                    <a:moveTo>
                      <a:pt x="15" y="7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9" y="13"/>
                      <a:pt x="5" y="18"/>
                      <a:pt x="0" y="21"/>
                    </a:cubicBezTo>
                    <a:cubicBezTo>
                      <a:pt x="5" y="24"/>
                      <a:pt x="9" y="29"/>
                      <a:pt x="11" y="35"/>
                    </a:cubicBezTo>
                    <a:cubicBezTo>
                      <a:pt x="13" y="42"/>
                      <a:pt x="13" y="42"/>
                      <a:pt x="13" y="42"/>
                    </a:cubicBezTo>
                    <a:cubicBezTo>
                      <a:pt x="15" y="35"/>
                      <a:pt x="15" y="35"/>
                      <a:pt x="15" y="35"/>
                    </a:cubicBezTo>
                    <a:cubicBezTo>
                      <a:pt x="17" y="29"/>
                      <a:pt x="21" y="24"/>
                      <a:pt x="26" y="21"/>
                    </a:cubicBezTo>
                    <a:cubicBezTo>
                      <a:pt x="21" y="18"/>
                      <a:pt x="17" y="13"/>
                      <a:pt x="15" y="7"/>
                    </a:cubicBezTo>
                    <a:close/>
                  </a:path>
                </a:pathLst>
              </a:custGeom>
              <a:solidFill>
                <a:srgbClr val="EF65A5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6" name="í$ľiḓè">
                <a:extLst>
                  <a:ext uri="{FF2B5EF4-FFF2-40B4-BE49-F238E27FC236}">
                    <a16:creationId xmlns:a16="http://schemas.microsoft.com/office/drawing/2014/main" id="{E55261C9-B74B-460C-B2C9-9DC2EE421152}"/>
                  </a:ext>
                </a:extLst>
              </p:cNvPr>
              <p:cNvSpPr/>
              <p:nvPr/>
            </p:nvSpPr>
            <p:spPr bwMode="auto">
              <a:xfrm>
                <a:off x="3143251" y="1370013"/>
                <a:ext cx="182563" cy="290513"/>
              </a:xfrm>
              <a:custGeom>
                <a:avLst/>
                <a:gdLst>
                  <a:gd name="T0" fmla="*/ 17 w 30"/>
                  <a:gd name="T1" fmla="*/ 40 h 48"/>
                  <a:gd name="T2" fmla="*/ 15 w 30"/>
                  <a:gd name="T3" fmla="*/ 48 h 48"/>
                  <a:gd name="T4" fmla="*/ 13 w 30"/>
                  <a:gd name="T5" fmla="*/ 40 h 48"/>
                  <a:gd name="T6" fmla="*/ 0 w 30"/>
                  <a:gd name="T7" fmla="*/ 24 h 48"/>
                  <a:gd name="T8" fmla="*/ 13 w 30"/>
                  <a:gd name="T9" fmla="*/ 8 h 48"/>
                  <a:gd name="T10" fmla="*/ 15 w 30"/>
                  <a:gd name="T11" fmla="*/ 0 h 48"/>
                  <a:gd name="T12" fmla="*/ 17 w 30"/>
                  <a:gd name="T13" fmla="*/ 8 h 48"/>
                  <a:gd name="T14" fmla="*/ 30 w 30"/>
                  <a:gd name="T15" fmla="*/ 24 h 48"/>
                  <a:gd name="T16" fmla="*/ 17 w 30"/>
                  <a:gd name="T17" fmla="*/ 4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0" h="48">
                    <a:moveTo>
                      <a:pt x="17" y="40"/>
                    </a:moveTo>
                    <a:cubicBezTo>
                      <a:pt x="15" y="48"/>
                      <a:pt x="15" y="48"/>
                      <a:pt x="15" y="48"/>
                    </a:cubicBezTo>
                    <a:cubicBezTo>
                      <a:pt x="13" y="40"/>
                      <a:pt x="13" y="40"/>
                      <a:pt x="13" y="40"/>
                    </a:cubicBezTo>
                    <a:cubicBezTo>
                      <a:pt x="11" y="33"/>
                      <a:pt x="6" y="27"/>
                      <a:pt x="0" y="24"/>
                    </a:cubicBezTo>
                    <a:cubicBezTo>
                      <a:pt x="6" y="21"/>
                      <a:pt x="11" y="15"/>
                      <a:pt x="13" y="8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19" y="15"/>
                      <a:pt x="23" y="21"/>
                      <a:pt x="30" y="24"/>
                    </a:cubicBezTo>
                    <a:cubicBezTo>
                      <a:pt x="23" y="27"/>
                      <a:pt x="19" y="33"/>
                      <a:pt x="17" y="40"/>
                    </a:cubicBezTo>
                    <a:close/>
                  </a:path>
                </a:pathLst>
              </a:custGeom>
              <a:solidFill>
                <a:srgbClr val="EF65A5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" name="îṡļïḓè">
                <a:extLst>
                  <a:ext uri="{FF2B5EF4-FFF2-40B4-BE49-F238E27FC236}">
                    <a16:creationId xmlns:a16="http://schemas.microsoft.com/office/drawing/2014/main" id="{EE6054BE-EB14-487F-B957-8E8EABAAEE5B}"/>
                  </a:ext>
                </a:extLst>
              </p:cNvPr>
              <p:cNvSpPr/>
              <p:nvPr/>
            </p:nvSpPr>
            <p:spPr bwMode="auto">
              <a:xfrm>
                <a:off x="3379788" y="1655763"/>
                <a:ext cx="127000" cy="204788"/>
              </a:xfrm>
              <a:custGeom>
                <a:avLst/>
                <a:gdLst>
                  <a:gd name="T0" fmla="*/ 9 w 21"/>
                  <a:gd name="T1" fmla="*/ 28 h 34"/>
                  <a:gd name="T2" fmla="*/ 11 w 21"/>
                  <a:gd name="T3" fmla="*/ 34 h 34"/>
                  <a:gd name="T4" fmla="*/ 12 w 21"/>
                  <a:gd name="T5" fmla="*/ 28 h 34"/>
                  <a:gd name="T6" fmla="*/ 21 w 21"/>
                  <a:gd name="T7" fmla="*/ 17 h 34"/>
                  <a:gd name="T8" fmla="*/ 12 w 21"/>
                  <a:gd name="T9" fmla="*/ 6 h 34"/>
                  <a:gd name="T10" fmla="*/ 11 w 21"/>
                  <a:gd name="T11" fmla="*/ 0 h 34"/>
                  <a:gd name="T12" fmla="*/ 9 w 21"/>
                  <a:gd name="T13" fmla="*/ 6 h 34"/>
                  <a:gd name="T14" fmla="*/ 0 w 21"/>
                  <a:gd name="T15" fmla="*/ 17 h 34"/>
                  <a:gd name="T16" fmla="*/ 9 w 21"/>
                  <a:gd name="T17" fmla="*/ 2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" h="34">
                    <a:moveTo>
                      <a:pt x="9" y="28"/>
                    </a:moveTo>
                    <a:cubicBezTo>
                      <a:pt x="11" y="34"/>
                      <a:pt x="11" y="34"/>
                      <a:pt x="11" y="34"/>
                    </a:cubicBezTo>
                    <a:cubicBezTo>
                      <a:pt x="12" y="28"/>
                      <a:pt x="12" y="28"/>
                      <a:pt x="12" y="28"/>
                    </a:cubicBezTo>
                    <a:cubicBezTo>
                      <a:pt x="14" y="23"/>
                      <a:pt x="17" y="19"/>
                      <a:pt x="21" y="17"/>
                    </a:cubicBezTo>
                    <a:cubicBezTo>
                      <a:pt x="17" y="15"/>
                      <a:pt x="14" y="11"/>
                      <a:pt x="12" y="6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8" y="11"/>
                      <a:pt x="5" y="15"/>
                      <a:pt x="0" y="17"/>
                    </a:cubicBezTo>
                    <a:cubicBezTo>
                      <a:pt x="5" y="19"/>
                      <a:pt x="8" y="23"/>
                      <a:pt x="9" y="28"/>
                    </a:cubicBezTo>
                    <a:close/>
                  </a:path>
                </a:pathLst>
              </a:custGeom>
              <a:solidFill>
                <a:srgbClr val="EF65A5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8" name="íṩľíďé">
                <a:extLst>
                  <a:ext uri="{FF2B5EF4-FFF2-40B4-BE49-F238E27FC236}">
                    <a16:creationId xmlns:a16="http://schemas.microsoft.com/office/drawing/2014/main" id="{BD40F252-8201-49C9-AB77-385F4EFC9A20}"/>
                  </a:ext>
                </a:extLst>
              </p:cNvPr>
              <p:cNvSpPr/>
              <p:nvPr/>
            </p:nvSpPr>
            <p:spPr bwMode="auto">
              <a:xfrm>
                <a:off x="5826126" y="5068888"/>
                <a:ext cx="1038225" cy="461963"/>
              </a:xfrm>
              <a:custGeom>
                <a:avLst/>
                <a:gdLst>
                  <a:gd name="T0" fmla="*/ 119 w 171"/>
                  <a:gd name="T1" fmla="*/ 0 h 76"/>
                  <a:gd name="T2" fmla="*/ 71 w 171"/>
                  <a:gd name="T3" fmla="*/ 18 h 76"/>
                  <a:gd name="T4" fmla="*/ 52 w 171"/>
                  <a:gd name="T5" fmla="*/ 16 h 76"/>
                  <a:gd name="T6" fmla="*/ 20 w 171"/>
                  <a:gd name="T7" fmla="*/ 23 h 76"/>
                  <a:gd name="T8" fmla="*/ 0 w 171"/>
                  <a:gd name="T9" fmla="*/ 46 h 76"/>
                  <a:gd name="T10" fmla="*/ 52 w 171"/>
                  <a:gd name="T11" fmla="*/ 76 h 76"/>
                  <a:gd name="T12" fmla="*/ 96 w 171"/>
                  <a:gd name="T13" fmla="*/ 63 h 76"/>
                  <a:gd name="T14" fmla="*/ 101 w 171"/>
                  <a:gd name="T15" fmla="*/ 57 h 76"/>
                  <a:gd name="T16" fmla="*/ 119 w 171"/>
                  <a:gd name="T17" fmla="*/ 59 h 76"/>
                  <a:gd name="T18" fmla="*/ 162 w 171"/>
                  <a:gd name="T19" fmla="*/ 46 h 76"/>
                  <a:gd name="T20" fmla="*/ 171 w 171"/>
                  <a:gd name="T21" fmla="*/ 30 h 76"/>
                  <a:gd name="T22" fmla="*/ 119 w 171"/>
                  <a:gd name="T23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1" h="76">
                    <a:moveTo>
                      <a:pt x="119" y="0"/>
                    </a:moveTo>
                    <a:cubicBezTo>
                      <a:pt x="97" y="0"/>
                      <a:pt x="79" y="7"/>
                      <a:pt x="71" y="18"/>
                    </a:cubicBezTo>
                    <a:cubicBezTo>
                      <a:pt x="65" y="17"/>
                      <a:pt x="59" y="16"/>
                      <a:pt x="52" y="16"/>
                    </a:cubicBezTo>
                    <a:cubicBezTo>
                      <a:pt x="40" y="16"/>
                      <a:pt x="29" y="19"/>
                      <a:pt x="20" y="23"/>
                    </a:cubicBezTo>
                    <a:cubicBezTo>
                      <a:pt x="8" y="28"/>
                      <a:pt x="0" y="37"/>
                      <a:pt x="0" y="46"/>
                    </a:cubicBezTo>
                    <a:cubicBezTo>
                      <a:pt x="0" y="62"/>
                      <a:pt x="24" y="76"/>
                      <a:pt x="52" y="76"/>
                    </a:cubicBezTo>
                    <a:cubicBezTo>
                      <a:pt x="70" y="76"/>
                      <a:pt x="86" y="71"/>
                      <a:pt x="96" y="63"/>
                    </a:cubicBezTo>
                    <a:cubicBezTo>
                      <a:pt x="98" y="61"/>
                      <a:pt x="99" y="59"/>
                      <a:pt x="101" y="57"/>
                    </a:cubicBezTo>
                    <a:cubicBezTo>
                      <a:pt x="106" y="59"/>
                      <a:pt x="113" y="59"/>
                      <a:pt x="119" y="59"/>
                    </a:cubicBezTo>
                    <a:cubicBezTo>
                      <a:pt x="137" y="59"/>
                      <a:pt x="153" y="54"/>
                      <a:pt x="162" y="46"/>
                    </a:cubicBezTo>
                    <a:cubicBezTo>
                      <a:pt x="168" y="41"/>
                      <a:pt x="171" y="36"/>
                      <a:pt x="171" y="30"/>
                    </a:cubicBezTo>
                    <a:cubicBezTo>
                      <a:pt x="171" y="13"/>
                      <a:pt x="148" y="0"/>
                      <a:pt x="119" y="0"/>
                    </a:cubicBezTo>
                    <a:close/>
                  </a:path>
                </a:pathLst>
              </a:cu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9" name="i$1îḑê">
                <a:extLst>
                  <a:ext uri="{FF2B5EF4-FFF2-40B4-BE49-F238E27FC236}">
                    <a16:creationId xmlns:a16="http://schemas.microsoft.com/office/drawing/2014/main" id="{D9CCCE19-4F1D-4089-A2F6-677580D58D74}"/>
                  </a:ext>
                </a:extLst>
              </p:cNvPr>
              <p:cNvSpPr/>
              <p:nvPr/>
            </p:nvSpPr>
            <p:spPr bwMode="auto">
              <a:xfrm>
                <a:off x="5802313" y="5118100"/>
                <a:ext cx="630238" cy="357188"/>
              </a:xfrm>
              <a:custGeom>
                <a:avLst/>
                <a:gdLst>
                  <a:gd name="T0" fmla="*/ 104 w 104"/>
                  <a:gd name="T1" fmla="*/ 30 h 59"/>
                  <a:gd name="T2" fmla="*/ 95 w 104"/>
                  <a:gd name="T3" fmla="*/ 46 h 59"/>
                  <a:gd name="T4" fmla="*/ 52 w 104"/>
                  <a:gd name="T5" fmla="*/ 59 h 59"/>
                  <a:gd name="T6" fmla="*/ 0 w 104"/>
                  <a:gd name="T7" fmla="*/ 30 h 59"/>
                  <a:gd name="T8" fmla="*/ 20 w 104"/>
                  <a:gd name="T9" fmla="*/ 6 h 59"/>
                  <a:gd name="T10" fmla="*/ 52 w 104"/>
                  <a:gd name="T11" fmla="*/ 0 h 59"/>
                  <a:gd name="T12" fmla="*/ 104 w 104"/>
                  <a:gd name="T13" fmla="*/ 3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4" h="59">
                    <a:moveTo>
                      <a:pt x="104" y="30"/>
                    </a:moveTo>
                    <a:cubicBezTo>
                      <a:pt x="104" y="36"/>
                      <a:pt x="101" y="41"/>
                      <a:pt x="95" y="46"/>
                    </a:cubicBezTo>
                    <a:cubicBezTo>
                      <a:pt x="86" y="54"/>
                      <a:pt x="70" y="59"/>
                      <a:pt x="52" y="59"/>
                    </a:cubicBezTo>
                    <a:cubicBezTo>
                      <a:pt x="23" y="59"/>
                      <a:pt x="0" y="46"/>
                      <a:pt x="0" y="30"/>
                    </a:cubicBezTo>
                    <a:cubicBezTo>
                      <a:pt x="0" y="20"/>
                      <a:pt x="8" y="12"/>
                      <a:pt x="20" y="6"/>
                    </a:cubicBezTo>
                    <a:cubicBezTo>
                      <a:pt x="29" y="2"/>
                      <a:pt x="40" y="0"/>
                      <a:pt x="52" y="0"/>
                    </a:cubicBezTo>
                    <a:cubicBezTo>
                      <a:pt x="81" y="0"/>
                      <a:pt x="104" y="13"/>
                      <a:pt x="104" y="30"/>
                    </a:cubicBezTo>
                    <a:close/>
                  </a:path>
                </a:pathLst>
              </a:custGeom>
              <a:solidFill>
                <a:srgbClr val="3E03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0" name="ïslíḑè">
                <a:extLst>
                  <a:ext uri="{FF2B5EF4-FFF2-40B4-BE49-F238E27FC236}">
                    <a16:creationId xmlns:a16="http://schemas.microsoft.com/office/drawing/2014/main" id="{A5EF7D4B-CEE6-4D4E-93E8-77E43A951681}"/>
                  </a:ext>
                </a:extLst>
              </p:cNvPr>
              <p:cNvSpPr/>
              <p:nvPr/>
            </p:nvSpPr>
            <p:spPr bwMode="auto">
              <a:xfrm>
                <a:off x="5922963" y="5118100"/>
                <a:ext cx="193675" cy="180975"/>
              </a:xfrm>
              <a:custGeom>
                <a:avLst/>
                <a:gdLst>
                  <a:gd name="T0" fmla="*/ 32 w 32"/>
                  <a:gd name="T1" fmla="*/ 0 h 30"/>
                  <a:gd name="T2" fmla="*/ 32 w 32"/>
                  <a:gd name="T3" fmla="*/ 30 h 30"/>
                  <a:gd name="T4" fmla="*/ 0 w 32"/>
                  <a:gd name="T5" fmla="*/ 6 h 30"/>
                  <a:gd name="T6" fmla="*/ 32 w 32"/>
                  <a:gd name="T7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2" h="30">
                    <a:moveTo>
                      <a:pt x="32" y="0"/>
                    </a:moveTo>
                    <a:cubicBezTo>
                      <a:pt x="32" y="30"/>
                      <a:pt x="32" y="30"/>
                      <a:pt x="32" y="3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9" y="2"/>
                      <a:pt x="20" y="0"/>
                      <a:pt x="3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1" name="ï$ľíḍè">
                <a:extLst>
                  <a:ext uri="{FF2B5EF4-FFF2-40B4-BE49-F238E27FC236}">
                    <a16:creationId xmlns:a16="http://schemas.microsoft.com/office/drawing/2014/main" id="{F9E7B331-8135-4B4E-9C53-16C9CC38A644}"/>
                  </a:ext>
                </a:extLst>
              </p:cNvPr>
              <p:cNvSpPr/>
              <p:nvPr/>
            </p:nvSpPr>
            <p:spPr bwMode="auto">
              <a:xfrm>
                <a:off x="6208713" y="5014913"/>
                <a:ext cx="630238" cy="363538"/>
              </a:xfrm>
              <a:custGeom>
                <a:avLst/>
                <a:gdLst>
                  <a:gd name="T0" fmla="*/ 104 w 104"/>
                  <a:gd name="T1" fmla="*/ 30 h 60"/>
                  <a:gd name="T2" fmla="*/ 95 w 104"/>
                  <a:gd name="T3" fmla="*/ 47 h 60"/>
                  <a:gd name="T4" fmla="*/ 52 w 104"/>
                  <a:gd name="T5" fmla="*/ 60 h 60"/>
                  <a:gd name="T6" fmla="*/ 0 w 104"/>
                  <a:gd name="T7" fmla="*/ 30 h 60"/>
                  <a:gd name="T8" fmla="*/ 52 w 104"/>
                  <a:gd name="T9" fmla="*/ 0 h 60"/>
                  <a:gd name="T10" fmla="*/ 104 w 104"/>
                  <a:gd name="T11" fmla="*/ 3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4" h="60">
                    <a:moveTo>
                      <a:pt x="104" y="30"/>
                    </a:moveTo>
                    <a:cubicBezTo>
                      <a:pt x="104" y="36"/>
                      <a:pt x="101" y="42"/>
                      <a:pt x="95" y="47"/>
                    </a:cubicBezTo>
                    <a:cubicBezTo>
                      <a:pt x="86" y="55"/>
                      <a:pt x="70" y="60"/>
                      <a:pt x="52" y="60"/>
                    </a:cubicBezTo>
                    <a:cubicBezTo>
                      <a:pt x="23" y="60"/>
                      <a:pt x="0" y="47"/>
                      <a:pt x="0" y="30"/>
                    </a:cubicBezTo>
                    <a:cubicBezTo>
                      <a:pt x="0" y="14"/>
                      <a:pt x="23" y="0"/>
                      <a:pt x="52" y="0"/>
                    </a:cubicBezTo>
                    <a:cubicBezTo>
                      <a:pt x="81" y="0"/>
                      <a:pt x="104" y="14"/>
                      <a:pt x="104" y="30"/>
                    </a:cubicBezTo>
                    <a:close/>
                  </a:path>
                </a:pathLst>
              </a:custGeom>
              <a:solidFill>
                <a:srgbClr val="EF6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2" name="îšḻîḋê">
                <a:extLst>
                  <a:ext uri="{FF2B5EF4-FFF2-40B4-BE49-F238E27FC236}">
                    <a16:creationId xmlns:a16="http://schemas.microsoft.com/office/drawing/2014/main" id="{37E33EE7-F28D-49DB-BC26-5B2163DDCF13}"/>
                  </a:ext>
                </a:extLst>
              </p:cNvPr>
              <p:cNvSpPr/>
              <p:nvPr/>
            </p:nvSpPr>
            <p:spPr bwMode="auto">
              <a:xfrm>
                <a:off x="6523038" y="5014913"/>
                <a:ext cx="315913" cy="284163"/>
              </a:xfrm>
              <a:custGeom>
                <a:avLst/>
                <a:gdLst>
                  <a:gd name="T0" fmla="*/ 52 w 52"/>
                  <a:gd name="T1" fmla="*/ 30 h 47"/>
                  <a:gd name="T2" fmla="*/ 43 w 52"/>
                  <a:gd name="T3" fmla="*/ 47 h 47"/>
                  <a:gd name="T4" fmla="*/ 0 w 52"/>
                  <a:gd name="T5" fmla="*/ 30 h 47"/>
                  <a:gd name="T6" fmla="*/ 0 w 52"/>
                  <a:gd name="T7" fmla="*/ 0 h 47"/>
                  <a:gd name="T8" fmla="*/ 52 w 52"/>
                  <a:gd name="T9" fmla="*/ 3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47">
                    <a:moveTo>
                      <a:pt x="52" y="30"/>
                    </a:moveTo>
                    <a:cubicBezTo>
                      <a:pt x="52" y="36"/>
                      <a:pt x="49" y="42"/>
                      <a:pt x="43" y="47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9" y="0"/>
                      <a:pt x="52" y="14"/>
                      <a:pt x="52" y="3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3" name="í$ļïḑè">
                <a:extLst>
                  <a:ext uri="{FF2B5EF4-FFF2-40B4-BE49-F238E27FC236}">
                    <a16:creationId xmlns:a16="http://schemas.microsoft.com/office/drawing/2014/main" id="{3C81823E-9CA0-44E8-B98D-3E16479C3694}"/>
                  </a:ext>
                </a:extLst>
              </p:cNvPr>
              <p:cNvSpPr/>
              <p:nvPr/>
            </p:nvSpPr>
            <p:spPr bwMode="auto">
              <a:xfrm>
                <a:off x="5267326" y="5530850"/>
                <a:ext cx="1401763" cy="2381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4" name="íšlïdé">
                <a:extLst>
                  <a:ext uri="{FF2B5EF4-FFF2-40B4-BE49-F238E27FC236}">
                    <a16:creationId xmlns:a16="http://schemas.microsoft.com/office/drawing/2014/main" id="{E32F9163-204F-4D40-B408-B9F53375479C}"/>
                  </a:ext>
                </a:extLst>
              </p:cNvPr>
              <p:cNvSpPr/>
              <p:nvPr/>
            </p:nvSpPr>
            <p:spPr bwMode="auto">
              <a:xfrm>
                <a:off x="5649913" y="5397500"/>
                <a:ext cx="1395413" cy="127000"/>
              </a:xfrm>
              <a:custGeom>
                <a:avLst/>
                <a:gdLst>
                  <a:gd name="T0" fmla="*/ 879 w 879"/>
                  <a:gd name="T1" fmla="*/ 61 h 80"/>
                  <a:gd name="T2" fmla="*/ 0 w 879"/>
                  <a:gd name="T3" fmla="*/ 0 h 80"/>
                  <a:gd name="T4" fmla="*/ 0 w 879"/>
                  <a:gd name="T5" fmla="*/ 19 h 80"/>
                  <a:gd name="T6" fmla="*/ 879 w 879"/>
                  <a:gd name="T7" fmla="*/ 80 h 80"/>
                  <a:gd name="T8" fmla="*/ 879 w 879"/>
                  <a:gd name="T9" fmla="*/ 61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9" h="80">
                    <a:moveTo>
                      <a:pt x="879" y="61"/>
                    </a:moveTo>
                    <a:lnTo>
                      <a:pt x="0" y="0"/>
                    </a:lnTo>
                    <a:lnTo>
                      <a:pt x="0" y="19"/>
                    </a:lnTo>
                    <a:lnTo>
                      <a:pt x="879" y="80"/>
                    </a:lnTo>
                    <a:lnTo>
                      <a:pt x="879" y="61"/>
                    </a:lnTo>
                    <a:close/>
                  </a:path>
                </a:pathLst>
              </a:cu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sp>
          <p:nvSpPr>
            <p:cNvPr id="115" name="矩形 117">
              <a:extLst>
                <a:ext uri="{FF2B5EF4-FFF2-40B4-BE49-F238E27FC236}">
                  <a16:creationId xmlns:a16="http://schemas.microsoft.com/office/drawing/2014/main" id="{E1C5FB2C-D9A5-4F46-A7BF-E3C4F04427F9}"/>
                </a:ext>
              </a:extLst>
            </p:cNvPr>
            <p:cNvSpPr/>
            <p:nvPr userDrawn="1"/>
          </p:nvSpPr>
          <p:spPr>
            <a:xfrm>
              <a:off x="-4763" y="0"/>
              <a:ext cx="291300" cy="6040207"/>
            </a:xfrm>
            <a:custGeom>
              <a:avLst/>
              <a:gdLst>
                <a:gd name="connsiteX0" fmla="*/ 0 w 286537"/>
                <a:gd name="connsiteY0" fmla="*/ 0 h 5773507"/>
                <a:gd name="connsiteX1" fmla="*/ 286537 w 286537"/>
                <a:gd name="connsiteY1" fmla="*/ 0 h 5773507"/>
                <a:gd name="connsiteX2" fmla="*/ 286537 w 286537"/>
                <a:gd name="connsiteY2" fmla="*/ 5773507 h 5773507"/>
                <a:gd name="connsiteX3" fmla="*/ 0 w 286537"/>
                <a:gd name="connsiteY3" fmla="*/ 5773507 h 5773507"/>
                <a:gd name="connsiteX4" fmla="*/ 0 w 286537"/>
                <a:gd name="connsiteY4" fmla="*/ 0 h 5773507"/>
                <a:gd name="connsiteX0" fmla="*/ 9525 w 296062"/>
                <a:gd name="connsiteY0" fmla="*/ 0 h 6040207"/>
                <a:gd name="connsiteX1" fmla="*/ 296062 w 296062"/>
                <a:gd name="connsiteY1" fmla="*/ 0 h 6040207"/>
                <a:gd name="connsiteX2" fmla="*/ 296062 w 296062"/>
                <a:gd name="connsiteY2" fmla="*/ 5773507 h 6040207"/>
                <a:gd name="connsiteX3" fmla="*/ 0 w 296062"/>
                <a:gd name="connsiteY3" fmla="*/ 6040207 h 6040207"/>
                <a:gd name="connsiteX4" fmla="*/ 9525 w 296062"/>
                <a:gd name="connsiteY4" fmla="*/ 0 h 6040207"/>
                <a:gd name="connsiteX0" fmla="*/ 4763 w 291300"/>
                <a:gd name="connsiteY0" fmla="*/ 0 h 6040207"/>
                <a:gd name="connsiteX1" fmla="*/ 291300 w 291300"/>
                <a:gd name="connsiteY1" fmla="*/ 0 h 6040207"/>
                <a:gd name="connsiteX2" fmla="*/ 291300 w 291300"/>
                <a:gd name="connsiteY2" fmla="*/ 5773507 h 6040207"/>
                <a:gd name="connsiteX3" fmla="*/ 0 w 291300"/>
                <a:gd name="connsiteY3" fmla="*/ 6040207 h 6040207"/>
                <a:gd name="connsiteX4" fmla="*/ 4763 w 291300"/>
                <a:gd name="connsiteY4" fmla="*/ 0 h 6040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1300" h="6040207">
                  <a:moveTo>
                    <a:pt x="4763" y="0"/>
                  </a:moveTo>
                  <a:lnTo>
                    <a:pt x="291300" y="0"/>
                  </a:lnTo>
                  <a:lnTo>
                    <a:pt x="291300" y="5773507"/>
                  </a:lnTo>
                  <a:lnTo>
                    <a:pt x="0" y="6040207"/>
                  </a:lnTo>
                  <a:cubicBezTo>
                    <a:pt x="1588" y="4026805"/>
                    <a:pt x="3175" y="2013402"/>
                    <a:pt x="4763" y="0"/>
                  </a:cubicBezTo>
                  <a:close/>
                </a:path>
              </a:pathLst>
            </a:custGeom>
            <a:solidFill>
              <a:schemeClr val="tx1">
                <a:alpha val="2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6" name="矩形 117">
              <a:extLst>
                <a:ext uri="{FF2B5EF4-FFF2-40B4-BE49-F238E27FC236}">
                  <a16:creationId xmlns:a16="http://schemas.microsoft.com/office/drawing/2014/main" id="{C34D0085-BF10-43AF-9889-A75597918CC5}"/>
                </a:ext>
              </a:extLst>
            </p:cNvPr>
            <p:cNvSpPr/>
            <p:nvPr userDrawn="1"/>
          </p:nvSpPr>
          <p:spPr>
            <a:xfrm>
              <a:off x="11907003" y="-3517"/>
              <a:ext cx="304000" cy="6814907"/>
            </a:xfrm>
            <a:custGeom>
              <a:avLst/>
              <a:gdLst>
                <a:gd name="connsiteX0" fmla="*/ 0 w 286537"/>
                <a:gd name="connsiteY0" fmla="*/ 0 h 5773507"/>
                <a:gd name="connsiteX1" fmla="*/ 286537 w 286537"/>
                <a:gd name="connsiteY1" fmla="*/ 0 h 5773507"/>
                <a:gd name="connsiteX2" fmla="*/ 286537 w 286537"/>
                <a:gd name="connsiteY2" fmla="*/ 5773507 h 5773507"/>
                <a:gd name="connsiteX3" fmla="*/ 0 w 286537"/>
                <a:gd name="connsiteY3" fmla="*/ 5773507 h 5773507"/>
                <a:gd name="connsiteX4" fmla="*/ 0 w 286537"/>
                <a:gd name="connsiteY4" fmla="*/ 0 h 5773507"/>
                <a:gd name="connsiteX0" fmla="*/ 9525 w 296062"/>
                <a:gd name="connsiteY0" fmla="*/ 0 h 6040207"/>
                <a:gd name="connsiteX1" fmla="*/ 296062 w 296062"/>
                <a:gd name="connsiteY1" fmla="*/ 0 h 6040207"/>
                <a:gd name="connsiteX2" fmla="*/ 296062 w 296062"/>
                <a:gd name="connsiteY2" fmla="*/ 5773507 h 6040207"/>
                <a:gd name="connsiteX3" fmla="*/ 0 w 296062"/>
                <a:gd name="connsiteY3" fmla="*/ 6040207 h 6040207"/>
                <a:gd name="connsiteX4" fmla="*/ 9525 w 296062"/>
                <a:gd name="connsiteY4" fmla="*/ 0 h 6040207"/>
                <a:gd name="connsiteX0" fmla="*/ 4763 w 291300"/>
                <a:gd name="connsiteY0" fmla="*/ 0 h 6040207"/>
                <a:gd name="connsiteX1" fmla="*/ 291300 w 291300"/>
                <a:gd name="connsiteY1" fmla="*/ 0 h 6040207"/>
                <a:gd name="connsiteX2" fmla="*/ 291300 w 291300"/>
                <a:gd name="connsiteY2" fmla="*/ 5773507 h 6040207"/>
                <a:gd name="connsiteX3" fmla="*/ 0 w 291300"/>
                <a:gd name="connsiteY3" fmla="*/ 6040207 h 6040207"/>
                <a:gd name="connsiteX4" fmla="*/ 4763 w 291300"/>
                <a:gd name="connsiteY4" fmla="*/ 0 h 6040207"/>
                <a:gd name="connsiteX0" fmla="*/ 4763 w 304000"/>
                <a:gd name="connsiteY0" fmla="*/ 838200 h 6878407"/>
                <a:gd name="connsiteX1" fmla="*/ 304000 w 304000"/>
                <a:gd name="connsiteY1" fmla="*/ 0 h 6878407"/>
                <a:gd name="connsiteX2" fmla="*/ 291300 w 304000"/>
                <a:gd name="connsiteY2" fmla="*/ 6611707 h 6878407"/>
                <a:gd name="connsiteX3" fmla="*/ 0 w 304000"/>
                <a:gd name="connsiteY3" fmla="*/ 6878407 h 6878407"/>
                <a:gd name="connsiteX4" fmla="*/ 4763 w 304000"/>
                <a:gd name="connsiteY4" fmla="*/ 838200 h 6878407"/>
                <a:gd name="connsiteX0" fmla="*/ 155 w 312092"/>
                <a:gd name="connsiteY0" fmla="*/ 50800 h 6878407"/>
                <a:gd name="connsiteX1" fmla="*/ 312092 w 312092"/>
                <a:gd name="connsiteY1" fmla="*/ 0 h 6878407"/>
                <a:gd name="connsiteX2" fmla="*/ 299392 w 312092"/>
                <a:gd name="connsiteY2" fmla="*/ 6611707 h 6878407"/>
                <a:gd name="connsiteX3" fmla="*/ 8092 w 312092"/>
                <a:gd name="connsiteY3" fmla="*/ 6878407 h 6878407"/>
                <a:gd name="connsiteX4" fmla="*/ 155 w 312092"/>
                <a:gd name="connsiteY4" fmla="*/ 50800 h 6878407"/>
                <a:gd name="connsiteX0" fmla="*/ 155 w 312092"/>
                <a:gd name="connsiteY0" fmla="*/ 0 h 6827607"/>
                <a:gd name="connsiteX1" fmla="*/ 312092 w 312092"/>
                <a:gd name="connsiteY1" fmla="*/ 25400 h 6827607"/>
                <a:gd name="connsiteX2" fmla="*/ 299392 w 312092"/>
                <a:gd name="connsiteY2" fmla="*/ 6560907 h 6827607"/>
                <a:gd name="connsiteX3" fmla="*/ 8092 w 312092"/>
                <a:gd name="connsiteY3" fmla="*/ 6827607 h 6827607"/>
                <a:gd name="connsiteX4" fmla="*/ 155 w 312092"/>
                <a:gd name="connsiteY4" fmla="*/ 0 h 6827607"/>
                <a:gd name="connsiteX0" fmla="*/ 17463 w 304000"/>
                <a:gd name="connsiteY0" fmla="*/ 0 h 6827607"/>
                <a:gd name="connsiteX1" fmla="*/ 304000 w 304000"/>
                <a:gd name="connsiteY1" fmla="*/ 25400 h 6827607"/>
                <a:gd name="connsiteX2" fmla="*/ 291300 w 304000"/>
                <a:gd name="connsiteY2" fmla="*/ 6560907 h 6827607"/>
                <a:gd name="connsiteX3" fmla="*/ 0 w 304000"/>
                <a:gd name="connsiteY3" fmla="*/ 6827607 h 6827607"/>
                <a:gd name="connsiteX4" fmla="*/ 17463 w 304000"/>
                <a:gd name="connsiteY4" fmla="*/ 0 h 6827607"/>
                <a:gd name="connsiteX0" fmla="*/ 17463 w 304000"/>
                <a:gd name="connsiteY0" fmla="*/ 0 h 6814907"/>
                <a:gd name="connsiteX1" fmla="*/ 304000 w 304000"/>
                <a:gd name="connsiteY1" fmla="*/ 12700 h 6814907"/>
                <a:gd name="connsiteX2" fmla="*/ 291300 w 304000"/>
                <a:gd name="connsiteY2" fmla="*/ 6548207 h 6814907"/>
                <a:gd name="connsiteX3" fmla="*/ 0 w 304000"/>
                <a:gd name="connsiteY3" fmla="*/ 6814907 h 6814907"/>
                <a:gd name="connsiteX4" fmla="*/ 17463 w 304000"/>
                <a:gd name="connsiteY4" fmla="*/ 0 h 6814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000" h="6814907">
                  <a:moveTo>
                    <a:pt x="17463" y="0"/>
                  </a:moveTo>
                  <a:lnTo>
                    <a:pt x="304000" y="12700"/>
                  </a:lnTo>
                  <a:cubicBezTo>
                    <a:pt x="299767" y="2216602"/>
                    <a:pt x="295533" y="4344305"/>
                    <a:pt x="291300" y="6548207"/>
                  </a:cubicBezTo>
                  <a:lnTo>
                    <a:pt x="0" y="6814907"/>
                  </a:lnTo>
                  <a:cubicBezTo>
                    <a:pt x="1588" y="4801505"/>
                    <a:pt x="15875" y="2013402"/>
                    <a:pt x="17463" y="0"/>
                  </a:cubicBezTo>
                  <a:close/>
                </a:path>
              </a:pathLst>
            </a:custGeom>
            <a:solidFill>
              <a:srgbClr val="3B24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9802" name="标题 1"/>
          <p:cNvSpPr>
            <a:spLocks noGrp="1"/>
          </p:cNvSpPr>
          <p:nvPr>
            <p:ph type="ctrTitle" hasCustomPrompt="1"/>
          </p:nvPr>
        </p:nvSpPr>
        <p:spPr>
          <a:xfrm>
            <a:off x="1040286" y="2112305"/>
            <a:ext cx="6178405" cy="658020"/>
          </a:xfrm>
          <a:noFill/>
        </p:spPr>
        <p:txBody>
          <a:bodyPr anchor="ctr">
            <a:normAutofit/>
          </a:bodyPr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040286" y="3216270"/>
            <a:ext cx="5844995" cy="258922"/>
          </a:xfrm>
          <a:noFill/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1040286" y="4231693"/>
            <a:ext cx="5844995" cy="258922"/>
          </a:xfrm>
          <a:noFill/>
        </p:spPr>
        <p:txBody>
          <a:bodyPr vert="horz" anchor="ctr">
            <a:noAutofit/>
          </a:bodyPr>
          <a:lstStyle>
            <a:lvl1pPr marL="0" indent="0" algn="l">
              <a:buNone/>
              <a:defRPr sz="1600" b="0" u="sng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>
            <p:ph type="body" sz="quarter" idx="11" hasCustomPrompt="1"/>
          </p:nvPr>
        </p:nvSpPr>
        <p:spPr>
          <a:xfrm>
            <a:off x="1040286" y="4532854"/>
            <a:ext cx="5844996" cy="296392"/>
          </a:xfrm>
          <a:noFill/>
        </p:spPr>
        <p:txBody>
          <a:bodyPr vert="horz" anchor="ctr">
            <a:noAutofit/>
          </a:bodyPr>
          <a:lstStyle>
            <a:lvl1pPr marL="0" indent="0" algn="l">
              <a:buNone/>
              <a:defRPr sz="1600" b="0" u="sng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1775015" y="2239843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1775015" y="3135193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3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CD8AD87B-37E0-4504-B51F-8EBBAEC8D08C}"/>
              </a:ext>
            </a:extLst>
          </p:cNvPr>
          <p:cNvGrpSpPr/>
          <p:nvPr userDrawn="1"/>
        </p:nvGrpSpPr>
        <p:grpSpPr>
          <a:xfrm>
            <a:off x="0" y="1994264"/>
            <a:ext cx="12192000" cy="3121731"/>
            <a:chOff x="0" y="1994264"/>
            <a:chExt cx="12192000" cy="3121731"/>
          </a:xfrm>
        </p:grpSpPr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D903BE9B-9C12-4D34-8928-5F61F6831685}"/>
                </a:ext>
              </a:extLst>
            </p:cNvPr>
            <p:cNvSpPr/>
            <p:nvPr/>
          </p:nvSpPr>
          <p:spPr>
            <a:xfrm>
              <a:off x="0" y="4923771"/>
              <a:ext cx="12192000" cy="19222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9" name="171a5da4-c0df-458e-a05c-fa476a893fdf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9DE136C8-0D32-4D4F-894A-F1A4182823AB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6565899" y="1994264"/>
              <a:ext cx="4009263" cy="3084386"/>
              <a:chOff x="3125788" y="1206500"/>
              <a:chExt cx="5794376" cy="4457700"/>
            </a:xfrm>
          </p:grpSpPr>
          <p:sp>
            <p:nvSpPr>
              <p:cNvPr id="10" name="îṧļiďê">
                <a:extLst>
                  <a:ext uri="{FF2B5EF4-FFF2-40B4-BE49-F238E27FC236}">
                    <a16:creationId xmlns:a16="http://schemas.microsoft.com/office/drawing/2014/main" id="{5EF7C335-5081-47E6-BA16-7E17C36D39BF}"/>
                  </a:ext>
                </a:extLst>
              </p:cNvPr>
              <p:cNvSpPr/>
              <p:nvPr/>
            </p:nvSpPr>
            <p:spPr bwMode="auto">
              <a:xfrm>
                <a:off x="7348538" y="3675063"/>
                <a:ext cx="334963" cy="200025"/>
              </a:xfrm>
              <a:prstGeom prst="rect">
                <a:avLst/>
              </a:pr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" name="îŝ1idè">
                <a:extLst>
                  <a:ext uri="{FF2B5EF4-FFF2-40B4-BE49-F238E27FC236}">
                    <a16:creationId xmlns:a16="http://schemas.microsoft.com/office/drawing/2014/main" id="{906EB874-B1F9-4B2E-8727-4BD768B20262}"/>
                  </a:ext>
                </a:extLst>
              </p:cNvPr>
              <p:cNvSpPr/>
              <p:nvPr/>
            </p:nvSpPr>
            <p:spPr bwMode="auto">
              <a:xfrm>
                <a:off x="7154863" y="3941763"/>
                <a:ext cx="333375" cy="200025"/>
              </a:xfrm>
              <a:prstGeom prst="rect">
                <a:avLst/>
              </a:pr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" name="î$1íḍè">
                <a:extLst>
                  <a:ext uri="{FF2B5EF4-FFF2-40B4-BE49-F238E27FC236}">
                    <a16:creationId xmlns:a16="http://schemas.microsoft.com/office/drawing/2014/main" id="{D365C4ED-658D-419C-87EE-5FF1664E919D}"/>
                  </a:ext>
                </a:extLst>
              </p:cNvPr>
              <p:cNvSpPr/>
              <p:nvPr/>
            </p:nvSpPr>
            <p:spPr bwMode="auto">
              <a:xfrm>
                <a:off x="7543801" y="3941763"/>
                <a:ext cx="333375" cy="200025"/>
              </a:xfrm>
              <a:prstGeom prst="rect">
                <a:avLst/>
              </a:pr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" name="îṥľïḓê">
                <a:extLst>
                  <a:ext uri="{FF2B5EF4-FFF2-40B4-BE49-F238E27FC236}">
                    <a16:creationId xmlns:a16="http://schemas.microsoft.com/office/drawing/2014/main" id="{066C0235-EF36-499D-A383-DB6EC24FA266}"/>
                  </a:ext>
                </a:extLst>
              </p:cNvPr>
              <p:cNvSpPr/>
              <p:nvPr/>
            </p:nvSpPr>
            <p:spPr bwMode="auto">
              <a:xfrm>
                <a:off x="3719513" y="1296988"/>
                <a:ext cx="3794125" cy="2522538"/>
              </a:xfrm>
              <a:prstGeom prst="rect">
                <a:avLst/>
              </a:prstGeom>
              <a:solidFill>
                <a:srgbClr val="EF6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" name="îṧḻîdè">
                <a:extLst>
                  <a:ext uri="{FF2B5EF4-FFF2-40B4-BE49-F238E27FC236}">
                    <a16:creationId xmlns:a16="http://schemas.microsoft.com/office/drawing/2014/main" id="{41BB9408-0C22-4E46-8A3F-A00566C3C415}"/>
                  </a:ext>
                </a:extLst>
              </p:cNvPr>
              <p:cNvSpPr/>
              <p:nvPr/>
            </p:nvSpPr>
            <p:spPr bwMode="auto">
              <a:xfrm>
                <a:off x="3719513" y="1296988"/>
                <a:ext cx="3794125" cy="25225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" name="iŝľîḍe">
                <a:extLst>
                  <a:ext uri="{FF2B5EF4-FFF2-40B4-BE49-F238E27FC236}">
                    <a16:creationId xmlns:a16="http://schemas.microsoft.com/office/drawing/2014/main" id="{8EAE8FA8-E587-4679-A9D5-FADF2D2BCD9F}"/>
                  </a:ext>
                </a:extLst>
              </p:cNvPr>
              <p:cNvSpPr/>
              <p:nvPr/>
            </p:nvSpPr>
            <p:spPr bwMode="auto">
              <a:xfrm>
                <a:off x="3805238" y="1400175"/>
                <a:ext cx="3622675" cy="232251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" name="ïS1ídé">
                <a:extLst>
                  <a:ext uri="{FF2B5EF4-FFF2-40B4-BE49-F238E27FC236}">
                    <a16:creationId xmlns:a16="http://schemas.microsoft.com/office/drawing/2014/main" id="{3EC1D0A7-FE9F-4F42-9ED6-44FC38E3CD20}"/>
                  </a:ext>
                </a:extLst>
              </p:cNvPr>
              <p:cNvSpPr/>
              <p:nvPr/>
            </p:nvSpPr>
            <p:spPr bwMode="auto">
              <a:xfrm>
                <a:off x="3805238" y="1400175"/>
                <a:ext cx="3622675" cy="23225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" name="ísḻíḋê">
                <a:extLst>
                  <a:ext uri="{FF2B5EF4-FFF2-40B4-BE49-F238E27FC236}">
                    <a16:creationId xmlns:a16="http://schemas.microsoft.com/office/drawing/2014/main" id="{17F9E190-DD5F-4A8F-95C6-CE33A5F46898}"/>
                  </a:ext>
                </a:extLst>
              </p:cNvPr>
              <p:cNvSpPr/>
              <p:nvPr/>
            </p:nvSpPr>
            <p:spPr bwMode="auto">
              <a:xfrm>
                <a:off x="6961188" y="1927225"/>
                <a:ext cx="30163" cy="140176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" name="îṧļíḑé">
                <a:extLst>
                  <a:ext uri="{FF2B5EF4-FFF2-40B4-BE49-F238E27FC236}">
                    <a16:creationId xmlns:a16="http://schemas.microsoft.com/office/drawing/2014/main" id="{31005F0A-6AF3-4D6D-AD96-9DC039AFE25A}"/>
                  </a:ext>
                </a:extLst>
              </p:cNvPr>
              <p:cNvSpPr/>
              <p:nvPr/>
            </p:nvSpPr>
            <p:spPr bwMode="auto">
              <a:xfrm>
                <a:off x="6542088" y="1927225"/>
                <a:ext cx="23813" cy="140176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" name="ïṧľíḑé">
                <a:extLst>
                  <a:ext uri="{FF2B5EF4-FFF2-40B4-BE49-F238E27FC236}">
                    <a16:creationId xmlns:a16="http://schemas.microsoft.com/office/drawing/2014/main" id="{0E78D6E5-8174-490C-893F-9408983AE471}"/>
                  </a:ext>
                </a:extLst>
              </p:cNvPr>
              <p:cNvSpPr/>
              <p:nvPr/>
            </p:nvSpPr>
            <p:spPr bwMode="auto">
              <a:xfrm>
                <a:off x="6116638" y="1927225"/>
                <a:ext cx="30163" cy="140176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" name="í$ḷíḋe">
                <a:extLst>
                  <a:ext uri="{FF2B5EF4-FFF2-40B4-BE49-F238E27FC236}">
                    <a16:creationId xmlns:a16="http://schemas.microsoft.com/office/drawing/2014/main" id="{341ED3E0-454C-4F90-B006-669287024E93}"/>
                  </a:ext>
                </a:extLst>
              </p:cNvPr>
              <p:cNvSpPr/>
              <p:nvPr/>
            </p:nvSpPr>
            <p:spPr bwMode="auto">
              <a:xfrm>
                <a:off x="5692776" y="1927225"/>
                <a:ext cx="30163" cy="140176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3" name="ïsļíďe">
                <a:extLst>
                  <a:ext uri="{FF2B5EF4-FFF2-40B4-BE49-F238E27FC236}">
                    <a16:creationId xmlns:a16="http://schemas.microsoft.com/office/drawing/2014/main" id="{F8BBDCEC-EB32-4A20-88C5-226FBF28DCC4}"/>
                  </a:ext>
                </a:extLst>
              </p:cNvPr>
              <p:cNvSpPr/>
              <p:nvPr/>
            </p:nvSpPr>
            <p:spPr bwMode="auto">
              <a:xfrm>
                <a:off x="5273676" y="1927225"/>
                <a:ext cx="23813" cy="140176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" name="îśľïḍé">
                <a:extLst>
                  <a:ext uri="{FF2B5EF4-FFF2-40B4-BE49-F238E27FC236}">
                    <a16:creationId xmlns:a16="http://schemas.microsoft.com/office/drawing/2014/main" id="{DF2440D6-BDF1-4DB1-B707-241BF6F1F922}"/>
                  </a:ext>
                </a:extLst>
              </p:cNvPr>
              <p:cNvSpPr/>
              <p:nvPr/>
            </p:nvSpPr>
            <p:spPr bwMode="auto">
              <a:xfrm>
                <a:off x="4848226" y="1927225"/>
                <a:ext cx="30163" cy="140176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" name="ï$ľïde">
                <a:extLst>
                  <a:ext uri="{FF2B5EF4-FFF2-40B4-BE49-F238E27FC236}">
                    <a16:creationId xmlns:a16="http://schemas.microsoft.com/office/drawing/2014/main" id="{D1286830-3769-4E55-AA6A-59D6B020FA1F}"/>
                  </a:ext>
                </a:extLst>
              </p:cNvPr>
              <p:cNvSpPr/>
              <p:nvPr/>
            </p:nvSpPr>
            <p:spPr bwMode="auto">
              <a:xfrm>
                <a:off x="4848226" y="1927225"/>
                <a:ext cx="30163" cy="14017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" name="ïṧ1ïḑé">
                <a:extLst>
                  <a:ext uri="{FF2B5EF4-FFF2-40B4-BE49-F238E27FC236}">
                    <a16:creationId xmlns:a16="http://schemas.microsoft.com/office/drawing/2014/main" id="{756A49A9-578F-4538-AC38-1F7F3DE0289E}"/>
                  </a:ext>
                </a:extLst>
              </p:cNvPr>
              <p:cNvSpPr/>
              <p:nvPr/>
            </p:nvSpPr>
            <p:spPr bwMode="auto">
              <a:xfrm>
                <a:off x="4970463" y="1630363"/>
                <a:ext cx="2330450" cy="1795463"/>
              </a:xfrm>
              <a:custGeom>
                <a:avLst/>
                <a:gdLst>
                  <a:gd name="T0" fmla="*/ 382 w 384"/>
                  <a:gd name="T1" fmla="*/ 222 h 296"/>
                  <a:gd name="T2" fmla="*/ 353 w 384"/>
                  <a:gd name="T3" fmla="*/ 112 h 296"/>
                  <a:gd name="T4" fmla="*/ 345 w 384"/>
                  <a:gd name="T5" fmla="*/ 87 h 296"/>
                  <a:gd name="T6" fmla="*/ 334 w 384"/>
                  <a:gd name="T7" fmla="*/ 73 h 296"/>
                  <a:gd name="T8" fmla="*/ 306 w 384"/>
                  <a:gd name="T9" fmla="*/ 90 h 296"/>
                  <a:gd name="T10" fmla="*/ 298 w 384"/>
                  <a:gd name="T11" fmla="*/ 114 h 296"/>
                  <a:gd name="T12" fmla="*/ 287 w 384"/>
                  <a:gd name="T13" fmla="*/ 138 h 296"/>
                  <a:gd name="T14" fmla="*/ 270 w 384"/>
                  <a:gd name="T15" fmla="*/ 122 h 296"/>
                  <a:gd name="T16" fmla="*/ 262 w 384"/>
                  <a:gd name="T17" fmla="*/ 100 h 296"/>
                  <a:gd name="T18" fmla="*/ 236 w 384"/>
                  <a:gd name="T19" fmla="*/ 73 h 296"/>
                  <a:gd name="T20" fmla="*/ 209 w 384"/>
                  <a:gd name="T21" fmla="*/ 97 h 296"/>
                  <a:gd name="T22" fmla="*/ 201 w 384"/>
                  <a:gd name="T23" fmla="*/ 135 h 296"/>
                  <a:gd name="T24" fmla="*/ 195 w 384"/>
                  <a:gd name="T25" fmla="*/ 193 h 296"/>
                  <a:gd name="T26" fmla="*/ 186 w 384"/>
                  <a:gd name="T27" fmla="*/ 250 h 296"/>
                  <a:gd name="T28" fmla="*/ 153 w 384"/>
                  <a:gd name="T29" fmla="*/ 275 h 296"/>
                  <a:gd name="T30" fmla="*/ 121 w 384"/>
                  <a:gd name="T31" fmla="*/ 237 h 296"/>
                  <a:gd name="T32" fmla="*/ 102 w 384"/>
                  <a:gd name="T33" fmla="*/ 187 h 296"/>
                  <a:gd name="T34" fmla="*/ 79 w 384"/>
                  <a:gd name="T35" fmla="*/ 86 h 296"/>
                  <a:gd name="T36" fmla="*/ 65 w 384"/>
                  <a:gd name="T37" fmla="*/ 30 h 296"/>
                  <a:gd name="T38" fmla="*/ 33 w 384"/>
                  <a:gd name="T39" fmla="*/ 2 h 296"/>
                  <a:gd name="T40" fmla="*/ 9 w 384"/>
                  <a:gd name="T41" fmla="*/ 37 h 296"/>
                  <a:gd name="T42" fmla="*/ 0 w 384"/>
                  <a:gd name="T43" fmla="*/ 101 h 296"/>
                  <a:gd name="T44" fmla="*/ 12 w 384"/>
                  <a:gd name="T45" fmla="*/ 101 h 296"/>
                  <a:gd name="T46" fmla="*/ 19 w 384"/>
                  <a:gd name="T47" fmla="*/ 46 h 296"/>
                  <a:gd name="T48" fmla="*/ 25 w 384"/>
                  <a:gd name="T49" fmla="*/ 21 h 296"/>
                  <a:gd name="T50" fmla="*/ 48 w 384"/>
                  <a:gd name="T51" fmla="*/ 21 h 296"/>
                  <a:gd name="T52" fmla="*/ 56 w 384"/>
                  <a:gd name="T53" fmla="*/ 42 h 296"/>
                  <a:gd name="T54" fmla="*/ 63 w 384"/>
                  <a:gd name="T55" fmla="*/ 66 h 296"/>
                  <a:gd name="T56" fmla="*/ 73 w 384"/>
                  <a:gd name="T57" fmla="*/ 114 h 296"/>
                  <a:gd name="T58" fmla="*/ 97 w 384"/>
                  <a:gd name="T59" fmla="*/ 209 h 296"/>
                  <a:gd name="T60" fmla="*/ 115 w 384"/>
                  <a:gd name="T61" fmla="*/ 252 h 296"/>
                  <a:gd name="T62" fmla="*/ 143 w 384"/>
                  <a:gd name="T63" fmla="*/ 283 h 296"/>
                  <a:gd name="T64" fmla="*/ 198 w 384"/>
                  <a:gd name="T65" fmla="*/ 252 h 296"/>
                  <a:gd name="T66" fmla="*/ 206 w 384"/>
                  <a:gd name="T67" fmla="*/ 203 h 296"/>
                  <a:gd name="T68" fmla="*/ 211 w 384"/>
                  <a:gd name="T69" fmla="*/ 148 h 296"/>
                  <a:gd name="T70" fmla="*/ 218 w 384"/>
                  <a:gd name="T71" fmla="*/ 105 h 296"/>
                  <a:gd name="T72" fmla="*/ 228 w 384"/>
                  <a:gd name="T73" fmla="*/ 90 h 296"/>
                  <a:gd name="T74" fmla="*/ 237 w 384"/>
                  <a:gd name="T75" fmla="*/ 84 h 296"/>
                  <a:gd name="T76" fmla="*/ 247 w 384"/>
                  <a:gd name="T77" fmla="*/ 95 h 296"/>
                  <a:gd name="T78" fmla="*/ 256 w 384"/>
                  <a:gd name="T79" fmla="*/ 117 h 296"/>
                  <a:gd name="T80" fmla="*/ 264 w 384"/>
                  <a:gd name="T81" fmla="*/ 137 h 296"/>
                  <a:gd name="T82" fmla="*/ 293 w 384"/>
                  <a:gd name="T83" fmla="*/ 148 h 296"/>
                  <a:gd name="T84" fmla="*/ 312 w 384"/>
                  <a:gd name="T85" fmla="*/ 108 h 296"/>
                  <a:gd name="T86" fmla="*/ 326 w 384"/>
                  <a:gd name="T87" fmla="*/ 84 h 296"/>
                  <a:gd name="T88" fmla="*/ 340 w 384"/>
                  <a:gd name="T89" fmla="*/ 107 h 296"/>
                  <a:gd name="T90" fmla="*/ 371 w 384"/>
                  <a:gd name="T91" fmla="*/ 225 h 296"/>
                  <a:gd name="T92" fmla="*/ 382 w 384"/>
                  <a:gd name="T93" fmla="*/ 222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84" h="296">
                    <a:moveTo>
                      <a:pt x="382" y="222"/>
                    </a:moveTo>
                    <a:cubicBezTo>
                      <a:pt x="374" y="185"/>
                      <a:pt x="365" y="148"/>
                      <a:pt x="353" y="112"/>
                    </a:cubicBezTo>
                    <a:cubicBezTo>
                      <a:pt x="351" y="104"/>
                      <a:pt x="348" y="95"/>
                      <a:pt x="345" y="87"/>
                    </a:cubicBezTo>
                    <a:cubicBezTo>
                      <a:pt x="343" y="81"/>
                      <a:pt x="340" y="76"/>
                      <a:pt x="334" y="73"/>
                    </a:cubicBezTo>
                    <a:cubicBezTo>
                      <a:pt x="321" y="67"/>
                      <a:pt x="310" y="79"/>
                      <a:pt x="306" y="90"/>
                    </a:cubicBezTo>
                    <a:cubicBezTo>
                      <a:pt x="303" y="98"/>
                      <a:pt x="300" y="106"/>
                      <a:pt x="298" y="114"/>
                    </a:cubicBezTo>
                    <a:cubicBezTo>
                      <a:pt x="296" y="120"/>
                      <a:pt x="294" y="134"/>
                      <a:pt x="287" y="138"/>
                    </a:cubicBezTo>
                    <a:cubicBezTo>
                      <a:pt x="277" y="142"/>
                      <a:pt x="272" y="128"/>
                      <a:pt x="270" y="122"/>
                    </a:cubicBezTo>
                    <a:cubicBezTo>
                      <a:pt x="267" y="114"/>
                      <a:pt x="265" y="107"/>
                      <a:pt x="262" y="100"/>
                    </a:cubicBezTo>
                    <a:cubicBezTo>
                      <a:pt x="257" y="89"/>
                      <a:pt x="251" y="71"/>
                      <a:pt x="236" y="73"/>
                    </a:cubicBezTo>
                    <a:cubicBezTo>
                      <a:pt x="224" y="74"/>
                      <a:pt x="214" y="86"/>
                      <a:pt x="209" y="97"/>
                    </a:cubicBezTo>
                    <a:cubicBezTo>
                      <a:pt x="204" y="109"/>
                      <a:pt x="202" y="122"/>
                      <a:pt x="201" y="135"/>
                    </a:cubicBezTo>
                    <a:cubicBezTo>
                      <a:pt x="199" y="154"/>
                      <a:pt x="197" y="174"/>
                      <a:pt x="195" y="193"/>
                    </a:cubicBezTo>
                    <a:cubicBezTo>
                      <a:pt x="193" y="212"/>
                      <a:pt x="192" y="232"/>
                      <a:pt x="186" y="250"/>
                    </a:cubicBezTo>
                    <a:cubicBezTo>
                      <a:pt x="181" y="263"/>
                      <a:pt x="170" y="279"/>
                      <a:pt x="153" y="275"/>
                    </a:cubicBezTo>
                    <a:cubicBezTo>
                      <a:pt x="136" y="271"/>
                      <a:pt x="127" y="252"/>
                      <a:pt x="121" y="237"/>
                    </a:cubicBezTo>
                    <a:cubicBezTo>
                      <a:pt x="113" y="221"/>
                      <a:pt x="107" y="204"/>
                      <a:pt x="102" y="187"/>
                    </a:cubicBezTo>
                    <a:cubicBezTo>
                      <a:pt x="92" y="154"/>
                      <a:pt x="86" y="120"/>
                      <a:pt x="79" y="86"/>
                    </a:cubicBezTo>
                    <a:cubicBezTo>
                      <a:pt x="75" y="67"/>
                      <a:pt x="71" y="48"/>
                      <a:pt x="65" y="30"/>
                    </a:cubicBezTo>
                    <a:cubicBezTo>
                      <a:pt x="60" y="16"/>
                      <a:pt x="50" y="0"/>
                      <a:pt x="33" y="2"/>
                    </a:cubicBezTo>
                    <a:cubicBezTo>
                      <a:pt x="16" y="4"/>
                      <a:pt x="11" y="22"/>
                      <a:pt x="9" y="37"/>
                    </a:cubicBezTo>
                    <a:cubicBezTo>
                      <a:pt x="6" y="58"/>
                      <a:pt x="3" y="80"/>
                      <a:pt x="0" y="101"/>
                    </a:cubicBezTo>
                    <a:cubicBezTo>
                      <a:pt x="0" y="109"/>
                      <a:pt x="11" y="109"/>
                      <a:pt x="12" y="101"/>
                    </a:cubicBezTo>
                    <a:cubicBezTo>
                      <a:pt x="15" y="83"/>
                      <a:pt x="17" y="65"/>
                      <a:pt x="19" y="46"/>
                    </a:cubicBezTo>
                    <a:cubicBezTo>
                      <a:pt x="20" y="38"/>
                      <a:pt x="21" y="28"/>
                      <a:pt x="25" y="21"/>
                    </a:cubicBezTo>
                    <a:cubicBezTo>
                      <a:pt x="31" y="12"/>
                      <a:pt x="41" y="12"/>
                      <a:pt x="48" y="21"/>
                    </a:cubicBezTo>
                    <a:cubicBezTo>
                      <a:pt x="52" y="27"/>
                      <a:pt x="54" y="35"/>
                      <a:pt x="56" y="42"/>
                    </a:cubicBezTo>
                    <a:cubicBezTo>
                      <a:pt x="59" y="50"/>
                      <a:pt x="61" y="58"/>
                      <a:pt x="63" y="66"/>
                    </a:cubicBezTo>
                    <a:cubicBezTo>
                      <a:pt x="66" y="82"/>
                      <a:pt x="70" y="98"/>
                      <a:pt x="73" y="114"/>
                    </a:cubicBezTo>
                    <a:cubicBezTo>
                      <a:pt x="79" y="146"/>
                      <a:pt x="86" y="178"/>
                      <a:pt x="97" y="209"/>
                    </a:cubicBezTo>
                    <a:cubicBezTo>
                      <a:pt x="102" y="224"/>
                      <a:pt x="108" y="239"/>
                      <a:pt x="115" y="252"/>
                    </a:cubicBezTo>
                    <a:cubicBezTo>
                      <a:pt x="122" y="265"/>
                      <a:pt x="130" y="277"/>
                      <a:pt x="143" y="283"/>
                    </a:cubicBezTo>
                    <a:cubicBezTo>
                      <a:pt x="169" y="296"/>
                      <a:pt x="190" y="275"/>
                      <a:pt x="198" y="252"/>
                    </a:cubicBezTo>
                    <a:cubicBezTo>
                      <a:pt x="203" y="236"/>
                      <a:pt x="204" y="219"/>
                      <a:pt x="206" y="203"/>
                    </a:cubicBezTo>
                    <a:cubicBezTo>
                      <a:pt x="208" y="185"/>
                      <a:pt x="210" y="166"/>
                      <a:pt x="211" y="148"/>
                    </a:cubicBezTo>
                    <a:cubicBezTo>
                      <a:pt x="213" y="134"/>
                      <a:pt x="213" y="119"/>
                      <a:pt x="218" y="105"/>
                    </a:cubicBezTo>
                    <a:cubicBezTo>
                      <a:pt x="220" y="100"/>
                      <a:pt x="224" y="94"/>
                      <a:pt x="228" y="90"/>
                    </a:cubicBezTo>
                    <a:cubicBezTo>
                      <a:pt x="230" y="88"/>
                      <a:pt x="234" y="84"/>
                      <a:pt x="237" y="84"/>
                    </a:cubicBezTo>
                    <a:cubicBezTo>
                      <a:pt x="242" y="84"/>
                      <a:pt x="245" y="92"/>
                      <a:pt x="247" y="95"/>
                    </a:cubicBezTo>
                    <a:cubicBezTo>
                      <a:pt x="251" y="102"/>
                      <a:pt x="254" y="110"/>
                      <a:pt x="256" y="117"/>
                    </a:cubicBezTo>
                    <a:cubicBezTo>
                      <a:pt x="258" y="124"/>
                      <a:pt x="260" y="131"/>
                      <a:pt x="264" y="137"/>
                    </a:cubicBezTo>
                    <a:cubicBezTo>
                      <a:pt x="270" y="147"/>
                      <a:pt x="282" y="154"/>
                      <a:pt x="293" y="148"/>
                    </a:cubicBezTo>
                    <a:cubicBezTo>
                      <a:pt x="306" y="141"/>
                      <a:pt x="308" y="121"/>
                      <a:pt x="312" y="108"/>
                    </a:cubicBezTo>
                    <a:cubicBezTo>
                      <a:pt x="314" y="101"/>
                      <a:pt x="317" y="85"/>
                      <a:pt x="326" y="84"/>
                    </a:cubicBezTo>
                    <a:cubicBezTo>
                      <a:pt x="335" y="82"/>
                      <a:pt x="338" y="102"/>
                      <a:pt x="340" y="107"/>
                    </a:cubicBezTo>
                    <a:cubicBezTo>
                      <a:pt x="352" y="146"/>
                      <a:pt x="362" y="186"/>
                      <a:pt x="371" y="225"/>
                    </a:cubicBezTo>
                    <a:cubicBezTo>
                      <a:pt x="372" y="233"/>
                      <a:pt x="384" y="230"/>
                      <a:pt x="382" y="222"/>
                    </a:cubicBezTo>
                  </a:path>
                </a:pathLst>
              </a:custGeom>
              <a:solidFill>
                <a:srgbClr val="EF6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7" name="îṩľíḓê">
                <a:extLst>
                  <a:ext uri="{FF2B5EF4-FFF2-40B4-BE49-F238E27FC236}">
                    <a16:creationId xmlns:a16="http://schemas.microsoft.com/office/drawing/2014/main" id="{E1730097-ED44-41FD-9B93-AA5B104D6ED4}"/>
                  </a:ext>
                </a:extLst>
              </p:cNvPr>
              <p:cNvSpPr/>
              <p:nvPr/>
            </p:nvSpPr>
            <p:spPr bwMode="auto">
              <a:xfrm>
                <a:off x="6991351" y="1557338"/>
                <a:ext cx="254000" cy="255588"/>
              </a:xfrm>
              <a:custGeom>
                <a:avLst/>
                <a:gdLst>
                  <a:gd name="T0" fmla="*/ 160 w 160"/>
                  <a:gd name="T1" fmla="*/ 0 h 161"/>
                  <a:gd name="T2" fmla="*/ 160 w 160"/>
                  <a:gd name="T3" fmla="*/ 107 h 161"/>
                  <a:gd name="T4" fmla="*/ 107 w 160"/>
                  <a:gd name="T5" fmla="*/ 161 h 161"/>
                  <a:gd name="T6" fmla="*/ 0 w 160"/>
                  <a:gd name="T7" fmla="*/ 161 h 161"/>
                  <a:gd name="T8" fmla="*/ 0 w 160"/>
                  <a:gd name="T9" fmla="*/ 0 h 161"/>
                  <a:gd name="T10" fmla="*/ 160 w 160"/>
                  <a:gd name="T11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0" h="161">
                    <a:moveTo>
                      <a:pt x="160" y="0"/>
                    </a:moveTo>
                    <a:lnTo>
                      <a:pt x="160" y="107"/>
                    </a:lnTo>
                    <a:lnTo>
                      <a:pt x="107" y="161"/>
                    </a:lnTo>
                    <a:lnTo>
                      <a:pt x="0" y="161"/>
                    </a:lnTo>
                    <a:lnTo>
                      <a:pt x="0" y="0"/>
                    </a:lnTo>
                    <a:lnTo>
                      <a:pt x="160" y="0"/>
                    </a:lnTo>
                    <a:close/>
                  </a:path>
                </a:pathLst>
              </a:custGeom>
              <a:solidFill>
                <a:srgbClr val="00BE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8" name="ïsḻïḑe">
                <a:extLst>
                  <a:ext uri="{FF2B5EF4-FFF2-40B4-BE49-F238E27FC236}">
                    <a16:creationId xmlns:a16="http://schemas.microsoft.com/office/drawing/2014/main" id="{6E0D44E4-E9E1-413A-80A3-5F924E7FAF16}"/>
                  </a:ext>
                </a:extLst>
              </p:cNvPr>
              <p:cNvSpPr/>
              <p:nvPr/>
            </p:nvSpPr>
            <p:spPr bwMode="auto">
              <a:xfrm>
                <a:off x="7161213" y="1727200"/>
                <a:ext cx="84138" cy="85725"/>
              </a:xfrm>
              <a:custGeom>
                <a:avLst/>
                <a:gdLst>
                  <a:gd name="T0" fmla="*/ 53 w 53"/>
                  <a:gd name="T1" fmla="*/ 0 h 54"/>
                  <a:gd name="T2" fmla="*/ 0 w 53"/>
                  <a:gd name="T3" fmla="*/ 54 h 54"/>
                  <a:gd name="T4" fmla="*/ 0 w 53"/>
                  <a:gd name="T5" fmla="*/ 0 h 54"/>
                  <a:gd name="T6" fmla="*/ 53 w 53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3" h="54">
                    <a:moveTo>
                      <a:pt x="53" y="0"/>
                    </a:moveTo>
                    <a:lnTo>
                      <a:pt x="0" y="54"/>
                    </a:lnTo>
                    <a:lnTo>
                      <a:pt x="0" y="0"/>
                    </a:lnTo>
                    <a:lnTo>
                      <a:pt x="53" y="0"/>
                    </a:lnTo>
                    <a:close/>
                  </a:path>
                </a:pathLst>
              </a:cu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9" name="í$ḻîḓè">
                <a:extLst>
                  <a:ext uri="{FF2B5EF4-FFF2-40B4-BE49-F238E27FC236}">
                    <a16:creationId xmlns:a16="http://schemas.microsoft.com/office/drawing/2014/main" id="{0F592A03-39C6-43AC-8BC7-58247E775D28}"/>
                  </a:ext>
                </a:extLst>
              </p:cNvPr>
              <p:cNvSpPr/>
              <p:nvPr/>
            </p:nvSpPr>
            <p:spPr bwMode="auto">
              <a:xfrm>
                <a:off x="6621463" y="1557338"/>
                <a:ext cx="254000" cy="255588"/>
              </a:xfrm>
              <a:prstGeom prst="rect">
                <a:avLst/>
              </a:prstGeom>
              <a:solidFill>
                <a:srgbClr val="FF67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0" name="i$lïḍè">
                <a:extLst>
                  <a:ext uri="{FF2B5EF4-FFF2-40B4-BE49-F238E27FC236}">
                    <a16:creationId xmlns:a16="http://schemas.microsoft.com/office/drawing/2014/main" id="{0E9EE0BD-4FD0-4300-AB7D-E58043746914}"/>
                  </a:ext>
                </a:extLst>
              </p:cNvPr>
              <p:cNvSpPr/>
              <p:nvPr/>
            </p:nvSpPr>
            <p:spPr bwMode="auto">
              <a:xfrm>
                <a:off x="4514851" y="3492500"/>
                <a:ext cx="2773363" cy="2381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1" name="iṥ1îḍé">
                <a:extLst>
                  <a:ext uri="{FF2B5EF4-FFF2-40B4-BE49-F238E27FC236}">
                    <a16:creationId xmlns:a16="http://schemas.microsoft.com/office/drawing/2014/main" id="{4F28BC98-2460-49DC-9761-B79CD27F9BD6}"/>
                  </a:ext>
                </a:extLst>
              </p:cNvPr>
              <p:cNvSpPr/>
              <p:nvPr/>
            </p:nvSpPr>
            <p:spPr bwMode="auto">
              <a:xfrm>
                <a:off x="3992563" y="1763713"/>
                <a:ext cx="522288" cy="4921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2" name="ïşļïḓè">
                <a:extLst>
                  <a:ext uri="{FF2B5EF4-FFF2-40B4-BE49-F238E27FC236}">
                    <a16:creationId xmlns:a16="http://schemas.microsoft.com/office/drawing/2014/main" id="{69D275BE-9F4F-461C-AD52-9D987E654670}"/>
                  </a:ext>
                </a:extLst>
              </p:cNvPr>
              <p:cNvSpPr/>
              <p:nvPr/>
            </p:nvSpPr>
            <p:spPr bwMode="auto">
              <a:xfrm>
                <a:off x="3992563" y="1909763"/>
                <a:ext cx="522288" cy="4921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3" name="î$ľîďè">
                <a:extLst>
                  <a:ext uri="{FF2B5EF4-FFF2-40B4-BE49-F238E27FC236}">
                    <a16:creationId xmlns:a16="http://schemas.microsoft.com/office/drawing/2014/main" id="{BC1FCFD6-346F-4D34-85A4-E2B43FB781EA}"/>
                  </a:ext>
                </a:extLst>
              </p:cNvPr>
              <p:cNvSpPr/>
              <p:nvPr/>
            </p:nvSpPr>
            <p:spPr bwMode="auto">
              <a:xfrm>
                <a:off x="3992563" y="2049463"/>
                <a:ext cx="522288" cy="47625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4" name="ïSļíḑê">
                <a:extLst>
                  <a:ext uri="{FF2B5EF4-FFF2-40B4-BE49-F238E27FC236}">
                    <a16:creationId xmlns:a16="http://schemas.microsoft.com/office/drawing/2014/main" id="{9C841541-1470-4CE8-9372-31B2A6F1D1B8}"/>
                  </a:ext>
                </a:extLst>
              </p:cNvPr>
              <p:cNvSpPr/>
              <p:nvPr/>
            </p:nvSpPr>
            <p:spPr bwMode="auto">
              <a:xfrm>
                <a:off x="3992563" y="2195513"/>
                <a:ext cx="522288" cy="47625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" name="íś1ïḓè">
                <a:extLst>
                  <a:ext uri="{FF2B5EF4-FFF2-40B4-BE49-F238E27FC236}">
                    <a16:creationId xmlns:a16="http://schemas.microsoft.com/office/drawing/2014/main" id="{1B369988-21CA-46DA-A2BD-86034EB80BAE}"/>
                  </a:ext>
                </a:extLst>
              </p:cNvPr>
              <p:cNvSpPr/>
              <p:nvPr/>
            </p:nvSpPr>
            <p:spPr bwMode="auto">
              <a:xfrm>
                <a:off x="4035426" y="1570038"/>
                <a:ext cx="90488" cy="90488"/>
              </a:xfrm>
              <a:prstGeom prst="ellipse">
                <a:avLst/>
              </a:prstGeom>
              <a:solidFill>
                <a:srgbClr val="5202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" name="íṧḻïḍe">
                <a:extLst>
                  <a:ext uri="{FF2B5EF4-FFF2-40B4-BE49-F238E27FC236}">
                    <a16:creationId xmlns:a16="http://schemas.microsoft.com/office/drawing/2014/main" id="{308A5067-2440-4CCF-9895-2E85F20072C5}"/>
                  </a:ext>
                </a:extLst>
              </p:cNvPr>
              <p:cNvSpPr/>
              <p:nvPr/>
            </p:nvSpPr>
            <p:spPr bwMode="auto">
              <a:xfrm>
                <a:off x="4211638" y="1570038"/>
                <a:ext cx="90488" cy="90488"/>
              </a:xfrm>
              <a:prstGeom prst="ellipse">
                <a:avLst/>
              </a:prstGeom>
              <a:solidFill>
                <a:srgbClr val="5202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" name="ïśļíďé">
                <a:extLst>
                  <a:ext uri="{FF2B5EF4-FFF2-40B4-BE49-F238E27FC236}">
                    <a16:creationId xmlns:a16="http://schemas.microsoft.com/office/drawing/2014/main" id="{9573388A-C743-40BF-834F-57DE9349E442}"/>
                  </a:ext>
                </a:extLst>
              </p:cNvPr>
              <p:cNvSpPr/>
              <p:nvPr/>
            </p:nvSpPr>
            <p:spPr bwMode="auto">
              <a:xfrm>
                <a:off x="4381501" y="1570038"/>
                <a:ext cx="90488" cy="90488"/>
              </a:xfrm>
              <a:prstGeom prst="ellipse">
                <a:avLst/>
              </a:prstGeom>
              <a:solidFill>
                <a:srgbClr val="5202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" name="îṣļíďè">
                <a:extLst>
                  <a:ext uri="{FF2B5EF4-FFF2-40B4-BE49-F238E27FC236}">
                    <a16:creationId xmlns:a16="http://schemas.microsoft.com/office/drawing/2014/main" id="{6B5DC43A-249F-4C14-9C06-CFEEE2B3C1D5}"/>
                  </a:ext>
                </a:extLst>
              </p:cNvPr>
              <p:cNvSpPr/>
              <p:nvPr/>
            </p:nvSpPr>
            <p:spPr bwMode="auto">
              <a:xfrm>
                <a:off x="3719513" y="2509838"/>
                <a:ext cx="449263" cy="1309688"/>
              </a:xfrm>
              <a:custGeom>
                <a:avLst/>
                <a:gdLst>
                  <a:gd name="T0" fmla="*/ 14 w 74"/>
                  <a:gd name="T1" fmla="*/ 72 h 216"/>
                  <a:gd name="T2" fmla="*/ 4 w 74"/>
                  <a:gd name="T3" fmla="*/ 78 h 216"/>
                  <a:gd name="T4" fmla="*/ 0 w 74"/>
                  <a:gd name="T5" fmla="*/ 80 h 216"/>
                  <a:gd name="T6" fmla="*/ 0 w 74"/>
                  <a:gd name="T7" fmla="*/ 216 h 216"/>
                  <a:gd name="T8" fmla="*/ 74 w 74"/>
                  <a:gd name="T9" fmla="*/ 216 h 216"/>
                  <a:gd name="T10" fmla="*/ 68 w 74"/>
                  <a:gd name="T11" fmla="*/ 200 h 216"/>
                  <a:gd name="T12" fmla="*/ 14 w 74"/>
                  <a:gd name="T13" fmla="*/ 200 h 216"/>
                  <a:gd name="T14" fmla="*/ 14 w 74"/>
                  <a:gd name="T15" fmla="*/ 72 h 216"/>
                  <a:gd name="T16" fmla="*/ 5 w 74"/>
                  <a:gd name="T17" fmla="*/ 48 h 216"/>
                  <a:gd name="T18" fmla="*/ 5 w 74"/>
                  <a:gd name="T19" fmla="*/ 48 h 216"/>
                  <a:gd name="T20" fmla="*/ 5 w 74"/>
                  <a:gd name="T21" fmla="*/ 48 h 216"/>
                  <a:gd name="T22" fmla="*/ 5 w 74"/>
                  <a:gd name="T23" fmla="*/ 48 h 216"/>
                  <a:gd name="T24" fmla="*/ 14 w 74"/>
                  <a:gd name="T25" fmla="*/ 4 h 216"/>
                  <a:gd name="T26" fmla="*/ 10 w 74"/>
                  <a:gd name="T27" fmla="*/ 6 h 216"/>
                  <a:gd name="T28" fmla="*/ 0 w 74"/>
                  <a:gd name="T29" fmla="*/ 14 h 216"/>
                  <a:gd name="T30" fmla="*/ 0 w 74"/>
                  <a:gd name="T31" fmla="*/ 50 h 216"/>
                  <a:gd name="T32" fmla="*/ 2 w 74"/>
                  <a:gd name="T33" fmla="*/ 54 h 216"/>
                  <a:gd name="T34" fmla="*/ 3 w 74"/>
                  <a:gd name="T35" fmla="*/ 50 h 216"/>
                  <a:gd name="T36" fmla="*/ 2 w 74"/>
                  <a:gd name="T37" fmla="*/ 54 h 216"/>
                  <a:gd name="T38" fmla="*/ 10 w 74"/>
                  <a:gd name="T39" fmla="*/ 62 h 216"/>
                  <a:gd name="T40" fmla="*/ 14 w 74"/>
                  <a:gd name="T41" fmla="*/ 62 h 216"/>
                  <a:gd name="T42" fmla="*/ 14 w 74"/>
                  <a:gd name="T43" fmla="*/ 62 h 216"/>
                  <a:gd name="T44" fmla="*/ 14 w 74"/>
                  <a:gd name="T45" fmla="*/ 64 h 216"/>
                  <a:gd name="T46" fmla="*/ 14 w 74"/>
                  <a:gd name="T47" fmla="*/ 4 h 216"/>
                  <a:gd name="T48" fmla="*/ 14 w 74"/>
                  <a:gd name="T49" fmla="*/ 0 h 216"/>
                  <a:gd name="T50" fmla="*/ 0 w 74"/>
                  <a:gd name="T51" fmla="*/ 9 h 216"/>
                  <a:gd name="T52" fmla="*/ 0 w 74"/>
                  <a:gd name="T53" fmla="*/ 13 h 216"/>
                  <a:gd name="T54" fmla="*/ 14 w 74"/>
                  <a:gd name="T55" fmla="*/ 3 h 216"/>
                  <a:gd name="T56" fmla="*/ 14 w 74"/>
                  <a:gd name="T57" fmla="*/ 0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4" h="216">
                    <a:moveTo>
                      <a:pt x="14" y="72"/>
                    </a:moveTo>
                    <a:cubicBezTo>
                      <a:pt x="11" y="73"/>
                      <a:pt x="8" y="75"/>
                      <a:pt x="4" y="78"/>
                    </a:cubicBezTo>
                    <a:cubicBezTo>
                      <a:pt x="4" y="78"/>
                      <a:pt x="3" y="79"/>
                      <a:pt x="0" y="80"/>
                    </a:cubicBezTo>
                    <a:cubicBezTo>
                      <a:pt x="0" y="216"/>
                      <a:pt x="0" y="216"/>
                      <a:pt x="0" y="216"/>
                    </a:cubicBezTo>
                    <a:cubicBezTo>
                      <a:pt x="74" y="216"/>
                      <a:pt x="74" y="216"/>
                      <a:pt x="74" y="216"/>
                    </a:cubicBezTo>
                    <a:cubicBezTo>
                      <a:pt x="72" y="211"/>
                      <a:pt x="70" y="206"/>
                      <a:pt x="68" y="200"/>
                    </a:cubicBezTo>
                    <a:cubicBezTo>
                      <a:pt x="14" y="200"/>
                      <a:pt x="14" y="200"/>
                      <a:pt x="14" y="200"/>
                    </a:cubicBezTo>
                    <a:cubicBezTo>
                      <a:pt x="14" y="72"/>
                      <a:pt x="14" y="72"/>
                      <a:pt x="14" y="72"/>
                    </a:cubicBezTo>
                    <a:moveTo>
                      <a:pt x="5" y="48"/>
                    </a:moveTo>
                    <a:cubicBezTo>
                      <a:pt x="5" y="48"/>
                      <a:pt x="5" y="48"/>
                      <a:pt x="5" y="48"/>
                    </a:cubicBezTo>
                    <a:cubicBezTo>
                      <a:pt x="5" y="48"/>
                      <a:pt x="5" y="48"/>
                      <a:pt x="5" y="48"/>
                    </a:cubicBezTo>
                    <a:cubicBezTo>
                      <a:pt x="5" y="48"/>
                      <a:pt x="5" y="48"/>
                      <a:pt x="5" y="48"/>
                    </a:cubicBezTo>
                    <a:moveTo>
                      <a:pt x="14" y="4"/>
                    </a:moveTo>
                    <a:cubicBezTo>
                      <a:pt x="13" y="5"/>
                      <a:pt x="12" y="5"/>
                      <a:pt x="10" y="6"/>
                    </a:cubicBezTo>
                    <a:cubicBezTo>
                      <a:pt x="6" y="8"/>
                      <a:pt x="2" y="11"/>
                      <a:pt x="0" y="14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1" y="53"/>
                      <a:pt x="2" y="54"/>
                      <a:pt x="2" y="54"/>
                    </a:cubicBezTo>
                    <a:cubicBezTo>
                      <a:pt x="2" y="54"/>
                      <a:pt x="2" y="53"/>
                      <a:pt x="3" y="50"/>
                    </a:cubicBezTo>
                    <a:cubicBezTo>
                      <a:pt x="3" y="52"/>
                      <a:pt x="2" y="53"/>
                      <a:pt x="2" y="54"/>
                    </a:cubicBezTo>
                    <a:cubicBezTo>
                      <a:pt x="2" y="59"/>
                      <a:pt x="6" y="62"/>
                      <a:pt x="10" y="62"/>
                    </a:cubicBezTo>
                    <a:cubicBezTo>
                      <a:pt x="12" y="62"/>
                      <a:pt x="13" y="62"/>
                      <a:pt x="14" y="62"/>
                    </a:cubicBezTo>
                    <a:cubicBezTo>
                      <a:pt x="14" y="62"/>
                      <a:pt x="14" y="62"/>
                      <a:pt x="14" y="62"/>
                    </a:cubicBezTo>
                    <a:cubicBezTo>
                      <a:pt x="14" y="63"/>
                      <a:pt x="14" y="64"/>
                      <a:pt x="14" y="64"/>
                    </a:cubicBezTo>
                    <a:cubicBezTo>
                      <a:pt x="14" y="4"/>
                      <a:pt x="14" y="4"/>
                      <a:pt x="14" y="4"/>
                    </a:cubicBezTo>
                    <a:moveTo>
                      <a:pt x="14" y="0"/>
                    </a:moveTo>
                    <a:cubicBezTo>
                      <a:pt x="8" y="2"/>
                      <a:pt x="3" y="5"/>
                      <a:pt x="0" y="9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4" y="8"/>
                      <a:pt x="8" y="4"/>
                      <a:pt x="14" y="3"/>
                    </a:cubicBezTo>
                    <a:cubicBezTo>
                      <a:pt x="14" y="0"/>
                      <a:pt x="14" y="0"/>
                      <a:pt x="14" y="0"/>
                    </a:cubicBezTo>
                  </a:path>
                </a:pathLst>
              </a:custGeom>
              <a:solidFill>
                <a:srgbClr val="DC60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" name="ïṥlïdè">
                <a:extLst>
                  <a:ext uri="{FF2B5EF4-FFF2-40B4-BE49-F238E27FC236}">
                    <a16:creationId xmlns:a16="http://schemas.microsoft.com/office/drawing/2014/main" id="{8B3B697A-331D-4B71-8844-E75334F833D1}"/>
                  </a:ext>
                </a:extLst>
              </p:cNvPr>
              <p:cNvSpPr/>
              <p:nvPr/>
            </p:nvSpPr>
            <p:spPr bwMode="auto">
              <a:xfrm>
                <a:off x="3805238" y="2255838"/>
                <a:ext cx="1208088" cy="1466850"/>
              </a:xfrm>
              <a:custGeom>
                <a:avLst/>
                <a:gdLst>
                  <a:gd name="T0" fmla="*/ 153 w 199"/>
                  <a:gd name="T1" fmla="*/ 11 h 242"/>
                  <a:gd name="T2" fmla="*/ 150 w 199"/>
                  <a:gd name="T3" fmla="*/ 12 h 242"/>
                  <a:gd name="T4" fmla="*/ 147 w 199"/>
                  <a:gd name="T5" fmla="*/ 24 h 242"/>
                  <a:gd name="T6" fmla="*/ 147 w 199"/>
                  <a:gd name="T7" fmla="*/ 44 h 242"/>
                  <a:gd name="T8" fmla="*/ 146 w 199"/>
                  <a:gd name="T9" fmla="*/ 45 h 242"/>
                  <a:gd name="T10" fmla="*/ 146 w 199"/>
                  <a:gd name="T11" fmla="*/ 46 h 242"/>
                  <a:gd name="T12" fmla="*/ 146 w 199"/>
                  <a:gd name="T13" fmla="*/ 47 h 242"/>
                  <a:gd name="T14" fmla="*/ 145 w 199"/>
                  <a:gd name="T15" fmla="*/ 49 h 242"/>
                  <a:gd name="T16" fmla="*/ 145 w 199"/>
                  <a:gd name="T17" fmla="*/ 52 h 242"/>
                  <a:gd name="T18" fmla="*/ 144 w 199"/>
                  <a:gd name="T19" fmla="*/ 54 h 242"/>
                  <a:gd name="T20" fmla="*/ 143 w 199"/>
                  <a:gd name="T21" fmla="*/ 57 h 242"/>
                  <a:gd name="T22" fmla="*/ 142 w 199"/>
                  <a:gd name="T23" fmla="*/ 59 h 242"/>
                  <a:gd name="T24" fmla="*/ 142 w 199"/>
                  <a:gd name="T25" fmla="*/ 62 h 242"/>
                  <a:gd name="T26" fmla="*/ 141 w 199"/>
                  <a:gd name="T27" fmla="*/ 65 h 242"/>
                  <a:gd name="T28" fmla="*/ 139 w 199"/>
                  <a:gd name="T29" fmla="*/ 68 h 242"/>
                  <a:gd name="T30" fmla="*/ 95 w 199"/>
                  <a:gd name="T31" fmla="*/ 127 h 242"/>
                  <a:gd name="T32" fmla="*/ 35 w 199"/>
                  <a:gd name="T33" fmla="*/ 121 h 242"/>
                  <a:gd name="T34" fmla="*/ 30 w 199"/>
                  <a:gd name="T35" fmla="*/ 111 h 242"/>
                  <a:gd name="T36" fmla="*/ 33 w 199"/>
                  <a:gd name="T37" fmla="*/ 111 h 242"/>
                  <a:gd name="T38" fmla="*/ 40 w 199"/>
                  <a:gd name="T39" fmla="*/ 58 h 242"/>
                  <a:gd name="T40" fmla="*/ 22 w 199"/>
                  <a:gd name="T41" fmla="*/ 44 h 242"/>
                  <a:gd name="T42" fmla="*/ 0 w 199"/>
                  <a:gd name="T43" fmla="*/ 42 h 242"/>
                  <a:gd name="T44" fmla="*/ 9 w 199"/>
                  <a:gd name="T45" fmla="*/ 43 h 242"/>
                  <a:gd name="T46" fmla="*/ 0 w 199"/>
                  <a:gd name="T47" fmla="*/ 46 h 242"/>
                  <a:gd name="T48" fmla="*/ 1 w 199"/>
                  <a:gd name="T49" fmla="*/ 114 h 242"/>
                  <a:gd name="T50" fmla="*/ 0 w 199"/>
                  <a:gd name="T51" fmla="*/ 242 h 242"/>
                  <a:gd name="T52" fmla="*/ 51 w 199"/>
                  <a:gd name="T53" fmla="*/ 187 h 242"/>
                  <a:gd name="T54" fmla="*/ 68 w 199"/>
                  <a:gd name="T55" fmla="*/ 178 h 242"/>
                  <a:gd name="T56" fmla="*/ 156 w 199"/>
                  <a:gd name="T57" fmla="*/ 78 h 242"/>
                  <a:gd name="T58" fmla="*/ 157 w 199"/>
                  <a:gd name="T59" fmla="*/ 75 h 242"/>
                  <a:gd name="T60" fmla="*/ 158 w 199"/>
                  <a:gd name="T61" fmla="*/ 71 h 242"/>
                  <a:gd name="T62" fmla="*/ 158 w 199"/>
                  <a:gd name="T63" fmla="*/ 69 h 242"/>
                  <a:gd name="T64" fmla="*/ 159 w 199"/>
                  <a:gd name="T65" fmla="*/ 65 h 242"/>
                  <a:gd name="T66" fmla="*/ 159 w 199"/>
                  <a:gd name="T67" fmla="*/ 62 h 242"/>
                  <a:gd name="T68" fmla="*/ 160 w 199"/>
                  <a:gd name="T69" fmla="*/ 60 h 242"/>
                  <a:gd name="T70" fmla="*/ 160 w 199"/>
                  <a:gd name="T71" fmla="*/ 55 h 242"/>
                  <a:gd name="T72" fmla="*/ 161 w 199"/>
                  <a:gd name="T73" fmla="*/ 53 h 242"/>
                  <a:gd name="T74" fmla="*/ 161 w 199"/>
                  <a:gd name="T75" fmla="*/ 50 h 242"/>
                  <a:gd name="T76" fmla="*/ 161 w 199"/>
                  <a:gd name="T77" fmla="*/ 48 h 242"/>
                  <a:gd name="T78" fmla="*/ 161 w 199"/>
                  <a:gd name="T79" fmla="*/ 46 h 242"/>
                  <a:gd name="T80" fmla="*/ 161 w 199"/>
                  <a:gd name="T81" fmla="*/ 46 h 242"/>
                  <a:gd name="T82" fmla="*/ 172 w 199"/>
                  <a:gd name="T83" fmla="*/ 36 h 242"/>
                  <a:gd name="T84" fmla="*/ 168 w 199"/>
                  <a:gd name="T85" fmla="*/ 15 h 242"/>
                  <a:gd name="T86" fmla="*/ 192 w 199"/>
                  <a:gd name="T87" fmla="*/ 0 h 242"/>
                  <a:gd name="T88" fmla="*/ 185 w 199"/>
                  <a:gd name="T89" fmla="*/ 5 h 242"/>
                  <a:gd name="T90" fmla="*/ 177 w 199"/>
                  <a:gd name="T91" fmla="*/ 16 h 242"/>
                  <a:gd name="T92" fmla="*/ 195 w 199"/>
                  <a:gd name="T93" fmla="*/ 8 h 242"/>
                  <a:gd name="T94" fmla="*/ 198 w 199"/>
                  <a:gd name="T95" fmla="*/ 4 h 242"/>
                  <a:gd name="T96" fmla="*/ 192 w 199"/>
                  <a:gd name="T97" fmla="*/ 0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99" h="242">
                    <a:moveTo>
                      <a:pt x="155" y="11"/>
                    </a:moveTo>
                    <a:cubicBezTo>
                      <a:pt x="154" y="11"/>
                      <a:pt x="154" y="11"/>
                      <a:pt x="153" y="11"/>
                    </a:cubicBezTo>
                    <a:cubicBezTo>
                      <a:pt x="152" y="11"/>
                      <a:pt x="152" y="11"/>
                      <a:pt x="151" y="12"/>
                    </a:cubicBezTo>
                    <a:cubicBezTo>
                      <a:pt x="150" y="12"/>
                      <a:pt x="150" y="12"/>
                      <a:pt x="150" y="12"/>
                    </a:cubicBezTo>
                    <a:cubicBezTo>
                      <a:pt x="150" y="13"/>
                      <a:pt x="150" y="13"/>
                      <a:pt x="150" y="13"/>
                    </a:cubicBezTo>
                    <a:cubicBezTo>
                      <a:pt x="146" y="16"/>
                      <a:pt x="147" y="24"/>
                      <a:pt x="147" y="24"/>
                    </a:cubicBezTo>
                    <a:cubicBezTo>
                      <a:pt x="138" y="29"/>
                      <a:pt x="147" y="43"/>
                      <a:pt x="147" y="43"/>
                    </a:cubicBezTo>
                    <a:cubicBezTo>
                      <a:pt x="147" y="43"/>
                      <a:pt x="147" y="44"/>
                      <a:pt x="147" y="44"/>
                    </a:cubicBezTo>
                    <a:cubicBezTo>
                      <a:pt x="147" y="44"/>
                      <a:pt x="147" y="44"/>
                      <a:pt x="147" y="44"/>
                    </a:cubicBezTo>
                    <a:cubicBezTo>
                      <a:pt x="146" y="45"/>
                      <a:pt x="146" y="45"/>
                      <a:pt x="146" y="45"/>
                    </a:cubicBezTo>
                    <a:cubicBezTo>
                      <a:pt x="146" y="45"/>
                      <a:pt x="146" y="45"/>
                      <a:pt x="146" y="45"/>
                    </a:cubicBezTo>
                    <a:cubicBezTo>
                      <a:pt x="146" y="46"/>
                      <a:pt x="146" y="46"/>
                      <a:pt x="146" y="46"/>
                    </a:cubicBezTo>
                    <a:cubicBezTo>
                      <a:pt x="146" y="47"/>
                      <a:pt x="146" y="47"/>
                      <a:pt x="146" y="47"/>
                    </a:cubicBezTo>
                    <a:cubicBezTo>
                      <a:pt x="146" y="47"/>
                      <a:pt x="146" y="47"/>
                      <a:pt x="146" y="47"/>
                    </a:cubicBezTo>
                    <a:cubicBezTo>
                      <a:pt x="146" y="48"/>
                      <a:pt x="146" y="48"/>
                      <a:pt x="146" y="48"/>
                    </a:cubicBezTo>
                    <a:cubicBezTo>
                      <a:pt x="145" y="49"/>
                      <a:pt x="145" y="49"/>
                      <a:pt x="145" y="49"/>
                    </a:cubicBezTo>
                    <a:cubicBezTo>
                      <a:pt x="145" y="50"/>
                      <a:pt x="145" y="50"/>
                      <a:pt x="145" y="50"/>
                    </a:cubicBezTo>
                    <a:cubicBezTo>
                      <a:pt x="145" y="51"/>
                      <a:pt x="145" y="51"/>
                      <a:pt x="145" y="52"/>
                    </a:cubicBezTo>
                    <a:cubicBezTo>
                      <a:pt x="145" y="52"/>
                      <a:pt x="144" y="53"/>
                      <a:pt x="144" y="53"/>
                    </a:cubicBezTo>
                    <a:cubicBezTo>
                      <a:pt x="144" y="54"/>
                      <a:pt x="144" y="54"/>
                      <a:pt x="144" y="54"/>
                    </a:cubicBezTo>
                    <a:cubicBezTo>
                      <a:pt x="144" y="55"/>
                      <a:pt x="144" y="55"/>
                      <a:pt x="144" y="56"/>
                    </a:cubicBezTo>
                    <a:cubicBezTo>
                      <a:pt x="144" y="56"/>
                      <a:pt x="143" y="56"/>
                      <a:pt x="143" y="57"/>
                    </a:cubicBezTo>
                    <a:cubicBezTo>
                      <a:pt x="143" y="57"/>
                      <a:pt x="143" y="58"/>
                      <a:pt x="143" y="58"/>
                    </a:cubicBezTo>
                    <a:cubicBezTo>
                      <a:pt x="143" y="59"/>
                      <a:pt x="143" y="59"/>
                      <a:pt x="142" y="59"/>
                    </a:cubicBezTo>
                    <a:cubicBezTo>
                      <a:pt x="142" y="60"/>
                      <a:pt x="142" y="60"/>
                      <a:pt x="142" y="61"/>
                    </a:cubicBezTo>
                    <a:cubicBezTo>
                      <a:pt x="142" y="61"/>
                      <a:pt x="142" y="62"/>
                      <a:pt x="142" y="62"/>
                    </a:cubicBezTo>
                    <a:cubicBezTo>
                      <a:pt x="141" y="63"/>
                      <a:pt x="141" y="63"/>
                      <a:pt x="141" y="64"/>
                    </a:cubicBezTo>
                    <a:cubicBezTo>
                      <a:pt x="141" y="64"/>
                      <a:pt x="141" y="65"/>
                      <a:pt x="141" y="65"/>
                    </a:cubicBezTo>
                    <a:cubicBezTo>
                      <a:pt x="140" y="66"/>
                      <a:pt x="140" y="66"/>
                      <a:pt x="140" y="67"/>
                    </a:cubicBezTo>
                    <a:cubicBezTo>
                      <a:pt x="140" y="67"/>
                      <a:pt x="140" y="68"/>
                      <a:pt x="139" y="68"/>
                    </a:cubicBezTo>
                    <a:cubicBezTo>
                      <a:pt x="139" y="69"/>
                      <a:pt x="139" y="70"/>
                      <a:pt x="139" y="71"/>
                    </a:cubicBezTo>
                    <a:cubicBezTo>
                      <a:pt x="131" y="92"/>
                      <a:pt x="117" y="119"/>
                      <a:pt x="95" y="127"/>
                    </a:cubicBezTo>
                    <a:cubicBezTo>
                      <a:pt x="86" y="129"/>
                      <a:pt x="78" y="131"/>
                      <a:pt x="71" y="131"/>
                    </a:cubicBezTo>
                    <a:cubicBezTo>
                      <a:pt x="54" y="131"/>
                      <a:pt x="41" y="125"/>
                      <a:pt x="35" y="121"/>
                    </a:cubicBezTo>
                    <a:cubicBezTo>
                      <a:pt x="33" y="119"/>
                      <a:pt x="31" y="119"/>
                      <a:pt x="31" y="118"/>
                    </a:cubicBezTo>
                    <a:cubicBezTo>
                      <a:pt x="31" y="116"/>
                      <a:pt x="30" y="114"/>
                      <a:pt x="30" y="111"/>
                    </a:cubicBezTo>
                    <a:cubicBezTo>
                      <a:pt x="30" y="111"/>
                      <a:pt x="30" y="111"/>
                      <a:pt x="30" y="111"/>
                    </a:cubicBezTo>
                    <a:cubicBezTo>
                      <a:pt x="31" y="111"/>
                      <a:pt x="32" y="111"/>
                      <a:pt x="33" y="111"/>
                    </a:cubicBezTo>
                    <a:cubicBezTo>
                      <a:pt x="58" y="107"/>
                      <a:pt x="42" y="64"/>
                      <a:pt x="42" y="64"/>
                    </a:cubicBezTo>
                    <a:cubicBezTo>
                      <a:pt x="42" y="64"/>
                      <a:pt x="42" y="61"/>
                      <a:pt x="40" y="58"/>
                    </a:cubicBezTo>
                    <a:cubicBezTo>
                      <a:pt x="40" y="58"/>
                      <a:pt x="39" y="56"/>
                      <a:pt x="36" y="52"/>
                    </a:cubicBezTo>
                    <a:cubicBezTo>
                      <a:pt x="33" y="49"/>
                      <a:pt x="29" y="45"/>
                      <a:pt x="22" y="44"/>
                    </a:cubicBezTo>
                    <a:cubicBezTo>
                      <a:pt x="18" y="41"/>
                      <a:pt x="14" y="40"/>
                      <a:pt x="9" y="40"/>
                    </a:cubicBezTo>
                    <a:cubicBezTo>
                      <a:pt x="6" y="40"/>
                      <a:pt x="3" y="41"/>
                      <a:pt x="0" y="42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3" y="44"/>
                      <a:pt x="6" y="43"/>
                      <a:pt x="9" y="43"/>
                    </a:cubicBezTo>
                    <a:cubicBezTo>
                      <a:pt x="9" y="43"/>
                      <a:pt x="10" y="43"/>
                      <a:pt x="10" y="43"/>
                    </a:cubicBezTo>
                    <a:cubicBezTo>
                      <a:pt x="7" y="44"/>
                      <a:pt x="4" y="45"/>
                      <a:pt x="0" y="46"/>
                    </a:cubicBezTo>
                    <a:cubicBezTo>
                      <a:pt x="0" y="106"/>
                      <a:pt x="0" y="106"/>
                      <a:pt x="0" y="106"/>
                    </a:cubicBezTo>
                    <a:cubicBezTo>
                      <a:pt x="0" y="109"/>
                      <a:pt x="0" y="111"/>
                      <a:pt x="1" y="114"/>
                    </a:cubicBezTo>
                    <a:cubicBezTo>
                      <a:pt x="1" y="114"/>
                      <a:pt x="0" y="114"/>
                      <a:pt x="0" y="114"/>
                    </a:cubicBezTo>
                    <a:cubicBezTo>
                      <a:pt x="0" y="242"/>
                      <a:pt x="0" y="242"/>
                      <a:pt x="0" y="242"/>
                    </a:cubicBezTo>
                    <a:cubicBezTo>
                      <a:pt x="54" y="242"/>
                      <a:pt x="54" y="242"/>
                      <a:pt x="54" y="242"/>
                    </a:cubicBezTo>
                    <a:cubicBezTo>
                      <a:pt x="50" y="225"/>
                      <a:pt x="47" y="206"/>
                      <a:pt x="51" y="187"/>
                    </a:cubicBezTo>
                    <a:cubicBezTo>
                      <a:pt x="52" y="184"/>
                      <a:pt x="52" y="181"/>
                      <a:pt x="53" y="178"/>
                    </a:cubicBezTo>
                    <a:cubicBezTo>
                      <a:pt x="57" y="178"/>
                      <a:pt x="62" y="178"/>
                      <a:pt x="68" y="178"/>
                    </a:cubicBezTo>
                    <a:cubicBezTo>
                      <a:pt x="71" y="178"/>
                      <a:pt x="75" y="178"/>
                      <a:pt x="80" y="178"/>
                    </a:cubicBezTo>
                    <a:cubicBezTo>
                      <a:pt x="128" y="175"/>
                      <a:pt x="148" y="117"/>
                      <a:pt x="156" y="78"/>
                    </a:cubicBezTo>
                    <a:cubicBezTo>
                      <a:pt x="157" y="77"/>
                      <a:pt x="157" y="76"/>
                      <a:pt x="157" y="75"/>
                    </a:cubicBezTo>
                    <a:cubicBezTo>
                      <a:pt x="157" y="75"/>
                      <a:pt x="157" y="75"/>
                      <a:pt x="157" y="75"/>
                    </a:cubicBezTo>
                    <a:cubicBezTo>
                      <a:pt x="157" y="74"/>
                      <a:pt x="157" y="73"/>
                      <a:pt x="158" y="72"/>
                    </a:cubicBezTo>
                    <a:cubicBezTo>
                      <a:pt x="158" y="71"/>
                      <a:pt x="158" y="71"/>
                      <a:pt x="158" y="71"/>
                    </a:cubicBezTo>
                    <a:cubicBezTo>
                      <a:pt x="158" y="70"/>
                      <a:pt x="158" y="70"/>
                      <a:pt x="158" y="69"/>
                    </a:cubicBezTo>
                    <a:cubicBezTo>
                      <a:pt x="158" y="69"/>
                      <a:pt x="158" y="69"/>
                      <a:pt x="158" y="69"/>
                    </a:cubicBezTo>
                    <a:cubicBezTo>
                      <a:pt x="158" y="67"/>
                      <a:pt x="159" y="66"/>
                      <a:pt x="159" y="65"/>
                    </a:cubicBezTo>
                    <a:cubicBezTo>
                      <a:pt x="159" y="65"/>
                      <a:pt x="159" y="65"/>
                      <a:pt x="159" y="65"/>
                    </a:cubicBezTo>
                    <a:cubicBezTo>
                      <a:pt x="159" y="65"/>
                      <a:pt x="159" y="64"/>
                      <a:pt x="159" y="63"/>
                    </a:cubicBezTo>
                    <a:cubicBezTo>
                      <a:pt x="159" y="62"/>
                      <a:pt x="159" y="62"/>
                      <a:pt x="159" y="62"/>
                    </a:cubicBezTo>
                    <a:cubicBezTo>
                      <a:pt x="159" y="62"/>
                      <a:pt x="160" y="61"/>
                      <a:pt x="160" y="60"/>
                    </a:cubicBezTo>
                    <a:cubicBezTo>
                      <a:pt x="160" y="60"/>
                      <a:pt x="160" y="60"/>
                      <a:pt x="160" y="60"/>
                    </a:cubicBezTo>
                    <a:cubicBezTo>
                      <a:pt x="160" y="58"/>
                      <a:pt x="160" y="57"/>
                      <a:pt x="160" y="55"/>
                    </a:cubicBezTo>
                    <a:cubicBezTo>
                      <a:pt x="160" y="55"/>
                      <a:pt x="160" y="55"/>
                      <a:pt x="160" y="55"/>
                    </a:cubicBezTo>
                    <a:cubicBezTo>
                      <a:pt x="160" y="54"/>
                      <a:pt x="161" y="54"/>
                      <a:pt x="161" y="53"/>
                    </a:cubicBezTo>
                    <a:cubicBezTo>
                      <a:pt x="161" y="53"/>
                      <a:pt x="161" y="53"/>
                      <a:pt x="161" y="53"/>
                    </a:cubicBezTo>
                    <a:cubicBezTo>
                      <a:pt x="161" y="52"/>
                      <a:pt x="161" y="51"/>
                      <a:pt x="161" y="50"/>
                    </a:cubicBezTo>
                    <a:cubicBezTo>
                      <a:pt x="161" y="50"/>
                      <a:pt x="161" y="50"/>
                      <a:pt x="161" y="50"/>
                    </a:cubicBezTo>
                    <a:cubicBezTo>
                      <a:pt x="161" y="49"/>
                      <a:pt x="161" y="49"/>
                      <a:pt x="161" y="48"/>
                    </a:cubicBezTo>
                    <a:cubicBezTo>
                      <a:pt x="161" y="48"/>
                      <a:pt x="161" y="48"/>
                      <a:pt x="161" y="48"/>
                    </a:cubicBezTo>
                    <a:cubicBezTo>
                      <a:pt x="161" y="48"/>
                      <a:pt x="161" y="47"/>
                      <a:pt x="161" y="47"/>
                    </a:cubicBezTo>
                    <a:cubicBezTo>
                      <a:pt x="161" y="46"/>
                      <a:pt x="161" y="46"/>
                      <a:pt x="161" y="46"/>
                    </a:cubicBezTo>
                    <a:cubicBezTo>
                      <a:pt x="161" y="46"/>
                      <a:pt x="161" y="46"/>
                      <a:pt x="161" y="46"/>
                    </a:cubicBezTo>
                    <a:cubicBezTo>
                      <a:pt x="161" y="46"/>
                      <a:pt x="161" y="46"/>
                      <a:pt x="161" y="46"/>
                    </a:cubicBezTo>
                    <a:cubicBezTo>
                      <a:pt x="161" y="46"/>
                      <a:pt x="161" y="46"/>
                      <a:pt x="161" y="46"/>
                    </a:cubicBezTo>
                    <a:cubicBezTo>
                      <a:pt x="166" y="42"/>
                      <a:pt x="170" y="39"/>
                      <a:pt x="172" y="36"/>
                    </a:cubicBezTo>
                    <a:cubicBezTo>
                      <a:pt x="172" y="12"/>
                      <a:pt x="172" y="12"/>
                      <a:pt x="172" y="12"/>
                    </a:cubicBezTo>
                    <a:cubicBezTo>
                      <a:pt x="168" y="15"/>
                      <a:pt x="168" y="15"/>
                      <a:pt x="168" y="15"/>
                    </a:cubicBezTo>
                    <a:cubicBezTo>
                      <a:pt x="164" y="12"/>
                      <a:pt x="158" y="11"/>
                      <a:pt x="155" y="11"/>
                    </a:cubicBezTo>
                    <a:moveTo>
                      <a:pt x="192" y="0"/>
                    </a:moveTo>
                    <a:cubicBezTo>
                      <a:pt x="191" y="0"/>
                      <a:pt x="191" y="0"/>
                      <a:pt x="191" y="0"/>
                    </a:cubicBezTo>
                    <a:cubicBezTo>
                      <a:pt x="187" y="0"/>
                      <a:pt x="185" y="5"/>
                      <a:pt x="185" y="5"/>
                    </a:cubicBezTo>
                    <a:cubicBezTo>
                      <a:pt x="177" y="9"/>
                      <a:pt x="177" y="9"/>
                      <a:pt x="177" y="9"/>
                    </a:cubicBezTo>
                    <a:cubicBezTo>
                      <a:pt x="177" y="16"/>
                      <a:pt x="177" y="16"/>
                      <a:pt x="177" y="16"/>
                    </a:cubicBezTo>
                    <a:cubicBezTo>
                      <a:pt x="188" y="9"/>
                      <a:pt x="188" y="9"/>
                      <a:pt x="188" y="9"/>
                    </a:cubicBezTo>
                    <a:cubicBezTo>
                      <a:pt x="188" y="9"/>
                      <a:pt x="191" y="8"/>
                      <a:pt x="195" y="8"/>
                    </a:cubicBezTo>
                    <a:cubicBezTo>
                      <a:pt x="197" y="8"/>
                      <a:pt x="198" y="6"/>
                      <a:pt x="199" y="4"/>
                    </a:cubicBezTo>
                    <a:cubicBezTo>
                      <a:pt x="199" y="4"/>
                      <a:pt x="198" y="4"/>
                      <a:pt x="198" y="4"/>
                    </a:cubicBezTo>
                    <a:cubicBezTo>
                      <a:pt x="195" y="4"/>
                      <a:pt x="193" y="3"/>
                      <a:pt x="192" y="0"/>
                    </a:cubicBezTo>
                    <a:cubicBezTo>
                      <a:pt x="192" y="0"/>
                      <a:pt x="192" y="0"/>
                      <a:pt x="192" y="0"/>
                    </a:cubicBezTo>
                  </a:path>
                </a:pathLst>
              </a:custGeom>
              <a:solidFill>
                <a:srgbClr val="EAEAEB">
                  <a:alpha val="23000"/>
                </a:srgbClr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0" name="ïṧ1iḋe">
                <a:extLst>
                  <a:ext uri="{FF2B5EF4-FFF2-40B4-BE49-F238E27FC236}">
                    <a16:creationId xmlns:a16="http://schemas.microsoft.com/office/drawing/2014/main" id="{C2E6E598-2157-4934-BD5F-ED119E1FC761}"/>
                  </a:ext>
                </a:extLst>
              </p:cNvPr>
              <p:cNvSpPr/>
              <p:nvPr/>
            </p:nvSpPr>
            <p:spPr bwMode="auto">
              <a:xfrm>
                <a:off x="4848226" y="2309813"/>
                <a:ext cx="30163" cy="163513"/>
              </a:xfrm>
              <a:custGeom>
                <a:avLst/>
                <a:gdLst>
                  <a:gd name="T0" fmla="*/ 5 w 5"/>
                  <a:gd name="T1" fmla="*/ 0 h 27"/>
                  <a:gd name="T2" fmla="*/ 0 w 5"/>
                  <a:gd name="T3" fmla="*/ 3 h 27"/>
                  <a:gd name="T4" fmla="*/ 0 w 5"/>
                  <a:gd name="T5" fmla="*/ 27 h 27"/>
                  <a:gd name="T6" fmla="*/ 1 w 5"/>
                  <a:gd name="T7" fmla="*/ 26 h 27"/>
                  <a:gd name="T8" fmla="*/ 4 w 5"/>
                  <a:gd name="T9" fmla="*/ 17 h 27"/>
                  <a:gd name="T10" fmla="*/ 4 w 5"/>
                  <a:gd name="T11" fmla="*/ 16 h 27"/>
                  <a:gd name="T12" fmla="*/ 3 w 5"/>
                  <a:gd name="T13" fmla="*/ 13 h 27"/>
                  <a:gd name="T14" fmla="*/ 3 w 5"/>
                  <a:gd name="T15" fmla="*/ 12 h 27"/>
                  <a:gd name="T16" fmla="*/ 1 w 5"/>
                  <a:gd name="T17" fmla="*/ 9 h 27"/>
                  <a:gd name="T18" fmla="*/ 5 w 5"/>
                  <a:gd name="T19" fmla="*/ 7 h 27"/>
                  <a:gd name="T20" fmla="*/ 5 w 5"/>
                  <a:gd name="T2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27">
                    <a:moveTo>
                      <a:pt x="5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6"/>
                      <a:pt x="0" y="26"/>
                      <a:pt x="1" y="26"/>
                    </a:cubicBezTo>
                    <a:cubicBezTo>
                      <a:pt x="3" y="23"/>
                      <a:pt x="4" y="20"/>
                      <a:pt x="4" y="17"/>
                    </a:cubicBezTo>
                    <a:cubicBezTo>
                      <a:pt x="4" y="17"/>
                      <a:pt x="4" y="16"/>
                      <a:pt x="4" y="16"/>
                    </a:cubicBezTo>
                    <a:cubicBezTo>
                      <a:pt x="4" y="15"/>
                      <a:pt x="4" y="14"/>
                      <a:pt x="3" y="13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2" y="11"/>
                      <a:pt x="2" y="10"/>
                      <a:pt x="1" y="9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solidFill>
                <a:srgbClr val="D8CF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1" name="í$liḍê">
                <a:extLst>
                  <a:ext uri="{FF2B5EF4-FFF2-40B4-BE49-F238E27FC236}">
                    <a16:creationId xmlns:a16="http://schemas.microsoft.com/office/drawing/2014/main" id="{208E0CC1-6FEC-4705-A900-987A746D2853}"/>
                  </a:ext>
                </a:extLst>
              </p:cNvPr>
              <p:cNvSpPr/>
              <p:nvPr/>
            </p:nvSpPr>
            <p:spPr bwMode="auto">
              <a:xfrm>
                <a:off x="4970463" y="2243138"/>
                <a:ext cx="47625" cy="36513"/>
              </a:xfrm>
              <a:custGeom>
                <a:avLst/>
                <a:gdLst>
                  <a:gd name="T0" fmla="*/ 8 w 8"/>
                  <a:gd name="T1" fmla="*/ 0 h 6"/>
                  <a:gd name="T2" fmla="*/ 4 w 8"/>
                  <a:gd name="T3" fmla="*/ 3 h 6"/>
                  <a:gd name="T4" fmla="*/ 2 w 8"/>
                  <a:gd name="T5" fmla="*/ 2 h 6"/>
                  <a:gd name="T6" fmla="*/ 0 w 8"/>
                  <a:gd name="T7" fmla="*/ 2 h 6"/>
                  <a:gd name="T8" fmla="*/ 6 w 8"/>
                  <a:gd name="T9" fmla="*/ 6 h 6"/>
                  <a:gd name="T10" fmla="*/ 7 w 8"/>
                  <a:gd name="T11" fmla="*/ 6 h 6"/>
                  <a:gd name="T12" fmla="*/ 8 w 8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6">
                    <a:moveTo>
                      <a:pt x="8" y="0"/>
                    </a:moveTo>
                    <a:cubicBezTo>
                      <a:pt x="7" y="2"/>
                      <a:pt x="6" y="3"/>
                      <a:pt x="4" y="3"/>
                    </a:cubicBezTo>
                    <a:cubicBezTo>
                      <a:pt x="4" y="3"/>
                      <a:pt x="3" y="3"/>
                      <a:pt x="2" y="2"/>
                    </a:cubicBezTo>
                    <a:cubicBezTo>
                      <a:pt x="2" y="2"/>
                      <a:pt x="1" y="2"/>
                      <a:pt x="0" y="2"/>
                    </a:cubicBezTo>
                    <a:cubicBezTo>
                      <a:pt x="1" y="5"/>
                      <a:pt x="3" y="6"/>
                      <a:pt x="6" y="6"/>
                    </a:cubicBezTo>
                    <a:cubicBezTo>
                      <a:pt x="6" y="6"/>
                      <a:pt x="7" y="6"/>
                      <a:pt x="7" y="6"/>
                    </a:cubicBezTo>
                    <a:cubicBezTo>
                      <a:pt x="8" y="3"/>
                      <a:pt x="8" y="0"/>
                      <a:pt x="8" y="0"/>
                    </a:cubicBezTo>
                  </a:path>
                </a:pathLst>
              </a:custGeom>
              <a:solidFill>
                <a:srgbClr val="DC60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2" name="íŝḻiḓé">
                <a:extLst>
                  <a:ext uri="{FF2B5EF4-FFF2-40B4-BE49-F238E27FC236}">
                    <a16:creationId xmlns:a16="http://schemas.microsoft.com/office/drawing/2014/main" id="{E233A8D5-876A-4FF1-933B-FC445F003FA5}"/>
                  </a:ext>
                </a:extLst>
              </p:cNvPr>
              <p:cNvSpPr/>
              <p:nvPr/>
            </p:nvSpPr>
            <p:spPr bwMode="auto">
              <a:xfrm>
                <a:off x="3822701" y="2303463"/>
                <a:ext cx="1141413" cy="1042988"/>
              </a:xfrm>
              <a:custGeom>
                <a:avLst/>
                <a:gdLst>
                  <a:gd name="T0" fmla="*/ 22 w 188"/>
                  <a:gd name="T1" fmla="*/ 108 h 172"/>
                  <a:gd name="T2" fmla="*/ 87 w 188"/>
                  <a:gd name="T3" fmla="*/ 117 h 172"/>
                  <a:gd name="T4" fmla="*/ 140 w 188"/>
                  <a:gd name="T5" fmla="*/ 33 h 172"/>
                  <a:gd name="T6" fmla="*/ 140 w 188"/>
                  <a:gd name="T7" fmla="*/ 14 h 172"/>
                  <a:gd name="T8" fmla="*/ 146 w 188"/>
                  <a:gd name="T9" fmla="*/ 1 h 172"/>
                  <a:gd name="T10" fmla="*/ 154 w 188"/>
                  <a:gd name="T11" fmla="*/ 36 h 172"/>
                  <a:gd name="T12" fmla="*/ 72 w 188"/>
                  <a:gd name="T13" fmla="*/ 168 h 172"/>
                  <a:gd name="T14" fmla="*/ 13 w 188"/>
                  <a:gd name="T15" fmla="*/ 136 h 172"/>
                  <a:gd name="T16" fmla="*/ 22 w 188"/>
                  <a:gd name="T17" fmla="*/ 108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8" h="172">
                    <a:moveTo>
                      <a:pt x="22" y="108"/>
                    </a:moveTo>
                    <a:cubicBezTo>
                      <a:pt x="22" y="108"/>
                      <a:pt x="50" y="129"/>
                      <a:pt x="87" y="117"/>
                    </a:cubicBezTo>
                    <a:cubicBezTo>
                      <a:pt x="125" y="104"/>
                      <a:pt x="140" y="33"/>
                      <a:pt x="140" y="33"/>
                    </a:cubicBezTo>
                    <a:cubicBezTo>
                      <a:pt x="140" y="33"/>
                      <a:pt x="131" y="19"/>
                      <a:pt x="140" y="14"/>
                    </a:cubicBezTo>
                    <a:cubicBezTo>
                      <a:pt x="140" y="14"/>
                      <a:pt x="138" y="2"/>
                      <a:pt x="146" y="1"/>
                    </a:cubicBezTo>
                    <a:cubicBezTo>
                      <a:pt x="155" y="0"/>
                      <a:pt x="188" y="10"/>
                      <a:pt x="154" y="36"/>
                    </a:cubicBezTo>
                    <a:cubicBezTo>
                      <a:pt x="154" y="36"/>
                      <a:pt x="145" y="163"/>
                      <a:pt x="72" y="168"/>
                    </a:cubicBezTo>
                    <a:cubicBezTo>
                      <a:pt x="0" y="172"/>
                      <a:pt x="13" y="136"/>
                      <a:pt x="13" y="136"/>
                    </a:cubicBezTo>
                    <a:lnTo>
                      <a:pt x="22" y="108"/>
                    </a:lnTo>
                    <a:close/>
                  </a:path>
                </a:pathLst>
              </a:cu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3" name="îṩlïḓê">
                <a:extLst>
                  <a:ext uri="{FF2B5EF4-FFF2-40B4-BE49-F238E27FC236}">
                    <a16:creationId xmlns:a16="http://schemas.microsoft.com/office/drawing/2014/main" id="{C05E339E-57CF-4AEA-95F4-6B3695FF7716}"/>
                  </a:ext>
                </a:extLst>
              </p:cNvPr>
              <p:cNvSpPr/>
              <p:nvPr/>
            </p:nvSpPr>
            <p:spPr bwMode="auto">
              <a:xfrm>
                <a:off x="4618038" y="2303463"/>
                <a:ext cx="346075" cy="412750"/>
              </a:xfrm>
              <a:custGeom>
                <a:avLst/>
                <a:gdLst>
                  <a:gd name="T0" fmla="*/ 15 w 57"/>
                  <a:gd name="T1" fmla="*/ 1 h 68"/>
                  <a:gd name="T2" fmla="*/ 9 w 57"/>
                  <a:gd name="T3" fmla="*/ 14 h 68"/>
                  <a:gd name="T4" fmla="*/ 9 w 57"/>
                  <a:gd name="T5" fmla="*/ 33 h 68"/>
                  <a:gd name="T6" fmla="*/ 0 w 57"/>
                  <a:gd name="T7" fmla="*/ 63 h 68"/>
                  <a:gd name="T8" fmla="*/ 18 w 57"/>
                  <a:gd name="T9" fmla="*/ 68 h 68"/>
                  <a:gd name="T10" fmla="*/ 23 w 57"/>
                  <a:gd name="T11" fmla="*/ 36 h 68"/>
                  <a:gd name="T12" fmla="*/ 15 w 57"/>
                  <a:gd name="T13" fmla="*/ 1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7" h="68">
                    <a:moveTo>
                      <a:pt x="15" y="1"/>
                    </a:moveTo>
                    <a:cubicBezTo>
                      <a:pt x="7" y="2"/>
                      <a:pt x="9" y="14"/>
                      <a:pt x="9" y="14"/>
                    </a:cubicBezTo>
                    <a:cubicBezTo>
                      <a:pt x="0" y="19"/>
                      <a:pt x="9" y="33"/>
                      <a:pt x="9" y="33"/>
                    </a:cubicBezTo>
                    <a:cubicBezTo>
                      <a:pt x="9" y="33"/>
                      <a:pt x="6" y="47"/>
                      <a:pt x="0" y="63"/>
                    </a:cubicBezTo>
                    <a:cubicBezTo>
                      <a:pt x="6" y="65"/>
                      <a:pt x="12" y="67"/>
                      <a:pt x="18" y="68"/>
                    </a:cubicBezTo>
                    <a:cubicBezTo>
                      <a:pt x="22" y="50"/>
                      <a:pt x="23" y="36"/>
                      <a:pt x="23" y="36"/>
                    </a:cubicBezTo>
                    <a:cubicBezTo>
                      <a:pt x="57" y="10"/>
                      <a:pt x="24" y="0"/>
                      <a:pt x="15" y="1"/>
                    </a:cubicBez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4" name="íšľîďe">
                <a:extLst>
                  <a:ext uri="{FF2B5EF4-FFF2-40B4-BE49-F238E27FC236}">
                    <a16:creationId xmlns:a16="http://schemas.microsoft.com/office/drawing/2014/main" id="{73A6C3E0-3F25-4E17-8D41-207BBF36E741}"/>
                  </a:ext>
                </a:extLst>
              </p:cNvPr>
              <p:cNvSpPr/>
              <p:nvPr/>
            </p:nvSpPr>
            <p:spPr bwMode="auto">
              <a:xfrm>
                <a:off x="3313113" y="2595563"/>
                <a:ext cx="388938" cy="1012825"/>
              </a:xfrm>
              <a:custGeom>
                <a:avLst/>
                <a:gdLst>
                  <a:gd name="T0" fmla="*/ 36 w 64"/>
                  <a:gd name="T1" fmla="*/ 3 h 167"/>
                  <a:gd name="T2" fmla="*/ 21 w 64"/>
                  <a:gd name="T3" fmla="*/ 20 h 167"/>
                  <a:gd name="T4" fmla="*/ 24 w 64"/>
                  <a:gd name="T5" fmla="*/ 44 h 167"/>
                  <a:gd name="T6" fmla="*/ 8 w 64"/>
                  <a:gd name="T7" fmla="*/ 74 h 167"/>
                  <a:gd name="T8" fmla="*/ 4 w 64"/>
                  <a:gd name="T9" fmla="*/ 111 h 167"/>
                  <a:gd name="T10" fmla="*/ 18 w 64"/>
                  <a:gd name="T11" fmla="*/ 138 h 167"/>
                  <a:gd name="T12" fmla="*/ 17 w 64"/>
                  <a:gd name="T13" fmla="*/ 167 h 167"/>
                  <a:gd name="T14" fmla="*/ 54 w 64"/>
                  <a:gd name="T15" fmla="*/ 134 h 167"/>
                  <a:gd name="T16" fmla="*/ 57 w 64"/>
                  <a:gd name="T17" fmla="*/ 85 h 167"/>
                  <a:gd name="T18" fmla="*/ 51 w 64"/>
                  <a:gd name="T19" fmla="*/ 51 h 167"/>
                  <a:gd name="T20" fmla="*/ 53 w 64"/>
                  <a:gd name="T21" fmla="*/ 42 h 167"/>
                  <a:gd name="T22" fmla="*/ 50 w 64"/>
                  <a:gd name="T23" fmla="*/ 28 h 167"/>
                  <a:gd name="T24" fmla="*/ 49 w 64"/>
                  <a:gd name="T25" fmla="*/ 14 h 167"/>
                  <a:gd name="T26" fmla="*/ 54 w 64"/>
                  <a:gd name="T27" fmla="*/ 11 h 167"/>
                  <a:gd name="T28" fmla="*/ 60 w 64"/>
                  <a:gd name="T29" fmla="*/ 10 h 167"/>
                  <a:gd name="T30" fmla="*/ 58 w 64"/>
                  <a:gd name="T31" fmla="*/ 3 h 167"/>
                  <a:gd name="T32" fmla="*/ 36 w 64"/>
                  <a:gd name="T33" fmla="*/ 3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4" h="167">
                    <a:moveTo>
                      <a:pt x="36" y="3"/>
                    </a:moveTo>
                    <a:cubicBezTo>
                      <a:pt x="29" y="6"/>
                      <a:pt x="22" y="12"/>
                      <a:pt x="21" y="20"/>
                    </a:cubicBezTo>
                    <a:cubicBezTo>
                      <a:pt x="20" y="28"/>
                      <a:pt x="25" y="36"/>
                      <a:pt x="24" y="44"/>
                    </a:cubicBezTo>
                    <a:cubicBezTo>
                      <a:pt x="24" y="55"/>
                      <a:pt x="14" y="64"/>
                      <a:pt x="8" y="74"/>
                    </a:cubicBezTo>
                    <a:cubicBezTo>
                      <a:pt x="2" y="85"/>
                      <a:pt x="0" y="99"/>
                      <a:pt x="4" y="111"/>
                    </a:cubicBezTo>
                    <a:cubicBezTo>
                      <a:pt x="8" y="121"/>
                      <a:pt x="14" y="129"/>
                      <a:pt x="18" y="138"/>
                    </a:cubicBezTo>
                    <a:cubicBezTo>
                      <a:pt x="22" y="147"/>
                      <a:pt x="24" y="159"/>
                      <a:pt x="17" y="167"/>
                    </a:cubicBezTo>
                    <a:cubicBezTo>
                      <a:pt x="33" y="162"/>
                      <a:pt x="47" y="149"/>
                      <a:pt x="54" y="134"/>
                    </a:cubicBezTo>
                    <a:cubicBezTo>
                      <a:pt x="61" y="119"/>
                      <a:pt x="62" y="101"/>
                      <a:pt x="57" y="85"/>
                    </a:cubicBezTo>
                    <a:cubicBezTo>
                      <a:pt x="53" y="74"/>
                      <a:pt x="48" y="62"/>
                      <a:pt x="51" y="51"/>
                    </a:cubicBezTo>
                    <a:cubicBezTo>
                      <a:pt x="51" y="48"/>
                      <a:pt x="53" y="45"/>
                      <a:pt x="53" y="42"/>
                    </a:cubicBezTo>
                    <a:cubicBezTo>
                      <a:pt x="54" y="38"/>
                      <a:pt x="52" y="33"/>
                      <a:pt x="50" y="28"/>
                    </a:cubicBezTo>
                    <a:cubicBezTo>
                      <a:pt x="48" y="24"/>
                      <a:pt x="47" y="19"/>
                      <a:pt x="49" y="14"/>
                    </a:cubicBezTo>
                    <a:cubicBezTo>
                      <a:pt x="50" y="13"/>
                      <a:pt x="52" y="11"/>
                      <a:pt x="54" y="11"/>
                    </a:cubicBezTo>
                    <a:cubicBezTo>
                      <a:pt x="56" y="10"/>
                      <a:pt x="59" y="11"/>
                      <a:pt x="60" y="10"/>
                    </a:cubicBezTo>
                    <a:cubicBezTo>
                      <a:pt x="64" y="9"/>
                      <a:pt x="61" y="5"/>
                      <a:pt x="58" y="3"/>
                    </a:cubicBezTo>
                    <a:cubicBezTo>
                      <a:pt x="53" y="0"/>
                      <a:pt x="42" y="1"/>
                      <a:pt x="36" y="3"/>
                    </a:cubicBezTo>
                    <a:close/>
                  </a:path>
                </a:pathLst>
              </a:custGeom>
              <a:solidFill>
                <a:srgbClr val="0E0E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5" name="iṩḷîdé">
                <a:extLst>
                  <a:ext uri="{FF2B5EF4-FFF2-40B4-BE49-F238E27FC236}">
                    <a16:creationId xmlns:a16="http://schemas.microsoft.com/office/drawing/2014/main" id="{E7F73366-4040-4717-B6B9-CAC67B2A50D8}"/>
                  </a:ext>
                </a:extLst>
              </p:cNvPr>
              <p:cNvSpPr/>
              <p:nvPr/>
            </p:nvSpPr>
            <p:spPr bwMode="auto">
              <a:xfrm>
                <a:off x="3695701" y="5457825"/>
                <a:ext cx="273050" cy="169863"/>
              </a:xfrm>
              <a:custGeom>
                <a:avLst/>
                <a:gdLst>
                  <a:gd name="T0" fmla="*/ 3 w 45"/>
                  <a:gd name="T1" fmla="*/ 0 h 28"/>
                  <a:gd name="T2" fmla="*/ 2 w 45"/>
                  <a:gd name="T3" fmla="*/ 8 h 28"/>
                  <a:gd name="T4" fmla="*/ 0 w 45"/>
                  <a:gd name="T5" fmla="*/ 18 h 28"/>
                  <a:gd name="T6" fmla="*/ 41 w 45"/>
                  <a:gd name="T7" fmla="*/ 28 h 28"/>
                  <a:gd name="T8" fmla="*/ 44 w 45"/>
                  <a:gd name="T9" fmla="*/ 24 h 28"/>
                  <a:gd name="T10" fmla="*/ 36 w 45"/>
                  <a:gd name="T11" fmla="*/ 16 h 28"/>
                  <a:gd name="T12" fmla="*/ 20 w 45"/>
                  <a:gd name="T13" fmla="*/ 5 h 28"/>
                  <a:gd name="T14" fmla="*/ 3 w 45"/>
                  <a:gd name="T1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" h="28">
                    <a:moveTo>
                      <a:pt x="3" y="0"/>
                    </a:moveTo>
                    <a:cubicBezTo>
                      <a:pt x="2" y="8"/>
                      <a:pt x="2" y="8"/>
                      <a:pt x="2" y="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41" y="28"/>
                      <a:pt x="41" y="28"/>
                      <a:pt x="41" y="28"/>
                    </a:cubicBezTo>
                    <a:cubicBezTo>
                      <a:pt x="44" y="28"/>
                      <a:pt x="45" y="26"/>
                      <a:pt x="44" y="24"/>
                    </a:cubicBezTo>
                    <a:cubicBezTo>
                      <a:pt x="42" y="21"/>
                      <a:pt x="39" y="18"/>
                      <a:pt x="36" y="16"/>
                    </a:cubicBezTo>
                    <a:cubicBezTo>
                      <a:pt x="29" y="10"/>
                      <a:pt x="20" y="5"/>
                      <a:pt x="20" y="5"/>
                    </a:cubicBez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6" name="iṣ1íďé">
                <a:extLst>
                  <a:ext uri="{FF2B5EF4-FFF2-40B4-BE49-F238E27FC236}">
                    <a16:creationId xmlns:a16="http://schemas.microsoft.com/office/drawing/2014/main" id="{3092F145-5838-4421-A0EE-7EA3076F2CBF}"/>
                  </a:ext>
                </a:extLst>
              </p:cNvPr>
              <p:cNvSpPr/>
              <p:nvPr/>
            </p:nvSpPr>
            <p:spPr bwMode="auto">
              <a:xfrm>
                <a:off x="4144963" y="5457825"/>
                <a:ext cx="285750" cy="109538"/>
              </a:xfrm>
              <a:custGeom>
                <a:avLst/>
                <a:gdLst>
                  <a:gd name="T0" fmla="*/ 0 w 47"/>
                  <a:gd name="T1" fmla="*/ 0 h 18"/>
                  <a:gd name="T2" fmla="*/ 1 w 47"/>
                  <a:gd name="T3" fmla="*/ 8 h 18"/>
                  <a:gd name="T4" fmla="*/ 1 w 47"/>
                  <a:gd name="T5" fmla="*/ 18 h 18"/>
                  <a:gd name="T6" fmla="*/ 43 w 47"/>
                  <a:gd name="T7" fmla="*/ 18 h 18"/>
                  <a:gd name="T8" fmla="*/ 45 w 47"/>
                  <a:gd name="T9" fmla="*/ 14 h 18"/>
                  <a:gd name="T10" fmla="*/ 36 w 47"/>
                  <a:gd name="T11" fmla="*/ 8 h 18"/>
                  <a:gd name="T12" fmla="*/ 18 w 47"/>
                  <a:gd name="T13" fmla="*/ 1 h 18"/>
                  <a:gd name="T14" fmla="*/ 0 w 47"/>
                  <a:gd name="T1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7" h="18">
                    <a:moveTo>
                      <a:pt x="0" y="0"/>
                    </a:moveTo>
                    <a:cubicBezTo>
                      <a:pt x="1" y="8"/>
                      <a:pt x="1" y="8"/>
                      <a:pt x="1" y="8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43" y="18"/>
                      <a:pt x="43" y="18"/>
                      <a:pt x="43" y="18"/>
                    </a:cubicBezTo>
                    <a:cubicBezTo>
                      <a:pt x="46" y="18"/>
                      <a:pt x="47" y="16"/>
                      <a:pt x="45" y="14"/>
                    </a:cubicBezTo>
                    <a:cubicBezTo>
                      <a:pt x="43" y="12"/>
                      <a:pt x="39" y="10"/>
                      <a:pt x="36" y="8"/>
                    </a:cubicBezTo>
                    <a:cubicBezTo>
                      <a:pt x="27" y="4"/>
                      <a:pt x="18" y="1"/>
                      <a:pt x="18" y="1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7" name="îṩlîdè">
                <a:extLst>
                  <a:ext uri="{FF2B5EF4-FFF2-40B4-BE49-F238E27FC236}">
                    <a16:creationId xmlns:a16="http://schemas.microsoft.com/office/drawing/2014/main" id="{D6BB5DD6-9A4A-407C-8498-65AC5B9BEDA4}"/>
                  </a:ext>
                </a:extLst>
              </p:cNvPr>
              <p:cNvSpPr/>
              <p:nvPr/>
            </p:nvSpPr>
            <p:spPr bwMode="auto">
              <a:xfrm>
                <a:off x="3671888" y="3825875"/>
                <a:ext cx="679450" cy="1668463"/>
              </a:xfrm>
              <a:custGeom>
                <a:avLst/>
                <a:gdLst>
                  <a:gd name="T0" fmla="*/ 5 w 112"/>
                  <a:gd name="T1" fmla="*/ 14 h 275"/>
                  <a:gd name="T2" fmla="*/ 14 w 112"/>
                  <a:gd name="T3" fmla="*/ 138 h 275"/>
                  <a:gd name="T4" fmla="*/ 5 w 112"/>
                  <a:gd name="T5" fmla="*/ 272 h 275"/>
                  <a:gd name="T6" fmla="*/ 28 w 112"/>
                  <a:gd name="T7" fmla="*/ 275 h 275"/>
                  <a:gd name="T8" fmla="*/ 58 w 112"/>
                  <a:gd name="T9" fmla="*/ 165 h 275"/>
                  <a:gd name="T10" fmla="*/ 58 w 112"/>
                  <a:gd name="T11" fmla="*/ 84 h 275"/>
                  <a:gd name="T12" fmla="*/ 78 w 112"/>
                  <a:gd name="T13" fmla="*/ 150 h 275"/>
                  <a:gd name="T14" fmla="*/ 76 w 112"/>
                  <a:gd name="T15" fmla="*/ 270 h 275"/>
                  <a:gd name="T16" fmla="*/ 98 w 112"/>
                  <a:gd name="T17" fmla="*/ 270 h 275"/>
                  <a:gd name="T18" fmla="*/ 112 w 112"/>
                  <a:gd name="T19" fmla="*/ 138 h 275"/>
                  <a:gd name="T20" fmla="*/ 82 w 112"/>
                  <a:gd name="T21" fmla="*/ 0 h 275"/>
                  <a:gd name="T22" fmla="*/ 5 w 112"/>
                  <a:gd name="T23" fmla="*/ 14 h 2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2" h="275">
                    <a:moveTo>
                      <a:pt x="5" y="14"/>
                    </a:moveTo>
                    <a:cubicBezTo>
                      <a:pt x="5" y="14"/>
                      <a:pt x="0" y="80"/>
                      <a:pt x="14" y="138"/>
                    </a:cubicBezTo>
                    <a:cubicBezTo>
                      <a:pt x="5" y="272"/>
                      <a:pt x="5" y="272"/>
                      <a:pt x="5" y="272"/>
                    </a:cubicBezTo>
                    <a:cubicBezTo>
                      <a:pt x="28" y="275"/>
                      <a:pt x="28" y="275"/>
                      <a:pt x="28" y="275"/>
                    </a:cubicBezTo>
                    <a:cubicBezTo>
                      <a:pt x="28" y="275"/>
                      <a:pt x="51" y="186"/>
                      <a:pt x="58" y="165"/>
                    </a:cubicBezTo>
                    <a:cubicBezTo>
                      <a:pt x="66" y="142"/>
                      <a:pt x="58" y="84"/>
                      <a:pt x="58" y="84"/>
                    </a:cubicBezTo>
                    <a:cubicBezTo>
                      <a:pt x="58" y="84"/>
                      <a:pt x="78" y="129"/>
                      <a:pt x="78" y="150"/>
                    </a:cubicBezTo>
                    <a:cubicBezTo>
                      <a:pt x="78" y="171"/>
                      <a:pt x="76" y="270"/>
                      <a:pt x="76" y="270"/>
                    </a:cubicBezTo>
                    <a:cubicBezTo>
                      <a:pt x="76" y="270"/>
                      <a:pt x="91" y="274"/>
                      <a:pt x="98" y="270"/>
                    </a:cubicBezTo>
                    <a:cubicBezTo>
                      <a:pt x="106" y="266"/>
                      <a:pt x="112" y="138"/>
                      <a:pt x="112" y="138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82" y="0"/>
                      <a:pt x="48" y="10"/>
                      <a:pt x="5" y="14"/>
                    </a:cubicBezTo>
                    <a:close/>
                  </a:path>
                </a:pathLst>
              </a:custGeom>
              <a:solidFill>
                <a:srgbClr val="0E0E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8" name="îṣḷîḋé">
                <a:extLst>
                  <a:ext uri="{FF2B5EF4-FFF2-40B4-BE49-F238E27FC236}">
                    <a16:creationId xmlns:a16="http://schemas.microsoft.com/office/drawing/2014/main" id="{B15ABE8E-E6EC-4951-AEAB-968836C13D69}"/>
                  </a:ext>
                </a:extLst>
              </p:cNvPr>
              <p:cNvSpPr/>
              <p:nvPr/>
            </p:nvSpPr>
            <p:spPr bwMode="auto">
              <a:xfrm>
                <a:off x="3519488" y="2922588"/>
                <a:ext cx="715963" cy="1212850"/>
              </a:xfrm>
              <a:custGeom>
                <a:avLst/>
                <a:gdLst>
                  <a:gd name="T0" fmla="*/ 48 w 118"/>
                  <a:gd name="T1" fmla="*/ 0 h 200"/>
                  <a:gd name="T2" fmla="*/ 6 w 118"/>
                  <a:gd name="T3" fmla="*/ 52 h 200"/>
                  <a:gd name="T4" fmla="*/ 8 w 118"/>
                  <a:gd name="T5" fmla="*/ 171 h 200"/>
                  <a:gd name="T6" fmla="*/ 31 w 118"/>
                  <a:gd name="T7" fmla="*/ 200 h 200"/>
                  <a:gd name="T8" fmla="*/ 34 w 118"/>
                  <a:gd name="T9" fmla="*/ 181 h 200"/>
                  <a:gd name="T10" fmla="*/ 44 w 118"/>
                  <a:gd name="T11" fmla="*/ 197 h 200"/>
                  <a:gd name="T12" fmla="*/ 118 w 118"/>
                  <a:gd name="T13" fmla="*/ 178 h 200"/>
                  <a:gd name="T14" fmla="*/ 94 w 118"/>
                  <a:gd name="T15" fmla="*/ 75 h 200"/>
                  <a:gd name="T16" fmla="*/ 74 w 118"/>
                  <a:gd name="T17" fmla="*/ 6 h 200"/>
                  <a:gd name="T18" fmla="*/ 48 w 118"/>
                  <a:gd name="T19" fmla="*/ 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8" h="200">
                    <a:moveTo>
                      <a:pt x="48" y="0"/>
                    </a:moveTo>
                    <a:cubicBezTo>
                      <a:pt x="48" y="0"/>
                      <a:pt x="18" y="7"/>
                      <a:pt x="6" y="52"/>
                    </a:cubicBezTo>
                    <a:cubicBezTo>
                      <a:pt x="0" y="75"/>
                      <a:pt x="8" y="171"/>
                      <a:pt x="8" y="171"/>
                    </a:cubicBezTo>
                    <a:cubicBezTo>
                      <a:pt x="8" y="171"/>
                      <a:pt x="12" y="200"/>
                      <a:pt x="31" y="200"/>
                    </a:cubicBezTo>
                    <a:cubicBezTo>
                      <a:pt x="34" y="181"/>
                      <a:pt x="34" y="181"/>
                      <a:pt x="34" y="181"/>
                    </a:cubicBezTo>
                    <a:cubicBezTo>
                      <a:pt x="44" y="197"/>
                      <a:pt x="44" y="197"/>
                      <a:pt x="44" y="197"/>
                    </a:cubicBezTo>
                    <a:cubicBezTo>
                      <a:pt x="118" y="178"/>
                      <a:pt x="118" y="178"/>
                      <a:pt x="118" y="178"/>
                    </a:cubicBezTo>
                    <a:cubicBezTo>
                      <a:pt x="118" y="178"/>
                      <a:pt x="84" y="125"/>
                      <a:pt x="94" y="75"/>
                    </a:cubicBezTo>
                    <a:cubicBezTo>
                      <a:pt x="104" y="25"/>
                      <a:pt x="74" y="6"/>
                      <a:pt x="74" y="6"/>
                    </a:cubicBezTo>
                    <a:cubicBezTo>
                      <a:pt x="74" y="6"/>
                      <a:pt x="56" y="19"/>
                      <a:pt x="48" y="0"/>
                    </a:cubicBezTo>
                    <a:close/>
                  </a:path>
                </a:pathLst>
              </a:custGeom>
              <a:solidFill>
                <a:srgbClr val="00BE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9" name="íşḻiḓè">
                <a:extLst>
                  <a:ext uri="{FF2B5EF4-FFF2-40B4-BE49-F238E27FC236}">
                    <a16:creationId xmlns:a16="http://schemas.microsoft.com/office/drawing/2014/main" id="{9D63E4A7-0904-401F-B17F-00602AFDB04D}"/>
                  </a:ext>
                </a:extLst>
              </p:cNvPr>
              <p:cNvSpPr/>
              <p:nvPr/>
            </p:nvSpPr>
            <p:spPr bwMode="auto">
              <a:xfrm>
                <a:off x="3744913" y="2503488"/>
                <a:ext cx="387350" cy="431800"/>
              </a:xfrm>
              <a:custGeom>
                <a:avLst/>
                <a:gdLst>
                  <a:gd name="T0" fmla="*/ 48 w 64"/>
                  <a:gd name="T1" fmla="*/ 21 h 71"/>
                  <a:gd name="T2" fmla="*/ 39 w 64"/>
                  <a:gd name="T3" fmla="*/ 68 h 71"/>
                  <a:gd name="T4" fmla="*/ 2 w 64"/>
                  <a:gd name="T5" fmla="*/ 44 h 71"/>
                  <a:gd name="T6" fmla="*/ 21 w 64"/>
                  <a:gd name="T7" fmla="*/ 6 h 71"/>
                  <a:gd name="T8" fmla="*/ 48 w 64"/>
                  <a:gd name="T9" fmla="*/ 2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71">
                    <a:moveTo>
                      <a:pt x="48" y="21"/>
                    </a:moveTo>
                    <a:cubicBezTo>
                      <a:pt x="48" y="21"/>
                      <a:pt x="64" y="64"/>
                      <a:pt x="39" y="68"/>
                    </a:cubicBezTo>
                    <a:cubicBezTo>
                      <a:pt x="14" y="71"/>
                      <a:pt x="2" y="55"/>
                      <a:pt x="2" y="44"/>
                    </a:cubicBezTo>
                    <a:cubicBezTo>
                      <a:pt x="2" y="33"/>
                      <a:pt x="0" y="12"/>
                      <a:pt x="21" y="6"/>
                    </a:cubicBezTo>
                    <a:cubicBezTo>
                      <a:pt x="42" y="0"/>
                      <a:pt x="48" y="21"/>
                      <a:pt x="48" y="21"/>
                    </a:cubicBez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0" name="ïšlïďê">
                <a:extLst>
                  <a:ext uri="{FF2B5EF4-FFF2-40B4-BE49-F238E27FC236}">
                    <a16:creationId xmlns:a16="http://schemas.microsoft.com/office/drawing/2014/main" id="{F49857D8-D88E-48CB-B5F2-F744897A7C02}"/>
                  </a:ext>
                </a:extLst>
              </p:cNvPr>
              <p:cNvSpPr/>
              <p:nvPr/>
            </p:nvSpPr>
            <p:spPr bwMode="auto">
              <a:xfrm>
                <a:off x="3708401" y="2776538"/>
                <a:ext cx="96838" cy="96838"/>
              </a:xfrm>
              <a:prstGeom prst="ellipse">
                <a:avLst/>
              </a:pr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" name="işļíde">
                <a:extLst>
                  <a:ext uri="{FF2B5EF4-FFF2-40B4-BE49-F238E27FC236}">
                    <a16:creationId xmlns:a16="http://schemas.microsoft.com/office/drawing/2014/main" id="{ED87B017-72C1-46B3-8229-977289BCD783}"/>
                  </a:ext>
                </a:extLst>
              </p:cNvPr>
              <p:cNvSpPr/>
              <p:nvPr/>
            </p:nvSpPr>
            <p:spPr bwMode="auto">
              <a:xfrm>
                <a:off x="3556001" y="2436813"/>
                <a:ext cx="466725" cy="388938"/>
              </a:xfrm>
              <a:custGeom>
                <a:avLst/>
                <a:gdLst>
                  <a:gd name="T0" fmla="*/ 28 w 77"/>
                  <a:gd name="T1" fmla="*/ 58 h 64"/>
                  <a:gd name="T2" fmla="*/ 39 w 77"/>
                  <a:gd name="T3" fmla="*/ 58 h 64"/>
                  <a:gd name="T4" fmla="*/ 65 w 77"/>
                  <a:gd name="T5" fmla="*/ 29 h 64"/>
                  <a:gd name="T6" fmla="*/ 77 w 77"/>
                  <a:gd name="T7" fmla="*/ 26 h 64"/>
                  <a:gd name="T8" fmla="*/ 33 w 77"/>
                  <a:gd name="T9" fmla="*/ 16 h 64"/>
                  <a:gd name="T10" fmla="*/ 25 w 77"/>
                  <a:gd name="T11" fmla="*/ 64 h 64"/>
                  <a:gd name="T12" fmla="*/ 28 w 77"/>
                  <a:gd name="T13" fmla="*/ 58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7" h="64">
                    <a:moveTo>
                      <a:pt x="28" y="58"/>
                    </a:moveTo>
                    <a:cubicBezTo>
                      <a:pt x="28" y="58"/>
                      <a:pt x="34" y="54"/>
                      <a:pt x="39" y="58"/>
                    </a:cubicBezTo>
                    <a:cubicBezTo>
                      <a:pt x="39" y="58"/>
                      <a:pt x="68" y="45"/>
                      <a:pt x="65" y="29"/>
                    </a:cubicBezTo>
                    <a:cubicBezTo>
                      <a:pt x="65" y="29"/>
                      <a:pt x="70" y="25"/>
                      <a:pt x="77" y="26"/>
                    </a:cubicBezTo>
                    <a:cubicBezTo>
                      <a:pt x="77" y="26"/>
                      <a:pt x="66" y="0"/>
                      <a:pt x="33" y="16"/>
                    </a:cubicBezTo>
                    <a:cubicBezTo>
                      <a:pt x="0" y="32"/>
                      <a:pt x="25" y="64"/>
                      <a:pt x="25" y="64"/>
                    </a:cubicBezTo>
                    <a:cubicBezTo>
                      <a:pt x="25" y="64"/>
                      <a:pt x="25" y="61"/>
                      <a:pt x="28" y="58"/>
                    </a:cubicBezTo>
                    <a:close/>
                  </a:path>
                </a:pathLst>
              </a:custGeom>
              <a:solidFill>
                <a:srgbClr val="0E0E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" name="í$ļîḍè">
                <a:extLst>
                  <a:ext uri="{FF2B5EF4-FFF2-40B4-BE49-F238E27FC236}">
                    <a16:creationId xmlns:a16="http://schemas.microsoft.com/office/drawing/2014/main" id="{B04B2043-FECA-49B3-81E8-37F22377CC01}"/>
                  </a:ext>
                </a:extLst>
              </p:cNvPr>
              <p:cNvSpPr/>
              <p:nvPr/>
            </p:nvSpPr>
            <p:spPr bwMode="auto">
              <a:xfrm>
                <a:off x="3775076" y="2819400"/>
                <a:ext cx="193675" cy="206375"/>
              </a:xfrm>
              <a:custGeom>
                <a:avLst/>
                <a:gdLst>
                  <a:gd name="T0" fmla="*/ 32 w 32"/>
                  <a:gd name="T1" fmla="*/ 31 h 34"/>
                  <a:gd name="T2" fmla="*/ 7 w 32"/>
                  <a:gd name="T3" fmla="*/ 31 h 34"/>
                  <a:gd name="T4" fmla="*/ 2 w 32"/>
                  <a:gd name="T5" fmla="*/ 21 h 34"/>
                  <a:gd name="T6" fmla="*/ 1 w 32"/>
                  <a:gd name="T7" fmla="*/ 9 h 34"/>
                  <a:gd name="T8" fmla="*/ 0 w 32"/>
                  <a:gd name="T9" fmla="*/ 6 h 34"/>
                  <a:gd name="T10" fmla="*/ 0 w 32"/>
                  <a:gd name="T11" fmla="*/ 0 h 34"/>
                  <a:gd name="T12" fmla="*/ 28 w 32"/>
                  <a:gd name="T13" fmla="*/ 1 h 34"/>
                  <a:gd name="T14" fmla="*/ 31 w 32"/>
                  <a:gd name="T15" fmla="*/ 16 h 34"/>
                  <a:gd name="T16" fmla="*/ 32 w 32"/>
                  <a:gd name="T17" fmla="*/ 25 h 34"/>
                  <a:gd name="T18" fmla="*/ 32 w 32"/>
                  <a:gd name="T19" fmla="*/ 3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34">
                    <a:moveTo>
                      <a:pt x="32" y="31"/>
                    </a:moveTo>
                    <a:cubicBezTo>
                      <a:pt x="29" y="32"/>
                      <a:pt x="12" y="34"/>
                      <a:pt x="7" y="31"/>
                    </a:cubicBezTo>
                    <a:cubicBezTo>
                      <a:pt x="4" y="30"/>
                      <a:pt x="3" y="25"/>
                      <a:pt x="2" y="21"/>
                    </a:cubicBezTo>
                    <a:cubicBezTo>
                      <a:pt x="1" y="17"/>
                      <a:pt x="1" y="12"/>
                      <a:pt x="1" y="9"/>
                    </a:cubicBezTo>
                    <a:cubicBezTo>
                      <a:pt x="0" y="7"/>
                      <a:pt x="0" y="6"/>
                      <a:pt x="0" y="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8" y="1"/>
                      <a:pt x="28" y="1"/>
                      <a:pt x="28" y="1"/>
                    </a:cubicBezTo>
                    <a:cubicBezTo>
                      <a:pt x="28" y="1"/>
                      <a:pt x="30" y="9"/>
                      <a:pt x="31" y="16"/>
                    </a:cubicBezTo>
                    <a:cubicBezTo>
                      <a:pt x="31" y="19"/>
                      <a:pt x="32" y="22"/>
                      <a:pt x="32" y="25"/>
                    </a:cubicBezTo>
                    <a:cubicBezTo>
                      <a:pt x="32" y="28"/>
                      <a:pt x="32" y="31"/>
                      <a:pt x="32" y="31"/>
                    </a:cubicBez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" name="îṧḷidè">
                <a:extLst>
                  <a:ext uri="{FF2B5EF4-FFF2-40B4-BE49-F238E27FC236}">
                    <a16:creationId xmlns:a16="http://schemas.microsoft.com/office/drawing/2014/main" id="{B2D49453-55B7-4F3B-AC9C-189538C0F83D}"/>
                  </a:ext>
                </a:extLst>
              </p:cNvPr>
              <p:cNvSpPr/>
              <p:nvPr/>
            </p:nvSpPr>
            <p:spPr bwMode="auto">
              <a:xfrm>
                <a:off x="3779838" y="2873375"/>
                <a:ext cx="188913" cy="98425"/>
              </a:xfrm>
              <a:custGeom>
                <a:avLst/>
                <a:gdLst>
                  <a:gd name="T0" fmla="*/ 31 w 31"/>
                  <a:gd name="T1" fmla="*/ 16 h 16"/>
                  <a:gd name="T2" fmla="*/ 1 w 31"/>
                  <a:gd name="T3" fmla="*/ 12 h 16"/>
                  <a:gd name="T4" fmla="*/ 0 w 31"/>
                  <a:gd name="T5" fmla="*/ 0 h 16"/>
                  <a:gd name="T6" fmla="*/ 30 w 31"/>
                  <a:gd name="T7" fmla="*/ 7 h 16"/>
                  <a:gd name="T8" fmla="*/ 31 w 31"/>
                  <a:gd name="T9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6">
                    <a:moveTo>
                      <a:pt x="31" y="16"/>
                    </a:moveTo>
                    <a:cubicBezTo>
                      <a:pt x="1" y="12"/>
                      <a:pt x="1" y="12"/>
                      <a:pt x="1" y="12"/>
                    </a:cubicBezTo>
                    <a:cubicBezTo>
                      <a:pt x="0" y="8"/>
                      <a:pt x="0" y="3"/>
                      <a:pt x="0" y="0"/>
                    </a:cubicBezTo>
                    <a:cubicBezTo>
                      <a:pt x="1" y="2"/>
                      <a:pt x="10" y="12"/>
                      <a:pt x="30" y="7"/>
                    </a:cubicBezTo>
                    <a:cubicBezTo>
                      <a:pt x="30" y="10"/>
                      <a:pt x="31" y="13"/>
                      <a:pt x="31" y="16"/>
                    </a:cubicBezTo>
                    <a:close/>
                  </a:path>
                </a:pathLst>
              </a:cu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" name="íṥ1iḋe">
                <a:extLst>
                  <a:ext uri="{FF2B5EF4-FFF2-40B4-BE49-F238E27FC236}">
                    <a16:creationId xmlns:a16="http://schemas.microsoft.com/office/drawing/2014/main" id="{18F3AEE5-D60A-4055-9FCD-C8C034F66781}"/>
                  </a:ext>
                </a:extLst>
              </p:cNvPr>
              <p:cNvSpPr/>
              <p:nvPr/>
            </p:nvSpPr>
            <p:spPr bwMode="auto">
              <a:xfrm>
                <a:off x="3568701" y="4019550"/>
                <a:ext cx="236538" cy="165100"/>
              </a:xfrm>
              <a:custGeom>
                <a:avLst/>
                <a:gdLst>
                  <a:gd name="T0" fmla="*/ 5 w 39"/>
                  <a:gd name="T1" fmla="*/ 27 h 27"/>
                  <a:gd name="T2" fmla="*/ 5 w 39"/>
                  <a:gd name="T3" fmla="*/ 20 h 27"/>
                  <a:gd name="T4" fmla="*/ 20 w 39"/>
                  <a:gd name="T5" fmla="*/ 5 h 27"/>
                  <a:gd name="T6" fmla="*/ 35 w 39"/>
                  <a:gd name="T7" fmla="*/ 20 h 27"/>
                  <a:gd name="T8" fmla="*/ 35 w 39"/>
                  <a:gd name="T9" fmla="*/ 27 h 27"/>
                  <a:gd name="T10" fmla="*/ 39 w 39"/>
                  <a:gd name="T11" fmla="*/ 27 h 27"/>
                  <a:gd name="T12" fmla="*/ 39 w 39"/>
                  <a:gd name="T13" fmla="*/ 20 h 27"/>
                  <a:gd name="T14" fmla="*/ 20 w 39"/>
                  <a:gd name="T15" fmla="*/ 0 h 27"/>
                  <a:gd name="T16" fmla="*/ 0 w 39"/>
                  <a:gd name="T17" fmla="*/ 20 h 27"/>
                  <a:gd name="T18" fmla="*/ 0 w 39"/>
                  <a:gd name="T19" fmla="*/ 27 h 27"/>
                  <a:gd name="T20" fmla="*/ 5 w 39"/>
                  <a:gd name="T21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9" h="27">
                    <a:moveTo>
                      <a:pt x="5" y="27"/>
                    </a:moveTo>
                    <a:cubicBezTo>
                      <a:pt x="5" y="20"/>
                      <a:pt x="5" y="20"/>
                      <a:pt x="5" y="20"/>
                    </a:cubicBezTo>
                    <a:cubicBezTo>
                      <a:pt x="5" y="11"/>
                      <a:pt x="11" y="5"/>
                      <a:pt x="20" y="5"/>
                    </a:cubicBezTo>
                    <a:cubicBezTo>
                      <a:pt x="28" y="5"/>
                      <a:pt x="35" y="11"/>
                      <a:pt x="35" y="20"/>
                    </a:cubicBezTo>
                    <a:cubicBezTo>
                      <a:pt x="35" y="27"/>
                      <a:pt x="35" y="27"/>
                      <a:pt x="35" y="27"/>
                    </a:cubicBezTo>
                    <a:cubicBezTo>
                      <a:pt x="39" y="27"/>
                      <a:pt x="39" y="27"/>
                      <a:pt x="39" y="27"/>
                    </a:cubicBezTo>
                    <a:cubicBezTo>
                      <a:pt x="39" y="20"/>
                      <a:pt x="39" y="20"/>
                      <a:pt x="39" y="20"/>
                    </a:cubicBezTo>
                    <a:cubicBezTo>
                      <a:pt x="39" y="9"/>
                      <a:pt x="31" y="0"/>
                      <a:pt x="20" y="0"/>
                    </a:cubicBezTo>
                    <a:cubicBezTo>
                      <a:pt x="9" y="0"/>
                      <a:pt x="0" y="9"/>
                      <a:pt x="0" y="20"/>
                    </a:cubicBezTo>
                    <a:cubicBezTo>
                      <a:pt x="0" y="27"/>
                      <a:pt x="0" y="27"/>
                      <a:pt x="0" y="27"/>
                    </a:cubicBezTo>
                    <a:lnTo>
                      <a:pt x="5" y="27"/>
                    </a:lnTo>
                    <a:close/>
                  </a:path>
                </a:pathLst>
              </a:cu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" name="îSḻïḓe">
                <a:extLst>
                  <a:ext uri="{FF2B5EF4-FFF2-40B4-BE49-F238E27FC236}">
                    <a16:creationId xmlns:a16="http://schemas.microsoft.com/office/drawing/2014/main" id="{C0821FBC-2EB7-48A5-8578-3160BDD5B5D9}"/>
                  </a:ext>
                </a:extLst>
              </p:cNvPr>
              <p:cNvSpPr/>
              <p:nvPr/>
            </p:nvSpPr>
            <p:spPr bwMode="auto">
              <a:xfrm>
                <a:off x="3482976" y="4152900"/>
                <a:ext cx="406400" cy="436563"/>
              </a:xfrm>
              <a:custGeom>
                <a:avLst/>
                <a:gdLst>
                  <a:gd name="T0" fmla="*/ 67 w 67"/>
                  <a:gd name="T1" fmla="*/ 0 h 72"/>
                  <a:gd name="T2" fmla="*/ 67 w 67"/>
                  <a:gd name="T3" fmla="*/ 68 h 72"/>
                  <a:gd name="T4" fmla="*/ 63 w 67"/>
                  <a:gd name="T5" fmla="*/ 72 h 72"/>
                  <a:gd name="T6" fmla="*/ 5 w 67"/>
                  <a:gd name="T7" fmla="*/ 72 h 72"/>
                  <a:gd name="T8" fmla="*/ 0 w 67"/>
                  <a:gd name="T9" fmla="*/ 68 h 72"/>
                  <a:gd name="T10" fmla="*/ 0 w 67"/>
                  <a:gd name="T11" fmla="*/ 0 h 72"/>
                  <a:gd name="T12" fmla="*/ 67 w 67"/>
                  <a:gd name="T13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7" h="72">
                    <a:moveTo>
                      <a:pt x="67" y="0"/>
                    </a:moveTo>
                    <a:cubicBezTo>
                      <a:pt x="67" y="68"/>
                      <a:pt x="67" y="68"/>
                      <a:pt x="67" y="68"/>
                    </a:cubicBezTo>
                    <a:cubicBezTo>
                      <a:pt x="67" y="70"/>
                      <a:pt x="65" y="72"/>
                      <a:pt x="63" y="72"/>
                    </a:cubicBezTo>
                    <a:cubicBezTo>
                      <a:pt x="5" y="72"/>
                      <a:pt x="5" y="72"/>
                      <a:pt x="5" y="72"/>
                    </a:cubicBezTo>
                    <a:cubicBezTo>
                      <a:pt x="2" y="72"/>
                      <a:pt x="0" y="70"/>
                      <a:pt x="0" y="68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" name="íṥļíḑe">
                <a:extLst>
                  <a:ext uri="{FF2B5EF4-FFF2-40B4-BE49-F238E27FC236}">
                    <a16:creationId xmlns:a16="http://schemas.microsoft.com/office/drawing/2014/main" id="{CCFD934C-FD8A-4DC1-BE7E-9591B0C8629B}"/>
                  </a:ext>
                </a:extLst>
              </p:cNvPr>
              <p:cNvSpPr/>
              <p:nvPr/>
            </p:nvSpPr>
            <p:spPr bwMode="auto">
              <a:xfrm>
                <a:off x="3482976" y="4152900"/>
                <a:ext cx="406400" cy="255588"/>
              </a:xfrm>
              <a:custGeom>
                <a:avLst/>
                <a:gdLst>
                  <a:gd name="T0" fmla="*/ 67 w 67"/>
                  <a:gd name="T1" fmla="*/ 0 h 42"/>
                  <a:gd name="T2" fmla="*/ 67 w 67"/>
                  <a:gd name="T3" fmla="*/ 16 h 42"/>
                  <a:gd name="T4" fmla="*/ 67 w 67"/>
                  <a:gd name="T5" fmla="*/ 16 h 42"/>
                  <a:gd name="T6" fmla="*/ 53 w 67"/>
                  <a:gd name="T7" fmla="*/ 14 h 42"/>
                  <a:gd name="T8" fmla="*/ 41 w 67"/>
                  <a:gd name="T9" fmla="*/ 26 h 42"/>
                  <a:gd name="T10" fmla="*/ 26 w 67"/>
                  <a:gd name="T11" fmla="*/ 26 h 42"/>
                  <a:gd name="T12" fmla="*/ 22 w 67"/>
                  <a:gd name="T13" fmla="*/ 22 h 42"/>
                  <a:gd name="T14" fmla="*/ 13 w 67"/>
                  <a:gd name="T15" fmla="*/ 27 h 42"/>
                  <a:gd name="T16" fmla="*/ 9 w 67"/>
                  <a:gd name="T17" fmla="*/ 38 h 42"/>
                  <a:gd name="T18" fmla="*/ 6 w 67"/>
                  <a:gd name="T19" fmla="*/ 41 h 42"/>
                  <a:gd name="T20" fmla="*/ 0 w 67"/>
                  <a:gd name="T21" fmla="*/ 41 h 42"/>
                  <a:gd name="T22" fmla="*/ 0 w 67"/>
                  <a:gd name="T23" fmla="*/ 0 h 42"/>
                  <a:gd name="T24" fmla="*/ 67 w 67"/>
                  <a:gd name="T25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7" h="42">
                    <a:moveTo>
                      <a:pt x="67" y="0"/>
                    </a:moveTo>
                    <a:cubicBezTo>
                      <a:pt x="67" y="16"/>
                      <a:pt x="67" y="16"/>
                      <a:pt x="67" y="16"/>
                    </a:cubicBezTo>
                    <a:cubicBezTo>
                      <a:pt x="67" y="16"/>
                      <a:pt x="67" y="16"/>
                      <a:pt x="67" y="16"/>
                    </a:cubicBezTo>
                    <a:cubicBezTo>
                      <a:pt x="63" y="18"/>
                      <a:pt x="58" y="13"/>
                      <a:pt x="53" y="14"/>
                    </a:cubicBezTo>
                    <a:cubicBezTo>
                      <a:pt x="47" y="15"/>
                      <a:pt x="45" y="22"/>
                      <a:pt x="41" y="26"/>
                    </a:cubicBezTo>
                    <a:cubicBezTo>
                      <a:pt x="37" y="30"/>
                      <a:pt x="30" y="30"/>
                      <a:pt x="26" y="26"/>
                    </a:cubicBezTo>
                    <a:cubicBezTo>
                      <a:pt x="25" y="25"/>
                      <a:pt x="24" y="23"/>
                      <a:pt x="22" y="22"/>
                    </a:cubicBezTo>
                    <a:cubicBezTo>
                      <a:pt x="18" y="20"/>
                      <a:pt x="14" y="23"/>
                      <a:pt x="13" y="27"/>
                    </a:cubicBezTo>
                    <a:cubicBezTo>
                      <a:pt x="11" y="30"/>
                      <a:pt x="10" y="34"/>
                      <a:pt x="9" y="38"/>
                    </a:cubicBezTo>
                    <a:cubicBezTo>
                      <a:pt x="8" y="39"/>
                      <a:pt x="7" y="41"/>
                      <a:pt x="6" y="41"/>
                    </a:cubicBezTo>
                    <a:cubicBezTo>
                      <a:pt x="4" y="42"/>
                      <a:pt x="2" y="42"/>
                      <a:pt x="0" y="41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F065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" name="îśļîde">
                <a:extLst>
                  <a:ext uri="{FF2B5EF4-FFF2-40B4-BE49-F238E27FC236}">
                    <a16:creationId xmlns:a16="http://schemas.microsoft.com/office/drawing/2014/main" id="{D3D72B54-B0BD-4E7F-BCF0-8B0212713C61}"/>
                  </a:ext>
                </a:extLst>
              </p:cNvPr>
              <p:cNvSpPr/>
              <p:nvPr/>
            </p:nvSpPr>
            <p:spPr bwMode="auto">
              <a:xfrm>
                <a:off x="3276601" y="2971800"/>
                <a:ext cx="455613" cy="1157288"/>
              </a:xfrm>
              <a:custGeom>
                <a:avLst/>
                <a:gdLst>
                  <a:gd name="T0" fmla="*/ 55 w 75"/>
                  <a:gd name="T1" fmla="*/ 191 h 191"/>
                  <a:gd name="T2" fmla="*/ 73 w 75"/>
                  <a:gd name="T3" fmla="*/ 180 h 191"/>
                  <a:gd name="T4" fmla="*/ 52 w 75"/>
                  <a:gd name="T5" fmla="*/ 174 h 191"/>
                  <a:gd name="T6" fmla="*/ 29 w 75"/>
                  <a:gd name="T7" fmla="*/ 124 h 191"/>
                  <a:gd name="T8" fmla="*/ 43 w 75"/>
                  <a:gd name="T9" fmla="*/ 92 h 191"/>
                  <a:gd name="T10" fmla="*/ 56 w 75"/>
                  <a:gd name="T11" fmla="*/ 66 h 191"/>
                  <a:gd name="T12" fmla="*/ 64 w 75"/>
                  <a:gd name="T13" fmla="*/ 39 h 191"/>
                  <a:gd name="T14" fmla="*/ 73 w 75"/>
                  <a:gd name="T15" fmla="*/ 1 h 191"/>
                  <a:gd name="T16" fmla="*/ 73 w 75"/>
                  <a:gd name="T17" fmla="*/ 0 h 191"/>
                  <a:gd name="T18" fmla="*/ 9 w 75"/>
                  <a:gd name="T19" fmla="*/ 72 h 191"/>
                  <a:gd name="T20" fmla="*/ 3 w 75"/>
                  <a:gd name="T21" fmla="*/ 106 h 191"/>
                  <a:gd name="T22" fmla="*/ 55 w 75"/>
                  <a:gd name="T23" fmla="*/ 191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5" h="191">
                    <a:moveTo>
                      <a:pt x="55" y="191"/>
                    </a:moveTo>
                    <a:cubicBezTo>
                      <a:pt x="55" y="191"/>
                      <a:pt x="75" y="190"/>
                      <a:pt x="73" y="180"/>
                    </a:cubicBezTo>
                    <a:cubicBezTo>
                      <a:pt x="72" y="172"/>
                      <a:pt x="52" y="174"/>
                      <a:pt x="52" y="174"/>
                    </a:cubicBezTo>
                    <a:cubicBezTo>
                      <a:pt x="52" y="174"/>
                      <a:pt x="29" y="154"/>
                      <a:pt x="29" y="124"/>
                    </a:cubicBezTo>
                    <a:cubicBezTo>
                      <a:pt x="29" y="111"/>
                      <a:pt x="35" y="100"/>
                      <a:pt x="43" y="92"/>
                    </a:cubicBezTo>
                    <a:cubicBezTo>
                      <a:pt x="51" y="83"/>
                      <a:pt x="56" y="66"/>
                      <a:pt x="56" y="66"/>
                    </a:cubicBezTo>
                    <a:cubicBezTo>
                      <a:pt x="56" y="66"/>
                      <a:pt x="62" y="52"/>
                      <a:pt x="64" y="39"/>
                    </a:cubicBezTo>
                    <a:cubicBezTo>
                      <a:pt x="66" y="26"/>
                      <a:pt x="69" y="14"/>
                      <a:pt x="73" y="1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73" y="0"/>
                      <a:pt x="26" y="21"/>
                      <a:pt x="9" y="72"/>
                    </a:cubicBezTo>
                    <a:cubicBezTo>
                      <a:pt x="6" y="82"/>
                      <a:pt x="3" y="94"/>
                      <a:pt x="3" y="106"/>
                    </a:cubicBezTo>
                    <a:cubicBezTo>
                      <a:pt x="0" y="170"/>
                      <a:pt x="55" y="191"/>
                      <a:pt x="55" y="191"/>
                    </a:cubicBez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" name="iŝļîḑê">
                <a:extLst>
                  <a:ext uri="{FF2B5EF4-FFF2-40B4-BE49-F238E27FC236}">
                    <a16:creationId xmlns:a16="http://schemas.microsoft.com/office/drawing/2014/main" id="{5C11159B-CC3A-4180-9CA9-763CEAF04AA0}"/>
                  </a:ext>
                </a:extLst>
              </p:cNvPr>
              <p:cNvSpPr/>
              <p:nvPr/>
            </p:nvSpPr>
            <p:spPr bwMode="auto">
              <a:xfrm>
                <a:off x="3282951" y="2971800"/>
                <a:ext cx="436563" cy="1047750"/>
              </a:xfrm>
              <a:custGeom>
                <a:avLst/>
                <a:gdLst>
                  <a:gd name="T0" fmla="*/ 8 w 72"/>
                  <a:gd name="T1" fmla="*/ 72 h 173"/>
                  <a:gd name="T2" fmla="*/ 2 w 72"/>
                  <a:gd name="T3" fmla="*/ 106 h 173"/>
                  <a:gd name="T4" fmla="*/ 27 w 72"/>
                  <a:gd name="T5" fmla="*/ 173 h 173"/>
                  <a:gd name="T6" fmla="*/ 39 w 72"/>
                  <a:gd name="T7" fmla="*/ 159 h 173"/>
                  <a:gd name="T8" fmla="*/ 28 w 72"/>
                  <a:gd name="T9" fmla="*/ 124 h 173"/>
                  <a:gd name="T10" fmla="*/ 42 w 72"/>
                  <a:gd name="T11" fmla="*/ 92 h 173"/>
                  <a:gd name="T12" fmla="*/ 55 w 72"/>
                  <a:gd name="T13" fmla="*/ 66 h 173"/>
                  <a:gd name="T14" fmla="*/ 63 w 72"/>
                  <a:gd name="T15" fmla="*/ 39 h 173"/>
                  <a:gd name="T16" fmla="*/ 72 w 72"/>
                  <a:gd name="T17" fmla="*/ 1 h 173"/>
                  <a:gd name="T18" fmla="*/ 72 w 72"/>
                  <a:gd name="T19" fmla="*/ 0 h 173"/>
                  <a:gd name="T20" fmla="*/ 8 w 72"/>
                  <a:gd name="T21" fmla="*/ 72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2" h="173">
                    <a:moveTo>
                      <a:pt x="8" y="72"/>
                    </a:moveTo>
                    <a:cubicBezTo>
                      <a:pt x="5" y="82"/>
                      <a:pt x="2" y="94"/>
                      <a:pt x="2" y="106"/>
                    </a:cubicBezTo>
                    <a:cubicBezTo>
                      <a:pt x="0" y="139"/>
                      <a:pt x="14" y="160"/>
                      <a:pt x="27" y="173"/>
                    </a:cubicBezTo>
                    <a:cubicBezTo>
                      <a:pt x="32" y="169"/>
                      <a:pt x="35" y="164"/>
                      <a:pt x="39" y="159"/>
                    </a:cubicBezTo>
                    <a:cubicBezTo>
                      <a:pt x="33" y="151"/>
                      <a:pt x="28" y="138"/>
                      <a:pt x="28" y="124"/>
                    </a:cubicBezTo>
                    <a:cubicBezTo>
                      <a:pt x="28" y="111"/>
                      <a:pt x="34" y="100"/>
                      <a:pt x="42" y="92"/>
                    </a:cubicBezTo>
                    <a:cubicBezTo>
                      <a:pt x="50" y="83"/>
                      <a:pt x="55" y="66"/>
                      <a:pt x="55" y="66"/>
                    </a:cubicBezTo>
                    <a:cubicBezTo>
                      <a:pt x="55" y="66"/>
                      <a:pt x="61" y="52"/>
                      <a:pt x="63" y="39"/>
                    </a:cubicBezTo>
                    <a:cubicBezTo>
                      <a:pt x="65" y="26"/>
                      <a:pt x="68" y="14"/>
                      <a:pt x="72" y="1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72" y="0"/>
                      <a:pt x="25" y="21"/>
                      <a:pt x="8" y="72"/>
                    </a:cubicBezTo>
                    <a:close/>
                  </a:path>
                </a:pathLst>
              </a:cu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" name="îṣḷïḍè">
                <a:extLst>
                  <a:ext uri="{FF2B5EF4-FFF2-40B4-BE49-F238E27FC236}">
                    <a16:creationId xmlns:a16="http://schemas.microsoft.com/office/drawing/2014/main" id="{0BC4505D-033A-4084-99D3-4FB128D32F44}"/>
                  </a:ext>
                </a:extLst>
              </p:cNvPr>
              <p:cNvSpPr/>
              <p:nvPr/>
            </p:nvSpPr>
            <p:spPr bwMode="auto">
              <a:xfrm>
                <a:off x="4708526" y="2266950"/>
                <a:ext cx="212725" cy="139700"/>
              </a:xfrm>
              <a:custGeom>
                <a:avLst/>
                <a:gdLst>
                  <a:gd name="T0" fmla="*/ 5 w 35"/>
                  <a:gd name="T1" fmla="*/ 23 h 23"/>
                  <a:gd name="T2" fmla="*/ 0 w 35"/>
                  <a:gd name="T3" fmla="*/ 20 h 23"/>
                  <a:gd name="T4" fmla="*/ 32 w 35"/>
                  <a:gd name="T5" fmla="*/ 0 h 23"/>
                  <a:gd name="T6" fmla="*/ 35 w 35"/>
                  <a:gd name="T7" fmla="*/ 5 h 23"/>
                  <a:gd name="T8" fmla="*/ 5 w 35"/>
                  <a:gd name="T9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3">
                    <a:moveTo>
                      <a:pt x="5" y="23"/>
                    </a:moveTo>
                    <a:cubicBezTo>
                      <a:pt x="6" y="21"/>
                      <a:pt x="0" y="20"/>
                      <a:pt x="0" y="2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5" y="5"/>
                      <a:pt x="35" y="5"/>
                      <a:pt x="35" y="5"/>
                    </a:cubicBezTo>
                    <a:lnTo>
                      <a:pt x="5" y="23"/>
                    </a:lnTo>
                    <a:close/>
                  </a:path>
                </a:pathLst>
              </a:custGeom>
              <a:solidFill>
                <a:srgbClr val="0E0E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" name="ïSḷíḑê">
                <a:extLst>
                  <a:ext uri="{FF2B5EF4-FFF2-40B4-BE49-F238E27FC236}">
                    <a16:creationId xmlns:a16="http://schemas.microsoft.com/office/drawing/2014/main" id="{C61B22C6-24C2-4399-809E-6AEBD68482BE}"/>
                  </a:ext>
                </a:extLst>
              </p:cNvPr>
              <p:cNvSpPr/>
              <p:nvPr/>
            </p:nvSpPr>
            <p:spPr bwMode="auto">
              <a:xfrm>
                <a:off x="4903788" y="2230438"/>
                <a:ext cx="90488" cy="68263"/>
              </a:xfrm>
              <a:custGeom>
                <a:avLst/>
                <a:gdLst>
                  <a:gd name="T0" fmla="*/ 0 w 15"/>
                  <a:gd name="T1" fmla="*/ 6 h 11"/>
                  <a:gd name="T2" fmla="*/ 6 w 15"/>
                  <a:gd name="T3" fmla="*/ 2 h 11"/>
                  <a:gd name="T4" fmla="*/ 15 w 15"/>
                  <a:gd name="T5" fmla="*/ 0 h 11"/>
                  <a:gd name="T6" fmla="*/ 10 w 15"/>
                  <a:gd name="T7" fmla="*/ 10 h 11"/>
                  <a:gd name="T8" fmla="*/ 3 w 15"/>
                  <a:gd name="T9" fmla="*/ 11 h 11"/>
                  <a:gd name="T10" fmla="*/ 0 w 15"/>
                  <a:gd name="T11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11">
                    <a:moveTo>
                      <a:pt x="0" y="6"/>
                    </a:moveTo>
                    <a:cubicBezTo>
                      <a:pt x="0" y="6"/>
                      <a:pt x="2" y="2"/>
                      <a:pt x="6" y="2"/>
                    </a:cubicBezTo>
                    <a:cubicBezTo>
                      <a:pt x="10" y="2"/>
                      <a:pt x="12" y="5"/>
                      <a:pt x="15" y="0"/>
                    </a:cubicBezTo>
                    <a:cubicBezTo>
                      <a:pt x="15" y="0"/>
                      <a:pt x="15" y="9"/>
                      <a:pt x="10" y="10"/>
                    </a:cubicBezTo>
                    <a:cubicBezTo>
                      <a:pt x="5" y="10"/>
                      <a:pt x="3" y="11"/>
                      <a:pt x="3" y="11"/>
                    </a:cubicBez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3535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" name="íŝľíḋê">
                <a:extLst>
                  <a:ext uri="{FF2B5EF4-FFF2-40B4-BE49-F238E27FC236}">
                    <a16:creationId xmlns:a16="http://schemas.microsoft.com/office/drawing/2014/main" id="{A1C4633B-C9B3-43BC-87F8-C4213D8D1286}"/>
                  </a:ext>
                </a:extLst>
              </p:cNvPr>
              <p:cNvSpPr/>
              <p:nvPr/>
            </p:nvSpPr>
            <p:spPr bwMode="auto">
              <a:xfrm>
                <a:off x="3362326" y="2673350"/>
                <a:ext cx="144463" cy="412750"/>
              </a:xfrm>
              <a:custGeom>
                <a:avLst/>
                <a:gdLst>
                  <a:gd name="T0" fmla="*/ 22 w 24"/>
                  <a:gd name="T1" fmla="*/ 0 h 68"/>
                  <a:gd name="T2" fmla="*/ 21 w 24"/>
                  <a:gd name="T3" fmla="*/ 0 h 68"/>
                  <a:gd name="T4" fmla="*/ 9 w 24"/>
                  <a:gd name="T5" fmla="*/ 29 h 68"/>
                  <a:gd name="T6" fmla="*/ 9 w 24"/>
                  <a:gd name="T7" fmla="*/ 44 h 68"/>
                  <a:gd name="T8" fmla="*/ 0 w 24"/>
                  <a:gd name="T9" fmla="*/ 67 h 68"/>
                  <a:gd name="T10" fmla="*/ 1 w 24"/>
                  <a:gd name="T11" fmla="*/ 68 h 68"/>
                  <a:gd name="T12" fmla="*/ 10 w 24"/>
                  <a:gd name="T13" fmla="*/ 33 h 68"/>
                  <a:gd name="T14" fmla="*/ 21 w 24"/>
                  <a:gd name="T15" fmla="*/ 12 h 68"/>
                  <a:gd name="T16" fmla="*/ 22 w 24"/>
                  <a:gd name="T17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68">
                    <a:moveTo>
                      <a:pt x="22" y="0"/>
                    </a:moveTo>
                    <a:cubicBezTo>
                      <a:pt x="22" y="0"/>
                      <a:pt x="21" y="0"/>
                      <a:pt x="21" y="0"/>
                    </a:cubicBezTo>
                    <a:cubicBezTo>
                      <a:pt x="23" y="12"/>
                      <a:pt x="11" y="18"/>
                      <a:pt x="9" y="29"/>
                    </a:cubicBezTo>
                    <a:cubicBezTo>
                      <a:pt x="8" y="34"/>
                      <a:pt x="9" y="39"/>
                      <a:pt x="9" y="44"/>
                    </a:cubicBezTo>
                    <a:cubicBezTo>
                      <a:pt x="9" y="52"/>
                      <a:pt x="6" y="60"/>
                      <a:pt x="0" y="67"/>
                    </a:cubicBezTo>
                    <a:cubicBezTo>
                      <a:pt x="0" y="68"/>
                      <a:pt x="0" y="68"/>
                      <a:pt x="1" y="68"/>
                    </a:cubicBezTo>
                    <a:cubicBezTo>
                      <a:pt x="10" y="57"/>
                      <a:pt x="9" y="47"/>
                      <a:pt x="10" y="33"/>
                    </a:cubicBezTo>
                    <a:cubicBezTo>
                      <a:pt x="10" y="24"/>
                      <a:pt x="16" y="20"/>
                      <a:pt x="21" y="12"/>
                    </a:cubicBezTo>
                    <a:cubicBezTo>
                      <a:pt x="23" y="8"/>
                      <a:pt x="24" y="5"/>
                      <a:pt x="22" y="0"/>
                    </a:cubicBezTo>
                    <a:close/>
                  </a:path>
                </a:pathLst>
              </a:custGeom>
              <a:solidFill>
                <a:srgbClr val="1111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" name="îślîḍé">
                <a:extLst>
                  <a:ext uri="{FF2B5EF4-FFF2-40B4-BE49-F238E27FC236}">
                    <a16:creationId xmlns:a16="http://schemas.microsoft.com/office/drawing/2014/main" id="{6967972A-DA9A-4DDB-B771-B2BEC8610FD8}"/>
                  </a:ext>
                </a:extLst>
              </p:cNvPr>
              <p:cNvSpPr/>
              <p:nvPr/>
            </p:nvSpPr>
            <p:spPr bwMode="auto">
              <a:xfrm>
                <a:off x="3652838" y="2449513"/>
                <a:ext cx="266700" cy="187325"/>
              </a:xfrm>
              <a:custGeom>
                <a:avLst/>
                <a:gdLst>
                  <a:gd name="T0" fmla="*/ 44 w 44"/>
                  <a:gd name="T1" fmla="*/ 10 h 31"/>
                  <a:gd name="T2" fmla="*/ 0 w 44"/>
                  <a:gd name="T3" fmla="*/ 30 h 31"/>
                  <a:gd name="T4" fmla="*/ 1 w 44"/>
                  <a:gd name="T5" fmla="*/ 30 h 31"/>
                  <a:gd name="T6" fmla="*/ 43 w 44"/>
                  <a:gd name="T7" fmla="*/ 12 h 31"/>
                  <a:gd name="T8" fmla="*/ 44 w 44"/>
                  <a:gd name="T9" fmla="*/ 1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31">
                    <a:moveTo>
                      <a:pt x="44" y="10"/>
                    </a:moveTo>
                    <a:cubicBezTo>
                      <a:pt x="27" y="0"/>
                      <a:pt x="4" y="11"/>
                      <a:pt x="0" y="30"/>
                    </a:cubicBezTo>
                    <a:cubicBezTo>
                      <a:pt x="0" y="31"/>
                      <a:pt x="1" y="31"/>
                      <a:pt x="1" y="30"/>
                    </a:cubicBezTo>
                    <a:cubicBezTo>
                      <a:pt x="9" y="11"/>
                      <a:pt x="24" y="6"/>
                      <a:pt x="43" y="12"/>
                    </a:cubicBezTo>
                    <a:cubicBezTo>
                      <a:pt x="44" y="12"/>
                      <a:pt x="44" y="10"/>
                      <a:pt x="44" y="10"/>
                    </a:cubicBezTo>
                    <a:close/>
                  </a:path>
                </a:pathLst>
              </a:custGeom>
              <a:solidFill>
                <a:srgbClr val="1111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" name="ïšľïdè">
                <a:extLst>
                  <a:ext uri="{FF2B5EF4-FFF2-40B4-BE49-F238E27FC236}">
                    <a16:creationId xmlns:a16="http://schemas.microsoft.com/office/drawing/2014/main" id="{ADA93276-04A8-4968-B9B4-287099F113D3}"/>
                  </a:ext>
                </a:extLst>
              </p:cNvPr>
              <p:cNvSpPr/>
              <p:nvPr/>
            </p:nvSpPr>
            <p:spPr bwMode="auto">
              <a:xfrm>
                <a:off x="8096251" y="2025650"/>
                <a:ext cx="612775" cy="1400175"/>
              </a:xfrm>
              <a:custGeom>
                <a:avLst/>
                <a:gdLst>
                  <a:gd name="T0" fmla="*/ 43 w 101"/>
                  <a:gd name="T1" fmla="*/ 192 h 231"/>
                  <a:gd name="T2" fmla="*/ 13 w 101"/>
                  <a:gd name="T3" fmla="*/ 116 h 231"/>
                  <a:gd name="T4" fmla="*/ 18 w 101"/>
                  <a:gd name="T5" fmla="*/ 15 h 231"/>
                  <a:gd name="T6" fmla="*/ 1 w 101"/>
                  <a:gd name="T7" fmla="*/ 13 h 231"/>
                  <a:gd name="T8" fmla="*/ 13 w 101"/>
                  <a:gd name="T9" fmla="*/ 5 h 231"/>
                  <a:gd name="T10" fmla="*/ 26 w 101"/>
                  <a:gd name="T11" fmla="*/ 2 h 231"/>
                  <a:gd name="T12" fmla="*/ 39 w 101"/>
                  <a:gd name="T13" fmla="*/ 117 h 231"/>
                  <a:gd name="T14" fmla="*/ 94 w 101"/>
                  <a:gd name="T15" fmla="*/ 192 h 231"/>
                  <a:gd name="T16" fmla="*/ 62 w 101"/>
                  <a:gd name="T17" fmla="*/ 231 h 231"/>
                  <a:gd name="T18" fmla="*/ 43 w 101"/>
                  <a:gd name="T19" fmla="*/ 192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1" h="231">
                    <a:moveTo>
                      <a:pt x="43" y="192"/>
                    </a:moveTo>
                    <a:cubicBezTo>
                      <a:pt x="43" y="192"/>
                      <a:pt x="12" y="126"/>
                      <a:pt x="13" y="116"/>
                    </a:cubicBezTo>
                    <a:cubicBezTo>
                      <a:pt x="14" y="107"/>
                      <a:pt x="18" y="15"/>
                      <a:pt x="18" y="15"/>
                    </a:cubicBezTo>
                    <a:cubicBezTo>
                      <a:pt x="18" y="15"/>
                      <a:pt x="0" y="16"/>
                      <a:pt x="1" y="13"/>
                    </a:cubicBezTo>
                    <a:cubicBezTo>
                      <a:pt x="1" y="9"/>
                      <a:pt x="13" y="5"/>
                      <a:pt x="13" y="5"/>
                    </a:cubicBezTo>
                    <a:cubicBezTo>
                      <a:pt x="13" y="5"/>
                      <a:pt x="20" y="0"/>
                      <a:pt x="26" y="2"/>
                    </a:cubicBezTo>
                    <a:cubicBezTo>
                      <a:pt x="33" y="4"/>
                      <a:pt x="39" y="117"/>
                      <a:pt x="39" y="117"/>
                    </a:cubicBezTo>
                    <a:cubicBezTo>
                      <a:pt x="39" y="117"/>
                      <a:pt x="101" y="173"/>
                      <a:pt x="94" y="192"/>
                    </a:cubicBezTo>
                    <a:cubicBezTo>
                      <a:pt x="87" y="210"/>
                      <a:pt x="62" y="231"/>
                      <a:pt x="62" y="231"/>
                    </a:cubicBezTo>
                    <a:lnTo>
                      <a:pt x="43" y="192"/>
                    </a:ln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" name="îşļïḋe">
                <a:extLst>
                  <a:ext uri="{FF2B5EF4-FFF2-40B4-BE49-F238E27FC236}">
                    <a16:creationId xmlns:a16="http://schemas.microsoft.com/office/drawing/2014/main" id="{7B54E4DE-4C8D-4ABB-8F5D-C41190719020}"/>
                  </a:ext>
                </a:extLst>
              </p:cNvPr>
              <p:cNvSpPr/>
              <p:nvPr/>
            </p:nvSpPr>
            <p:spPr bwMode="auto">
              <a:xfrm>
                <a:off x="8167688" y="2419350"/>
                <a:ext cx="541338" cy="1006475"/>
              </a:xfrm>
              <a:custGeom>
                <a:avLst/>
                <a:gdLst>
                  <a:gd name="T0" fmla="*/ 27 w 89"/>
                  <a:gd name="T1" fmla="*/ 52 h 166"/>
                  <a:gd name="T2" fmla="*/ 24 w 89"/>
                  <a:gd name="T3" fmla="*/ 0 h 166"/>
                  <a:gd name="T4" fmla="*/ 3 w 89"/>
                  <a:gd name="T5" fmla="*/ 6 h 166"/>
                  <a:gd name="T6" fmla="*/ 1 w 89"/>
                  <a:gd name="T7" fmla="*/ 51 h 166"/>
                  <a:gd name="T8" fmla="*/ 31 w 89"/>
                  <a:gd name="T9" fmla="*/ 127 h 166"/>
                  <a:gd name="T10" fmla="*/ 50 w 89"/>
                  <a:gd name="T11" fmla="*/ 166 h 166"/>
                  <a:gd name="T12" fmla="*/ 82 w 89"/>
                  <a:gd name="T13" fmla="*/ 127 h 166"/>
                  <a:gd name="T14" fmla="*/ 27 w 89"/>
                  <a:gd name="T15" fmla="*/ 52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9" h="166">
                    <a:moveTo>
                      <a:pt x="27" y="52"/>
                    </a:moveTo>
                    <a:cubicBezTo>
                      <a:pt x="27" y="52"/>
                      <a:pt x="26" y="27"/>
                      <a:pt x="24" y="0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27"/>
                      <a:pt x="2" y="47"/>
                      <a:pt x="1" y="51"/>
                    </a:cubicBezTo>
                    <a:cubicBezTo>
                      <a:pt x="0" y="61"/>
                      <a:pt x="31" y="127"/>
                      <a:pt x="31" y="127"/>
                    </a:cubicBezTo>
                    <a:cubicBezTo>
                      <a:pt x="50" y="166"/>
                      <a:pt x="50" y="166"/>
                      <a:pt x="50" y="166"/>
                    </a:cubicBezTo>
                    <a:cubicBezTo>
                      <a:pt x="50" y="166"/>
                      <a:pt x="75" y="145"/>
                      <a:pt x="82" y="127"/>
                    </a:cubicBezTo>
                    <a:cubicBezTo>
                      <a:pt x="89" y="108"/>
                      <a:pt x="27" y="52"/>
                      <a:pt x="27" y="52"/>
                    </a:cubicBezTo>
                    <a:close/>
                  </a:path>
                </a:pathLst>
              </a:custGeom>
              <a:solidFill>
                <a:srgbClr val="E349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" name="iṩ1íḍé">
                <a:extLst>
                  <a:ext uri="{FF2B5EF4-FFF2-40B4-BE49-F238E27FC236}">
                    <a16:creationId xmlns:a16="http://schemas.microsoft.com/office/drawing/2014/main" id="{D79DB5C6-7CFB-4A54-8485-BC2F49B5F0DA}"/>
                  </a:ext>
                </a:extLst>
              </p:cNvPr>
              <p:cNvSpPr/>
              <p:nvPr/>
            </p:nvSpPr>
            <p:spPr bwMode="auto">
              <a:xfrm>
                <a:off x="7427913" y="2152650"/>
                <a:ext cx="85725" cy="1309688"/>
              </a:xfrm>
              <a:prstGeom prst="rect">
                <a:avLst/>
              </a:prstGeom>
              <a:solidFill>
                <a:srgbClr val="DC60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" name="í$ļîḋè">
                <a:extLst>
                  <a:ext uri="{FF2B5EF4-FFF2-40B4-BE49-F238E27FC236}">
                    <a16:creationId xmlns:a16="http://schemas.microsoft.com/office/drawing/2014/main" id="{416C15A0-1DF0-4C1E-B90D-2722AF4EA52D}"/>
                  </a:ext>
                </a:extLst>
              </p:cNvPr>
              <p:cNvSpPr/>
              <p:nvPr/>
            </p:nvSpPr>
            <p:spPr bwMode="auto">
              <a:xfrm>
                <a:off x="7427913" y="2152650"/>
                <a:ext cx="85725" cy="13096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" name="îṣļîdè">
                <a:extLst>
                  <a:ext uri="{FF2B5EF4-FFF2-40B4-BE49-F238E27FC236}">
                    <a16:creationId xmlns:a16="http://schemas.microsoft.com/office/drawing/2014/main" id="{195A5FCA-52EC-48AB-8673-02194E80AB27}"/>
                  </a:ext>
                </a:extLst>
              </p:cNvPr>
              <p:cNvSpPr/>
              <p:nvPr/>
            </p:nvSpPr>
            <p:spPr bwMode="auto">
              <a:xfrm>
                <a:off x="7112001" y="2152650"/>
                <a:ext cx="315913" cy="1309688"/>
              </a:xfrm>
              <a:custGeom>
                <a:avLst/>
                <a:gdLst>
                  <a:gd name="T0" fmla="*/ 52 w 52"/>
                  <a:gd name="T1" fmla="*/ 0 h 216"/>
                  <a:gd name="T2" fmla="*/ 0 w 52"/>
                  <a:gd name="T3" fmla="*/ 0 h 216"/>
                  <a:gd name="T4" fmla="*/ 0 w 52"/>
                  <a:gd name="T5" fmla="*/ 24 h 216"/>
                  <a:gd name="T6" fmla="*/ 0 w 52"/>
                  <a:gd name="T7" fmla="*/ 26 h 216"/>
                  <a:gd name="T8" fmla="*/ 29 w 52"/>
                  <a:gd name="T9" fmla="*/ 136 h 216"/>
                  <a:gd name="T10" fmla="*/ 23 w 52"/>
                  <a:gd name="T11" fmla="*/ 144 h 216"/>
                  <a:gd name="T12" fmla="*/ 18 w 52"/>
                  <a:gd name="T13" fmla="*/ 139 h 216"/>
                  <a:gd name="T14" fmla="*/ 0 w 52"/>
                  <a:gd name="T15" fmla="*/ 66 h 216"/>
                  <a:gd name="T16" fmla="*/ 0 w 52"/>
                  <a:gd name="T17" fmla="*/ 216 h 216"/>
                  <a:gd name="T18" fmla="*/ 52 w 52"/>
                  <a:gd name="T19" fmla="*/ 216 h 216"/>
                  <a:gd name="T20" fmla="*/ 52 w 52"/>
                  <a:gd name="T21" fmla="*/ 0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2" h="216">
                    <a:moveTo>
                      <a:pt x="5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5"/>
                      <a:pt x="0" y="25"/>
                      <a:pt x="0" y="26"/>
                    </a:cubicBezTo>
                    <a:cubicBezTo>
                      <a:pt x="12" y="62"/>
                      <a:pt x="21" y="99"/>
                      <a:pt x="29" y="136"/>
                    </a:cubicBezTo>
                    <a:cubicBezTo>
                      <a:pt x="30" y="141"/>
                      <a:pt x="26" y="144"/>
                      <a:pt x="23" y="144"/>
                    </a:cubicBezTo>
                    <a:cubicBezTo>
                      <a:pt x="21" y="144"/>
                      <a:pt x="18" y="142"/>
                      <a:pt x="18" y="139"/>
                    </a:cubicBezTo>
                    <a:cubicBezTo>
                      <a:pt x="13" y="115"/>
                      <a:pt x="7" y="90"/>
                      <a:pt x="0" y="66"/>
                    </a:cubicBezTo>
                    <a:cubicBezTo>
                      <a:pt x="0" y="216"/>
                      <a:pt x="0" y="216"/>
                      <a:pt x="0" y="216"/>
                    </a:cubicBezTo>
                    <a:cubicBezTo>
                      <a:pt x="52" y="216"/>
                      <a:pt x="52" y="216"/>
                      <a:pt x="52" y="216"/>
                    </a:cubicBezTo>
                    <a:cubicBezTo>
                      <a:pt x="52" y="0"/>
                      <a:pt x="52" y="0"/>
                      <a:pt x="52" y="0"/>
                    </a:cubicBezTo>
                  </a:path>
                </a:pathLst>
              </a:custGeom>
              <a:solidFill>
                <a:srgbClr val="EAEA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" name="îṧlidé">
                <a:extLst>
                  <a:ext uri="{FF2B5EF4-FFF2-40B4-BE49-F238E27FC236}">
                    <a16:creationId xmlns:a16="http://schemas.microsoft.com/office/drawing/2014/main" id="{FB40DB08-8097-4D44-8C51-7110974B0316}"/>
                  </a:ext>
                </a:extLst>
              </p:cNvPr>
              <p:cNvSpPr/>
              <p:nvPr/>
            </p:nvSpPr>
            <p:spPr bwMode="auto">
              <a:xfrm>
                <a:off x="7112001" y="2298700"/>
                <a:ext cx="182563" cy="727075"/>
              </a:xfrm>
              <a:custGeom>
                <a:avLst/>
                <a:gdLst>
                  <a:gd name="T0" fmla="*/ 0 w 30"/>
                  <a:gd name="T1" fmla="*/ 0 h 120"/>
                  <a:gd name="T2" fmla="*/ 0 w 30"/>
                  <a:gd name="T3" fmla="*/ 42 h 120"/>
                  <a:gd name="T4" fmla="*/ 18 w 30"/>
                  <a:gd name="T5" fmla="*/ 115 h 120"/>
                  <a:gd name="T6" fmla="*/ 23 w 30"/>
                  <a:gd name="T7" fmla="*/ 120 h 120"/>
                  <a:gd name="T8" fmla="*/ 29 w 30"/>
                  <a:gd name="T9" fmla="*/ 112 h 120"/>
                  <a:gd name="T10" fmla="*/ 0 w 30"/>
                  <a:gd name="T11" fmla="*/ 2 h 120"/>
                  <a:gd name="T12" fmla="*/ 0 w 30"/>
                  <a:gd name="T13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120">
                    <a:moveTo>
                      <a:pt x="0" y="0"/>
                    </a:moveTo>
                    <a:cubicBezTo>
                      <a:pt x="0" y="42"/>
                      <a:pt x="0" y="42"/>
                      <a:pt x="0" y="42"/>
                    </a:cubicBezTo>
                    <a:cubicBezTo>
                      <a:pt x="7" y="66"/>
                      <a:pt x="13" y="91"/>
                      <a:pt x="18" y="115"/>
                    </a:cubicBezTo>
                    <a:cubicBezTo>
                      <a:pt x="18" y="118"/>
                      <a:pt x="21" y="120"/>
                      <a:pt x="23" y="120"/>
                    </a:cubicBezTo>
                    <a:cubicBezTo>
                      <a:pt x="26" y="120"/>
                      <a:pt x="30" y="117"/>
                      <a:pt x="29" y="112"/>
                    </a:cubicBezTo>
                    <a:cubicBezTo>
                      <a:pt x="21" y="75"/>
                      <a:pt x="12" y="38"/>
                      <a:pt x="0" y="2"/>
                    </a:cubicBezTo>
                    <a:cubicBezTo>
                      <a:pt x="0" y="1"/>
                      <a:pt x="0" y="1"/>
                      <a:pt x="0" y="0"/>
                    </a:cubicBezTo>
                  </a:path>
                </a:pathLst>
              </a:custGeom>
              <a:solidFill>
                <a:srgbClr val="DC60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" name="ïšḻiḓé">
                <a:extLst>
                  <a:ext uri="{FF2B5EF4-FFF2-40B4-BE49-F238E27FC236}">
                    <a16:creationId xmlns:a16="http://schemas.microsoft.com/office/drawing/2014/main" id="{71FCFCDF-9797-4C8C-89CB-38283B20C20B}"/>
                  </a:ext>
                </a:extLst>
              </p:cNvPr>
              <p:cNvSpPr/>
              <p:nvPr/>
            </p:nvSpPr>
            <p:spPr bwMode="auto">
              <a:xfrm>
                <a:off x="7161213" y="2116138"/>
                <a:ext cx="1042988" cy="1309688"/>
              </a:xfrm>
              <a:prstGeom prst="rect">
                <a:avLst/>
              </a:prstGeom>
              <a:solidFill>
                <a:srgbClr val="3E03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" name="íṡľíḋê">
                <a:extLst>
                  <a:ext uri="{FF2B5EF4-FFF2-40B4-BE49-F238E27FC236}">
                    <a16:creationId xmlns:a16="http://schemas.microsoft.com/office/drawing/2014/main" id="{E655D365-4288-465F-81F2-E78819E9606E}"/>
                  </a:ext>
                </a:extLst>
              </p:cNvPr>
              <p:cNvSpPr/>
              <p:nvPr/>
            </p:nvSpPr>
            <p:spPr bwMode="auto">
              <a:xfrm>
                <a:off x="7337426" y="2432050"/>
                <a:ext cx="692150" cy="4762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" name="ïṡḻïḋe">
                <a:extLst>
                  <a:ext uri="{FF2B5EF4-FFF2-40B4-BE49-F238E27FC236}">
                    <a16:creationId xmlns:a16="http://schemas.microsoft.com/office/drawing/2014/main" id="{56522B9B-F85D-4837-852B-AAC5DCDBAFD7}"/>
                  </a:ext>
                </a:extLst>
              </p:cNvPr>
              <p:cNvSpPr/>
              <p:nvPr/>
            </p:nvSpPr>
            <p:spPr bwMode="auto">
              <a:xfrm>
                <a:off x="7573963" y="2432050"/>
                <a:ext cx="455613" cy="47625"/>
              </a:xfrm>
              <a:prstGeom prst="rect">
                <a:avLst/>
              </a:prstGeom>
              <a:solidFill>
                <a:srgbClr val="00BE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" name="isļïḋè">
                <a:extLst>
                  <a:ext uri="{FF2B5EF4-FFF2-40B4-BE49-F238E27FC236}">
                    <a16:creationId xmlns:a16="http://schemas.microsoft.com/office/drawing/2014/main" id="{A432C447-06AA-4848-AEE4-7D1655467E73}"/>
                  </a:ext>
                </a:extLst>
              </p:cNvPr>
              <p:cNvSpPr/>
              <p:nvPr/>
            </p:nvSpPr>
            <p:spPr bwMode="auto">
              <a:xfrm>
                <a:off x="7337426" y="2770188"/>
                <a:ext cx="692150" cy="4921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3" name="ïSḻíḋé">
                <a:extLst>
                  <a:ext uri="{FF2B5EF4-FFF2-40B4-BE49-F238E27FC236}">
                    <a16:creationId xmlns:a16="http://schemas.microsoft.com/office/drawing/2014/main" id="{0DB0F16C-19AB-4D97-8BC7-CAA7FC7ABBA5}"/>
                  </a:ext>
                </a:extLst>
              </p:cNvPr>
              <p:cNvSpPr/>
              <p:nvPr/>
            </p:nvSpPr>
            <p:spPr bwMode="auto">
              <a:xfrm>
                <a:off x="7470776" y="2770188"/>
                <a:ext cx="558800" cy="49213"/>
              </a:xfrm>
              <a:prstGeom prst="rect">
                <a:avLst/>
              </a:prstGeom>
              <a:solidFill>
                <a:srgbClr val="00BE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4" name="ï$lîḍé">
                <a:extLst>
                  <a:ext uri="{FF2B5EF4-FFF2-40B4-BE49-F238E27FC236}">
                    <a16:creationId xmlns:a16="http://schemas.microsoft.com/office/drawing/2014/main" id="{CA1CF3B2-E5EE-488D-B2D1-C419BDA6D6D9}"/>
                  </a:ext>
                </a:extLst>
              </p:cNvPr>
              <p:cNvSpPr/>
              <p:nvPr/>
            </p:nvSpPr>
            <p:spPr bwMode="auto">
              <a:xfrm>
                <a:off x="7337426" y="2262188"/>
                <a:ext cx="692150" cy="4762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5" name="îsľïḋê">
                <a:extLst>
                  <a:ext uri="{FF2B5EF4-FFF2-40B4-BE49-F238E27FC236}">
                    <a16:creationId xmlns:a16="http://schemas.microsoft.com/office/drawing/2014/main" id="{43E696F9-EB40-4F86-8B44-6E0B6497237E}"/>
                  </a:ext>
                </a:extLst>
              </p:cNvPr>
              <p:cNvSpPr/>
              <p:nvPr/>
            </p:nvSpPr>
            <p:spPr bwMode="auto">
              <a:xfrm>
                <a:off x="7810501" y="2262188"/>
                <a:ext cx="219075" cy="47625"/>
              </a:xfrm>
              <a:prstGeom prst="rect">
                <a:avLst/>
              </a:prstGeom>
              <a:solidFill>
                <a:srgbClr val="00BE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6" name="iṡľïďé">
                <a:extLst>
                  <a:ext uri="{FF2B5EF4-FFF2-40B4-BE49-F238E27FC236}">
                    <a16:creationId xmlns:a16="http://schemas.microsoft.com/office/drawing/2014/main" id="{A91F620A-DD31-475D-A4A6-D4C034216B25}"/>
                  </a:ext>
                </a:extLst>
              </p:cNvPr>
              <p:cNvSpPr/>
              <p:nvPr/>
            </p:nvSpPr>
            <p:spPr bwMode="auto">
              <a:xfrm>
                <a:off x="7337426" y="2601913"/>
                <a:ext cx="692150" cy="4762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7" name="íšľïďe">
                <a:extLst>
                  <a:ext uri="{FF2B5EF4-FFF2-40B4-BE49-F238E27FC236}">
                    <a16:creationId xmlns:a16="http://schemas.microsoft.com/office/drawing/2014/main" id="{FDB53067-4591-4697-9ED6-FA66C4D74140}"/>
                  </a:ext>
                </a:extLst>
              </p:cNvPr>
              <p:cNvSpPr/>
              <p:nvPr/>
            </p:nvSpPr>
            <p:spPr bwMode="auto">
              <a:xfrm>
                <a:off x="7731126" y="2601913"/>
                <a:ext cx="298450" cy="47625"/>
              </a:xfrm>
              <a:prstGeom prst="rect">
                <a:avLst/>
              </a:prstGeom>
              <a:solidFill>
                <a:srgbClr val="00BE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8" name="ïşļîḍê">
                <a:extLst>
                  <a:ext uri="{FF2B5EF4-FFF2-40B4-BE49-F238E27FC236}">
                    <a16:creationId xmlns:a16="http://schemas.microsoft.com/office/drawing/2014/main" id="{169B501E-3467-4513-B24C-B89FD474389E}"/>
                  </a:ext>
                </a:extLst>
              </p:cNvPr>
              <p:cNvSpPr/>
              <p:nvPr/>
            </p:nvSpPr>
            <p:spPr bwMode="auto">
              <a:xfrm>
                <a:off x="7810501" y="2946400"/>
                <a:ext cx="66675" cy="6667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9" name="ï$lïḍe">
                <a:extLst>
                  <a:ext uri="{FF2B5EF4-FFF2-40B4-BE49-F238E27FC236}">
                    <a16:creationId xmlns:a16="http://schemas.microsoft.com/office/drawing/2014/main" id="{43B9471A-AF3D-4851-98C4-961C2C562B6A}"/>
                  </a:ext>
                </a:extLst>
              </p:cNvPr>
              <p:cNvSpPr/>
              <p:nvPr/>
            </p:nvSpPr>
            <p:spPr bwMode="auto">
              <a:xfrm>
                <a:off x="7920038" y="2946400"/>
                <a:ext cx="73025" cy="66675"/>
              </a:xfrm>
              <a:prstGeom prst="rect">
                <a:avLst/>
              </a:prstGeom>
              <a:solidFill>
                <a:srgbClr val="E349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0" name="í$ḻíḋe">
                <a:extLst>
                  <a:ext uri="{FF2B5EF4-FFF2-40B4-BE49-F238E27FC236}">
                    <a16:creationId xmlns:a16="http://schemas.microsoft.com/office/drawing/2014/main" id="{A841A12A-4314-4A8B-89B9-FA11BDA2DDF3}"/>
                  </a:ext>
                </a:extLst>
              </p:cNvPr>
              <p:cNvSpPr/>
              <p:nvPr/>
            </p:nvSpPr>
            <p:spPr bwMode="auto">
              <a:xfrm>
                <a:off x="8029576" y="2946400"/>
                <a:ext cx="71438" cy="66675"/>
              </a:xfrm>
              <a:prstGeom prst="rect">
                <a:avLst/>
              </a:prstGeom>
              <a:solidFill>
                <a:srgbClr val="E349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1" name="î$ḻïďê">
                <a:extLst>
                  <a:ext uri="{FF2B5EF4-FFF2-40B4-BE49-F238E27FC236}">
                    <a16:creationId xmlns:a16="http://schemas.microsoft.com/office/drawing/2014/main" id="{E60C5084-9E36-4C6D-881E-6EA86904ADC9}"/>
                  </a:ext>
                </a:extLst>
              </p:cNvPr>
              <p:cNvSpPr/>
              <p:nvPr/>
            </p:nvSpPr>
            <p:spPr bwMode="auto">
              <a:xfrm>
                <a:off x="7810501" y="3073400"/>
                <a:ext cx="66675" cy="7302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2" name="is1íḓè">
                <a:extLst>
                  <a:ext uri="{FF2B5EF4-FFF2-40B4-BE49-F238E27FC236}">
                    <a16:creationId xmlns:a16="http://schemas.microsoft.com/office/drawing/2014/main" id="{D417A212-2306-4F8D-BE3D-51371F968E77}"/>
                  </a:ext>
                </a:extLst>
              </p:cNvPr>
              <p:cNvSpPr/>
              <p:nvPr/>
            </p:nvSpPr>
            <p:spPr bwMode="auto">
              <a:xfrm>
                <a:off x="7920038" y="3073400"/>
                <a:ext cx="73025" cy="73025"/>
              </a:xfrm>
              <a:prstGeom prst="rect">
                <a:avLst/>
              </a:prstGeom>
              <a:solidFill>
                <a:srgbClr val="E349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3" name="işlíḑè">
                <a:extLst>
                  <a:ext uri="{FF2B5EF4-FFF2-40B4-BE49-F238E27FC236}">
                    <a16:creationId xmlns:a16="http://schemas.microsoft.com/office/drawing/2014/main" id="{78420DFD-8A42-46E1-85B1-758BCAD8B5B7}"/>
                  </a:ext>
                </a:extLst>
              </p:cNvPr>
              <p:cNvSpPr/>
              <p:nvPr/>
            </p:nvSpPr>
            <p:spPr bwMode="auto">
              <a:xfrm>
                <a:off x="8029576" y="3073400"/>
                <a:ext cx="71438" cy="73025"/>
              </a:xfrm>
              <a:prstGeom prst="rect">
                <a:avLst/>
              </a:prstGeom>
              <a:solidFill>
                <a:srgbClr val="E349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4" name="ïşḷîdê">
                <a:extLst>
                  <a:ext uri="{FF2B5EF4-FFF2-40B4-BE49-F238E27FC236}">
                    <a16:creationId xmlns:a16="http://schemas.microsoft.com/office/drawing/2014/main" id="{14CBFFF9-2BA7-47DB-99BC-CAC31C4838E8}"/>
                  </a:ext>
                </a:extLst>
              </p:cNvPr>
              <p:cNvSpPr/>
              <p:nvPr/>
            </p:nvSpPr>
            <p:spPr bwMode="auto">
              <a:xfrm>
                <a:off x="7810501" y="3208338"/>
                <a:ext cx="66675" cy="7143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5" name="î$ḻíḋé">
                <a:extLst>
                  <a:ext uri="{FF2B5EF4-FFF2-40B4-BE49-F238E27FC236}">
                    <a16:creationId xmlns:a16="http://schemas.microsoft.com/office/drawing/2014/main" id="{046FB72C-CE35-4577-BB4B-A22AED4C64C9}"/>
                  </a:ext>
                </a:extLst>
              </p:cNvPr>
              <p:cNvSpPr/>
              <p:nvPr/>
            </p:nvSpPr>
            <p:spPr bwMode="auto">
              <a:xfrm>
                <a:off x="7920038" y="3208338"/>
                <a:ext cx="73025" cy="7143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6" name="îsḷíḋé">
                <a:extLst>
                  <a:ext uri="{FF2B5EF4-FFF2-40B4-BE49-F238E27FC236}">
                    <a16:creationId xmlns:a16="http://schemas.microsoft.com/office/drawing/2014/main" id="{02F747F4-2C85-4A0B-9839-FC91FB7779F7}"/>
                  </a:ext>
                </a:extLst>
              </p:cNvPr>
              <p:cNvSpPr/>
              <p:nvPr/>
            </p:nvSpPr>
            <p:spPr bwMode="auto">
              <a:xfrm>
                <a:off x="8029576" y="3208338"/>
                <a:ext cx="71438" cy="7143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7" name="is1îḑe">
                <a:extLst>
                  <a:ext uri="{FF2B5EF4-FFF2-40B4-BE49-F238E27FC236}">
                    <a16:creationId xmlns:a16="http://schemas.microsoft.com/office/drawing/2014/main" id="{98F7B27C-1A75-4498-989B-7247F484AFE1}"/>
                  </a:ext>
                </a:extLst>
              </p:cNvPr>
              <p:cNvSpPr/>
              <p:nvPr/>
            </p:nvSpPr>
            <p:spPr bwMode="auto">
              <a:xfrm>
                <a:off x="7264401" y="2959100"/>
                <a:ext cx="309563" cy="174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8" name="îṥľïďè">
                <a:extLst>
                  <a:ext uri="{FF2B5EF4-FFF2-40B4-BE49-F238E27FC236}">
                    <a16:creationId xmlns:a16="http://schemas.microsoft.com/office/drawing/2014/main" id="{F016A4CE-8175-43FA-8A85-1268B6A6D1E3}"/>
                  </a:ext>
                </a:extLst>
              </p:cNvPr>
              <p:cNvSpPr/>
              <p:nvPr/>
            </p:nvSpPr>
            <p:spPr bwMode="auto">
              <a:xfrm>
                <a:off x="7264401" y="3013075"/>
                <a:ext cx="309563" cy="254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9" name="ï$ļíḋe">
                <a:extLst>
                  <a:ext uri="{FF2B5EF4-FFF2-40B4-BE49-F238E27FC236}">
                    <a16:creationId xmlns:a16="http://schemas.microsoft.com/office/drawing/2014/main" id="{727F9ED2-C0CD-4722-8BD5-D6023917E250}"/>
                  </a:ext>
                </a:extLst>
              </p:cNvPr>
              <p:cNvSpPr/>
              <p:nvPr/>
            </p:nvSpPr>
            <p:spPr bwMode="auto">
              <a:xfrm>
                <a:off x="7264401" y="3073400"/>
                <a:ext cx="309563" cy="190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0" name="íS1ïdé">
                <a:extLst>
                  <a:ext uri="{FF2B5EF4-FFF2-40B4-BE49-F238E27FC236}">
                    <a16:creationId xmlns:a16="http://schemas.microsoft.com/office/drawing/2014/main" id="{C372E660-B6BC-440C-BBF1-511743DD6141}"/>
                  </a:ext>
                </a:extLst>
              </p:cNvPr>
              <p:cNvSpPr/>
              <p:nvPr/>
            </p:nvSpPr>
            <p:spPr bwMode="auto">
              <a:xfrm>
                <a:off x="7264401" y="3128963"/>
                <a:ext cx="193675" cy="174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1" name="ïŝḻíḑé">
                <a:extLst>
                  <a:ext uri="{FF2B5EF4-FFF2-40B4-BE49-F238E27FC236}">
                    <a16:creationId xmlns:a16="http://schemas.microsoft.com/office/drawing/2014/main" id="{FC3108F8-EF67-4270-B46D-86D9DC15F224}"/>
                  </a:ext>
                </a:extLst>
              </p:cNvPr>
              <p:cNvSpPr/>
              <p:nvPr/>
            </p:nvSpPr>
            <p:spPr bwMode="auto">
              <a:xfrm>
                <a:off x="8513763" y="5499100"/>
                <a:ext cx="273050" cy="165100"/>
              </a:xfrm>
              <a:custGeom>
                <a:avLst/>
                <a:gdLst>
                  <a:gd name="T0" fmla="*/ 42 w 45"/>
                  <a:gd name="T1" fmla="*/ 0 h 27"/>
                  <a:gd name="T2" fmla="*/ 43 w 45"/>
                  <a:gd name="T3" fmla="*/ 7 h 27"/>
                  <a:gd name="T4" fmla="*/ 45 w 45"/>
                  <a:gd name="T5" fmla="*/ 17 h 27"/>
                  <a:gd name="T6" fmla="*/ 4 w 45"/>
                  <a:gd name="T7" fmla="*/ 27 h 27"/>
                  <a:gd name="T8" fmla="*/ 1 w 45"/>
                  <a:gd name="T9" fmla="*/ 23 h 27"/>
                  <a:gd name="T10" fmla="*/ 9 w 45"/>
                  <a:gd name="T11" fmla="*/ 15 h 27"/>
                  <a:gd name="T12" fmla="*/ 25 w 45"/>
                  <a:gd name="T13" fmla="*/ 4 h 27"/>
                  <a:gd name="T14" fmla="*/ 42 w 45"/>
                  <a:gd name="T1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" h="27">
                    <a:moveTo>
                      <a:pt x="42" y="0"/>
                    </a:moveTo>
                    <a:cubicBezTo>
                      <a:pt x="43" y="7"/>
                      <a:pt x="43" y="7"/>
                      <a:pt x="43" y="7"/>
                    </a:cubicBezTo>
                    <a:cubicBezTo>
                      <a:pt x="45" y="17"/>
                      <a:pt x="45" y="17"/>
                      <a:pt x="45" y="17"/>
                    </a:cubicBezTo>
                    <a:cubicBezTo>
                      <a:pt x="4" y="27"/>
                      <a:pt x="4" y="27"/>
                      <a:pt x="4" y="27"/>
                    </a:cubicBezTo>
                    <a:cubicBezTo>
                      <a:pt x="1" y="27"/>
                      <a:pt x="0" y="25"/>
                      <a:pt x="1" y="23"/>
                    </a:cubicBezTo>
                    <a:cubicBezTo>
                      <a:pt x="3" y="20"/>
                      <a:pt x="6" y="17"/>
                      <a:pt x="9" y="15"/>
                    </a:cubicBezTo>
                    <a:cubicBezTo>
                      <a:pt x="16" y="9"/>
                      <a:pt x="25" y="4"/>
                      <a:pt x="25" y="4"/>
                    </a:cubicBezTo>
                    <a:lnTo>
                      <a:pt x="42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2" name="îŝḷíḋè">
                <a:extLst>
                  <a:ext uri="{FF2B5EF4-FFF2-40B4-BE49-F238E27FC236}">
                    <a16:creationId xmlns:a16="http://schemas.microsoft.com/office/drawing/2014/main" id="{7152CA3E-C89C-4CEF-82DB-B86F5A6FD3F8}"/>
                  </a:ext>
                </a:extLst>
              </p:cNvPr>
              <p:cNvSpPr/>
              <p:nvPr/>
            </p:nvSpPr>
            <p:spPr bwMode="auto">
              <a:xfrm>
                <a:off x="8053388" y="5499100"/>
                <a:ext cx="284163" cy="109538"/>
              </a:xfrm>
              <a:custGeom>
                <a:avLst/>
                <a:gdLst>
                  <a:gd name="T0" fmla="*/ 47 w 47"/>
                  <a:gd name="T1" fmla="*/ 0 h 18"/>
                  <a:gd name="T2" fmla="*/ 47 w 47"/>
                  <a:gd name="T3" fmla="*/ 7 h 18"/>
                  <a:gd name="T4" fmla="*/ 46 w 47"/>
                  <a:gd name="T5" fmla="*/ 17 h 18"/>
                  <a:gd name="T6" fmla="*/ 4 w 47"/>
                  <a:gd name="T7" fmla="*/ 18 h 18"/>
                  <a:gd name="T8" fmla="*/ 2 w 47"/>
                  <a:gd name="T9" fmla="*/ 13 h 18"/>
                  <a:gd name="T10" fmla="*/ 11 w 47"/>
                  <a:gd name="T11" fmla="*/ 7 h 18"/>
                  <a:gd name="T12" fmla="*/ 29 w 47"/>
                  <a:gd name="T13" fmla="*/ 0 h 18"/>
                  <a:gd name="T14" fmla="*/ 47 w 47"/>
                  <a:gd name="T1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7" h="18">
                    <a:moveTo>
                      <a:pt x="47" y="0"/>
                    </a:moveTo>
                    <a:cubicBezTo>
                      <a:pt x="47" y="7"/>
                      <a:pt x="47" y="7"/>
                      <a:pt x="47" y="7"/>
                    </a:cubicBezTo>
                    <a:cubicBezTo>
                      <a:pt x="46" y="17"/>
                      <a:pt x="46" y="17"/>
                      <a:pt x="46" y="17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1" y="18"/>
                      <a:pt x="0" y="15"/>
                      <a:pt x="2" y="13"/>
                    </a:cubicBezTo>
                    <a:cubicBezTo>
                      <a:pt x="4" y="11"/>
                      <a:pt x="8" y="9"/>
                      <a:pt x="11" y="7"/>
                    </a:cubicBezTo>
                    <a:cubicBezTo>
                      <a:pt x="20" y="3"/>
                      <a:pt x="29" y="0"/>
                      <a:pt x="29" y="0"/>
                    </a:cubicBezTo>
                    <a:lnTo>
                      <a:pt x="47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3" name="íśľîdé">
                <a:extLst>
                  <a:ext uri="{FF2B5EF4-FFF2-40B4-BE49-F238E27FC236}">
                    <a16:creationId xmlns:a16="http://schemas.microsoft.com/office/drawing/2014/main" id="{3CE0311A-C8B1-4447-B2EF-CB6EE103B08E}"/>
                  </a:ext>
                </a:extLst>
              </p:cNvPr>
              <p:cNvSpPr/>
              <p:nvPr/>
            </p:nvSpPr>
            <p:spPr bwMode="auto">
              <a:xfrm>
                <a:off x="8132763" y="3868738"/>
                <a:ext cx="679450" cy="1662113"/>
              </a:xfrm>
              <a:custGeom>
                <a:avLst/>
                <a:gdLst>
                  <a:gd name="T0" fmla="*/ 112 w 112"/>
                  <a:gd name="T1" fmla="*/ 14 h 274"/>
                  <a:gd name="T2" fmla="*/ 92 w 112"/>
                  <a:gd name="T3" fmla="*/ 137 h 274"/>
                  <a:gd name="T4" fmla="*/ 107 w 112"/>
                  <a:gd name="T5" fmla="*/ 271 h 274"/>
                  <a:gd name="T6" fmla="*/ 84 w 112"/>
                  <a:gd name="T7" fmla="*/ 274 h 274"/>
                  <a:gd name="T8" fmla="*/ 54 w 112"/>
                  <a:gd name="T9" fmla="*/ 165 h 274"/>
                  <a:gd name="T10" fmla="*/ 54 w 112"/>
                  <a:gd name="T11" fmla="*/ 83 h 274"/>
                  <a:gd name="T12" fmla="*/ 34 w 112"/>
                  <a:gd name="T13" fmla="*/ 149 h 274"/>
                  <a:gd name="T14" fmla="*/ 36 w 112"/>
                  <a:gd name="T15" fmla="*/ 269 h 274"/>
                  <a:gd name="T16" fmla="*/ 14 w 112"/>
                  <a:gd name="T17" fmla="*/ 269 h 274"/>
                  <a:gd name="T18" fmla="*/ 0 w 112"/>
                  <a:gd name="T19" fmla="*/ 138 h 274"/>
                  <a:gd name="T20" fmla="*/ 30 w 112"/>
                  <a:gd name="T21" fmla="*/ 0 h 274"/>
                  <a:gd name="T22" fmla="*/ 112 w 112"/>
                  <a:gd name="T23" fmla="*/ 14 h 2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2" h="274">
                    <a:moveTo>
                      <a:pt x="112" y="14"/>
                    </a:moveTo>
                    <a:cubicBezTo>
                      <a:pt x="112" y="14"/>
                      <a:pt x="107" y="79"/>
                      <a:pt x="92" y="137"/>
                    </a:cubicBezTo>
                    <a:cubicBezTo>
                      <a:pt x="107" y="271"/>
                      <a:pt x="107" y="271"/>
                      <a:pt x="107" y="271"/>
                    </a:cubicBezTo>
                    <a:cubicBezTo>
                      <a:pt x="84" y="274"/>
                      <a:pt x="84" y="274"/>
                      <a:pt x="84" y="274"/>
                    </a:cubicBezTo>
                    <a:cubicBezTo>
                      <a:pt x="84" y="274"/>
                      <a:pt x="61" y="185"/>
                      <a:pt x="54" y="165"/>
                    </a:cubicBezTo>
                    <a:cubicBezTo>
                      <a:pt x="46" y="141"/>
                      <a:pt x="54" y="83"/>
                      <a:pt x="54" y="83"/>
                    </a:cubicBezTo>
                    <a:cubicBezTo>
                      <a:pt x="54" y="83"/>
                      <a:pt x="34" y="128"/>
                      <a:pt x="34" y="149"/>
                    </a:cubicBezTo>
                    <a:cubicBezTo>
                      <a:pt x="34" y="170"/>
                      <a:pt x="36" y="269"/>
                      <a:pt x="36" y="269"/>
                    </a:cubicBezTo>
                    <a:cubicBezTo>
                      <a:pt x="36" y="269"/>
                      <a:pt x="21" y="273"/>
                      <a:pt x="14" y="269"/>
                    </a:cubicBezTo>
                    <a:cubicBezTo>
                      <a:pt x="6" y="265"/>
                      <a:pt x="0" y="138"/>
                      <a:pt x="0" y="138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0" y="0"/>
                      <a:pt x="69" y="10"/>
                      <a:pt x="112" y="14"/>
                    </a:cubicBezTo>
                    <a:close/>
                  </a:path>
                </a:pathLst>
              </a:custGeom>
              <a:solidFill>
                <a:srgbClr val="0E0E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4" name="îšlîḑe">
                <a:extLst>
                  <a:ext uri="{FF2B5EF4-FFF2-40B4-BE49-F238E27FC236}">
                    <a16:creationId xmlns:a16="http://schemas.microsoft.com/office/drawing/2014/main" id="{C1262DBB-90ED-4310-A254-40D900EFB482}"/>
                  </a:ext>
                </a:extLst>
              </p:cNvPr>
              <p:cNvSpPr/>
              <p:nvPr/>
            </p:nvSpPr>
            <p:spPr bwMode="auto">
              <a:xfrm>
                <a:off x="8253413" y="2952750"/>
                <a:ext cx="655638" cy="1098550"/>
              </a:xfrm>
              <a:custGeom>
                <a:avLst/>
                <a:gdLst>
                  <a:gd name="T0" fmla="*/ 102 w 108"/>
                  <a:gd name="T1" fmla="*/ 170 h 181"/>
                  <a:gd name="T2" fmla="*/ 102 w 108"/>
                  <a:gd name="T3" fmla="*/ 45 h 181"/>
                  <a:gd name="T4" fmla="*/ 63 w 108"/>
                  <a:gd name="T5" fmla="*/ 1 h 181"/>
                  <a:gd name="T6" fmla="*/ 37 w 108"/>
                  <a:gd name="T7" fmla="*/ 7 h 181"/>
                  <a:gd name="T8" fmla="*/ 17 w 108"/>
                  <a:gd name="T9" fmla="*/ 76 h 181"/>
                  <a:gd name="T10" fmla="*/ 0 w 108"/>
                  <a:gd name="T11" fmla="*/ 156 h 181"/>
                  <a:gd name="T12" fmla="*/ 102 w 108"/>
                  <a:gd name="T13" fmla="*/ 17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8" h="181">
                    <a:moveTo>
                      <a:pt x="102" y="170"/>
                    </a:moveTo>
                    <a:cubicBezTo>
                      <a:pt x="104" y="156"/>
                      <a:pt x="108" y="66"/>
                      <a:pt x="102" y="45"/>
                    </a:cubicBezTo>
                    <a:cubicBezTo>
                      <a:pt x="90" y="0"/>
                      <a:pt x="63" y="1"/>
                      <a:pt x="63" y="1"/>
                    </a:cubicBezTo>
                    <a:cubicBezTo>
                      <a:pt x="54" y="20"/>
                      <a:pt x="37" y="7"/>
                      <a:pt x="37" y="7"/>
                    </a:cubicBezTo>
                    <a:cubicBezTo>
                      <a:pt x="37" y="7"/>
                      <a:pt x="6" y="26"/>
                      <a:pt x="17" y="76"/>
                    </a:cubicBezTo>
                    <a:cubicBezTo>
                      <a:pt x="23" y="109"/>
                      <a:pt x="10" y="138"/>
                      <a:pt x="0" y="156"/>
                    </a:cubicBezTo>
                    <a:cubicBezTo>
                      <a:pt x="30" y="176"/>
                      <a:pt x="68" y="181"/>
                      <a:pt x="102" y="170"/>
                    </a:cubicBezTo>
                    <a:close/>
                  </a:path>
                </a:pathLst>
              </a:custGeom>
              <a:solidFill>
                <a:srgbClr val="FF67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5" name="i$ḻíde">
                <a:extLst>
                  <a:ext uri="{FF2B5EF4-FFF2-40B4-BE49-F238E27FC236}">
                    <a16:creationId xmlns:a16="http://schemas.microsoft.com/office/drawing/2014/main" id="{E80354B0-85A0-4F76-9367-7FA09EC77CAA}"/>
                  </a:ext>
                </a:extLst>
              </p:cNvPr>
              <p:cNvSpPr/>
              <p:nvPr/>
            </p:nvSpPr>
            <p:spPr bwMode="auto">
              <a:xfrm>
                <a:off x="8313738" y="2540000"/>
                <a:ext cx="382588" cy="431800"/>
              </a:xfrm>
              <a:custGeom>
                <a:avLst/>
                <a:gdLst>
                  <a:gd name="T0" fmla="*/ 15 w 63"/>
                  <a:gd name="T1" fmla="*/ 21 h 71"/>
                  <a:gd name="T2" fmla="*/ 25 w 63"/>
                  <a:gd name="T3" fmla="*/ 68 h 71"/>
                  <a:gd name="T4" fmla="*/ 61 w 63"/>
                  <a:gd name="T5" fmla="*/ 44 h 71"/>
                  <a:gd name="T6" fmla="*/ 43 w 63"/>
                  <a:gd name="T7" fmla="*/ 6 h 71"/>
                  <a:gd name="T8" fmla="*/ 15 w 63"/>
                  <a:gd name="T9" fmla="*/ 2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71">
                    <a:moveTo>
                      <a:pt x="15" y="21"/>
                    </a:moveTo>
                    <a:cubicBezTo>
                      <a:pt x="15" y="21"/>
                      <a:pt x="0" y="64"/>
                      <a:pt x="25" y="68"/>
                    </a:cubicBezTo>
                    <a:cubicBezTo>
                      <a:pt x="49" y="71"/>
                      <a:pt x="61" y="55"/>
                      <a:pt x="61" y="44"/>
                    </a:cubicBezTo>
                    <a:cubicBezTo>
                      <a:pt x="61" y="33"/>
                      <a:pt x="63" y="12"/>
                      <a:pt x="43" y="6"/>
                    </a:cubicBezTo>
                    <a:cubicBezTo>
                      <a:pt x="22" y="0"/>
                      <a:pt x="15" y="21"/>
                      <a:pt x="15" y="21"/>
                    </a:cubicBez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6" name="îs1íḓê">
                <a:extLst>
                  <a:ext uri="{FF2B5EF4-FFF2-40B4-BE49-F238E27FC236}">
                    <a16:creationId xmlns:a16="http://schemas.microsoft.com/office/drawing/2014/main" id="{624CB8BB-211B-4B1C-A730-5EF8885CAC60}"/>
                  </a:ext>
                </a:extLst>
              </p:cNvPr>
              <p:cNvSpPr/>
              <p:nvPr/>
            </p:nvSpPr>
            <p:spPr bwMode="auto">
              <a:xfrm>
                <a:off x="8636001" y="2813050"/>
                <a:ext cx="96838" cy="96838"/>
              </a:xfrm>
              <a:prstGeom prst="ellipse">
                <a:avLst/>
              </a:pr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7" name="í$ḻîḋe">
                <a:extLst>
                  <a:ext uri="{FF2B5EF4-FFF2-40B4-BE49-F238E27FC236}">
                    <a16:creationId xmlns:a16="http://schemas.microsoft.com/office/drawing/2014/main" id="{03DFBAA5-78F1-4258-B34A-23BD8285B15D}"/>
                  </a:ext>
                </a:extLst>
              </p:cNvPr>
              <p:cNvSpPr/>
              <p:nvPr/>
            </p:nvSpPr>
            <p:spPr bwMode="auto">
              <a:xfrm>
                <a:off x="8423276" y="2473325"/>
                <a:ext cx="461963" cy="388938"/>
              </a:xfrm>
              <a:custGeom>
                <a:avLst/>
                <a:gdLst>
                  <a:gd name="T0" fmla="*/ 49 w 76"/>
                  <a:gd name="T1" fmla="*/ 58 h 64"/>
                  <a:gd name="T2" fmla="*/ 38 w 76"/>
                  <a:gd name="T3" fmla="*/ 58 h 64"/>
                  <a:gd name="T4" fmla="*/ 12 w 76"/>
                  <a:gd name="T5" fmla="*/ 29 h 64"/>
                  <a:gd name="T6" fmla="*/ 0 w 76"/>
                  <a:gd name="T7" fmla="*/ 26 h 64"/>
                  <a:gd name="T8" fmla="*/ 43 w 76"/>
                  <a:gd name="T9" fmla="*/ 16 h 64"/>
                  <a:gd name="T10" fmla="*/ 51 w 76"/>
                  <a:gd name="T11" fmla="*/ 64 h 64"/>
                  <a:gd name="T12" fmla="*/ 49 w 76"/>
                  <a:gd name="T13" fmla="*/ 58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" h="64">
                    <a:moveTo>
                      <a:pt x="49" y="58"/>
                    </a:moveTo>
                    <a:cubicBezTo>
                      <a:pt x="49" y="58"/>
                      <a:pt x="43" y="55"/>
                      <a:pt x="38" y="58"/>
                    </a:cubicBezTo>
                    <a:cubicBezTo>
                      <a:pt x="38" y="58"/>
                      <a:pt x="9" y="45"/>
                      <a:pt x="12" y="29"/>
                    </a:cubicBezTo>
                    <a:cubicBezTo>
                      <a:pt x="12" y="29"/>
                      <a:pt x="6" y="25"/>
                      <a:pt x="0" y="26"/>
                    </a:cubicBezTo>
                    <a:cubicBezTo>
                      <a:pt x="0" y="26"/>
                      <a:pt x="10" y="0"/>
                      <a:pt x="43" y="16"/>
                    </a:cubicBezTo>
                    <a:cubicBezTo>
                      <a:pt x="76" y="32"/>
                      <a:pt x="51" y="64"/>
                      <a:pt x="51" y="64"/>
                    </a:cubicBezTo>
                    <a:cubicBezTo>
                      <a:pt x="51" y="64"/>
                      <a:pt x="52" y="61"/>
                      <a:pt x="49" y="58"/>
                    </a:cubicBezTo>
                    <a:close/>
                  </a:path>
                </a:pathLst>
              </a:custGeom>
              <a:solidFill>
                <a:srgbClr val="0E0E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8" name="îś1idê">
                <a:extLst>
                  <a:ext uri="{FF2B5EF4-FFF2-40B4-BE49-F238E27FC236}">
                    <a16:creationId xmlns:a16="http://schemas.microsoft.com/office/drawing/2014/main" id="{39D9AE07-A041-42BF-9BB6-B058DC3C70AA}"/>
                  </a:ext>
                </a:extLst>
              </p:cNvPr>
              <p:cNvSpPr/>
              <p:nvPr/>
            </p:nvSpPr>
            <p:spPr bwMode="auto">
              <a:xfrm>
                <a:off x="8472488" y="2855913"/>
                <a:ext cx="193675" cy="212725"/>
              </a:xfrm>
              <a:custGeom>
                <a:avLst/>
                <a:gdLst>
                  <a:gd name="T0" fmla="*/ 32 w 32"/>
                  <a:gd name="T1" fmla="*/ 0 h 35"/>
                  <a:gd name="T2" fmla="*/ 32 w 32"/>
                  <a:gd name="T3" fmla="*/ 6 h 35"/>
                  <a:gd name="T4" fmla="*/ 32 w 32"/>
                  <a:gd name="T5" fmla="*/ 9 h 35"/>
                  <a:gd name="T6" fmla="*/ 31 w 32"/>
                  <a:gd name="T7" fmla="*/ 18 h 35"/>
                  <a:gd name="T8" fmla="*/ 26 w 32"/>
                  <a:gd name="T9" fmla="*/ 31 h 35"/>
                  <a:gd name="T10" fmla="*/ 1 w 32"/>
                  <a:gd name="T11" fmla="*/ 31 h 35"/>
                  <a:gd name="T12" fmla="*/ 1 w 32"/>
                  <a:gd name="T13" fmla="*/ 23 h 35"/>
                  <a:gd name="T14" fmla="*/ 2 w 32"/>
                  <a:gd name="T15" fmla="*/ 16 h 35"/>
                  <a:gd name="T16" fmla="*/ 2 w 32"/>
                  <a:gd name="T17" fmla="*/ 16 h 35"/>
                  <a:gd name="T18" fmla="*/ 4 w 32"/>
                  <a:gd name="T19" fmla="*/ 1 h 35"/>
                  <a:gd name="T20" fmla="*/ 32 w 32"/>
                  <a:gd name="T21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2" h="35">
                    <a:moveTo>
                      <a:pt x="32" y="0"/>
                    </a:moveTo>
                    <a:cubicBezTo>
                      <a:pt x="32" y="6"/>
                      <a:pt x="32" y="6"/>
                      <a:pt x="32" y="6"/>
                    </a:cubicBezTo>
                    <a:cubicBezTo>
                      <a:pt x="32" y="6"/>
                      <a:pt x="32" y="7"/>
                      <a:pt x="32" y="9"/>
                    </a:cubicBezTo>
                    <a:cubicBezTo>
                      <a:pt x="32" y="11"/>
                      <a:pt x="31" y="15"/>
                      <a:pt x="31" y="18"/>
                    </a:cubicBezTo>
                    <a:cubicBezTo>
                      <a:pt x="30" y="24"/>
                      <a:pt x="28" y="29"/>
                      <a:pt x="26" y="31"/>
                    </a:cubicBezTo>
                    <a:cubicBezTo>
                      <a:pt x="21" y="35"/>
                      <a:pt x="3" y="33"/>
                      <a:pt x="1" y="31"/>
                    </a:cubicBezTo>
                    <a:cubicBezTo>
                      <a:pt x="0" y="31"/>
                      <a:pt x="0" y="27"/>
                      <a:pt x="1" y="23"/>
                    </a:cubicBezTo>
                    <a:cubicBezTo>
                      <a:pt x="1" y="21"/>
                      <a:pt x="1" y="19"/>
                      <a:pt x="2" y="16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3" y="9"/>
                      <a:pt x="4" y="1"/>
                      <a:pt x="4" y="1"/>
                    </a:cubicBez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9" name="ïŝḻíḋe">
                <a:extLst>
                  <a:ext uri="{FF2B5EF4-FFF2-40B4-BE49-F238E27FC236}">
                    <a16:creationId xmlns:a16="http://schemas.microsoft.com/office/drawing/2014/main" id="{BF2290CD-E40E-4808-B3ED-DA2FF3A481EC}"/>
                  </a:ext>
                </a:extLst>
              </p:cNvPr>
              <p:cNvSpPr/>
              <p:nvPr/>
            </p:nvSpPr>
            <p:spPr bwMode="auto">
              <a:xfrm>
                <a:off x="8477251" y="2909888"/>
                <a:ext cx="188913" cy="92075"/>
              </a:xfrm>
              <a:custGeom>
                <a:avLst/>
                <a:gdLst>
                  <a:gd name="T0" fmla="*/ 31 w 31"/>
                  <a:gd name="T1" fmla="*/ 0 h 15"/>
                  <a:gd name="T2" fmla="*/ 30 w 31"/>
                  <a:gd name="T3" fmla="*/ 9 h 15"/>
                  <a:gd name="T4" fmla="*/ 0 w 31"/>
                  <a:gd name="T5" fmla="*/ 14 h 15"/>
                  <a:gd name="T6" fmla="*/ 1 w 31"/>
                  <a:gd name="T7" fmla="*/ 7 h 15"/>
                  <a:gd name="T8" fmla="*/ 1 w 31"/>
                  <a:gd name="T9" fmla="*/ 7 h 15"/>
                  <a:gd name="T10" fmla="*/ 31 w 31"/>
                  <a:gd name="T11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1" h="15">
                    <a:moveTo>
                      <a:pt x="31" y="0"/>
                    </a:moveTo>
                    <a:cubicBezTo>
                      <a:pt x="31" y="2"/>
                      <a:pt x="30" y="6"/>
                      <a:pt x="30" y="9"/>
                    </a:cubicBezTo>
                    <a:cubicBezTo>
                      <a:pt x="22" y="11"/>
                      <a:pt x="8" y="15"/>
                      <a:pt x="0" y="14"/>
                    </a:cubicBezTo>
                    <a:cubicBezTo>
                      <a:pt x="0" y="12"/>
                      <a:pt x="0" y="10"/>
                      <a:pt x="1" y="7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2" y="7"/>
                      <a:pt x="27" y="6"/>
                      <a:pt x="31" y="0"/>
                    </a:cubicBezTo>
                    <a:close/>
                  </a:path>
                </a:pathLst>
              </a:cu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0" name="íṩ1ïḋè">
                <a:extLst>
                  <a:ext uri="{FF2B5EF4-FFF2-40B4-BE49-F238E27FC236}">
                    <a16:creationId xmlns:a16="http://schemas.microsoft.com/office/drawing/2014/main" id="{9FDCF6B1-DAA7-4F58-8EDF-66C1891CAA34}"/>
                  </a:ext>
                </a:extLst>
              </p:cNvPr>
              <p:cNvSpPr/>
              <p:nvPr/>
            </p:nvSpPr>
            <p:spPr bwMode="auto">
              <a:xfrm>
                <a:off x="8296276" y="2559050"/>
                <a:ext cx="485775" cy="254000"/>
              </a:xfrm>
              <a:custGeom>
                <a:avLst/>
                <a:gdLst>
                  <a:gd name="T0" fmla="*/ 77 w 80"/>
                  <a:gd name="T1" fmla="*/ 42 h 42"/>
                  <a:gd name="T2" fmla="*/ 80 w 80"/>
                  <a:gd name="T3" fmla="*/ 37 h 42"/>
                  <a:gd name="T4" fmla="*/ 3 w 80"/>
                  <a:gd name="T5" fmla="*/ 3 h 42"/>
                  <a:gd name="T6" fmla="*/ 77 w 80"/>
                  <a:gd name="T7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" h="42">
                    <a:moveTo>
                      <a:pt x="77" y="42"/>
                    </a:moveTo>
                    <a:cubicBezTo>
                      <a:pt x="77" y="42"/>
                      <a:pt x="80" y="40"/>
                      <a:pt x="80" y="37"/>
                    </a:cubicBezTo>
                    <a:cubicBezTo>
                      <a:pt x="80" y="37"/>
                      <a:pt x="7" y="0"/>
                      <a:pt x="3" y="3"/>
                    </a:cubicBezTo>
                    <a:cubicBezTo>
                      <a:pt x="0" y="5"/>
                      <a:pt x="77" y="42"/>
                      <a:pt x="77" y="42"/>
                    </a:cubicBezTo>
                    <a:close/>
                  </a:path>
                </a:pathLst>
              </a:custGeom>
              <a:solidFill>
                <a:srgbClr val="E349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1" name="ï$ļîďe">
                <a:extLst>
                  <a:ext uri="{FF2B5EF4-FFF2-40B4-BE49-F238E27FC236}">
                    <a16:creationId xmlns:a16="http://schemas.microsoft.com/office/drawing/2014/main" id="{79879541-7293-4E50-8091-E66A74A8CB49}"/>
                  </a:ext>
                </a:extLst>
              </p:cNvPr>
              <p:cNvSpPr/>
              <p:nvPr/>
            </p:nvSpPr>
            <p:spPr bwMode="auto">
              <a:xfrm>
                <a:off x="8435976" y="2498725"/>
                <a:ext cx="363538" cy="277813"/>
              </a:xfrm>
              <a:custGeom>
                <a:avLst/>
                <a:gdLst>
                  <a:gd name="T0" fmla="*/ 57 w 60"/>
                  <a:gd name="T1" fmla="*/ 46 h 46"/>
                  <a:gd name="T2" fmla="*/ 0 w 60"/>
                  <a:gd name="T3" fmla="*/ 19 h 46"/>
                  <a:gd name="T4" fmla="*/ 41 w 60"/>
                  <a:gd name="T5" fmla="*/ 12 h 46"/>
                  <a:gd name="T6" fmla="*/ 57 w 60"/>
                  <a:gd name="T7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46">
                    <a:moveTo>
                      <a:pt x="57" y="46"/>
                    </a:moveTo>
                    <a:cubicBezTo>
                      <a:pt x="51" y="44"/>
                      <a:pt x="20" y="28"/>
                      <a:pt x="0" y="19"/>
                    </a:cubicBezTo>
                    <a:cubicBezTo>
                      <a:pt x="4" y="13"/>
                      <a:pt x="16" y="0"/>
                      <a:pt x="41" y="12"/>
                    </a:cubicBezTo>
                    <a:cubicBezTo>
                      <a:pt x="60" y="21"/>
                      <a:pt x="60" y="36"/>
                      <a:pt x="57" y="46"/>
                    </a:cubicBezTo>
                    <a:close/>
                  </a:path>
                </a:pathLst>
              </a:custGeom>
              <a:solidFill>
                <a:srgbClr val="FF67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2" name="í$ļîḋê">
                <a:extLst>
                  <a:ext uri="{FF2B5EF4-FFF2-40B4-BE49-F238E27FC236}">
                    <a16:creationId xmlns:a16="http://schemas.microsoft.com/office/drawing/2014/main" id="{96420BDA-90CA-4DB2-8C2C-7A6B61096FEE}"/>
                  </a:ext>
                </a:extLst>
              </p:cNvPr>
              <p:cNvSpPr/>
              <p:nvPr/>
            </p:nvSpPr>
            <p:spPr bwMode="auto">
              <a:xfrm>
                <a:off x="7488238" y="2989263"/>
                <a:ext cx="1431925" cy="619125"/>
              </a:xfrm>
              <a:custGeom>
                <a:avLst/>
                <a:gdLst>
                  <a:gd name="T0" fmla="*/ 171 w 236"/>
                  <a:gd name="T1" fmla="*/ 66 h 102"/>
                  <a:gd name="T2" fmla="*/ 39 w 236"/>
                  <a:gd name="T3" fmla="*/ 72 h 102"/>
                  <a:gd name="T4" fmla="*/ 28 w 236"/>
                  <a:gd name="T5" fmla="*/ 60 h 102"/>
                  <a:gd name="T6" fmla="*/ 30 w 236"/>
                  <a:gd name="T7" fmla="*/ 72 h 102"/>
                  <a:gd name="T8" fmla="*/ 10 w 236"/>
                  <a:gd name="T9" fmla="*/ 81 h 102"/>
                  <a:gd name="T10" fmla="*/ 38 w 236"/>
                  <a:gd name="T11" fmla="*/ 83 h 102"/>
                  <a:gd name="T12" fmla="*/ 178 w 236"/>
                  <a:gd name="T13" fmla="*/ 95 h 102"/>
                  <a:gd name="T14" fmla="*/ 219 w 236"/>
                  <a:gd name="T15" fmla="*/ 22 h 102"/>
                  <a:gd name="T16" fmla="*/ 171 w 236"/>
                  <a:gd name="T17" fmla="*/ 66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6" h="102">
                    <a:moveTo>
                      <a:pt x="171" y="66"/>
                    </a:moveTo>
                    <a:cubicBezTo>
                      <a:pt x="171" y="66"/>
                      <a:pt x="68" y="73"/>
                      <a:pt x="39" y="72"/>
                    </a:cubicBezTo>
                    <a:cubicBezTo>
                      <a:pt x="39" y="72"/>
                      <a:pt x="28" y="56"/>
                      <a:pt x="28" y="60"/>
                    </a:cubicBezTo>
                    <a:cubicBezTo>
                      <a:pt x="27" y="65"/>
                      <a:pt x="30" y="72"/>
                      <a:pt x="30" y="72"/>
                    </a:cubicBezTo>
                    <a:cubicBezTo>
                      <a:pt x="30" y="72"/>
                      <a:pt x="0" y="68"/>
                      <a:pt x="10" y="81"/>
                    </a:cubicBezTo>
                    <a:cubicBezTo>
                      <a:pt x="21" y="94"/>
                      <a:pt x="38" y="83"/>
                      <a:pt x="38" y="83"/>
                    </a:cubicBezTo>
                    <a:cubicBezTo>
                      <a:pt x="38" y="83"/>
                      <a:pt x="158" y="102"/>
                      <a:pt x="178" y="95"/>
                    </a:cubicBezTo>
                    <a:cubicBezTo>
                      <a:pt x="197" y="88"/>
                      <a:pt x="236" y="44"/>
                      <a:pt x="219" y="22"/>
                    </a:cubicBezTo>
                    <a:cubicBezTo>
                      <a:pt x="202" y="0"/>
                      <a:pt x="181" y="28"/>
                      <a:pt x="171" y="66"/>
                    </a:cubicBez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3" name="îşļiďe">
                <a:extLst>
                  <a:ext uri="{FF2B5EF4-FFF2-40B4-BE49-F238E27FC236}">
                    <a16:creationId xmlns:a16="http://schemas.microsoft.com/office/drawing/2014/main" id="{80A25764-486C-4FA5-8A9F-3839F5E7B8F4}"/>
                  </a:ext>
                </a:extLst>
              </p:cNvPr>
              <p:cNvSpPr/>
              <p:nvPr/>
            </p:nvSpPr>
            <p:spPr bwMode="auto">
              <a:xfrm>
                <a:off x="8083551" y="2989263"/>
                <a:ext cx="836613" cy="600075"/>
              </a:xfrm>
              <a:custGeom>
                <a:avLst/>
                <a:gdLst>
                  <a:gd name="T0" fmla="*/ 121 w 138"/>
                  <a:gd name="T1" fmla="*/ 22 h 99"/>
                  <a:gd name="T2" fmla="*/ 73 w 138"/>
                  <a:gd name="T3" fmla="*/ 66 h 99"/>
                  <a:gd name="T4" fmla="*/ 0 w 138"/>
                  <a:gd name="T5" fmla="*/ 70 h 99"/>
                  <a:gd name="T6" fmla="*/ 1 w 138"/>
                  <a:gd name="T7" fmla="*/ 92 h 99"/>
                  <a:gd name="T8" fmla="*/ 80 w 138"/>
                  <a:gd name="T9" fmla="*/ 95 h 99"/>
                  <a:gd name="T10" fmla="*/ 121 w 138"/>
                  <a:gd name="T11" fmla="*/ 22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8" h="99">
                    <a:moveTo>
                      <a:pt x="121" y="22"/>
                    </a:moveTo>
                    <a:cubicBezTo>
                      <a:pt x="104" y="0"/>
                      <a:pt x="83" y="28"/>
                      <a:pt x="73" y="66"/>
                    </a:cubicBezTo>
                    <a:cubicBezTo>
                      <a:pt x="73" y="66"/>
                      <a:pt x="36" y="68"/>
                      <a:pt x="0" y="70"/>
                    </a:cubicBezTo>
                    <a:cubicBezTo>
                      <a:pt x="1" y="92"/>
                      <a:pt x="1" y="92"/>
                      <a:pt x="1" y="92"/>
                    </a:cubicBezTo>
                    <a:cubicBezTo>
                      <a:pt x="32" y="95"/>
                      <a:pt x="69" y="99"/>
                      <a:pt x="80" y="95"/>
                    </a:cubicBezTo>
                    <a:cubicBezTo>
                      <a:pt x="99" y="88"/>
                      <a:pt x="138" y="44"/>
                      <a:pt x="121" y="22"/>
                    </a:cubicBezTo>
                    <a:close/>
                  </a:path>
                </a:pathLst>
              </a:custGeom>
              <a:solidFill>
                <a:srgbClr val="E349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4" name="iSlïḑè">
                <a:extLst>
                  <a:ext uri="{FF2B5EF4-FFF2-40B4-BE49-F238E27FC236}">
                    <a16:creationId xmlns:a16="http://schemas.microsoft.com/office/drawing/2014/main" id="{B45C1D1B-B2D0-479E-99DF-B6278CACDDC5}"/>
                  </a:ext>
                </a:extLst>
              </p:cNvPr>
              <p:cNvSpPr/>
              <p:nvPr/>
            </p:nvSpPr>
            <p:spPr bwMode="auto">
              <a:xfrm>
                <a:off x="5473701" y="4518025"/>
                <a:ext cx="285750" cy="284163"/>
              </a:xfrm>
              <a:custGeom>
                <a:avLst/>
                <a:gdLst>
                  <a:gd name="T0" fmla="*/ 23 w 47"/>
                  <a:gd name="T1" fmla="*/ 47 h 47"/>
                  <a:gd name="T2" fmla="*/ 0 w 47"/>
                  <a:gd name="T3" fmla="*/ 24 h 47"/>
                  <a:gd name="T4" fmla="*/ 23 w 47"/>
                  <a:gd name="T5" fmla="*/ 0 h 47"/>
                  <a:gd name="T6" fmla="*/ 47 w 47"/>
                  <a:gd name="T7" fmla="*/ 24 h 47"/>
                  <a:gd name="T8" fmla="*/ 23 w 47"/>
                  <a:gd name="T9" fmla="*/ 47 h 47"/>
                  <a:gd name="T10" fmla="*/ 23 w 47"/>
                  <a:gd name="T11" fmla="*/ 12 h 47"/>
                  <a:gd name="T12" fmla="*/ 12 w 47"/>
                  <a:gd name="T13" fmla="*/ 24 h 47"/>
                  <a:gd name="T14" fmla="*/ 23 w 47"/>
                  <a:gd name="T15" fmla="*/ 35 h 47"/>
                  <a:gd name="T16" fmla="*/ 35 w 47"/>
                  <a:gd name="T17" fmla="*/ 24 h 47"/>
                  <a:gd name="T18" fmla="*/ 23 w 47"/>
                  <a:gd name="T19" fmla="*/ 12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7" h="47">
                    <a:moveTo>
                      <a:pt x="23" y="47"/>
                    </a:moveTo>
                    <a:cubicBezTo>
                      <a:pt x="11" y="47"/>
                      <a:pt x="0" y="36"/>
                      <a:pt x="0" y="24"/>
                    </a:cubicBezTo>
                    <a:cubicBezTo>
                      <a:pt x="0" y="11"/>
                      <a:pt x="11" y="0"/>
                      <a:pt x="23" y="0"/>
                    </a:cubicBezTo>
                    <a:cubicBezTo>
                      <a:pt x="36" y="0"/>
                      <a:pt x="47" y="11"/>
                      <a:pt x="47" y="24"/>
                    </a:cubicBezTo>
                    <a:cubicBezTo>
                      <a:pt x="47" y="36"/>
                      <a:pt x="36" y="47"/>
                      <a:pt x="23" y="47"/>
                    </a:cubicBezTo>
                    <a:close/>
                    <a:moveTo>
                      <a:pt x="23" y="12"/>
                    </a:moveTo>
                    <a:cubicBezTo>
                      <a:pt x="17" y="12"/>
                      <a:pt x="12" y="17"/>
                      <a:pt x="12" y="24"/>
                    </a:cubicBezTo>
                    <a:cubicBezTo>
                      <a:pt x="12" y="30"/>
                      <a:pt x="17" y="35"/>
                      <a:pt x="23" y="35"/>
                    </a:cubicBezTo>
                    <a:cubicBezTo>
                      <a:pt x="30" y="35"/>
                      <a:pt x="35" y="30"/>
                      <a:pt x="35" y="24"/>
                    </a:cubicBezTo>
                    <a:cubicBezTo>
                      <a:pt x="35" y="17"/>
                      <a:pt x="30" y="12"/>
                      <a:pt x="23" y="12"/>
                    </a:cubicBezTo>
                    <a:close/>
                  </a:path>
                </a:pathLst>
              </a:cu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5" name="i$ḷïḓe">
                <a:extLst>
                  <a:ext uri="{FF2B5EF4-FFF2-40B4-BE49-F238E27FC236}">
                    <a16:creationId xmlns:a16="http://schemas.microsoft.com/office/drawing/2014/main" id="{2133DEAD-6195-481A-971A-271C1577625A}"/>
                  </a:ext>
                </a:extLst>
              </p:cNvPr>
              <p:cNvSpPr/>
              <p:nvPr/>
            </p:nvSpPr>
            <p:spPr bwMode="auto">
              <a:xfrm>
                <a:off x="3125788" y="2219325"/>
                <a:ext cx="193675" cy="193675"/>
              </a:xfrm>
              <a:custGeom>
                <a:avLst/>
                <a:gdLst>
                  <a:gd name="T0" fmla="*/ 122 w 122"/>
                  <a:gd name="T1" fmla="*/ 122 h 122"/>
                  <a:gd name="T2" fmla="*/ 0 w 122"/>
                  <a:gd name="T3" fmla="*/ 122 h 122"/>
                  <a:gd name="T4" fmla="*/ 0 w 122"/>
                  <a:gd name="T5" fmla="*/ 0 h 122"/>
                  <a:gd name="T6" fmla="*/ 45 w 122"/>
                  <a:gd name="T7" fmla="*/ 0 h 122"/>
                  <a:gd name="T8" fmla="*/ 45 w 122"/>
                  <a:gd name="T9" fmla="*/ 76 h 122"/>
                  <a:gd name="T10" fmla="*/ 122 w 122"/>
                  <a:gd name="T11" fmla="*/ 76 h 122"/>
                  <a:gd name="T12" fmla="*/ 122 w 122"/>
                  <a:gd name="T1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2" h="122">
                    <a:moveTo>
                      <a:pt x="122" y="122"/>
                    </a:moveTo>
                    <a:lnTo>
                      <a:pt x="0" y="122"/>
                    </a:lnTo>
                    <a:lnTo>
                      <a:pt x="0" y="0"/>
                    </a:lnTo>
                    <a:lnTo>
                      <a:pt x="45" y="0"/>
                    </a:lnTo>
                    <a:lnTo>
                      <a:pt x="45" y="76"/>
                    </a:lnTo>
                    <a:lnTo>
                      <a:pt x="122" y="76"/>
                    </a:lnTo>
                    <a:lnTo>
                      <a:pt x="122" y="122"/>
                    </a:lnTo>
                    <a:close/>
                  </a:path>
                </a:pathLst>
              </a:custGeom>
              <a:solidFill>
                <a:srgbClr val="00BE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6" name="îṥḻîďe">
                <a:extLst>
                  <a:ext uri="{FF2B5EF4-FFF2-40B4-BE49-F238E27FC236}">
                    <a16:creationId xmlns:a16="http://schemas.microsoft.com/office/drawing/2014/main" id="{A7EE69C9-7975-4850-AA2A-78633E3FAF89}"/>
                  </a:ext>
                </a:extLst>
              </p:cNvPr>
              <p:cNvSpPr/>
              <p:nvPr/>
            </p:nvSpPr>
            <p:spPr bwMode="auto">
              <a:xfrm>
                <a:off x="8101013" y="1333500"/>
                <a:ext cx="231775" cy="363538"/>
              </a:xfrm>
              <a:custGeom>
                <a:avLst/>
                <a:gdLst>
                  <a:gd name="T0" fmla="*/ 16 w 38"/>
                  <a:gd name="T1" fmla="*/ 10 h 60"/>
                  <a:gd name="T2" fmla="*/ 19 w 38"/>
                  <a:gd name="T3" fmla="*/ 0 h 60"/>
                  <a:gd name="T4" fmla="*/ 22 w 38"/>
                  <a:gd name="T5" fmla="*/ 10 h 60"/>
                  <a:gd name="T6" fmla="*/ 38 w 38"/>
                  <a:gd name="T7" fmla="*/ 30 h 60"/>
                  <a:gd name="T8" fmla="*/ 22 w 38"/>
                  <a:gd name="T9" fmla="*/ 50 h 60"/>
                  <a:gd name="T10" fmla="*/ 19 w 38"/>
                  <a:gd name="T11" fmla="*/ 60 h 60"/>
                  <a:gd name="T12" fmla="*/ 16 w 38"/>
                  <a:gd name="T13" fmla="*/ 50 h 60"/>
                  <a:gd name="T14" fmla="*/ 0 w 38"/>
                  <a:gd name="T15" fmla="*/ 30 h 60"/>
                  <a:gd name="T16" fmla="*/ 16 w 38"/>
                  <a:gd name="T17" fmla="*/ 1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" h="60">
                    <a:moveTo>
                      <a:pt x="16" y="10"/>
                    </a:moveTo>
                    <a:cubicBezTo>
                      <a:pt x="19" y="0"/>
                      <a:pt x="19" y="0"/>
                      <a:pt x="19" y="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19"/>
                      <a:pt x="30" y="26"/>
                      <a:pt x="38" y="30"/>
                    </a:cubicBezTo>
                    <a:cubicBezTo>
                      <a:pt x="30" y="34"/>
                      <a:pt x="24" y="41"/>
                      <a:pt x="22" y="50"/>
                    </a:cubicBezTo>
                    <a:cubicBezTo>
                      <a:pt x="19" y="60"/>
                      <a:pt x="19" y="60"/>
                      <a:pt x="19" y="60"/>
                    </a:cubicBezTo>
                    <a:cubicBezTo>
                      <a:pt x="16" y="50"/>
                      <a:pt x="16" y="50"/>
                      <a:pt x="16" y="50"/>
                    </a:cubicBezTo>
                    <a:cubicBezTo>
                      <a:pt x="14" y="41"/>
                      <a:pt x="8" y="34"/>
                      <a:pt x="0" y="30"/>
                    </a:cubicBezTo>
                    <a:cubicBezTo>
                      <a:pt x="8" y="26"/>
                      <a:pt x="14" y="19"/>
                      <a:pt x="16" y="10"/>
                    </a:cubicBezTo>
                    <a:close/>
                  </a:path>
                </a:pathLst>
              </a:custGeom>
              <a:solidFill>
                <a:srgbClr val="EF65A5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" name="îSľïḓê">
                <a:extLst>
                  <a:ext uri="{FF2B5EF4-FFF2-40B4-BE49-F238E27FC236}">
                    <a16:creationId xmlns:a16="http://schemas.microsoft.com/office/drawing/2014/main" id="{2FCB4F7B-EACE-46A3-BEF1-D302DAD518AF}"/>
                  </a:ext>
                </a:extLst>
              </p:cNvPr>
              <p:cNvSpPr/>
              <p:nvPr/>
            </p:nvSpPr>
            <p:spPr bwMode="auto">
              <a:xfrm>
                <a:off x="7840663" y="1206500"/>
                <a:ext cx="157163" cy="254000"/>
              </a:xfrm>
              <a:custGeom>
                <a:avLst/>
                <a:gdLst>
                  <a:gd name="T0" fmla="*/ 15 w 26"/>
                  <a:gd name="T1" fmla="*/ 7 h 42"/>
                  <a:gd name="T2" fmla="*/ 13 w 26"/>
                  <a:gd name="T3" fmla="*/ 0 h 42"/>
                  <a:gd name="T4" fmla="*/ 11 w 26"/>
                  <a:gd name="T5" fmla="*/ 7 h 42"/>
                  <a:gd name="T6" fmla="*/ 0 w 26"/>
                  <a:gd name="T7" fmla="*/ 21 h 42"/>
                  <a:gd name="T8" fmla="*/ 11 w 26"/>
                  <a:gd name="T9" fmla="*/ 35 h 42"/>
                  <a:gd name="T10" fmla="*/ 13 w 26"/>
                  <a:gd name="T11" fmla="*/ 42 h 42"/>
                  <a:gd name="T12" fmla="*/ 15 w 26"/>
                  <a:gd name="T13" fmla="*/ 35 h 42"/>
                  <a:gd name="T14" fmla="*/ 26 w 26"/>
                  <a:gd name="T15" fmla="*/ 21 h 42"/>
                  <a:gd name="T16" fmla="*/ 15 w 26"/>
                  <a:gd name="T17" fmla="*/ 7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42">
                    <a:moveTo>
                      <a:pt x="15" y="7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9" y="13"/>
                      <a:pt x="5" y="18"/>
                      <a:pt x="0" y="21"/>
                    </a:cubicBezTo>
                    <a:cubicBezTo>
                      <a:pt x="5" y="24"/>
                      <a:pt x="9" y="29"/>
                      <a:pt x="11" y="35"/>
                    </a:cubicBezTo>
                    <a:cubicBezTo>
                      <a:pt x="13" y="42"/>
                      <a:pt x="13" y="42"/>
                      <a:pt x="13" y="42"/>
                    </a:cubicBezTo>
                    <a:cubicBezTo>
                      <a:pt x="15" y="35"/>
                      <a:pt x="15" y="35"/>
                      <a:pt x="15" y="35"/>
                    </a:cubicBezTo>
                    <a:cubicBezTo>
                      <a:pt x="17" y="29"/>
                      <a:pt x="21" y="24"/>
                      <a:pt x="26" y="21"/>
                    </a:cubicBezTo>
                    <a:cubicBezTo>
                      <a:pt x="21" y="18"/>
                      <a:pt x="17" y="13"/>
                      <a:pt x="15" y="7"/>
                    </a:cubicBezTo>
                    <a:close/>
                  </a:path>
                </a:pathLst>
              </a:custGeom>
              <a:solidFill>
                <a:srgbClr val="EF65A5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8" name="í$ľiḓè">
                <a:extLst>
                  <a:ext uri="{FF2B5EF4-FFF2-40B4-BE49-F238E27FC236}">
                    <a16:creationId xmlns:a16="http://schemas.microsoft.com/office/drawing/2014/main" id="{C8948BE5-276E-4C22-AAE2-87C95F98D7BC}"/>
                  </a:ext>
                </a:extLst>
              </p:cNvPr>
              <p:cNvSpPr/>
              <p:nvPr/>
            </p:nvSpPr>
            <p:spPr bwMode="auto">
              <a:xfrm>
                <a:off x="3143251" y="1370013"/>
                <a:ext cx="182563" cy="290513"/>
              </a:xfrm>
              <a:custGeom>
                <a:avLst/>
                <a:gdLst>
                  <a:gd name="T0" fmla="*/ 17 w 30"/>
                  <a:gd name="T1" fmla="*/ 40 h 48"/>
                  <a:gd name="T2" fmla="*/ 15 w 30"/>
                  <a:gd name="T3" fmla="*/ 48 h 48"/>
                  <a:gd name="T4" fmla="*/ 13 w 30"/>
                  <a:gd name="T5" fmla="*/ 40 h 48"/>
                  <a:gd name="T6" fmla="*/ 0 w 30"/>
                  <a:gd name="T7" fmla="*/ 24 h 48"/>
                  <a:gd name="T8" fmla="*/ 13 w 30"/>
                  <a:gd name="T9" fmla="*/ 8 h 48"/>
                  <a:gd name="T10" fmla="*/ 15 w 30"/>
                  <a:gd name="T11" fmla="*/ 0 h 48"/>
                  <a:gd name="T12" fmla="*/ 17 w 30"/>
                  <a:gd name="T13" fmla="*/ 8 h 48"/>
                  <a:gd name="T14" fmla="*/ 30 w 30"/>
                  <a:gd name="T15" fmla="*/ 24 h 48"/>
                  <a:gd name="T16" fmla="*/ 17 w 30"/>
                  <a:gd name="T17" fmla="*/ 4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0" h="48">
                    <a:moveTo>
                      <a:pt x="17" y="40"/>
                    </a:moveTo>
                    <a:cubicBezTo>
                      <a:pt x="15" y="48"/>
                      <a:pt x="15" y="48"/>
                      <a:pt x="15" y="48"/>
                    </a:cubicBezTo>
                    <a:cubicBezTo>
                      <a:pt x="13" y="40"/>
                      <a:pt x="13" y="40"/>
                      <a:pt x="13" y="40"/>
                    </a:cubicBezTo>
                    <a:cubicBezTo>
                      <a:pt x="11" y="33"/>
                      <a:pt x="6" y="27"/>
                      <a:pt x="0" y="24"/>
                    </a:cubicBezTo>
                    <a:cubicBezTo>
                      <a:pt x="6" y="21"/>
                      <a:pt x="11" y="15"/>
                      <a:pt x="13" y="8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19" y="15"/>
                      <a:pt x="23" y="21"/>
                      <a:pt x="30" y="24"/>
                    </a:cubicBezTo>
                    <a:cubicBezTo>
                      <a:pt x="23" y="27"/>
                      <a:pt x="19" y="33"/>
                      <a:pt x="17" y="40"/>
                    </a:cubicBezTo>
                    <a:close/>
                  </a:path>
                </a:pathLst>
              </a:custGeom>
              <a:solidFill>
                <a:srgbClr val="EF65A5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9" name="îṡļïḓè">
                <a:extLst>
                  <a:ext uri="{FF2B5EF4-FFF2-40B4-BE49-F238E27FC236}">
                    <a16:creationId xmlns:a16="http://schemas.microsoft.com/office/drawing/2014/main" id="{3F03EE9C-58A7-410D-803F-97E6F2B9E30C}"/>
                  </a:ext>
                </a:extLst>
              </p:cNvPr>
              <p:cNvSpPr/>
              <p:nvPr/>
            </p:nvSpPr>
            <p:spPr bwMode="auto">
              <a:xfrm>
                <a:off x="3379788" y="1655763"/>
                <a:ext cx="127000" cy="204788"/>
              </a:xfrm>
              <a:custGeom>
                <a:avLst/>
                <a:gdLst>
                  <a:gd name="T0" fmla="*/ 9 w 21"/>
                  <a:gd name="T1" fmla="*/ 28 h 34"/>
                  <a:gd name="T2" fmla="*/ 11 w 21"/>
                  <a:gd name="T3" fmla="*/ 34 h 34"/>
                  <a:gd name="T4" fmla="*/ 12 w 21"/>
                  <a:gd name="T5" fmla="*/ 28 h 34"/>
                  <a:gd name="T6" fmla="*/ 21 w 21"/>
                  <a:gd name="T7" fmla="*/ 17 h 34"/>
                  <a:gd name="T8" fmla="*/ 12 w 21"/>
                  <a:gd name="T9" fmla="*/ 6 h 34"/>
                  <a:gd name="T10" fmla="*/ 11 w 21"/>
                  <a:gd name="T11" fmla="*/ 0 h 34"/>
                  <a:gd name="T12" fmla="*/ 9 w 21"/>
                  <a:gd name="T13" fmla="*/ 6 h 34"/>
                  <a:gd name="T14" fmla="*/ 0 w 21"/>
                  <a:gd name="T15" fmla="*/ 17 h 34"/>
                  <a:gd name="T16" fmla="*/ 9 w 21"/>
                  <a:gd name="T17" fmla="*/ 2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" h="34">
                    <a:moveTo>
                      <a:pt x="9" y="28"/>
                    </a:moveTo>
                    <a:cubicBezTo>
                      <a:pt x="11" y="34"/>
                      <a:pt x="11" y="34"/>
                      <a:pt x="11" y="34"/>
                    </a:cubicBezTo>
                    <a:cubicBezTo>
                      <a:pt x="12" y="28"/>
                      <a:pt x="12" y="28"/>
                      <a:pt x="12" y="28"/>
                    </a:cubicBezTo>
                    <a:cubicBezTo>
                      <a:pt x="14" y="23"/>
                      <a:pt x="17" y="19"/>
                      <a:pt x="21" y="17"/>
                    </a:cubicBezTo>
                    <a:cubicBezTo>
                      <a:pt x="17" y="15"/>
                      <a:pt x="14" y="11"/>
                      <a:pt x="12" y="6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8" y="11"/>
                      <a:pt x="5" y="15"/>
                      <a:pt x="0" y="17"/>
                    </a:cubicBezTo>
                    <a:cubicBezTo>
                      <a:pt x="5" y="19"/>
                      <a:pt x="8" y="23"/>
                      <a:pt x="9" y="28"/>
                    </a:cubicBezTo>
                    <a:close/>
                  </a:path>
                </a:pathLst>
              </a:custGeom>
              <a:solidFill>
                <a:srgbClr val="EF65A5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0" name="íṩľíďé">
                <a:extLst>
                  <a:ext uri="{FF2B5EF4-FFF2-40B4-BE49-F238E27FC236}">
                    <a16:creationId xmlns:a16="http://schemas.microsoft.com/office/drawing/2014/main" id="{E194B293-B998-43F2-95CA-F53DF8E436D6}"/>
                  </a:ext>
                </a:extLst>
              </p:cNvPr>
              <p:cNvSpPr/>
              <p:nvPr/>
            </p:nvSpPr>
            <p:spPr bwMode="auto">
              <a:xfrm>
                <a:off x="5826126" y="5068888"/>
                <a:ext cx="1038225" cy="461963"/>
              </a:xfrm>
              <a:custGeom>
                <a:avLst/>
                <a:gdLst>
                  <a:gd name="T0" fmla="*/ 119 w 171"/>
                  <a:gd name="T1" fmla="*/ 0 h 76"/>
                  <a:gd name="T2" fmla="*/ 71 w 171"/>
                  <a:gd name="T3" fmla="*/ 18 h 76"/>
                  <a:gd name="T4" fmla="*/ 52 w 171"/>
                  <a:gd name="T5" fmla="*/ 16 h 76"/>
                  <a:gd name="T6" fmla="*/ 20 w 171"/>
                  <a:gd name="T7" fmla="*/ 23 h 76"/>
                  <a:gd name="T8" fmla="*/ 0 w 171"/>
                  <a:gd name="T9" fmla="*/ 46 h 76"/>
                  <a:gd name="T10" fmla="*/ 52 w 171"/>
                  <a:gd name="T11" fmla="*/ 76 h 76"/>
                  <a:gd name="T12" fmla="*/ 96 w 171"/>
                  <a:gd name="T13" fmla="*/ 63 h 76"/>
                  <a:gd name="T14" fmla="*/ 101 w 171"/>
                  <a:gd name="T15" fmla="*/ 57 h 76"/>
                  <a:gd name="T16" fmla="*/ 119 w 171"/>
                  <a:gd name="T17" fmla="*/ 59 h 76"/>
                  <a:gd name="T18" fmla="*/ 162 w 171"/>
                  <a:gd name="T19" fmla="*/ 46 h 76"/>
                  <a:gd name="T20" fmla="*/ 171 w 171"/>
                  <a:gd name="T21" fmla="*/ 30 h 76"/>
                  <a:gd name="T22" fmla="*/ 119 w 171"/>
                  <a:gd name="T23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1" h="76">
                    <a:moveTo>
                      <a:pt x="119" y="0"/>
                    </a:moveTo>
                    <a:cubicBezTo>
                      <a:pt x="97" y="0"/>
                      <a:pt x="79" y="7"/>
                      <a:pt x="71" y="18"/>
                    </a:cubicBezTo>
                    <a:cubicBezTo>
                      <a:pt x="65" y="17"/>
                      <a:pt x="59" y="16"/>
                      <a:pt x="52" y="16"/>
                    </a:cubicBezTo>
                    <a:cubicBezTo>
                      <a:pt x="40" y="16"/>
                      <a:pt x="29" y="19"/>
                      <a:pt x="20" y="23"/>
                    </a:cubicBezTo>
                    <a:cubicBezTo>
                      <a:pt x="8" y="28"/>
                      <a:pt x="0" y="37"/>
                      <a:pt x="0" y="46"/>
                    </a:cubicBezTo>
                    <a:cubicBezTo>
                      <a:pt x="0" y="62"/>
                      <a:pt x="24" y="76"/>
                      <a:pt x="52" y="76"/>
                    </a:cubicBezTo>
                    <a:cubicBezTo>
                      <a:pt x="70" y="76"/>
                      <a:pt x="86" y="71"/>
                      <a:pt x="96" y="63"/>
                    </a:cubicBezTo>
                    <a:cubicBezTo>
                      <a:pt x="98" y="61"/>
                      <a:pt x="99" y="59"/>
                      <a:pt x="101" y="57"/>
                    </a:cubicBezTo>
                    <a:cubicBezTo>
                      <a:pt x="106" y="59"/>
                      <a:pt x="113" y="59"/>
                      <a:pt x="119" y="59"/>
                    </a:cubicBezTo>
                    <a:cubicBezTo>
                      <a:pt x="137" y="59"/>
                      <a:pt x="153" y="54"/>
                      <a:pt x="162" y="46"/>
                    </a:cubicBezTo>
                    <a:cubicBezTo>
                      <a:pt x="168" y="41"/>
                      <a:pt x="171" y="36"/>
                      <a:pt x="171" y="30"/>
                    </a:cubicBezTo>
                    <a:cubicBezTo>
                      <a:pt x="171" y="13"/>
                      <a:pt x="148" y="0"/>
                      <a:pt x="119" y="0"/>
                    </a:cubicBezTo>
                    <a:close/>
                  </a:path>
                </a:pathLst>
              </a:cu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1" name="i$1îḑê">
                <a:extLst>
                  <a:ext uri="{FF2B5EF4-FFF2-40B4-BE49-F238E27FC236}">
                    <a16:creationId xmlns:a16="http://schemas.microsoft.com/office/drawing/2014/main" id="{4F2356A5-CE69-4851-B8CF-DB5A718DEF33}"/>
                  </a:ext>
                </a:extLst>
              </p:cNvPr>
              <p:cNvSpPr/>
              <p:nvPr/>
            </p:nvSpPr>
            <p:spPr bwMode="auto">
              <a:xfrm>
                <a:off x="5802313" y="5118100"/>
                <a:ext cx="630238" cy="357188"/>
              </a:xfrm>
              <a:custGeom>
                <a:avLst/>
                <a:gdLst>
                  <a:gd name="T0" fmla="*/ 104 w 104"/>
                  <a:gd name="T1" fmla="*/ 30 h 59"/>
                  <a:gd name="T2" fmla="*/ 95 w 104"/>
                  <a:gd name="T3" fmla="*/ 46 h 59"/>
                  <a:gd name="T4" fmla="*/ 52 w 104"/>
                  <a:gd name="T5" fmla="*/ 59 h 59"/>
                  <a:gd name="T6" fmla="*/ 0 w 104"/>
                  <a:gd name="T7" fmla="*/ 30 h 59"/>
                  <a:gd name="T8" fmla="*/ 20 w 104"/>
                  <a:gd name="T9" fmla="*/ 6 h 59"/>
                  <a:gd name="T10" fmla="*/ 52 w 104"/>
                  <a:gd name="T11" fmla="*/ 0 h 59"/>
                  <a:gd name="T12" fmla="*/ 104 w 104"/>
                  <a:gd name="T13" fmla="*/ 3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4" h="59">
                    <a:moveTo>
                      <a:pt x="104" y="30"/>
                    </a:moveTo>
                    <a:cubicBezTo>
                      <a:pt x="104" y="36"/>
                      <a:pt x="101" y="41"/>
                      <a:pt x="95" y="46"/>
                    </a:cubicBezTo>
                    <a:cubicBezTo>
                      <a:pt x="86" y="54"/>
                      <a:pt x="70" y="59"/>
                      <a:pt x="52" y="59"/>
                    </a:cubicBezTo>
                    <a:cubicBezTo>
                      <a:pt x="23" y="59"/>
                      <a:pt x="0" y="46"/>
                      <a:pt x="0" y="30"/>
                    </a:cubicBezTo>
                    <a:cubicBezTo>
                      <a:pt x="0" y="20"/>
                      <a:pt x="8" y="12"/>
                      <a:pt x="20" y="6"/>
                    </a:cubicBezTo>
                    <a:cubicBezTo>
                      <a:pt x="29" y="2"/>
                      <a:pt x="40" y="0"/>
                      <a:pt x="52" y="0"/>
                    </a:cubicBezTo>
                    <a:cubicBezTo>
                      <a:pt x="81" y="0"/>
                      <a:pt x="104" y="13"/>
                      <a:pt x="104" y="30"/>
                    </a:cubicBezTo>
                    <a:close/>
                  </a:path>
                </a:pathLst>
              </a:custGeom>
              <a:solidFill>
                <a:srgbClr val="3E03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2" name="ïslíḑè">
                <a:extLst>
                  <a:ext uri="{FF2B5EF4-FFF2-40B4-BE49-F238E27FC236}">
                    <a16:creationId xmlns:a16="http://schemas.microsoft.com/office/drawing/2014/main" id="{5E69358B-C219-4347-ABDB-CBE9529B71B0}"/>
                  </a:ext>
                </a:extLst>
              </p:cNvPr>
              <p:cNvSpPr/>
              <p:nvPr/>
            </p:nvSpPr>
            <p:spPr bwMode="auto">
              <a:xfrm>
                <a:off x="5922963" y="5118100"/>
                <a:ext cx="193675" cy="180975"/>
              </a:xfrm>
              <a:custGeom>
                <a:avLst/>
                <a:gdLst>
                  <a:gd name="T0" fmla="*/ 32 w 32"/>
                  <a:gd name="T1" fmla="*/ 0 h 30"/>
                  <a:gd name="T2" fmla="*/ 32 w 32"/>
                  <a:gd name="T3" fmla="*/ 30 h 30"/>
                  <a:gd name="T4" fmla="*/ 0 w 32"/>
                  <a:gd name="T5" fmla="*/ 6 h 30"/>
                  <a:gd name="T6" fmla="*/ 32 w 32"/>
                  <a:gd name="T7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2" h="30">
                    <a:moveTo>
                      <a:pt x="32" y="0"/>
                    </a:moveTo>
                    <a:cubicBezTo>
                      <a:pt x="32" y="30"/>
                      <a:pt x="32" y="30"/>
                      <a:pt x="32" y="3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9" y="2"/>
                      <a:pt x="20" y="0"/>
                      <a:pt x="3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3" name="ï$ľíḍè">
                <a:extLst>
                  <a:ext uri="{FF2B5EF4-FFF2-40B4-BE49-F238E27FC236}">
                    <a16:creationId xmlns:a16="http://schemas.microsoft.com/office/drawing/2014/main" id="{B5427270-9721-4892-86F2-C8F6B87799B2}"/>
                  </a:ext>
                </a:extLst>
              </p:cNvPr>
              <p:cNvSpPr/>
              <p:nvPr/>
            </p:nvSpPr>
            <p:spPr bwMode="auto">
              <a:xfrm>
                <a:off x="6208713" y="5014913"/>
                <a:ext cx="630238" cy="363538"/>
              </a:xfrm>
              <a:custGeom>
                <a:avLst/>
                <a:gdLst>
                  <a:gd name="T0" fmla="*/ 104 w 104"/>
                  <a:gd name="T1" fmla="*/ 30 h 60"/>
                  <a:gd name="T2" fmla="*/ 95 w 104"/>
                  <a:gd name="T3" fmla="*/ 47 h 60"/>
                  <a:gd name="T4" fmla="*/ 52 w 104"/>
                  <a:gd name="T5" fmla="*/ 60 h 60"/>
                  <a:gd name="T6" fmla="*/ 0 w 104"/>
                  <a:gd name="T7" fmla="*/ 30 h 60"/>
                  <a:gd name="T8" fmla="*/ 52 w 104"/>
                  <a:gd name="T9" fmla="*/ 0 h 60"/>
                  <a:gd name="T10" fmla="*/ 104 w 104"/>
                  <a:gd name="T11" fmla="*/ 3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4" h="60">
                    <a:moveTo>
                      <a:pt x="104" y="30"/>
                    </a:moveTo>
                    <a:cubicBezTo>
                      <a:pt x="104" y="36"/>
                      <a:pt x="101" y="42"/>
                      <a:pt x="95" y="47"/>
                    </a:cubicBezTo>
                    <a:cubicBezTo>
                      <a:pt x="86" y="55"/>
                      <a:pt x="70" y="60"/>
                      <a:pt x="52" y="60"/>
                    </a:cubicBezTo>
                    <a:cubicBezTo>
                      <a:pt x="23" y="60"/>
                      <a:pt x="0" y="47"/>
                      <a:pt x="0" y="30"/>
                    </a:cubicBezTo>
                    <a:cubicBezTo>
                      <a:pt x="0" y="14"/>
                      <a:pt x="23" y="0"/>
                      <a:pt x="52" y="0"/>
                    </a:cubicBezTo>
                    <a:cubicBezTo>
                      <a:pt x="81" y="0"/>
                      <a:pt x="104" y="14"/>
                      <a:pt x="104" y="30"/>
                    </a:cubicBezTo>
                    <a:close/>
                  </a:path>
                </a:pathLst>
              </a:custGeom>
              <a:solidFill>
                <a:srgbClr val="EF6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4" name="îšḻîḋê">
                <a:extLst>
                  <a:ext uri="{FF2B5EF4-FFF2-40B4-BE49-F238E27FC236}">
                    <a16:creationId xmlns:a16="http://schemas.microsoft.com/office/drawing/2014/main" id="{C50C4C05-C04F-459F-9BC8-8BF746BE59B5}"/>
                  </a:ext>
                </a:extLst>
              </p:cNvPr>
              <p:cNvSpPr/>
              <p:nvPr/>
            </p:nvSpPr>
            <p:spPr bwMode="auto">
              <a:xfrm>
                <a:off x="6523038" y="5014913"/>
                <a:ext cx="315913" cy="284163"/>
              </a:xfrm>
              <a:custGeom>
                <a:avLst/>
                <a:gdLst>
                  <a:gd name="T0" fmla="*/ 52 w 52"/>
                  <a:gd name="T1" fmla="*/ 30 h 47"/>
                  <a:gd name="T2" fmla="*/ 43 w 52"/>
                  <a:gd name="T3" fmla="*/ 47 h 47"/>
                  <a:gd name="T4" fmla="*/ 0 w 52"/>
                  <a:gd name="T5" fmla="*/ 30 h 47"/>
                  <a:gd name="T6" fmla="*/ 0 w 52"/>
                  <a:gd name="T7" fmla="*/ 0 h 47"/>
                  <a:gd name="T8" fmla="*/ 52 w 52"/>
                  <a:gd name="T9" fmla="*/ 3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47">
                    <a:moveTo>
                      <a:pt x="52" y="30"/>
                    </a:moveTo>
                    <a:cubicBezTo>
                      <a:pt x="52" y="36"/>
                      <a:pt x="49" y="42"/>
                      <a:pt x="43" y="47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9" y="0"/>
                      <a:pt x="52" y="14"/>
                      <a:pt x="52" y="3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5" name="í$ļïḑè">
                <a:extLst>
                  <a:ext uri="{FF2B5EF4-FFF2-40B4-BE49-F238E27FC236}">
                    <a16:creationId xmlns:a16="http://schemas.microsoft.com/office/drawing/2014/main" id="{74D27C8C-439D-408C-8DD2-DD221C26C639}"/>
                  </a:ext>
                </a:extLst>
              </p:cNvPr>
              <p:cNvSpPr/>
              <p:nvPr/>
            </p:nvSpPr>
            <p:spPr bwMode="auto">
              <a:xfrm>
                <a:off x="5267326" y="5530850"/>
                <a:ext cx="1401763" cy="2381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6" name="íšlïdé">
                <a:extLst>
                  <a:ext uri="{FF2B5EF4-FFF2-40B4-BE49-F238E27FC236}">
                    <a16:creationId xmlns:a16="http://schemas.microsoft.com/office/drawing/2014/main" id="{98BED16D-7305-44F0-9B25-C0500CDEF7EB}"/>
                  </a:ext>
                </a:extLst>
              </p:cNvPr>
              <p:cNvSpPr/>
              <p:nvPr/>
            </p:nvSpPr>
            <p:spPr bwMode="auto">
              <a:xfrm>
                <a:off x="5649913" y="5397500"/>
                <a:ext cx="1395413" cy="127000"/>
              </a:xfrm>
              <a:custGeom>
                <a:avLst/>
                <a:gdLst>
                  <a:gd name="T0" fmla="*/ 879 w 879"/>
                  <a:gd name="T1" fmla="*/ 61 h 80"/>
                  <a:gd name="T2" fmla="*/ 0 w 879"/>
                  <a:gd name="T3" fmla="*/ 0 h 80"/>
                  <a:gd name="T4" fmla="*/ 0 w 879"/>
                  <a:gd name="T5" fmla="*/ 19 h 80"/>
                  <a:gd name="T6" fmla="*/ 879 w 879"/>
                  <a:gd name="T7" fmla="*/ 80 h 80"/>
                  <a:gd name="T8" fmla="*/ 879 w 879"/>
                  <a:gd name="T9" fmla="*/ 61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9" h="80">
                    <a:moveTo>
                      <a:pt x="879" y="61"/>
                    </a:moveTo>
                    <a:lnTo>
                      <a:pt x="0" y="0"/>
                    </a:lnTo>
                    <a:lnTo>
                      <a:pt x="0" y="19"/>
                    </a:lnTo>
                    <a:lnTo>
                      <a:pt x="879" y="80"/>
                    </a:lnTo>
                    <a:lnTo>
                      <a:pt x="879" y="61"/>
                    </a:lnTo>
                    <a:close/>
                  </a:path>
                </a:pathLst>
              </a:cu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7/22</a:t>
            </a:fld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C878F438-D0B8-4EB9-A174-7DB6BCB6E75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9924" y="6170619"/>
            <a:ext cx="1343025" cy="552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7/22</a:t>
            </a:fld>
            <a:endParaRPr lang="zh-CN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:a16="http://schemas.microsoft.com/office/drawing/2014/main" id="{7F77F593-B05D-4868-83B8-7E1FCD626F38}"/>
              </a:ext>
            </a:extLst>
          </p:cNvPr>
          <p:cNvGrpSpPr/>
          <p:nvPr userDrawn="1"/>
        </p:nvGrpSpPr>
        <p:grpSpPr>
          <a:xfrm>
            <a:off x="-4763" y="0"/>
            <a:ext cx="12196763" cy="6865736"/>
            <a:chOff x="-4763" y="0"/>
            <a:chExt cx="12196763" cy="6865736"/>
          </a:xfrm>
        </p:grpSpPr>
        <p:sp>
          <p:nvSpPr>
            <p:cNvPr id="7" name="立方体 6">
              <a:extLst>
                <a:ext uri="{FF2B5EF4-FFF2-40B4-BE49-F238E27FC236}">
                  <a16:creationId xmlns:a16="http://schemas.microsoft.com/office/drawing/2014/main" id="{5BB9DE4A-C7AB-4D55-9F49-E9E5681AF9DD}"/>
                </a:ext>
              </a:extLst>
            </p:cNvPr>
            <p:cNvSpPr/>
            <p:nvPr/>
          </p:nvSpPr>
          <p:spPr>
            <a:xfrm>
              <a:off x="0" y="5766550"/>
              <a:ext cx="12192000" cy="1099186"/>
            </a:xfrm>
            <a:prstGeom prst="cub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8" name="171a5da4-c0df-458e-a05c-fa476a893fdf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075A0C20-CF04-420D-863F-DA5EE3012ACD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490143" y="1287566"/>
              <a:ext cx="6099343" cy="4692316"/>
              <a:chOff x="3125788" y="1206500"/>
              <a:chExt cx="5794376" cy="4457700"/>
            </a:xfrm>
          </p:grpSpPr>
          <p:sp>
            <p:nvSpPr>
              <p:cNvPr id="12" name="îṧļiďê">
                <a:extLst>
                  <a:ext uri="{FF2B5EF4-FFF2-40B4-BE49-F238E27FC236}">
                    <a16:creationId xmlns:a16="http://schemas.microsoft.com/office/drawing/2014/main" id="{66B6B732-C5ED-49F0-A1FB-0CF5969081AD}"/>
                  </a:ext>
                </a:extLst>
              </p:cNvPr>
              <p:cNvSpPr/>
              <p:nvPr/>
            </p:nvSpPr>
            <p:spPr bwMode="auto">
              <a:xfrm>
                <a:off x="7348538" y="3675063"/>
                <a:ext cx="334963" cy="200025"/>
              </a:xfrm>
              <a:prstGeom prst="rect">
                <a:avLst/>
              </a:pr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" name="îŝ1idè">
                <a:extLst>
                  <a:ext uri="{FF2B5EF4-FFF2-40B4-BE49-F238E27FC236}">
                    <a16:creationId xmlns:a16="http://schemas.microsoft.com/office/drawing/2014/main" id="{C4B2E99D-ED26-4F7F-8C34-B16133B1A817}"/>
                  </a:ext>
                </a:extLst>
              </p:cNvPr>
              <p:cNvSpPr/>
              <p:nvPr/>
            </p:nvSpPr>
            <p:spPr bwMode="auto">
              <a:xfrm>
                <a:off x="7154863" y="3941763"/>
                <a:ext cx="333375" cy="200025"/>
              </a:xfrm>
              <a:prstGeom prst="rect">
                <a:avLst/>
              </a:pr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" name="î$1íḍè">
                <a:extLst>
                  <a:ext uri="{FF2B5EF4-FFF2-40B4-BE49-F238E27FC236}">
                    <a16:creationId xmlns:a16="http://schemas.microsoft.com/office/drawing/2014/main" id="{14949F50-609B-463B-A3C0-136240AF26BB}"/>
                  </a:ext>
                </a:extLst>
              </p:cNvPr>
              <p:cNvSpPr/>
              <p:nvPr/>
            </p:nvSpPr>
            <p:spPr bwMode="auto">
              <a:xfrm>
                <a:off x="7543801" y="3941763"/>
                <a:ext cx="333375" cy="200025"/>
              </a:xfrm>
              <a:prstGeom prst="rect">
                <a:avLst/>
              </a:pr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" name="îṥľïḓê">
                <a:extLst>
                  <a:ext uri="{FF2B5EF4-FFF2-40B4-BE49-F238E27FC236}">
                    <a16:creationId xmlns:a16="http://schemas.microsoft.com/office/drawing/2014/main" id="{23CB406B-6763-4C76-BD4A-7B7E779C8D46}"/>
                  </a:ext>
                </a:extLst>
              </p:cNvPr>
              <p:cNvSpPr/>
              <p:nvPr/>
            </p:nvSpPr>
            <p:spPr bwMode="auto">
              <a:xfrm>
                <a:off x="3719513" y="1296988"/>
                <a:ext cx="3794125" cy="2522538"/>
              </a:xfrm>
              <a:prstGeom prst="rect">
                <a:avLst/>
              </a:prstGeom>
              <a:solidFill>
                <a:srgbClr val="EF6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" name="îṧḻîdè">
                <a:extLst>
                  <a:ext uri="{FF2B5EF4-FFF2-40B4-BE49-F238E27FC236}">
                    <a16:creationId xmlns:a16="http://schemas.microsoft.com/office/drawing/2014/main" id="{64800630-DBC6-4B82-AB97-198E01088D58}"/>
                  </a:ext>
                </a:extLst>
              </p:cNvPr>
              <p:cNvSpPr/>
              <p:nvPr/>
            </p:nvSpPr>
            <p:spPr bwMode="auto">
              <a:xfrm>
                <a:off x="3719513" y="1296988"/>
                <a:ext cx="3794125" cy="25225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" name="iŝľîḍe">
                <a:extLst>
                  <a:ext uri="{FF2B5EF4-FFF2-40B4-BE49-F238E27FC236}">
                    <a16:creationId xmlns:a16="http://schemas.microsoft.com/office/drawing/2014/main" id="{436F47FE-79A7-4821-AD87-D2097C8B7DD0}"/>
                  </a:ext>
                </a:extLst>
              </p:cNvPr>
              <p:cNvSpPr/>
              <p:nvPr/>
            </p:nvSpPr>
            <p:spPr bwMode="auto">
              <a:xfrm>
                <a:off x="3805238" y="1400175"/>
                <a:ext cx="3622675" cy="232251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" name="ïS1ídé">
                <a:extLst>
                  <a:ext uri="{FF2B5EF4-FFF2-40B4-BE49-F238E27FC236}">
                    <a16:creationId xmlns:a16="http://schemas.microsoft.com/office/drawing/2014/main" id="{7BEFAB3C-6BEC-4E93-8DC5-2DE5EDB94D65}"/>
                  </a:ext>
                </a:extLst>
              </p:cNvPr>
              <p:cNvSpPr/>
              <p:nvPr/>
            </p:nvSpPr>
            <p:spPr bwMode="auto">
              <a:xfrm>
                <a:off x="3805238" y="1400175"/>
                <a:ext cx="3622675" cy="23225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" name="ísḻíḋê">
                <a:extLst>
                  <a:ext uri="{FF2B5EF4-FFF2-40B4-BE49-F238E27FC236}">
                    <a16:creationId xmlns:a16="http://schemas.microsoft.com/office/drawing/2014/main" id="{36D00B11-DCA9-4BF3-983B-497DB9291EF8}"/>
                  </a:ext>
                </a:extLst>
              </p:cNvPr>
              <p:cNvSpPr/>
              <p:nvPr/>
            </p:nvSpPr>
            <p:spPr bwMode="auto">
              <a:xfrm>
                <a:off x="6961188" y="1927225"/>
                <a:ext cx="30163" cy="140176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" name="îṧļíḑé">
                <a:extLst>
                  <a:ext uri="{FF2B5EF4-FFF2-40B4-BE49-F238E27FC236}">
                    <a16:creationId xmlns:a16="http://schemas.microsoft.com/office/drawing/2014/main" id="{ECA4D23F-BD3A-4197-899F-CA7A3E39866D}"/>
                  </a:ext>
                </a:extLst>
              </p:cNvPr>
              <p:cNvSpPr/>
              <p:nvPr/>
            </p:nvSpPr>
            <p:spPr bwMode="auto">
              <a:xfrm>
                <a:off x="6542088" y="1927225"/>
                <a:ext cx="23813" cy="140176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3" name="ïṧľíḑé">
                <a:extLst>
                  <a:ext uri="{FF2B5EF4-FFF2-40B4-BE49-F238E27FC236}">
                    <a16:creationId xmlns:a16="http://schemas.microsoft.com/office/drawing/2014/main" id="{1DD4820B-D033-434C-BB0E-96F7B4E7D404}"/>
                  </a:ext>
                </a:extLst>
              </p:cNvPr>
              <p:cNvSpPr/>
              <p:nvPr/>
            </p:nvSpPr>
            <p:spPr bwMode="auto">
              <a:xfrm>
                <a:off x="6116638" y="1927225"/>
                <a:ext cx="30163" cy="140176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" name="í$ḷíḋe">
                <a:extLst>
                  <a:ext uri="{FF2B5EF4-FFF2-40B4-BE49-F238E27FC236}">
                    <a16:creationId xmlns:a16="http://schemas.microsoft.com/office/drawing/2014/main" id="{960F7AEE-B7EB-40D8-9DA6-07B1B982A344}"/>
                  </a:ext>
                </a:extLst>
              </p:cNvPr>
              <p:cNvSpPr/>
              <p:nvPr/>
            </p:nvSpPr>
            <p:spPr bwMode="auto">
              <a:xfrm>
                <a:off x="5692776" y="1927225"/>
                <a:ext cx="30163" cy="140176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" name="ïsļíďe">
                <a:extLst>
                  <a:ext uri="{FF2B5EF4-FFF2-40B4-BE49-F238E27FC236}">
                    <a16:creationId xmlns:a16="http://schemas.microsoft.com/office/drawing/2014/main" id="{A349F716-C619-4707-93FA-4538F96BE00B}"/>
                  </a:ext>
                </a:extLst>
              </p:cNvPr>
              <p:cNvSpPr/>
              <p:nvPr/>
            </p:nvSpPr>
            <p:spPr bwMode="auto">
              <a:xfrm>
                <a:off x="5273676" y="1927225"/>
                <a:ext cx="23813" cy="140176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" name="îśľïḍé">
                <a:extLst>
                  <a:ext uri="{FF2B5EF4-FFF2-40B4-BE49-F238E27FC236}">
                    <a16:creationId xmlns:a16="http://schemas.microsoft.com/office/drawing/2014/main" id="{497A96DC-07F6-49C2-A2F1-9E33BE46C084}"/>
                  </a:ext>
                </a:extLst>
              </p:cNvPr>
              <p:cNvSpPr/>
              <p:nvPr/>
            </p:nvSpPr>
            <p:spPr bwMode="auto">
              <a:xfrm>
                <a:off x="4848226" y="1927225"/>
                <a:ext cx="30163" cy="140176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7" name="ï$ľïde">
                <a:extLst>
                  <a:ext uri="{FF2B5EF4-FFF2-40B4-BE49-F238E27FC236}">
                    <a16:creationId xmlns:a16="http://schemas.microsoft.com/office/drawing/2014/main" id="{0D80CBB6-C368-4425-BA87-A848A50D8978}"/>
                  </a:ext>
                </a:extLst>
              </p:cNvPr>
              <p:cNvSpPr/>
              <p:nvPr/>
            </p:nvSpPr>
            <p:spPr bwMode="auto">
              <a:xfrm>
                <a:off x="4848226" y="1927225"/>
                <a:ext cx="30163" cy="14017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8" name="ïṧ1ïḑé">
                <a:extLst>
                  <a:ext uri="{FF2B5EF4-FFF2-40B4-BE49-F238E27FC236}">
                    <a16:creationId xmlns:a16="http://schemas.microsoft.com/office/drawing/2014/main" id="{C41634A6-E55F-49C5-AA95-38CF39069B0E}"/>
                  </a:ext>
                </a:extLst>
              </p:cNvPr>
              <p:cNvSpPr/>
              <p:nvPr/>
            </p:nvSpPr>
            <p:spPr bwMode="auto">
              <a:xfrm>
                <a:off x="4970463" y="1630363"/>
                <a:ext cx="2330450" cy="1795463"/>
              </a:xfrm>
              <a:custGeom>
                <a:avLst/>
                <a:gdLst>
                  <a:gd name="T0" fmla="*/ 382 w 384"/>
                  <a:gd name="T1" fmla="*/ 222 h 296"/>
                  <a:gd name="T2" fmla="*/ 353 w 384"/>
                  <a:gd name="T3" fmla="*/ 112 h 296"/>
                  <a:gd name="T4" fmla="*/ 345 w 384"/>
                  <a:gd name="T5" fmla="*/ 87 h 296"/>
                  <a:gd name="T6" fmla="*/ 334 w 384"/>
                  <a:gd name="T7" fmla="*/ 73 h 296"/>
                  <a:gd name="T8" fmla="*/ 306 w 384"/>
                  <a:gd name="T9" fmla="*/ 90 h 296"/>
                  <a:gd name="T10" fmla="*/ 298 w 384"/>
                  <a:gd name="T11" fmla="*/ 114 h 296"/>
                  <a:gd name="T12" fmla="*/ 287 w 384"/>
                  <a:gd name="T13" fmla="*/ 138 h 296"/>
                  <a:gd name="T14" fmla="*/ 270 w 384"/>
                  <a:gd name="T15" fmla="*/ 122 h 296"/>
                  <a:gd name="T16" fmla="*/ 262 w 384"/>
                  <a:gd name="T17" fmla="*/ 100 h 296"/>
                  <a:gd name="T18" fmla="*/ 236 w 384"/>
                  <a:gd name="T19" fmla="*/ 73 h 296"/>
                  <a:gd name="T20" fmla="*/ 209 w 384"/>
                  <a:gd name="T21" fmla="*/ 97 h 296"/>
                  <a:gd name="T22" fmla="*/ 201 w 384"/>
                  <a:gd name="T23" fmla="*/ 135 h 296"/>
                  <a:gd name="T24" fmla="*/ 195 w 384"/>
                  <a:gd name="T25" fmla="*/ 193 h 296"/>
                  <a:gd name="T26" fmla="*/ 186 w 384"/>
                  <a:gd name="T27" fmla="*/ 250 h 296"/>
                  <a:gd name="T28" fmla="*/ 153 w 384"/>
                  <a:gd name="T29" fmla="*/ 275 h 296"/>
                  <a:gd name="T30" fmla="*/ 121 w 384"/>
                  <a:gd name="T31" fmla="*/ 237 h 296"/>
                  <a:gd name="T32" fmla="*/ 102 w 384"/>
                  <a:gd name="T33" fmla="*/ 187 h 296"/>
                  <a:gd name="T34" fmla="*/ 79 w 384"/>
                  <a:gd name="T35" fmla="*/ 86 h 296"/>
                  <a:gd name="T36" fmla="*/ 65 w 384"/>
                  <a:gd name="T37" fmla="*/ 30 h 296"/>
                  <a:gd name="T38" fmla="*/ 33 w 384"/>
                  <a:gd name="T39" fmla="*/ 2 h 296"/>
                  <a:gd name="T40" fmla="*/ 9 w 384"/>
                  <a:gd name="T41" fmla="*/ 37 h 296"/>
                  <a:gd name="T42" fmla="*/ 0 w 384"/>
                  <a:gd name="T43" fmla="*/ 101 h 296"/>
                  <a:gd name="T44" fmla="*/ 12 w 384"/>
                  <a:gd name="T45" fmla="*/ 101 h 296"/>
                  <a:gd name="T46" fmla="*/ 19 w 384"/>
                  <a:gd name="T47" fmla="*/ 46 h 296"/>
                  <a:gd name="T48" fmla="*/ 25 w 384"/>
                  <a:gd name="T49" fmla="*/ 21 h 296"/>
                  <a:gd name="T50" fmla="*/ 48 w 384"/>
                  <a:gd name="T51" fmla="*/ 21 h 296"/>
                  <a:gd name="T52" fmla="*/ 56 w 384"/>
                  <a:gd name="T53" fmla="*/ 42 h 296"/>
                  <a:gd name="T54" fmla="*/ 63 w 384"/>
                  <a:gd name="T55" fmla="*/ 66 h 296"/>
                  <a:gd name="T56" fmla="*/ 73 w 384"/>
                  <a:gd name="T57" fmla="*/ 114 h 296"/>
                  <a:gd name="T58" fmla="*/ 97 w 384"/>
                  <a:gd name="T59" fmla="*/ 209 h 296"/>
                  <a:gd name="T60" fmla="*/ 115 w 384"/>
                  <a:gd name="T61" fmla="*/ 252 h 296"/>
                  <a:gd name="T62" fmla="*/ 143 w 384"/>
                  <a:gd name="T63" fmla="*/ 283 h 296"/>
                  <a:gd name="T64" fmla="*/ 198 w 384"/>
                  <a:gd name="T65" fmla="*/ 252 h 296"/>
                  <a:gd name="T66" fmla="*/ 206 w 384"/>
                  <a:gd name="T67" fmla="*/ 203 h 296"/>
                  <a:gd name="T68" fmla="*/ 211 w 384"/>
                  <a:gd name="T69" fmla="*/ 148 h 296"/>
                  <a:gd name="T70" fmla="*/ 218 w 384"/>
                  <a:gd name="T71" fmla="*/ 105 h 296"/>
                  <a:gd name="T72" fmla="*/ 228 w 384"/>
                  <a:gd name="T73" fmla="*/ 90 h 296"/>
                  <a:gd name="T74" fmla="*/ 237 w 384"/>
                  <a:gd name="T75" fmla="*/ 84 h 296"/>
                  <a:gd name="T76" fmla="*/ 247 w 384"/>
                  <a:gd name="T77" fmla="*/ 95 h 296"/>
                  <a:gd name="T78" fmla="*/ 256 w 384"/>
                  <a:gd name="T79" fmla="*/ 117 h 296"/>
                  <a:gd name="T80" fmla="*/ 264 w 384"/>
                  <a:gd name="T81" fmla="*/ 137 h 296"/>
                  <a:gd name="T82" fmla="*/ 293 w 384"/>
                  <a:gd name="T83" fmla="*/ 148 h 296"/>
                  <a:gd name="T84" fmla="*/ 312 w 384"/>
                  <a:gd name="T85" fmla="*/ 108 h 296"/>
                  <a:gd name="T86" fmla="*/ 326 w 384"/>
                  <a:gd name="T87" fmla="*/ 84 h 296"/>
                  <a:gd name="T88" fmla="*/ 340 w 384"/>
                  <a:gd name="T89" fmla="*/ 107 h 296"/>
                  <a:gd name="T90" fmla="*/ 371 w 384"/>
                  <a:gd name="T91" fmla="*/ 225 h 296"/>
                  <a:gd name="T92" fmla="*/ 382 w 384"/>
                  <a:gd name="T93" fmla="*/ 222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84" h="296">
                    <a:moveTo>
                      <a:pt x="382" y="222"/>
                    </a:moveTo>
                    <a:cubicBezTo>
                      <a:pt x="374" y="185"/>
                      <a:pt x="365" y="148"/>
                      <a:pt x="353" y="112"/>
                    </a:cubicBezTo>
                    <a:cubicBezTo>
                      <a:pt x="351" y="104"/>
                      <a:pt x="348" y="95"/>
                      <a:pt x="345" y="87"/>
                    </a:cubicBezTo>
                    <a:cubicBezTo>
                      <a:pt x="343" y="81"/>
                      <a:pt x="340" y="76"/>
                      <a:pt x="334" y="73"/>
                    </a:cubicBezTo>
                    <a:cubicBezTo>
                      <a:pt x="321" y="67"/>
                      <a:pt x="310" y="79"/>
                      <a:pt x="306" y="90"/>
                    </a:cubicBezTo>
                    <a:cubicBezTo>
                      <a:pt x="303" y="98"/>
                      <a:pt x="300" y="106"/>
                      <a:pt x="298" y="114"/>
                    </a:cubicBezTo>
                    <a:cubicBezTo>
                      <a:pt x="296" y="120"/>
                      <a:pt x="294" y="134"/>
                      <a:pt x="287" y="138"/>
                    </a:cubicBezTo>
                    <a:cubicBezTo>
                      <a:pt x="277" y="142"/>
                      <a:pt x="272" y="128"/>
                      <a:pt x="270" y="122"/>
                    </a:cubicBezTo>
                    <a:cubicBezTo>
                      <a:pt x="267" y="114"/>
                      <a:pt x="265" y="107"/>
                      <a:pt x="262" y="100"/>
                    </a:cubicBezTo>
                    <a:cubicBezTo>
                      <a:pt x="257" y="89"/>
                      <a:pt x="251" y="71"/>
                      <a:pt x="236" y="73"/>
                    </a:cubicBezTo>
                    <a:cubicBezTo>
                      <a:pt x="224" y="74"/>
                      <a:pt x="214" y="86"/>
                      <a:pt x="209" y="97"/>
                    </a:cubicBezTo>
                    <a:cubicBezTo>
                      <a:pt x="204" y="109"/>
                      <a:pt x="202" y="122"/>
                      <a:pt x="201" y="135"/>
                    </a:cubicBezTo>
                    <a:cubicBezTo>
                      <a:pt x="199" y="154"/>
                      <a:pt x="197" y="174"/>
                      <a:pt x="195" y="193"/>
                    </a:cubicBezTo>
                    <a:cubicBezTo>
                      <a:pt x="193" y="212"/>
                      <a:pt x="192" y="232"/>
                      <a:pt x="186" y="250"/>
                    </a:cubicBezTo>
                    <a:cubicBezTo>
                      <a:pt x="181" y="263"/>
                      <a:pt x="170" y="279"/>
                      <a:pt x="153" y="275"/>
                    </a:cubicBezTo>
                    <a:cubicBezTo>
                      <a:pt x="136" y="271"/>
                      <a:pt x="127" y="252"/>
                      <a:pt x="121" y="237"/>
                    </a:cubicBezTo>
                    <a:cubicBezTo>
                      <a:pt x="113" y="221"/>
                      <a:pt x="107" y="204"/>
                      <a:pt x="102" y="187"/>
                    </a:cubicBezTo>
                    <a:cubicBezTo>
                      <a:pt x="92" y="154"/>
                      <a:pt x="86" y="120"/>
                      <a:pt x="79" y="86"/>
                    </a:cubicBezTo>
                    <a:cubicBezTo>
                      <a:pt x="75" y="67"/>
                      <a:pt x="71" y="48"/>
                      <a:pt x="65" y="30"/>
                    </a:cubicBezTo>
                    <a:cubicBezTo>
                      <a:pt x="60" y="16"/>
                      <a:pt x="50" y="0"/>
                      <a:pt x="33" y="2"/>
                    </a:cubicBezTo>
                    <a:cubicBezTo>
                      <a:pt x="16" y="4"/>
                      <a:pt x="11" y="22"/>
                      <a:pt x="9" y="37"/>
                    </a:cubicBezTo>
                    <a:cubicBezTo>
                      <a:pt x="6" y="58"/>
                      <a:pt x="3" y="80"/>
                      <a:pt x="0" y="101"/>
                    </a:cubicBezTo>
                    <a:cubicBezTo>
                      <a:pt x="0" y="109"/>
                      <a:pt x="11" y="109"/>
                      <a:pt x="12" y="101"/>
                    </a:cubicBezTo>
                    <a:cubicBezTo>
                      <a:pt x="15" y="83"/>
                      <a:pt x="17" y="65"/>
                      <a:pt x="19" y="46"/>
                    </a:cubicBezTo>
                    <a:cubicBezTo>
                      <a:pt x="20" y="38"/>
                      <a:pt x="21" y="28"/>
                      <a:pt x="25" y="21"/>
                    </a:cubicBezTo>
                    <a:cubicBezTo>
                      <a:pt x="31" y="12"/>
                      <a:pt x="41" y="12"/>
                      <a:pt x="48" y="21"/>
                    </a:cubicBezTo>
                    <a:cubicBezTo>
                      <a:pt x="52" y="27"/>
                      <a:pt x="54" y="35"/>
                      <a:pt x="56" y="42"/>
                    </a:cubicBezTo>
                    <a:cubicBezTo>
                      <a:pt x="59" y="50"/>
                      <a:pt x="61" y="58"/>
                      <a:pt x="63" y="66"/>
                    </a:cubicBezTo>
                    <a:cubicBezTo>
                      <a:pt x="66" y="82"/>
                      <a:pt x="70" y="98"/>
                      <a:pt x="73" y="114"/>
                    </a:cubicBezTo>
                    <a:cubicBezTo>
                      <a:pt x="79" y="146"/>
                      <a:pt x="86" y="178"/>
                      <a:pt x="97" y="209"/>
                    </a:cubicBezTo>
                    <a:cubicBezTo>
                      <a:pt x="102" y="224"/>
                      <a:pt x="108" y="239"/>
                      <a:pt x="115" y="252"/>
                    </a:cubicBezTo>
                    <a:cubicBezTo>
                      <a:pt x="122" y="265"/>
                      <a:pt x="130" y="277"/>
                      <a:pt x="143" y="283"/>
                    </a:cubicBezTo>
                    <a:cubicBezTo>
                      <a:pt x="169" y="296"/>
                      <a:pt x="190" y="275"/>
                      <a:pt x="198" y="252"/>
                    </a:cubicBezTo>
                    <a:cubicBezTo>
                      <a:pt x="203" y="236"/>
                      <a:pt x="204" y="219"/>
                      <a:pt x="206" y="203"/>
                    </a:cubicBezTo>
                    <a:cubicBezTo>
                      <a:pt x="208" y="185"/>
                      <a:pt x="210" y="166"/>
                      <a:pt x="211" y="148"/>
                    </a:cubicBezTo>
                    <a:cubicBezTo>
                      <a:pt x="213" y="134"/>
                      <a:pt x="213" y="119"/>
                      <a:pt x="218" y="105"/>
                    </a:cubicBezTo>
                    <a:cubicBezTo>
                      <a:pt x="220" y="100"/>
                      <a:pt x="224" y="94"/>
                      <a:pt x="228" y="90"/>
                    </a:cubicBezTo>
                    <a:cubicBezTo>
                      <a:pt x="230" y="88"/>
                      <a:pt x="234" y="84"/>
                      <a:pt x="237" y="84"/>
                    </a:cubicBezTo>
                    <a:cubicBezTo>
                      <a:pt x="242" y="84"/>
                      <a:pt x="245" y="92"/>
                      <a:pt x="247" y="95"/>
                    </a:cubicBezTo>
                    <a:cubicBezTo>
                      <a:pt x="251" y="102"/>
                      <a:pt x="254" y="110"/>
                      <a:pt x="256" y="117"/>
                    </a:cubicBezTo>
                    <a:cubicBezTo>
                      <a:pt x="258" y="124"/>
                      <a:pt x="260" y="131"/>
                      <a:pt x="264" y="137"/>
                    </a:cubicBezTo>
                    <a:cubicBezTo>
                      <a:pt x="270" y="147"/>
                      <a:pt x="282" y="154"/>
                      <a:pt x="293" y="148"/>
                    </a:cubicBezTo>
                    <a:cubicBezTo>
                      <a:pt x="306" y="141"/>
                      <a:pt x="308" y="121"/>
                      <a:pt x="312" y="108"/>
                    </a:cubicBezTo>
                    <a:cubicBezTo>
                      <a:pt x="314" y="101"/>
                      <a:pt x="317" y="85"/>
                      <a:pt x="326" y="84"/>
                    </a:cubicBezTo>
                    <a:cubicBezTo>
                      <a:pt x="335" y="82"/>
                      <a:pt x="338" y="102"/>
                      <a:pt x="340" y="107"/>
                    </a:cubicBezTo>
                    <a:cubicBezTo>
                      <a:pt x="352" y="146"/>
                      <a:pt x="362" y="186"/>
                      <a:pt x="371" y="225"/>
                    </a:cubicBezTo>
                    <a:cubicBezTo>
                      <a:pt x="372" y="233"/>
                      <a:pt x="384" y="230"/>
                      <a:pt x="382" y="222"/>
                    </a:cubicBezTo>
                  </a:path>
                </a:pathLst>
              </a:custGeom>
              <a:solidFill>
                <a:srgbClr val="EF6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9" name="îṩľíḓê">
                <a:extLst>
                  <a:ext uri="{FF2B5EF4-FFF2-40B4-BE49-F238E27FC236}">
                    <a16:creationId xmlns:a16="http://schemas.microsoft.com/office/drawing/2014/main" id="{24F85C8B-61C2-4786-9C56-C83B493F395F}"/>
                  </a:ext>
                </a:extLst>
              </p:cNvPr>
              <p:cNvSpPr/>
              <p:nvPr/>
            </p:nvSpPr>
            <p:spPr bwMode="auto">
              <a:xfrm>
                <a:off x="6991351" y="1557338"/>
                <a:ext cx="254000" cy="255588"/>
              </a:xfrm>
              <a:custGeom>
                <a:avLst/>
                <a:gdLst>
                  <a:gd name="T0" fmla="*/ 160 w 160"/>
                  <a:gd name="T1" fmla="*/ 0 h 161"/>
                  <a:gd name="T2" fmla="*/ 160 w 160"/>
                  <a:gd name="T3" fmla="*/ 107 h 161"/>
                  <a:gd name="T4" fmla="*/ 107 w 160"/>
                  <a:gd name="T5" fmla="*/ 161 h 161"/>
                  <a:gd name="T6" fmla="*/ 0 w 160"/>
                  <a:gd name="T7" fmla="*/ 161 h 161"/>
                  <a:gd name="T8" fmla="*/ 0 w 160"/>
                  <a:gd name="T9" fmla="*/ 0 h 161"/>
                  <a:gd name="T10" fmla="*/ 160 w 160"/>
                  <a:gd name="T11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0" h="161">
                    <a:moveTo>
                      <a:pt x="160" y="0"/>
                    </a:moveTo>
                    <a:lnTo>
                      <a:pt x="160" y="107"/>
                    </a:lnTo>
                    <a:lnTo>
                      <a:pt x="107" y="161"/>
                    </a:lnTo>
                    <a:lnTo>
                      <a:pt x="0" y="161"/>
                    </a:lnTo>
                    <a:lnTo>
                      <a:pt x="0" y="0"/>
                    </a:lnTo>
                    <a:lnTo>
                      <a:pt x="160" y="0"/>
                    </a:lnTo>
                    <a:close/>
                  </a:path>
                </a:pathLst>
              </a:custGeom>
              <a:solidFill>
                <a:srgbClr val="00BE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0" name="ïsḻïḑe">
                <a:extLst>
                  <a:ext uri="{FF2B5EF4-FFF2-40B4-BE49-F238E27FC236}">
                    <a16:creationId xmlns:a16="http://schemas.microsoft.com/office/drawing/2014/main" id="{808C6B66-9C9B-4F67-85C4-EA9284BEAFCF}"/>
                  </a:ext>
                </a:extLst>
              </p:cNvPr>
              <p:cNvSpPr/>
              <p:nvPr/>
            </p:nvSpPr>
            <p:spPr bwMode="auto">
              <a:xfrm>
                <a:off x="7161213" y="1727200"/>
                <a:ext cx="84138" cy="85725"/>
              </a:xfrm>
              <a:custGeom>
                <a:avLst/>
                <a:gdLst>
                  <a:gd name="T0" fmla="*/ 53 w 53"/>
                  <a:gd name="T1" fmla="*/ 0 h 54"/>
                  <a:gd name="T2" fmla="*/ 0 w 53"/>
                  <a:gd name="T3" fmla="*/ 54 h 54"/>
                  <a:gd name="T4" fmla="*/ 0 w 53"/>
                  <a:gd name="T5" fmla="*/ 0 h 54"/>
                  <a:gd name="T6" fmla="*/ 53 w 53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3" h="54">
                    <a:moveTo>
                      <a:pt x="53" y="0"/>
                    </a:moveTo>
                    <a:lnTo>
                      <a:pt x="0" y="54"/>
                    </a:lnTo>
                    <a:lnTo>
                      <a:pt x="0" y="0"/>
                    </a:lnTo>
                    <a:lnTo>
                      <a:pt x="53" y="0"/>
                    </a:lnTo>
                    <a:close/>
                  </a:path>
                </a:pathLst>
              </a:cu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1" name="í$ḻîḓè">
                <a:extLst>
                  <a:ext uri="{FF2B5EF4-FFF2-40B4-BE49-F238E27FC236}">
                    <a16:creationId xmlns:a16="http://schemas.microsoft.com/office/drawing/2014/main" id="{6F0EAE8B-5038-4C6C-B82D-5163BB98C23B}"/>
                  </a:ext>
                </a:extLst>
              </p:cNvPr>
              <p:cNvSpPr/>
              <p:nvPr/>
            </p:nvSpPr>
            <p:spPr bwMode="auto">
              <a:xfrm>
                <a:off x="6621463" y="1557338"/>
                <a:ext cx="254000" cy="255588"/>
              </a:xfrm>
              <a:prstGeom prst="rect">
                <a:avLst/>
              </a:prstGeom>
              <a:solidFill>
                <a:srgbClr val="FF67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2" name="i$lïḍè">
                <a:extLst>
                  <a:ext uri="{FF2B5EF4-FFF2-40B4-BE49-F238E27FC236}">
                    <a16:creationId xmlns:a16="http://schemas.microsoft.com/office/drawing/2014/main" id="{F15C1340-BD1D-449A-82C3-786805F9F11B}"/>
                  </a:ext>
                </a:extLst>
              </p:cNvPr>
              <p:cNvSpPr/>
              <p:nvPr/>
            </p:nvSpPr>
            <p:spPr bwMode="auto">
              <a:xfrm>
                <a:off x="4514851" y="3492500"/>
                <a:ext cx="2773363" cy="2381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3" name="iṥ1îḍé">
                <a:extLst>
                  <a:ext uri="{FF2B5EF4-FFF2-40B4-BE49-F238E27FC236}">
                    <a16:creationId xmlns:a16="http://schemas.microsoft.com/office/drawing/2014/main" id="{A2B72830-E1E4-4943-BAE7-95174C720F21}"/>
                  </a:ext>
                </a:extLst>
              </p:cNvPr>
              <p:cNvSpPr/>
              <p:nvPr/>
            </p:nvSpPr>
            <p:spPr bwMode="auto">
              <a:xfrm>
                <a:off x="3992563" y="1763713"/>
                <a:ext cx="522288" cy="4921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4" name="ïşļïḓè">
                <a:extLst>
                  <a:ext uri="{FF2B5EF4-FFF2-40B4-BE49-F238E27FC236}">
                    <a16:creationId xmlns:a16="http://schemas.microsoft.com/office/drawing/2014/main" id="{D859CB24-8B18-4B83-8D54-708D0ACCF2EA}"/>
                  </a:ext>
                </a:extLst>
              </p:cNvPr>
              <p:cNvSpPr/>
              <p:nvPr/>
            </p:nvSpPr>
            <p:spPr bwMode="auto">
              <a:xfrm>
                <a:off x="3992563" y="1909763"/>
                <a:ext cx="522288" cy="4921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" name="î$ľîďè">
                <a:extLst>
                  <a:ext uri="{FF2B5EF4-FFF2-40B4-BE49-F238E27FC236}">
                    <a16:creationId xmlns:a16="http://schemas.microsoft.com/office/drawing/2014/main" id="{3A7E8F22-7643-4F92-8DA2-6B36CDFB9488}"/>
                  </a:ext>
                </a:extLst>
              </p:cNvPr>
              <p:cNvSpPr/>
              <p:nvPr/>
            </p:nvSpPr>
            <p:spPr bwMode="auto">
              <a:xfrm>
                <a:off x="3992563" y="2049463"/>
                <a:ext cx="522288" cy="47625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" name="ïSļíḑê">
                <a:extLst>
                  <a:ext uri="{FF2B5EF4-FFF2-40B4-BE49-F238E27FC236}">
                    <a16:creationId xmlns:a16="http://schemas.microsoft.com/office/drawing/2014/main" id="{394A2498-1363-4E64-92AA-A88699A22224}"/>
                  </a:ext>
                </a:extLst>
              </p:cNvPr>
              <p:cNvSpPr/>
              <p:nvPr/>
            </p:nvSpPr>
            <p:spPr bwMode="auto">
              <a:xfrm>
                <a:off x="3992563" y="2195513"/>
                <a:ext cx="522288" cy="47625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" name="íś1ïḓè">
                <a:extLst>
                  <a:ext uri="{FF2B5EF4-FFF2-40B4-BE49-F238E27FC236}">
                    <a16:creationId xmlns:a16="http://schemas.microsoft.com/office/drawing/2014/main" id="{F923D063-A091-4C22-9B71-AE3559F7768C}"/>
                  </a:ext>
                </a:extLst>
              </p:cNvPr>
              <p:cNvSpPr/>
              <p:nvPr/>
            </p:nvSpPr>
            <p:spPr bwMode="auto">
              <a:xfrm>
                <a:off x="4035426" y="1570038"/>
                <a:ext cx="90488" cy="90488"/>
              </a:xfrm>
              <a:prstGeom prst="ellipse">
                <a:avLst/>
              </a:prstGeom>
              <a:solidFill>
                <a:srgbClr val="5202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" name="íṧḻïḍe">
                <a:extLst>
                  <a:ext uri="{FF2B5EF4-FFF2-40B4-BE49-F238E27FC236}">
                    <a16:creationId xmlns:a16="http://schemas.microsoft.com/office/drawing/2014/main" id="{CA56BDCE-7B39-4964-BDCE-BD27C358D643}"/>
                  </a:ext>
                </a:extLst>
              </p:cNvPr>
              <p:cNvSpPr/>
              <p:nvPr/>
            </p:nvSpPr>
            <p:spPr bwMode="auto">
              <a:xfrm>
                <a:off x="4211638" y="1570038"/>
                <a:ext cx="90488" cy="90488"/>
              </a:xfrm>
              <a:prstGeom prst="ellipse">
                <a:avLst/>
              </a:prstGeom>
              <a:solidFill>
                <a:srgbClr val="5202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" name="ïśļíďé">
                <a:extLst>
                  <a:ext uri="{FF2B5EF4-FFF2-40B4-BE49-F238E27FC236}">
                    <a16:creationId xmlns:a16="http://schemas.microsoft.com/office/drawing/2014/main" id="{4DB68DD5-CF0B-4649-ACDD-E1D38597F152}"/>
                  </a:ext>
                </a:extLst>
              </p:cNvPr>
              <p:cNvSpPr/>
              <p:nvPr/>
            </p:nvSpPr>
            <p:spPr bwMode="auto">
              <a:xfrm>
                <a:off x="4381501" y="1570038"/>
                <a:ext cx="90488" cy="90488"/>
              </a:xfrm>
              <a:prstGeom prst="ellipse">
                <a:avLst/>
              </a:prstGeom>
              <a:solidFill>
                <a:srgbClr val="5202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0" name="îṣļíďè">
                <a:extLst>
                  <a:ext uri="{FF2B5EF4-FFF2-40B4-BE49-F238E27FC236}">
                    <a16:creationId xmlns:a16="http://schemas.microsoft.com/office/drawing/2014/main" id="{DA20F236-996F-435D-A789-B4AE4C3B44D8}"/>
                  </a:ext>
                </a:extLst>
              </p:cNvPr>
              <p:cNvSpPr/>
              <p:nvPr/>
            </p:nvSpPr>
            <p:spPr bwMode="auto">
              <a:xfrm>
                <a:off x="3719513" y="2509838"/>
                <a:ext cx="449263" cy="1309688"/>
              </a:xfrm>
              <a:custGeom>
                <a:avLst/>
                <a:gdLst>
                  <a:gd name="T0" fmla="*/ 14 w 74"/>
                  <a:gd name="T1" fmla="*/ 72 h 216"/>
                  <a:gd name="T2" fmla="*/ 4 w 74"/>
                  <a:gd name="T3" fmla="*/ 78 h 216"/>
                  <a:gd name="T4" fmla="*/ 0 w 74"/>
                  <a:gd name="T5" fmla="*/ 80 h 216"/>
                  <a:gd name="T6" fmla="*/ 0 w 74"/>
                  <a:gd name="T7" fmla="*/ 216 h 216"/>
                  <a:gd name="T8" fmla="*/ 74 w 74"/>
                  <a:gd name="T9" fmla="*/ 216 h 216"/>
                  <a:gd name="T10" fmla="*/ 68 w 74"/>
                  <a:gd name="T11" fmla="*/ 200 h 216"/>
                  <a:gd name="T12" fmla="*/ 14 w 74"/>
                  <a:gd name="T13" fmla="*/ 200 h 216"/>
                  <a:gd name="T14" fmla="*/ 14 w 74"/>
                  <a:gd name="T15" fmla="*/ 72 h 216"/>
                  <a:gd name="T16" fmla="*/ 5 w 74"/>
                  <a:gd name="T17" fmla="*/ 48 h 216"/>
                  <a:gd name="T18" fmla="*/ 5 w 74"/>
                  <a:gd name="T19" fmla="*/ 48 h 216"/>
                  <a:gd name="T20" fmla="*/ 5 w 74"/>
                  <a:gd name="T21" fmla="*/ 48 h 216"/>
                  <a:gd name="T22" fmla="*/ 5 w 74"/>
                  <a:gd name="T23" fmla="*/ 48 h 216"/>
                  <a:gd name="T24" fmla="*/ 14 w 74"/>
                  <a:gd name="T25" fmla="*/ 4 h 216"/>
                  <a:gd name="T26" fmla="*/ 10 w 74"/>
                  <a:gd name="T27" fmla="*/ 6 h 216"/>
                  <a:gd name="T28" fmla="*/ 0 w 74"/>
                  <a:gd name="T29" fmla="*/ 14 h 216"/>
                  <a:gd name="T30" fmla="*/ 0 w 74"/>
                  <a:gd name="T31" fmla="*/ 50 h 216"/>
                  <a:gd name="T32" fmla="*/ 2 w 74"/>
                  <a:gd name="T33" fmla="*/ 54 h 216"/>
                  <a:gd name="T34" fmla="*/ 3 w 74"/>
                  <a:gd name="T35" fmla="*/ 50 h 216"/>
                  <a:gd name="T36" fmla="*/ 2 w 74"/>
                  <a:gd name="T37" fmla="*/ 54 h 216"/>
                  <a:gd name="T38" fmla="*/ 10 w 74"/>
                  <a:gd name="T39" fmla="*/ 62 h 216"/>
                  <a:gd name="T40" fmla="*/ 14 w 74"/>
                  <a:gd name="T41" fmla="*/ 62 h 216"/>
                  <a:gd name="T42" fmla="*/ 14 w 74"/>
                  <a:gd name="T43" fmla="*/ 62 h 216"/>
                  <a:gd name="T44" fmla="*/ 14 w 74"/>
                  <a:gd name="T45" fmla="*/ 64 h 216"/>
                  <a:gd name="T46" fmla="*/ 14 w 74"/>
                  <a:gd name="T47" fmla="*/ 4 h 216"/>
                  <a:gd name="T48" fmla="*/ 14 w 74"/>
                  <a:gd name="T49" fmla="*/ 0 h 216"/>
                  <a:gd name="T50" fmla="*/ 0 w 74"/>
                  <a:gd name="T51" fmla="*/ 9 h 216"/>
                  <a:gd name="T52" fmla="*/ 0 w 74"/>
                  <a:gd name="T53" fmla="*/ 13 h 216"/>
                  <a:gd name="T54" fmla="*/ 14 w 74"/>
                  <a:gd name="T55" fmla="*/ 3 h 216"/>
                  <a:gd name="T56" fmla="*/ 14 w 74"/>
                  <a:gd name="T57" fmla="*/ 0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4" h="216">
                    <a:moveTo>
                      <a:pt x="14" y="72"/>
                    </a:moveTo>
                    <a:cubicBezTo>
                      <a:pt x="11" y="73"/>
                      <a:pt x="8" y="75"/>
                      <a:pt x="4" y="78"/>
                    </a:cubicBezTo>
                    <a:cubicBezTo>
                      <a:pt x="4" y="78"/>
                      <a:pt x="3" y="79"/>
                      <a:pt x="0" y="80"/>
                    </a:cubicBezTo>
                    <a:cubicBezTo>
                      <a:pt x="0" y="216"/>
                      <a:pt x="0" y="216"/>
                      <a:pt x="0" y="216"/>
                    </a:cubicBezTo>
                    <a:cubicBezTo>
                      <a:pt x="74" y="216"/>
                      <a:pt x="74" y="216"/>
                      <a:pt x="74" y="216"/>
                    </a:cubicBezTo>
                    <a:cubicBezTo>
                      <a:pt x="72" y="211"/>
                      <a:pt x="70" y="206"/>
                      <a:pt x="68" y="200"/>
                    </a:cubicBezTo>
                    <a:cubicBezTo>
                      <a:pt x="14" y="200"/>
                      <a:pt x="14" y="200"/>
                      <a:pt x="14" y="200"/>
                    </a:cubicBezTo>
                    <a:cubicBezTo>
                      <a:pt x="14" y="72"/>
                      <a:pt x="14" y="72"/>
                      <a:pt x="14" y="72"/>
                    </a:cubicBezTo>
                    <a:moveTo>
                      <a:pt x="5" y="48"/>
                    </a:moveTo>
                    <a:cubicBezTo>
                      <a:pt x="5" y="48"/>
                      <a:pt x="5" y="48"/>
                      <a:pt x="5" y="48"/>
                    </a:cubicBezTo>
                    <a:cubicBezTo>
                      <a:pt x="5" y="48"/>
                      <a:pt x="5" y="48"/>
                      <a:pt x="5" y="48"/>
                    </a:cubicBezTo>
                    <a:cubicBezTo>
                      <a:pt x="5" y="48"/>
                      <a:pt x="5" y="48"/>
                      <a:pt x="5" y="48"/>
                    </a:cubicBezTo>
                    <a:moveTo>
                      <a:pt x="14" y="4"/>
                    </a:moveTo>
                    <a:cubicBezTo>
                      <a:pt x="13" y="5"/>
                      <a:pt x="12" y="5"/>
                      <a:pt x="10" y="6"/>
                    </a:cubicBezTo>
                    <a:cubicBezTo>
                      <a:pt x="6" y="8"/>
                      <a:pt x="2" y="11"/>
                      <a:pt x="0" y="14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1" y="53"/>
                      <a:pt x="2" y="54"/>
                      <a:pt x="2" y="54"/>
                    </a:cubicBezTo>
                    <a:cubicBezTo>
                      <a:pt x="2" y="54"/>
                      <a:pt x="2" y="53"/>
                      <a:pt x="3" y="50"/>
                    </a:cubicBezTo>
                    <a:cubicBezTo>
                      <a:pt x="3" y="52"/>
                      <a:pt x="2" y="53"/>
                      <a:pt x="2" y="54"/>
                    </a:cubicBezTo>
                    <a:cubicBezTo>
                      <a:pt x="2" y="59"/>
                      <a:pt x="6" y="62"/>
                      <a:pt x="10" y="62"/>
                    </a:cubicBezTo>
                    <a:cubicBezTo>
                      <a:pt x="12" y="62"/>
                      <a:pt x="13" y="62"/>
                      <a:pt x="14" y="62"/>
                    </a:cubicBezTo>
                    <a:cubicBezTo>
                      <a:pt x="14" y="62"/>
                      <a:pt x="14" y="62"/>
                      <a:pt x="14" y="62"/>
                    </a:cubicBezTo>
                    <a:cubicBezTo>
                      <a:pt x="14" y="63"/>
                      <a:pt x="14" y="64"/>
                      <a:pt x="14" y="64"/>
                    </a:cubicBezTo>
                    <a:cubicBezTo>
                      <a:pt x="14" y="4"/>
                      <a:pt x="14" y="4"/>
                      <a:pt x="14" y="4"/>
                    </a:cubicBezTo>
                    <a:moveTo>
                      <a:pt x="14" y="0"/>
                    </a:moveTo>
                    <a:cubicBezTo>
                      <a:pt x="8" y="2"/>
                      <a:pt x="3" y="5"/>
                      <a:pt x="0" y="9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4" y="8"/>
                      <a:pt x="8" y="4"/>
                      <a:pt x="14" y="3"/>
                    </a:cubicBezTo>
                    <a:cubicBezTo>
                      <a:pt x="14" y="0"/>
                      <a:pt x="14" y="0"/>
                      <a:pt x="14" y="0"/>
                    </a:cubicBezTo>
                  </a:path>
                </a:pathLst>
              </a:custGeom>
              <a:solidFill>
                <a:srgbClr val="DC60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1" name="ïṥlïdè">
                <a:extLst>
                  <a:ext uri="{FF2B5EF4-FFF2-40B4-BE49-F238E27FC236}">
                    <a16:creationId xmlns:a16="http://schemas.microsoft.com/office/drawing/2014/main" id="{32E49B9E-1F05-4512-801C-5031127E751F}"/>
                  </a:ext>
                </a:extLst>
              </p:cNvPr>
              <p:cNvSpPr/>
              <p:nvPr/>
            </p:nvSpPr>
            <p:spPr bwMode="auto">
              <a:xfrm>
                <a:off x="3805238" y="2255838"/>
                <a:ext cx="1208088" cy="1466850"/>
              </a:xfrm>
              <a:custGeom>
                <a:avLst/>
                <a:gdLst>
                  <a:gd name="T0" fmla="*/ 153 w 199"/>
                  <a:gd name="T1" fmla="*/ 11 h 242"/>
                  <a:gd name="T2" fmla="*/ 150 w 199"/>
                  <a:gd name="T3" fmla="*/ 12 h 242"/>
                  <a:gd name="T4" fmla="*/ 147 w 199"/>
                  <a:gd name="T5" fmla="*/ 24 h 242"/>
                  <a:gd name="T6" fmla="*/ 147 w 199"/>
                  <a:gd name="T7" fmla="*/ 44 h 242"/>
                  <a:gd name="T8" fmla="*/ 146 w 199"/>
                  <a:gd name="T9" fmla="*/ 45 h 242"/>
                  <a:gd name="T10" fmla="*/ 146 w 199"/>
                  <a:gd name="T11" fmla="*/ 46 h 242"/>
                  <a:gd name="T12" fmla="*/ 146 w 199"/>
                  <a:gd name="T13" fmla="*/ 47 h 242"/>
                  <a:gd name="T14" fmla="*/ 145 w 199"/>
                  <a:gd name="T15" fmla="*/ 49 h 242"/>
                  <a:gd name="T16" fmla="*/ 145 w 199"/>
                  <a:gd name="T17" fmla="*/ 52 h 242"/>
                  <a:gd name="T18" fmla="*/ 144 w 199"/>
                  <a:gd name="T19" fmla="*/ 54 h 242"/>
                  <a:gd name="T20" fmla="*/ 143 w 199"/>
                  <a:gd name="T21" fmla="*/ 57 h 242"/>
                  <a:gd name="T22" fmla="*/ 142 w 199"/>
                  <a:gd name="T23" fmla="*/ 59 h 242"/>
                  <a:gd name="T24" fmla="*/ 142 w 199"/>
                  <a:gd name="T25" fmla="*/ 62 h 242"/>
                  <a:gd name="T26" fmla="*/ 141 w 199"/>
                  <a:gd name="T27" fmla="*/ 65 h 242"/>
                  <a:gd name="T28" fmla="*/ 139 w 199"/>
                  <a:gd name="T29" fmla="*/ 68 h 242"/>
                  <a:gd name="T30" fmla="*/ 95 w 199"/>
                  <a:gd name="T31" fmla="*/ 127 h 242"/>
                  <a:gd name="T32" fmla="*/ 35 w 199"/>
                  <a:gd name="T33" fmla="*/ 121 h 242"/>
                  <a:gd name="T34" fmla="*/ 30 w 199"/>
                  <a:gd name="T35" fmla="*/ 111 h 242"/>
                  <a:gd name="T36" fmla="*/ 33 w 199"/>
                  <a:gd name="T37" fmla="*/ 111 h 242"/>
                  <a:gd name="T38" fmla="*/ 40 w 199"/>
                  <a:gd name="T39" fmla="*/ 58 h 242"/>
                  <a:gd name="T40" fmla="*/ 22 w 199"/>
                  <a:gd name="T41" fmla="*/ 44 h 242"/>
                  <a:gd name="T42" fmla="*/ 0 w 199"/>
                  <a:gd name="T43" fmla="*/ 42 h 242"/>
                  <a:gd name="T44" fmla="*/ 9 w 199"/>
                  <a:gd name="T45" fmla="*/ 43 h 242"/>
                  <a:gd name="T46" fmla="*/ 0 w 199"/>
                  <a:gd name="T47" fmla="*/ 46 h 242"/>
                  <a:gd name="T48" fmla="*/ 1 w 199"/>
                  <a:gd name="T49" fmla="*/ 114 h 242"/>
                  <a:gd name="T50" fmla="*/ 0 w 199"/>
                  <a:gd name="T51" fmla="*/ 242 h 242"/>
                  <a:gd name="T52" fmla="*/ 51 w 199"/>
                  <a:gd name="T53" fmla="*/ 187 h 242"/>
                  <a:gd name="T54" fmla="*/ 68 w 199"/>
                  <a:gd name="T55" fmla="*/ 178 h 242"/>
                  <a:gd name="T56" fmla="*/ 156 w 199"/>
                  <a:gd name="T57" fmla="*/ 78 h 242"/>
                  <a:gd name="T58" fmla="*/ 157 w 199"/>
                  <a:gd name="T59" fmla="*/ 75 h 242"/>
                  <a:gd name="T60" fmla="*/ 158 w 199"/>
                  <a:gd name="T61" fmla="*/ 71 h 242"/>
                  <a:gd name="T62" fmla="*/ 158 w 199"/>
                  <a:gd name="T63" fmla="*/ 69 h 242"/>
                  <a:gd name="T64" fmla="*/ 159 w 199"/>
                  <a:gd name="T65" fmla="*/ 65 h 242"/>
                  <a:gd name="T66" fmla="*/ 159 w 199"/>
                  <a:gd name="T67" fmla="*/ 62 h 242"/>
                  <a:gd name="T68" fmla="*/ 160 w 199"/>
                  <a:gd name="T69" fmla="*/ 60 h 242"/>
                  <a:gd name="T70" fmla="*/ 160 w 199"/>
                  <a:gd name="T71" fmla="*/ 55 h 242"/>
                  <a:gd name="T72" fmla="*/ 161 w 199"/>
                  <a:gd name="T73" fmla="*/ 53 h 242"/>
                  <a:gd name="T74" fmla="*/ 161 w 199"/>
                  <a:gd name="T75" fmla="*/ 50 h 242"/>
                  <a:gd name="T76" fmla="*/ 161 w 199"/>
                  <a:gd name="T77" fmla="*/ 48 h 242"/>
                  <a:gd name="T78" fmla="*/ 161 w 199"/>
                  <a:gd name="T79" fmla="*/ 46 h 242"/>
                  <a:gd name="T80" fmla="*/ 161 w 199"/>
                  <a:gd name="T81" fmla="*/ 46 h 242"/>
                  <a:gd name="T82" fmla="*/ 172 w 199"/>
                  <a:gd name="T83" fmla="*/ 36 h 242"/>
                  <a:gd name="T84" fmla="*/ 168 w 199"/>
                  <a:gd name="T85" fmla="*/ 15 h 242"/>
                  <a:gd name="T86" fmla="*/ 192 w 199"/>
                  <a:gd name="T87" fmla="*/ 0 h 242"/>
                  <a:gd name="T88" fmla="*/ 185 w 199"/>
                  <a:gd name="T89" fmla="*/ 5 h 242"/>
                  <a:gd name="T90" fmla="*/ 177 w 199"/>
                  <a:gd name="T91" fmla="*/ 16 h 242"/>
                  <a:gd name="T92" fmla="*/ 195 w 199"/>
                  <a:gd name="T93" fmla="*/ 8 h 242"/>
                  <a:gd name="T94" fmla="*/ 198 w 199"/>
                  <a:gd name="T95" fmla="*/ 4 h 242"/>
                  <a:gd name="T96" fmla="*/ 192 w 199"/>
                  <a:gd name="T97" fmla="*/ 0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99" h="242">
                    <a:moveTo>
                      <a:pt x="155" y="11"/>
                    </a:moveTo>
                    <a:cubicBezTo>
                      <a:pt x="154" y="11"/>
                      <a:pt x="154" y="11"/>
                      <a:pt x="153" y="11"/>
                    </a:cubicBezTo>
                    <a:cubicBezTo>
                      <a:pt x="152" y="11"/>
                      <a:pt x="152" y="11"/>
                      <a:pt x="151" y="12"/>
                    </a:cubicBezTo>
                    <a:cubicBezTo>
                      <a:pt x="150" y="12"/>
                      <a:pt x="150" y="12"/>
                      <a:pt x="150" y="12"/>
                    </a:cubicBezTo>
                    <a:cubicBezTo>
                      <a:pt x="150" y="13"/>
                      <a:pt x="150" y="13"/>
                      <a:pt x="150" y="13"/>
                    </a:cubicBezTo>
                    <a:cubicBezTo>
                      <a:pt x="146" y="16"/>
                      <a:pt x="147" y="24"/>
                      <a:pt x="147" y="24"/>
                    </a:cubicBezTo>
                    <a:cubicBezTo>
                      <a:pt x="138" y="29"/>
                      <a:pt x="147" y="43"/>
                      <a:pt x="147" y="43"/>
                    </a:cubicBezTo>
                    <a:cubicBezTo>
                      <a:pt x="147" y="43"/>
                      <a:pt x="147" y="44"/>
                      <a:pt x="147" y="44"/>
                    </a:cubicBezTo>
                    <a:cubicBezTo>
                      <a:pt x="147" y="44"/>
                      <a:pt x="147" y="44"/>
                      <a:pt x="147" y="44"/>
                    </a:cubicBezTo>
                    <a:cubicBezTo>
                      <a:pt x="146" y="45"/>
                      <a:pt x="146" y="45"/>
                      <a:pt x="146" y="45"/>
                    </a:cubicBezTo>
                    <a:cubicBezTo>
                      <a:pt x="146" y="45"/>
                      <a:pt x="146" y="45"/>
                      <a:pt x="146" y="45"/>
                    </a:cubicBezTo>
                    <a:cubicBezTo>
                      <a:pt x="146" y="46"/>
                      <a:pt x="146" y="46"/>
                      <a:pt x="146" y="46"/>
                    </a:cubicBezTo>
                    <a:cubicBezTo>
                      <a:pt x="146" y="47"/>
                      <a:pt x="146" y="47"/>
                      <a:pt x="146" y="47"/>
                    </a:cubicBezTo>
                    <a:cubicBezTo>
                      <a:pt x="146" y="47"/>
                      <a:pt x="146" y="47"/>
                      <a:pt x="146" y="47"/>
                    </a:cubicBezTo>
                    <a:cubicBezTo>
                      <a:pt x="146" y="48"/>
                      <a:pt x="146" y="48"/>
                      <a:pt x="146" y="48"/>
                    </a:cubicBezTo>
                    <a:cubicBezTo>
                      <a:pt x="145" y="49"/>
                      <a:pt x="145" y="49"/>
                      <a:pt x="145" y="49"/>
                    </a:cubicBezTo>
                    <a:cubicBezTo>
                      <a:pt x="145" y="50"/>
                      <a:pt x="145" y="50"/>
                      <a:pt x="145" y="50"/>
                    </a:cubicBezTo>
                    <a:cubicBezTo>
                      <a:pt x="145" y="51"/>
                      <a:pt x="145" y="51"/>
                      <a:pt x="145" y="52"/>
                    </a:cubicBezTo>
                    <a:cubicBezTo>
                      <a:pt x="145" y="52"/>
                      <a:pt x="144" y="53"/>
                      <a:pt x="144" y="53"/>
                    </a:cubicBezTo>
                    <a:cubicBezTo>
                      <a:pt x="144" y="54"/>
                      <a:pt x="144" y="54"/>
                      <a:pt x="144" y="54"/>
                    </a:cubicBezTo>
                    <a:cubicBezTo>
                      <a:pt x="144" y="55"/>
                      <a:pt x="144" y="55"/>
                      <a:pt x="144" y="56"/>
                    </a:cubicBezTo>
                    <a:cubicBezTo>
                      <a:pt x="144" y="56"/>
                      <a:pt x="143" y="56"/>
                      <a:pt x="143" y="57"/>
                    </a:cubicBezTo>
                    <a:cubicBezTo>
                      <a:pt x="143" y="57"/>
                      <a:pt x="143" y="58"/>
                      <a:pt x="143" y="58"/>
                    </a:cubicBezTo>
                    <a:cubicBezTo>
                      <a:pt x="143" y="59"/>
                      <a:pt x="143" y="59"/>
                      <a:pt x="142" y="59"/>
                    </a:cubicBezTo>
                    <a:cubicBezTo>
                      <a:pt x="142" y="60"/>
                      <a:pt x="142" y="60"/>
                      <a:pt x="142" y="61"/>
                    </a:cubicBezTo>
                    <a:cubicBezTo>
                      <a:pt x="142" y="61"/>
                      <a:pt x="142" y="62"/>
                      <a:pt x="142" y="62"/>
                    </a:cubicBezTo>
                    <a:cubicBezTo>
                      <a:pt x="141" y="63"/>
                      <a:pt x="141" y="63"/>
                      <a:pt x="141" y="64"/>
                    </a:cubicBezTo>
                    <a:cubicBezTo>
                      <a:pt x="141" y="64"/>
                      <a:pt x="141" y="65"/>
                      <a:pt x="141" y="65"/>
                    </a:cubicBezTo>
                    <a:cubicBezTo>
                      <a:pt x="140" y="66"/>
                      <a:pt x="140" y="66"/>
                      <a:pt x="140" y="67"/>
                    </a:cubicBezTo>
                    <a:cubicBezTo>
                      <a:pt x="140" y="67"/>
                      <a:pt x="140" y="68"/>
                      <a:pt x="139" y="68"/>
                    </a:cubicBezTo>
                    <a:cubicBezTo>
                      <a:pt x="139" y="69"/>
                      <a:pt x="139" y="70"/>
                      <a:pt x="139" y="71"/>
                    </a:cubicBezTo>
                    <a:cubicBezTo>
                      <a:pt x="131" y="92"/>
                      <a:pt x="117" y="119"/>
                      <a:pt x="95" y="127"/>
                    </a:cubicBezTo>
                    <a:cubicBezTo>
                      <a:pt x="86" y="129"/>
                      <a:pt x="78" y="131"/>
                      <a:pt x="71" y="131"/>
                    </a:cubicBezTo>
                    <a:cubicBezTo>
                      <a:pt x="54" y="131"/>
                      <a:pt x="41" y="125"/>
                      <a:pt x="35" y="121"/>
                    </a:cubicBezTo>
                    <a:cubicBezTo>
                      <a:pt x="33" y="119"/>
                      <a:pt x="31" y="119"/>
                      <a:pt x="31" y="118"/>
                    </a:cubicBezTo>
                    <a:cubicBezTo>
                      <a:pt x="31" y="116"/>
                      <a:pt x="30" y="114"/>
                      <a:pt x="30" y="111"/>
                    </a:cubicBezTo>
                    <a:cubicBezTo>
                      <a:pt x="30" y="111"/>
                      <a:pt x="30" y="111"/>
                      <a:pt x="30" y="111"/>
                    </a:cubicBezTo>
                    <a:cubicBezTo>
                      <a:pt x="31" y="111"/>
                      <a:pt x="32" y="111"/>
                      <a:pt x="33" y="111"/>
                    </a:cubicBezTo>
                    <a:cubicBezTo>
                      <a:pt x="58" y="107"/>
                      <a:pt x="42" y="64"/>
                      <a:pt x="42" y="64"/>
                    </a:cubicBezTo>
                    <a:cubicBezTo>
                      <a:pt x="42" y="64"/>
                      <a:pt x="42" y="61"/>
                      <a:pt x="40" y="58"/>
                    </a:cubicBezTo>
                    <a:cubicBezTo>
                      <a:pt x="40" y="58"/>
                      <a:pt x="39" y="56"/>
                      <a:pt x="36" y="52"/>
                    </a:cubicBezTo>
                    <a:cubicBezTo>
                      <a:pt x="33" y="49"/>
                      <a:pt x="29" y="45"/>
                      <a:pt x="22" y="44"/>
                    </a:cubicBezTo>
                    <a:cubicBezTo>
                      <a:pt x="18" y="41"/>
                      <a:pt x="14" y="40"/>
                      <a:pt x="9" y="40"/>
                    </a:cubicBezTo>
                    <a:cubicBezTo>
                      <a:pt x="6" y="40"/>
                      <a:pt x="3" y="41"/>
                      <a:pt x="0" y="42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3" y="44"/>
                      <a:pt x="6" y="43"/>
                      <a:pt x="9" y="43"/>
                    </a:cubicBezTo>
                    <a:cubicBezTo>
                      <a:pt x="9" y="43"/>
                      <a:pt x="10" y="43"/>
                      <a:pt x="10" y="43"/>
                    </a:cubicBezTo>
                    <a:cubicBezTo>
                      <a:pt x="7" y="44"/>
                      <a:pt x="4" y="45"/>
                      <a:pt x="0" y="46"/>
                    </a:cubicBezTo>
                    <a:cubicBezTo>
                      <a:pt x="0" y="106"/>
                      <a:pt x="0" y="106"/>
                      <a:pt x="0" y="106"/>
                    </a:cubicBezTo>
                    <a:cubicBezTo>
                      <a:pt x="0" y="109"/>
                      <a:pt x="0" y="111"/>
                      <a:pt x="1" y="114"/>
                    </a:cubicBezTo>
                    <a:cubicBezTo>
                      <a:pt x="1" y="114"/>
                      <a:pt x="0" y="114"/>
                      <a:pt x="0" y="114"/>
                    </a:cubicBezTo>
                    <a:cubicBezTo>
                      <a:pt x="0" y="242"/>
                      <a:pt x="0" y="242"/>
                      <a:pt x="0" y="242"/>
                    </a:cubicBezTo>
                    <a:cubicBezTo>
                      <a:pt x="54" y="242"/>
                      <a:pt x="54" y="242"/>
                      <a:pt x="54" y="242"/>
                    </a:cubicBezTo>
                    <a:cubicBezTo>
                      <a:pt x="50" y="225"/>
                      <a:pt x="47" y="206"/>
                      <a:pt x="51" y="187"/>
                    </a:cubicBezTo>
                    <a:cubicBezTo>
                      <a:pt x="52" y="184"/>
                      <a:pt x="52" y="181"/>
                      <a:pt x="53" y="178"/>
                    </a:cubicBezTo>
                    <a:cubicBezTo>
                      <a:pt x="57" y="178"/>
                      <a:pt x="62" y="178"/>
                      <a:pt x="68" y="178"/>
                    </a:cubicBezTo>
                    <a:cubicBezTo>
                      <a:pt x="71" y="178"/>
                      <a:pt x="75" y="178"/>
                      <a:pt x="80" y="178"/>
                    </a:cubicBezTo>
                    <a:cubicBezTo>
                      <a:pt x="128" y="175"/>
                      <a:pt x="148" y="117"/>
                      <a:pt x="156" y="78"/>
                    </a:cubicBezTo>
                    <a:cubicBezTo>
                      <a:pt x="157" y="77"/>
                      <a:pt x="157" y="76"/>
                      <a:pt x="157" y="75"/>
                    </a:cubicBezTo>
                    <a:cubicBezTo>
                      <a:pt x="157" y="75"/>
                      <a:pt x="157" y="75"/>
                      <a:pt x="157" y="75"/>
                    </a:cubicBezTo>
                    <a:cubicBezTo>
                      <a:pt x="157" y="74"/>
                      <a:pt x="157" y="73"/>
                      <a:pt x="158" y="72"/>
                    </a:cubicBezTo>
                    <a:cubicBezTo>
                      <a:pt x="158" y="71"/>
                      <a:pt x="158" y="71"/>
                      <a:pt x="158" y="71"/>
                    </a:cubicBezTo>
                    <a:cubicBezTo>
                      <a:pt x="158" y="70"/>
                      <a:pt x="158" y="70"/>
                      <a:pt x="158" y="69"/>
                    </a:cubicBezTo>
                    <a:cubicBezTo>
                      <a:pt x="158" y="69"/>
                      <a:pt x="158" y="69"/>
                      <a:pt x="158" y="69"/>
                    </a:cubicBezTo>
                    <a:cubicBezTo>
                      <a:pt x="158" y="67"/>
                      <a:pt x="159" y="66"/>
                      <a:pt x="159" y="65"/>
                    </a:cubicBezTo>
                    <a:cubicBezTo>
                      <a:pt x="159" y="65"/>
                      <a:pt x="159" y="65"/>
                      <a:pt x="159" y="65"/>
                    </a:cubicBezTo>
                    <a:cubicBezTo>
                      <a:pt x="159" y="65"/>
                      <a:pt x="159" y="64"/>
                      <a:pt x="159" y="63"/>
                    </a:cubicBezTo>
                    <a:cubicBezTo>
                      <a:pt x="159" y="62"/>
                      <a:pt x="159" y="62"/>
                      <a:pt x="159" y="62"/>
                    </a:cubicBezTo>
                    <a:cubicBezTo>
                      <a:pt x="159" y="62"/>
                      <a:pt x="160" y="61"/>
                      <a:pt x="160" y="60"/>
                    </a:cubicBezTo>
                    <a:cubicBezTo>
                      <a:pt x="160" y="60"/>
                      <a:pt x="160" y="60"/>
                      <a:pt x="160" y="60"/>
                    </a:cubicBezTo>
                    <a:cubicBezTo>
                      <a:pt x="160" y="58"/>
                      <a:pt x="160" y="57"/>
                      <a:pt x="160" y="55"/>
                    </a:cubicBezTo>
                    <a:cubicBezTo>
                      <a:pt x="160" y="55"/>
                      <a:pt x="160" y="55"/>
                      <a:pt x="160" y="55"/>
                    </a:cubicBezTo>
                    <a:cubicBezTo>
                      <a:pt x="160" y="54"/>
                      <a:pt x="161" y="54"/>
                      <a:pt x="161" y="53"/>
                    </a:cubicBezTo>
                    <a:cubicBezTo>
                      <a:pt x="161" y="53"/>
                      <a:pt x="161" y="53"/>
                      <a:pt x="161" y="53"/>
                    </a:cubicBezTo>
                    <a:cubicBezTo>
                      <a:pt x="161" y="52"/>
                      <a:pt x="161" y="51"/>
                      <a:pt x="161" y="50"/>
                    </a:cubicBezTo>
                    <a:cubicBezTo>
                      <a:pt x="161" y="50"/>
                      <a:pt x="161" y="50"/>
                      <a:pt x="161" y="50"/>
                    </a:cubicBezTo>
                    <a:cubicBezTo>
                      <a:pt x="161" y="49"/>
                      <a:pt x="161" y="49"/>
                      <a:pt x="161" y="48"/>
                    </a:cubicBezTo>
                    <a:cubicBezTo>
                      <a:pt x="161" y="48"/>
                      <a:pt x="161" y="48"/>
                      <a:pt x="161" y="48"/>
                    </a:cubicBezTo>
                    <a:cubicBezTo>
                      <a:pt x="161" y="48"/>
                      <a:pt x="161" y="47"/>
                      <a:pt x="161" y="47"/>
                    </a:cubicBezTo>
                    <a:cubicBezTo>
                      <a:pt x="161" y="46"/>
                      <a:pt x="161" y="46"/>
                      <a:pt x="161" y="46"/>
                    </a:cubicBezTo>
                    <a:cubicBezTo>
                      <a:pt x="161" y="46"/>
                      <a:pt x="161" y="46"/>
                      <a:pt x="161" y="46"/>
                    </a:cubicBezTo>
                    <a:cubicBezTo>
                      <a:pt x="161" y="46"/>
                      <a:pt x="161" y="46"/>
                      <a:pt x="161" y="46"/>
                    </a:cubicBezTo>
                    <a:cubicBezTo>
                      <a:pt x="161" y="46"/>
                      <a:pt x="161" y="46"/>
                      <a:pt x="161" y="46"/>
                    </a:cubicBezTo>
                    <a:cubicBezTo>
                      <a:pt x="166" y="42"/>
                      <a:pt x="170" y="39"/>
                      <a:pt x="172" y="36"/>
                    </a:cubicBezTo>
                    <a:cubicBezTo>
                      <a:pt x="172" y="12"/>
                      <a:pt x="172" y="12"/>
                      <a:pt x="172" y="12"/>
                    </a:cubicBezTo>
                    <a:cubicBezTo>
                      <a:pt x="168" y="15"/>
                      <a:pt x="168" y="15"/>
                      <a:pt x="168" y="15"/>
                    </a:cubicBezTo>
                    <a:cubicBezTo>
                      <a:pt x="164" y="12"/>
                      <a:pt x="158" y="11"/>
                      <a:pt x="155" y="11"/>
                    </a:cubicBezTo>
                    <a:moveTo>
                      <a:pt x="192" y="0"/>
                    </a:moveTo>
                    <a:cubicBezTo>
                      <a:pt x="191" y="0"/>
                      <a:pt x="191" y="0"/>
                      <a:pt x="191" y="0"/>
                    </a:cubicBezTo>
                    <a:cubicBezTo>
                      <a:pt x="187" y="0"/>
                      <a:pt x="185" y="5"/>
                      <a:pt x="185" y="5"/>
                    </a:cubicBezTo>
                    <a:cubicBezTo>
                      <a:pt x="177" y="9"/>
                      <a:pt x="177" y="9"/>
                      <a:pt x="177" y="9"/>
                    </a:cubicBezTo>
                    <a:cubicBezTo>
                      <a:pt x="177" y="16"/>
                      <a:pt x="177" y="16"/>
                      <a:pt x="177" y="16"/>
                    </a:cubicBezTo>
                    <a:cubicBezTo>
                      <a:pt x="188" y="9"/>
                      <a:pt x="188" y="9"/>
                      <a:pt x="188" y="9"/>
                    </a:cubicBezTo>
                    <a:cubicBezTo>
                      <a:pt x="188" y="9"/>
                      <a:pt x="191" y="8"/>
                      <a:pt x="195" y="8"/>
                    </a:cubicBezTo>
                    <a:cubicBezTo>
                      <a:pt x="197" y="8"/>
                      <a:pt x="198" y="6"/>
                      <a:pt x="199" y="4"/>
                    </a:cubicBezTo>
                    <a:cubicBezTo>
                      <a:pt x="199" y="4"/>
                      <a:pt x="198" y="4"/>
                      <a:pt x="198" y="4"/>
                    </a:cubicBezTo>
                    <a:cubicBezTo>
                      <a:pt x="195" y="4"/>
                      <a:pt x="193" y="3"/>
                      <a:pt x="192" y="0"/>
                    </a:cubicBezTo>
                    <a:cubicBezTo>
                      <a:pt x="192" y="0"/>
                      <a:pt x="192" y="0"/>
                      <a:pt x="192" y="0"/>
                    </a:cubicBezTo>
                  </a:path>
                </a:pathLst>
              </a:custGeom>
              <a:solidFill>
                <a:srgbClr val="EAEAEB">
                  <a:alpha val="23000"/>
                </a:srgbClr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2" name="ïṧ1iḋe">
                <a:extLst>
                  <a:ext uri="{FF2B5EF4-FFF2-40B4-BE49-F238E27FC236}">
                    <a16:creationId xmlns:a16="http://schemas.microsoft.com/office/drawing/2014/main" id="{CAD89F56-9C42-4452-8D14-A1AD2A28D268}"/>
                  </a:ext>
                </a:extLst>
              </p:cNvPr>
              <p:cNvSpPr/>
              <p:nvPr/>
            </p:nvSpPr>
            <p:spPr bwMode="auto">
              <a:xfrm>
                <a:off x="4848226" y="2309813"/>
                <a:ext cx="30163" cy="163513"/>
              </a:xfrm>
              <a:custGeom>
                <a:avLst/>
                <a:gdLst>
                  <a:gd name="T0" fmla="*/ 5 w 5"/>
                  <a:gd name="T1" fmla="*/ 0 h 27"/>
                  <a:gd name="T2" fmla="*/ 0 w 5"/>
                  <a:gd name="T3" fmla="*/ 3 h 27"/>
                  <a:gd name="T4" fmla="*/ 0 w 5"/>
                  <a:gd name="T5" fmla="*/ 27 h 27"/>
                  <a:gd name="T6" fmla="*/ 1 w 5"/>
                  <a:gd name="T7" fmla="*/ 26 h 27"/>
                  <a:gd name="T8" fmla="*/ 4 w 5"/>
                  <a:gd name="T9" fmla="*/ 17 h 27"/>
                  <a:gd name="T10" fmla="*/ 4 w 5"/>
                  <a:gd name="T11" fmla="*/ 16 h 27"/>
                  <a:gd name="T12" fmla="*/ 3 w 5"/>
                  <a:gd name="T13" fmla="*/ 13 h 27"/>
                  <a:gd name="T14" fmla="*/ 3 w 5"/>
                  <a:gd name="T15" fmla="*/ 12 h 27"/>
                  <a:gd name="T16" fmla="*/ 1 w 5"/>
                  <a:gd name="T17" fmla="*/ 9 h 27"/>
                  <a:gd name="T18" fmla="*/ 5 w 5"/>
                  <a:gd name="T19" fmla="*/ 7 h 27"/>
                  <a:gd name="T20" fmla="*/ 5 w 5"/>
                  <a:gd name="T2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27">
                    <a:moveTo>
                      <a:pt x="5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6"/>
                      <a:pt x="0" y="26"/>
                      <a:pt x="1" y="26"/>
                    </a:cubicBezTo>
                    <a:cubicBezTo>
                      <a:pt x="3" y="23"/>
                      <a:pt x="4" y="20"/>
                      <a:pt x="4" y="17"/>
                    </a:cubicBezTo>
                    <a:cubicBezTo>
                      <a:pt x="4" y="17"/>
                      <a:pt x="4" y="16"/>
                      <a:pt x="4" y="16"/>
                    </a:cubicBezTo>
                    <a:cubicBezTo>
                      <a:pt x="4" y="15"/>
                      <a:pt x="4" y="14"/>
                      <a:pt x="3" y="13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2" y="11"/>
                      <a:pt x="2" y="10"/>
                      <a:pt x="1" y="9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solidFill>
                <a:srgbClr val="D8CF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3" name="í$liḍê">
                <a:extLst>
                  <a:ext uri="{FF2B5EF4-FFF2-40B4-BE49-F238E27FC236}">
                    <a16:creationId xmlns:a16="http://schemas.microsoft.com/office/drawing/2014/main" id="{A0FEA52E-2936-49E5-B465-29F32456074C}"/>
                  </a:ext>
                </a:extLst>
              </p:cNvPr>
              <p:cNvSpPr/>
              <p:nvPr/>
            </p:nvSpPr>
            <p:spPr bwMode="auto">
              <a:xfrm>
                <a:off x="4970463" y="2243138"/>
                <a:ext cx="47625" cy="36513"/>
              </a:xfrm>
              <a:custGeom>
                <a:avLst/>
                <a:gdLst>
                  <a:gd name="T0" fmla="*/ 8 w 8"/>
                  <a:gd name="T1" fmla="*/ 0 h 6"/>
                  <a:gd name="T2" fmla="*/ 4 w 8"/>
                  <a:gd name="T3" fmla="*/ 3 h 6"/>
                  <a:gd name="T4" fmla="*/ 2 w 8"/>
                  <a:gd name="T5" fmla="*/ 2 h 6"/>
                  <a:gd name="T6" fmla="*/ 0 w 8"/>
                  <a:gd name="T7" fmla="*/ 2 h 6"/>
                  <a:gd name="T8" fmla="*/ 6 w 8"/>
                  <a:gd name="T9" fmla="*/ 6 h 6"/>
                  <a:gd name="T10" fmla="*/ 7 w 8"/>
                  <a:gd name="T11" fmla="*/ 6 h 6"/>
                  <a:gd name="T12" fmla="*/ 8 w 8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6">
                    <a:moveTo>
                      <a:pt x="8" y="0"/>
                    </a:moveTo>
                    <a:cubicBezTo>
                      <a:pt x="7" y="2"/>
                      <a:pt x="6" y="3"/>
                      <a:pt x="4" y="3"/>
                    </a:cubicBezTo>
                    <a:cubicBezTo>
                      <a:pt x="4" y="3"/>
                      <a:pt x="3" y="3"/>
                      <a:pt x="2" y="2"/>
                    </a:cubicBezTo>
                    <a:cubicBezTo>
                      <a:pt x="2" y="2"/>
                      <a:pt x="1" y="2"/>
                      <a:pt x="0" y="2"/>
                    </a:cubicBezTo>
                    <a:cubicBezTo>
                      <a:pt x="1" y="5"/>
                      <a:pt x="3" y="6"/>
                      <a:pt x="6" y="6"/>
                    </a:cubicBezTo>
                    <a:cubicBezTo>
                      <a:pt x="6" y="6"/>
                      <a:pt x="7" y="6"/>
                      <a:pt x="7" y="6"/>
                    </a:cubicBezTo>
                    <a:cubicBezTo>
                      <a:pt x="8" y="3"/>
                      <a:pt x="8" y="0"/>
                      <a:pt x="8" y="0"/>
                    </a:cubicBezTo>
                  </a:path>
                </a:pathLst>
              </a:custGeom>
              <a:solidFill>
                <a:srgbClr val="DC60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4" name="íŝḻiḓé">
                <a:extLst>
                  <a:ext uri="{FF2B5EF4-FFF2-40B4-BE49-F238E27FC236}">
                    <a16:creationId xmlns:a16="http://schemas.microsoft.com/office/drawing/2014/main" id="{F01E1176-5EEB-4B55-9156-E340143ACFE9}"/>
                  </a:ext>
                </a:extLst>
              </p:cNvPr>
              <p:cNvSpPr/>
              <p:nvPr/>
            </p:nvSpPr>
            <p:spPr bwMode="auto">
              <a:xfrm>
                <a:off x="3822701" y="2303463"/>
                <a:ext cx="1141413" cy="1042988"/>
              </a:xfrm>
              <a:custGeom>
                <a:avLst/>
                <a:gdLst>
                  <a:gd name="T0" fmla="*/ 22 w 188"/>
                  <a:gd name="T1" fmla="*/ 108 h 172"/>
                  <a:gd name="T2" fmla="*/ 87 w 188"/>
                  <a:gd name="T3" fmla="*/ 117 h 172"/>
                  <a:gd name="T4" fmla="*/ 140 w 188"/>
                  <a:gd name="T5" fmla="*/ 33 h 172"/>
                  <a:gd name="T6" fmla="*/ 140 w 188"/>
                  <a:gd name="T7" fmla="*/ 14 h 172"/>
                  <a:gd name="T8" fmla="*/ 146 w 188"/>
                  <a:gd name="T9" fmla="*/ 1 h 172"/>
                  <a:gd name="T10" fmla="*/ 154 w 188"/>
                  <a:gd name="T11" fmla="*/ 36 h 172"/>
                  <a:gd name="T12" fmla="*/ 72 w 188"/>
                  <a:gd name="T13" fmla="*/ 168 h 172"/>
                  <a:gd name="T14" fmla="*/ 13 w 188"/>
                  <a:gd name="T15" fmla="*/ 136 h 172"/>
                  <a:gd name="T16" fmla="*/ 22 w 188"/>
                  <a:gd name="T17" fmla="*/ 108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8" h="172">
                    <a:moveTo>
                      <a:pt x="22" y="108"/>
                    </a:moveTo>
                    <a:cubicBezTo>
                      <a:pt x="22" y="108"/>
                      <a:pt x="50" y="129"/>
                      <a:pt x="87" y="117"/>
                    </a:cubicBezTo>
                    <a:cubicBezTo>
                      <a:pt x="125" y="104"/>
                      <a:pt x="140" y="33"/>
                      <a:pt x="140" y="33"/>
                    </a:cubicBezTo>
                    <a:cubicBezTo>
                      <a:pt x="140" y="33"/>
                      <a:pt x="131" y="19"/>
                      <a:pt x="140" y="14"/>
                    </a:cubicBezTo>
                    <a:cubicBezTo>
                      <a:pt x="140" y="14"/>
                      <a:pt x="138" y="2"/>
                      <a:pt x="146" y="1"/>
                    </a:cubicBezTo>
                    <a:cubicBezTo>
                      <a:pt x="155" y="0"/>
                      <a:pt x="188" y="10"/>
                      <a:pt x="154" y="36"/>
                    </a:cubicBezTo>
                    <a:cubicBezTo>
                      <a:pt x="154" y="36"/>
                      <a:pt x="145" y="163"/>
                      <a:pt x="72" y="168"/>
                    </a:cubicBezTo>
                    <a:cubicBezTo>
                      <a:pt x="0" y="172"/>
                      <a:pt x="13" y="136"/>
                      <a:pt x="13" y="136"/>
                    </a:cubicBezTo>
                    <a:lnTo>
                      <a:pt x="22" y="108"/>
                    </a:lnTo>
                    <a:close/>
                  </a:path>
                </a:pathLst>
              </a:cu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5" name="îṩlïḓê">
                <a:extLst>
                  <a:ext uri="{FF2B5EF4-FFF2-40B4-BE49-F238E27FC236}">
                    <a16:creationId xmlns:a16="http://schemas.microsoft.com/office/drawing/2014/main" id="{E960D748-66B3-4A32-9BF0-3A55B1CA1040}"/>
                  </a:ext>
                </a:extLst>
              </p:cNvPr>
              <p:cNvSpPr/>
              <p:nvPr/>
            </p:nvSpPr>
            <p:spPr bwMode="auto">
              <a:xfrm>
                <a:off x="4618038" y="2303463"/>
                <a:ext cx="346075" cy="412750"/>
              </a:xfrm>
              <a:custGeom>
                <a:avLst/>
                <a:gdLst>
                  <a:gd name="T0" fmla="*/ 15 w 57"/>
                  <a:gd name="T1" fmla="*/ 1 h 68"/>
                  <a:gd name="T2" fmla="*/ 9 w 57"/>
                  <a:gd name="T3" fmla="*/ 14 h 68"/>
                  <a:gd name="T4" fmla="*/ 9 w 57"/>
                  <a:gd name="T5" fmla="*/ 33 h 68"/>
                  <a:gd name="T6" fmla="*/ 0 w 57"/>
                  <a:gd name="T7" fmla="*/ 63 h 68"/>
                  <a:gd name="T8" fmla="*/ 18 w 57"/>
                  <a:gd name="T9" fmla="*/ 68 h 68"/>
                  <a:gd name="T10" fmla="*/ 23 w 57"/>
                  <a:gd name="T11" fmla="*/ 36 h 68"/>
                  <a:gd name="T12" fmla="*/ 15 w 57"/>
                  <a:gd name="T13" fmla="*/ 1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7" h="68">
                    <a:moveTo>
                      <a:pt x="15" y="1"/>
                    </a:moveTo>
                    <a:cubicBezTo>
                      <a:pt x="7" y="2"/>
                      <a:pt x="9" y="14"/>
                      <a:pt x="9" y="14"/>
                    </a:cubicBezTo>
                    <a:cubicBezTo>
                      <a:pt x="0" y="19"/>
                      <a:pt x="9" y="33"/>
                      <a:pt x="9" y="33"/>
                    </a:cubicBezTo>
                    <a:cubicBezTo>
                      <a:pt x="9" y="33"/>
                      <a:pt x="6" y="47"/>
                      <a:pt x="0" y="63"/>
                    </a:cubicBezTo>
                    <a:cubicBezTo>
                      <a:pt x="6" y="65"/>
                      <a:pt x="12" y="67"/>
                      <a:pt x="18" y="68"/>
                    </a:cubicBezTo>
                    <a:cubicBezTo>
                      <a:pt x="22" y="50"/>
                      <a:pt x="23" y="36"/>
                      <a:pt x="23" y="36"/>
                    </a:cubicBezTo>
                    <a:cubicBezTo>
                      <a:pt x="57" y="10"/>
                      <a:pt x="24" y="0"/>
                      <a:pt x="15" y="1"/>
                    </a:cubicBez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6" name="íšľîďe">
                <a:extLst>
                  <a:ext uri="{FF2B5EF4-FFF2-40B4-BE49-F238E27FC236}">
                    <a16:creationId xmlns:a16="http://schemas.microsoft.com/office/drawing/2014/main" id="{670F17BD-3201-40BC-B376-47DD36F71186}"/>
                  </a:ext>
                </a:extLst>
              </p:cNvPr>
              <p:cNvSpPr/>
              <p:nvPr/>
            </p:nvSpPr>
            <p:spPr bwMode="auto">
              <a:xfrm>
                <a:off x="3313113" y="2595563"/>
                <a:ext cx="388938" cy="1012825"/>
              </a:xfrm>
              <a:custGeom>
                <a:avLst/>
                <a:gdLst>
                  <a:gd name="T0" fmla="*/ 36 w 64"/>
                  <a:gd name="T1" fmla="*/ 3 h 167"/>
                  <a:gd name="T2" fmla="*/ 21 w 64"/>
                  <a:gd name="T3" fmla="*/ 20 h 167"/>
                  <a:gd name="T4" fmla="*/ 24 w 64"/>
                  <a:gd name="T5" fmla="*/ 44 h 167"/>
                  <a:gd name="T6" fmla="*/ 8 w 64"/>
                  <a:gd name="T7" fmla="*/ 74 h 167"/>
                  <a:gd name="T8" fmla="*/ 4 w 64"/>
                  <a:gd name="T9" fmla="*/ 111 h 167"/>
                  <a:gd name="T10" fmla="*/ 18 w 64"/>
                  <a:gd name="T11" fmla="*/ 138 h 167"/>
                  <a:gd name="T12" fmla="*/ 17 w 64"/>
                  <a:gd name="T13" fmla="*/ 167 h 167"/>
                  <a:gd name="T14" fmla="*/ 54 w 64"/>
                  <a:gd name="T15" fmla="*/ 134 h 167"/>
                  <a:gd name="T16" fmla="*/ 57 w 64"/>
                  <a:gd name="T17" fmla="*/ 85 h 167"/>
                  <a:gd name="T18" fmla="*/ 51 w 64"/>
                  <a:gd name="T19" fmla="*/ 51 h 167"/>
                  <a:gd name="T20" fmla="*/ 53 w 64"/>
                  <a:gd name="T21" fmla="*/ 42 h 167"/>
                  <a:gd name="T22" fmla="*/ 50 w 64"/>
                  <a:gd name="T23" fmla="*/ 28 h 167"/>
                  <a:gd name="T24" fmla="*/ 49 w 64"/>
                  <a:gd name="T25" fmla="*/ 14 h 167"/>
                  <a:gd name="T26" fmla="*/ 54 w 64"/>
                  <a:gd name="T27" fmla="*/ 11 h 167"/>
                  <a:gd name="T28" fmla="*/ 60 w 64"/>
                  <a:gd name="T29" fmla="*/ 10 h 167"/>
                  <a:gd name="T30" fmla="*/ 58 w 64"/>
                  <a:gd name="T31" fmla="*/ 3 h 167"/>
                  <a:gd name="T32" fmla="*/ 36 w 64"/>
                  <a:gd name="T33" fmla="*/ 3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4" h="167">
                    <a:moveTo>
                      <a:pt x="36" y="3"/>
                    </a:moveTo>
                    <a:cubicBezTo>
                      <a:pt x="29" y="6"/>
                      <a:pt x="22" y="12"/>
                      <a:pt x="21" y="20"/>
                    </a:cubicBezTo>
                    <a:cubicBezTo>
                      <a:pt x="20" y="28"/>
                      <a:pt x="25" y="36"/>
                      <a:pt x="24" y="44"/>
                    </a:cubicBezTo>
                    <a:cubicBezTo>
                      <a:pt x="24" y="55"/>
                      <a:pt x="14" y="64"/>
                      <a:pt x="8" y="74"/>
                    </a:cubicBezTo>
                    <a:cubicBezTo>
                      <a:pt x="2" y="85"/>
                      <a:pt x="0" y="99"/>
                      <a:pt x="4" y="111"/>
                    </a:cubicBezTo>
                    <a:cubicBezTo>
                      <a:pt x="8" y="121"/>
                      <a:pt x="14" y="129"/>
                      <a:pt x="18" y="138"/>
                    </a:cubicBezTo>
                    <a:cubicBezTo>
                      <a:pt x="22" y="147"/>
                      <a:pt x="24" y="159"/>
                      <a:pt x="17" y="167"/>
                    </a:cubicBezTo>
                    <a:cubicBezTo>
                      <a:pt x="33" y="162"/>
                      <a:pt x="47" y="149"/>
                      <a:pt x="54" y="134"/>
                    </a:cubicBezTo>
                    <a:cubicBezTo>
                      <a:pt x="61" y="119"/>
                      <a:pt x="62" y="101"/>
                      <a:pt x="57" y="85"/>
                    </a:cubicBezTo>
                    <a:cubicBezTo>
                      <a:pt x="53" y="74"/>
                      <a:pt x="48" y="62"/>
                      <a:pt x="51" y="51"/>
                    </a:cubicBezTo>
                    <a:cubicBezTo>
                      <a:pt x="51" y="48"/>
                      <a:pt x="53" y="45"/>
                      <a:pt x="53" y="42"/>
                    </a:cubicBezTo>
                    <a:cubicBezTo>
                      <a:pt x="54" y="38"/>
                      <a:pt x="52" y="33"/>
                      <a:pt x="50" y="28"/>
                    </a:cubicBezTo>
                    <a:cubicBezTo>
                      <a:pt x="48" y="24"/>
                      <a:pt x="47" y="19"/>
                      <a:pt x="49" y="14"/>
                    </a:cubicBezTo>
                    <a:cubicBezTo>
                      <a:pt x="50" y="13"/>
                      <a:pt x="52" y="11"/>
                      <a:pt x="54" y="11"/>
                    </a:cubicBezTo>
                    <a:cubicBezTo>
                      <a:pt x="56" y="10"/>
                      <a:pt x="59" y="11"/>
                      <a:pt x="60" y="10"/>
                    </a:cubicBezTo>
                    <a:cubicBezTo>
                      <a:pt x="64" y="9"/>
                      <a:pt x="61" y="5"/>
                      <a:pt x="58" y="3"/>
                    </a:cubicBezTo>
                    <a:cubicBezTo>
                      <a:pt x="53" y="0"/>
                      <a:pt x="42" y="1"/>
                      <a:pt x="36" y="3"/>
                    </a:cubicBezTo>
                    <a:close/>
                  </a:path>
                </a:pathLst>
              </a:custGeom>
              <a:solidFill>
                <a:srgbClr val="0E0E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7" name="iṩḷîdé">
                <a:extLst>
                  <a:ext uri="{FF2B5EF4-FFF2-40B4-BE49-F238E27FC236}">
                    <a16:creationId xmlns:a16="http://schemas.microsoft.com/office/drawing/2014/main" id="{7C6CE790-44DD-4AC6-BBED-406C412F945A}"/>
                  </a:ext>
                </a:extLst>
              </p:cNvPr>
              <p:cNvSpPr/>
              <p:nvPr/>
            </p:nvSpPr>
            <p:spPr bwMode="auto">
              <a:xfrm>
                <a:off x="3695701" y="5457825"/>
                <a:ext cx="273050" cy="169863"/>
              </a:xfrm>
              <a:custGeom>
                <a:avLst/>
                <a:gdLst>
                  <a:gd name="T0" fmla="*/ 3 w 45"/>
                  <a:gd name="T1" fmla="*/ 0 h 28"/>
                  <a:gd name="T2" fmla="*/ 2 w 45"/>
                  <a:gd name="T3" fmla="*/ 8 h 28"/>
                  <a:gd name="T4" fmla="*/ 0 w 45"/>
                  <a:gd name="T5" fmla="*/ 18 h 28"/>
                  <a:gd name="T6" fmla="*/ 41 w 45"/>
                  <a:gd name="T7" fmla="*/ 28 h 28"/>
                  <a:gd name="T8" fmla="*/ 44 w 45"/>
                  <a:gd name="T9" fmla="*/ 24 h 28"/>
                  <a:gd name="T10" fmla="*/ 36 w 45"/>
                  <a:gd name="T11" fmla="*/ 16 h 28"/>
                  <a:gd name="T12" fmla="*/ 20 w 45"/>
                  <a:gd name="T13" fmla="*/ 5 h 28"/>
                  <a:gd name="T14" fmla="*/ 3 w 45"/>
                  <a:gd name="T1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" h="28">
                    <a:moveTo>
                      <a:pt x="3" y="0"/>
                    </a:moveTo>
                    <a:cubicBezTo>
                      <a:pt x="2" y="8"/>
                      <a:pt x="2" y="8"/>
                      <a:pt x="2" y="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41" y="28"/>
                      <a:pt x="41" y="28"/>
                      <a:pt x="41" y="28"/>
                    </a:cubicBezTo>
                    <a:cubicBezTo>
                      <a:pt x="44" y="28"/>
                      <a:pt x="45" y="26"/>
                      <a:pt x="44" y="24"/>
                    </a:cubicBezTo>
                    <a:cubicBezTo>
                      <a:pt x="42" y="21"/>
                      <a:pt x="39" y="18"/>
                      <a:pt x="36" y="16"/>
                    </a:cubicBezTo>
                    <a:cubicBezTo>
                      <a:pt x="29" y="10"/>
                      <a:pt x="20" y="5"/>
                      <a:pt x="20" y="5"/>
                    </a:cubicBez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8" name="iṣ1íďé">
                <a:extLst>
                  <a:ext uri="{FF2B5EF4-FFF2-40B4-BE49-F238E27FC236}">
                    <a16:creationId xmlns:a16="http://schemas.microsoft.com/office/drawing/2014/main" id="{D0CD5BC1-885E-463B-BA64-19B864FC864C}"/>
                  </a:ext>
                </a:extLst>
              </p:cNvPr>
              <p:cNvSpPr/>
              <p:nvPr/>
            </p:nvSpPr>
            <p:spPr bwMode="auto">
              <a:xfrm>
                <a:off x="4144963" y="5457825"/>
                <a:ext cx="285750" cy="109538"/>
              </a:xfrm>
              <a:custGeom>
                <a:avLst/>
                <a:gdLst>
                  <a:gd name="T0" fmla="*/ 0 w 47"/>
                  <a:gd name="T1" fmla="*/ 0 h 18"/>
                  <a:gd name="T2" fmla="*/ 1 w 47"/>
                  <a:gd name="T3" fmla="*/ 8 h 18"/>
                  <a:gd name="T4" fmla="*/ 1 w 47"/>
                  <a:gd name="T5" fmla="*/ 18 h 18"/>
                  <a:gd name="T6" fmla="*/ 43 w 47"/>
                  <a:gd name="T7" fmla="*/ 18 h 18"/>
                  <a:gd name="T8" fmla="*/ 45 w 47"/>
                  <a:gd name="T9" fmla="*/ 14 h 18"/>
                  <a:gd name="T10" fmla="*/ 36 w 47"/>
                  <a:gd name="T11" fmla="*/ 8 h 18"/>
                  <a:gd name="T12" fmla="*/ 18 w 47"/>
                  <a:gd name="T13" fmla="*/ 1 h 18"/>
                  <a:gd name="T14" fmla="*/ 0 w 47"/>
                  <a:gd name="T1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7" h="18">
                    <a:moveTo>
                      <a:pt x="0" y="0"/>
                    </a:moveTo>
                    <a:cubicBezTo>
                      <a:pt x="1" y="8"/>
                      <a:pt x="1" y="8"/>
                      <a:pt x="1" y="8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43" y="18"/>
                      <a:pt x="43" y="18"/>
                      <a:pt x="43" y="18"/>
                    </a:cubicBezTo>
                    <a:cubicBezTo>
                      <a:pt x="46" y="18"/>
                      <a:pt x="47" y="16"/>
                      <a:pt x="45" y="14"/>
                    </a:cubicBezTo>
                    <a:cubicBezTo>
                      <a:pt x="43" y="12"/>
                      <a:pt x="39" y="10"/>
                      <a:pt x="36" y="8"/>
                    </a:cubicBezTo>
                    <a:cubicBezTo>
                      <a:pt x="27" y="4"/>
                      <a:pt x="18" y="1"/>
                      <a:pt x="18" y="1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9" name="îṩlîdè">
                <a:extLst>
                  <a:ext uri="{FF2B5EF4-FFF2-40B4-BE49-F238E27FC236}">
                    <a16:creationId xmlns:a16="http://schemas.microsoft.com/office/drawing/2014/main" id="{69AF793C-3060-46CF-9F87-9FBED2BF8433}"/>
                  </a:ext>
                </a:extLst>
              </p:cNvPr>
              <p:cNvSpPr/>
              <p:nvPr/>
            </p:nvSpPr>
            <p:spPr bwMode="auto">
              <a:xfrm>
                <a:off x="3671888" y="3825875"/>
                <a:ext cx="679450" cy="1668463"/>
              </a:xfrm>
              <a:custGeom>
                <a:avLst/>
                <a:gdLst>
                  <a:gd name="T0" fmla="*/ 5 w 112"/>
                  <a:gd name="T1" fmla="*/ 14 h 275"/>
                  <a:gd name="T2" fmla="*/ 14 w 112"/>
                  <a:gd name="T3" fmla="*/ 138 h 275"/>
                  <a:gd name="T4" fmla="*/ 5 w 112"/>
                  <a:gd name="T5" fmla="*/ 272 h 275"/>
                  <a:gd name="T6" fmla="*/ 28 w 112"/>
                  <a:gd name="T7" fmla="*/ 275 h 275"/>
                  <a:gd name="T8" fmla="*/ 58 w 112"/>
                  <a:gd name="T9" fmla="*/ 165 h 275"/>
                  <a:gd name="T10" fmla="*/ 58 w 112"/>
                  <a:gd name="T11" fmla="*/ 84 h 275"/>
                  <a:gd name="T12" fmla="*/ 78 w 112"/>
                  <a:gd name="T13" fmla="*/ 150 h 275"/>
                  <a:gd name="T14" fmla="*/ 76 w 112"/>
                  <a:gd name="T15" fmla="*/ 270 h 275"/>
                  <a:gd name="T16" fmla="*/ 98 w 112"/>
                  <a:gd name="T17" fmla="*/ 270 h 275"/>
                  <a:gd name="T18" fmla="*/ 112 w 112"/>
                  <a:gd name="T19" fmla="*/ 138 h 275"/>
                  <a:gd name="T20" fmla="*/ 82 w 112"/>
                  <a:gd name="T21" fmla="*/ 0 h 275"/>
                  <a:gd name="T22" fmla="*/ 5 w 112"/>
                  <a:gd name="T23" fmla="*/ 14 h 2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2" h="275">
                    <a:moveTo>
                      <a:pt x="5" y="14"/>
                    </a:moveTo>
                    <a:cubicBezTo>
                      <a:pt x="5" y="14"/>
                      <a:pt x="0" y="80"/>
                      <a:pt x="14" y="138"/>
                    </a:cubicBezTo>
                    <a:cubicBezTo>
                      <a:pt x="5" y="272"/>
                      <a:pt x="5" y="272"/>
                      <a:pt x="5" y="272"/>
                    </a:cubicBezTo>
                    <a:cubicBezTo>
                      <a:pt x="28" y="275"/>
                      <a:pt x="28" y="275"/>
                      <a:pt x="28" y="275"/>
                    </a:cubicBezTo>
                    <a:cubicBezTo>
                      <a:pt x="28" y="275"/>
                      <a:pt x="51" y="186"/>
                      <a:pt x="58" y="165"/>
                    </a:cubicBezTo>
                    <a:cubicBezTo>
                      <a:pt x="66" y="142"/>
                      <a:pt x="58" y="84"/>
                      <a:pt x="58" y="84"/>
                    </a:cubicBezTo>
                    <a:cubicBezTo>
                      <a:pt x="58" y="84"/>
                      <a:pt x="78" y="129"/>
                      <a:pt x="78" y="150"/>
                    </a:cubicBezTo>
                    <a:cubicBezTo>
                      <a:pt x="78" y="171"/>
                      <a:pt x="76" y="270"/>
                      <a:pt x="76" y="270"/>
                    </a:cubicBezTo>
                    <a:cubicBezTo>
                      <a:pt x="76" y="270"/>
                      <a:pt x="91" y="274"/>
                      <a:pt x="98" y="270"/>
                    </a:cubicBezTo>
                    <a:cubicBezTo>
                      <a:pt x="106" y="266"/>
                      <a:pt x="112" y="138"/>
                      <a:pt x="112" y="138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82" y="0"/>
                      <a:pt x="48" y="10"/>
                      <a:pt x="5" y="14"/>
                    </a:cubicBezTo>
                    <a:close/>
                  </a:path>
                </a:pathLst>
              </a:custGeom>
              <a:solidFill>
                <a:srgbClr val="0E0E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0" name="îṣḷîḋé">
                <a:extLst>
                  <a:ext uri="{FF2B5EF4-FFF2-40B4-BE49-F238E27FC236}">
                    <a16:creationId xmlns:a16="http://schemas.microsoft.com/office/drawing/2014/main" id="{3E5BAA5E-7CCA-4207-96F7-07DC40410357}"/>
                  </a:ext>
                </a:extLst>
              </p:cNvPr>
              <p:cNvSpPr/>
              <p:nvPr/>
            </p:nvSpPr>
            <p:spPr bwMode="auto">
              <a:xfrm>
                <a:off x="3519488" y="2922588"/>
                <a:ext cx="715963" cy="1212850"/>
              </a:xfrm>
              <a:custGeom>
                <a:avLst/>
                <a:gdLst>
                  <a:gd name="T0" fmla="*/ 48 w 118"/>
                  <a:gd name="T1" fmla="*/ 0 h 200"/>
                  <a:gd name="T2" fmla="*/ 6 w 118"/>
                  <a:gd name="T3" fmla="*/ 52 h 200"/>
                  <a:gd name="T4" fmla="*/ 8 w 118"/>
                  <a:gd name="T5" fmla="*/ 171 h 200"/>
                  <a:gd name="T6" fmla="*/ 31 w 118"/>
                  <a:gd name="T7" fmla="*/ 200 h 200"/>
                  <a:gd name="T8" fmla="*/ 34 w 118"/>
                  <a:gd name="T9" fmla="*/ 181 h 200"/>
                  <a:gd name="T10" fmla="*/ 44 w 118"/>
                  <a:gd name="T11" fmla="*/ 197 h 200"/>
                  <a:gd name="T12" fmla="*/ 118 w 118"/>
                  <a:gd name="T13" fmla="*/ 178 h 200"/>
                  <a:gd name="T14" fmla="*/ 94 w 118"/>
                  <a:gd name="T15" fmla="*/ 75 h 200"/>
                  <a:gd name="T16" fmla="*/ 74 w 118"/>
                  <a:gd name="T17" fmla="*/ 6 h 200"/>
                  <a:gd name="T18" fmla="*/ 48 w 118"/>
                  <a:gd name="T19" fmla="*/ 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8" h="200">
                    <a:moveTo>
                      <a:pt x="48" y="0"/>
                    </a:moveTo>
                    <a:cubicBezTo>
                      <a:pt x="48" y="0"/>
                      <a:pt x="18" y="7"/>
                      <a:pt x="6" y="52"/>
                    </a:cubicBezTo>
                    <a:cubicBezTo>
                      <a:pt x="0" y="75"/>
                      <a:pt x="8" y="171"/>
                      <a:pt x="8" y="171"/>
                    </a:cubicBezTo>
                    <a:cubicBezTo>
                      <a:pt x="8" y="171"/>
                      <a:pt x="12" y="200"/>
                      <a:pt x="31" y="200"/>
                    </a:cubicBezTo>
                    <a:cubicBezTo>
                      <a:pt x="34" y="181"/>
                      <a:pt x="34" y="181"/>
                      <a:pt x="34" y="181"/>
                    </a:cubicBezTo>
                    <a:cubicBezTo>
                      <a:pt x="44" y="197"/>
                      <a:pt x="44" y="197"/>
                      <a:pt x="44" y="197"/>
                    </a:cubicBezTo>
                    <a:cubicBezTo>
                      <a:pt x="118" y="178"/>
                      <a:pt x="118" y="178"/>
                      <a:pt x="118" y="178"/>
                    </a:cubicBezTo>
                    <a:cubicBezTo>
                      <a:pt x="118" y="178"/>
                      <a:pt x="84" y="125"/>
                      <a:pt x="94" y="75"/>
                    </a:cubicBezTo>
                    <a:cubicBezTo>
                      <a:pt x="104" y="25"/>
                      <a:pt x="74" y="6"/>
                      <a:pt x="74" y="6"/>
                    </a:cubicBezTo>
                    <a:cubicBezTo>
                      <a:pt x="74" y="6"/>
                      <a:pt x="56" y="19"/>
                      <a:pt x="48" y="0"/>
                    </a:cubicBezTo>
                    <a:close/>
                  </a:path>
                </a:pathLst>
              </a:custGeom>
              <a:solidFill>
                <a:srgbClr val="00BE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" name="íşḻiḓè">
                <a:extLst>
                  <a:ext uri="{FF2B5EF4-FFF2-40B4-BE49-F238E27FC236}">
                    <a16:creationId xmlns:a16="http://schemas.microsoft.com/office/drawing/2014/main" id="{EF20ED72-33AE-4A56-B13C-00193DCC4B96}"/>
                  </a:ext>
                </a:extLst>
              </p:cNvPr>
              <p:cNvSpPr/>
              <p:nvPr/>
            </p:nvSpPr>
            <p:spPr bwMode="auto">
              <a:xfrm>
                <a:off x="3744913" y="2503488"/>
                <a:ext cx="387350" cy="431800"/>
              </a:xfrm>
              <a:custGeom>
                <a:avLst/>
                <a:gdLst>
                  <a:gd name="T0" fmla="*/ 48 w 64"/>
                  <a:gd name="T1" fmla="*/ 21 h 71"/>
                  <a:gd name="T2" fmla="*/ 39 w 64"/>
                  <a:gd name="T3" fmla="*/ 68 h 71"/>
                  <a:gd name="T4" fmla="*/ 2 w 64"/>
                  <a:gd name="T5" fmla="*/ 44 h 71"/>
                  <a:gd name="T6" fmla="*/ 21 w 64"/>
                  <a:gd name="T7" fmla="*/ 6 h 71"/>
                  <a:gd name="T8" fmla="*/ 48 w 64"/>
                  <a:gd name="T9" fmla="*/ 2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71">
                    <a:moveTo>
                      <a:pt x="48" y="21"/>
                    </a:moveTo>
                    <a:cubicBezTo>
                      <a:pt x="48" y="21"/>
                      <a:pt x="64" y="64"/>
                      <a:pt x="39" y="68"/>
                    </a:cubicBezTo>
                    <a:cubicBezTo>
                      <a:pt x="14" y="71"/>
                      <a:pt x="2" y="55"/>
                      <a:pt x="2" y="44"/>
                    </a:cubicBezTo>
                    <a:cubicBezTo>
                      <a:pt x="2" y="33"/>
                      <a:pt x="0" y="12"/>
                      <a:pt x="21" y="6"/>
                    </a:cubicBezTo>
                    <a:cubicBezTo>
                      <a:pt x="42" y="0"/>
                      <a:pt x="48" y="21"/>
                      <a:pt x="48" y="21"/>
                    </a:cubicBez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" name="ïšlïďê">
                <a:extLst>
                  <a:ext uri="{FF2B5EF4-FFF2-40B4-BE49-F238E27FC236}">
                    <a16:creationId xmlns:a16="http://schemas.microsoft.com/office/drawing/2014/main" id="{089C8009-D869-4B99-8A0B-E17E178247B0}"/>
                  </a:ext>
                </a:extLst>
              </p:cNvPr>
              <p:cNvSpPr/>
              <p:nvPr/>
            </p:nvSpPr>
            <p:spPr bwMode="auto">
              <a:xfrm>
                <a:off x="3708401" y="2776538"/>
                <a:ext cx="96838" cy="96838"/>
              </a:xfrm>
              <a:prstGeom prst="ellipse">
                <a:avLst/>
              </a:pr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" name="işļíde">
                <a:extLst>
                  <a:ext uri="{FF2B5EF4-FFF2-40B4-BE49-F238E27FC236}">
                    <a16:creationId xmlns:a16="http://schemas.microsoft.com/office/drawing/2014/main" id="{B941864B-43A9-4DA7-B305-5859F5ACB098}"/>
                  </a:ext>
                </a:extLst>
              </p:cNvPr>
              <p:cNvSpPr/>
              <p:nvPr/>
            </p:nvSpPr>
            <p:spPr bwMode="auto">
              <a:xfrm>
                <a:off x="3556001" y="2436813"/>
                <a:ext cx="466725" cy="388938"/>
              </a:xfrm>
              <a:custGeom>
                <a:avLst/>
                <a:gdLst>
                  <a:gd name="T0" fmla="*/ 28 w 77"/>
                  <a:gd name="T1" fmla="*/ 58 h 64"/>
                  <a:gd name="T2" fmla="*/ 39 w 77"/>
                  <a:gd name="T3" fmla="*/ 58 h 64"/>
                  <a:gd name="T4" fmla="*/ 65 w 77"/>
                  <a:gd name="T5" fmla="*/ 29 h 64"/>
                  <a:gd name="T6" fmla="*/ 77 w 77"/>
                  <a:gd name="T7" fmla="*/ 26 h 64"/>
                  <a:gd name="T8" fmla="*/ 33 w 77"/>
                  <a:gd name="T9" fmla="*/ 16 h 64"/>
                  <a:gd name="T10" fmla="*/ 25 w 77"/>
                  <a:gd name="T11" fmla="*/ 64 h 64"/>
                  <a:gd name="T12" fmla="*/ 28 w 77"/>
                  <a:gd name="T13" fmla="*/ 58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7" h="64">
                    <a:moveTo>
                      <a:pt x="28" y="58"/>
                    </a:moveTo>
                    <a:cubicBezTo>
                      <a:pt x="28" y="58"/>
                      <a:pt x="34" y="54"/>
                      <a:pt x="39" y="58"/>
                    </a:cubicBezTo>
                    <a:cubicBezTo>
                      <a:pt x="39" y="58"/>
                      <a:pt x="68" y="45"/>
                      <a:pt x="65" y="29"/>
                    </a:cubicBezTo>
                    <a:cubicBezTo>
                      <a:pt x="65" y="29"/>
                      <a:pt x="70" y="25"/>
                      <a:pt x="77" y="26"/>
                    </a:cubicBezTo>
                    <a:cubicBezTo>
                      <a:pt x="77" y="26"/>
                      <a:pt x="66" y="0"/>
                      <a:pt x="33" y="16"/>
                    </a:cubicBezTo>
                    <a:cubicBezTo>
                      <a:pt x="0" y="32"/>
                      <a:pt x="25" y="64"/>
                      <a:pt x="25" y="64"/>
                    </a:cubicBezTo>
                    <a:cubicBezTo>
                      <a:pt x="25" y="64"/>
                      <a:pt x="25" y="61"/>
                      <a:pt x="28" y="58"/>
                    </a:cubicBezTo>
                    <a:close/>
                  </a:path>
                </a:pathLst>
              </a:custGeom>
              <a:solidFill>
                <a:srgbClr val="0E0E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" name="í$ļîḍè">
                <a:extLst>
                  <a:ext uri="{FF2B5EF4-FFF2-40B4-BE49-F238E27FC236}">
                    <a16:creationId xmlns:a16="http://schemas.microsoft.com/office/drawing/2014/main" id="{3711C4FE-DD2C-492C-BB5F-D5C8DB62AC4C}"/>
                  </a:ext>
                </a:extLst>
              </p:cNvPr>
              <p:cNvSpPr/>
              <p:nvPr/>
            </p:nvSpPr>
            <p:spPr bwMode="auto">
              <a:xfrm>
                <a:off x="3775076" y="2819400"/>
                <a:ext cx="193675" cy="206375"/>
              </a:xfrm>
              <a:custGeom>
                <a:avLst/>
                <a:gdLst>
                  <a:gd name="T0" fmla="*/ 32 w 32"/>
                  <a:gd name="T1" fmla="*/ 31 h 34"/>
                  <a:gd name="T2" fmla="*/ 7 w 32"/>
                  <a:gd name="T3" fmla="*/ 31 h 34"/>
                  <a:gd name="T4" fmla="*/ 2 w 32"/>
                  <a:gd name="T5" fmla="*/ 21 h 34"/>
                  <a:gd name="T6" fmla="*/ 1 w 32"/>
                  <a:gd name="T7" fmla="*/ 9 h 34"/>
                  <a:gd name="T8" fmla="*/ 0 w 32"/>
                  <a:gd name="T9" fmla="*/ 6 h 34"/>
                  <a:gd name="T10" fmla="*/ 0 w 32"/>
                  <a:gd name="T11" fmla="*/ 0 h 34"/>
                  <a:gd name="T12" fmla="*/ 28 w 32"/>
                  <a:gd name="T13" fmla="*/ 1 h 34"/>
                  <a:gd name="T14" fmla="*/ 31 w 32"/>
                  <a:gd name="T15" fmla="*/ 16 h 34"/>
                  <a:gd name="T16" fmla="*/ 32 w 32"/>
                  <a:gd name="T17" fmla="*/ 25 h 34"/>
                  <a:gd name="T18" fmla="*/ 32 w 32"/>
                  <a:gd name="T19" fmla="*/ 3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34">
                    <a:moveTo>
                      <a:pt x="32" y="31"/>
                    </a:moveTo>
                    <a:cubicBezTo>
                      <a:pt x="29" y="32"/>
                      <a:pt x="12" y="34"/>
                      <a:pt x="7" y="31"/>
                    </a:cubicBezTo>
                    <a:cubicBezTo>
                      <a:pt x="4" y="30"/>
                      <a:pt x="3" y="25"/>
                      <a:pt x="2" y="21"/>
                    </a:cubicBezTo>
                    <a:cubicBezTo>
                      <a:pt x="1" y="17"/>
                      <a:pt x="1" y="12"/>
                      <a:pt x="1" y="9"/>
                    </a:cubicBezTo>
                    <a:cubicBezTo>
                      <a:pt x="0" y="7"/>
                      <a:pt x="0" y="6"/>
                      <a:pt x="0" y="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8" y="1"/>
                      <a:pt x="28" y="1"/>
                      <a:pt x="28" y="1"/>
                    </a:cubicBezTo>
                    <a:cubicBezTo>
                      <a:pt x="28" y="1"/>
                      <a:pt x="30" y="9"/>
                      <a:pt x="31" y="16"/>
                    </a:cubicBezTo>
                    <a:cubicBezTo>
                      <a:pt x="31" y="19"/>
                      <a:pt x="32" y="22"/>
                      <a:pt x="32" y="25"/>
                    </a:cubicBezTo>
                    <a:cubicBezTo>
                      <a:pt x="32" y="28"/>
                      <a:pt x="32" y="31"/>
                      <a:pt x="32" y="31"/>
                    </a:cubicBez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" name="îṧḷidè">
                <a:extLst>
                  <a:ext uri="{FF2B5EF4-FFF2-40B4-BE49-F238E27FC236}">
                    <a16:creationId xmlns:a16="http://schemas.microsoft.com/office/drawing/2014/main" id="{20D6E03A-ACD8-4270-9EC4-02A63A655B76}"/>
                  </a:ext>
                </a:extLst>
              </p:cNvPr>
              <p:cNvSpPr/>
              <p:nvPr/>
            </p:nvSpPr>
            <p:spPr bwMode="auto">
              <a:xfrm>
                <a:off x="3779838" y="2873375"/>
                <a:ext cx="188913" cy="98425"/>
              </a:xfrm>
              <a:custGeom>
                <a:avLst/>
                <a:gdLst>
                  <a:gd name="T0" fmla="*/ 31 w 31"/>
                  <a:gd name="T1" fmla="*/ 16 h 16"/>
                  <a:gd name="T2" fmla="*/ 1 w 31"/>
                  <a:gd name="T3" fmla="*/ 12 h 16"/>
                  <a:gd name="T4" fmla="*/ 0 w 31"/>
                  <a:gd name="T5" fmla="*/ 0 h 16"/>
                  <a:gd name="T6" fmla="*/ 30 w 31"/>
                  <a:gd name="T7" fmla="*/ 7 h 16"/>
                  <a:gd name="T8" fmla="*/ 31 w 31"/>
                  <a:gd name="T9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6">
                    <a:moveTo>
                      <a:pt x="31" y="16"/>
                    </a:moveTo>
                    <a:cubicBezTo>
                      <a:pt x="1" y="12"/>
                      <a:pt x="1" y="12"/>
                      <a:pt x="1" y="12"/>
                    </a:cubicBezTo>
                    <a:cubicBezTo>
                      <a:pt x="0" y="8"/>
                      <a:pt x="0" y="3"/>
                      <a:pt x="0" y="0"/>
                    </a:cubicBezTo>
                    <a:cubicBezTo>
                      <a:pt x="1" y="2"/>
                      <a:pt x="10" y="12"/>
                      <a:pt x="30" y="7"/>
                    </a:cubicBezTo>
                    <a:cubicBezTo>
                      <a:pt x="30" y="10"/>
                      <a:pt x="31" y="13"/>
                      <a:pt x="31" y="16"/>
                    </a:cubicBezTo>
                    <a:close/>
                  </a:path>
                </a:pathLst>
              </a:cu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" name="íṥ1iḋe">
                <a:extLst>
                  <a:ext uri="{FF2B5EF4-FFF2-40B4-BE49-F238E27FC236}">
                    <a16:creationId xmlns:a16="http://schemas.microsoft.com/office/drawing/2014/main" id="{DE75D656-F4F6-4B73-BA78-C74FFB076B10}"/>
                  </a:ext>
                </a:extLst>
              </p:cNvPr>
              <p:cNvSpPr/>
              <p:nvPr/>
            </p:nvSpPr>
            <p:spPr bwMode="auto">
              <a:xfrm>
                <a:off x="3568701" y="4019550"/>
                <a:ext cx="236538" cy="165100"/>
              </a:xfrm>
              <a:custGeom>
                <a:avLst/>
                <a:gdLst>
                  <a:gd name="T0" fmla="*/ 5 w 39"/>
                  <a:gd name="T1" fmla="*/ 27 h 27"/>
                  <a:gd name="T2" fmla="*/ 5 w 39"/>
                  <a:gd name="T3" fmla="*/ 20 h 27"/>
                  <a:gd name="T4" fmla="*/ 20 w 39"/>
                  <a:gd name="T5" fmla="*/ 5 h 27"/>
                  <a:gd name="T6" fmla="*/ 35 w 39"/>
                  <a:gd name="T7" fmla="*/ 20 h 27"/>
                  <a:gd name="T8" fmla="*/ 35 w 39"/>
                  <a:gd name="T9" fmla="*/ 27 h 27"/>
                  <a:gd name="T10" fmla="*/ 39 w 39"/>
                  <a:gd name="T11" fmla="*/ 27 h 27"/>
                  <a:gd name="T12" fmla="*/ 39 w 39"/>
                  <a:gd name="T13" fmla="*/ 20 h 27"/>
                  <a:gd name="T14" fmla="*/ 20 w 39"/>
                  <a:gd name="T15" fmla="*/ 0 h 27"/>
                  <a:gd name="T16" fmla="*/ 0 w 39"/>
                  <a:gd name="T17" fmla="*/ 20 h 27"/>
                  <a:gd name="T18" fmla="*/ 0 w 39"/>
                  <a:gd name="T19" fmla="*/ 27 h 27"/>
                  <a:gd name="T20" fmla="*/ 5 w 39"/>
                  <a:gd name="T21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9" h="27">
                    <a:moveTo>
                      <a:pt x="5" y="27"/>
                    </a:moveTo>
                    <a:cubicBezTo>
                      <a:pt x="5" y="20"/>
                      <a:pt x="5" y="20"/>
                      <a:pt x="5" y="20"/>
                    </a:cubicBezTo>
                    <a:cubicBezTo>
                      <a:pt x="5" y="11"/>
                      <a:pt x="11" y="5"/>
                      <a:pt x="20" y="5"/>
                    </a:cubicBezTo>
                    <a:cubicBezTo>
                      <a:pt x="28" y="5"/>
                      <a:pt x="35" y="11"/>
                      <a:pt x="35" y="20"/>
                    </a:cubicBezTo>
                    <a:cubicBezTo>
                      <a:pt x="35" y="27"/>
                      <a:pt x="35" y="27"/>
                      <a:pt x="35" y="27"/>
                    </a:cubicBezTo>
                    <a:cubicBezTo>
                      <a:pt x="39" y="27"/>
                      <a:pt x="39" y="27"/>
                      <a:pt x="39" y="27"/>
                    </a:cubicBezTo>
                    <a:cubicBezTo>
                      <a:pt x="39" y="20"/>
                      <a:pt x="39" y="20"/>
                      <a:pt x="39" y="20"/>
                    </a:cubicBezTo>
                    <a:cubicBezTo>
                      <a:pt x="39" y="9"/>
                      <a:pt x="31" y="0"/>
                      <a:pt x="20" y="0"/>
                    </a:cubicBezTo>
                    <a:cubicBezTo>
                      <a:pt x="9" y="0"/>
                      <a:pt x="0" y="9"/>
                      <a:pt x="0" y="20"/>
                    </a:cubicBezTo>
                    <a:cubicBezTo>
                      <a:pt x="0" y="27"/>
                      <a:pt x="0" y="27"/>
                      <a:pt x="0" y="27"/>
                    </a:cubicBezTo>
                    <a:lnTo>
                      <a:pt x="5" y="27"/>
                    </a:lnTo>
                    <a:close/>
                  </a:path>
                </a:pathLst>
              </a:cu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" name="îSḻïḓe">
                <a:extLst>
                  <a:ext uri="{FF2B5EF4-FFF2-40B4-BE49-F238E27FC236}">
                    <a16:creationId xmlns:a16="http://schemas.microsoft.com/office/drawing/2014/main" id="{A90F04E1-13C3-42EB-9A8E-89F4E3B78C3C}"/>
                  </a:ext>
                </a:extLst>
              </p:cNvPr>
              <p:cNvSpPr/>
              <p:nvPr/>
            </p:nvSpPr>
            <p:spPr bwMode="auto">
              <a:xfrm>
                <a:off x="3482976" y="4152900"/>
                <a:ext cx="406400" cy="436563"/>
              </a:xfrm>
              <a:custGeom>
                <a:avLst/>
                <a:gdLst>
                  <a:gd name="T0" fmla="*/ 67 w 67"/>
                  <a:gd name="T1" fmla="*/ 0 h 72"/>
                  <a:gd name="T2" fmla="*/ 67 w 67"/>
                  <a:gd name="T3" fmla="*/ 68 h 72"/>
                  <a:gd name="T4" fmla="*/ 63 w 67"/>
                  <a:gd name="T5" fmla="*/ 72 h 72"/>
                  <a:gd name="T6" fmla="*/ 5 w 67"/>
                  <a:gd name="T7" fmla="*/ 72 h 72"/>
                  <a:gd name="T8" fmla="*/ 0 w 67"/>
                  <a:gd name="T9" fmla="*/ 68 h 72"/>
                  <a:gd name="T10" fmla="*/ 0 w 67"/>
                  <a:gd name="T11" fmla="*/ 0 h 72"/>
                  <a:gd name="T12" fmla="*/ 67 w 67"/>
                  <a:gd name="T13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7" h="72">
                    <a:moveTo>
                      <a:pt x="67" y="0"/>
                    </a:moveTo>
                    <a:cubicBezTo>
                      <a:pt x="67" y="68"/>
                      <a:pt x="67" y="68"/>
                      <a:pt x="67" y="68"/>
                    </a:cubicBezTo>
                    <a:cubicBezTo>
                      <a:pt x="67" y="70"/>
                      <a:pt x="65" y="72"/>
                      <a:pt x="63" y="72"/>
                    </a:cubicBezTo>
                    <a:cubicBezTo>
                      <a:pt x="5" y="72"/>
                      <a:pt x="5" y="72"/>
                      <a:pt x="5" y="72"/>
                    </a:cubicBezTo>
                    <a:cubicBezTo>
                      <a:pt x="2" y="72"/>
                      <a:pt x="0" y="70"/>
                      <a:pt x="0" y="68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" name="íṥļíḑe">
                <a:extLst>
                  <a:ext uri="{FF2B5EF4-FFF2-40B4-BE49-F238E27FC236}">
                    <a16:creationId xmlns:a16="http://schemas.microsoft.com/office/drawing/2014/main" id="{BFA3E338-AE78-4383-A492-DDC74DF0CBE1}"/>
                  </a:ext>
                </a:extLst>
              </p:cNvPr>
              <p:cNvSpPr/>
              <p:nvPr/>
            </p:nvSpPr>
            <p:spPr bwMode="auto">
              <a:xfrm>
                <a:off x="3482976" y="4152900"/>
                <a:ext cx="406400" cy="255588"/>
              </a:xfrm>
              <a:custGeom>
                <a:avLst/>
                <a:gdLst>
                  <a:gd name="T0" fmla="*/ 67 w 67"/>
                  <a:gd name="T1" fmla="*/ 0 h 42"/>
                  <a:gd name="T2" fmla="*/ 67 w 67"/>
                  <a:gd name="T3" fmla="*/ 16 h 42"/>
                  <a:gd name="T4" fmla="*/ 67 w 67"/>
                  <a:gd name="T5" fmla="*/ 16 h 42"/>
                  <a:gd name="T6" fmla="*/ 53 w 67"/>
                  <a:gd name="T7" fmla="*/ 14 h 42"/>
                  <a:gd name="T8" fmla="*/ 41 w 67"/>
                  <a:gd name="T9" fmla="*/ 26 h 42"/>
                  <a:gd name="T10" fmla="*/ 26 w 67"/>
                  <a:gd name="T11" fmla="*/ 26 h 42"/>
                  <a:gd name="T12" fmla="*/ 22 w 67"/>
                  <a:gd name="T13" fmla="*/ 22 h 42"/>
                  <a:gd name="T14" fmla="*/ 13 w 67"/>
                  <a:gd name="T15" fmla="*/ 27 h 42"/>
                  <a:gd name="T16" fmla="*/ 9 w 67"/>
                  <a:gd name="T17" fmla="*/ 38 h 42"/>
                  <a:gd name="T18" fmla="*/ 6 w 67"/>
                  <a:gd name="T19" fmla="*/ 41 h 42"/>
                  <a:gd name="T20" fmla="*/ 0 w 67"/>
                  <a:gd name="T21" fmla="*/ 41 h 42"/>
                  <a:gd name="T22" fmla="*/ 0 w 67"/>
                  <a:gd name="T23" fmla="*/ 0 h 42"/>
                  <a:gd name="T24" fmla="*/ 67 w 67"/>
                  <a:gd name="T25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7" h="42">
                    <a:moveTo>
                      <a:pt x="67" y="0"/>
                    </a:moveTo>
                    <a:cubicBezTo>
                      <a:pt x="67" y="16"/>
                      <a:pt x="67" y="16"/>
                      <a:pt x="67" y="16"/>
                    </a:cubicBezTo>
                    <a:cubicBezTo>
                      <a:pt x="67" y="16"/>
                      <a:pt x="67" y="16"/>
                      <a:pt x="67" y="16"/>
                    </a:cubicBezTo>
                    <a:cubicBezTo>
                      <a:pt x="63" y="18"/>
                      <a:pt x="58" y="13"/>
                      <a:pt x="53" y="14"/>
                    </a:cubicBezTo>
                    <a:cubicBezTo>
                      <a:pt x="47" y="15"/>
                      <a:pt x="45" y="22"/>
                      <a:pt x="41" y="26"/>
                    </a:cubicBezTo>
                    <a:cubicBezTo>
                      <a:pt x="37" y="30"/>
                      <a:pt x="30" y="30"/>
                      <a:pt x="26" y="26"/>
                    </a:cubicBezTo>
                    <a:cubicBezTo>
                      <a:pt x="25" y="25"/>
                      <a:pt x="24" y="23"/>
                      <a:pt x="22" y="22"/>
                    </a:cubicBezTo>
                    <a:cubicBezTo>
                      <a:pt x="18" y="20"/>
                      <a:pt x="14" y="23"/>
                      <a:pt x="13" y="27"/>
                    </a:cubicBezTo>
                    <a:cubicBezTo>
                      <a:pt x="11" y="30"/>
                      <a:pt x="10" y="34"/>
                      <a:pt x="9" y="38"/>
                    </a:cubicBezTo>
                    <a:cubicBezTo>
                      <a:pt x="8" y="39"/>
                      <a:pt x="7" y="41"/>
                      <a:pt x="6" y="41"/>
                    </a:cubicBezTo>
                    <a:cubicBezTo>
                      <a:pt x="4" y="42"/>
                      <a:pt x="2" y="42"/>
                      <a:pt x="0" y="41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F065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" name="îśļîde">
                <a:extLst>
                  <a:ext uri="{FF2B5EF4-FFF2-40B4-BE49-F238E27FC236}">
                    <a16:creationId xmlns:a16="http://schemas.microsoft.com/office/drawing/2014/main" id="{486332F4-D0AB-4040-844A-6ACD70CCBE57}"/>
                  </a:ext>
                </a:extLst>
              </p:cNvPr>
              <p:cNvSpPr/>
              <p:nvPr/>
            </p:nvSpPr>
            <p:spPr bwMode="auto">
              <a:xfrm>
                <a:off x="3276601" y="2971800"/>
                <a:ext cx="455613" cy="1157288"/>
              </a:xfrm>
              <a:custGeom>
                <a:avLst/>
                <a:gdLst>
                  <a:gd name="T0" fmla="*/ 55 w 75"/>
                  <a:gd name="T1" fmla="*/ 191 h 191"/>
                  <a:gd name="T2" fmla="*/ 73 w 75"/>
                  <a:gd name="T3" fmla="*/ 180 h 191"/>
                  <a:gd name="T4" fmla="*/ 52 w 75"/>
                  <a:gd name="T5" fmla="*/ 174 h 191"/>
                  <a:gd name="T6" fmla="*/ 29 w 75"/>
                  <a:gd name="T7" fmla="*/ 124 h 191"/>
                  <a:gd name="T8" fmla="*/ 43 w 75"/>
                  <a:gd name="T9" fmla="*/ 92 h 191"/>
                  <a:gd name="T10" fmla="*/ 56 w 75"/>
                  <a:gd name="T11" fmla="*/ 66 h 191"/>
                  <a:gd name="T12" fmla="*/ 64 w 75"/>
                  <a:gd name="T13" fmla="*/ 39 h 191"/>
                  <a:gd name="T14" fmla="*/ 73 w 75"/>
                  <a:gd name="T15" fmla="*/ 1 h 191"/>
                  <a:gd name="T16" fmla="*/ 73 w 75"/>
                  <a:gd name="T17" fmla="*/ 0 h 191"/>
                  <a:gd name="T18" fmla="*/ 9 w 75"/>
                  <a:gd name="T19" fmla="*/ 72 h 191"/>
                  <a:gd name="T20" fmla="*/ 3 w 75"/>
                  <a:gd name="T21" fmla="*/ 106 h 191"/>
                  <a:gd name="T22" fmla="*/ 55 w 75"/>
                  <a:gd name="T23" fmla="*/ 191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5" h="191">
                    <a:moveTo>
                      <a:pt x="55" y="191"/>
                    </a:moveTo>
                    <a:cubicBezTo>
                      <a:pt x="55" y="191"/>
                      <a:pt x="75" y="190"/>
                      <a:pt x="73" y="180"/>
                    </a:cubicBezTo>
                    <a:cubicBezTo>
                      <a:pt x="72" y="172"/>
                      <a:pt x="52" y="174"/>
                      <a:pt x="52" y="174"/>
                    </a:cubicBezTo>
                    <a:cubicBezTo>
                      <a:pt x="52" y="174"/>
                      <a:pt x="29" y="154"/>
                      <a:pt x="29" y="124"/>
                    </a:cubicBezTo>
                    <a:cubicBezTo>
                      <a:pt x="29" y="111"/>
                      <a:pt x="35" y="100"/>
                      <a:pt x="43" y="92"/>
                    </a:cubicBezTo>
                    <a:cubicBezTo>
                      <a:pt x="51" y="83"/>
                      <a:pt x="56" y="66"/>
                      <a:pt x="56" y="66"/>
                    </a:cubicBezTo>
                    <a:cubicBezTo>
                      <a:pt x="56" y="66"/>
                      <a:pt x="62" y="52"/>
                      <a:pt x="64" y="39"/>
                    </a:cubicBezTo>
                    <a:cubicBezTo>
                      <a:pt x="66" y="26"/>
                      <a:pt x="69" y="14"/>
                      <a:pt x="73" y="1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73" y="0"/>
                      <a:pt x="26" y="21"/>
                      <a:pt x="9" y="72"/>
                    </a:cubicBezTo>
                    <a:cubicBezTo>
                      <a:pt x="6" y="82"/>
                      <a:pt x="3" y="94"/>
                      <a:pt x="3" y="106"/>
                    </a:cubicBezTo>
                    <a:cubicBezTo>
                      <a:pt x="0" y="170"/>
                      <a:pt x="55" y="191"/>
                      <a:pt x="55" y="191"/>
                    </a:cubicBez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" name="iŝļîḑê">
                <a:extLst>
                  <a:ext uri="{FF2B5EF4-FFF2-40B4-BE49-F238E27FC236}">
                    <a16:creationId xmlns:a16="http://schemas.microsoft.com/office/drawing/2014/main" id="{C7B4EC97-0C29-401F-9CE5-28511BD0BF28}"/>
                  </a:ext>
                </a:extLst>
              </p:cNvPr>
              <p:cNvSpPr/>
              <p:nvPr/>
            </p:nvSpPr>
            <p:spPr bwMode="auto">
              <a:xfrm>
                <a:off x="3282951" y="2971800"/>
                <a:ext cx="436563" cy="1047750"/>
              </a:xfrm>
              <a:custGeom>
                <a:avLst/>
                <a:gdLst>
                  <a:gd name="T0" fmla="*/ 8 w 72"/>
                  <a:gd name="T1" fmla="*/ 72 h 173"/>
                  <a:gd name="T2" fmla="*/ 2 w 72"/>
                  <a:gd name="T3" fmla="*/ 106 h 173"/>
                  <a:gd name="T4" fmla="*/ 27 w 72"/>
                  <a:gd name="T5" fmla="*/ 173 h 173"/>
                  <a:gd name="T6" fmla="*/ 39 w 72"/>
                  <a:gd name="T7" fmla="*/ 159 h 173"/>
                  <a:gd name="T8" fmla="*/ 28 w 72"/>
                  <a:gd name="T9" fmla="*/ 124 h 173"/>
                  <a:gd name="T10" fmla="*/ 42 w 72"/>
                  <a:gd name="T11" fmla="*/ 92 h 173"/>
                  <a:gd name="T12" fmla="*/ 55 w 72"/>
                  <a:gd name="T13" fmla="*/ 66 h 173"/>
                  <a:gd name="T14" fmla="*/ 63 w 72"/>
                  <a:gd name="T15" fmla="*/ 39 h 173"/>
                  <a:gd name="T16" fmla="*/ 72 w 72"/>
                  <a:gd name="T17" fmla="*/ 1 h 173"/>
                  <a:gd name="T18" fmla="*/ 72 w 72"/>
                  <a:gd name="T19" fmla="*/ 0 h 173"/>
                  <a:gd name="T20" fmla="*/ 8 w 72"/>
                  <a:gd name="T21" fmla="*/ 72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2" h="173">
                    <a:moveTo>
                      <a:pt x="8" y="72"/>
                    </a:moveTo>
                    <a:cubicBezTo>
                      <a:pt x="5" y="82"/>
                      <a:pt x="2" y="94"/>
                      <a:pt x="2" y="106"/>
                    </a:cubicBezTo>
                    <a:cubicBezTo>
                      <a:pt x="0" y="139"/>
                      <a:pt x="14" y="160"/>
                      <a:pt x="27" y="173"/>
                    </a:cubicBezTo>
                    <a:cubicBezTo>
                      <a:pt x="32" y="169"/>
                      <a:pt x="35" y="164"/>
                      <a:pt x="39" y="159"/>
                    </a:cubicBezTo>
                    <a:cubicBezTo>
                      <a:pt x="33" y="151"/>
                      <a:pt x="28" y="138"/>
                      <a:pt x="28" y="124"/>
                    </a:cubicBezTo>
                    <a:cubicBezTo>
                      <a:pt x="28" y="111"/>
                      <a:pt x="34" y="100"/>
                      <a:pt x="42" y="92"/>
                    </a:cubicBezTo>
                    <a:cubicBezTo>
                      <a:pt x="50" y="83"/>
                      <a:pt x="55" y="66"/>
                      <a:pt x="55" y="66"/>
                    </a:cubicBezTo>
                    <a:cubicBezTo>
                      <a:pt x="55" y="66"/>
                      <a:pt x="61" y="52"/>
                      <a:pt x="63" y="39"/>
                    </a:cubicBezTo>
                    <a:cubicBezTo>
                      <a:pt x="65" y="26"/>
                      <a:pt x="68" y="14"/>
                      <a:pt x="72" y="1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72" y="0"/>
                      <a:pt x="25" y="21"/>
                      <a:pt x="8" y="72"/>
                    </a:cubicBezTo>
                    <a:close/>
                  </a:path>
                </a:pathLst>
              </a:cu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" name="îṣḷïḍè">
                <a:extLst>
                  <a:ext uri="{FF2B5EF4-FFF2-40B4-BE49-F238E27FC236}">
                    <a16:creationId xmlns:a16="http://schemas.microsoft.com/office/drawing/2014/main" id="{4EC46C0A-0E6F-4F18-9DF3-051D2F4D0492}"/>
                  </a:ext>
                </a:extLst>
              </p:cNvPr>
              <p:cNvSpPr/>
              <p:nvPr/>
            </p:nvSpPr>
            <p:spPr bwMode="auto">
              <a:xfrm>
                <a:off x="4708526" y="2266950"/>
                <a:ext cx="212725" cy="139700"/>
              </a:xfrm>
              <a:custGeom>
                <a:avLst/>
                <a:gdLst>
                  <a:gd name="T0" fmla="*/ 5 w 35"/>
                  <a:gd name="T1" fmla="*/ 23 h 23"/>
                  <a:gd name="T2" fmla="*/ 0 w 35"/>
                  <a:gd name="T3" fmla="*/ 20 h 23"/>
                  <a:gd name="T4" fmla="*/ 32 w 35"/>
                  <a:gd name="T5" fmla="*/ 0 h 23"/>
                  <a:gd name="T6" fmla="*/ 35 w 35"/>
                  <a:gd name="T7" fmla="*/ 5 h 23"/>
                  <a:gd name="T8" fmla="*/ 5 w 35"/>
                  <a:gd name="T9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3">
                    <a:moveTo>
                      <a:pt x="5" y="23"/>
                    </a:moveTo>
                    <a:cubicBezTo>
                      <a:pt x="6" y="21"/>
                      <a:pt x="0" y="20"/>
                      <a:pt x="0" y="2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5" y="5"/>
                      <a:pt x="35" y="5"/>
                      <a:pt x="35" y="5"/>
                    </a:cubicBezTo>
                    <a:lnTo>
                      <a:pt x="5" y="23"/>
                    </a:lnTo>
                    <a:close/>
                  </a:path>
                </a:pathLst>
              </a:custGeom>
              <a:solidFill>
                <a:srgbClr val="0E0E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" name="ïSḷíḑê">
                <a:extLst>
                  <a:ext uri="{FF2B5EF4-FFF2-40B4-BE49-F238E27FC236}">
                    <a16:creationId xmlns:a16="http://schemas.microsoft.com/office/drawing/2014/main" id="{3CC999FF-2EC5-4046-9D70-9FA233EE72D8}"/>
                  </a:ext>
                </a:extLst>
              </p:cNvPr>
              <p:cNvSpPr/>
              <p:nvPr/>
            </p:nvSpPr>
            <p:spPr bwMode="auto">
              <a:xfrm>
                <a:off x="4903788" y="2230438"/>
                <a:ext cx="90488" cy="68263"/>
              </a:xfrm>
              <a:custGeom>
                <a:avLst/>
                <a:gdLst>
                  <a:gd name="T0" fmla="*/ 0 w 15"/>
                  <a:gd name="T1" fmla="*/ 6 h 11"/>
                  <a:gd name="T2" fmla="*/ 6 w 15"/>
                  <a:gd name="T3" fmla="*/ 2 h 11"/>
                  <a:gd name="T4" fmla="*/ 15 w 15"/>
                  <a:gd name="T5" fmla="*/ 0 h 11"/>
                  <a:gd name="T6" fmla="*/ 10 w 15"/>
                  <a:gd name="T7" fmla="*/ 10 h 11"/>
                  <a:gd name="T8" fmla="*/ 3 w 15"/>
                  <a:gd name="T9" fmla="*/ 11 h 11"/>
                  <a:gd name="T10" fmla="*/ 0 w 15"/>
                  <a:gd name="T11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11">
                    <a:moveTo>
                      <a:pt x="0" y="6"/>
                    </a:moveTo>
                    <a:cubicBezTo>
                      <a:pt x="0" y="6"/>
                      <a:pt x="2" y="2"/>
                      <a:pt x="6" y="2"/>
                    </a:cubicBezTo>
                    <a:cubicBezTo>
                      <a:pt x="10" y="2"/>
                      <a:pt x="12" y="5"/>
                      <a:pt x="15" y="0"/>
                    </a:cubicBezTo>
                    <a:cubicBezTo>
                      <a:pt x="15" y="0"/>
                      <a:pt x="15" y="9"/>
                      <a:pt x="10" y="10"/>
                    </a:cubicBezTo>
                    <a:cubicBezTo>
                      <a:pt x="5" y="10"/>
                      <a:pt x="3" y="11"/>
                      <a:pt x="3" y="11"/>
                    </a:cubicBez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3535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" name="íŝľíḋê">
                <a:extLst>
                  <a:ext uri="{FF2B5EF4-FFF2-40B4-BE49-F238E27FC236}">
                    <a16:creationId xmlns:a16="http://schemas.microsoft.com/office/drawing/2014/main" id="{78F61279-C035-4976-B51E-0E7C4E6533AB}"/>
                  </a:ext>
                </a:extLst>
              </p:cNvPr>
              <p:cNvSpPr/>
              <p:nvPr/>
            </p:nvSpPr>
            <p:spPr bwMode="auto">
              <a:xfrm>
                <a:off x="3362326" y="2673350"/>
                <a:ext cx="144463" cy="412750"/>
              </a:xfrm>
              <a:custGeom>
                <a:avLst/>
                <a:gdLst>
                  <a:gd name="T0" fmla="*/ 22 w 24"/>
                  <a:gd name="T1" fmla="*/ 0 h 68"/>
                  <a:gd name="T2" fmla="*/ 21 w 24"/>
                  <a:gd name="T3" fmla="*/ 0 h 68"/>
                  <a:gd name="T4" fmla="*/ 9 w 24"/>
                  <a:gd name="T5" fmla="*/ 29 h 68"/>
                  <a:gd name="T6" fmla="*/ 9 w 24"/>
                  <a:gd name="T7" fmla="*/ 44 h 68"/>
                  <a:gd name="T8" fmla="*/ 0 w 24"/>
                  <a:gd name="T9" fmla="*/ 67 h 68"/>
                  <a:gd name="T10" fmla="*/ 1 w 24"/>
                  <a:gd name="T11" fmla="*/ 68 h 68"/>
                  <a:gd name="T12" fmla="*/ 10 w 24"/>
                  <a:gd name="T13" fmla="*/ 33 h 68"/>
                  <a:gd name="T14" fmla="*/ 21 w 24"/>
                  <a:gd name="T15" fmla="*/ 12 h 68"/>
                  <a:gd name="T16" fmla="*/ 22 w 24"/>
                  <a:gd name="T17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68">
                    <a:moveTo>
                      <a:pt x="22" y="0"/>
                    </a:moveTo>
                    <a:cubicBezTo>
                      <a:pt x="22" y="0"/>
                      <a:pt x="21" y="0"/>
                      <a:pt x="21" y="0"/>
                    </a:cubicBezTo>
                    <a:cubicBezTo>
                      <a:pt x="23" y="12"/>
                      <a:pt x="11" y="18"/>
                      <a:pt x="9" y="29"/>
                    </a:cubicBezTo>
                    <a:cubicBezTo>
                      <a:pt x="8" y="34"/>
                      <a:pt x="9" y="39"/>
                      <a:pt x="9" y="44"/>
                    </a:cubicBezTo>
                    <a:cubicBezTo>
                      <a:pt x="9" y="52"/>
                      <a:pt x="6" y="60"/>
                      <a:pt x="0" y="67"/>
                    </a:cubicBezTo>
                    <a:cubicBezTo>
                      <a:pt x="0" y="68"/>
                      <a:pt x="0" y="68"/>
                      <a:pt x="1" y="68"/>
                    </a:cubicBezTo>
                    <a:cubicBezTo>
                      <a:pt x="10" y="57"/>
                      <a:pt x="9" y="47"/>
                      <a:pt x="10" y="33"/>
                    </a:cubicBezTo>
                    <a:cubicBezTo>
                      <a:pt x="10" y="24"/>
                      <a:pt x="16" y="20"/>
                      <a:pt x="21" y="12"/>
                    </a:cubicBezTo>
                    <a:cubicBezTo>
                      <a:pt x="23" y="8"/>
                      <a:pt x="24" y="5"/>
                      <a:pt x="22" y="0"/>
                    </a:cubicBezTo>
                    <a:close/>
                  </a:path>
                </a:pathLst>
              </a:custGeom>
              <a:solidFill>
                <a:srgbClr val="1111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" name="îślîḍé">
                <a:extLst>
                  <a:ext uri="{FF2B5EF4-FFF2-40B4-BE49-F238E27FC236}">
                    <a16:creationId xmlns:a16="http://schemas.microsoft.com/office/drawing/2014/main" id="{33A93F14-DA19-435E-A86D-219627962D16}"/>
                  </a:ext>
                </a:extLst>
              </p:cNvPr>
              <p:cNvSpPr/>
              <p:nvPr/>
            </p:nvSpPr>
            <p:spPr bwMode="auto">
              <a:xfrm>
                <a:off x="3652838" y="2449513"/>
                <a:ext cx="266700" cy="187325"/>
              </a:xfrm>
              <a:custGeom>
                <a:avLst/>
                <a:gdLst>
                  <a:gd name="T0" fmla="*/ 44 w 44"/>
                  <a:gd name="T1" fmla="*/ 10 h 31"/>
                  <a:gd name="T2" fmla="*/ 0 w 44"/>
                  <a:gd name="T3" fmla="*/ 30 h 31"/>
                  <a:gd name="T4" fmla="*/ 1 w 44"/>
                  <a:gd name="T5" fmla="*/ 30 h 31"/>
                  <a:gd name="T6" fmla="*/ 43 w 44"/>
                  <a:gd name="T7" fmla="*/ 12 h 31"/>
                  <a:gd name="T8" fmla="*/ 44 w 44"/>
                  <a:gd name="T9" fmla="*/ 1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31">
                    <a:moveTo>
                      <a:pt x="44" y="10"/>
                    </a:moveTo>
                    <a:cubicBezTo>
                      <a:pt x="27" y="0"/>
                      <a:pt x="4" y="11"/>
                      <a:pt x="0" y="30"/>
                    </a:cubicBezTo>
                    <a:cubicBezTo>
                      <a:pt x="0" y="31"/>
                      <a:pt x="1" y="31"/>
                      <a:pt x="1" y="30"/>
                    </a:cubicBezTo>
                    <a:cubicBezTo>
                      <a:pt x="9" y="11"/>
                      <a:pt x="24" y="6"/>
                      <a:pt x="43" y="12"/>
                    </a:cubicBezTo>
                    <a:cubicBezTo>
                      <a:pt x="44" y="12"/>
                      <a:pt x="44" y="10"/>
                      <a:pt x="44" y="10"/>
                    </a:cubicBezTo>
                    <a:close/>
                  </a:path>
                </a:pathLst>
              </a:custGeom>
              <a:solidFill>
                <a:srgbClr val="1111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" name="ïšľïdè">
                <a:extLst>
                  <a:ext uri="{FF2B5EF4-FFF2-40B4-BE49-F238E27FC236}">
                    <a16:creationId xmlns:a16="http://schemas.microsoft.com/office/drawing/2014/main" id="{5C3FAC5E-D201-40E3-8B01-11E260A5856C}"/>
                  </a:ext>
                </a:extLst>
              </p:cNvPr>
              <p:cNvSpPr/>
              <p:nvPr/>
            </p:nvSpPr>
            <p:spPr bwMode="auto">
              <a:xfrm>
                <a:off x="8096251" y="2025650"/>
                <a:ext cx="612775" cy="1400175"/>
              </a:xfrm>
              <a:custGeom>
                <a:avLst/>
                <a:gdLst>
                  <a:gd name="T0" fmla="*/ 43 w 101"/>
                  <a:gd name="T1" fmla="*/ 192 h 231"/>
                  <a:gd name="T2" fmla="*/ 13 w 101"/>
                  <a:gd name="T3" fmla="*/ 116 h 231"/>
                  <a:gd name="T4" fmla="*/ 18 w 101"/>
                  <a:gd name="T5" fmla="*/ 15 h 231"/>
                  <a:gd name="T6" fmla="*/ 1 w 101"/>
                  <a:gd name="T7" fmla="*/ 13 h 231"/>
                  <a:gd name="T8" fmla="*/ 13 w 101"/>
                  <a:gd name="T9" fmla="*/ 5 h 231"/>
                  <a:gd name="T10" fmla="*/ 26 w 101"/>
                  <a:gd name="T11" fmla="*/ 2 h 231"/>
                  <a:gd name="T12" fmla="*/ 39 w 101"/>
                  <a:gd name="T13" fmla="*/ 117 h 231"/>
                  <a:gd name="T14" fmla="*/ 94 w 101"/>
                  <a:gd name="T15" fmla="*/ 192 h 231"/>
                  <a:gd name="T16" fmla="*/ 62 w 101"/>
                  <a:gd name="T17" fmla="*/ 231 h 231"/>
                  <a:gd name="T18" fmla="*/ 43 w 101"/>
                  <a:gd name="T19" fmla="*/ 192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1" h="231">
                    <a:moveTo>
                      <a:pt x="43" y="192"/>
                    </a:moveTo>
                    <a:cubicBezTo>
                      <a:pt x="43" y="192"/>
                      <a:pt x="12" y="126"/>
                      <a:pt x="13" y="116"/>
                    </a:cubicBezTo>
                    <a:cubicBezTo>
                      <a:pt x="14" y="107"/>
                      <a:pt x="18" y="15"/>
                      <a:pt x="18" y="15"/>
                    </a:cubicBezTo>
                    <a:cubicBezTo>
                      <a:pt x="18" y="15"/>
                      <a:pt x="0" y="16"/>
                      <a:pt x="1" y="13"/>
                    </a:cubicBezTo>
                    <a:cubicBezTo>
                      <a:pt x="1" y="9"/>
                      <a:pt x="13" y="5"/>
                      <a:pt x="13" y="5"/>
                    </a:cubicBezTo>
                    <a:cubicBezTo>
                      <a:pt x="13" y="5"/>
                      <a:pt x="20" y="0"/>
                      <a:pt x="26" y="2"/>
                    </a:cubicBezTo>
                    <a:cubicBezTo>
                      <a:pt x="33" y="4"/>
                      <a:pt x="39" y="117"/>
                      <a:pt x="39" y="117"/>
                    </a:cubicBezTo>
                    <a:cubicBezTo>
                      <a:pt x="39" y="117"/>
                      <a:pt x="101" y="173"/>
                      <a:pt x="94" y="192"/>
                    </a:cubicBezTo>
                    <a:cubicBezTo>
                      <a:pt x="87" y="210"/>
                      <a:pt x="62" y="231"/>
                      <a:pt x="62" y="231"/>
                    </a:cubicBezTo>
                    <a:lnTo>
                      <a:pt x="43" y="192"/>
                    </a:ln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" name="îşļïḋe">
                <a:extLst>
                  <a:ext uri="{FF2B5EF4-FFF2-40B4-BE49-F238E27FC236}">
                    <a16:creationId xmlns:a16="http://schemas.microsoft.com/office/drawing/2014/main" id="{F71B6AAE-B6E4-4E1C-89DA-927AAE0DF3F7}"/>
                  </a:ext>
                </a:extLst>
              </p:cNvPr>
              <p:cNvSpPr/>
              <p:nvPr/>
            </p:nvSpPr>
            <p:spPr bwMode="auto">
              <a:xfrm>
                <a:off x="8167688" y="2419350"/>
                <a:ext cx="541338" cy="1006475"/>
              </a:xfrm>
              <a:custGeom>
                <a:avLst/>
                <a:gdLst>
                  <a:gd name="T0" fmla="*/ 27 w 89"/>
                  <a:gd name="T1" fmla="*/ 52 h 166"/>
                  <a:gd name="T2" fmla="*/ 24 w 89"/>
                  <a:gd name="T3" fmla="*/ 0 h 166"/>
                  <a:gd name="T4" fmla="*/ 3 w 89"/>
                  <a:gd name="T5" fmla="*/ 6 h 166"/>
                  <a:gd name="T6" fmla="*/ 1 w 89"/>
                  <a:gd name="T7" fmla="*/ 51 h 166"/>
                  <a:gd name="T8" fmla="*/ 31 w 89"/>
                  <a:gd name="T9" fmla="*/ 127 h 166"/>
                  <a:gd name="T10" fmla="*/ 50 w 89"/>
                  <a:gd name="T11" fmla="*/ 166 h 166"/>
                  <a:gd name="T12" fmla="*/ 82 w 89"/>
                  <a:gd name="T13" fmla="*/ 127 h 166"/>
                  <a:gd name="T14" fmla="*/ 27 w 89"/>
                  <a:gd name="T15" fmla="*/ 52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9" h="166">
                    <a:moveTo>
                      <a:pt x="27" y="52"/>
                    </a:moveTo>
                    <a:cubicBezTo>
                      <a:pt x="27" y="52"/>
                      <a:pt x="26" y="27"/>
                      <a:pt x="24" y="0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27"/>
                      <a:pt x="2" y="47"/>
                      <a:pt x="1" y="51"/>
                    </a:cubicBezTo>
                    <a:cubicBezTo>
                      <a:pt x="0" y="61"/>
                      <a:pt x="31" y="127"/>
                      <a:pt x="31" y="127"/>
                    </a:cubicBezTo>
                    <a:cubicBezTo>
                      <a:pt x="50" y="166"/>
                      <a:pt x="50" y="166"/>
                      <a:pt x="50" y="166"/>
                    </a:cubicBezTo>
                    <a:cubicBezTo>
                      <a:pt x="50" y="166"/>
                      <a:pt x="75" y="145"/>
                      <a:pt x="82" y="127"/>
                    </a:cubicBezTo>
                    <a:cubicBezTo>
                      <a:pt x="89" y="108"/>
                      <a:pt x="27" y="52"/>
                      <a:pt x="27" y="52"/>
                    </a:cubicBezTo>
                    <a:close/>
                  </a:path>
                </a:pathLst>
              </a:custGeom>
              <a:solidFill>
                <a:srgbClr val="E349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" name="iṩ1íḍé">
                <a:extLst>
                  <a:ext uri="{FF2B5EF4-FFF2-40B4-BE49-F238E27FC236}">
                    <a16:creationId xmlns:a16="http://schemas.microsoft.com/office/drawing/2014/main" id="{D8D0E844-6937-42EF-B14A-0ADD26F7C56E}"/>
                  </a:ext>
                </a:extLst>
              </p:cNvPr>
              <p:cNvSpPr/>
              <p:nvPr/>
            </p:nvSpPr>
            <p:spPr bwMode="auto">
              <a:xfrm>
                <a:off x="7427913" y="2152650"/>
                <a:ext cx="85725" cy="1309688"/>
              </a:xfrm>
              <a:prstGeom prst="rect">
                <a:avLst/>
              </a:prstGeom>
              <a:solidFill>
                <a:srgbClr val="DC60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" name="í$ļîḋè">
                <a:extLst>
                  <a:ext uri="{FF2B5EF4-FFF2-40B4-BE49-F238E27FC236}">
                    <a16:creationId xmlns:a16="http://schemas.microsoft.com/office/drawing/2014/main" id="{6F895BBC-D60D-4F18-B182-AE4CBB25828C}"/>
                  </a:ext>
                </a:extLst>
              </p:cNvPr>
              <p:cNvSpPr/>
              <p:nvPr/>
            </p:nvSpPr>
            <p:spPr bwMode="auto">
              <a:xfrm>
                <a:off x="7427913" y="2152650"/>
                <a:ext cx="85725" cy="13096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" name="îṣļîdè">
                <a:extLst>
                  <a:ext uri="{FF2B5EF4-FFF2-40B4-BE49-F238E27FC236}">
                    <a16:creationId xmlns:a16="http://schemas.microsoft.com/office/drawing/2014/main" id="{C2341232-97C0-4586-A146-E685E10E0A0D}"/>
                  </a:ext>
                </a:extLst>
              </p:cNvPr>
              <p:cNvSpPr/>
              <p:nvPr/>
            </p:nvSpPr>
            <p:spPr bwMode="auto">
              <a:xfrm>
                <a:off x="7112001" y="2152650"/>
                <a:ext cx="315913" cy="1309688"/>
              </a:xfrm>
              <a:custGeom>
                <a:avLst/>
                <a:gdLst>
                  <a:gd name="T0" fmla="*/ 52 w 52"/>
                  <a:gd name="T1" fmla="*/ 0 h 216"/>
                  <a:gd name="T2" fmla="*/ 0 w 52"/>
                  <a:gd name="T3" fmla="*/ 0 h 216"/>
                  <a:gd name="T4" fmla="*/ 0 w 52"/>
                  <a:gd name="T5" fmla="*/ 24 h 216"/>
                  <a:gd name="T6" fmla="*/ 0 w 52"/>
                  <a:gd name="T7" fmla="*/ 26 h 216"/>
                  <a:gd name="T8" fmla="*/ 29 w 52"/>
                  <a:gd name="T9" fmla="*/ 136 h 216"/>
                  <a:gd name="T10" fmla="*/ 23 w 52"/>
                  <a:gd name="T11" fmla="*/ 144 h 216"/>
                  <a:gd name="T12" fmla="*/ 18 w 52"/>
                  <a:gd name="T13" fmla="*/ 139 h 216"/>
                  <a:gd name="T14" fmla="*/ 0 w 52"/>
                  <a:gd name="T15" fmla="*/ 66 h 216"/>
                  <a:gd name="T16" fmla="*/ 0 w 52"/>
                  <a:gd name="T17" fmla="*/ 216 h 216"/>
                  <a:gd name="T18" fmla="*/ 52 w 52"/>
                  <a:gd name="T19" fmla="*/ 216 h 216"/>
                  <a:gd name="T20" fmla="*/ 52 w 52"/>
                  <a:gd name="T21" fmla="*/ 0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2" h="216">
                    <a:moveTo>
                      <a:pt x="5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5"/>
                      <a:pt x="0" y="25"/>
                      <a:pt x="0" y="26"/>
                    </a:cubicBezTo>
                    <a:cubicBezTo>
                      <a:pt x="12" y="62"/>
                      <a:pt x="21" y="99"/>
                      <a:pt x="29" y="136"/>
                    </a:cubicBezTo>
                    <a:cubicBezTo>
                      <a:pt x="30" y="141"/>
                      <a:pt x="26" y="144"/>
                      <a:pt x="23" y="144"/>
                    </a:cubicBezTo>
                    <a:cubicBezTo>
                      <a:pt x="21" y="144"/>
                      <a:pt x="18" y="142"/>
                      <a:pt x="18" y="139"/>
                    </a:cubicBezTo>
                    <a:cubicBezTo>
                      <a:pt x="13" y="115"/>
                      <a:pt x="7" y="90"/>
                      <a:pt x="0" y="66"/>
                    </a:cubicBezTo>
                    <a:cubicBezTo>
                      <a:pt x="0" y="216"/>
                      <a:pt x="0" y="216"/>
                      <a:pt x="0" y="216"/>
                    </a:cubicBezTo>
                    <a:cubicBezTo>
                      <a:pt x="52" y="216"/>
                      <a:pt x="52" y="216"/>
                      <a:pt x="52" y="216"/>
                    </a:cubicBezTo>
                    <a:cubicBezTo>
                      <a:pt x="52" y="0"/>
                      <a:pt x="52" y="0"/>
                      <a:pt x="52" y="0"/>
                    </a:cubicBezTo>
                  </a:path>
                </a:pathLst>
              </a:custGeom>
              <a:solidFill>
                <a:srgbClr val="EAEA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" name="îṧlidé">
                <a:extLst>
                  <a:ext uri="{FF2B5EF4-FFF2-40B4-BE49-F238E27FC236}">
                    <a16:creationId xmlns:a16="http://schemas.microsoft.com/office/drawing/2014/main" id="{8C1A9024-2945-49A2-84B4-A2E70FA89A4B}"/>
                  </a:ext>
                </a:extLst>
              </p:cNvPr>
              <p:cNvSpPr/>
              <p:nvPr/>
            </p:nvSpPr>
            <p:spPr bwMode="auto">
              <a:xfrm>
                <a:off x="7112001" y="2298700"/>
                <a:ext cx="182563" cy="727075"/>
              </a:xfrm>
              <a:custGeom>
                <a:avLst/>
                <a:gdLst>
                  <a:gd name="T0" fmla="*/ 0 w 30"/>
                  <a:gd name="T1" fmla="*/ 0 h 120"/>
                  <a:gd name="T2" fmla="*/ 0 w 30"/>
                  <a:gd name="T3" fmla="*/ 42 h 120"/>
                  <a:gd name="T4" fmla="*/ 18 w 30"/>
                  <a:gd name="T5" fmla="*/ 115 h 120"/>
                  <a:gd name="T6" fmla="*/ 23 w 30"/>
                  <a:gd name="T7" fmla="*/ 120 h 120"/>
                  <a:gd name="T8" fmla="*/ 29 w 30"/>
                  <a:gd name="T9" fmla="*/ 112 h 120"/>
                  <a:gd name="T10" fmla="*/ 0 w 30"/>
                  <a:gd name="T11" fmla="*/ 2 h 120"/>
                  <a:gd name="T12" fmla="*/ 0 w 30"/>
                  <a:gd name="T13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120">
                    <a:moveTo>
                      <a:pt x="0" y="0"/>
                    </a:moveTo>
                    <a:cubicBezTo>
                      <a:pt x="0" y="42"/>
                      <a:pt x="0" y="42"/>
                      <a:pt x="0" y="42"/>
                    </a:cubicBezTo>
                    <a:cubicBezTo>
                      <a:pt x="7" y="66"/>
                      <a:pt x="13" y="91"/>
                      <a:pt x="18" y="115"/>
                    </a:cubicBezTo>
                    <a:cubicBezTo>
                      <a:pt x="18" y="118"/>
                      <a:pt x="21" y="120"/>
                      <a:pt x="23" y="120"/>
                    </a:cubicBezTo>
                    <a:cubicBezTo>
                      <a:pt x="26" y="120"/>
                      <a:pt x="30" y="117"/>
                      <a:pt x="29" y="112"/>
                    </a:cubicBezTo>
                    <a:cubicBezTo>
                      <a:pt x="21" y="75"/>
                      <a:pt x="12" y="38"/>
                      <a:pt x="0" y="2"/>
                    </a:cubicBezTo>
                    <a:cubicBezTo>
                      <a:pt x="0" y="1"/>
                      <a:pt x="0" y="1"/>
                      <a:pt x="0" y="0"/>
                    </a:cubicBezTo>
                  </a:path>
                </a:pathLst>
              </a:custGeom>
              <a:solidFill>
                <a:srgbClr val="DC60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" name="ïšḻiḓé">
                <a:extLst>
                  <a:ext uri="{FF2B5EF4-FFF2-40B4-BE49-F238E27FC236}">
                    <a16:creationId xmlns:a16="http://schemas.microsoft.com/office/drawing/2014/main" id="{E0CE1A77-B359-4C98-BD77-E20D4B071394}"/>
                  </a:ext>
                </a:extLst>
              </p:cNvPr>
              <p:cNvSpPr/>
              <p:nvPr/>
            </p:nvSpPr>
            <p:spPr bwMode="auto">
              <a:xfrm>
                <a:off x="7161213" y="2116138"/>
                <a:ext cx="1042988" cy="1309688"/>
              </a:xfrm>
              <a:prstGeom prst="rect">
                <a:avLst/>
              </a:prstGeom>
              <a:solidFill>
                <a:srgbClr val="3E03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" name="íṡľíḋê">
                <a:extLst>
                  <a:ext uri="{FF2B5EF4-FFF2-40B4-BE49-F238E27FC236}">
                    <a16:creationId xmlns:a16="http://schemas.microsoft.com/office/drawing/2014/main" id="{AABBDF3A-694D-474F-8BEB-46A7E95F0C69}"/>
                  </a:ext>
                </a:extLst>
              </p:cNvPr>
              <p:cNvSpPr/>
              <p:nvPr/>
            </p:nvSpPr>
            <p:spPr bwMode="auto">
              <a:xfrm>
                <a:off x="7337426" y="2432050"/>
                <a:ext cx="692150" cy="4762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3" name="ïṡḻïḋe">
                <a:extLst>
                  <a:ext uri="{FF2B5EF4-FFF2-40B4-BE49-F238E27FC236}">
                    <a16:creationId xmlns:a16="http://schemas.microsoft.com/office/drawing/2014/main" id="{C83C0F25-7452-47C5-A3CB-65FEED799862}"/>
                  </a:ext>
                </a:extLst>
              </p:cNvPr>
              <p:cNvSpPr/>
              <p:nvPr/>
            </p:nvSpPr>
            <p:spPr bwMode="auto">
              <a:xfrm>
                <a:off x="7573963" y="2432050"/>
                <a:ext cx="455613" cy="47625"/>
              </a:xfrm>
              <a:prstGeom prst="rect">
                <a:avLst/>
              </a:prstGeom>
              <a:solidFill>
                <a:srgbClr val="00BE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4" name="isļïḋè">
                <a:extLst>
                  <a:ext uri="{FF2B5EF4-FFF2-40B4-BE49-F238E27FC236}">
                    <a16:creationId xmlns:a16="http://schemas.microsoft.com/office/drawing/2014/main" id="{99B98516-BC1F-45BA-B3F9-087172BD1744}"/>
                  </a:ext>
                </a:extLst>
              </p:cNvPr>
              <p:cNvSpPr/>
              <p:nvPr/>
            </p:nvSpPr>
            <p:spPr bwMode="auto">
              <a:xfrm>
                <a:off x="7337426" y="2770188"/>
                <a:ext cx="692150" cy="4921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5" name="ïSḻíḋé">
                <a:extLst>
                  <a:ext uri="{FF2B5EF4-FFF2-40B4-BE49-F238E27FC236}">
                    <a16:creationId xmlns:a16="http://schemas.microsoft.com/office/drawing/2014/main" id="{F441D1E8-FA6D-4E3A-BFB7-7DBB76D1FA7E}"/>
                  </a:ext>
                </a:extLst>
              </p:cNvPr>
              <p:cNvSpPr/>
              <p:nvPr/>
            </p:nvSpPr>
            <p:spPr bwMode="auto">
              <a:xfrm>
                <a:off x="7470776" y="2770188"/>
                <a:ext cx="558800" cy="49213"/>
              </a:xfrm>
              <a:prstGeom prst="rect">
                <a:avLst/>
              </a:prstGeom>
              <a:solidFill>
                <a:srgbClr val="00BE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6" name="ï$lîḍé">
                <a:extLst>
                  <a:ext uri="{FF2B5EF4-FFF2-40B4-BE49-F238E27FC236}">
                    <a16:creationId xmlns:a16="http://schemas.microsoft.com/office/drawing/2014/main" id="{AED2835C-188D-4873-A3B4-6FF4F8D3DDF9}"/>
                  </a:ext>
                </a:extLst>
              </p:cNvPr>
              <p:cNvSpPr/>
              <p:nvPr/>
            </p:nvSpPr>
            <p:spPr bwMode="auto">
              <a:xfrm>
                <a:off x="7337426" y="2262188"/>
                <a:ext cx="692150" cy="4762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7" name="îsľïḋê">
                <a:extLst>
                  <a:ext uri="{FF2B5EF4-FFF2-40B4-BE49-F238E27FC236}">
                    <a16:creationId xmlns:a16="http://schemas.microsoft.com/office/drawing/2014/main" id="{F862D071-F445-441D-BBDD-46AA407211F9}"/>
                  </a:ext>
                </a:extLst>
              </p:cNvPr>
              <p:cNvSpPr/>
              <p:nvPr/>
            </p:nvSpPr>
            <p:spPr bwMode="auto">
              <a:xfrm>
                <a:off x="7810501" y="2262188"/>
                <a:ext cx="219075" cy="47625"/>
              </a:xfrm>
              <a:prstGeom prst="rect">
                <a:avLst/>
              </a:prstGeom>
              <a:solidFill>
                <a:srgbClr val="00BE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8" name="iṡľïďé">
                <a:extLst>
                  <a:ext uri="{FF2B5EF4-FFF2-40B4-BE49-F238E27FC236}">
                    <a16:creationId xmlns:a16="http://schemas.microsoft.com/office/drawing/2014/main" id="{CDB290E9-5DA4-424F-89C1-B666C57905C7}"/>
                  </a:ext>
                </a:extLst>
              </p:cNvPr>
              <p:cNvSpPr/>
              <p:nvPr/>
            </p:nvSpPr>
            <p:spPr bwMode="auto">
              <a:xfrm>
                <a:off x="7337426" y="2601913"/>
                <a:ext cx="692150" cy="4762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9" name="íšľïďe">
                <a:extLst>
                  <a:ext uri="{FF2B5EF4-FFF2-40B4-BE49-F238E27FC236}">
                    <a16:creationId xmlns:a16="http://schemas.microsoft.com/office/drawing/2014/main" id="{5A884AB9-5DD3-4C41-8143-BFC9A834A627}"/>
                  </a:ext>
                </a:extLst>
              </p:cNvPr>
              <p:cNvSpPr/>
              <p:nvPr/>
            </p:nvSpPr>
            <p:spPr bwMode="auto">
              <a:xfrm>
                <a:off x="7731126" y="2601913"/>
                <a:ext cx="298450" cy="47625"/>
              </a:xfrm>
              <a:prstGeom prst="rect">
                <a:avLst/>
              </a:prstGeom>
              <a:solidFill>
                <a:srgbClr val="00BE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0" name="ïşļîḍê">
                <a:extLst>
                  <a:ext uri="{FF2B5EF4-FFF2-40B4-BE49-F238E27FC236}">
                    <a16:creationId xmlns:a16="http://schemas.microsoft.com/office/drawing/2014/main" id="{10DEDC7B-1054-48B2-87D2-0BC54C266BFC}"/>
                  </a:ext>
                </a:extLst>
              </p:cNvPr>
              <p:cNvSpPr/>
              <p:nvPr/>
            </p:nvSpPr>
            <p:spPr bwMode="auto">
              <a:xfrm>
                <a:off x="7810501" y="2946400"/>
                <a:ext cx="66675" cy="6667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1" name="ï$lïḍe">
                <a:extLst>
                  <a:ext uri="{FF2B5EF4-FFF2-40B4-BE49-F238E27FC236}">
                    <a16:creationId xmlns:a16="http://schemas.microsoft.com/office/drawing/2014/main" id="{A4B662A4-F2CB-4B8D-B21F-50000248FB6E}"/>
                  </a:ext>
                </a:extLst>
              </p:cNvPr>
              <p:cNvSpPr/>
              <p:nvPr/>
            </p:nvSpPr>
            <p:spPr bwMode="auto">
              <a:xfrm>
                <a:off x="7920038" y="2946400"/>
                <a:ext cx="73025" cy="66675"/>
              </a:xfrm>
              <a:prstGeom prst="rect">
                <a:avLst/>
              </a:prstGeom>
              <a:solidFill>
                <a:srgbClr val="E349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2" name="í$ḻíḋe">
                <a:extLst>
                  <a:ext uri="{FF2B5EF4-FFF2-40B4-BE49-F238E27FC236}">
                    <a16:creationId xmlns:a16="http://schemas.microsoft.com/office/drawing/2014/main" id="{E79351A6-8DBB-4437-878B-3390E65DDFAB}"/>
                  </a:ext>
                </a:extLst>
              </p:cNvPr>
              <p:cNvSpPr/>
              <p:nvPr/>
            </p:nvSpPr>
            <p:spPr bwMode="auto">
              <a:xfrm>
                <a:off x="8029576" y="2946400"/>
                <a:ext cx="71438" cy="66675"/>
              </a:xfrm>
              <a:prstGeom prst="rect">
                <a:avLst/>
              </a:prstGeom>
              <a:solidFill>
                <a:srgbClr val="E349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3" name="î$ḻïďê">
                <a:extLst>
                  <a:ext uri="{FF2B5EF4-FFF2-40B4-BE49-F238E27FC236}">
                    <a16:creationId xmlns:a16="http://schemas.microsoft.com/office/drawing/2014/main" id="{B66F09AE-DF02-4E25-82E4-342818C4C55F}"/>
                  </a:ext>
                </a:extLst>
              </p:cNvPr>
              <p:cNvSpPr/>
              <p:nvPr/>
            </p:nvSpPr>
            <p:spPr bwMode="auto">
              <a:xfrm>
                <a:off x="7810501" y="3073400"/>
                <a:ext cx="66675" cy="7302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4" name="is1íḓè">
                <a:extLst>
                  <a:ext uri="{FF2B5EF4-FFF2-40B4-BE49-F238E27FC236}">
                    <a16:creationId xmlns:a16="http://schemas.microsoft.com/office/drawing/2014/main" id="{0EF7C3C3-438D-40A5-BCDF-40DC1CDE2AD1}"/>
                  </a:ext>
                </a:extLst>
              </p:cNvPr>
              <p:cNvSpPr/>
              <p:nvPr/>
            </p:nvSpPr>
            <p:spPr bwMode="auto">
              <a:xfrm>
                <a:off x="7920038" y="3073400"/>
                <a:ext cx="73025" cy="73025"/>
              </a:xfrm>
              <a:prstGeom prst="rect">
                <a:avLst/>
              </a:prstGeom>
              <a:solidFill>
                <a:srgbClr val="E349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5" name="işlíḑè">
                <a:extLst>
                  <a:ext uri="{FF2B5EF4-FFF2-40B4-BE49-F238E27FC236}">
                    <a16:creationId xmlns:a16="http://schemas.microsoft.com/office/drawing/2014/main" id="{A6041FFB-C5D9-4929-AC9B-B17A74DF5284}"/>
                  </a:ext>
                </a:extLst>
              </p:cNvPr>
              <p:cNvSpPr/>
              <p:nvPr/>
            </p:nvSpPr>
            <p:spPr bwMode="auto">
              <a:xfrm>
                <a:off x="8029576" y="3073400"/>
                <a:ext cx="71438" cy="73025"/>
              </a:xfrm>
              <a:prstGeom prst="rect">
                <a:avLst/>
              </a:prstGeom>
              <a:solidFill>
                <a:srgbClr val="E349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6" name="ïşḷîdê">
                <a:extLst>
                  <a:ext uri="{FF2B5EF4-FFF2-40B4-BE49-F238E27FC236}">
                    <a16:creationId xmlns:a16="http://schemas.microsoft.com/office/drawing/2014/main" id="{B209081B-B986-46EA-8ACC-26668A105E89}"/>
                  </a:ext>
                </a:extLst>
              </p:cNvPr>
              <p:cNvSpPr/>
              <p:nvPr/>
            </p:nvSpPr>
            <p:spPr bwMode="auto">
              <a:xfrm>
                <a:off x="7810501" y="3208338"/>
                <a:ext cx="66675" cy="7143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7" name="î$ḻíḋé">
                <a:extLst>
                  <a:ext uri="{FF2B5EF4-FFF2-40B4-BE49-F238E27FC236}">
                    <a16:creationId xmlns:a16="http://schemas.microsoft.com/office/drawing/2014/main" id="{E68732F9-4E5A-4898-A0EA-8F67C94CE69C}"/>
                  </a:ext>
                </a:extLst>
              </p:cNvPr>
              <p:cNvSpPr/>
              <p:nvPr/>
            </p:nvSpPr>
            <p:spPr bwMode="auto">
              <a:xfrm>
                <a:off x="7920038" y="3208338"/>
                <a:ext cx="73025" cy="7143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8" name="îsḷíḋé">
                <a:extLst>
                  <a:ext uri="{FF2B5EF4-FFF2-40B4-BE49-F238E27FC236}">
                    <a16:creationId xmlns:a16="http://schemas.microsoft.com/office/drawing/2014/main" id="{B954692F-E222-4F46-986E-28ADE6873EE3}"/>
                  </a:ext>
                </a:extLst>
              </p:cNvPr>
              <p:cNvSpPr/>
              <p:nvPr/>
            </p:nvSpPr>
            <p:spPr bwMode="auto">
              <a:xfrm>
                <a:off x="8029576" y="3208338"/>
                <a:ext cx="71438" cy="7143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9" name="is1îḑe">
                <a:extLst>
                  <a:ext uri="{FF2B5EF4-FFF2-40B4-BE49-F238E27FC236}">
                    <a16:creationId xmlns:a16="http://schemas.microsoft.com/office/drawing/2014/main" id="{3B48F71A-D720-40E4-809F-E86201D7974E}"/>
                  </a:ext>
                </a:extLst>
              </p:cNvPr>
              <p:cNvSpPr/>
              <p:nvPr/>
            </p:nvSpPr>
            <p:spPr bwMode="auto">
              <a:xfrm>
                <a:off x="7264401" y="2959100"/>
                <a:ext cx="309563" cy="174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0" name="îṥľïďè">
                <a:extLst>
                  <a:ext uri="{FF2B5EF4-FFF2-40B4-BE49-F238E27FC236}">
                    <a16:creationId xmlns:a16="http://schemas.microsoft.com/office/drawing/2014/main" id="{66D7CB74-592D-46DF-BA2D-A7384F4E9744}"/>
                  </a:ext>
                </a:extLst>
              </p:cNvPr>
              <p:cNvSpPr/>
              <p:nvPr/>
            </p:nvSpPr>
            <p:spPr bwMode="auto">
              <a:xfrm>
                <a:off x="7264401" y="3013075"/>
                <a:ext cx="309563" cy="254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1" name="ï$ļíḋe">
                <a:extLst>
                  <a:ext uri="{FF2B5EF4-FFF2-40B4-BE49-F238E27FC236}">
                    <a16:creationId xmlns:a16="http://schemas.microsoft.com/office/drawing/2014/main" id="{0AC8DF32-4440-4004-B6BF-6D38D418CD62}"/>
                  </a:ext>
                </a:extLst>
              </p:cNvPr>
              <p:cNvSpPr/>
              <p:nvPr/>
            </p:nvSpPr>
            <p:spPr bwMode="auto">
              <a:xfrm>
                <a:off x="7264401" y="3073400"/>
                <a:ext cx="309563" cy="190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2" name="íS1ïdé">
                <a:extLst>
                  <a:ext uri="{FF2B5EF4-FFF2-40B4-BE49-F238E27FC236}">
                    <a16:creationId xmlns:a16="http://schemas.microsoft.com/office/drawing/2014/main" id="{73779592-A5BF-40BB-949C-F905CFCE1777}"/>
                  </a:ext>
                </a:extLst>
              </p:cNvPr>
              <p:cNvSpPr/>
              <p:nvPr/>
            </p:nvSpPr>
            <p:spPr bwMode="auto">
              <a:xfrm>
                <a:off x="7264401" y="3128963"/>
                <a:ext cx="193675" cy="174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3" name="ïŝḻíḑé">
                <a:extLst>
                  <a:ext uri="{FF2B5EF4-FFF2-40B4-BE49-F238E27FC236}">
                    <a16:creationId xmlns:a16="http://schemas.microsoft.com/office/drawing/2014/main" id="{69D24F54-7A31-4DD7-8928-290EF67C15AE}"/>
                  </a:ext>
                </a:extLst>
              </p:cNvPr>
              <p:cNvSpPr/>
              <p:nvPr/>
            </p:nvSpPr>
            <p:spPr bwMode="auto">
              <a:xfrm>
                <a:off x="8513763" y="5499100"/>
                <a:ext cx="273050" cy="165100"/>
              </a:xfrm>
              <a:custGeom>
                <a:avLst/>
                <a:gdLst>
                  <a:gd name="T0" fmla="*/ 42 w 45"/>
                  <a:gd name="T1" fmla="*/ 0 h 27"/>
                  <a:gd name="T2" fmla="*/ 43 w 45"/>
                  <a:gd name="T3" fmla="*/ 7 h 27"/>
                  <a:gd name="T4" fmla="*/ 45 w 45"/>
                  <a:gd name="T5" fmla="*/ 17 h 27"/>
                  <a:gd name="T6" fmla="*/ 4 w 45"/>
                  <a:gd name="T7" fmla="*/ 27 h 27"/>
                  <a:gd name="T8" fmla="*/ 1 w 45"/>
                  <a:gd name="T9" fmla="*/ 23 h 27"/>
                  <a:gd name="T10" fmla="*/ 9 w 45"/>
                  <a:gd name="T11" fmla="*/ 15 h 27"/>
                  <a:gd name="T12" fmla="*/ 25 w 45"/>
                  <a:gd name="T13" fmla="*/ 4 h 27"/>
                  <a:gd name="T14" fmla="*/ 42 w 45"/>
                  <a:gd name="T1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" h="27">
                    <a:moveTo>
                      <a:pt x="42" y="0"/>
                    </a:moveTo>
                    <a:cubicBezTo>
                      <a:pt x="43" y="7"/>
                      <a:pt x="43" y="7"/>
                      <a:pt x="43" y="7"/>
                    </a:cubicBezTo>
                    <a:cubicBezTo>
                      <a:pt x="45" y="17"/>
                      <a:pt x="45" y="17"/>
                      <a:pt x="45" y="17"/>
                    </a:cubicBezTo>
                    <a:cubicBezTo>
                      <a:pt x="4" y="27"/>
                      <a:pt x="4" y="27"/>
                      <a:pt x="4" y="27"/>
                    </a:cubicBezTo>
                    <a:cubicBezTo>
                      <a:pt x="1" y="27"/>
                      <a:pt x="0" y="25"/>
                      <a:pt x="1" y="23"/>
                    </a:cubicBezTo>
                    <a:cubicBezTo>
                      <a:pt x="3" y="20"/>
                      <a:pt x="6" y="17"/>
                      <a:pt x="9" y="15"/>
                    </a:cubicBezTo>
                    <a:cubicBezTo>
                      <a:pt x="16" y="9"/>
                      <a:pt x="25" y="4"/>
                      <a:pt x="25" y="4"/>
                    </a:cubicBezTo>
                    <a:lnTo>
                      <a:pt x="4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4" name="îŝḷíḋè">
                <a:extLst>
                  <a:ext uri="{FF2B5EF4-FFF2-40B4-BE49-F238E27FC236}">
                    <a16:creationId xmlns:a16="http://schemas.microsoft.com/office/drawing/2014/main" id="{DD70C074-41C9-4D08-B4F7-917D3EF4F0B9}"/>
                  </a:ext>
                </a:extLst>
              </p:cNvPr>
              <p:cNvSpPr/>
              <p:nvPr/>
            </p:nvSpPr>
            <p:spPr bwMode="auto">
              <a:xfrm>
                <a:off x="8053388" y="5499100"/>
                <a:ext cx="284163" cy="109538"/>
              </a:xfrm>
              <a:custGeom>
                <a:avLst/>
                <a:gdLst>
                  <a:gd name="T0" fmla="*/ 47 w 47"/>
                  <a:gd name="T1" fmla="*/ 0 h 18"/>
                  <a:gd name="T2" fmla="*/ 47 w 47"/>
                  <a:gd name="T3" fmla="*/ 7 h 18"/>
                  <a:gd name="T4" fmla="*/ 46 w 47"/>
                  <a:gd name="T5" fmla="*/ 17 h 18"/>
                  <a:gd name="T6" fmla="*/ 4 w 47"/>
                  <a:gd name="T7" fmla="*/ 18 h 18"/>
                  <a:gd name="T8" fmla="*/ 2 w 47"/>
                  <a:gd name="T9" fmla="*/ 13 h 18"/>
                  <a:gd name="T10" fmla="*/ 11 w 47"/>
                  <a:gd name="T11" fmla="*/ 7 h 18"/>
                  <a:gd name="T12" fmla="*/ 29 w 47"/>
                  <a:gd name="T13" fmla="*/ 0 h 18"/>
                  <a:gd name="T14" fmla="*/ 47 w 47"/>
                  <a:gd name="T1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7" h="18">
                    <a:moveTo>
                      <a:pt x="47" y="0"/>
                    </a:moveTo>
                    <a:cubicBezTo>
                      <a:pt x="47" y="7"/>
                      <a:pt x="47" y="7"/>
                      <a:pt x="47" y="7"/>
                    </a:cubicBezTo>
                    <a:cubicBezTo>
                      <a:pt x="46" y="17"/>
                      <a:pt x="46" y="17"/>
                      <a:pt x="46" y="17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1" y="18"/>
                      <a:pt x="0" y="15"/>
                      <a:pt x="2" y="13"/>
                    </a:cubicBezTo>
                    <a:cubicBezTo>
                      <a:pt x="4" y="11"/>
                      <a:pt x="8" y="9"/>
                      <a:pt x="11" y="7"/>
                    </a:cubicBezTo>
                    <a:cubicBezTo>
                      <a:pt x="20" y="3"/>
                      <a:pt x="29" y="0"/>
                      <a:pt x="29" y="0"/>
                    </a:cubicBezTo>
                    <a:lnTo>
                      <a:pt x="47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5" name="íśľîdé">
                <a:extLst>
                  <a:ext uri="{FF2B5EF4-FFF2-40B4-BE49-F238E27FC236}">
                    <a16:creationId xmlns:a16="http://schemas.microsoft.com/office/drawing/2014/main" id="{A1F9E2D5-510F-4C43-9685-E8B50603E19E}"/>
                  </a:ext>
                </a:extLst>
              </p:cNvPr>
              <p:cNvSpPr/>
              <p:nvPr/>
            </p:nvSpPr>
            <p:spPr bwMode="auto">
              <a:xfrm>
                <a:off x="8132763" y="3868738"/>
                <a:ext cx="679450" cy="1662113"/>
              </a:xfrm>
              <a:custGeom>
                <a:avLst/>
                <a:gdLst>
                  <a:gd name="T0" fmla="*/ 112 w 112"/>
                  <a:gd name="T1" fmla="*/ 14 h 274"/>
                  <a:gd name="T2" fmla="*/ 92 w 112"/>
                  <a:gd name="T3" fmla="*/ 137 h 274"/>
                  <a:gd name="T4" fmla="*/ 107 w 112"/>
                  <a:gd name="T5" fmla="*/ 271 h 274"/>
                  <a:gd name="T6" fmla="*/ 84 w 112"/>
                  <a:gd name="T7" fmla="*/ 274 h 274"/>
                  <a:gd name="T8" fmla="*/ 54 w 112"/>
                  <a:gd name="T9" fmla="*/ 165 h 274"/>
                  <a:gd name="T10" fmla="*/ 54 w 112"/>
                  <a:gd name="T11" fmla="*/ 83 h 274"/>
                  <a:gd name="T12" fmla="*/ 34 w 112"/>
                  <a:gd name="T13" fmla="*/ 149 h 274"/>
                  <a:gd name="T14" fmla="*/ 36 w 112"/>
                  <a:gd name="T15" fmla="*/ 269 h 274"/>
                  <a:gd name="T16" fmla="*/ 14 w 112"/>
                  <a:gd name="T17" fmla="*/ 269 h 274"/>
                  <a:gd name="T18" fmla="*/ 0 w 112"/>
                  <a:gd name="T19" fmla="*/ 138 h 274"/>
                  <a:gd name="T20" fmla="*/ 30 w 112"/>
                  <a:gd name="T21" fmla="*/ 0 h 274"/>
                  <a:gd name="T22" fmla="*/ 112 w 112"/>
                  <a:gd name="T23" fmla="*/ 14 h 2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2" h="274">
                    <a:moveTo>
                      <a:pt x="112" y="14"/>
                    </a:moveTo>
                    <a:cubicBezTo>
                      <a:pt x="112" y="14"/>
                      <a:pt x="107" y="79"/>
                      <a:pt x="92" y="137"/>
                    </a:cubicBezTo>
                    <a:cubicBezTo>
                      <a:pt x="107" y="271"/>
                      <a:pt x="107" y="271"/>
                      <a:pt x="107" y="271"/>
                    </a:cubicBezTo>
                    <a:cubicBezTo>
                      <a:pt x="84" y="274"/>
                      <a:pt x="84" y="274"/>
                      <a:pt x="84" y="274"/>
                    </a:cubicBezTo>
                    <a:cubicBezTo>
                      <a:pt x="84" y="274"/>
                      <a:pt x="61" y="185"/>
                      <a:pt x="54" y="165"/>
                    </a:cubicBezTo>
                    <a:cubicBezTo>
                      <a:pt x="46" y="141"/>
                      <a:pt x="54" y="83"/>
                      <a:pt x="54" y="83"/>
                    </a:cubicBezTo>
                    <a:cubicBezTo>
                      <a:pt x="54" y="83"/>
                      <a:pt x="34" y="128"/>
                      <a:pt x="34" y="149"/>
                    </a:cubicBezTo>
                    <a:cubicBezTo>
                      <a:pt x="34" y="170"/>
                      <a:pt x="36" y="269"/>
                      <a:pt x="36" y="269"/>
                    </a:cubicBezTo>
                    <a:cubicBezTo>
                      <a:pt x="36" y="269"/>
                      <a:pt x="21" y="273"/>
                      <a:pt x="14" y="269"/>
                    </a:cubicBezTo>
                    <a:cubicBezTo>
                      <a:pt x="6" y="265"/>
                      <a:pt x="0" y="138"/>
                      <a:pt x="0" y="138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0" y="0"/>
                      <a:pt x="69" y="10"/>
                      <a:pt x="112" y="14"/>
                    </a:cubicBezTo>
                    <a:close/>
                  </a:path>
                </a:pathLst>
              </a:custGeom>
              <a:solidFill>
                <a:srgbClr val="0E0E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6" name="îšlîḑe">
                <a:extLst>
                  <a:ext uri="{FF2B5EF4-FFF2-40B4-BE49-F238E27FC236}">
                    <a16:creationId xmlns:a16="http://schemas.microsoft.com/office/drawing/2014/main" id="{5870F909-7CA1-4D12-BBFC-21A29058C74D}"/>
                  </a:ext>
                </a:extLst>
              </p:cNvPr>
              <p:cNvSpPr/>
              <p:nvPr/>
            </p:nvSpPr>
            <p:spPr bwMode="auto">
              <a:xfrm>
                <a:off x="8253413" y="2952750"/>
                <a:ext cx="655638" cy="1098550"/>
              </a:xfrm>
              <a:custGeom>
                <a:avLst/>
                <a:gdLst>
                  <a:gd name="T0" fmla="*/ 102 w 108"/>
                  <a:gd name="T1" fmla="*/ 170 h 181"/>
                  <a:gd name="T2" fmla="*/ 102 w 108"/>
                  <a:gd name="T3" fmla="*/ 45 h 181"/>
                  <a:gd name="T4" fmla="*/ 63 w 108"/>
                  <a:gd name="T5" fmla="*/ 1 h 181"/>
                  <a:gd name="T6" fmla="*/ 37 w 108"/>
                  <a:gd name="T7" fmla="*/ 7 h 181"/>
                  <a:gd name="T8" fmla="*/ 17 w 108"/>
                  <a:gd name="T9" fmla="*/ 76 h 181"/>
                  <a:gd name="T10" fmla="*/ 0 w 108"/>
                  <a:gd name="T11" fmla="*/ 156 h 181"/>
                  <a:gd name="T12" fmla="*/ 102 w 108"/>
                  <a:gd name="T13" fmla="*/ 17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8" h="181">
                    <a:moveTo>
                      <a:pt x="102" y="170"/>
                    </a:moveTo>
                    <a:cubicBezTo>
                      <a:pt x="104" y="156"/>
                      <a:pt x="108" y="66"/>
                      <a:pt x="102" y="45"/>
                    </a:cubicBezTo>
                    <a:cubicBezTo>
                      <a:pt x="90" y="0"/>
                      <a:pt x="63" y="1"/>
                      <a:pt x="63" y="1"/>
                    </a:cubicBezTo>
                    <a:cubicBezTo>
                      <a:pt x="54" y="20"/>
                      <a:pt x="37" y="7"/>
                      <a:pt x="37" y="7"/>
                    </a:cubicBezTo>
                    <a:cubicBezTo>
                      <a:pt x="37" y="7"/>
                      <a:pt x="6" y="26"/>
                      <a:pt x="17" y="76"/>
                    </a:cubicBezTo>
                    <a:cubicBezTo>
                      <a:pt x="23" y="109"/>
                      <a:pt x="10" y="138"/>
                      <a:pt x="0" y="156"/>
                    </a:cubicBezTo>
                    <a:cubicBezTo>
                      <a:pt x="30" y="176"/>
                      <a:pt x="68" y="181"/>
                      <a:pt x="102" y="170"/>
                    </a:cubicBezTo>
                    <a:close/>
                  </a:path>
                </a:pathLst>
              </a:custGeom>
              <a:solidFill>
                <a:srgbClr val="FF67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7" name="i$ḻíde">
                <a:extLst>
                  <a:ext uri="{FF2B5EF4-FFF2-40B4-BE49-F238E27FC236}">
                    <a16:creationId xmlns:a16="http://schemas.microsoft.com/office/drawing/2014/main" id="{48965552-CC2F-4480-B7E4-5FA93852CC45}"/>
                  </a:ext>
                </a:extLst>
              </p:cNvPr>
              <p:cNvSpPr/>
              <p:nvPr/>
            </p:nvSpPr>
            <p:spPr bwMode="auto">
              <a:xfrm>
                <a:off x="8313738" y="2540000"/>
                <a:ext cx="382588" cy="431800"/>
              </a:xfrm>
              <a:custGeom>
                <a:avLst/>
                <a:gdLst>
                  <a:gd name="T0" fmla="*/ 15 w 63"/>
                  <a:gd name="T1" fmla="*/ 21 h 71"/>
                  <a:gd name="T2" fmla="*/ 25 w 63"/>
                  <a:gd name="T3" fmla="*/ 68 h 71"/>
                  <a:gd name="T4" fmla="*/ 61 w 63"/>
                  <a:gd name="T5" fmla="*/ 44 h 71"/>
                  <a:gd name="T6" fmla="*/ 43 w 63"/>
                  <a:gd name="T7" fmla="*/ 6 h 71"/>
                  <a:gd name="T8" fmla="*/ 15 w 63"/>
                  <a:gd name="T9" fmla="*/ 2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71">
                    <a:moveTo>
                      <a:pt x="15" y="21"/>
                    </a:moveTo>
                    <a:cubicBezTo>
                      <a:pt x="15" y="21"/>
                      <a:pt x="0" y="64"/>
                      <a:pt x="25" y="68"/>
                    </a:cubicBezTo>
                    <a:cubicBezTo>
                      <a:pt x="49" y="71"/>
                      <a:pt x="61" y="55"/>
                      <a:pt x="61" y="44"/>
                    </a:cubicBezTo>
                    <a:cubicBezTo>
                      <a:pt x="61" y="33"/>
                      <a:pt x="63" y="12"/>
                      <a:pt x="43" y="6"/>
                    </a:cubicBezTo>
                    <a:cubicBezTo>
                      <a:pt x="22" y="0"/>
                      <a:pt x="15" y="21"/>
                      <a:pt x="15" y="21"/>
                    </a:cubicBez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8" name="îs1íḓê">
                <a:extLst>
                  <a:ext uri="{FF2B5EF4-FFF2-40B4-BE49-F238E27FC236}">
                    <a16:creationId xmlns:a16="http://schemas.microsoft.com/office/drawing/2014/main" id="{32A3CDAE-ECC7-4C6D-B966-229082D5D0FD}"/>
                  </a:ext>
                </a:extLst>
              </p:cNvPr>
              <p:cNvSpPr/>
              <p:nvPr/>
            </p:nvSpPr>
            <p:spPr bwMode="auto">
              <a:xfrm>
                <a:off x="8636001" y="2813050"/>
                <a:ext cx="96838" cy="96838"/>
              </a:xfrm>
              <a:prstGeom prst="ellipse">
                <a:avLst/>
              </a:pr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9" name="í$ḻîḋe">
                <a:extLst>
                  <a:ext uri="{FF2B5EF4-FFF2-40B4-BE49-F238E27FC236}">
                    <a16:creationId xmlns:a16="http://schemas.microsoft.com/office/drawing/2014/main" id="{954DFA0A-B791-4EFB-A30F-5D2266421C4E}"/>
                  </a:ext>
                </a:extLst>
              </p:cNvPr>
              <p:cNvSpPr/>
              <p:nvPr/>
            </p:nvSpPr>
            <p:spPr bwMode="auto">
              <a:xfrm>
                <a:off x="8423276" y="2473325"/>
                <a:ext cx="461963" cy="388938"/>
              </a:xfrm>
              <a:custGeom>
                <a:avLst/>
                <a:gdLst>
                  <a:gd name="T0" fmla="*/ 49 w 76"/>
                  <a:gd name="T1" fmla="*/ 58 h 64"/>
                  <a:gd name="T2" fmla="*/ 38 w 76"/>
                  <a:gd name="T3" fmla="*/ 58 h 64"/>
                  <a:gd name="T4" fmla="*/ 12 w 76"/>
                  <a:gd name="T5" fmla="*/ 29 h 64"/>
                  <a:gd name="T6" fmla="*/ 0 w 76"/>
                  <a:gd name="T7" fmla="*/ 26 h 64"/>
                  <a:gd name="T8" fmla="*/ 43 w 76"/>
                  <a:gd name="T9" fmla="*/ 16 h 64"/>
                  <a:gd name="T10" fmla="*/ 51 w 76"/>
                  <a:gd name="T11" fmla="*/ 64 h 64"/>
                  <a:gd name="T12" fmla="*/ 49 w 76"/>
                  <a:gd name="T13" fmla="*/ 58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" h="64">
                    <a:moveTo>
                      <a:pt x="49" y="58"/>
                    </a:moveTo>
                    <a:cubicBezTo>
                      <a:pt x="49" y="58"/>
                      <a:pt x="43" y="55"/>
                      <a:pt x="38" y="58"/>
                    </a:cubicBezTo>
                    <a:cubicBezTo>
                      <a:pt x="38" y="58"/>
                      <a:pt x="9" y="45"/>
                      <a:pt x="12" y="29"/>
                    </a:cubicBezTo>
                    <a:cubicBezTo>
                      <a:pt x="12" y="29"/>
                      <a:pt x="6" y="25"/>
                      <a:pt x="0" y="26"/>
                    </a:cubicBezTo>
                    <a:cubicBezTo>
                      <a:pt x="0" y="26"/>
                      <a:pt x="10" y="0"/>
                      <a:pt x="43" y="16"/>
                    </a:cubicBezTo>
                    <a:cubicBezTo>
                      <a:pt x="76" y="32"/>
                      <a:pt x="51" y="64"/>
                      <a:pt x="51" y="64"/>
                    </a:cubicBezTo>
                    <a:cubicBezTo>
                      <a:pt x="51" y="64"/>
                      <a:pt x="52" y="61"/>
                      <a:pt x="49" y="58"/>
                    </a:cubicBezTo>
                    <a:close/>
                  </a:path>
                </a:pathLst>
              </a:custGeom>
              <a:solidFill>
                <a:srgbClr val="0E0E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0" name="îś1idê">
                <a:extLst>
                  <a:ext uri="{FF2B5EF4-FFF2-40B4-BE49-F238E27FC236}">
                    <a16:creationId xmlns:a16="http://schemas.microsoft.com/office/drawing/2014/main" id="{C310FB66-F63B-4E20-A333-6E6124AF6DFE}"/>
                  </a:ext>
                </a:extLst>
              </p:cNvPr>
              <p:cNvSpPr/>
              <p:nvPr/>
            </p:nvSpPr>
            <p:spPr bwMode="auto">
              <a:xfrm>
                <a:off x="8472488" y="2855913"/>
                <a:ext cx="193675" cy="212725"/>
              </a:xfrm>
              <a:custGeom>
                <a:avLst/>
                <a:gdLst>
                  <a:gd name="T0" fmla="*/ 32 w 32"/>
                  <a:gd name="T1" fmla="*/ 0 h 35"/>
                  <a:gd name="T2" fmla="*/ 32 w 32"/>
                  <a:gd name="T3" fmla="*/ 6 h 35"/>
                  <a:gd name="T4" fmla="*/ 32 w 32"/>
                  <a:gd name="T5" fmla="*/ 9 h 35"/>
                  <a:gd name="T6" fmla="*/ 31 w 32"/>
                  <a:gd name="T7" fmla="*/ 18 h 35"/>
                  <a:gd name="T8" fmla="*/ 26 w 32"/>
                  <a:gd name="T9" fmla="*/ 31 h 35"/>
                  <a:gd name="T10" fmla="*/ 1 w 32"/>
                  <a:gd name="T11" fmla="*/ 31 h 35"/>
                  <a:gd name="T12" fmla="*/ 1 w 32"/>
                  <a:gd name="T13" fmla="*/ 23 h 35"/>
                  <a:gd name="T14" fmla="*/ 2 w 32"/>
                  <a:gd name="T15" fmla="*/ 16 h 35"/>
                  <a:gd name="T16" fmla="*/ 2 w 32"/>
                  <a:gd name="T17" fmla="*/ 16 h 35"/>
                  <a:gd name="T18" fmla="*/ 4 w 32"/>
                  <a:gd name="T19" fmla="*/ 1 h 35"/>
                  <a:gd name="T20" fmla="*/ 32 w 32"/>
                  <a:gd name="T21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2" h="35">
                    <a:moveTo>
                      <a:pt x="32" y="0"/>
                    </a:moveTo>
                    <a:cubicBezTo>
                      <a:pt x="32" y="6"/>
                      <a:pt x="32" y="6"/>
                      <a:pt x="32" y="6"/>
                    </a:cubicBezTo>
                    <a:cubicBezTo>
                      <a:pt x="32" y="6"/>
                      <a:pt x="32" y="7"/>
                      <a:pt x="32" y="9"/>
                    </a:cubicBezTo>
                    <a:cubicBezTo>
                      <a:pt x="32" y="11"/>
                      <a:pt x="31" y="15"/>
                      <a:pt x="31" y="18"/>
                    </a:cubicBezTo>
                    <a:cubicBezTo>
                      <a:pt x="30" y="24"/>
                      <a:pt x="28" y="29"/>
                      <a:pt x="26" y="31"/>
                    </a:cubicBezTo>
                    <a:cubicBezTo>
                      <a:pt x="21" y="35"/>
                      <a:pt x="3" y="33"/>
                      <a:pt x="1" y="31"/>
                    </a:cubicBezTo>
                    <a:cubicBezTo>
                      <a:pt x="0" y="31"/>
                      <a:pt x="0" y="27"/>
                      <a:pt x="1" y="23"/>
                    </a:cubicBezTo>
                    <a:cubicBezTo>
                      <a:pt x="1" y="21"/>
                      <a:pt x="1" y="19"/>
                      <a:pt x="2" y="16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3" y="9"/>
                      <a:pt x="4" y="1"/>
                      <a:pt x="4" y="1"/>
                    </a:cubicBez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1" name="ïŝḻíḋe">
                <a:extLst>
                  <a:ext uri="{FF2B5EF4-FFF2-40B4-BE49-F238E27FC236}">
                    <a16:creationId xmlns:a16="http://schemas.microsoft.com/office/drawing/2014/main" id="{EE3F0DF5-5C6C-4CD7-B585-73A22CE050B8}"/>
                  </a:ext>
                </a:extLst>
              </p:cNvPr>
              <p:cNvSpPr/>
              <p:nvPr/>
            </p:nvSpPr>
            <p:spPr bwMode="auto">
              <a:xfrm>
                <a:off x="8477251" y="2909888"/>
                <a:ext cx="188913" cy="92075"/>
              </a:xfrm>
              <a:custGeom>
                <a:avLst/>
                <a:gdLst>
                  <a:gd name="T0" fmla="*/ 31 w 31"/>
                  <a:gd name="T1" fmla="*/ 0 h 15"/>
                  <a:gd name="T2" fmla="*/ 30 w 31"/>
                  <a:gd name="T3" fmla="*/ 9 h 15"/>
                  <a:gd name="T4" fmla="*/ 0 w 31"/>
                  <a:gd name="T5" fmla="*/ 14 h 15"/>
                  <a:gd name="T6" fmla="*/ 1 w 31"/>
                  <a:gd name="T7" fmla="*/ 7 h 15"/>
                  <a:gd name="T8" fmla="*/ 1 w 31"/>
                  <a:gd name="T9" fmla="*/ 7 h 15"/>
                  <a:gd name="T10" fmla="*/ 31 w 31"/>
                  <a:gd name="T11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1" h="15">
                    <a:moveTo>
                      <a:pt x="31" y="0"/>
                    </a:moveTo>
                    <a:cubicBezTo>
                      <a:pt x="31" y="2"/>
                      <a:pt x="30" y="6"/>
                      <a:pt x="30" y="9"/>
                    </a:cubicBezTo>
                    <a:cubicBezTo>
                      <a:pt x="22" y="11"/>
                      <a:pt x="8" y="15"/>
                      <a:pt x="0" y="14"/>
                    </a:cubicBezTo>
                    <a:cubicBezTo>
                      <a:pt x="0" y="12"/>
                      <a:pt x="0" y="10"/>
                      <a:pt x="1" y="7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2" y="7"/>
                      <a:pt x="27" y="6"/>
                      <a:pt x="31" y="0"/>
                    </a:cubicBezTo>
                    <a:close/>
                  </a:path>
                </a:pathLst>
              </a:cu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2" name="íṩ1ïḋè">
                <a:extLst>
                  <a:ext uri="{FF2B5EF4-FFF2-40B4-BE49-F238E27FC236}">
                    <a16:creationId xmlns:a16="http://schemas.microsoft.com/office/drawing/2014/main" id="{EB77B7FC-196A-4A1D-9CC6-963CEF2C547D}"/>
                  </a:ext>
                </a:extLst>
              </p:cNvPr>
              <p:cNvSpPr/>
              <p:nvPr/>
            </p:nvSpPr>
            <p:spPr bwMode="auto">
              <a:xfrm>
                <a:off x="8296276" y="2559050"/>
                <a:ext cx="485775" cy="254000"/>
              </a:xfrm>
              <a:custGeom>
                <a:avLst/>
                <a:gdLst>
                  <a:gd name="T0" fmla="*/ 77 w 80"/>
                  <a:gd name="T1" fmla="*/ 42 h 42"/>
                  <a:gd name="T2" fmla="*/ 80 w 80"/>
                  <a:gd name="T3" fmla="*/ 37 h 42"/>
                  <a:gd name="T4" fmla="*/ 3 w 80"/>
                  <a:gd name="T5" fmla="*/ 3 h 42"/>
                  <a:gd name="T6" fmla="*/ 77 w 80"/>
                  <a:gd name="T7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" h="42">
                    <a:moveTo>
                      <a:pt x="77" y="42"/>
                    </a:moveTo>
                    <a:cubicBezTo>
                      <a:pt x="77" y="42"/>
                      <a:pt x="80" y="40"/>
                      <a:pt x="80" y="37"/>
                    </a:cubicBezTo>
                    <a:cubicBezTo>
                      <a:pt x="80" y="37"/>
                      <a:pt x="7" y="0"/>
                      <a:pt x="3" y="3"/>
                    </a:cubicBezTo>
                    <a:cubicBezTo>
                      <a:pt x="0" y="5"/>
                      <a:pt x="77" y="42"/>
                      <a:pt x="77" y="42"/>
                    </a:cubicBezTo>
                    <a:close/>
                  </a:path>
                </a:pathLst>
              </a:custGeom>
              <a:solidFill>
                <a:srgbClr val="E349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3" name="ï$ļîďe">
                <a:extLst>
                  <a:ext uri="{FF2B5EF4-FFF2-40B4-BE49-F238E27FC236}">
                    <a16:creationId xmlns:a16="http://schemas.microsoft.com/office/drawing/2014/main" id="{71EB0707-C89C-4EC0-836B-191BCCEC876D}"/>
                  </a:ext>
                </a:extLst>
              </p:cNvPr>
              <p:cNvSpPr/>
              <p:nvPr/>
            </p:nvSpPr>
            <p:spPr bwMode="auto">
              <a:xfrm>
                <a:off x="8435976" y="2498725"/>
                <a:ext cx="363538" cy="277813"/>
              </a:xfrm>
              <a:custGeom>
                <a:avLst/>
                <a:gdLst>
                  <a:gd name="T0" fmla="*/ 57 w 60"/>
                  <a:gd name="T1" fmla="*/ 46 h 46"/>
                  <a:gd name="T2" fmla="*/ 0 w 60"/>
                  <a:gd name="T3" fmla="*/ 19 h 46"/>
                  <a:gd name="T4" fmla="*/ 41 w 60"/>
                  <a:gd name="T5" fmla="*/ 12 h 46"/>
                  <a:gd name="T6" fmla="*/ 57 w 60"/>
                  <a:gd name="T7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46">
                    <a:moveTo>
                      <a:pt x="57" y="46"/>
                    </a:moveTo>
                    <a:cubicBezTo>
                      <a:pt x="51" y="44"/>
                      <a:pt x="20" y="28"/>
                      <a:pt x="0" y="19"/>
                    </a:cubicBezTo>
                    <a:cubicBezTo>
                      <a:pt x="4" y="13"/>
                      <a:pt x="16" y="0"/>
                      <a:pt x="41" y="12"/>
                    </a:cubicBezTo>
                    <a:cubicBezTo>
                      <a:pt x="60" y="21"/>
                      <a:pt x="60" y="36"/>
                      <a:pt x="57" y="46"/>
                    </a:cubicBezTo>
                    <a:close/>
                  </a:path>
                </a:pathLst>
              </a:custGeom>
              <a:solidFill>
                <a:srgbClr val="FF67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4" name="í$ļîḋê">
                <a:extLst>
                  <a:ext uri="{FF2B5EF4-FFF2-40B4-BE49-F238E27FC236}">
                    <a16:creationId xmlns:a16="http://schemas.microsoft.com/office/drawing/2014/main" id="{6A4F6FD6-55B9-47E6-BF67-0C02E75622F3}"/>
                  </a:ext>
                </a:extLst>
              </p:cNvPr>
              <p:cNvSpPr/>
              <p:nvPr/>
            </p:nvSpPr>
            <p:spPr bwMode="auto">
              <a:xfrm>
                <a:off x="7488238" y="2989263"/>
                <a:ext cx="1431925" cy="619125"/>
              </a:xfrm>
              <a:custGeom>
                <a:avLst/>
                <a:gdLst>
                  <a:gd name="T0" fmla="*/ 171 w 236"/>
                  <a:gd name="T1" fmla="*/ 66 h 102"/>
                  <a:gd name="T2" fmla="*/ 39 w 236"/>
                  <a:gd name="T3" fmla="*/ 72 h 102"/>
                  <a:gd name="T4" fmla="*/ 28 w 236"/>
                  <a:gd name="T5" fmla="*/ 60 h 102"/>
                  <a:gd name="T6" fmla="*/ 30 w 236"/>
                  <a:gd name="T7" fmla="*/ 72 h 102"/>
                  <a:gd name="T8" fmla="*/ 10 w 236"/>
                  <a:gd name="T9" fmla="*/ 81 h 102"/>
                  <a:gd name="T10" fmla="*/ 38 w 236"/>
                  <a:gd name="T11" fmla="*/ 83 h 102"/>
                  <a:gd name="T12" fmla="*/ 178 w 236"/>
                  <a:gd name="T13" fmla="*/ 95 h 102"/>
                  <a:gd name="T14" fmla="*/ 219 w 236"/>
                  <a:gd name="T15" fmla="*/ 22 h 102"/>
                  <a:gd name="T16" fmla="*/ 171 w 236"/>
                  <a:gd name="T17" fmla="*/ 66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6" h="102">
                    <a:moveTo>
                      <a:pt x="171" y="66"/>
                    </a:moveTo>
                    <a:cubicBezTo>
                      <a:pt x="171" y="66"/>
                      <a:pt x="68" y="73"/>
                      <a:pt x="39" y="72"/>
                    </a:cubicBezTo>
                    <a:cubicBezTo>
                      <a:pt x="39" y="72"/>
                      <a:pt x="28" y="56"/>
                      <a:pt x="28" y="60"/>
                    </a:cubicBezTo>
                    <a:cubicBezTo>
                      <a:pt x="27" y="65"/>
                      <a:pt x="30" y="72"/>
                      <a:pt x="30" y="72"/>
                    </a:cubicBezTo>
                    <a:cubicBezTo>
                      <a:pt x="30" y="72"/>
                      <a:pt x="0" y="68"/>
                      <a:pt x="10" y="81"/>
                    </a:cubicBezTo>
                    <a:cubicBezTo>
                      <a:pt x="21" y="94"/>
                      <a:pt x="38" y="83"/>
                      <a:pt x="38" y="83"/>
                    </a:cubicBezTo>
                    <a:cubicBezTo>
                      <a:pt x="38" y="83"/>
                      <a:pt x="158" y="102"/>
                      <a:pt x="178" y="95"/>
                    </a:cubicBezTo>
                    <a:cubicBezTo>
                      <a:pt x="197" y="88"/>
                      <a:pt x="236" y="44"/>
                      <a:pt x="219" y="22"/>
                    </a:cubicBezTo>
                    <a:cubicBezTo>
                      <a:pt x="202" y="0"/>
                      <a:pt x="181" y="28"/>
                      <a:pt x="171" y="66"/>
                    </a:cubicBezTo>
                    <a:close/>
                  </a:path>
                </a:pathLst>
              </a:custGeom>
              <a:solidFill>
                <a:srgbClr val="F4EE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5" name="îşļiďe">
                <a:extLst>
                  <a:ext uri="{FF2B5EF4-FFF2-40B4-BE49-F238E27FC236}">
                    <a16:creationId xmlns:a16="http://schemas.microsoft.com/office/drawing/2014/main" id="{0F0B05E4-484B-4F06-B69D-A574BA811F5B}"/>
                  </a:ext>
                </a:extLst>
              </p:cNvPr>
              <p:cNvSpPr/>
              <p:nvPr/>
            </p:nvSpPr>
            <p:spPr bwMode="auto">
              <a:xfrm>
                <a:off x="8083551" y="2989263"/>
                <a:ext cx="836613" cy="600075"/>
              </a:xfrm>
              <a:custGeom>
                <a:avLst/>
                <a:gdLst>
                  <a:gd name="T0" fmla="*/ 121 w 138"/>
                  <a:gd name="T1" fmla="*/ 22 h 99"/>
                  <a:gd name="T2" fmla="*/ 73 w 138"/>
                  <a:gd name="T3" fmla="*/ 66 h 99"/>
                  <a:gd name="T4" fmla="*/ 0 w 138"/>
                  <a:gd name="T5" fmla="*/ 70 h 99"/>
                  <a:gd name="T6" fmla="*/ 1 w 138"/>
                  <a:gd name="T7" fmla="*/ 92 h 99"/>
                  <a:gd name="T8" fmla="*/ 80 w 138"/>
                  <a:gd name="T9" fmla="*/ 95 h 99"/>
                  <a:gd name="T10" fmla="*/ 121 w 138"/>
                  <a:gd name="T11" fmla="*/ 22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8" h="99">
                    <a:moveTo>
                      <a:pt x="121" y="22"/>
                    </a:moveTo>
                    <a:cubicBezTo>
                      <a:pt x="104" y="0"/>
                      <a:pt x="83" y="28"/>
                      <a:pt x="73" y="66"/>
                    </a:cubicBezTo>
                    <a:cubicBezTo>
                      <a:pt x="73" y="66"/>
                      <a:pt x="36" y="68"/>
                      <a:pt x="0" y="70"/>
                    </a:cubicBezTo>
                    <a:cubicBezTo>
                      <a:pt x="1" y="92"/>
                      <a:pt x="1" y="92"/>
                      <a:pt x="1" y="92"/>
                    </a:cubicBezTo>
                    <a:cubicBezTo>
                      <a:pt x="32" y="95"/>
                      <a:pt x="69" y="99"/>
                      <a:pt x="80" y="95"/>
                    </a:cubicBezTo>
                    <a:cubicBezTo>
                      <a:pt x="99" y="88"/>
                      <a:pt x="138" y="44"/>
                      <a:pt x="121" y="22"/>
                    </a:cubicBezTo>
                    <a:close/>
                  </a:path>
                </a:pathLst>
              </a:custGeom>
              <a:solidFill>
                <a:srgbClr val="E349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6" name="iSlïḑè">
                <a:extLst>
                  <a:ext uri="{FF2B5EF4-FFF2-40B4-BE49-F238E27FC236}">
                    <a16:creationId xmlns:a16="http://schemas.microsoft.com/office/drawing/2014/main" id="{169BFBB7-3E4E-4A63-ADC7-4DBC8CF064CA}"/>
                  </a:ext>
                </a:extLst>
              </p:cNvPr>
              <p:cNvSpPr/>
              <p:nvPr/>
            </p:nvSpPr>
            <p:spPr bwMode="auto">
              <a:xfrm>
                <a:off x="5473701" y="4518025"/>
                <a:ext cx="285750" cy="284163"/>
              </a:xfrm>
              <a:custGeom>
                <a:avLst/>
                <a:gdLst>
                  <a:gd name="T0" fmla="*/ 23 w 47"/>
                  <a:gd name="T1" fmla="*/ 47 h 47"/>
                  <a:gd name="T2" fmla="*/ 0 w 47"/>
                  <a:gd name="T3" fmla="*/ 24 h 47"/>
                  <a:gd name="T4" fmla="*/ 23 w 47"/>
                  <a:gd name="T5" fmla="*/ 0 h 47"/>
                  <a:gd name="T6" fmla="*/ 47 w 47"/>
                  <a:gd name="T7" fmla="*/ 24 h 47"/>
                  <a:gd name="T8" fmla="*/ 23 w 47"/>
                  <a:gd name="T9" fmla="*/ 47 h 47"/>
                  <a:gd name="T10" fmla="*/ 23 w 47"/>
                  <a:gd name="T11" fmla="*/ 12 h 47"/>
                  <a:gd name="T12" fmla="*/ 12 w 47"/>
                  <a:gd name="T13" fmla="*/ 24 h 47"/>
                  <a:gd name="T14" fmla="*/ 23 w 47"/>
                  <a:gd name="T15" fmla="*/ 35 h 47"/>
                  <a:gd name="T16" fmla="*/ 35 w 47"/>
                  <a:gd name="T17" fmla="*/ 24 h 47"/>
                  <a:gd name="T18" fmla="*/ 23 w 47"/>
                  <a:gd name="T19" fmla="*/ 12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7" h="47">
                    <a:moveTo>
                      <a:pt x="23" y="47"/>
                    </a:moveTo>
                    <a:cubicBezTo>
                      <a:pt x="11" y="47"/>
                      <a:pt x="0" y="36"/>
                      <a:pt x="0" y="24"/>
                    </a:cubicBezTo>
                    <a:cubicBezTo>
                      <a:pt x="0" y="11"/>
                      <a:pt x="11" y="0"/>
                      <a:pt x="23" y="0"/>
                    </a:cubicBezTo>
                    <a:cubicBezTo>
                      <a:pt x="36" y="0"/>
                      <a:pt x="47" y="11"/>
                      <a:pt x="47" y="24"/>
                    </a:cubicBezTo>
                    <a:cubicBezTo>
                      <a:pt x="47" y="36"/>
                      <a:pt x="36" y="47"/>
                      <a:pt x="23" y="47"/>
                    </a:cubicBezTo>
                    <a:close/>
                    <a:moveTo>
                      <a:pt x="23" y="12"/>
                    </a:moveTo>
                    <a:cubicBezTo>
                      <a:pt x="17" y="12"/>
                      <a:pt x="12" y="17"/>
                      <a:pt x="12" y="24"/>
                    </a:cubicBezTo>
                    <a:cubicBezTo>
                      <a:pt x="12" y="30"/>
                      <a:pt x="17" y="35"/>
                      <a:pt x="23" y="35"/>
                    </a:cubicBezTo>
                    <a:cubicBezTo>
                      <a:pt x="30" y="35"/>
                      <a:pt x="35" y="30"/>
                      <a:pt x="35" y="24"/>
                    </a:cubicBezTo>
                    <a:cubicBezTo>
                      <a:pt x="35" y="17"/>
                      <a:pt x="30" y="12"/>
                      <a:pt x="23" y="12"/>
                    </a:cubicBezTo>
                    <a:close/>
                  </a:path>
                </a:pathLst>
              </a:cu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" name="i$ḷïḓe">
                <a:extLst>
                  <a:ext uri="{FF2B5EF4-FFF2-40B4-BE49-F238E27FC236}">
                    <a16:creationId xmlns:a16="http://schemas.microsoft.com/office/drawing/2014/main" id="{78D4E1BC-1400-428A-A09E-B0137F0BAD38}"/>
                  </a:ext>
                </a:extLst>
              </p:cNvPr>
              <p:cNvSpPr/>
              <p:nvPr/>
            </p:nvSpPr>
            <p:spPr bwMode="auto">
              <a:xfrm>
                <a:off x="3125788" y="2219325"/>
                <a:ext cx="193675" cy="193675"/>
              </a:xfrm>
              <a:custGeom>
                <a:avLst/>
                <a:gdLst>
                  <a:gd name="T0" fmla="*/ 122 w 122"/>
                  <a:gd name="T1" fmla="*/ 122 h 122"/>
                  <a:gd name="T2" fmla="*/ 0 w 122"/>
                  <a:gd name="T3" fmla="*/ 122 h 122"/>
                  <a:gd name="T4" fmla="*/ 0 w 122"/>
                  <a:gd name="T5" fmla="*/ 0 h 122"/>
                  <a:gd name="T6" fmla="*/ 45 w 122"/>
                  <a:gd name="T7" fmla="*/ 0 h 122"/>
                  <a:gd name="T8" fmla="*/ 45 w 122"/>
                  <a:gd name="T9" fmla="*/ 76 h 122"/>
                  <a:gd name="T10" fmla="*/ 122 w 122"/>
                  <a:gd name="T11" fmla="*/ 76 h 122"/>
                  <a:gd name="T12" fmla="*/ 122 w 122"/>
                  <a:gd name="T1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2" h="122">
                    <a:moveTo>
                      <a:pt x="122" y="122"/>
                    </a:moveTo>
                    <a:lnTo>
                      <a:pt x="0" y="122"/>
                    </a:lnTo>
                    <a:lnTo>
                      <a:pt x="0" y="0"/>
                    </a:lnTo>
                    <a:lnTo>
                      <a:pt x="45" y="0"/>
                    </a:lnTo>
                    <a:lnTo>
                      <a:pt x="45" y="76"/>
                    </a:lnTo>
                    <a:lnTo>
                      <a:pt x="122" y="76"/>
                    </a:lnTo>
                    <a:lnTo>
                      <a:pt x="122" y="122"/>
                    </a:lnTo>
                    <a:close/>
                  </a:path>
                </a:pathLst>
              </a:custGeom>
              <a:solidFill>
                <a:srgbClr val="00BE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8" name="îṥḻîďe">
                <a:extLst>
                  <a:ext uri="{FF2B5EF4-FFF2-40B4-BE49-F238E27FC236}">
                    <a16:creationId xmlns:a16="http://schemas.microsoft.com/office/drawing/2014/main" id="{D8195EC9-093F-405D-9372-ED29B3F181D9}"/>
                  </a:ext>
                </a:extLst>
              </p:cNvPr>
              <p:cNvSpPr/>
              <p:nvPr/>
            </p:nvSpPr>
            <p:spPr bwMode="auto">
              <a:xfrm>
                <a:off x="8101013" y="1333500"/>
                <a:ext cx="231775" cy="363538"/>
              </a:xfrm>
              <a:custGeom>
                <a:avLst/>
                <a:gdLst>
                  <a:gd name="T0" fmla="*/ 16 w 38"/>
                  <a:gd name="T1" fmla="*/ 10 h 60"/>
                  <a:gd name="T2" fmla="*/ 19 w 38"/>
                  <a:gd name="T3" fmla="*/ 0 h 60"/>
                  <a:gd name="T4" fmla="*/ 22 w 38"/>
                  <a:gd name="T5" fmla="*/ 10 h 60"/>
                  <a:gd name="T6" fmla="*/ 38 w 38"/>
                  <a:gd name="T7" fmla="*/ 30 h 60"/>
                  <a:gd name="T8" fmla="*/ 22 w 38"/>
                  <a:gd name="T9" fmla="*/ 50 h 60"/>
                  <a:gd name="T10" fmla="*/ 19 w 38"/>
                  <a:gd name="T11" fmla="*/ 60 h 60"/>
                  <a:gd name="T12" fmla="*/ 16 w 38"/>
                  <a:gd name="T13" fmla="*/ 50 h 60"/>
                  <a:gd name="T14" fmla="*/ 0 w 38"/>
                  <a:gd name="T15" fmla="*/ 30 h 60"/>
                  <a:gd name="T16" fmla="*/ 16 w 38"/>
                  <a:gd name="T17" fmla="*/ 1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" h="60">
                    <a:moveTo>
                      <a:pt x="16" y="10"/>
                    </a:moveTo>
                    <a:cubicBezTo>
                      <a:pt x="19" y="0"/>
                      <a:pt x="19" y="0"/>
                      <a:pt x="19" y="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19"/>
                      <a:pt x="30" y="26"/>
                      <a:pt x="38" y="30"/>
                    </a:cubicBezTo>
                    <a:cubicBezTo>
                      <a:pt x="30" y="34"/>
                      <a:pt x="24" y="41"/>
                      <a:pt x="22" y="50"/>
                    </a:cubicBezTo>
                    <a:cubicBezTo>
                      <a:pt x="19" y="60"/>
                      <a:pt x="19" y="60"/>
                      <a:pt x="19" y="60"/>
                    </a:cubicBezTo>
                    <a:cubicBezTo>
                      <a:pt x="16" y="50"/>
                      <a:pt x="16" y="50"/>
                      <a:pt x="16" y="50"/>
                    </a:cubicBezTo>
                    <a:cubicBezTo>
                      <a:pt x="14" y="41"/>
                      <a:pt x="8" y="34"/>
                      <a:pt x="0" y="30"/>
                    </a:cubicBezTo>
                    <a:cubicBezTo>
                      <a:pt x="8" y="26"/>
                      <a:pt x="14" y="19"/>
                      <a:pt x="16" y="10"/>
                    </a:cubicBezTo>
                    <a:close/>
                  </a:path>
                </a:pathLst>
              </a:custGeom>
              <a:solidFill>
                <a:srgbClr val="EF65A5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9" name="îSľïḓê">
                <a:extLst>
                  <a:ext uri="{FF2B5EF4-FFF2-40B4-BE49-F238E27FC236}">
                    <a16:creationId xmlns:a16="http://schemas.microsoft.com/office/drawing/2014/main" id="{D380C995-6A53-446A-801E-448E03F1AF1A}"/>
                  </a:ext>
                </a:extLst>
              </p:cNvPr>
              <p:cNvSpPr/>
              <p:nvPr/>
            </p:nvSpPr>
            <p:spPr bwMode="auto">
              <a:xfrm>
                <a:off x="7840663" y="1206500"/>
                <a:ext cx="157163" cy="254000"/>
              </a:xfrm>
              <a:custGeom>
                <a:avLst/>
                <a:gdLst>
                  <a:gd name="T0" fmla="*/ 15 w 26"/>
                  <a:gd name="T1" fmla="*/ 7 h 42"/>
                  <a:gd name="T2" fmla="*/ 13 w 26"/>
                  <a:gd name="T3" fmla="*/ 0 h 42"/>
                  <a:gd name="T4" fmla="*/ 11 w 26"/>
                  <a:gd name="T5" fmla="*/ 7 h 42"/>
                  <a:gd name="T6" fmla="*/ 0 w 26"/>
                  <a:gd name="T7" fmla="*/ 21 h 42"/>
                  <a:gd name="T8" fmla="*/ 11 w 26"/>
                  <a:gd name="T9" fmla="*/ 35 h 42"/>
                  <a:gd name="T10" fmla="*/ 13 w 26"/>
                  <a:gd name="T11" fmla="*/ 42 h 42"/>
                  <a:gd name="T12" fmla="*/ 15 w 26"/>
                  <a:gd name="T13" fmla="*/ 35 h 42"/>
                  <a:gd name="T14" fmla="*/ 26 w 26"/>
                  <a:gd name="T15" fmla="*/ 21 h 42"/>
                  <a:gd name="T16" fmla="*/ 15 w 26"/>
                  <a:gd name="T17" fmla="*/ 7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42">
                    <a:moveTo>
                      <a:pt x="15" y="7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9" y="13"/>
                      <a:pt x="5" y="18"/>
                      <a:pt x="0" y="21"/>
                    </a:cubicBezTo>
                    <a:cubicBezTo>
                      <a:pt x="5" y="24"/>
                      <a:pt x="9" y="29"/>
                      <a:pt x="11" y="35"/>
                    </a:cubicBezTo>
                    <a:cubicBezTo>
                      <a:pt x="13" y="42"/>
                      <a:pt x="13" y="42"/>
                      <a:pt x="13" y="42"/>
                    </a:cubicBezTo>
                    <a:cubicBezTo>
                      <a:pt x="15" y="35"/>
                      <a:pt x="15" y="35"/>
                      <a:pt x="15" y="35"/>
                    </a:cubicBezTo>
                    <a:cubicBezTo>
                      <a:pt x="17" y="29"/>
                      <a:pt x="21" y="24"/>
                      <a:pt x="26" y="21"/>
                    </a:cubicBezTo>
                    <a:cubicBezTo>
                      <a:pt x="21" y="18"/>
                      <a:pt x="17" y="13"/>
                      <a:pt x="15" y="7"/>
                    </a:cubicBezTo>
                    <a:close/>
                  </a:path>
                </a:pathLst>
              </a:custGeom>
              <a:solidFill>
                <a:srgbClr val="EF65A5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0" name="í$ľiḓè">
                <a:extLst>
                  <a:ext uri="{FF2B5EF4-FFF2-40B4-BE49-F238E27FC236}">
                    <a16:creationId xmlns:a16="http://schemas.microsoft.com/office/drawing/2014/main" id="{7C0DA2F8-D545-4222-B5CE-D8F30D74B284}"/>
                  </a:ext>
                </a:extLst>
              </p:cNvPr>
              <p:cNvSpPr/>
              <p:nvPr/>
            </p:nvSpPr>
            <p:spPr bwMode="auto">
              <a:xfrm>
                <a:off x="3143251" y="1370013"/>
                <a:ext cx="182563" cy="290513"/>
              </a:xfrm>
              <a:custGeom>
                <a:avLst/>
                <a:gdLst>
                  <a:gd name="T0" fmla="*/ 17 w 30"/>
                  <a:gd name="T1" fmla="*/ 40 h 48"/>
                  <a:gd name="T2" fmla="*/ 15 w 30"/>
                  <a:gd name="T3" fmla="*/ 48 h 48"/>
                  <a:gd name="T4" fmla="*/ 13 w 30"/>
                  <a:gd name="T5" fmla="*/ 40 h 48"/>
                  <a:gd name="T6" fmla="*/ 0 w 30"/>
                  <a:gd name="T7" fmla="*/ 24 h 48"/>
                  <a:gd name="T8" fmla="*/ 13 w 30"/>
                  <a:gd name="T9" fmla="*/ 8 h 48"/>
                  <a:gd name="T10" fmla="*/ 15 w 30"/>
                  <a:gd name="T11" fmla="*/ 0 h 48"/>
                  <a:gd name="T12" fmla="*/ 17 w 30"/>
                  <a:gd name="T13" fmla="*/ 8 h 48"/>
                  <a:gd name="T14" fmla="*/ 30 w 30"/>
                  <a:gd name="T15" fmla="*/ 24 h 48"/>
                  <a:gd name="T16" fmla="*/ 17 w 30"/>
                  <a:gd name="T17" fmla="*/ 4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0" h="48">
                    <a:moveTo>
                      <a:pt x="17" y="40"/>
                    </a:moveTo>
                    <a:cubicBezTo>
                      <a:pt x="15" y="48"/>
                      <a:pt x="15" y="48"/>
                      <a:pt x="15" y="48"/>
                    </a:cubicBezTo>
                    <a:cubicBezTo>
                      <a:pt x="13" y="40"/>
                      <a:pt x="13" y="40"/>
                      <a:pt x="13" y="40"/>
                    </a:cubicBezTo>
                    <a:cubicBezTo>
                      <a:pt x="11" y="33"/>
                      <a:pt x="6" y="27"/>
                      <a:pt x="0" y="24"/>
                    </a:cubicBezTo>
                    <a:cubicBezTo>
                      <a:pt x="6" y="21"/>
                      <a:pt x="11" y="15"/>
                      <a:pt x="13" y="8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19" y="15"/>
                      <a:pt x="23" y="21"/>
                      <a:pt x="30" y="24"/>
                    </a:cubicBezTo>
                    <a:cubicBezTo>
                      <a:pt x="23" y="27"/>
                      <a:pt x="19" y="33"/>
                      <a:pt x="17" y="40"/>
                    </a:cubicBezTo>
                    <a:close/>
                  </a:path>
                </a:pathLst>
              </a:custGeom>
              <a:solidFill>
                <a:srgbClr val="EF65A5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1" name="îṡļïḓè">
                <a:extLst>
                  <a:ext uri="{FF2B5EF4-FFF2-40B4-BE49-F238E27FC236}">
                    <a16:creationId xmlns:a16="http://schemas.microsoft.com/office/drawing/2014/main" id="{3B622418-725D-4D72-A0C0-B2D312182859}"/>
                  </a:ext>
                </a:extLst>
              </p:cNvPr>
              <p:cNvSpPr/>
              <p:nvPr/>
            </p:nvSpPr>
            <p:spPr bwMode="auto">
              <a:xfrm>
                <a:off x="3379788" y="1655763"/>
                <a:ext cx="127000" cy="204788"/>
              </a:xfrm>
              <a:custGeom>
                <a:avLst/>
                <a:gdLst>
                  <a:gd name="T0" fmla="*/ 9 w 21"/>
                  <a:gd name="T1" fmla="*/ 28 h 34"/>
                  <a:gd name="T2" fmla="*/ 11 w 21"/>
                  <a:gd name="T3" fmla="*/ 34 h 34"/>
                  <a:gd name="T4" fmla="*/ 12 w 21"/>
                  <a:gd name="T5" fmla="*/ 28 h 34"/>
                  <a:gd name="T6" fmla="*/ 21 w 21"/>
                  <a:gd name="T7" fmla="*/ 17 h 34"/>
                  <a:gd name="T8" fmla="*/ 12 w 21"/>
                  <a:gd name="T9" fmla="*/ 6 h 34"/>
                  <a:gd name="T10" fmla="*/ 11 w 21"/>
                  <a:gd name="T11" fmla="*/ 0 h 34"/>
                  <a:gd name="T12" fmla="*/ 9 w 21"/>
                  <a:gd name="T13" fmla="*/ 6 h 34"/>
                  <a:gd name="T14" fmla="*/ 0 w 21"/>
                  <a:gd name="T15" fmla="*/ 17 h 34"/>
                  <a:gd name="T16" fmla="*/ 9 w 21"/>
                  <a:gd name="T17" fmla="*/ 2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" h="34">
                    <a:moveTo>
                      <a:pt x="9" y="28"/>
                    </a:moveTo>
                    <a:cubicBezTo>
                      <a:pt x="11" y="34"/>
                      <a:pt x="11" y="34"/>
                      <a:pt x="11" y="34"/>
                    </a:cubicBezTo>
                    <a:cubicBezTo>
                      <a:pt x="12" y="28"/>
                      <a:pt x="12" y="28"/>
                      <a:pt x="12" y="28"/>
                    </a:cubicBezTo>
                    <a:cubicBezTo>
                      <a:pt x="14" y="23"/>
                      <a:pt x="17" y="19"/>
                      <a:pt x="21" y="17"/>
                    </a:cubicBezTo>
                    <a:cubicBezTo>
                      <a:pt x="17" y="15"/>
                      <a:pt x="14" y="11"/>
                      <a:pt x="12" y="6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8" y="11"/>
                      <a:pt x="5" y="15"/>
                      <a:pt x="0" y="17"/>
                    </a:cubicBezTo>
                    <a:cubicBezTo>
                      <a:pt x="5" y="19"/>
                      <a:pt x="8" y="23"/>
                      <a:pt x="9" y="28"/>
                    </a:cubicBezTo>
                    <a:close/>
                  </a:path>
                </a:pathLst>
              </a:custGeom>
              <a:solidFill>
                <a:srgbClr val="EF65A5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2" name="íṩľíďé">
                <a:extLst>
                  <a:ext uri="{FF2B5EF4-FFF2-40B4-BE49-F238E27FC236}">
                    <a16:creationId xmlns:a16="http://schemas.microsoft.com/office/drawing/2014/main" id="{8237B965-3182-4845-A7BC-59878B0D32AE}"/>
                  </a:ext>
                </a:extLst>
              </p:cNvPr>
              <p:cNvSpPr/>
              <p:nvPr/>
            </p:nvSpPr>
            <p:spPr bwMode="auto">
              <a:xfrm>
                <a:off x="5826126" y="5068888"/>
                <a:ext cx="1038225" cy="461963"/>
              </a:xfrm>
              <a:custGeom>
                <a:avLst/>
                <a:gdLst>
                  <a:gd name="T0" fmla="*/ 119 w 171"/>
                  <a:gd name="T1" fmla="*/ 0 h 76"/>
                  <a:gd name="T2" fmla="*/ 71 w 171"/>
                  <a:gd name="T3" fmla="*/ 18 h 76"/>
                  <a:gd name="T4" fmla="*/ 52 w 171"/>
                  <a:gd name="T5" fmla="*/ 16 h 76"/>
                  <a:gd name="T6" fmla="*/ 20 w 171"/>
                  <a:gd name="T7" fmla="*/ 23 h 76"/>
                  <a:gd name="T8" fmla="*/ 0 w 171"/>
                  <a:gd name="T9" fmla="*/ 46 h 76"/>
                  <a:gd name="T10" fmla="*/ 52 w 171"/>
                  <a:gd name="T11" fmla="*/ 76 h 76"/>
                  <a:gd name="T12" fmla="*/ 96 w 171"/>
                  <a:gd name="T13" fmla="*/ 63 h 76"/>
                  <a:gd name="T14" fmla="*/ 101 w 171"/>
                  <a:gd name="T15" fmla="*/ 57 h 76"/>
                  <a:gd name="T16" fmla="*/ 119 w 171"/>
                  <a:gd name="T17" fmla="*/ 59 h 76"/>
                  <a:gd name="T18" fmla="*/ 162 w 171"/>
                  <a:gd name="T19" fmla="*/ 46 h 76"/>
                  <a:gd name="T20" fmla="*/ 171 w 171"/>
                  <a:gd name="T21" fmla="*/ 30 h 76"/>
                  <a:gd name="T22" fmla="*/ 119 w 171"/>
                  <a:gd name="T23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1" h="76">
                    <a:moveTo>
                      <a:pt x="119" y="0"/>
                    </a:moveTo>
                    <a:cubicBezTo>
                      <a:pt x="97" y="0"/>
                      <a:pt x="79" y="7"/>
                      <a:pt x="71" y="18"/>
                    </a:cubicBezTo>
                    <a:cubicBezTo>
                      <a:pt x="65" y="17"/>
                      <a:pt x="59" y="16"/>
                      <a:pt x="52" y="16"/>
                    </a:cubicBezTo>
                    <a:cubicBezTo>
                      <a:pt x="40" y="16"/>
                      <a:pt x="29" y="19"/>
                      <a:pt x="20" y="23"/>
                    </a:cubicBezTo>
                    <a:cubicBezTo>
                      <a:pt x="8" y="28"/>
                      <a:pt x="0" y="37"/>
                      <a:pt x="0" y="46"/>
                    </a:cubicBezTo>
                    <a:cubicBezTo>
                      <a:pt x="0" y="62"/>
                      <a:pt x="24" y="76"/>
                      <a:pt x="52" y="76"/>
                    </a:cubicBezTo>
                    <a:cubicBezTo>
                      <a:pt x="70" y="76"/>
                      <a:pt x="86" y="71"/>
                      <a:pt x="96" y="63"/>
                    </a:cubicBezTo>
                    <a:cubicBezTo>
                      <a:pt x="98" y="61"/>
                      <a:pt x="99" y="59"/>
                      <a:pt x="101" y="57"/>
                    </a:cubicBezTo>
                    <a:cubicBezTo>
                      <a:pt x="106" y="59"/>
                      <a:pt x="113" y="59"/>
                      <a:pt x="119" y="59"/>
                    </a:cubicBezTo>
                    <a:cubicBezTo>
                      <a:pt x="137" y="59"/>
                      <a:pt x="153" y="54"/>
                      <a:pt x="162" y="46"/>
                    </a:cubicBezTo>
                    <a:cubicBezTo>
                      <a:pt x="168" y="41"/>
                      <a:pt x="171" y="36"/>
                      <a:pt x="171" y="30"/>
                    </a:cubicBezTo>
                    <a:cubicBezTo>
                      <a:pt x="171" y="13"/>
                      <a:pt x="148" y="0"/>
                      <a:pt x="119" y="0"/>
                    </a:cubicBezTo>
                    <a:close/>
                  </a:path>
                </a:pathLst>
              </a:custGeom>
              <a:solidFill>
                <a:srgbClr val="00A4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3" name="i$1îḑê">
                <a:extLst>
                  <a:ext uri="{FF2B5EF4-FFF2-40B4-BE49-F238E27FC236}">
                    <a16:creationId xmlns:a16="http://schemas.microsoft.com/office/drawing/2014/main" id="{4CCDB54B-34EB-4875-97E6-9A074DD27ADF}"/>
                  </a:ext>
                </a:extLst>
              </p:cNvPr>
              <p:cNvSpPr/>
              <p:nvPr/>
            </p:nvSpPr>
            <p:spPr bwMode="auto">
              <a:xfrm>
                <a:off x="5802313" y="5118100"/>
                <a:ext cx="630238" cy="357188"/>
              </a:xfrm>
              <a:custGeom>
                <a:avLst/>
                <a:gdLst>
                  <a:gd name="T0" fmla="*/ 104 w 104"/>
                  <a:gd name="T1" fmla="*/ 30 h 59"/>
                  <a:gd name="T2" fmla="*/ 95 w 104"/>
                  <a:gd name="T3" fmla="*/ 46 h 59"/>
                  <a:gd name="T4" fmla="*/ 52 w 104"/>
                  <a:gd name="T5" fmla="*/ 59 h 59"/>
                  <a:gd name="T6" fmla="*/ 0 w 104"/>
                  <a:gd name="T7" fmla="*/ 30 h 59"/>
                  <a:gd name="T8" fmla="*/ 20 w 104"/>
                  <a:gd name="T9" fmla="*/ 6 h 59"/>
                  <a:gd name="T10" fmla="*/ 52 w 104"/>
                  <a:gd name="T11" fmla="*/ 0 h 59"/>
                  <a:gd name="T12" fmla="*/ 104 w 104"/>
                  <a:gd name="T13" fmla="*/ 3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4" h="59">
                    <a:moveTo>
                      <a:pt x="104" y="30"/>
                    </a:moveTo>
                    <a:cubicBezTo>
                      <a:pt x="104" y="36"/>
                      <a:pt x="101" y="41"/>
                      <a:pt x="95" y="46"/>
                    </a:cubicBezTo>
                    <a:cubicBezTo>
                      <a:pt x="86" y="54"/>
                      <a:pt x="70" y="59"/>
                      <a:pt x="52" y="59"/>
                    </a:cubicBezTo>
                    <a:cubicBezTo>
                      <a:pt x="23" y="59"/>
                      <a:pt x="0" y="46"/>
                      <a:pt x="0" y="30"/>
                    </a:cubicBezTo>
                    <a:cubicBezTo>
                      <a:pt x="0" y="20"/>
                      <a:pt x="8" y="12"/>
                      <a:pt x="20" y="6"/>
                    </a:cubicBezTo>
                    <a:cubicBezTo>
                      <a:pt x="29" y="2"/>
                      <a:pt x="40" y="0"/>
                      <a:pt x="52" y="0"/>
                    </a:cubicBezTo>
                    <a:cubicBezTo>
                      <a:pt x="81" y="0"/>
                      <a:pt x="104" y="13"/>
                      <a:pt x="104" y="30"/>
                    </a:cubicBezTo>
                    <a:close/>
                  </a:path>
                </a:pathLst>
              </a:custGeom>
              <a:solidFill>
                <a:srgbClr val="3E03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4" name="ïslíḑè">
                <a:extLst>
                  <a:ext uri="{FF2B5EF4-FFF2-40B4-BE49-F238E27FC236}">
                    <a16:creationId xmlns:a16="http://schemas.microsoft.com/office/drawing/2014/main" id="{42C60CB5-3FFC-4C0C-B2A2-8E5095E54562}"/>
                  </a:ext>
                </a:extLst>
              </p:cNvPr>
              <p:cNvSpPr/>
              <p:nvPr/>
            </p:nvSpPr>
            <p:spPr bwMode="auto">
              <a:xfrm>
                <a:off x="5922963" y="5118100"/>
                <a:ext cx="193675" cy="180975"/>
              </a:xfrm>
              <a:custGeom>
                <a:avLst/>
                <a:gdLst>
                  <a:gd name="T0" fmla="*/ 32 w 32"/>
                  <a:gd name="T1" fmla="*/ 0 h 30"/>
                  <a:gd name="T2" fmla="*/ 32 w 32"/>
                  <a:gd name="T3" fmla="*/ 30 h 30"/>
                  <a:gd name="T4" fmla="*/ 0 w 32"/>
                  <a:gd name="T5" fmla="*/ 6 h 30"/>
                  <a:gd name="T6" fmla="*/ 32 w 32"/>
                  <a:gd name="T7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2" h="30">
                    <a:moveTo>
                      <a:pt x="32" y="0"/>
                    </a:moveTo>
                    <a:cubicBezTo>
                      <a:pt x="32" y="30"/>
                      <a:pt x="32" y="30"/>
                      <a:pt x="32" y="3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9" y="2"/>
                      <a:pt x="20" y="0"/>
                      <a:pt x="3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5" name="ï$ľíḍè">
                <a:extLst>
                  <a:ext uri="{FF2B5EF4-FFF2-40B4-BE49-F238E27FC236}">
                    <a16:creationId xmlns:a16="http://schemas.microsoft.com/office/drawing/2014/main" id="{98AEC2D5-BACE-4916-B99D-F660DAD175CB}"/>
                  </a:ext>
                </a:extLst>
              </p:cNvPr>
              <p:cNvSpPr/>
              <p:nvPr/>
            </p:nvSpPr>
            <p:spPr bwMode="auto">
              <a:xfrm>
                <a:off x="6208713" y="5014913"/>
                <a:ext cx="630238" cy="363538"/>
              </a:xfrm>
              <a:custGeom>
                <a:avLst/>
                <a:gdLst>
                  <a:gd name="T0" fmla="*/ 104 w 104"/>
                  <a:gd name="T1" fmla="*/ 30 h 60"/>
                  <a:gd name="T2" fmla="*/ 95 w 104"/>
                  <a:gd name="T3" fmla="*/ 47 h 60"/>
                  <a:gd name="T4" fmla="*/ 52 w 104"/>
                  <a:gd name="T5" fmla="*/ 60 h 60"/>
                  <a:gd name="T6" fmla="*/ 0 w 104"/>
                  <a:gd name="T7" fmla="*/ 30 h 60"/>
                  <a:gd name="T8" fmla="*/ 52 w 104"/>
                  <a:gd name="T9" fmla="*/ 0 h 60"/>
                  <a:gd name="T10" fmla="*/ 104 w 104"/>
                  <a:gd name="T11" fmla="*/ 3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4" h="60">
                    <a:moveTo>
                      <a:pt x="104" y="30"/>
                    </a:moveTo>
                    <a:cubicBezTo>
                      <a:pt x="104" y="36"/>
                      <a:pt x="101" y="42"/>
                      <a:pt x="95" y="47"/>
                    </a:cubicBezTo>
                    <a:cubicBezTo>
                      <a:pt x="86" y="55"/>
                      <a:pt x="70" y="60"/>
                      <a:pt x="52" y="60"/>
                    </a:cubicBezTo>
                    <a:cubicBezTo>
                      <a:pt x="23" y="60"/>
                      <a:pt x="0" y="47"/>
                      <a:pt x="0" y="30"/>
                    </a:cubicBezTo>
                    <a:cubicBezTo>
                      <a:pt x="0" y="14"/>
                      <a:pt x="23" y="0"/>
                      <a:pt x="52" y="0"/>
                    </a:cubicBezTo>
                    <a:cubicBezTo>
                      <a:pt x="81" y="0"/>
                      <a:pt x="104" y="14"/>
                      <a:pt x="104" y="30"/>
                    </a:cubicBezTo>
                    <a:close/>
                  </a:path>
                </a:pathLst>
              </a:custGeom>
              <a:solidFill>
                <a:srgbClr val="EF6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6" name="îšḻîḋê">
                <a:extLst>
                  <a:ext uri="{FF2B5EF4-FFF2-40B4-BE49-F238E27FC236}">
                    <a16:creationId xmlns:a16="http://schemas.microsoft.com/office/drawing/2014/main" id="{7DD34AB1-328A-4F77-A1AE-0EB1CB2EB437}"/>
                  </a:ext>
                </a:extLst>
              </p:cNvPr>
              <p:cNvSpPr/>
              <p:nvPr/>
            </p:nvSpPr>
            <p:spPr bwMode="auto">
              <a:xfrm>
                <a:off x="6523038" y="5014913"/>
                <a:ext cx="315913" cy="284163"/>
              </a:xfrm>
              <a:custGeom>
                <a:avLst/>
                <a:gdLst>
                  <a:gd name="T0" fmla="*/ 52 w 52"/>
                  <a:gd name="T1" fmla="*/ 30 h 47"/>
                  <a:gd name="T2" fmla="*/ 43 w 52"/>
                  <a:gd name="T3" fmla="*/ 47 h 47"/>
                  <a:gd name="T4" fmla="*/ 0 w 52"/>
                  <a:gd name="T5" fmla="*/ 30 h 47"/>
                  <a:gd name="T6" fmla="*/ 0 w 52"/>
                  <a:gd name="T7" fmla="*/ 0 h 47"/>
                  <a:gd name="T8" fmla="*/ 52 w 52"/>
                  <a:gd name="T9" fmla="*/ 3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47">
                    <a:moveTo>
                      <a:pt x="52" y="30"/>
                    </a:moveTo>
                    <a:cubicBezTo>
                      <a:pt x="52" y="36"/>
                      <a:pt x="49" y="42"/>
                      <a:pt x="43" y="47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9" y="0"/>
                      <a:pt x="52" y="14"/>
                      <a:pt x="52" y="3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7" name="í$ļïḑè">
                <a:extLst>
                  <a:ext uri="{FF2B5EF4-FFF2-40B4-BE49-F238E27FC236}">
                    <a16:creationId xmlns:a16="http://schemas.microsoft.com/office/drawing/2014/main" id="{6778BA52-605C-4756-8178-D4B946CD590E}"/>
                  </a:ext>
                </a:extLst>
              </p:cNvPr>
              <p:cNvSpPr/>
              <p:nvPr/>
            </p:nvSpPr>
            <p:spPr bwMode="auto">
              <a:xfrm>
                <a:off x="5267326" y="5530850"/>
                <a:ext cx="1401763" cy="23813"/>
              </a:xfrm>
              <a:prstGeom prst="rect">
                <a:avLst/>
              </a:pr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8" name="íšlïdé">
                <a:extLst>
                  <a:ext uri="{FF2B5EF4-FFF2-40B4-BE49-F238E27FC236}">
                    <a16:creationId xmlns:a16="http://schemas.microsoft.com/office/drawing/2014/main" id="{7CA30878-433D-44A7-8CFA-27DBD5DB8BF3}"/>
                  </a:ext>
                </a:extLst>
              </p:cNvPr>
              <p:cNvSpPr/>
              <p:nvPr/>
            </p:nvSpPr>
            <p:spPr bwMode="auto">
              <a:xfrm>
                <a:off x="5649913" y="5397500"/>
                <a:ext cx="1395413" cy="127000"/>
              </a:xfrm>
              <a:custGeom>
                <a:avLst/>
                <a:gdLst>
                  <a:gd name="T0" fmla="*/ 879 w 879"/>
                  <a:gd name="T1" fmla="*/ 61 h 80"/>
                  <a:gd name="T2" fmla="*/ 0 w 879"/>
                  <a:gd name="T3" fmla="*/ 0 h 80"/>
                  <a:gd name="T4" fmla="*/ 0 w 879"/>
                  <a:gd name="T5" fmla="*/ 19 h 80"/>
                  <a:gd name="T6" fmla="*/ 879 w 879"/>
                  <a:gd name="T7" fmla="*/ 80 h 80"/>
                  <a:gd name="T8" fmla="*/ 879 w 879"/>
                  <a:gd name="T9" fmla="*/ 61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9" h="80">
                    <a:moveTo>
                      <a:pt x="879" y="61"/>
                    </a:moveTo>
                    <a:lnTo>
                      <a:pt x="0" y="0"/>
                    </a:lnTo>
                    <a:lnTo>
                      <a:pt x="0" y="19"/>
                    </a:lnTo>
                    <a:lnTo>
                      <a:pt x="879" y="80"/>
                    </a:lnTo>
                    <a:lnTo>
                      <a:pt x="879" y="61"/>
                    </a:lnTo>
                    <a:close/>
                  </a:path>
                </a:pathLst>
              </a:custGeom>
              <a:solidFill>
                <a:srgbClr val="EBE0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sp>
          <p:nvSpPr>
            <p:cNvPr id="9" name="矩形 117">
              <a:extLst>
                <a:ext uri="{FF2B5EF4-FFF2-40B4-BE49-F238E27FC236}">
                  <a16:creationId xmlns:a16="http://schemas.microsoft.com/office/drawing/2014/main" id="{EAA6546F-078A-4984-B7B7-0F2BD89B804A}"/>
                </a:ext>
              </a:extLst>
            </p:cNvPr>
            <p:cNvSpPr/>
            <p:nvPr/>
          </p:nvSpPr>
          <p:spPr>
            <a:xfrm>
              <a:off x="-4763" y="0"/>
              <a:ext cx="291300" cy="6040207"/>
            </a:xfrm>
            <a:custGeom>
              <a:avLst/>
              <a:gdLst>
                <a:gd name="connsiteX0" fmla="*/ 0 w 286537"/>
                <a:gd name="connsiteY0" fmla="*/ 0 h 5773507"/>
                <a:gd name="connsiteX1" fmla="*/ 286537 w 286537"/>
                <a:gd name="connsiteY1" fmla="*/ 0 h 5773507"/>
                <a:gd name="connsiteX2" fmla="*/ 286537 w 286537"/>
                <a:gd name="connsiteY2" fmla="*/ 5773507 h 5773507"/>
                <a:gd name="connsiteX3" fmla="*/ 0 w 286537"/>
                <a:gd name="connsiteY3" fmla="*/ 5773507 h 5773507"/>
                <a:gd name="connsiteX4" fmla="*/ 0 w 286537"/>
                <a:gd name="connsiteY4" fmla="*/ 0 h 5773507"/>
                <a:gd name="connsiteX0" fmla="*/ 9525 w 296062"/>
                <a:gd name="connsiteY0" fmla="*/ 0 h 6040207"/>
                <a:gd name="connsiteX1" fmla="*/ 296062 w 296062"/>
                <a:gd name="connsiteY1" fmla="*/ 0 h 6040207"/>
                <a:gd name="connsiteX2" fmla="*/ 296062 w 296062"/>
                <a:gd name="connsiteY2" fmla="*/ 5773507 h 6040207"/>
                <a:gd name="connsiteX3" fmla="*/ 0 w 296062"/>
                <a:gd name="connsiteY3" fmla="*/ 6040207 h 6040207"/>
                <a:gd name="connsiteX4" fmla="*/ 9525 w 296062"/>
                <a:gd name="connsiteY4" fmla="*/ 0 h 6040207"/>
                <a:gd name="connsiteX0" fmla="*/ 4763 w 291300"/>
                <a:gd name="connsiteY0" fmla="*/ 0 h 6040207"/>
                <a:gd name="connsiteX1" fmla="*/ 291300 w 291300"/>
                <a:gd name="connsiteY1" fmla="*/ 0 h 6040207"/>
                <a:gd name="connsiteX2" fmla="*/ 291300 w 291300"/>
                <a:gd name="connsiteY2" fmla="*/ 5773507 h 6040207"/>
                <a:gd name="connsiteX3" fmla="*/ 0 w 291300"/>
                <a:gd name="connsiteY3" fmla="*/ 6040207 h 6040207"/>
                <a:gd name="connsiteX4" fmla="*/ 4763 w 291300"/>
                <a:gd name="connsiteY4" fmla="*/ 0 h 6040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1300" h="6040207">
                  <a:moveTo>
                    <a:pt x="4763" y="0"/>
                  </a:moveTo>
                  <a:lnTo>
                    <a:pt x="291300" y="0"/>
                  </a:lnTo>
                  <a:lnTo>
                    <a:pt x="291300" y="5773507"/>
                  </a:lnTo>
                  <a:lnTo>
                    <a:pt x="0" y="6040207"/>
                  </a:lnTo>
                  <a:cubicBezTo>
                    <a:pt x="1588" y="4026805"/>
                    <a:pt x="3175" y="2013402"/>
                    <a:pt x="476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D20D7E56-33A2-4128-A7FC-68173952A52D}"/>
                </a:ext>
              </a:extLst>
            </p:cNvPr>
            <p:cNvSpPr/>
            <p:nvPr/>
          </p:nvSpPr>
          <p:spPr>
            <a:xfrm>
              <a:off x="11923222" y="0"/>
              <a:ext cx="268777" cy="6865736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1D31C644-7FF5-4B30-925D-5C6311E3A477}"/>
                </a:ext>
              </a:extLst>
            </p:cNvPr>
            <p:cNvSpPr/>
            <p:nvPr/>
          </p:nvSpPr>
          <p:spPr>
            <a:xfrm>
              <a:off x="293673" y="1"/>
              <a:ext cx="11898326" cy="21475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5956303" y="3683648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500" smtClean="0">
                <a:solidFill>
                  <a:schemeClr val="accent3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956303" y="3387377"/>
            <a:ext cx="44704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accent3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5956303" y="1868017"/>
            <a:ext cx="4470400" cy="1332948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600">
                <a:solidFill>
                  <a:schemeClr val="accent3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2" name="日期占位符 1">
            <a:extLst>
              <a:ext uri="{FF2B5EF4-FFF2-40B4-BE49-F238E27FC236}">
                <a16:creationId xmlns:a16="http://schemas.microsoft.com/office/drawing/2014/main" id="{6166A3C3-BA40-4717-BA55-F450695B0161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7/22</a:t>
            </a:fld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47EB720-DB4D-44DE-8F9F-0A4CA3F44A5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9/7/22</a:t>
            </a:fld>
            <a:endParaRPr lang="zh-CN" altLang="en-US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CB4E24AD-52CE-4347-BD19-C3EE3BBF5A6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69924" y="6170619"/>
            <a:ext cx="1343025" cy="552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.xml"/><Relationship Id="rId7" Type="http://schemas.openxmlformats.org/officeDocument/2006/relationships/oleObject" Target="../embeddings/oleObject1.bin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0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1.xml"/><Relationship Id="rId4" Type="http://schemas.openxmlformats.org/officeDocument/2006/relationships/chart" Target="../charts/char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4.xml"/><Relationship Id="rId4" Type="http://schemas.openxmlformats.org/officeDocument/2006/relationships/image" Target="../media/image12.emf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0.xml"/><Relationship Id="rId1" Type="http://schemas.openxmlformats.org/officeDocument/2006/relationships/themeOverride" Target="../theme/themeOverride1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20.xml"/><Relationship Id="rId4" Type="http://schemas.openxmlformats.org/officeDocument/2006/relationships/image" Target="../media/image15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.xml"/><Relationship Id="rId1" Type="http://schemas.openxmlformats.org/officeDocument/2006/relationships/themeOverride" Target="../theme/themeOverride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1.xml"/><Relationship Id="rId7" Type="http://schemas.openxmlformats.org/officeDocument/2006/relationships/oleObject" Target="../embeddings/oleObject1.bin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21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.vml"/><Relationship Id="rId1" Type="http://schemas.openxmlformats.org/officeDocument/2006/relationships/themeOverride" Target="../theme/themeOverride22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1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2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9.xml"/><Relationship Id="rId1" Type="http://schemas.openxmlformats.org/officeDocument/2006/relationships/themeOverride" Target="../theme/themeOverride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7.xml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8.xml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9.xm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1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"/>
              <a:ea typeface="微软雅黑" panose="020B0503020204020204" pitchFamily="34" charset="-122"/>
              <a:cs typeface="+mj-cs"/>
              <a:sym typeface="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304801" y="736758"/>
            <a:ext cx="5270038" cy="2692242"/>
          </a:xfrm>
          <a:noFill/>
        </p:spPr>
        <p:txBody>
          <a:bodyPr>
            <a:normAutofit/>
          </a:bodyPr>
          <a:lstStyle/>
          <a:p>
            <a:pPr algn="l">
              <a:lnSpc>
                <a:spcPct val="130000"/>
              </a:lnSpc>
            </a:pPr>
            <a:r>
              <a:rPr lang="en-US" altLang="zh-CN" sz="4800" dirty="0">
                <a:latin typeface=""/>
                <a:ea typeface="微软雅黑" panose="020B0503020204020204" pitchFamily="34" charset="-122"/>
                <a:sym typeface=""/>
              </a:rPr>
              <a:t>20</a:t>
            </a:r>
            <a:r>
              <a:rPr lang="zh-CN" altLang="en-US" sz="4800" dirty="0">
                <a:latin typeface=""/>
                <a:ea typeface="微软雅黑" panose="020B0503020204020204" pitchFamily="34" charset="-122"/>
                <a:sym typeface=""/>
              </a:rPr>
              <a:t>秋品类结构预估</a:t>
            </a: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432587" y="3782902"/>
            <a:ext cx="3320263" cy="483287"/>
          </a:xfrm>
        </p:spPr>
        <p:txBody>
          <a:bodyPr>
            <a:normAutofit/>
          </a:bodyPr>
          <a:lstStyle/>
          <a:p>
            <a:pPr algn="l">
              <a:lnSpc>
                <a:spcPct val="130000"/>
              </a:lnSpc>
              <a:spcBef>
                <a:spcPts val="0"/>
              </a:spcBef>
            </a:pPr>
            <a:r>
              <a:rPr lang="en-US" altLang="zh-CN" sz="1400" dirty="0">
                <a:latin typeface=""/>
                <a:ea typeface="微软雅黑" panose="020B0503020204020204" pitchFamily="34" charset="-122"/>
                <a:sym typeface=""/>
              </a:rPr>
              <a:t>2019.07.22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432587" y="3004306"/>
            <a:ext cx="5844995" cy="577093"/>
          </a:xfrm>
        </p:spPr>
        <p:txBody>
          <a:bodyPr/>
          <a:lstStyle/>
          <a:p>
            <a:pPr algn="l">
              <a:lnSpc>
                <a:spcPct val="130000"/>
              </a:lnSpc>
              <a:spcBef>
                <a:spcPts val="0"/>
              </a:spcBef>
            </a:pPr>
            <a:r>
              <a:rPr lang="zh-CN" altLang="en-US" b="1" u="none" dirty="0">
                <a:solidFill>
                  <a:schemeClr val="bg1"/>
                </a:solidFill>
                <a:latin typeface=""/>
                <a:ea typeface="微软雅黑" panose="020B0503020204020204" pitchFamily="34" charset="-122"/>
                <a:sym typeface=""/>
              </a:rPr>
              <a:t>基于渠道变更的影响因素          </a:t>
            </a:r>
            <a:endParaRPr lang="en-US" altLang="zh-CN" b="1" u="none" dirty="0">
              <a:solidFill>
                <a:schemeClr val="bg1"/>
              </a:solidFill>
              <a:latin typeface=""/>
              <a:ea typeface="微软雅黑" panose="020B0503020204020204" pitchFamily="34" charset="-122"/>
              <a:sym typeface=""/>
            </a:endParaRPr>
          </a:p>
          <a:p>
            <a:pPr algn="l">
              <a:lnSpc>
                <a:spcPct val="130000"/>
              </a:lnSpc>
              <a:spcBef>
                <a:spcPts val="0"/>
              </a:spcBef>
            </a:pPr>
            <a:r>
              <a:rPr lang="zh-CN" altLang="en-US" b="1" u="none" dirty="0">
                <a:latin typeface=""/>
                <a:ea typeface="微软雅黑" panose="020B0503020204020204" pitchFamily="34" charset="-122"/>
                <a:sym typeface=""/>
              </a:rPr>
              <a:t>大数据项目组    张欢欢</a:t>
            </a:r>
            <a:endParaRPr lang="en-US" altLang="zh-CN" b="1" u="none" dirty="0">
              <a:solidFill>
                <a:schemeClr val="bg1"/>
              </a:solidFill>
              <a:latin typeface=""/>
              <a:ea typeface="微软雅黑" panose="020B0503020204020204" pitchFamily="34" charset="-122"/>
              <a:sym typeface="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3518687" y="5394305"/>
            <a:ext cx="5844996" cy="296392"/>
          </a:xfrm>
        </p:spPr>
        <p:txBody>
          <a:bodyPr/>
          <a:lstStyle/>
          <a:p>
            <a:pPr algn="l">
              <a:lnSpc>
                <a:spcPct val="130000"/>
              </a:lnSpc>
              <a:spcBef>
                <a:spcPts val="0"/>
              </a:spcBef>
            </a:pPr>
            <a:r>
              <a:rPr lang="en-US" altLang="zh-CN" u="none" dirty="0">
                <a:solidFill>
                  <a:schemeClr val="bg1"/>
                </a:solidFill>
                <a:latin typeface=""/>
                <a:ea typeface="微软雅黑" panose="020B0503020204020204" pitchFamily="34" charset="-122"/>
                <a:sym typeface=""/>
              </a:rPr>
              <a:t>www.</a:t>
            </a:r>
            <a:r>
              <a:rPr lang="en-US" altLang="zh-CN" u="none" dirty="0">
                <a:latin typeface=""/>
                <a:ea typeface="微软雅黑" panose="020B0503020204020204" pitchFamily="34" charset="-122"/>
                <a:sym typeface=""/>
              </a:rPr>
              <a:t>semir</a:t>
            </a:r>
            <a:r>
              <a:rPr lang="en-US" altLang="zh-CN" u="none" dirty="0">
                <a:solidFill>
                  <a:schemeClr val="bg1"/>
                </a:solidFill>
                <a:latin typeface=""/>
                <a:ea typeface="微软雅黑" panose="020B0503020204020204" pitchFamily="34" charset="-122"/>
                <a:sym typeface=""/>
              </a:rPr>
              <a:t>.pro</a:t>
            </a:r>
            <a:endParaRPr lang="en-US" altLang="en-US" u="none" dirty="0">
              <a:solidFill>
                <a:schemeClr val="bg1"/>
              </a:solidFill>
              <a:latin typeface=""/>
              <a:ea typeface="微软雅黑" panose="020B0503020204020204" pitchFamily="34" charset="-122"/>
              <a:sym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ED8828E-A0EF-4472-BB3D-0C666E05F5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901" y="137717"/>
            <a:ext cx="3836968" cy="883136"/>
          </a:xfrm>
        </p:spPr>
        <p:txBody>
          <a:bodyPr/>
          <a:lstStyle/>
          <a:p>
            <a:r>
              <a:rPr lang="zh-CN" altLang="en-US" dirty="0"/>
              <a:t>业态结构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D3ED6994-CAF6-4997-97CD-ABF561A13E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FF3A69E0-5EE9-489B-8890-9EF4CB4A2681}"/>
              </a:ext>
            </a:extLst>
          </p:cNvPr>
          <p:cNvSpPr txBox="1"/>
          <p:nvPr/>
        </p:nvSpPr>
        <p:spPr>
          <a:xfrm>
            <a:off x="154236" y="2637431"/>
            <a:ext cx="461665" cy="2076165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/>
              <a:t>y:</a:t>
            </a:r>
            <a:r>
              <a:rPr lang="zh-CN" altLang="en-US" dirty="0"/>
              <a:t>规模占比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EED607C0-9A81-48BA-825F-8264858A296B}"/>
              </a:ext>
            </a:extLst>
          </p:cNvPr>
          <p:cNvSpPr txBox="1"/>
          <p:nvPr/>
        </p:nvSpPr>
        <p:spPr>
          <a:xfrm>
            <a:off x="9287684" y="6402026"/>
            <a:ext cx="14748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X:</a:t>
            </a:r>
            <a:r>
              <a:rPr lang="zh-CN" altLang="en-US" dirty="0"/>
              <a:t>结构区间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147B6D61-A029-4086-A1AC-F22B7291765A}"/>
              </a:ext>
            </a:extLst>
          </p:cNvPr>
          <p:cNvSpPr txBox="1"/>
          <p:nvPr/>
        </p:nvSpPr>
        <p:spPr>
          <a:xfrm>
            <a:off x="7334865" y="412955"/>
            <a:ext cx="3834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业态纬度：男毛衫占比变化不同；</a:t>
            </a: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6BAA84A7-B416-4B91-85AE-DFD6162088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3597" y="1020853"/>
            <a:ext cx="10751293" cy="2654660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EC66C063-EE76-4A9A-A7A6-1E38E620FAB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3779" y="3660342"/>
            <a:ext cx="10751293" cy="2499340"/>
          </a:xfrm>
          <a:prstGeom prst="rect">
            <a:avLst/>
          </a:prstGeom>
        </p:spPr>
      </p:pic>
      <p:sp>
        <p:nvSpPr>
          <p:cNvPr id="18" name="rotating-arrows-circle_50446">
            <a:extLst>
              <a:ext uri="{FF2B5EF4-FFF2-40B4-BE49-F238E27FC236}">
                <a16:creationId xmlns:a16="http://schemas.microsoft.com/office/drawing/2014/main" id="{F8F1F5ED-6CDB-41D9-ACE6-CFC7C8F33FF5}"/>
              </a:ext>
            </a:extLst>
          </p:cNvPr>
          <p:cNvSpPr>
            <a:spLocks noChangeAspect="1"/>
          </p:cNvSpPr>
          <p:nvPr/>
        </p:nvSpPr>
        <p:spPr bwMode="auto">
          <a:xfrm>
            <a:off x="1906037" y="4816203"/>
            <a:ext cx="488618" cy="487825"/>
          </a:xfrm>
          <a:custGeom>
            <a:avLst/>
            <a:gdLst>
              <a:gd name="connsiteX0" fmla="*/ 460696 w 608556"/>
              <a:gd name="connsiteY0" fmla="*/ 435530 h 607568"/>
              <a:gd name="connsiteX1" fmla="*/ 506378 w 608556"/>
              <a:gd name="connsiteY1" fmla="*/ 472847 h 607568"/>
              <a:gd name="connsiteX2" fmla="*/ 317397 w 608556"/>
              <a:gd name="connsiteY2" fmla="*/ 566140 h 607568"/>
              <a:gd name="connsiteX3" fmla="*/ 317397 w 608556"/>
              <a:gd name="connsiteY3" fmla="*/ 607568 h 607568"/>
              <a:gd name="connsiteX4" fmla="*/ 194761 w 608556"/>
              <a:gd name="connsiteY4" fmla="*/ 536887 h 607568"/>
              <a:gd name="connsiteX5" fmla="*/ 317397 w 608556"/>
              <a:gd name="connsiteY5" fmla="*/ 466127 h 607568"/>
              <a:gd name="connsiteX6" fmla="*/ 317397 w 608556"/>
              <a:gd name="connsiteY6" fmla="*/ 507160 h 607568"/>
              <a:gd name="connsiteX7" fmla="*/ 460696 w 608556"/>
              <a:gd name="connsiteY7" fmla="*/ 435530 h 607568"/>
              <a:gd name="connsiteX8" fmla="*/ 70847 w 608556"/>
              <a:gd name="connsiteY8" fmla="*/ 194478 h 607568"/>
              <a:gd name="connsiteX9" fmla="*/ 141616 w 608556"/>
              <a:gd name="connsiteY9" fmla="*/ 316919 h 607568"/>
              <a:gd name="connsiteX10" fmla="*/ 100532 w 608556"/>
              <a:gd name="connsiteY10" fmla="*/ 316919 h 607568"/>
              <a:gd name="connsiteX11" fmla="*/ 172250 w 608556"/>
              <a:gd name="connsiteY11" fmla="*/ 459992 h 607568"/>
              <a:gd name="connsiteX12" fmla="*/ 134966 w 608556"/>
              <a:gd name="connsiteY12" fmla="*/ 505601 h 607568"/>
              <a:gd name="connsiteX13" fmla="*/ 41479 w 608556"/>
              <a:gd name="connsiteY13" fmla="*/ 316919 h 607568"/>
              <a:gd name="connsiteX14" fmla="*/ 0 w 608556"/>
              <a:gd name="connsiteY14" fmla="*/ 316919 h 607568"/>
              <a:gd name="connsiteX15" fmla="*/ 473614 w 608556"/>
              <a:gd name="connsiteY15" fmla="*/ 101967 h 607568"/>
              <a:gd name="connsiteX16" fmla="*/ 567060 w 608556"/>
              <a:gd name="connsiteY16" fmla="*/ 290643 h 607568"/>
              <a:gd name="connsiteX17" fmla="*/ 608556 w 608556"/>
              <a:gd name="connsiteY17" fmla="*/ 290643 h 607568"/>
              <a:gd name="connsiteX18" fmla="*/ 537759 w 608556"/>
              <a:gd name="connsiteY18" fmla="*/ 413160 h 607568"/>
              <a:gd name="connsiteX19" fmla="*/ 466882 w 608556"/>
              <a:gd name="connsiteY19" fmla="*/ 290643 h 607568"/>
              <a:gd name="connsiteX20" fmla="*/ 507983 w 608556"/>
              <a:gd name="connsiteY20" fmla="*/ 290643 h 607568"/>
              <a:gd name="connsiteX21" fmla="*/ 436235 w 608556"/>
              <a:gd name="connsiteY21" fmla="*/ 147654 h 607568"/>
              <a:gd name="connsiteX22" fmla="*/ 291127 w 608556"/>
              <a:gd name="connsiteY22" fmla="*/ 0 h 607568"/>
              <a:gd name="connsiteX23" fmla="*/ 413866 w 608556"/>
              <a:gd name="connsiteY23" fmla="*/ 70760 h 607568"/>
              <a:gd name="connsiteX24" fmla="*/ 291127 w 608556"/>
              <a:gd name="connsiteY24" fmla="*/ 141441 h 607568"/>
              <a:gd name="connsiteX25" fmla="*/ 291127 w 608556"/>
              <a:gd name="connsiteY25" fmla="*/ 100408 h 607568"/>
              <a:gd name="connsiteX26" fmla="*/ 147878 w 608556"/>
              <a:gd name="connsiteY26" fmla="*/ 172038 h 607568"/>
              <a:gd name="connsiteX27" fmla="*/ 102108 w 608556"/>
              <a:gd name="connsiteY27" fmla="*/ 134800 h 607568"/>
              <a:gd name="connsiteX28" fmla="*/ 291127 w 608556"/>
              <a:gd name="connsiteY28" fmla="*/ 41428 h 60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608556" h="607568">
                <a:moveTo>
                  <a:pt x="460696" y="435530"/>
                </a:moveTo>
                <a:lnTo>
                  <a:pt x="506378" y="472847"/>
                </a:lnTo>
                <a:cubicBezTo>
                  <a:pt x="459509" y="530088"/>
                  <a:pt x="391026" y="563768"/>
                  <a:pt x="317397" y="566140"/>
                </a:cubicBezTo>
                <a:lnTo>
                  <a:pt x="317397" y="607568"/>
                </a:lnTo>
                <a:lnTo>
                  <a:pt x="194761" y="536887"/>
                </a:lnTo>
                <a:lnTo>
                  <a:pt x="317397" y="466127"/>
                </a:lnTo>
                <a:lnTo>
                  <a:pt x="317397" y="507160"/>
                </a:lnTo>
                <a:cubicBezTo>
                  <a:pt x="373212" y="504788"/>
                  <a:pt x="425069" y="479014"/>
                  <a:pt x="460696" y="435530"/>
                </a:cubicBezTo>
                <a:close/>
                <a:moveTo>
                  <a:pt x="70847" y="194478"/>
                </a:moveTo>
                <a:lnTo>
                  <a:pt x="141616" y="316919"/>
                </a:lnTo>
                <a:lnTo>
                  <a:pt x="100532" y="316919"/>
                </a:lnTo>
                <a:cubicBezTo>
                  <a:pt x="102907" y="372647"/>
                  <a:pt x="128713" y="424421"/>
                  <a:pt x="172250" y="459992"/>
                </a:cubicBezTo>
                <a:lnTo>
                  <a:pt x="134966" y="505601"/>
                </a:lnTo>
                <a:cubicBezTo>
                  <a:pt x="77576" y="458806"/>
                  <a:pt x="43854" y="390432"/>
                  <a:pt x="41479" y="316919"/>
                </a:cubicBezTo>
                <a:lnTo>
                  <a:pt x="0" y="316919"/>
                </a:lnTo>
                <a:close/>
                <a:moveTo>
                  <a:pt x="473614" y="101967"/>
                </a:moveTo>
                <a:cubicBezTo>
                  <a:pt x="530948" y="148761"/>
                  <a:pt x="564684" y="217133"/>
                  <a:pt x="567060" y="290643"/>
                </a:cubicBezTo>
                <a:lnTo>
                  <a:pt x="608556" y="290643"/>
                </a:lnTo>
                <a:lnTo>
                  <a:pt x="537759" y="413160"/>
                </a:lnTo>
                <a:lnTo>
                  <a:pt x="466882" y="290643"/>
                </a:lnTo>
                <a:lnTo>
                  <a:pt x="507983" y="290643"/>
                </a:lnTo>
                <a:cubicBezTo>
                  <a:pt x="505607" y="234918"/>
                  <a:pt x="479790" y="183144"/>
                  <a:pt x="436235" y="147654"/>
                </a:cubicBezTo>
                <a:close/>
                <a:moveTo>
                  <a:pt x="291127" y="0"/>
                </a:moveTo>
                <a:lnTo>
                  <a:pt x="413866" y="70760"/>
                </a:lnTo>
                <a:lnTo>
                  <a:pt x="291127" y="141441"/>
                </a:lnTo>
                <a:lnTo>
                  <a:pt x="291127" y="100408"/>
                </a:lnTo>
                <a:cubicBezTo>
                  <a:pt x="235300" y="102780"/>
                  <a:pt x="183433" y="128554"/>
                  <a:pt x="147878" y="172038"/>
                </a:cubicBezTo>
                <a:lnTo>
                  <a:pt x="102108" y="134800"/>
                </a:lnTo>
                <a:cubicBezTo>
                  <a:pt x="148987" y="77480"/>
                  <a:pt x="217483" y="43800"/>
                  <a:pt x="291127" y="41428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</p:sp>
      <p:sp>
        <p:nvSpPr>
          <p:cNvPr id="19" name="文本框 1">
            <a:extLst>
              <a:ext uri="{FF2B5EF4-FFF2-40B4-BE49-F238E27FC236}">
                <a16:creationId xmlns:a16="http://schemas.microsoft.com/office/drawing/2014/main" id="{BB843B80-8BE2-423E-B885-5C36DED1023F}"/>
              </a:ext>
            </a:extLst>
          </p:cNvPr>
          <p:cNvSpPr txBox="1"/>
          <p:nvPr/>
        </p:nvSpPr>
        <p:spPr>
          <a:xfrm>
            <a:off x="7151879" y="1724075"/>
            <a:ext cx="3836868" cy="116218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8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地铺：毛衫占比较少；</a:t>
            </a:r>
            <a:endParaRPr lang="en-US" altLang="zh-CN" sz="18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8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8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规模集中程度更高；</a:t>
            </a:r>
          </a:p>
        </p:txBody>
      </p:sp>
      <p:sp>
        <p:nvSpPr>
          <p:cNvPr id="20" name="文本框 1">
            <a:extLst>
              <a:ext uri="{FF2B5EF4-FFF2-40B4-BE49-F238E27FC236}">
                <a16:creationId xmlns:a16="http://schemas.microsoft.com/office/drawing/2014/main" id="{6A872270-AE19-42A2-A33A-325061FA5237}"/>
              </a:ext>
            </a:extLst>
          </p:cNvPr>
          <p:cNvSpPr txBox="1"/>
          <p:nvPr/>
        </p:nvSpPr>
        <p:spPr>
          <a:xfrm>
            <a:off x="7151879" y="4132503"/>
            <a:ext cx="3836868" cy="116218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8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特卖：毛衫占比不变；</a:t>
            </a:r>
            <a:endParaRPr lang="en-US" altLang="zh-CN" sz="18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8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8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规模集中程度不变；</a:t>
            </a:r>
          </a:p>
        </p:txBody>
      </p:sp>
      <p:sp>
        <p:nvSpPr>
          <p:cNvPr id="15" name="箭头: 直角上 14">
            <a:extLst>
              <a:ext uri="{FF2B5EF4-FFF2-40B4-BE49-F238E27FC236}">
                <a16:creationId xmlns:a16="http://schemas.microsoft.com/office/drawing/2014/main" id="{6B4C0041-8D1A-4FB0-8DF8-7C83E372658F}"/>
              </a:ext>
            </a:extLst>
          </p:cNvPr>
          <p:cNvSpPr/>
          <p:nvPr/>
        </p:nvSpPr>
        <p:spPr>
          <a:xfrm rot="10800000" flipV="1">
            <a:off x="1906037" y="2397211"/>
            <a:ext cx="405084" cy="390945"/>
          </a:xfrm>
          <a:prstGeom prst="bentUpArrow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n>
                <a:solidFill>
                  <a:srgbClr val="FF0000"/>
                </a:solidFill>
              </a:ln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73057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05E0EED-E218-4F2E-AB5D-D5A1929137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业态规模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DAE8623-22B9-4D77-9409-7593828DC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8C2E81B9-67BA-4AF2-A967-5B09474A005E}"/>
              </a:ext>
            </a:extLst>
          </p:cNvPr>
          <p:cNvSpPr txBox="1"/>
          <p:nvPr/>
        </p:nvSpPr>
        <p:spPr>
          <a:xfrm>
            <a:off x="7334865" y="412955"/>
            <a:ext cx="3834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子渠道的变化还需要考虑体量变化</a:t>
            </a:r>
          </a:p>
        </p:txBody>
      </p:sp>
      <p:graphicFrame>
        <p:nvGraphicFramePr>
          <p:cNvPr id="8" name="图表 7">
            <a:extLst>
              <a:ext uri="{FF2B5EF4-FFF2-40B4-BE49-F238E27FC236}">
                <a16:creationId xmlns:a16="http://schemas.microsoft.com/office/drawing/2014/main" id="{1D43999E-75FC-44A5-AA20-6E84D2AF219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30278982"/>
              </p:ext>
            </p:extLst>
          </p:nvPr>
        </p:nvGraphicFramePr>
        <p:xfrm>
          <a:off x="5597319" y="1700011"/>
          <a:ext cx="5923168" cy="44432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图表 8">
            <a:extLst>
              <a:ext uri="{FF2B5EF4-FFF2-40B4-BE49-F238E27FC236}">
                <a16:creationId xmlns:a16="http://schemas.microsoft.com/office/drawing/2014/main" id="{391D204F-AA56-4AAE-B6BC-751889C0903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40717534"/>
              </p:ext>
            </p:extLst>
          </p:nvPr>
        </p:nvGraphicFramePr>
        <p:xfrm>
          <a:off x="399244" y="1760482"/>
          <a:ext cx="4788023" cy="41727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0599890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9228430-0306-4B37-B832-F27239D23F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男毛衫</a:t>
            </a:r>
            <a:r>
              <a:rPr lang="en-US" altLang="zh-CN" dirty="0"/>
              <a:t>-</a:t>
            </a:r>
            <a:r>
              <a:rPr lang="zh-CN" altLang="en-US" dirty="0"/>
              <a:t>业态综合变化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B459050A-3855-4B08-8C7C-90E2DA797D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 dirty="0"/>
          </a:p>
        </p:txBody>
      </p:sp>
      <p:grpSp>
        <p:nvGrpSpPr>
          <p:cNvPr id="30" name="f8c52af1-dcd3-4c8c-aa9f-61bf5da3a2b4" descr="8BEAAB+LCAAAAAAABADdVU2P2jAQ/S9u98ZWsU3EkhspTcWh2wrQ7qHi4CUG3CYBOU5FhfjvOyYfJOBCOJVEuSTPM573xpPnHfqo/m44ctAkZFINBVtKFo4UD1EHjXzkREkQdJArIl9Ey69ynWxi5PzcFWnllVehVi8sSLjOjYQSLEg/nbP4POybiESYhFmY9ckCiG1LELZSUPh+wMtho0hx+aeogDV2eJ8oCQW8tQyZgoI7a/+AsiXk9CB3r5N9voWkDpqmtHI+GT3dAKNOvaBlDvxfSaxCHqlj0g8GrePAyqD3PO8YXdAhp/147Bs6QjIN2c6TFdvwZ9hK8806oCGMZoW6ClsoDC8V3fvOPwlP+fZGiTqjLM50Hhfp6w3K7DMKJt4zA/NiFD+vg7W8Pop52Nn698VCzPmYz6FsHjReviGHErv/1IfTcmUSryDyg+d5XXdIMcpJ471pyvJd6k7ZSXyd7h9Syu0HFTFXg/lRRfr/pLgrxXKlIh7HGZwyvXG+cp6VI0rBC6P139SRm8avYeLwRXEum/+uK+7iz3XnPm9XfJ602OdJo32e3LXPYwsOAVd8/svQ7hHP6POklT5P2myFDRZ3/RKrK67JPt/DZZ+nLfZ52mifp/fs83bXphbtVn1+QAE1+jxtpc/TNlthg8Vdv8TqipvB8w5CbjWt8BEAAA==">
            <a:extLst>
              <a:ext uri="{FF2B5EF4-FFF2-40B4-BE49-F238E27FC236}">
                <a16:creationId xmlns:a16="http://schemas.microsoft.com/office/drawing/2014/main" id="{56AC2B2A-8382-496B-BB22-DC1CC2B0C7CD}"/>
              </a:ext>
            </a:extLst>
          </p:cNvPr>
          <p:cNvGrpSpPr>
            <a:grpSpLocks noChangeAspect="1"/>
          </p:cNvGrpSpPr>
          <p:nvPr/>
        </p:nvGrpSpPr>
        <p:grpSpPr>
          <a:xfrm>
            <a:off x="669924" y="1176796"/>
            <a:ext cx="10850563" cy="5549441"/>
            <a:chOff x="-1" y="1422400"/>
            <a:chExt cx="9818771" cy="4696300"/>
          </a:xfrm>
        </p:grpSpPr>
        <p:sp>
          <p:nvSpPr>
            <p:cNvPr id="31" name="íṣḷiḍè">
              <a:extLst>
                <a:ext uri="{FF2B5EF4-FFF2-40B4-BE49-F238E27FC236}">
                  <a16:creationId xmlns:a16="http://schemas.microsoft.com/office/drawing/2014/main" id="{DE8F1A7A-8749-4E3D-8BA0-7D1AA8C850D4}"/>
                </a:ext>
              </a:extLst>
            </p:cNvPr>
            <p:cNvSpPr/>
            <p:nvPr/>
          </p:nvSpPr>
          <p:spPr bwMode="auto">
            <a:xfrm>
              <a:off x="-1" y="2239116"/>
              <a:ext cx="9044758" cy="2718346"/>
            </a:xfrm>
            <a:custGeom>
              <a:avLst/>
              <a:gdLst>
                <a:gd name="T0" fmla="*/ 0 w 2828"/>
                <a:gd name="T1" fmla="*/ 856 h 1032"/>
                <a:gd name="T2" fmla="*/ 660 w 2828"/>
                <a:gd name="T3" fmla="*/ 540 h 1032"/>
                <a:gd name="T4" fmla="*/ 1232 w 2828"/>
                <a:gd name="T5" fmla="*/ 720 h 1032"/>
                <a:gd name="T6" fmla="*/ 1772 w 2828"/>
                <a:gd name="T7" fmla="*/ 320 h 1032"/>
                <a:gd name="T8" fmla="*/ 2315 w 2828"/>
                <a:gd name="T9" fmla="*/ 479 h 1032"/>
                <a:gd name="T10" fmla="*/ 2828 w 2828"/>
                <a:gd name="T11" fmla="*/ 0 h 1032"/>
                <a:gd name="connsiteX0" fmla="*/ 0 w 10184"/>
                <a:gd name="connsiteY0" fmla="*/ 8295 h 8661"/>
                <a:gd name="connsiteX1" fmla="*/ 2334 w 10184"/>
                <a:gd name="connsiteY1" fmla="*/ 5233 h 8661"/>
                <a:gd name="connsiteX2" fmla="*/ 4356 w 10184"/>
                <a:gd name="connsiteY2" fmla="*/ 6977 h 8661"/>
                <a:gd name="connsiteX3" fmla="*/ 6266 w 10184"/>
                <a:gd name="connsiteY3" fmla="*/ 3101 h 8661"/>
                <a:gd name="connsiteX4" fmla="*/ 8186 w 10184"/>
                <a:gd name="connsiteY4" fmla="*/ 4641 h 8661"/>
                <a:gd name="connsiteX5" fmla="*/ 10184 w 10184"/>
                <a:gd name="connsiteY5" fmla="*/ 0 h 8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184" h="8661">
                  <a:moveTo>
                    <a:pt x="0" y="8295"/>
                  </a:moveTo>
                  <a:cubicBezTo>
                    <a:pt x="1485" y="10000"/>
                    <a:pt x="1641" y="5194"/>
                    <a:pt x="2334" y="5233"/>
                  </a:cubicBezTo>
                  <a:cubicBezTo>
                    <a:pt x="3027" y="5271"/>
                    <a:pt x="3451" y="7132"/>
                    <a:pt x="4356" y="6977"/>
                  </a:cubicBezTo>
                  <a:cubicBezTo>
                    <a:pt x="5262" y="6822"/>
                    <a:pt x="5332" y="3411"/>
                    <a:pt x="6266" y="3101"/>
                  </a:cubicBezTo>
                  <a:cubicBezTo>
                    <a:pt x="7199" y="2791"/>
                    <a:pt x="7295" y="4758"/>
                    <a:pt x="8186" y="4641"/>
                  </a:cubicBezTo>
                  <a:cubicBezTo>
                    <a:pt x="9077" y="4525"/>
                    <a:pt x="9279" y="814"/>
                    <a:pt x="10184" y="0"/>
                  </a:cubicBezTo>
                </a:path>
              </a:pathLst>
            </a:custGeom>
            <a:noFill/>
            <a:ln w="15875" cap="flat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32" name="ïṥḻîḑe">
              <a:extLst>
                <a:ext uri="{FF2B5EF4-FFF2-40B4-BE49-F238E27FC236}">
                  <a16:creationId xmlns:a16="http://schemas.microsoft.com/office/drawing/2014/main" id="{EC7FBBEA-EAD1-4165-B8E1-F37B445A6948}"/>
                </a:ext>
              </a:extLst>
            </p:cNvPr>
            <p:cNvSpPr/>
            <p:nvPr/>
          </p:nvSpPr>
          <p:spPr bwMode="auto">
            <a:xfrm>
              <a:off x="8060148" y="2530021"/>
              <a:ext cx="649023" cy="648363"/>
            </a:xfrm>
            <a:custGeom>
              <a:avLst/>
              <a:gdLst>
                <a:gd name="T0" fmla="*/ 319 w 404"/>
                <a:gd name="T1" fmla="*/ 292 h 404"/>
                <a:gd name="T2" fmla="*/ 0 w 404"/>
                <a:gd name="T3" fmla="*/ 404 h 404"/>
                <a:gd name="T4" fmla="*/ 112 w 404"/>
                <a:gd name="T5" fmla="*/ 85 h 404"/>
                <a:gd name="T6" fmla="*/ 346 w 404"/>
                <a:gd name="T7" fmla="*/ 58 h 404"/>
                <a:gd name="T8" fmla="*/ 319 w 404"/>
                <a:gd name="T9" fmla="*/ 292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4" h="404">
                  <a:moveTo>
                    <a:pt x="319" y="292"/>
                  </a:moveTo>
                  <a:cubicBezTo>
                    <a:pt x="262" y="349"/>
                    <a:pt x="0" y="404"/>
                    <a:pt x="0" y="404"/>
                  </a:cubicBezTo>
                  <a:cubicBezTo>
                    <a:pt x="0" y="404"/>
                    <a:pt x="55" y="142"/>
                    <a:pt x="112" y="85"/>
                  </a:cubicBezTo>
                  <a:cubicBezTo>
                    <a:pt x="170" y="27"/>
                    <a:pt x="289" y="0"/>
                    <a:pt x="346" y="58"/>
                  </a:cubicBezTo>
                  <a:cubicBezTo>
                    <a:pt x="404" y="115"/>
                    <a:pt x="377" y="234"/>
                    <a:pt x="319" y="292"/>
                  </a:cubicBezTo>
                  <a:close/>
                </a:path>
              </a:pathLst>
            </a:custGeom>
            <a:solidFill>
              <a:srgbClr val="ED57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33" name="îś1íḍe">
              <a:extLst>
                <a:ext uri="{FF2B5EF4-FFF2-40B4-BE49-F238E27FC236}">
                  <a16:creationId xmlns:a16="http://schemas.microsoft.com/office/drawing/2014/main" id="{8879CB1D-B60B-4F13-B382-75CEC8708318}"/>
                </a:ext>
              </a:extLst>
            </p:cNvPr>
            <p:cNvSpPr/>
            <p:nvPr/>
          </p:nvSpPr>
          <p:spPr bwMode="auto">
            <a:xfrm>
              <a:off x="8167550" y="2572191"/>
              <a:ext cx="499451" cy="498792"/>
            </a:xfrm>
            <a:custGeom>
              <a:avLst/>
              <a:gdLst>
                <a:gd name="T0" fmla="*/ 246 w 311"/>
                <a:gd name="T1" fmla="*/ 224 h 311"/>
                <a:gd name="T2" fmla="*/ 0 w 311"/>
                <a:gd name="T3" fmla="*/ 311 h 311"/>
                <a:gd name="T4" fmla="*/ 87 w 311"/>
                <a:gd name="T5" fmla="*/ 65 h 311"/>
                <a:gd name="T6" fmla="*/ 267 w 311"/>
                <a:gd name="T7" fmla="*/ 44 h 311"/>
                <a:gd name="T8" fmla="*/ 246 w 311"/>
                <a:gd name="T9" fmla="*/ 224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1" h="311">
                  <a:moveTo>
                    <a:pt x="246" y="224"/>
                  </a:moveTo>
                  <a:cubicBezTo>
                    <a:pt x="202" y="268"/>
                    <a:pt x="0" y="311"/>
                    <a:pt x="0" y="311"/>
                  </a:cubicBezTo>
                  <a:cubicBezTo>
                    <a:pt x="0" y="311"/>
                    <a:pt x="43" y="109"/>
                    <a:pt x="87" y="65"/>
                  </a:cubicBezTo>
                  <a:cubicBezTo>
                    <a:pt x="131" y="21"/>
                    <a:pt x="223" y="0"/>
                    <a:pt x="267" y="44"/>
                  </a:cubicBezTo>
                  <a:cubicBezTo>
                    <a:pt x="311" y="88"/>
                    <a:pt x="290" y="180"/>
                    <a:pt x="246" y="224"/>
                  </a:cubicBezTo>
                  <a:close/>
                </a:path>
              </a:pathLst>
            </a:custGeom>
            <a:solidFill>
              <a:srgbClr val="EA90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34" name="i$1iḍè">
              <a:extLst>
                <a:ext uri="{FF2B5EF4-FFF2-40B4-BE49-F238E27FC236}">
                  <a16:creationId xmlns:a16="http://schemas.microsoft.com/office/drawing/2014/main" id="{B5E91151-1DBC-48AA-AAF3-574D6CA17E7D}"/>
                </a:ext>
              </a:extLst>
            </p:cNvPr>
            <p:cNvSpPr/>
            <p:nvPr/>
          </p:nvSpPr>
          <p:spPr bwMode="auto">
            <a:xfrm>
              <a:off x="8261115" y="2589981"/>
              <a:ext cx="388096" cy="387437"/>
            </a:xfrm>
            <a:custGeom>
              <a:avLst/>
              <a:gdLst>
                <a:gd name="T0" fmla="*/ 192 w 242"/>
                <a:gd name="T1" fmla="*/ 175 h 242"/>
                <a:gd name="T2" fmla="*/ 0 w 242"/>
                <a:gd name="T3" fmla="*/ 242 h 242"/>
                <a:gd name="T4" fmla="*/ 67 w 242"/>
                <a:gd name="T5" fmla="*/ 50 h 242"/>
                <a:gd name="T6" fmla="*/ 208 w 242"/>
                <a:gd name="T7" fmla="*/ 34 h 242"/>
                <a:gd name="T8" fmla="*/ 192 w 242"/>
                <a:gd name="T9" fmla="*/ 175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2" h="242">
                  <a:moveTo>
                    <a:pt x="192" y="175"/>
                  </a:moveTo>
                  <a:cubicBezTo>
                    <a:pt x="157" y="209"/>
                    <a:pt x="0" y="242"/>
                    <a:pt x="0" y="242"/>
                  </a:cubicBezTo>
                  <a:cubicBezTo>
                    <a:pt x="0" y="242"/>
                    <a:pt x="33" y="85"/>
                    <a:pt x="67" y="50"/>
                  </a:cubicBezTo>
                  <a:cubicBezTo>
                    <a:pt x="102" y="16"/>
                    <a:pt x="173" y="0"/>
                    <a:pt x="208" y="34"/>
                  </a:cubicBezTo>
                  <a:cubicBezTo>
                    <a:pt x="242" y="68"/>
                    <a:pt x="226" y="140"/>
                    <a:pt x="192" y="175"/>
                  </a:cubicBezTo>
                  <a:close/>
                </a:path>
              </a:pathLst>
            </a:custGeom>
            <a:solidFill>
              <a:srgbClr val="F4B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35" name="îŝļïḍè">
              <a:extLst>
                <a:ext uri="{FF2B5EF4-FFF2-40B4-BE49-F238E27FC236}">
                  <a16:creationId xmlns:a16="http://schemas.microsoft.com/office/drawing/2014/main" id="{A3521489-4DA7-481E-B436-98A98A901421}"/>
                </a:ext>
              </a:extLst>
            </p:cNvPr>
            <p:cNvSpPr/>
            <p:nvPr/>
          </p:nvSpPr>
          <p:spPr bwMode="auto">
            <a:xfrm>
              <a:off x="8361927" y="2623585"/>
              <a:ext cx="253679" cy="253020"/>
            </a:xfrm>
            <a:custGeom>
              <a:avLst/>
              <a:gdLst>
                <a:gd name="T0" fmla="*/ 125 w 158"/>
                <a:gd name="T1" fmla="*/ 114 h 158"/>
                <a:gd name="T2" fmla="*/ 0 w 158"/>
                <a:gd name="T3" fmla="*/ 158 h 158"/>
                <a:gd name="T4" fmla="*/ 44 w 158"/>
                <a:gd name="T5" fmla="*/ 33 h 158"/>
                <a:gd name="T6" fmla="*/ 136 w 158"/>
                <a:gd name="T7" fmla="*/ 22 h 158"/>
                <a:gd name="T8" fmla="*/ 125 w 158"/>
                <a:gd name="T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158">
                  <a:moveTo>
                    <a:pt x="125" y="114"/>
                  </a:moveTo>
                  <a:cubicBezTo>
                    <a:pt x="103" y="137"/>
                    <a:pt x="0" y="158"/>
                    <a:pt x="0" y="158"/>
                  </a:cubicBezTo>
                  <a:cubicBezTo>
                    <a:pt x="0" y="158"/>
                    <a:pt x="21" y="55"/>
                    <a:pt x="44" y="33"/>
                  </a:cubicBezTo>
                  <a:cubicBezTo>
                    <a:pt x="66" y="10"/>
                    <a:pt x="113" y="0"/>
                    <a:pt x="136" y="22"/>
                  </a:cubicBezTo>
                  <a:cubicBezTo>
                    <a:pt x="158" y="45"/>
                    <a:pt x="148" y="92"/>
                    <a:pt x="125" y="114"/>
                  </a:cubicBezTo>
                  <a:close/>
                </a:path>
              </a:pathLst>
            </a:custGeom>
            <a:solidFill>
              <a:srgbClr val="FFE2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92500" lnSpcReduction="20000"/>
            </a:bodyPr>
            <a:lstStyle/>
            <a:p>
              <a:pPr algn="ctr"/>
              <a:endParaRPr/>
            </a:p>
          </p:txBody>
        </p:sp>
        <p:sp>
          <p:nvSpPr>
            <p:cNvPr id="36" name="işḻîḋe">
              <a:extLst>
                <a:ext uri="{FF2B5EF4-FFF2-40B4-BE49-F238E27FC236}">
                  <a16:creationId xmlns:a16="http://schemas.microsoft.com/office/drawing/2014/main" id="{5FB74432-B188-4135-9C36-195622C569DC}"/>
                </a:ext>
              </a:extLst>
            </p:cNvPr>
            <p:cNvSpPr/>
            <p:nvPr/>
          </p:nvSpPr>
          <p:spPr bwMode="auto">
            <a:xfrm>
              <a:off x="8110225" y="2025299"/>
              <a:ext cx="632550" cy="631891"/>
            </a:xfrm>
            <a:custGeom>
              <a:avLst/>
              <a:gdLst>
                <a:gd name="T0" fmla="*/ 394 w 394"/>
                <a:gd name="T1" fmla="*/ 0 h 394"/>
                <a:gd name="T2" fmla="*/ 0 w 394"/>
                <a:gd name="T3" fmla="*/ 394 h 394"/>
                <a:gd name="T4" fmla="*/ 185 w 394"/>
                <a:gd name="T5" fmla="*/ 323 h 394"/>
                <a:gd name="T6" fmla="*/ 394 w 394"/>
                <a:gd name="T7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4" h="394">
                  <a:moveTo>
                    <a:pt x="394" y="0"/>
                  </a:moveTo>
                  <a:cubicBezTo>
                    <a:pt x="58" y="0"/>
                    <a:pt x="85" y="108"/>
                    <a:pt x="0" y="394"/>
                  </a:cubicBezTo>
                  <a:cubicBezTo>
                    <a:pt x="185" y="323"/>
                    <a:pt x="185" y="323"/>
                    <a:pt x="185" y="323"/>
                  </a:cubicBezTo>
                  <a:lnTo>
                    <a:pt x="394" y="0"/>
                  </a:lnTo>
                  <a:close/>
                </a:path>
              </a:pathLst>
            </a:custGeom>
            <a:solidFill>
              <a:srgbClr val="EA34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37" name="ï$1ïḑe">
              <a:extLst>
                <a:ext uri="{FF2B5EF4-FFF2-40B4-BE49-F238E27FC236}">
                  <a16:creationId xmlns:a16="http://schemas.microsoft.com/office/drawing/2014/main" id="{D4DAAB71-CB30-4297-8B46-8F64BDDD0D24}"/>
                </a:ext>
              </a:extLst>
            </p:cNvPr>
            <p:cNvSpPr/>
            <p:nvPr/>
          </p:nvSpPr>
          <p:spPr bwMode="auto">
            <a:xfrm>
              <a:off x="8582002" y="2496417"/>
              <a:ext cx="632550" cy="631891"/>
            </a:xfrm>
            <a:custGeom>
              <a:avLst/>
              <a:gdLst>
                <a:gd name="T0" fmla="*/ 394 w 394"/>
                <a:gd name="T1" fmla="*/ 0 h 394"/>
                <a:gd name="T2" fmla="*/ 0 w 394"/>
                <a:gd name="T3" fmla="*/ 394 h 394"/>
                <a:gd name="T4" fmla="*/ 71 w 394"/>
                <a:gd name="T5" fmla="*/ 209 h 394"/>
                <a:gd name="T6" fmla="*/ 394 w 394"/>
                <a:gd name="T7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4" h="394">
                  <a:moveTo>
                    <a:pt x="394" y="0"/>
                  </a:moveTo>
                  <a:cubicBezTo>
                    <a:pt x="394" y="336"/>
                    <a:pt x="286" y="308"/>
                    <a:pt x="0" y="394"/>
                  </a:cubicBezTo>
                  <a:cubicBezTo>
                    <a:pt x="71" y="209"/>
                    <a:pt x="71" y="209"/>
                    <a:pt x="71" y="209"/>
                  </a:cubicBezTo>
                  <a:lnTo>
                    <a:pt x="394" y="0"/>
                  </a:lnTo>
                  <a:close/>
                </a:path>
              </a:pathLst>
            </a:custGeom>
            <a:solidFill>
              <a:srgbClr val="EA34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38" name="išlíḓè">
              <a:extLst>
                <a:ext uri="{FF2B5EF4-FFF2-40B4-BE49-F238E27FC236}">
                  <a16:creationId xmlns:a16="http://schemas.microsoft.com/office/drawing/2014/main" id="{2AB589A7-29B1-45D3-8FAE-844EBE86A22C}"/>
                </a:ext>
              </a:extLst>
            </p:cNvPr>
            <p:cNvSpPr/>
            <p:nvPr/>
          </p:nvSpPr>
          <p:spPr bwMode="auto">
            <a:xfrm>
              <a:off x="8582002" y="2640717"/>
              <a:ext cx="409840" cy="487590"/>
            </a:xfrm>
            <a:custGeom>
              <a:avLst/>
              <a:gdLst>
                <a:gd name="T0" fmla="*/ 0 w 255"/>
                <a:gd name="T1" fmla="*/ 304 h 304"/>
                <a:gd name="T2" fmla="*/ 219 w 255"/>
                <a:gd name="T3" fmla="*/ 242 h 304"/>
                <a:gd name="T4" fmla="*/ 255 w 255"/>
                <a:gd name="T5" fmla="*/ 0 h 304"/>
                <a:gd name="T6" fmla="*/ 71 w 255"/>
                <a:gd name="T7" fmla="*/ 119 h 304"/>
                <a:gd name="T8" fmla="*/ 0 w 255"/>
                <a:gd name="T9" fmla="*/ 304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5" h="304">
                  <a:moveTo>
                    <a:pt x="0" y="304"/>
                  </a:moveTo>
                  <a:cubicBezTo>
                    <a:pt x="90" y="277"/>
                    <a:pt x="162" y="262"/>
                    <a:pt x="219" y="242"/>
                  </a:cubicBezTo>
                  <a:cubicBezTo>
                    <a:pt x="175" y="207"/>
                    <a:pt x="136" y="134"/>
                    <a:pt x="255" y="0"/>
                  </a:cubicBezTo>
                  <a:cubicBezTo>
                    <a:pt x="71" y="119"/>
                    <a:pt x="71" y="119"/>
                    <a:pt x="71" y="119"/>
                  </a:cubicBezTo>
                  <a:lnTo>
                    <a:pt x="0" y="304"/>
                  </a:lnTo>
                  <a:close/>
                </a:path>
              </a:pathLst>
            </a:custGeom>
            <a:solidFill>
              <a:srgbClr val="AA2B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39" name="ïśḻïďê">
              <a:extLst>
                <a:ext uri="{FF2B5EF4-FFF2-40B4-BE49-F238E27FC236}">
                  <a16:creationId xmlns:a16="http://schemas.microsoft.com/office/drawing/2014/main" id="{256EEE6E-BA70-4EAA-86A5-68C191893909}"/>
                </a:ext>
              </a:extLst>
            </p:cNvPr>
            <p:cNvSpPr/>
            <p:nvPr/>
          </p:nvSpPr>
          <p:spPr bwMode="auto">
            <a:xfrm>
              <a:off x="8110225" y="2033206"/>
              <a:ext cx="627279" cy="623984"/>
            </a:xfrm>
            <a:custGeom>
              <a:avLst/>
              <a:gdLst>
                <a:gd name="T0" fmla="*/ 0 w 391"/>
                <a:gd name="T1" fmla="*/ 389 h 389"/>
                <a:gd name="T2" fmla="*/ 185 w 391"/>
                <a:gd name="T3" fmla="*/ 318 h 389"/>
                <a:gd name="T4" fmla="*/ 391 w 391"/>
                <a:gd name="T5" fmla="*/ 0 h 389"/>
                <a:gd name="T6" fmla="*/ 46 w 391"/>
                <a:gd name="T7" fmla="*/ 223 h 389"/>
                <a:gd name="T8" fmla="*/ 0 w 391"/>
                <a:gd name="T9" fmla="*/ 389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1" h="389">
                  <a:moveTo>
                    <a:pt x="0" y="389"/>
                  </a:moveTo>
                  <a:cubicBezTo>
                    <a:pt x="185" y="318"/>
                    <a:pt x="185" y="318"/>
                    <a:pt x="185" y="318"/>
                  </a:cubicBezTo>
                  <a:cubicBezTo>
                    <a:pt x="391" y="0"/>
                    <a:pt x="391" y="0"/>
                    <a:pt x="391" y="0"/>
                  </a:cubicBezTo>
                  <a:cubicBezTo>
                    <a:pt x="256" y="165"/>
                    <a:pt x="148" y="304"/>
                    <a:pt x="46" y="223"/>
                  </a:cubicBezTo>
                  <a:cubicBezTo>
                    <a:pt x="32" y="270"/>
                    <a:pt x="19" y="325"/>
                    <a:pt x="0" y="389"/>
                  </a:cubicBezTo>
                  <a:close/>
                </a:path>
              </a:pathLst>
            </a:custGeom>
            <a:solidFill>
              <a:srgbClr val="AA2B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40" name="ï$1íḑé">
              <a:extLst>
                <a:ext uri="{FF2B5EF4-FFF2-40B4-BE49-F238E27FC236}">
                  <a16:creationId xmlns:a16="http://schemas.microsoft.com/office/drawing/2014/main" id="{EA825B2A-9AE2-4386-BC8A-49D980190B0D}"/>
                </a:ext>
              </a:extLst>
            </p:cNvPr>
            <p:cNvSpPr/>
            <p:nvPr/>
          </p:nvSpPr>
          <p:spPr bwMode="auto">
            <a:xfrm>
              <a:off x="8406733" y="1422400"/>
              <a:ext cx="1412037" cy="1409400"/>
            </a:xfrm>
            <a:custGeom>
              <a:avLst/>
              <a:gdLst>
                <a:gd name="T0" fmla="*/ 710 w 879"/>
                <a:gd name="T1" fmla="*/ 494 h 879"/>
                <a:gd name="T2" fmla="*/ 864 w 879"/>
                <a:gd name="T3" fmla="*/ 15 h 879"/>
                <a:gd name="T4" fmla="*/ 385 w 879"/>
                <a:gd name="T5" fmla="*/ 169 h 879"/>
                <a:gd name="T6" fmla="*/ 0 w 879"/>
                <a:gd name="T7" fmla="*/ 699 h 879"/>
                <a:gd name="T8" fmla="*/ 180 w 879"/>
                <a:gd name="T9" fmla="*/ 879 h 879"/>
                <a:gd name="T10" fmla="*/ 710 w 879"/>
                <a:gd name="T11" fmla="*/ 494 h 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9" h="879">
                  <a:moveTo>
                    <a:pt x="710" y="494"/>
                  </a:moveTo>
                  <a:cubicBezTo>
                    <a:pt x="879" y="313"/>
                    <a:pt x="864" y="15"/>
                    <a:pt x="864" y="15"/>
                  </a:cubicBezTo>
                  <a:cubicBezTo>
                    <a:pt x="864" y="15"/>
                    <a:pt x="566" y="0"/>
                    <a:pt x="385" y="169"/>
                  </a:cubicBezTo>
                  <a:cubicBezTo>
                    <a:pt x="203" y="339"/>
                    <a:pt x="0" y="699"/>
                    <a:pt x="0" y="699"/>
                  </a:cubicBezTo>
                  <a:cubicBezTo>
                    <a:pt x="180" y="879"/>
                    <a:pt x="180" y="879"/>
                    <a:pt x="180" y="879"/>
                  </a:cubicBezTo>
                  <a:cubicBezTo>
                    <a:pt x="180" y="879"/>
                    <a:pt x="540" y="676"/>
                    <a:pt x="710" y="49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dirty="0"/>
            </a:p>
          </p:txBody>
        </p:sp>
        <p:sp>
          <p:nvSpPr>
            <p:cNvPr id="41" name="îS1íḍé">
              <a:extLst>
                <a:ext uri="{FF2B5EF4-FFF2-40B4-BE49-F238E27FC236}">
                  <a16:creationId xmlns:a16="http://schemas.microsoft.com/office/drawing/2014/main" id="{2628CA64-BF0D-45FF-A501-751CE301ED37}"/>
                </a:ext>
              </a:extLst>
            </p:cNvPr>
            <p:cNvSpPr/>
            <p:nvPr/>
          </p:nvSpPr>
          <p:spPr bwMode="auto">
            <a:xfrm>
              <a:off x="8406733" y="1469182"/>
              <a:ext cx="1109599" cy="1362617"/>
            </a:xfrm>
            <a:custGeom>
              <a:avLst/>
              <a:gdLst>
                <a:gd name="T0" fmla="*/ 691 w 691"/>
                <a:gd name="T1" fmla="*/ 0 h 850"/>
                <a:gd name="T2" fmla="*/ 385 w 691"/>
                <a:gd name="T3" fmla="*/ 140 h 850"/>
                <a:gd name="T4" fmla="*/ 0 w 691"/>
                <a:gd name="T5" fmla="*/ 670 h 850"/>
                <a:gd name="T6" fmla="*/ 180 w 691"/>
                <a:gd name="T7" fmla="*/ 850 h 850"/>
                <a:gd name="T8" fmla="*/ 235 w 691"/>
                <a:gd name="T9" fmla="*/ 818 h 850"/>
                <a:gd name="T10" fmla="*/ 691 w 691"/>
                <a:gd name="T11" fmla="*/ 0 h 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1" h="850">
                  <a:moveTo>
                    <a:pt x="691" y="0"/>
                  </a:moveTo>
                  <a:cubicBezTo>
                    <a:pt x="594" y="17"/>
                    <a:pt x="475" y="56"/>
                    <a:pt x="385" y="140"/>
                  </a:cubicBezTo>
                  <a:cubicBezTo>
                    <a:pt x="203" y="310"/>
                    <a:pt x="0" y="670"/>
                    <a:pt x="0" y="670"/>
                  </a:cubicBezTo>
                  <a:cubicBezTo>
                    <a:pt x="180" y="850"/>
                    <a:pt x="180" y="850"/>
                    <a:pt x="180" y="850"/>
                  </a:cubicBezTo>
                  <a:cubicBezTo>
                    <a:pt x="180" y="850"/>
                    <a:pt x="201" y="839"/>
                    <a:pt x="235" y="818"/>
                  </a:cubicBezTo>
                  <a:cubicBezTo>
                    <a:pt x="23" y="674"/>
                    <a:pt x="103" y="372"/>
                    <a:pt x="691" y="0"/>
                  </a:cubicBezTo>
                  <a:close/>
                </a:path>
              </a:pathLst>
            </a:custGeom>
            <a:solidFill>
              <a:srgbClr val="DAD5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42" name="išḻiḍè">
              <a:extLst>
                <a:ext uri="{FF2B5EF4-FFF2-40B4-BE49-F238E27FC236}">
                  <a16:creationId xmlns:a16="http://schemas.microsoft.com/office/drawing/2014/main" id="{CF646C0F-30BC-4BC8-A246-3BDA08FEABCB}"/>
                </a:ext>
              </a:extLst>
            </p:cNvPr>
            <p:cNvSpPr/>
            <p:nvPr/>
          </p:nvSpPr>
          <p:spPr bwMode="auto">
            <a:xfrm>
              <a:off x="9379938" y="1436896"/>
              <a:ext cx="424336" cy="423018"/>
            </a:xfrm>
            <a:custGeom>
              <a:avLst/>
              <a:gdLst>
                <a:gd name="T0" fmla="*/ 224 w 264"/>
                <a:gd name="T1" fmla="*/ 264 h 264"/>
                <a:gd name="T2" fmla="*/ 258 w 264"/>
                <a:gd name="T3" fmla="*/ 6 h 264"/>
                <a:gd name="T4" fmla="*/ 0 w 264"/>
                <a:gd name="T5" fmla="*/ 40 h 264"/>
                <a:gd name="T6" fmla="*/ 224 w 264"/>
                <a:gd name="T7" fmla="*/ 2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4" h="264">
                  <a:moveTo>
                    <a:pt x="224" y="264"/>
                  </a:moveTo>
                  <a:cubicBezTo>
                    <a:pt x="264" y="129"/>
                    <a:pt x="258" y="6"/>
                    <a:pt x="258" y="6"/>
                  </a:cubicBezTo>
                  <a:cubicBezTo>
                    <a:pt x="258" y="6"/>
                    <a:pt x="136" y="0"/>
                    <a:pt x="0" y="40"/>
                  </a:cubicBezTo>
                  <a:lnTo>
                    <a:pt x="224" y="264"/>
                  </a:lnTo>
                  <a:close/>
                </a:path>
              </a:pathLst>
            </a:custGeom>
            <a:solidFill>
              <a:srgbClr val="EA34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43" name="i$ļiḋé">
              <a:extLst>
                <a:ext uri="{FF2B5EF4-FFF2-40B4-BE49-F238E27FC236}">
                  <a16:creationId xmlns:a16="http://schemas.microsoft.com/office/drawing/2014/main" id="{93A4C051-FF49-4AB7-8838-CC555801EF70}"/>
                </a:ext>
              </a:extLst>
            </p:cNvPr>
            <p:cNvSpPr/>
            <p:nvPr/>
          </p:nvSpPr>
          <p:spPr bwMode="auto">
            <a:xfrm>
              <a:off x="9379938" y="1436896"/>
              <a:ext cx="414452" cy="423018"/>
            </a:xfrm>
            <a:custGeom>
              <a:avLst/>
              <a:gdLst>
                <a:gd name="T0" fmla="*/ 0 w 258"/>
                <a:gd name="T1" fmla="*/ 40 h 264"/>
                <a:gd name="T2" fmla="*/ 224 w 258"/>
                <a:gd name="T3" fmla="*/ 264 h 264"/>
                <a:gd name="T4" fmla="*/ 227 w 258"/>
                <a:gd name="T5" fmla="*/ 254 h 264"/>
                <a:gd name="T6" fmla="*/ 258 w 258"/>
                <a:gd name="T7" fmla="*/ 6 h 264"/>
                <a:gd name="T8" fmla="*/ 0 w 258"/>
                <a:gd name="T9" fmla="*/ 40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8" h="264">
                  <a:moveTo>
                    <a:pt x="0" y="40"/>
                  </a:moveTo>
                  <a:cubicBezTo>
                    <a:pt x="224" y="264"/>
                    <a:pt x="224" y="264"/>
                    <a:pt x="224" y="264"/>
                  </a:cubicBezTo>
                  <a:cubicBezTo>
                    <a:pt x="225" y="261"/>
                    <a:pt x="226" y="257"/>
                    <a:pt x="227" y="254"/>
                  </a:cubicBezTo>
                  <a:cubicBezTo>
                    <a:pt x="132" y="175"/>
                    <a:pt x="11" y="39"/>
                    <a:pt x="258" y="6"/>
                  </a:cubicBezTo>
                  <a:cubicBezTo>
                    <a:pt x="258" y="6"/>
                    <a:pt x="136" y="0"/>
                    <a:pt x="0" y="40"/>
                  </a:cubicBezTo>
                  <a:close/>
                </a:path>
              </a:pathLst>
            </a:custGeom>
            <a:solidFill>
              <a:srgbClr val="AA2B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44" name="íśḻide">
              <a:extLst>
                <a:ext uri="{FF2B5EF4-FFF2-40B4-BE49-F238E27FC236}">
                  <a16:creationId xmlns:a16="http://schemas.microsoft.com/office/drawing/2014/main" id="{93B12BED-17B4-4AB9-AD29-76D037FD5C5F}"/>
                </a:ext>
              </a:extLst>
            </p:cNvPr>
            <p:cNvSpPr/>
            <p:nvPr/>
          </p:nvSpPr>
          <p:spPr bwMode="auto">
            <a:xfrm>
              <a:off x="9049167" y="1741310"/>
              <a:ext cx="433561" cy="432901"/>
            </a:xfrm>
            <a:prstGeom prst="ellipse">
              <a:avLst/>
            </a:prstGeom>
            <a:solidFill>
              <a:srgbClr val="E0DE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lnSpcReduction="10000"/>
            </a:bodyPr>
            <a:lstStyle/>
            <a:p>
              <a:pPr algn="ctr"/>
              <a:endParaRPr/>
            </a:p>
          </p:txBody>
        </p:sp>
        <p:sp>
          <p:nvSpPr>
            <p:cNvPr id="45" name="î$ḻiḓe">
              <a:extLst>
                <a:ext uri="{FF2B5EF4-FFF2-40B4-BE49-F238E27FC236}">
                  <a16:creationId xmlns:a16="http://schemas.microsoft.com/office/drawing/2014/main" id="{7D8232D2-1569-4404-8FFA-8E1E9D6F1A43}"/>
                </a:ext>
              </a:extLst>
            </p:cNvPr>
            <p:cNvSpPr/>
            <p:nvPr/>
          </p:nvSpPr>
          <p:spPr bwMode="auto">
            <a:xfrm>
              <a:off x="9063663" y="1755806"/>
              <a:ext cx="404569" cy="402592"/>
            </a:xfrm>
            <a:prstGeom prst="ellipse">
              <a:avLst/>
            </a:prstGeom>
            <a:solidFill>
              <a:srgbClr val="AA2B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92500" lnSpcReduction="10000"/>
            </a:bodyPr>
            <a:lstStyle/>
            <a:p>
              <a:pPr algn="ctr"/>
              <a:endParaRPr/>
            </a:p>
          </p:txBody>
        </p:sp>
        <p:sp>
          <p:nvSpPr>
            <p:cNvPr id="46" name="ïŝḷídé">
              <a:extLst>
                <a:ext uri="{FF2B5EF4-FFF2-40B4-BE49-F238E27FC236}">
                  <a16:creationId xmlns:a16="http://schemas.microsoft.com/office/drawing/2014/main" id="{EE2AF242-26E1-4104-A76E-E0864272E1E3}"/>
                </a:ext>
              </a:extLst>
            </p:cNvPr>
            <p:cNvSpPr/>
            <p:nvPr/>
          </p:nvSpPr>
          <p:spPr bwMode="auto">
            <a:xfrm>
              <a:off x="9076841" y="1768985"/>
              <a:ext cx="378872" cy="378212"/>
            </a:xfrm>
            <a:prstGeom prst="ellipse">
              <a:avLst/>
            </a:prstGeom>
            <a:solidFill>
              <a:srgbClr val="EA34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92500" lnSpcReduction="20000"/>
            </a:bodyPr>
            <a:lstStyle/>
            <a:p>
              <a:pPr algn="ctr"/>
              <a:endParaRPr/>
            </a:p>
          </p:txBody>
        </p:sp>
        <p:sp>
          <p:nvSpPr>
            <p:cNvPr id="47" name="ïṣľíḋê">
              <a:extLst>
                <a:ext uri="{FF2B5EF4-FFF2-40B4-BE49-F238E27FC236}">
                  <a16:creationId xmlns:a16="http://schemas.microsoft.com/office/drawing/2014/main" id="{F39D1ACD-5868-49D1-8973-FA55F1A98368}"/>
                </a:ext>
              </a:extLst>
            </p:cNvPr>
            <p:cNvSpPr/>
            <p:nvPr/>
          </p:nvSpPr>
          <p:spPr bwMode="auto">
            <a:xfrm>
              <a:off x="9107151" y="1797317"/>
              <a:ext cx="318252" cy="319570"/>
            </a:xfrm>
            <a:prstGeom prst="ellipse">
              <a:avLst/>
            </a:prstGeom>
            <a:solidFill>
              <a:srgbClr val="3844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77500" lnSpcReduction="20000"/>
            </a:bodyPr>
            <a:lstStyle/>
            <a:p>
              <a:pPr algn="ctr"/>
              <a:endParaRPr/>
            </a:p>
          </p:txBody>
        </p:sp>
        <p:sp>
          <p:nvSpPr>
            <p:cNvPr id="48" name="íşḻîďê">
              <a:extLst>
                <a:ext uri="{FF2B5EF4-FFF2-40B4-BE49-F238E27FC236}">
                  <a16:creationId xmlns:a16="http://schemas.microsoft.com/office/drawing/2014/main" id="{91278F46-A765-40BC-AC10-5105DB284377}"/>
                </a:ext>
              </a:extLst>
            </p:cNvPr>
            <p:cNvSpPr/>
            <p:nvPr/>
          </p:nvSpPr>
          <p:spPr bwMode="auto">
            <a:xfrm>
              <a:off x="9117034" y="1808519"/>
              <a:ext cx="298485" cy="298485"/>
            </a:xfrm>
            <a:prstGeom prst="ellipse">
              <a:avLst/>
            </a:prstGeom>
            <a:solidFill>
              <a:srgbClr val="89BB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62500" lnSpcReduction="20000"/>
            </a:bodyPr>
            <a:lstStyle/>
            <a:p>
              <a:pPr algn="ctr"/>
              <a:endParaRPr/>
            </a:p>
          </p:txBody>
        </p:sp>
        <p:sp>
          <p:nvSpPr>
            <p:cNvPr id="49" name="íş1îde">
              <a:extLst>
                <a:ext uri="{FF2B5EF4-FFF2-40B4-BE49-F238E27FC236}">
                  <a16:creationId xmlns:a16="http://schemas.microsoft.com/office/drawing/2014/main" id="{B3D25D2D-3C44-49DA-8CE1-C2F424DF151F}"/>
                </a:ext>
              </a:extLst>
            </p:cNvPr>
            <p:cNvSpPr/>
            <p:nvPr/>
          </p:nvSpPr>
          <p:spPr bwMode="auto">
            <a:xfrm>
              <a:off x="9117034" y="1808519"/>
              <a:ext cx="268175" cy="268175"/>
            </a:xfrm>
            <a:custGeom>
              <a:avLst/>
              <a:gdLst>
                <a:gd name="T0" fmla="*/ 0 w 167"/>
                <a:gd name="T1" fmla="*/ 93 h 167"/>
                <a:gd name="T2" fmla="*/ 37 w 167"/>
                <a:gd name="T3" fmla="*/ 167 h 167"/>
                <a:gd name="T4" fmla="*/ 167 w 167"/>
                <a:gd name="T5" fmla="*/ 37 h 167"/>
                <a:gd name="T6" fmla="*/ 93 w 167"/>
                <a:gd name="T7" fmla="*/ 0 h 167"/>
                <a:gd name="T8" fmla="*/ 90 w 167"/>
                <a:gd name="T9" fmla="*/ 0 h 167"/>
                <a:gd name="T10" fmla="*/ 0 w 167"/>
                <a:gd name="T11" fmla="*/ 90 h 167"/>
                <a:gd name="T12" fmla="*/ 0 w 167"/>
                <a:gd name="T13" fmla="*/ 93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167">
                  <a:moveTo>
                    <a:pt x="0" y="93"/>
                  </a:moveTo>
                  <a:cubicBezTo>
                    <a:pt x="0" y="123"/>
                    <a:pt x="14" y="150"/>
                    <a:pt x="37" y="167"/>
                  </a:cubicBezTo>
                  <a:cubicBezTo>
                    <a:pt x="167" y="37"/>
                    <a:pt x="167" y="37"/>
                    <a:pt x="167" y="37"/>
                  </a:cubicBezTo>
                  <a:cubicBezTo>
                    <a:pt x="150" y="14"/>
                    <a:pt x="123" y="0"/>
                    <a:pt x="93" y="0"/>
                  </a:cubicBezTo>
                  <a:cubicBezTo>
                    <a:pt x="92" y="0"/>
                    <a:pt x="91" y="0"/>
                    <a:pt x="90" y="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1"/>
                    <a:pt x="0" y="92"/>
                    <a:pt x="0" y="93"/>
                  </a:cubicBezTo>
                  <a:close/>
                </a:path>
              </a:pathLst>
            </a:custGeom>
            <a:solidFill>
              <a:srgbClr val="BBE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92500" lnSpcReduction="20000"/>
            </a:bodyPr>
            <a:lstStyle/>
            <a:p>
              <a:pPr algn="ctr"/>
              <a:endParaRPr/>
            </a:p>
          </p:txBody>
        </p:sp>
        <p:sp>
          <p:nvSpPr>
            <p:cNvPr id="50" name="ïṥ1iďe">
              <a:extLst>
                <a:ext uri="{FF2B5EF4-FFF2-40B4-BE49-F238E27FC236}">
                  <a16:creationId xmlns:a16="http://schemas.microsoft.com/office/drawing/2014/main" id="{39E8B17B-B03E-43ED-BD9A-579C37A67770}"/>
                </a:ext>
              </a:extLst>
            </p:cNvPr>
            <p:cNvSpPr/>
            <p:nvPr/>
          </p:nvSpPr>
          <p:spPr bwMode="auto">
            <a:xfrm>
              <a:off x="9209940" y="1902083"/>
              <a:ext cx="203602" cy="203602"/>
            </a:xfrm>
            <a:custGeom>
              <a:avLst/>
              <a:gdLst>
                <a:gd name="T0" fmla="*/ 121 w 127"/>
                <a:gd name="T1" fmla="*/ 0 h 127"/>
                <a:gd name="T2" fmla="*/ 0 w 127"/>
                <a:gd name="T3" fmla="*/ 121 h 127"/>
                <a:gd name="T4" fmla="*/ 23 w 127"/>
                <a:gd name="T5" fmla="*/ 127 h 127"/>
                <a:gd name="T6" fmla="*/ 127 w 127"/>
                <a:gd name="T7" fmla="*/ 23 h 127"/>
                <a:gd name="T8" fmla="*/ 121 w 127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7">
                  <a:moveTo>
                    <a:pt x="121" y="0"/>
                  </a:moveTo>
                  <a:cubicBezTo>
                    <a:pt x="0" y="121"/>
                    <a:pt x="0" y="121"/>
                    <a:pt x="0" y="121"/>
                  </a:cubicBezTo>
                  <a:cubicBezTo>
                    <a:pt x="7" y="124"/>
                    <a:pt x="15" y="126"/>
                    <a:pt x="23" y="127"/>
                  </a:cubicBezTo>
                  <a:cubicBezTo>
                    <a:pt x="127" y="23"/>
                    <a:pt x="127" y="23"/>
                    <a:pt x="127" y="23"/>
                  </a:cubicBezTo>
                  <a:cubicBezTo>
                    <a:pt x="126" y="15"/>
                    <a:pt x="124" y="7"/>
                    <a:pt x="121" y="0"/>
                  </a:cubicBezTo>
                  <a:close/>
                </a:path>
              </a:pathLst>
            </a:custGeom>
            <a:solidFill>
              <a:srgbClr val="BBE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62500" lnSpcReduction="20000"/>
            </a:bodyPr>
            <a:lstStyle/>
            <a:p>
              <a:pPr algn="ctr"/>
              <a:endParaRPr/>
            </a:p>
          </p:txBody>
        </p:sp>
        <p:sp>
          <p:nvSpPr>
            <p:cNvPr id="51" name="îslïdé">
              <a:extLst>
                <a:ext uri="{FF2B5EF4-FFF2-40B4-BE49-F238E27FC236}">
                  <a16:creationId xmlns:a16="http://schemas.microsoft.com/office/drawing/2014/main" id="{DAEBF2C9-7FF0-48A1-A529-6560ABCDD353}"/>
                </a:ext>
              </a:extLst>
            </p:cNvPr>
            <p:cNvSpPr/>
            <p:nvPr/>
          </p:nvSpPr>
          <p:spPr bwMode="auto">
            <a:xfrm>
              <a:off x="9365442" y="1521895"/>
              <a:ext cx="19767" cy="19108"/>
            </a:xfrm>
            <a:custGeom>
              <a:avLst/>
              <a:gdLst>
                <a:gd name="T0" fmla="*/ 10 w 12"/>
                <a:gd name="T1" fmla="*/ 10 h 12"/>
                <a:gd name="T2" fmla="*/ 2 w 12"/>
                <a:gd name="T3" fmla="*/ 10 h 12"/>
                <a:gd name="T4" fmla="*/ 2 w 12"/>
                <a:gd name="T5" fmla="*/ 2 h 12"/>
                <a:gd name="T6" fmla="*/ 10 w 12"/>
                <a:gd name="T7" fmla="*/ 2 h 12"/>
                <a:gd name="T8" fmla="*/ 10 w 12"/>
                <a:gd name="T9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10" y="10"/>
                  </a:moveTo>
                  <a:cubicBezTo>
                    <a:pt x="7" y="12"/>
                    <a:pt x="4" y="12"/>
                    <a:pt x="2" y="10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4" y="0"/>
                    <a:pt x="7" y="0"/>
                    <a:pt x="10" y="2"/>
                  </a:cubicBezTo>
                  <a:cubicBezTo>
                    <a:pt x="12" y="4"/>
                    <a:pt x="12" y="8"/>
                    <a:pt x="10" y="10"/>
                  </a:cubicBezTo>
                  <a:close/>
                </a:path>
              </a:pathLst>
            </a:custGeom>
            <a:solidFill>
              <a:srgbClr val="B3B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/>
            </a:p>
          </p:txBody>
        </p:sp>
        <p:sp>
          <p:nvSpPr>
            <p:cNvPr id="52" name="îṣ1idé">
              <a:extLst>
                <a:ext uri="{FF2B5EF4-FFF2-40B4-BE49-F238E27FC236}">
                  <a16:creationId xmlns:a16="http://schemas.microsoft.com/office/drawing/2014/main" id="{5E56B853-CDAF-42C3-9742-6B8C6BB44ACE}"/>
                </a:ext>
              </a:extLst>
            </p:cNvPr>
            <p:cNvSpPr/>
            <p:nvPr/>
          </p:nvSpPr>
          <p:spPr bwMode="auto">
            <a:xfrm>
              <a:off x="9412224" y="1568018"/>
              <a:ext cx="17791" cy="19767"/>
            </a:xfrm>
            <a:custGeom>
              <a:avLst/>
              <a:gdLst>
                <a:gd name="T0" fmla="*/ 9 w 11"/>
                <a:gd name="T1" fmla="*/ 9 h 12"/>
                <a:gd name="T2" fmla="*/ 2 w 11"/>
                <a:gd name="T3" fmla="*/ 9 h 12"/>
                <a:gd name="T4" fmla="*/ 2 w 11"/>
                <a:gd name="T5" fmla="*/ 2 h 12"/>
                <a:gd name="T6" fmla="*/ 9 w 11"/>
                <a:gd name="T7" fmla="*/ 2 h 12"/>
                <a:gd name="T8" fmla="*/ 9 w 11"/>
                <a:gd name="T9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2">
                  <a:moveTo>
                    <a:pt x="9" y="9"/>
                  </a:moveTo>
                  <a:cubicBezTo>
                    <a:pt x="7" y="12"/>
                    <a:pt x="4" y="12"/>
                    <a:pt x="2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4" y="0"/>
                    <a:pt x="7" y="0"/>
                    <a:pt x="9" y="2"/>
                  </a:cubicBezTo>
                  <a:cubicBezTo>
                    <a:pt x="11" y="4"/>
                    <a:pt x="11" y="7"/>
                    <a:pt x="9" y="9"/>
                  </a:cubicBezTo>
                  <a:close/>
                </a:path>
              </a:pathLst>
            </a:custGeom>
            <a:solidFill>
              <a:srgbClr val="B3B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/>
            </a:p>
          </p:txBody>
        </p:sp>
        <p:sp>
          <p:nvSpPr>
            <p:cNvPr id="53" name="iṧ1iḓe">
              <a:extLst>
                <a:ext uri="{FF2B5EF4-FFF2-40B4-BE49-F238E27FC236}">
                  <a16:creationId xmlns:a16="http://schemas.microsoft.com/office/drawing/2014/main" id="{867296A3-884A-4F4D-9914-11F46DF034CD}"/>
                </a:ext>
              </a:extLst>
            </p:cNvPr>
            <p:cNvSpPr/>
            <p:nvPr/>
          </p:nvSpPr>
          <p:spPr bwMode="auto">
            <a:xfrm>
              <a:off x="9457030" y="1614801"/>
              <a:ext cx="19108" cy="17791"/>
            </a:xfrm>
            <a:custGeom>
              <a:avLst/>
              <a:gdLst>
                <a:gd name="T0" fmla="*/ 10 w 12"/>
                <a:gd name="T1" fmla="*/ 9 h 11"/>
                <a:gd name="T2" fmla="*/ 2 w 12"/>
                <a:gd name="T3" fmla="*/ 9 h 11"/>
                <a:gd name="T4" fmla="*/ 2 w 12"/>
                <a:gd name="T5" fmla="*/ 2 h 11"/>
                <a:gd name="T6" fmla="*/ 10 w 12"/>
                <a:gd name="T7" fmla="*/ 2 h 11"/>
                <a:gd name="T8" fmla="*/ 10 w 12"/>
                <a:gd name="T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1">
                  <a:moveTo>
                    <a:pt x="10" y="9"/>
                  </a:moveTo>
                  <a:cubicBezTo>
                    <a:pt x="8" y="11"/>
                    <a:pt x="5" y="11"/>
                    <a:pt x="2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5" y="0"/>
                    <a:pt x="8" y="0"/>
                    <a:pt x="10" y="2"/>
                  </a:cubicBezTo>
                  <a:cubicBezTo>
                    <a:pt x="12" y="4"/>
                    <a:pt x="12" y="7"/>
                    <a:pt x="10" y="9"/>
                  </a:cubicBezTo>
                  <a:close/>
                </a:path>
              </a:pathLst>
            </a:custGeom>
            <a:solidFill>
              <a:srgbClr val="B3B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/>
            </a:p>
          </p:txBody>
        </p:sp>
        <p:sp>
          <p:nvSpPr>
            <p:cNvPr id="54" name="iSľiḓê">
              <a:extLst>
                <a:ext uri="{FF2B5EF4-FFF2-40B4-BE49-F238E27FC236}">
                  <a16:creationId xmlns:a16="http://schemas.microsoft.com/office/drawing/2014/main" id="{10FF889C-9CF9-4E0A-AD92-877C33BBA3F8}"/>
                </a:ext>
              </a:extLst>
            </p:cNvPr>
            <p:cNvSpPr/>
            <p:nvPr/>
          </p:nvSpPr>
          <p:spPr bwMode="auto">
            <a:xfrm>
              <a:off x="9503813" y="1659606"/>
              <a:ext cx="19108" cy="19108"/>
            </a:xfrm>
            <a:custGeom>
              <a:avLst/>
              <a:gdLst>
                <a:gd name="T0" fmla="*/ 10 w 12"/>
                <a:gd name="T1" fmla="*/ 10 h 12"/>
                <a:gd name="T2" fmla="*/ 2 w 12"/>
                <a:gd name="T3" fmla="*/ 10 h 12"/>
                <a:gd name="T4" fmla="*/ 2 w 12"/>
                <a:gd name="T5" fmla="*/ 2 h 12"/>
                <a:gd name="T6" fmla="*/ 10 w 12"/>
                <a:gd name="T7" fmla="*/ 2 h 12"/>
                <a:gd name="T8" fmla="*/ 10 w 12"/>
                <a:gd name="T9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10" y="10"/>
                  </a:moveTo>
                  <a:cubicBezTo>
                    <a:pt x="8" y="12"/>
                    <a:pt x="4" y="12"/>
                    <a:pt x="2" y="10"/>
                  </a:cubicBezTo>
                  <a:cubicBezTo>
                    <a:pt x="0" y="8"/>
                    <a:pt x="0" y="5"/>
                    <a:pt x="2" y="2"/>
                  </a:cubicBezTo>
                  <a:cubicBezTo>
                    <a:pt x="4" y="0"/>
                    <a:pt x="8" y="0"/>
                    <a:pt x="10" y="2"/>
                  </a:cubicBezTo>
                  <a:cubicBezTo>
                    <a:pt x="12" y="5"/>
                    <a:pt x="12" y="8"/>
                    <a:pt x="10" y="10"/>
                  </a:cubicBezTo>
                  <a:close/>
                </a:path>
              </a:pathLst>
            </a:custGeom>
            <a:solidFill>
              <a:srgbClr val="B3B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/>
            </a:p>
          </p:txBody>
        </p:sp>
        <p:sp>
          <p:nvSpPr>
            <p:cNvPr id="55" name="ïṩḷíḑé">
              <a:extLst>
                <a:ext uri="{FF2B5EF4-FFF2-40B4-BE49-F238E27FC236}">
                  <a16:creationId xmlns:a16="http://schemas.microsoft.com/office/drawing/2014/main" id="{A54967F2-4E06-47D6-B6B5-675541311F41}"/>
                </a:ext>
              </a:extLst>
            </p:cNvPr>
            <p:cNvSpPr/>
            <p:nvPr/>
          </p:nvSpPr>
          <p:spPr bwMode="auto">
            <a:xfrm>
              <a:off x="9550595" y="1706388"/>
              <a:ext cx="19108" cy="19108"/>
            </a:xfrm>
            <a:custGeom>
              <a:avLst/>
              <a:gdLst>
                <a:gd name="T0" fmla="*/ 10 w 12"/>
                <a:gd name="T1" fmla="*/ 10 h 12"/>
                <a:gd name="T2" fmla="*/ 2 w 12"/>
                <a:gd name="T3" fmla="*/ 10 h 12"/>
                <a:gd name="T4" fmla="*/ 2 w 12"/>
                <a:gd name="T5" fmla="*/ 2 h 12"/>
                <a:gd name="T6" fmla="*/ 10 w 12"/>
                <a:gd name="T7" fmla="*/ 2 h 12"/>
                <a:gd name="T8" fmla="*/ 10 w 12"/>
                <a:gd name="T9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10" y="10"/>
                  </a:moveTo>
                  <a:cubicBezTo>
                    <a:pt x="7" y="12"/>
                    <a:pt x="4" y="12"/>
                    <a:pt x="2" y="10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4" y="0"/>
                    <a:pt x="7" y="0"/>
                    <a:pt x="10" y="2"/>
                  </a:cubicBezTo>
                  <a:cubicBezTo>
                    <a:pt x="12" y="4"/>
                    <a:pt x="12" y="8"/>
                    <a:pt x="10" y="10"/>
                  </a:cubicBezTo>
                  <a:close/>
                </a:path>
              </a:pathLst>
            </a:custGeom>
            <a:solidFill>
              <a:srgbClr val="B3B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/>
            </a:p>
          </p:txBody>
        </p:sp>
        <p:sp>
          <p:nvSpPr>
            <p:cNvPr id="56" name="íšḷiḓe">
              <a:extLst>
                <a:ext uri="{FF2B5EF4-FFF2-40B4-BE49-F238E27FC236}">
                  <a16:creationId xmlns:a16="http://schemas.microsoft.com/office/drawing/2014/main" id="{A0B05DE7-B824-48F8-8BFA-71D2DBDC8964}"/>
                </a:ext>
              </a:extLst>
            </p:cNvPr>
            <p:cNvSpPr/>
            <p:nvPr/>
          </p:nvSpPr>
          <p:spPr bwMode="auto">
            <a:xfrm>
              <a:off x="9596718" y="1752512"/>
              <a:ext cx="17791" cy="19767"/>
            </a:xfrm>
            <a:custGeom>
              <a:avLst/>
              <a:gdLst>
                <a:gd name="T0" fmla="*/ 9 w 11"/>
                <a:gd name="T1" fmla="*/ 9 h 12"/>
                <a:gd name="T2" fmla="*/ 2 w 11"/>
                <a:gd name="T3" fmla="*/ 9 h 12"/>
                <a:gd name="T4" fmla="*/ 2 w 11"/>
                <a:gd name="T5" fmla="*/ 2 h 12"/>
                <a:gd name="T6" fmla="*/ 9 w 11"/>
                <a:gd name="T7" fmla="*/ 2 h 12"/>
                <a:gd name="T8" fmla="*/ 9 w 11"/>
                <a:gd name="T9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2">
                  <a:moveTo>
                    <a:pt x="9" y="9"/>
                  </a:moveTo>
                  <a:cubicBezTo>
                    <a:pt x="7" y="12"/>
                    <a:pt x="4" y="12"/>
                    <a:pt x="2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4" y="0"/>
                    <a:pt x="7" y="0"/>
                    <a:pt x="9" y="2"/>
                  </a:cubicBezTo>
                  <a:cubicBezTo>
                    <a:pt x="11" y="4"/>
                    <a:pt x="11" y="7"/>
                    <a:pt x="9" y="9"/>
                  </a:cubicBezTo>
                  <a:close/>
                </a:path>
              </a:pathLst>
            </a:custGeom>
            <a:solidFill>
              <a:srgbClr val="B3B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/>
            </a:p>
          </p:txBody>
        </p:sp>
        <p:sp>
          <p:nvSpPr>
            <p:cNvPr id="57" name="îṩḻíde">
              <a:extLst>
                <a:ext uri="{FF2B5EF4-FFF2-40B4-BE49-F238E27FC236}">
                  <a16:creationId xmlns:a16="http://schemas.microsoft.com/office/drawing/2014/main" id="{807872C2-097C-4F1F-B2FC-431AB7E46AD9}"/>
                </a:ext>
              </a:extLst>
            </p:cNvPr>
            <p:cNvSpPr/>
            <p:nvPr/>
          </p:nvSpPr>
          <p:spPr bwMode="auto">
            <a:xfrm>
              <a:off x="9642183" y="1799294"/>
              <a:ext cx="19108" cy="17791"/>
            </a:xfrm>
            <a:custGeom>
              <a:avLst/>
              <a:gdLst>
                <a:gd name="T0" fmla="*/ 10 w 12"/>
                <a:gd name="T1" fmla="*/ 9 h 11"/>
                <a:gd name="T2" fmla="*/ 2 w 12"/>
                <a:gd name="T3" fmla="*/ 9 h 11"/>
                <a:gd name="T4" fmla="*/ 2 w 12"/>
                <a:gd name="T5" fmla="*/ 2 h 11"/>
                <a:gd name="T6" fmla="*/ 10 w 12"/>
                <a:gd name="T7" fmla="*/ 2 h 11"/>
                <a:gd name="T8" fmla="*/ 10 w 12"/>
                <a:gd name="T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1">
                  <a:moveTo>
                    <a:pt x="10" y="9"/>
                  </a:moveTo>
                  <a:cubicBezTo>
                    <a:pt x="8" y="11"/>
                    <a:pt x="5" y="11"/>
                    <a:pt x="2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5" y="0"/>
                    <a:pt x="8" y="0"/>
                    <a:pt x="10" y="2"/>
                  </a:cubicBezTo>
                  <a:cubicBezTo>
                    <a:pt x="12" y="4"/>
                    <a:pt x="12" y="7"/>
                    <a:pt x="10" y="9"/>
                  </a:cubicBezTo>
                  <a:close/>
                </a:path>
              </a:pathLst>
            </a:custGeom>
            <a:solidFill>
              <a:srgbClr val="B3B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/>
            </a:p>
          </p:txBody>
        </p:sp>
        <p:sp>
          <p:nvSpPr>
            <p:cNvPr id="58" name="îsḷîḍè">
              <a:extLst>
                <a:ext uri="{FF2B5EF4-FFF2-40B4-BE49-F238E27FC236}">
                  <a16:creationId xmlns:a16="http://schemas.microsoft.com/office/drawing/2014/main" id="{4F27F131-21E6-45E3-BE85-48105B19ABCF}"/>
                </a:ext>
              </a:extLst>
            </p:cNvPr>
            <p:cNvSpPr/>
            <p:nvPr/>
          </p:nvSpPr>
          <p:spPr bwMode="auto">
            <a:xfrm>
              <a:off x="9688306" y="1844100"/>
              <a:ext cx="19108" cy="19108"/>
            </a:xfrm>
            <a:custGeom>
              <a:avLst/>
              <a:gdLst>
                <a:gd name="T0" fmla="*/ 10 w 12"/>
                <a:gd name="T1" fmla="*/ 10 h 12"/>
                <a:gd name="T2" fmla="*/ 2 w 12"/>
                <a:gd name="T3" fmla="*/ 10 h 12"/>
                <a:gd name="T4" fmla="*/ 2 w 12"/>
                <a:gd name="T5" fmla="*/ 2 h 12"/>
                <a:gd name="T6" fmla="*/ 10 w 12"/>
                <a:gd name="T7" fmla="*/ 2 h 12"/>
                <a:gd name="T8" fmla="*/ 10 w 12"/>
                <a:gd name="T9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10" y="10"/>
                  </a:moveTo>
                  <a:cubicBezTo>
                    <a:pt x="8" y="12"/>
                    <a:pt x="4" y="12"/>
                    <a:pt x="2" y="10"/>
                  </a:cubicBezTo>
                  <a:cubicBezTo>
                    <a:pt x="0" y="8"/>
                    <a:pt x="0" y="5"/>
                    <a:pt x="2" y="2"/>
                  </a:cubicBezTo>
                  <a:cubicBezTo>
                    <a:pt x="4" y="0"/>
                    <a:pt x="8" y="0"/>
                    <a:pt x="10" y="2"/>
                  </a:cubicBezTo>
                  <a:cubicBezTo>
                    <a:pt x="12" y="5"/>
                    <a:pt x="12" y="8"/>
                    <a:pt x="10" y="10"/>
                  </a:cubicBezTo>
                  <a:close/>
                </a:path>
              </a:pathLst>
            </a:custGeom>
            <a:solidFill>
              <a:srgbClr val="B3B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/>
            </a:p>
          </p:txBody>
        </p:sp>
        <p:sp>
          <p:nvSpPr>
            <p:cNvPr id="59" name="iṧḷïďê">
              <a:extLst>
                <a:ext uri="{FF2B5EF4-FFF2-40B4-BE49-F238E27FC236}">
                  <a16:creationId xmlns:a16="http://schemas.microsoft.com/office/drawing/2014/main" id="{2E5728A6-918C-43AC-9F81-B52C4F166332}"/>
                </a:ext>
              </a:extLst>
            </p:cNvPr>
            <p:cNvSpPr/>
            <p:nvPr/>
          </p:nvSpPr>
          <p:spPr bwMode="auto">
            <a:xfrm>
              <a:off x="8431113" y="2531998"/>
              <a:ext cx="21085" cy="21085"/>
            </a:xfrm>
            <a:custGeom>
              <a:avLst/>
              <a:gdLst>
                <a:gd name="T0" fmla="*/ 11 w 13"/>
                <a:gd name="T1" fmla="*/ 11 h 13"/>
                <a:gd name="T2" fmla="*/ 3 w 13"/>
                <a:gd name="T3" fmla="*/ 11 h 13"/>
                <a:gd name="T4" fmla="*/ 3 w 13"/>
                <a:gd name="T5" fmla="*/ 3 h 13"/>
                <a:gd name="T6" fmla="*/ 11 w 13"/>
                <a:gd name="T7" fmla="*/ 3 h 13"/>
                <a:gd name="T8" fmla="*/ 11 w 13"/>
                <a:gd name="T9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3">
                  <a:moveTo>
                    <a:pt x="11" y="11"/>
                  </a:moveTo>
                  <a:cubicBezTo>
                    <a:pt x="9" y="13"/>
                    <a:pt x="5" y="13"/>
                    <a:pt x="3" y="11"/>
                  </a:cubicBezTo>
                  <a:cubicBezTo>
                    <a:pt x="0" y="9"/>
                    <a:pt x="0" y="5"/>
                    <a:pt x="3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13" y="5"/>
                    <a:pt x="13" y="9"/>
                    <a:pt x="11" y="11"/>
                  </a:cubicBezTo>
                  <a:close/>
                </a:path>
              </a:pathLst>
            </a:custGeom>
            <a:solidFill>
              <a:srgbClr val="B3B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/>
            </a:p>
          </p:txBody>
        </p:sp>
        <p:sp>
          <p:nvSpPr>
            <p:cNvPr id="60" name="ïṥľíďé">
              <a:extLst>
                <a:ext uri="{FF2B5EF4-FFF2-40B4-BE49-F238E27FC236}">
                  <a16:creationId xmlns:a16="http://schemas.microsoft.com/office/drawing/2014/main" id="{F66B7EAD-7104-4F23-9D92-D67DEE277E69}"/>
                </a:ext>
              </a:extLst>
            </p:cNvPr>
            <p:cNvSpPr/>
            <p:nvPr/>
          </p:nvSpPr>
          <p:spPr bwMode="auto">
            <a:xfrm>
              <a:off x="8482507" y="2583392"/>
              <a:ext cx="21085" cy="20426"/>
            </a:xfrm>
            <a:custGeom>
              <a:avLst/>
              <a:gdLst>
                <a:gd name="T0" fmla="*/ 11 w 13"/>
                <a:gd name="T1" fmla="*/ 11 h 13"/>
                <a:gd name="T2" fmla="*/ 2 w 13"/>
                <a:gd name="T3" fmla="*/ 11 h 13"/>
                <a:gd name="T4" fmla="*/ 2 w 13"/>
                <a:gd name="T5" fmla="*/ 2 h 13"/>
                <a:gd name="T6" fmla="*/ 11 w 13"/>
                <a:gd name="T7" fmla="*/ 2 h 13"/>
                <a:gd name="T8" fmla="*/ 11 w 13"/>
                <a:gd name="T9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3">
                  <a:moveTo>
                    <a:pt x="11" y="11"/>
                  </a:moveTo>
                  <a:cubicBezTo>
                    <a:pt x="8" y="13"/>
                    <a:pt x="5" y="13"/>
                    <a:pt x="2" y="11"/>
                  </a:cubicBezTo>
                  <a:cubicBezTo>
                    <a:pt x="0" y="8"/>
                    <a:pt x="0" y="5"/>
                    <a:pt x="2" y="2"/>
                  </a:cubicBezTo>
                  <a:cubicBezTo>
                    <a:pt x="5" y="0"/>
                    <a:pt x="8" y="0"/>
                    <a:pt x="11" y="2"/>
                  </a:cubicBezTo>
                  <a:cubicBezTo>
                    <a:pt x="13" y="5"/>
                    <a:pt x="13" y="8"/>
                    <a:pt x="11" y="11"/>
                  </a:cubicBezTo>
                  <a:close/>
                </a:path>
              </a:pathLst>
            </a:custGeom>
            <a:solidFill>
              <a:srgbClr val="B3B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/>
            </a:p>
          </p:txBody>
        </p:sp>
        <p:sp>
          <p:nvSpPr>
            <p:cNvPr id="61" name="ïs1îḑe">
              <a:extLst>
                <a:ext uri="{FF2B5EF4-FFF2-40B4-BE49-F238E27FC236}">
                  <a16:creationId xmlns:a16="http://schemas.microsoft.com/office/drawing/2014/main" id="{02861507-FB84-4DD1-B7AB-99611766D584}"/>
                </a:ext>
              </a:extLst>
            </p:cNvPr>
            <p:cNvSpPr/>
            <p:nvPr/>
          </p:nvSpPr>
          <p:spPr bwMode="auto">
            <a:xfrm>
              <a:off x="8533902" y="2634787"/>
              <a:ext cx="21085" cy="20426"/>
            </a:xfrm>
            <a:custGeom>
              <a:avLst/>
              <a:gdLst>
                <a:gd name="T0" fmla="*/ 11 w 13"/>
                <a:gd name="T1" fmla="*/ 11 h 13"/>
                <a:gd name="T2" fmla="*/ 2 w 13"/>
                <a:gd name="T3" fmla="*/ 11 h 13"/>
                <a:gd name="T4" fmla="*/ 2 w 13"/>
                <a:gd name="T5" fmla="*/ 2 h 13"/>
                <a:gd name="T6" fmla="*/ 11 w 13"/>
                <a:gd name="T7" fmla="*/ 2 h 13"/>
                <a:gd name="T8" fmla="*/ 11 w 13"/>
                <a:gd name="T9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3">
                  <a:moveTo>
                    <a:pt x="11" y="11"/>
                  </a:moveTo>
                  <a:cubicBezTo>
                    <a:pt x="8" y="13"/>
                    <a:pt x="4" y="13"/>
                    <a:pt x="2" y="11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13" y="4"/>
                    <a:pt x="13" y="8"/>
                    <a:pt x="11" y="11"/>
                  </a:cubicBezTo>
                  <a:close/>
                </a:path>
              </a:pathLst>
            </a:custGeom>
            <a:solidFill>
              <a:srgbClr val="B3B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/>
            </a:p>
          </p:txBody>
        </p:sp>
        <p:sp>
          <p:nvSpPr>
            <p:cNvPr id="62" name="ïş1iḍè">
              <a:extLst>
                <a:ext uri="{FF2B5EF4-FFF2-40B4-BE49-F238E27FC236}">
                  <a16:creationId xmlns:a16="http://schemas.microsoft.com/office/drawing/2014/main" id="{373E2125-FBB1-4796-B4F9-D8DEFD3AC4BC}"/>
                </a:ext>
              </a:extLst>
            </p:cNvPr>
            <p:cNvSpPr/>
            <p:nvPr/>
          </p:nvSpPr>
          <p:spPr bwMode="auto">
            <a:xfrm>
              <a:off x="8585297" y="2686182"/>
              <a:ext cx="21085" cy="20426"/>
            </a:xfrm>
            <a:custGeom>
              <a:avLst/>
              <a:gdLst>
                <a:gd name="T0" fmla="*/ 10 w 13"/>
                <a:gd name="T1" fmla="*/ 10 h 13"/>
                <a:gd name="T2" fmla="*/ 2 w 13"/>
                <a:gd name="T3" fmla="*/ 10 h 13"/>
                <a:gd name="T4" fmla="*/ 2 w 13"/>
                <a:gd name="T5" fmla="*/ 2 h 13"/>
                <a:gd name="T6" fmla="*/ 10 w 13"/>
                <a:gd name="T7" fmla="*/ 2 h 13"/>
                <a:gd name="T8" fmla="*/ 10 w 13"/>
                <a:gd name="T9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3">
                  <a:moveTo>
                    <a:pt x="10" y="10"/>
                  </a:moveTo>
                  <a:cubicBezTo>
                    <a:pt x="8" y="13"/>
                    <a:pt x="4" y="13"/>
                    <a:pt x="2" y="10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4" y="0"/>
                    <a:pt x="8" y="0"/>
                    <a:pt x="10" y="2"/>
                  </a:cubicBezTo>
                  <a:cubicBezTo>
                    <a:pt x="13" y="4"/>
                    <a:pt x="13" y="8"/>
                    <a:pt x="10" y="10"/>
                  </a:cubicBezTo>
                  <a:close/>
                </a:path>
              </a:pathLst>
            </a:custGeom>
            <a:solidFill>
              <a:srgbClr val="B3B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/>
            </a:p>
          </p:txBody>
        </p:sp>
        <p:sp>
          <p:nvSpPr>
            <p:cNvPr id="63" name="išḻiḑé">
              <a:extLst>
                <a:ext uri="{FF2B5EF4-FFF2-40B4-BE49-F238E27FC236}">
                  <a16:creationId xmlns:a16="http://schemas.microsoft.com/office/drawing/2014/main" id="{77B44145-9342-4ED3-9C6C-8477FC199B64}"/>
                </a:ext>
              </a:extLst>
            </p:cNvPr>
            <p:cNvSpPr/>
            <p:nvPr/>
          </p:nvSpPr>
          <p:spPr bwMode="auto">
            <a:xfrm>
              <a:off x="8634715" y="2735599"/>
              <a:ext cx="21085" cy="21085"/>
            </a:xfrm>
            <a:custGeom>
              <a:avLst/>
              <a:gdLst>
                <a:gd name="T0" fmla="*/ 11 w 13"/>
                <a:gd name="T1" fmla="*/ 11 h 13"/>
                <a:gd name="T2" fmla="*/ 3 w 13"/>
                <a:gd name="T3" fmla="*/ 11 h 13"/>
                <a:gd name="T4" fmla="*/ 3 w 13"/>
                <a:gd name="T5" fmla="*/ 3 h 13"/>
                <a:gd name="T6" fmla="*/ 11 w 13"/>
                <a:gd name="T7" fmla="*/ 3 h 13"/>
                <a:gd name="T8" fmla="*/ 11 w 13"/>
                <a:gd name="T9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3">
                  <a:moveTo>
                    <a:pt x="11" y="11"/>
                  </a:moveTo>
                  <a:cubicBezTo>
                    <a:pt x="9" y="13"/>
                    <a:pt x="5" y="13"/>
                    <a:pt x="3" y="11"/>
                  </a:cubicBezTo>
                  <a:cubicBezTo>
                    <a:pt x="0" y="9"/>
                    <a:pt x="0" y="5"/>
                    <a:pt x="3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13" y="5"/>
                    <a:pt x="13" y="9"/>
                    <a:pt x="11" y="11"/>
                  </a:cubicBezTo>
                  <a:close/>
                </a:path>
              </a:pathLst>
            </a:custGeom>
            <a:solidFill>
              <a:srgbClr val="B3B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/>
            </a:p>
          </p:txBody>
        </p:sp>
        <p:sp>
          <p:nvSpPr>
            <p:cNvPr id="64" name="ïṩ1íḍê">
              <a:extLst>
                <a:ext uri="{FF2B5EF4-FFF2-40B4-BE49-F238E27FC236}">
                  <a16:creationId xmlns:a16="http://schemas.microsoft.com/office/drawing/2014/main" id="{2B40BCD5-A8A6-4450-BF90-6ADE2623C6C3}"/>
                </a:ext>
              </a:extLst>
            </p:cNvPr>
            <p:cNvSpPr/>
            <p:nvPr/>
          </p:nvSpPr>
          <p:spPr bwMode="auto">
            <a:xfrm>
              <a:off x="8686109" y="2786994"/>
              <a:ext cx="21085" cy="20426"/>
            </a:xfrm>
            <a:custGeom>
              <a:avLst/>
              <a:gdLst>
                <a:gd name="T0" fmla="*/ 11 w 13"/>
                <a:gd name="T1" fmla="*/ 11 h 13"/>
                <a:gd name="T2" fmla="*/ 2 w 13"/>
                <a:gd name="T3" fmla="*/ 11 h 13"/>
                <a:gd name="T4" fmla="*/ 2 w 13"/>
                <a:gd name="T5" fmla="*/ 2 h 13"/>
                <a:gd name="T6" fmla="*/ 11 w 13"/>
                <a:gd name="T7" fmla="*/ 2 h 13"/>
                <a:gd name="T8" fmla="*/ 11 w 13"/>
                <a:gd name="T9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3">
                  <a:moveTo>
                    <a:pt x="11" y="11"/>
                  </a:moveTo>
                  <a:cubicBezTo>
                    <a:pt x="8" y="13"/>
                    <a:pt x="5" y="13"/>
                    <a:pt x="2" y="11"/>
                  </a:cubicBezTo>
                  <a:cubicBezTo>
                    <a:pt x="0" y="8"/>
                    <a:pt x="0" y="5"/>
                    <a:pt x="2" y="2"/>
                  </a:cubicBezTo>
                  <a:cubicBezTo>
                    <a:pt x="5" y="0"/>
                    <a:pt x="8" y="0"/>
                    <a:pt x="11" y="2"/>
                  </a:cubicBezTo>
                  <a:cubicBezTo>
                    <a:pt x="13" y="5"/>
                    <a:pt x="13" y="8"/>
                    <a:pt x="11" y="11"/>
                  </a:cubicBezTo>
                  <a:close/>
                </a:path>
              </a:pathLst>
            </a:custGeom>
            <a:solidFill>
              <a:srgbClr val="B3B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/>
            </a:p>
          </p:txBody>
        </p:sp>
        <p:sp>
          <p:nvSpPr>
            <p:cNvPr id="65" name="ïṥ1ïḍe">
              <a:extLst>
                <a:ext uri="{FF2B5EF4-FFF2-40B4-BE49-F238E27FC236}">
                  <a16:creationId xmlns:a16="http://schemas.microsoft.com/office/drawing/2014/main" id="{29B557A5-FA61-4AEC-B2C7-A2E41168D181}"/>
                </a:ext>
              </a:extLst>
            </p:cNvPr>
            <p:cNvSpPr/>
            <p:nvPr/>
          </p:nvSpPr>
          <p:spPr bwMode="auto">
            <a:xfrm>
              <a:off x="8346113" y="2219017"/>
              <a:ext cx="650341" cy="673402"/>
            </a:xfrm>
            <a:custGeom>
              <a:avLst/>
              <a:gdLst>
                <a:gd name="T0" fmla="*/ 405 w 405"/>
                <a:gd name="T1" fmla="*/ 15 h 420"/>
                <a:gd name="T2" fmla="*/ 0 w 405"/>
                <a:gd name="T3" fmla="*/ 420 h 420"/>
                <a:gd name="T4" fmla="*/ 237 w 405"/>
                <a:gd name="T5" fmla="*/ 142 h 420"/>
                <a:gd name="T6" fmla="*/ 405 w 405"/>
                <a:gd name="T7" fmla="*/ 15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5" h="420">
                  <a:moveTo>
                    <a:pt x="405" y="15"/>
                  </a:moveTo>
                  <a:cubicBezTo>
                    <a:pt x="0" y="420"/>
                    <a:pt x="0" y="420"/>
                    <a:pt x="0" y="420"/>
                  </a:cubicBezTo>
                  <a:cubicBezTo>
                    <a:pt x="0" y="420"/>
                    <a:pt x="94" y="285"/>
                    <a:pt x="237" y="142"/>
                  </a:cubicBezTo>
                  <a:cubicBezTo>
                    <a:pt x="379" y="0"/>
                    <a:pt x="405" y="15"/>
                    <a:pt x="405" y="15"/>
                  </a:cubicBezTo>
                  <a:close/>
                </a:path>
              </a:pathLst>
            </a:custGeom>
            <a:solidFill>
              <a:srgbClr val="EA34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66" name="îśľíḋê">
              <a:extLst>
                <a:ext uri="{FF2B5EF4-FFF2-40B4-BE49-F238E27FC236}">
                  <a16:creationId xmlns:a16="http://schemas.microsoft.com/office/drawing/2014/main" id="{9E9F9C6D-5DAB-46A0-A5AC-BA65A659690C}"/>
                </a:ext>
              </a:extLst>
            </p:cNvPr>
            <p:cNvSpPr/>
            <p:nvPr/>
          </p:nvSpPr>
          <p:spPr bwMode="auto">
            <a:xfrm>
              <a:off x="8346113" y="2243397"/>
              <a:ext cx="674062" cy="649023"/>
            </a:xfrm>
            <a:custGeom>
              <a:avLst/>
              <a:gdLst>
                <a:gd name="T0" fmla="*/ 405 w 420"/>
                <a:gd name="T1" fmla="*/ 0 h 405"/>
                <a:gd name="T2" fmla="*/ 0 w 420"/>
                <a:gd name="T3" fmla="*/ 405 h 405"/>
                <a:gd name="T4" fmla="*/ 278 w 420"/>
                <a:gd name="T5" fmla="*/ 168 h 405"/>
                <a:gd name="T6" fmla="*/ 405 w 420"/>
                <a:gd name="T7" fmla="*/ 0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0" h="405">
                  <a:moveTo>
                    <a:pt x="405" y="0"/>
                  </a:moveTo>
                  <a:cubicBezTo>
                    <a:pt x="0" y="405"/>
                    <a:pt x="0" y="405"/>
                    <a:pt x="0" y="405"/>
                  </a:cubicBezTo>
                  <a:cubicBezTo>
                    <a:pt x="0" y="405"/>
                    <a:pt x="135" y="311"/>
                    <a:pt x="278" y="168"/>
                  </a:cubicBezTo>
                  <a:cubicBezTo>
                    <a:pt x="420" y="26"/>
                    <a:pt x="405" y="0"/>
                    <a:pt x="405" y="0"/>
                  </a:cubicBezTo>
                  <a:close/>
                </a:path>
              </a:pathLst>
            </a:custGeom>
            <a:solidFill>
              <a:srgbClr val="AA2B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67" name="i$ľîḓè">
              <a:extLst>
                <a:ext uri="{FF2B5EF4-FFF2-40B4-BE49-F238E27FC236}">
                  <a16:creationId xmlns:a16="http://schemas.microsoft.com/office/drawing/2014/main" id="{4161F564-E95A-49FD-B084-1F4404BE52C6}"/>
                </a:ext>
              </a:extLst>
            </p:cNvPr>
            <p:cNvSpPr/>
            <p:nvPr/>
          </p:nvSpPr>
          <p:spPr bwMode="auto">
            <a:xfrm>
              <a:off x="9736406" y="1473795"/>
              <a:ext cx="48100" cy="341313"/>
            </a:xfrm>
            <a:custGeom>
              <a:avLst/>
              <a:gdLst>
                <a:gd name="T0" fmla="*/ 25 w 30"/>
                <a:gd name="T1" fmla="*/ 0 h 213"/>
                <a:gd name="T2" fmla="*/ 0 w 30"/>
                <a:gd name="T3" fmla="*/ 213 h 213"/>
                <a:gd name="T4" fmla="*/ 25 w 30"/>
                <a:gd name="T5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213">
                  <a:moveTo>
                    <a:pt x="25" y="0"/>
                  </a:moveTo>
                  <a:cubicBezTo>
                    <a:pt x="25" y="0"/>
                    <a:pt x="30" y="77"/>
                    <a:pt x="0" y="213"/>
                  </a:cubicBezTo>
                  <a:cubicBezTo>
                    <a:pt x="0" y="213"/>
                    <a:pt x="7" y="123"/>
                    <a:pt x="2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68" name="ValueBack1">
              <a:extLst>
                <a:ext uri="{FF2B5EF4-FFF2-40B4-BE49-F238E27FC236}">
                  <a16:creationId xmlns:a16="http://schemas.microsoft.com/office/drawing/2014/main" id="{FCF8342D-7956-4BCB-A0F5-79D896328746}"/>
                </a:ext>
              </a:extLst>
            </p:cNvPr>
            <p:cNvSpPr/>
            <p:nvPr/>
          </p:nvSpPr>
          <p:spPr>
            <a:xfrm>
              <a:off x="3535277" y="4021149"/>
              <a:ext cx="699244" cy="699242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F4BD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sz="1600" b="1" i="1" dirty="0">
                <a:solidFill>
                  <a:schemeClr val="accent1"/>
                </a:solidFill>
              </a:endParaRPr>
            </a:p>
          </p:txBody>
        </p:sp>
        <p:sp>
          <p:nvSpPr>
            <p:cNvPr id="69" name="ValueBack2">
              <a:extLst>
                <a:ext uri="{FF2B5EF4-FFF2-40B4-BE49-F238E27FC236}">
                  <a16:creationId xmlns:a16="http://schemas.microsoft.com/office/drawing/2014/main" id="{0574C198-937A-4408-A644-D37B1AE646CC}"/>
                </a:ext>
              </a:extLst>
            </p:cNvPr>
            <p:cNvSpPr/>
            <p:nvPr/>
          </p:nvSpPr>
          <p:spPr>
            <a:xfrm>
              <a:off x="5251955" y="2906089"/>
              <a:ext cx="699244" cy="699242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ED572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sz="1600" b="1" i="1" dirty="0">
                <a:solidFill>
                  <a:schemeClr val="accent1"/>
                </a:solidFill>
              </a:endParaRPr>
            </a:p>
          </p:txBody>
        </p:sp>
        <p:sp>
          <p:nvSpPr>
            <p:cNvPr id="70" name="ValueBack3">
              <a:extLst>
                <a:ext uri="{FF2B5EF4-FFF2-40B4-BE49-F238E27FC236}">
                  <a16:creationId xmlns:a16="http://schemas.microsoft.com/office/drawing/2014/main" id="{F94BD5D8-8EE5-40D4-8923-01F58D31510B}"/>
                </a:ext>
              </a:extLst>
            </p:cNvPr>
            <p:cNvSpPr/>
            <p:nvPr/>
          </p:nvSpPr>
          <p:spPr>
            <a:xfrm>
              <a:off x="6874315" y="3255710"/>
              <a:ext cx="699244" cy="699242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EA345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sz="1600" b="1" i="1" dirty="0">
                <a:solidFill>
                  <a:schemeClr val="accent1"/>
                </a:solidFill>
              </a:endParaRPr>
            </a:p>
          </p:txBody>
        </p:sp>
        <p:sp>
          <p:nvSpPr>
            <p:cNvPr id="71" name="ValueShape1">
              <a:extLst>
                <a:ext uri="{FF2B5EF4-FFF2-40B4-BE49-F238E27FC236}">
                  <a16:creationId xmlns:a16="http://schemas.microsoft.com/office/drawing/2014/main" id="{6A675654-DFCA-425D-AF13-3CD843EADD56}"/>
                </a:ext>
              </a:extLst>
            </p:cNvPr>
            <p:cNvSpPr/>
            <p:nvPr/>
          </p:nvSpPr>
          <p:spPr bwMode="auto">
            <a:xfrm flipH="1">
              <a:off x="3535276" y="4029715"/>
              <a:ext cx="699244" cy="699244"/>
            </a:xfrm>
            <a:prstGeom prst="pie">
              <a:avLst>
                <a:gd name="adj1" fmla="val 16200000"/>
                <a:gd name="adj2" fmla="val 9720000"/>
              </a:avLst>
            </a:prstGeom>
            <a:solidFill>
              <a:srgbClr val="F4BD31"/>
            </a:solidFill>
            <a:ln w="19050">
              <a:noFill/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72" name="ValueShape2">
              <a:extLst>
                <a:ext uri="{FF2B5EF4-FFF2-40B4-BE49-F238E27FC236}">
                  <a16:creationId xmlns:a16="http://schemas.microsoft.com/office/drawing/2014/main" id="{D312DA48-14A4-4ACF-BBC7-29A2D5811E79}"/>
                </a:ext>
              </a:extLst>
            </p:cNvPr>
            <p:cNvSpPr/>
            <p:nvPr/>
          </p:nvSpPr>
          <p:spPr bwMode="auto">
            <a:xfrm flipH="1">
              <a:off x="5251955" y="2902479"/>
              <a:ext cx="699244" cy="699244"/>
            </a:xfrm>
            <a:prstGeom prst="pie">
              <a:avLst>
                <a:gd name="adj1" fmla="val 16200000"/>
                <a:gd name="adj2" fmla="val 5400000"/>
              </a:avLst>
            </a:prstGeom>
            <a:solidFill>
              <a:srgbClr val="ED572F"/>
            </a:solidFill>
            <a:ln w="19050">
              <a:noFill/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73" name="ValueShape3">
              <a:extLst>
                <a:ext uri="{FF2B5EF4-FFF2-40B4-BE49-F238E27FC236}">
                  <a16:creationId xmlns:a16="http://schemas.microsoft.com/office/drawing/2014/main" id="{F44B064F-35DA-4D7F-B85D-FBA66084D07F}"/>
                </a:ext>
              </a:extLst>
            </p:cNvPr>
            <p:cNvSpPr/>
            <p:nvPr/>
          </p:nvSpPr>
          <p:spPr bwMode="auto">
            <a:xfrm flipH="1">
              <a:off x="6865054" y="3258633"/>
              <a:ext cx="699244" cy="699244"/>
            </a:xfrm>
            <a:prstGeom prst="pie">
              <a:avLst>
                <a:gd name="adj1" fmla="val 16200000"/>
                <a:gd name="adj2" fmla="val 9936000"/>
              </a:avLst>
            </a:prstGeom>
            <a:solidFill>
              <a:srgbClr val="EA3453"/>
            </a:solidFill>
            <a:ln w="19050">
              <a:noFill/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74" name="ValueText1">
              <a:extLst>
                <a:ext uri="{FF2B5EF4-FFF2-40B4-BE49-F238E27FC236}">
                  <a16:creationId xmlns:a16="http://schemas.microsoft.com/office/drawing/2014/main" id="{5A75AA2F-0978-4874-BA4F-FD9FD3FADE6A}"/>
                </a:ext>
              </a:extLst>
            </p:cNvPr>
            <p:cNvSpPr txBox="1"/>
            <p:nvPr/>
          </p:nvSpPr>
          <p:spPr>
            <a:xfrm>
              <a:off x="3111043" y="4987669"/>
              <a:ext cx="601126" cy="450844"/>
            </a:xfrm>
            <a:prstGeom prst="rect">
              <a:avLst/>
            </a:prstGeom>
            <a:noFill/>
          </p:spPr>
          <p:txBody>
            <a:bodyPr wrap="square" tIns="90000" bIns="90000" anchor="ctr" anchorCtr="0">
              <a:prstTxWarp prst="textPlain">
                <a:avLst/>
              </a:prstTxWarp>
              <a:noAutofit/>
            </a:bodyPr>
            <a:lstStyle/>
            <a:p>
              <a:endParaRPr lang="en-US" sz="400" dirty="0">
                <a:solidFill>
                  <a:srgbClr val="F4BD31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77" name="CustomText">
              <a:extLst>
                <a:ext uri="{FF2B5EF4-FFF2-40B4-BE49-F238E27FC236}">
                  <a16:creationId xmlns:a16="http://schemas.microsoft.com/office/drawing/2014/main" id="{CEA5EFE8-4E75-4DED-BEE7-BCFDB0AD221B}"/>
                </a:ext>
              </a:extLst>
            </p:cNvPr>
            <p:cNvSpPr/>
            <p:nvPr/>
          </p:nvSpPr>
          <p:spPr>
            <a:xfrm>
              <a:off x="3644415" y="4766569"/>
              <a:ext cx="1885515" cy="271035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92500" lnSpcReduction="20000"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b="1" i="0" strike="noStrike" kern="1200" cap="none" spc="0" normalizeH="0" baseline="0" noProof="0" dirty="0">
                  <a:effectLst/>
                  <a:uLnTx/>
                  <a:uFillTx/>
                </a:rPr>
                <a:t>结构占比变化</a:t>
              </a:r>
              <a:endParaRPr kumimoji="0" lang="en-US" altLang="zh-CN" b="1" i="0" strike="noStrike" kern="1200" cap="none" spc="0" normalizeH="0" baseline="0" noProof="0" dirty="0">
                <a:effectLst/>
                <a:uLnTx/>
                <a:uFillTx/>
              </a:endParaRPr>
            </a:p>
          </p:txBody>
        </p:sp>
        <p:sp>
          <p:nvSpPr>
            <p:cNvPr id="78" name="CustomText1">
              <a:extLst>
                <a:ext uri="{FF2B5EF4-FFF2-40B4-BE49-F238E27FC236}">
                  <a16:creationId xmlns:a16="http://schemas.microsoft.com/office/drawing/2014/main" id="{F94B9C5F-E4A8-4F9C-A375-2BED1E200708}"/>
                </a:ext>
              </a:extLst>
            </p:cNvPr>
            <p:cNvSpPr/>
            <p:nvPr/>
          </p:nvSpPr>
          <p:spPr>
            <a:xfrm>
              <a:off x="3716062" y="4957462"/>
              <a:ext cx="1885515" cy="1161238"/>
            </a:xfrm>
            <a:prstGeom prst="rect">
              <a:avLst/>
            </a:prstGeom>
            <a:noFill/>
          </p:spPr>
          <p:txBody>
            <a:bodyPr wrap="none" lIns="90000" tIns="46800" rIns="90000" bIns="46800" anchor="ctr">
              <a:normAutofit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SPM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：左移：减少；</a:t>
              </a:r>
              <a:endParaRPr kumimoji="0" lang="en-US" altLang="zh-CN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  <a:p>
              <a:pPr>
                <a:defRPr/>
              </a:pPr>
              <a:r>
                <a:rPr lang="zh-CN" altLang="en-US" sz="1600" b="1" dirty="0"/>
                <a:t>商超：基本不变；</a:t>
              </a:r>
              <a:endParaRPr kumimoji="0" lang="en-US" altLang="zh-CN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地铺：左移：减少；</a:t>
              </a:r>
              <a:endParaRPr kumimoji="0" lang="en-US" altLang="zh-CN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600" b="1" dirty="0"/>
                <a:t>特卖：基本不变；</a:t>
              </a:r>
              <a:endParaRPr lang="en-US" altLang="zh-CN" sz="1600" b="1" dirty="0"/>
            </a:p>
          </p:txBody>
        </p:sp>
        <p:sp>
          <p:nvSpPr>
            <p:cNvPr id="79" name="CustomText">
              <a:extLst>
                <a:ext uri="{FF2B5EF4-FFF2-40B4-BE49-F238E27FC236}">
                  <a16:creationId xmlns:a16="http://schemas.microsoft.com/office/drawing/2014/main" id="{2018021A-A058-48C5-A68F-48B998C29E27}"/>
                </a:ext>
              </a:extLst>
            </p:cNvPr>
            <p:cNvSpPr/>
            <p:nvPr/>
          </p:nvSpPr>
          <p:spPr>
            <a:xfrm>
              <a:off x="5441491" y="1555905"/>
              <a:ext cx="1885515" cy="271035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92500" lnSpcReduction="20000"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b="1" i="0" strike="noStrike" kern="1200" cap="none" spc="0" normalizeH="0" baseline="0" noProof="0" dirty="0">
                  <a:effectLst/>
                  <a:uLnTx/>
                  <a:uFillTx/>
                </a:rPr>
                <a:t>规模变化</a:t>
              </a:r>
              <a:endParaRPr kumimoji="0" lang="en-US" altLang="zh-CN" b="1" i="0" strike="noStrike" kern="1200" cap="none" spc="0" normalizeH="0" baseline="0" noProof="0" dirty="0">
                <a:effectLst/>
                <a:uLnTx/>
                <a:uFillTx/>
              </a:endParaRPr>
            </a:p>
          </p:txBody>
        </p:sp>
        <p:sp>
          <p:nvSpPr>
            <p:cNvPr id="80" name="CustomText1">
              <a:extLst>
                <a:ext uri="{FF2B5EF4-FFF2-40B4-BE49-F238E27FC236}">
                  <a16:creationId xmlns:a16="http://schemas.microsoft.com/office/drawing/2014/main" id="{410C6629-5E96-4D4A-8B6F-C7071B10C44F}"/>
                </a:ext>
              </a:extLst>
            </p:cNvPr>
            <p:cNvSpPr/>
            <p:nvPr/>
          </p:nvSpPr>
          <p:spPr>
            <a:xfrm>
              <a:off x="5428552" y="1891845"/>
              <a:ext cx="2033403" cy="1054908"/>
            </a:xfrm>
            <a:prstGeom prst="rect">
              <a:avLst/>
            </a:prstGeom>
            <a:noFill/>
          </p:spPr>
          <p:txBody>
            <a:bodyPr wrap="none" lIns="90000" tIns="46800" rIns="90000" bIns="46800" anchor="ctr">
              <a:noAutofit/>
            </a:bodyPr>
            <a:lstStyle/>
            <a:p>
              <a:pPr lvl="0">
                <a:defRPr/>
              </a:pPr>
              <a:r>
                <a:rPr lang="en-US" altLang="zh-CN" sz="1600" b="1" dirty="0"/>
                <a:t>SPM</a:t>
              </a:r>
              <a:r>
                <a:rPr lang="zh-CN" altLang="en-US" sz="1600" b="1" dirty="0"/>
                <a:t>： 增加；</a:t>
              </a:r>
              <a:endParaRPr lang="en-US" altLang="zh-CN" sz="1600" b="1" dirty="0"/>
            </a:p>
            <a:p>
              <a:pPr>
                <a:defRPr/>
              </a:pPr>
              <a:r>
                <a:rPr lang="zh-CN" altLang="en-US" sz="1600" b="1" dirty="0"/>
                <a:t>商超：</a:t>
              </a:r>
              <a:r>
                <a:rPr lang="en-US" altLang="zh-CN" sz="1600" b="1" dirty="0"/>
                <a:t>  </a:t>
              </a:r>
              <a:r>
                <a:rPr lang="zh-CN" altLang="en-US" sz="1600" b="1" dirty="0"/>
                <a:t>增加；</a:t>
              </a:r>
              <a:endParaRPr lang="en-US" altLang="zh-CN" sz="1600" b="1" dirty="0"/>
            </a:p>
            <a:p>
              <a:pPr lvl="0">
                <a:defRPr/>
              </a:pPr>
              <a:r>
                <a:rPr lang="zh-CN" altLang="en-US" sz="1600" b="1" dirty="0"/>
                <a:t>地铺： 减少；</a:t>
              </a:r>
              <a:endParaRPr lang="en-US" altLang="zh-CN" sz="1600" b="1" dirty="0"/>
            </a:p>
            <a:p>
              <a:pPr lvl="0">
                <a:defRPr/>
              </a:pPr>
              <a:r>
                <a:rPr lang="zh-CN" altLang="en-US" sz="1600" b="1" dirty="0"/>
                <a:t>特卖：</a:t>
              </a:r>
              <a:r>
                <a:rPr lang="en-US" altLang="zh-CN" sz="1600" b="1" dirty="0"/>
                <a:t> </a:t>
              </a:r>
              <a:r>
                <a:rPr lang="zh-CN" altLang="en-US" sz="1600" b="1" dirty="0"/>
                <a:t>不变；</a:t>
              </a:r>
              <a:endParaRPr lang="en-US" altLang="zh-CN" sz="1600" b="1" dirty="0"/>
            </a:p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600" dirty="0"/>
                <a:t>；</a:t>
              </a:r>
              <a:endParaRPr kumimoji="0" lang="en-US" altLang="zh-CN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  <p:sp>
          <p:nvSpPr>
            <p:cNvPr id="81" name="CustomText">
              <a:extLst>
                <a:ext uri="{FF2B5EF4-FFF2-40B4-BE49-F238E27FC236}">
                  <a16:creationId xmlns:a16="http://schemas.microsoft.com/office/drawing/2014/main" id="{6B282B0B-9AC6-41E3-87F1-DACF09B433A0}"/>
                </a:ext>
              </a:extLst>
            </p:cNvPr>
            <p:cNvSpPr/>
            <p:nvPr/>
          </p:nvSpPr>
          <p:spPr>
            <a:xfrm>
              <a:off x="7204036" y="4273772"/>
              <a:ext cx="1885515" cy="271035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Autofit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b="1" i="0" strike="noStrike" kern="1200" cap="none" spc="0" normalizeH="0" baseline="0" noProof="0" dirty="0">
                  <a:effectLst/>
                  <a:uLnTx/>
                  <a:uFillTx/>
                </a:rPr>
                <a:t>最终结果占比</a:t>
              </a:r>
              <a:endParaRPr kumimoji="0" lang="en-US" altLang="zh-CN" b="1" i="0" strike="noStrike" kern="1200" cap="none" spc="0" normalizeH="0" baseline="0" noProof="0" dirty="0">
                <a:effectLst/>
                <a:uLnTx/>
                <a:uFillTx/>
              </a:endParaRPr>
            </a:p>
          </p:txBody>
        </p:sp>
        <p:sp>
          <p:nvSpPr>
            <p:cNvPr id="82" name="CustomText1">
              <a:extLst>
                <a:ext uri="{FF2B5EF4-FFF2-40B4-BE49-F238E27FC236}">
                  <a16:creationId xmlns:a16="http://schemas.microsoft.com/office/drawing/2014/main" id="{EB034194-367A-4F95-BA56-7C40AF469383}"/>
                </a:ext>
              </a:extLst>
            </p:cNvPr>
            <p:cNvSpPr/>
            <p:nvPr/>
          </p:nvSpPr>
          <p:spPr>
            <a:xfrm>
              <a:off x="6640774" y="4658490"/>
              <a:ext cx="2476260" cy="1444436"/>
            </a:xfrm>
            <a:prstGeom prst="rect">
              <a:avLst/>
            </a:prstGeom>
            <a:noFill/>
          </p:spPr>
          <p:txBody>
            <a:bodyPr wrap="none" lIns="90000" tIns="46800" rIns="90000" bIns="46800" anchor="ctr">
              <a:normAutofit/>
            </a:bodyPr>
            <a:lstStyle/>
            <a:p>
              <a:pPr lvl="0">
                <a:defRPr/>
              </a:pPr>
              <a:r>
                <a:rPr lang="en-US" altLang="zh-CN" b="1" dirty="0"/>
                <a:t>SPM</a:t>
              </a:r>
              <a:r>
                <a:rPr lang="zh-CN" altLang="en-US" b="1" dirty="0"/>
                <a:t>：增加（份额增加</a:t>
              </a:r>
              <a:r>
                <a:rPr lang="en-US" altLang="zh-CN" b="1" dirty="0"/>
                <a:t>&gt;</a:t>
              </a:r>
              <a:r>
                <a:rPr lang="zh-CN" altLang="en-US" b="1" dirty="0"/>
                <a:t>占比较少）；</a:t>
              </a:r>
              <a:endParaRPr lang="en-US" altLang="zh-CN" b="1" dirty="0"/>
            </a:p>
            <a:p>
              <a:pPr>
                <a:defRPr/>
              </a:pPr>
              <a:r>
                <a:rPr lang="zh-CN" altLang="en-US" b="1" dirty="0"/>
                <a:t>商超：增加（份额增加</a:t>
              </a:r>
              <a:r>
                <a:rPr lang="en-US" altLang="zh-CN" b="1" dirty="0"/>
                <a:t>&gt;</a:t>
              </a:r>
              <a:r>
                <a:rPr lang="zh-CN" altLang="en-US" b="1" dirty="0"/>
                <a:t>占比减少） ；</a:t>
              </a:r>
              <a:endParaRPr lang="en-US" altLang="zh-CN" b="1" dirty="0"/>
            </a:p>
            <a:p>
              <a:pPr lvl="0">
                <a:defRPr/>
              </a:pPr>
              <a:r>
                <a:rPr lang="zh-CN" altLang="en-US" b="1" dirty="0"/>
                <a:t>地铺：减少；</a:t>
              </a:r>
              <a:endParaRPr lang="en-US" altLang="zh-CN" b="1" dirty="0"/>
            </a:p>
            <a:p>
              <a:pPr lvl="0">
                <a:defRPr/>
              </a:pPr>
              <a:r>
                <a:rPr lang="zh-CN" altLang="en-US" b="1" dirty="0"/>
                <a:t>特卖：不变；</a:t>
              </a:r>
              <a:endParaRPr lang="en-US" altLang="zh-CN" b="1" dirty="0"/>
            </a:p>
            <a:p>
              <a:pPr lvl="0">
                <a:defRPr/>
              </a:pPr>
              <a:endParaRPr lang="en-US" altLang="zh-CN" b="1" dirty="0"/>
            </a:p>
          </p:txBody>
        </p:sp>
      </p:grpSp>
      <p:sp>
        <p:nvSpPr>
          <p:cNvPr id="83" name="文本框 82">
            <a:extLst>
              <a:ext uri="{FF2B5EF4-FFF2-40B4-BE49-F238E27FC236}">
                <a16:creationId xmlns:a16="http://schemas.microsoft.com/office/drawing/2014/main" id="{A0A77A23-D011-4740-8695-76BBDED3B9B8}"/>
              </a:ext>
            </a:extLst>
          </p:cNvPr>
          <p:cNvSpPr txBox="1"/>
          <p:nvPr/>
        </p:nvSpPr>
        <p:spPr>
          <a:xfrm>
            <a:off x="7334865" y="412955"/>
            <a:ext cx="3834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结构变化*规模变化 </a:t>
            </a:r>
            <a:r>
              <a:rPr lang="en-US" altLang="zh-CN" dirty="0"/>
              <a:t>= </a:t>
            </a:r>
            <a:r>
              <a:rPr lang="zh-CN" altLang="en-US" dirty="0"/>
              <a:t>综合占比</a:t>
            </a:r>
          </a:p>
        </p:txBody>
      </p:sp>
      <p:sp>
        <p:nvSpPr>
          <p:cNvPr id="86" name="文本框 85">
            <a:extLst>
              <a:ext uri="{FF2B5EF4-FFF2-40B4-BE49-F238E27FC236}">
                <a16:creationId xmlns:a16="http://schemas.microsoft.com/office/drawing/2014/main" id="{18009F21-2A8B-4719-B059-47328994F8A2}"/>
              </a:ext>
            </a:extLst>
          </p:cNvPr>
          <p:cNvSpPr txBox="1"/>
          <p:nvPr/>
        </p:nvSpPr>
        <p:spPr>
          <a:xfrm>
            <a:off x="876799" y="2121834"/>
            <a:ext cx="474213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/>
              <a:t>男</a:t>
            </a:r>
            <a:r>
              <a:rPr lang="en-US" altLang="zh-CN" sz="3200" b="1" dirty="0"/>
              <a:t>-</a:t>
            </a:r>
            <a:r>
              <a:rPr lang="zh-CN" altLang="en-US" sz="3200" b="1" dirty="0"/>
              <a:t>毛衫变化</a:t>
            </a:r>
            <a:r>
              <a:rPr lang="en-US" altLang="zh-CN" sz="3200" b="1" dirty="0"/>
              <a:t>(18</a:t>
            </a:r>
            <a:r>
              <a:rPr lang="zh-CN" altLang="en-US" sz="3200" b="1" dirty="0"/>
              <a:t>比</a:t>
            </a:r>
            <a:r>
              <a:rPr lang="en-US" altLang="zh-CN" sz="3200" b="1" dirty="0"/>
              <a:t>17</a:t>
            </a:r>
            <a:r>
              <a:rPr lang="zh-CN" altLang="en-US" sz="3200" b="1" dirty="0"/>
              <a:t>）</a:t>
            </a:r>
          </a:p>
        </p:txBody>
      </p:sp>
    </p:spTree>
    <p:extLst>
      <p:ext uri="{BB962C8B-B14F-4D97-AF65-F5344CB8AC3E}">
        <p14:creationId xmlns:p14="http://schemas.microsoft.com/office/powerpoint/2010/main" val="32021977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8AFF703A-F875-40ED-BFDB-9884FE847C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24" y="1053426"/>
            <a:ext cx="10850563" cy="4005419"/>
          </a:xfrm>
          <a:prstGeom prst="rect">
            <a:avLst/>
          </a:prstGeom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41373E77-EF27-4922-A2C5-236B80EF8B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最终结果趋势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D6A2C6CF-6321-4440-8284-695692320A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1A9D85A5-514C-4801-8885-6578202DE75B}"/>
              </a:ext>
            </a:extLst>
          </p:cNvPr>
          <p:cNvSpPr txBox="1"/>
          <p:nvPr/>
        </p:nvSpPr>
        <p:spPr>
          <a:xfrm>
            <a:off x="5466303" y="514350"/>
            <a:ext cx="63304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加权结果：男毛衫减少</a:t>
            </a:r>
            <a:r>
              <a:rPr lang="en-US" altLang="zh-CN" dirty="0"/>
              <a:t>4%</a:t>
            </a:r>
            <a:r>
              <a:rPr lang="zh-CN" altLang="en-US" dirty="0"/>
              <a:t>；其中地铺下降</a:t>
            </a:r>
            <a:r>
              <a:rPr lang="en-US" altLang="zh-CN" dirty="0"/>
              <a:t>4%</a:t>
            </a:r>
            <a:r>
              <a:rPr lang="zh-CN" altLang="en-US" dirty="0"/>
              <a:t>*</a:t>
            </a:r>
            <a:r>
              <a:rPr lang="en-US" altLang="zh-CN" dirty="0"/>
              <a:t>122%=4.8%</a:t>
            </a:r>
          </a:p>
          <a:p>
            <a:endParaRPr lang="zh-CN" altLang="en-US" dirty="0"/>
          </a:p>
        </p:txBody>
      </p:sp>
      <p:sp>
        <p:nvSpPr>
          <p:cNvPr id="17" name="ValueText">
            <a:extLst>
              <a:ext uri="{FF2B5EF4-FFF2-40B4-BE49-F238E27FC236}">
                <a16:creationId xmlns:a16="http://schemas.microsoft.com/office/drawing/2014/main" id="{62739E1B-E3C3-42D1-AC73-7640B639B2AF}"/>
              </a:ext>
            </a:extLst>
          </p:cNvPr>
          <p:cNvSpPr txBox="1"/>
          <p:nvPr/>
        </p:nvSpPr>
        <p:spPr>
          <a:xfrm>
            <a:off x="9988862" y="5527985"/>
            <a:ext cx="1047156" cy="769100"/>
          </a:xfrm>
          <a:prstGeom prst="rect">
            <a:avLst/>
          </a:prstGeom>
          <a:noFill/>
          <a:ln>
            <a:noFill/>
          </a:ln>
        </p:spPr>
        <p:txBody>
          <a:bodyPr wrap="square" tIns="90000" bIns="90000" anchor="ctr" anchorCtr="0">
            <a:prstTxWarp prst="textPlain">
              <a:avLst/>
            </a:prstTxWarp>
            <a:noAutofit/>
          </a:bodyPr>
          <a:lstStyle/>
          <a:p>
            <a:pPr>
              <a:lnSpc>
                <a:spcPct val="130000"/>
              </a:lnSpc>
            </a:pPr>
            <a:r>
              <a:rPr lang="en-US" altLang="zh-CN" sz="700" dirty="0">
                <a:solidFill>
                  <a:schemeClr val="accent1">
                    <a:lumMod val="60000"/>
                    <a:lumOff val="40000"/>
                  </a:schemeClr>
                </a:solidFill>
                <a:latin typeface=""/>
                <a:ea typeface="微软雅黑" panose="020B0503020204020204" pitchFamily="34" charset="-122"/>
                <a:sym typeface=""/>
              </a:rPr>
              <a:t>2.3%</a:t>
            </a:r>
            <a:endParaRPr lang="en-US" sz="700" dirty="0">
              <a:solidFill>
                <a:schemeClr val="accent1">
                  <a:lumMod val="60000"/>
                  <a:lumOff val="40000"/>
                </a:schemeClr>
              </a:solidFill>
              <a:latin typeface=""/>
              <a:ea typeface="微软雅黑" panose="020B0503020204020204" pitchFamily="34" charset="-122"/>
              <a:sym typeface="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C223D80A-8642-4153-872F-EF58D5D7BCF2}"/>
              </a:ext>
            </a:extLst>
          </p:cNvPr>
          <p:cNvSpPr txBox="1"/>
          <p:nvPr/>
        </p:nvSpPr>
        <p:spPr>
          <a:xfrm>
            <a:off x="7651894" y="5523246"/>
            <a:ext cx="210223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sz="2400" dirty="0"/>
          </a:p>
          <a:p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结构误差率：</a:t>
            </a:r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AEC2F34C-DE43-4628-9065-DBFC625E8D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924" y="5186265"/>
            <a:ext cx="4576688" cy="1062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2412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595366" y="2311578"/>
            <a:ext cx="5419185" cy="895350"/>
          </a:xfrm>
        </p:spPr>
        <p:txBody>
          <a:bodyPr/>
          <a:lstStyle/>
          <a:p>
            <a:pPr>
              <a:lnSpc>
                <a:spcPct val="130000"/>
              </a:lnSpc>
            </a:pPr>
            <a:r>
              <a:rPr lang="zh-CN" altLang="en-US" dirty="0">
                <a:solidFill>
                  <a:schemeClr val="accent3"/>
                </a:solidFill>
                <a:latin typeface=""/>
                <a:ea typeface="微软雅黑" panose="020B0503020204020204" pitchFamily="34" charset="-122"/>
                <a:sym typeface=""/>
              </a:rPr>
              <a:t>模型原理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2595366" y="3206928"/>
            <a:ext cx="5419185" cy="1015623"/>
          </a:xfrm>
        </p:spPr>
        <p:txBody>
          <a:bodyPr/>
          <a:lstStyle/>
          <a:p>
            <a:pPr lvl="0">
              <a:lnSpc>
                <a:spcPct val="130000"/>
              </a:lnSpc>
              <a:spcBef>
                <a:spcPts val="0"/>
              </a:spcBef>
            </a:pPr>
            <a:r>
              <a:rPr lang="zh-CN" altLang="en-US" dirty="0">
                <a:solidFill>
                  <a:schemeClr val="accent3"/>
                </a:solidFill>
                <a:latin typeface=""/>
                <a:ea typeface="微软雅黑" panose="020B0503020204020204" pitchFamily="34" charset="-122"/>
                <a:sym typeface=""/>
              </a:rPr>
              <a:t>模型考虑的主要方面</a:t>
            </a:r>
            <a:endParaRPr lang="en-US" altLang="zh-CN" dirty="0">
              <a:solidFill>
                <a:schemeClr val="accent3"/>
              </a:solidFill>
              <a:latin typeface=""/>
              <a:ea typeface="微软雅黑" panose="020B0503020204020204" pitchFamily="34" charset="-122"/>
              <a:sym typeface=""/>
            </a:endParaRPr>
          </a:p>
          <a:p>
            <a:pPr lvl="0">
              <a:lnSpc>
                <a:spcPct val="130000"/>
              </a:lnSpc>
              <a:spcBef>
                <a:spcPts val="0"/>
              </a:spcBef>
            </a:pPr>
            <a:r>
              <a:rPr lang="zh-CN" altLang="en-US" dirty="0">
                <a:solidFill>
                  <a:schemeClr val="accent3"/>
                </a:solidFill>
                <a:latin typeface=""/>
                <a:ea typeface="微软雅黑" panose="020B0503020204020204" pitchFamily="34" charset="-122"/>
                <a:sym typeface=""/>
              </a:rPr>
              <a:t>模型的计算逻辑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362392" y="2819389"/>
            <a:ext cx="1029774" cy="89535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zh-CN" spc="100" dirty="0">
                <a:solidFill>
                  <a:schemeClr val="accent3"/>
                </a:solidFill>
                <a:latin typeface="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/02</a:t>
            </a:r>
            <a:endParaRPr lang="zh-CN" altLang="en-US" spc="100" dirty="0">
              <a:solidFill>
                <a:schemeClr val="accent3"/>
              </a:solidFill>
              <a:latin typeface="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378169114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3EB85B5-B590-4CAC-9AEF-4494F146A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r>
              <a:rPr lang="zh-CN" altLang="en-US" dirty="0">
                <a:latin typeface=""/>
                <a:ea typeface="微软雅黑" panose="020B0503020204020204" pitchFamily="34" charset="-122"/>
                <a:sym typeface=""/>
              </a:rPr>
              <a:t>项目背景介绍</a:t>
            </a:r>
            <a:r>
              <a:rPr lang="en-US" altLang="zh-CN" dirty="0">
                <a:latin typeface=""/>
                <a:ea typeface="微软雅黑" panose="020B0503020204020204" pitchFamily="34" charset="-122"/>
                <a:sym typeface=""/>
              </a:rPr>
              <a:t>——</a:t>
            </a:r>
            <a:r>
              <a:rPr lang="zh-CN" altLang="en-US" b="0" dirty="0">
                <a:latin typeface=""/>
                <a:ea typeface="微软雅黑" panose="020B0503020204020204" pitchFamily="34" charset="-122"/>
                <a:sym typeface=""/>
              </a:rPr>
              <a:t>思路汇总</a:t>
            </a:r>
            <a:endParaRPr lang="zh-CN" altLang="en-US" dirty="0">
              <a:latin typeface=""/>
              <a:ea typeface="微软雅黑" panose="020B0503020204020204" pitchFamily="34" charset="-122"/>
              <a:sym typeface="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611BD17-C174-4D4E-A8B1-6EC2ED56F8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fld id="{5DD3DB80-B894-403A-B48E-6FDC1A72010E}" type="slidenum">
              <a:rPr lang="zh-CN" altLang="en-US" smtClean="0">
                <a:latin typeface=""/>
                <a:ea typeface="微软雅黑" panose="020B0503020204020204" pitchFamily="34" charset="-122"/>
                <a:sym typeface=""/>
              </a:rPr>
              <a:pPr>
                <a:lnSpc>
                  <a:spcPct val="130000"/>
                </a:lnSpc>
              </a:pPr>
              <a:t>15</a:t>
            </a:fld>
            <a:endParaRPr lang="zh-CN" altLang="en-US">
              <a:latin typeface=""/>
              <a:ea typeface="微软雅黑" panose="020B0503020204020204" pitchFamily="34" charset="-122"/>
              <a:sym typeface=""/>
            </a:endParaRPr>
          </a:p>
        </p:txBody>
      </p:sp>
      <p:grpSp>
        <p:nvGrpSpPr>
          <p:cNvPr id="5" name="22439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1F42C573-6B93-44FE-B94C-C67AF01DD40E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73100" y="1130265"/>
            <a:ext cx="10849432" cy="5727735"/>
            <a:chOff x="673100" y="1130300"/>
            <a:chExt cx="10849432" cy="5727735"/>
          </a:xfrm>
        </p:grpSpPr>
        <p:sp>
          <p:nvSpPr>
            <p:cNvPr id="6" name="íśļíďê">
              <a:extLst>
                <a:ext uri="{FF2B5EF4-FFF2-40B4-BE49-F238E27FC236}">
                  <a16:creationId xmlns:a16="http://schemas.microsoft.com/office/drawing/2014/main" id="{1921DB37-A430-416A-AD22-0317804BFDBF}"/>
                </a:ext>
              </a:extLst>
            </p:cNvPr>
            <p:cNvSpPr/>
            <p:nvPr/>
          </p:nvSpPr>
          <p:spPr bwMode="auto">
            <a:xfrm>
              <a:off x="6678830" y="3247365"/>
              <a:ext cx="1833563" cy="1826567"/>
            </a:xfrm>
            <a:custGeom>
              <a:avLst/>
              <a:gdLst>
                <a:gd name="T0" fmla="*/ 586 w 586"/>
                <a:gd name="T1" fmla="*/ 0 h 835"/>
                <a:gd name="T2" fmla="*/ 515 w 586"/>
                <a:gd name="T3" fmla="*/ 8 h 835"/>
                <a:gd name="T4" fmla="*/ 515 w 586"/>
                <a:gd name="T5" fmla="*/ 0 h 835"/>
                <a:gd name="T6" fmla="*/ 491 w 586"/>
                <a:gd name="T7" fmla="*/ 8 h 835"/>
                <a:gd name="T8" fmla="*/ 468 w 586"/>
                <a:gd name="T9" fmla="*/ 8 h 835"/>
                <a:gd name="T10" fmla="*/ 444 w 586"/>
                <a:gd name="T11" fmla="*/ 0 h 835"/>
                <a:gd name="T12" fmla="*/ 373 w 586"/>
                <a:gd name="T13" fmla="*/ 8 h 835"/>
                <a:gd name="T14" fmla="*/ 373 w 586"/>
                <a:gd name="T15" fmla="*/ 0 h 835"/>
                <a:gd name="T16" fmla="*/ 349 w 586"/>
                <a:gd name="T17" fmla="*/ 8 h 835"/>
                <a:gd name="T18" fmla="*/ 326 w 586"/>
                <a:gd name="T19" fmla="*/ 8 h 835"/>
                <a:gd name="T20" fmla="*/ 302 w 586"/>
                <a:gd name="T21" fmla="*/ 0 h 835"/>
                <a:gd name="T22" fmla="*/ 231 w 586"/>
                <a:gd name="T23" fmla="*/ 8 h 835"/>
                <a:gd name="T24" fmla="*/ 231 w 586"/>
                <a:gd name="T25" fmla="*/ 0 h 835"/>
                <a:gd name="T26" fmla="*/ 207 w 586"/>
                <a:gd name="T27" fmla="*/ 8 h 835"/>
                <a:gd name="T28" fmla="*/ 184 w 586"/>
                <a:gd name="T29" fmla="*/ 8 h 835"/>
                <a:gd name="T30" fmla="*/ 160 w 586"/>
                <a:gd name="T31" fmla="*/ 0 h 835"/>
                <a:gd name="T32" fmla="*/ 89 w 586"/>
                <a:gd name="T33" fmla="*/ 8 h 835"/>
                <a:gd name="T34" fmla="*/ 89 w 586"/>
                <a:gd name="T35" fmla="*/ 0 h 835"/>
                <a:gd name="T36" fmla="*/ 44 w 586"/>
                <a:gd name="T37" fmla="*/ 8 h 835"/>
                <a:gd name="T38" fmla="*/ 44 w 586"/>
                <a:gd name="T39" fmla="*/ 0 h 835"/>
                <a:gd name="T40" fmla="*/ 10 w 586"/>
                <a:gd name="T41" fmla="*/ 31 h 835"/>
                <a:gd name="T42" fmla="*/ 2 w 586"/>
                <a:gd name="T43" fmla="*/ 29 h 835"/>
                <a:gd name="T44" fmla="*/ 8 w 586"/>
                <a:gd name="T45" fmla="*/ 53 h 835"/>
                <a:gd name="T46" fmla="*/ 8 w 586"/>
                <a:gd name="T47" fmla="*/ 77 h 835"/>
                <a:gd name="T48" fmla="*/ 0 w 586"/>
                <a:gd name="T49" fmla="*/ 101 h 835"/>
                <a:gd name="T50" fmla="*/ 8 w 586"/>
                <a:gd name="T51" fmla="*/ 172 h 835"/>
                <a:gd name="T52" fmla="*/ 0 w 586"/>
                <a:gd name="T53" fmla="*/ 172 h 835"/>
                <a:gd name="T54" fmla="*/ 8 w 586"/>
                <a:gd name="T55" fmla="*/ 195 h 835"/>
                <a:gd name="T56" fmla="*/ 8 w 586"/>
                <a:gd name="T57" fmla="*/ 219 h 835"/>
                <a:gd name="T58" fmla="*/ 0 w 586"/>
                <a:gd name="T59" fmla="*/ 243 h 835"/>
                <a:gd name="T60" fmla="*/ 8 w 586"/>
                <a:gd name="T61" fmla="*/ 314 h 835"/>
                <a:gd name="T62" fmla="*/ 0 w 586"/>
                <a:gd name="T63" fmla="*/ 314 h 835"/>
                <a:gd name="T64" fmla="*/ 8 w 586"/>
                <a:gd name="T65" fmla="*/ 337 h 835"/>
                <a:gd name="T66" fmla="*/ 8 w 586"/>
                <a:gd name="T67" fmla="*/ 361 h 835"/>
                <a:gd name="T68" fmla="*/ 0 w 586"/>
                <a:gd name="T69" fmla="*/ 385 h 835"/>
                <a:gd name="T70" fmla="*/ 8 w 586"/>
                <a:gd name="T71" fmla="*/ 456 h 835"/>
                <a:gd name="T72" fmla="*/ 0 w 586"/>
                <a:gd name="T73" fmla="*/ 456 h 835"/>
                <a:gd name="T74" fmla="*/ 8 w 586"/>
                <a:gd name="T75" fmla="*/ 480 h 835"/>
                <a:gd name="T76" fmla="*/ 8 w 586"/>
                <a:gd name="T77" fmla="*/ 503 h 835"/>
                <a:gd name="T78" fmla="*/ 0 w 586"/>
                <a:gd name="T79" fmla="*/ 527 h 835"/>
                <a:gd name="T80" fmla="*/ 8 w 586"/>
                <a:gd name="T81" fmla="*/ 598 h 835"/>
                <a:gd name="T82" fmla="*/ 0 w 586"/>
                <a:gd name="T83" fmla="*/ 598 h 835"/>
                <a:gd name="T84" fmla="*/ 8 w 586"/>
                <a:gd name="T85" fmla="*/ 622 h 835"/>
                <a:gd name="T86" fmla="*/ 8 w 586"/>
                <a:gd name="T87" fmla="*/ 645 h 835"/>
                <a:gd name="T88" fmla="*/ 0 w 586"/>
                <a:gd name="T89" fmla="*/ 669 h 835"/>
                <a:gd name="T90" fmla="*/ 8 w 586"/>
                <a:gd name="T91" fmla="*/ 740 h 835"/>
                <a:gd name="T92" fmla="*/ 0 w 586"/>
                <a:gd name="T93" fmla="*/ 740 h 835"/>
                <a:gd name="T94" fmla="*/ 8 w 586"/>
                <a:gd name="T95" fmla="*/ 764 h 835"/>
                <a:gd name="T96" fmla="*/ 8 w 586"/>
                <a:gd name="T97" fmla="*/ 787 h 835"/>
                <a:gd name="T98" fmla="*/ 0 w 586"/>
                <a:gd name="T99" fmla="*/ 811 h 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86" h="835">
                  <a:moveTo>
                    <a:pt x="562" y="8"/>
                  </a:moveTo>
                  <a:cubicBezTo>
                    <a:pt x="586" y="8"/>
                    <a:pt x="586" y="8"/>
                    <a:pt x="586" y="8"/>
                  </a:cubicBezTo>
                  <a:cubicBezTo>
                    <a:pt x="586" y="0"/>
                    <a:pt x="586" y="0"/>
                    <a:pt x="586" y="0"/>
                  </a:cubicBezTo>
                  <a:cubicBezTo>
                    <a:pt x="562" y="0"/>
                    <a:pt x="562" y="0"/>
                    <a:pt x="562" y="0"/>
                  </a:cubicBezTo>
                  <a:lnTo>
                    <a:pt x="562" y="8"/>
                  </a:lnTo>
                  <a:close/>
                  <a:moveTo>
                    <a:pt x="515" y="8"/>
                  </a:moveTo>
                  <a:cubicBezTo>
                    <a:pt x="539" y="8"/>
                    <a:pt x="539" y="8"/>
                    <a:pt x="539" y="8"/>
                  </a:cubicBezTo>
                  <a:cubicBezTo>
                    <a:pt x="539" y="0"/>
                    <a:pt x="539" y="0"/>
                    <a:pt x="539" y="0"/>
                  </a:cubicBezTo>
                  <a:cubicBezTo>
                    <a:pt x="515" y="0"/>
                    <a:pt x="515" y="0"/>
                    <a:pt x="515" y="0"/>
                  </a:cubicBezTo>
                  <a:lnTo>
                    <a:pt x="515" y="8"/>
                  </a:lnTo>
                  <a:close/>
                  <a:moveTo>
                    <a:pt x="468" y="8"/>
                  </a:moveTo>
                  <a:cubicBezTo>
                    <a:pt x="491" y="8"/>
                    <a:pt x="491" y="8"/>
                    <a:pt x="491" y="8"/>
                  </a:cubicBezTo>
                  <a:cubicBezTo>
                    <a:pt x="491" y="0"/>
                    <a:pt x="491" y="0"/>
                    <a:pt x="491" y="0"/>
                  </a:cubicBezTo>
                  <a:cubicBezTo>
                    <a:pt x="468" y="0"/>
                    <a:pt x="468" y="0"/>
                    <a:pt x="468" y="0"/>
                  </a:cubicBezTo>
                  <a:lnTo>
                    <a:pt x="468" y="8"/>
                  </a:lnTo>
                  <a:close/>
                  <a:moveTo>
                    <a:pt x="420" y="8"/>
                  </a:moveTo>
                  <a:cubicBezTo>
                    <a:pt x="444" y="8"/>
                    <a:pt x="444" y="8"/>
                    <a:pt x="444" y="8"/>
                  </a:cubicBezTo>
                  <a:cubicBezTo>
                    <a:pt x="444" y="0"/>
                    <a:pt x="444" y="0"/>
                    <a:pt x="444" y="0"/>
                  </a:cubicBezTo>
                  <a:cubicBezTo>
                    <a:pt x="420" y="0"/>
                    <a:pt x="420" y="0"/>
                    <a:pt x="420" y="0"/>
                  </a:cubicBezTo>
                  <a:lnTo>
                    <a:pt x="420" y="8"/>
                  </a:lnTo>
                  <a:close/>
                  <a:moveTo>
                    <a:pt x="373" y="8"/>
                  </a:moveTo>
                  <a:cubicBezTo>
                    <a:pt x="397" y="8"/>
                    <a:pt x="397" y="8"/>
                    <a:pt x="397" y="8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373" y="0"/>
                    <a:pt x="373" y="0"/>
                    <a:pt x="373" y="0"/>
                  </a:cubicBezTo>
                  <a:lnTo>
                    <a:pt x="373" y="8"/>
                  </a:lnTo>
                  <a:close/>
                  <a:moveTo>
                    <a:pt x="326" y="8"/>
                  </a:moveTo>
                  <a:cubicBezTo>
                    <a:pt x="349" y="8"/>
                    <a:pt x="349" y="8"/>
                    <a:pt x="349" y="8"/>
                  </a:cubicBezTo>
                  <a:cubicBezTo>
                    <a:pt x="349" y="0"/>
                    <a:pt x="349" y="0"/>
                    <a:pt x="349" y="0"/>
                  </a:cubicBezTo>
                  <a:cubicBezTo>
                    <a:pt x="326" y="0"/>
                    <a:pt x="326" y="0"/>
                    <a:pt x="326" y="0"/>
                  </a:cubicBezTo>
                  <a:lnTo>
                    <a:pt x="326" y="8"/>
                  </a:lnTo>
                  <a:close/>
                  <a:moveTo>
                    <a:pt x="278" y="8"/>
                  </a:moveTo>
                  <a:cubicBezTo>
                    <a:pt x="302" y="8"/>
                    <a:pt x="302" y="8"/>
                    <a:pt x="302" y="8"/>
                  </a:cubicBezTo>
                  <a:cubicBezTo>
                    <a:pt x="302" y="0"/>
                    <a:pt x="302" y="0"/>
                    <a:pt x="302" y="0"/>
                  </a:cubicBezTo>
                  <a:cubicBezTo>
                    <a:pt x="278" y="0"/>
                    <a:pt x="278" y="0"/>
                    <a:pt x="278" y="0"/>
                  </a:cubicBezTo>
                  <a:lnTo>
                    <a:pt x="278" y="8"/>
                  </a:lnTo>
                  <a:close/>
                  <a:moveTo>
                    <a:pt x="231" y="8"/>
                  </a:moveTo>
                  <a:cubicBezTo>
                    <a:pt x="255" y="8"/>
                    <a:pt x="255" y="8"/>
                    <a:pt x="255" y="8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231" y="0"/>
                    <a:pt x="231" y="0"/>
                    <a:pt x="231" y="0"/>
                  </a:cubicBezTo>
                  <a:lnTo>
                    <a:pt x="231" y="8"/>
                  </a:lnTo>
                  <a:close/>
                  <a:moveTo>
                    <a:pt x="184" y="8"/>
                  </a:moveTo>
                  <a:cubicBezTo>
                    <a:pt x="207" y="8"/>
                    <a:pt x="207" y="8"/>
                    <a:pt x="207" y="8"/>
                  </a:cubicBezTo>
                  <a:cubicBezTo>
                    <a:pt x="207" y="0"/>
                    <a:pt x="207" y="0"/>
                    <a:pt x="207" y="0"/>
                  </a:cubicBezTo>
                  <a:cubicBezTo>
                    <a:pt x="184" y="0"/>
                    <a:pt x="184" y="0"/>
                    <a:pt x="184" y="0"/>
                  </a:cubicBezTo>
                  <a:lnTo>
                    <a:pt x="184" y="8"/>
                  </a:lnTo>
                  <a:close/>
                  <a:moveTo>
                    <a:pt x="136" y="8"/>
                  </a:moveTo>
                  <a:cubicBezTo>
                    <a:pt x="160" y="8"/>
                    <a:pt x="160" y="8"/>
                    <a:pt x="160" y="8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136" y="0"/>
                    <a:pt x="136" y="0"/>
                    <a:pt x="136" y="0"/>
                  </a:cubicBezTo>
                  <a:lnTo>
                    <a:pt x="136" y="8"/>
                  </a:lnTo>
                  <a:close/>
                  <a:moveTo>
                    <a:pt x="89" y="8"/>
                  </a:moveTo>
                  <a:cubicBezTo>
                    <a:pt x="113" y="8"/>
                    <a:pt x="113" y="8"/>
                    <a:pt x="113" y="8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89" y="0"/>
                    <a:pt x="89" y="0"/>
                    <a:pt x="89" y="0"/>
                  </a:cubicBezTo>
                  <a:lnTo>
                    <a:pt x="89" y="8"/>
                  </a:lnTo>
                  <a:close/>
                  <a:moveTo>
                    <a:pt x="42" y="8"/>
                  </a:moveTo>
                  <a:cubicBezTo>
                    <a:pt x="42" y="8"/>
                    <a:pt x="43" y="8"/>
                    <a:pt x="44" y="8"/>
                  </a:cubicBezTo>
                  <a:cubicBezTo>
                    <a:pt x="65" y="8"/>
                    <a:pt x="65" y="8"/>
                    <a:pt x="65" y="8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3" y="0"/>
                    <a:pt x="42" y="0"/>
                    <a:pt x="41" y="0"/>
                  </a:cubicBezTo>
                  <a:cubicBezTo>
                    <a:pt x="42" y="8"/>
                    <a:pt x="42" y="8"/>
                    <a:pt x="42" y="8"/>
                  </a:cubicBezTo>
                  <a:close/>
                  <a:moveTo>
                    <a:pt x="10" y="31"/>
                  </a:moveTo>
                  <a:cubicBezTo>
                    <a:pt x="12" y="24"/>
                    <a:pt x="16" y="18"/>
                    <a:pt x="21" y="14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9" y="13"/>
                    <a:pt x="5" y="20"/>
                    <a:pt x="2" y="29"/>
                  </a:cubicBezTo>
                  <a:cubicBezTo>
                    <a:pt x="10" y="31"/>
                    <a:pt x="10" y="31"/>
                    <a:pt x="10" y="31"/>
                  </a:cubicBezTo>
                  <a:close/>
                  <a:moveTo>
                    <a:pt x="8" y="77"/>
                  </a:move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8" y="77"/>
                  </a:lnTo>
                  <a:close/>
                  <a:moveTo>
                    <a:pt x="8" y="124"/>
                  </a:moveTo>
                  <a:cubicBezTo>
                    <a:pt x="8" y="101"/>
                    <a:pt x="8" y="101"/>
                    <a:pt x="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124"/>
                    <a:pt x="0" y="124"/>
                    <a:pt x="0" y="124"/>
                  </a:cubicBezTo>
                  <a:lnTo>
                    <a:pt x="8" y="124"/>
                  </a:lnTo>
                  <a:close/>
                  <a:moveTo>
                    <a:pt x="8" y="172"/>
                  </a:moveTo>
                  <a:cubicBezTo>
                    <a:pt x="8" y="148"/>
                    <a:pt x="8" y="148"/>
                    <a:pt x="8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72"/>
                    <a:pt x="0" y="172"/>
                    <a:pt x="0" y="172"/>
                  </a:cubicBezTo>
                  <a:lnTo>
                    <a:pt x="8" y="172"/>
                  </a:lnTo>
                  <a:close/>
                  <a:moveTo>
                    <a:pt x="8" y="219"/>
                  </a:moveTo>
                  <a:cubicBezTo>
                    <a:pt x="8" y="195"/>
                    <a:pt x="8" y="195"/>
                    <a:pt x="8" y="195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0" y="219"/>
                    <a:pt x="0" y="219"/>
                    <a:pt x="0" y="219"/>
                  </a:cubicBezTo>
                  <a:lnTo>
                    <a:pt x="8" y="219"/>
                  </a:lnTo>
                  <a:close/>
                  <a:moveTo>
                    <a:pt x="8" y="266"/>
                  </a:moveTo>
                  <a:cubicBezTo>
                    <a:pt x="8" y="243"/>
                    <a:pt x="8" y="243"/>
                    <a:pt x="8" y="243"/>
                  </a:cubicBezTo>
                  <a:cubicBezTo>
                    <a:pt x="0" y="243"/>
                    <a:pt x="0" y="243"/>
                    <a:pt x="0" y="243"/>
                  </a:cubicBezTo>
                  <a:cubicBezTo>
                    <a:pt x="0" y="266"/>
                    <a:pt x="0" y="266"/>
                    <a:pt x="0" y="266"/>
                  </a:cubicBezTo>
                  <a:lnTo>
                    <a:pt x="8" y="266"/>
                  </a:lnTo>
                  <a:close/>
                  <a:moveTo>
                    <a:pt x="8" y="314"/>
                  </a:moveTo>
                  <a:cubicBezTo>
                    <a:pt x="8" y="290"/>
                    <a:pt x="8" y="290"/>
                    <a:pt x="8" y="290"/>
                  </a:cubicBezTo>
                  <a:cubicBezTo>
                    <a:pt x="0" y="290"/>
                    <a:pt x="0" y="290"/>
                    <a:pt x="0" y="290"/>
                  </a:cubicBezTo>
                  <a:cubicBezTo>
                    <a:pt x="0" y="314"/>
                    <a:pt x="0" y="314"/>
                    <a:pt x="0" y="314"/>
                  </a:cubicBezTo>
                  <a:lnTo>
                    <a:pt x="8" y="314"/>
                  </a:lnTo>
                  <a:close/>
                  <a:moveTo>
                    <a:pt x="8" y="361"/>
                  </a:moveTo>
                  <a:cubicBezTo>
                    <a:pt x="8" y="337"/>
                    <a:pt x="8" y="337"/>
                    <a:pt x="8" y="337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0" y="361"/>
                    <a:pt x="0" y="361"/>
                    <a:pt x="0" y="361"/>
                  </a:cubicBezTo>
                  <a:lnTo>
                    <a:pt x="8" y="361"/>
                  </a:lnTo>
                  <a:close/>
                  <a:moveTo>
                    <a:pt x="8" y="408"/>
                  </a:moveTo>
                  <a:cubicBezTo>
                    <a:pt x="8" y="385"/>
                    <a:pt x="8" y="385"/>
                    <a:pt x="8" y="385"/>
                  </a:cubicBezTo>
                  <a:cubicBezTo>
                    <a:pt x="0" y="385"/>
                    <a:pt x="0" y="385"/>
                    <a:pt x="0" y="385"/>
                  </a:cubicBezTo>
                  <a:cubicBezTo>
                    <a:pt x="0" y="408"/>
                    <a:pt x="0" y="408"/>
                    <a:pt x="0" y="408"/>
                  </a:cubicBezTo>
                  <a:lnTo>
                    <a:pt x="8" y="408"/>
                  </a:lnTo>
                  <a:close/>
                  <a:moveTo>
                    <a:pt x="8" y="456"/>
                  </a:moveTo>
                  <a:cubicBezTo>
                    <a:pt x="8" y="432"/>
                    <a:pt x="8" y="432"/>
                    <a:pt x="8" y="432"/>
                  </a:cubicBezTo>
                  <a:cubicBezTo>
                    <a:pt x="0" y="432"/>
                    <a:pt x="0" y="432"/>
                    <a:pt x="0" y="432"/>
                  </a:cubicBezTo>
                  <a:cubicBezTo>
                    <a:pt x="0" y="456"/>
                    <a:pt x="0" y="456"/>
                    <a:pt x="0" y="456"/>
                  </a:cubicBezTo>
                  <a:lnTo>
                    <a:pt x="8" y="456"/>
                  </a:lnTo>
                  <a:close/>
                  <a:moveTo>
                    <a:pt x="8" y="503"/>
                  </a:moveTo>
                  <a:cubicBezTo>
                    <a:pt x="8" y="480"/>
                    <a:pt x="8" y="480"/>
                    <a:pt x="8" y="480"/>
                  </a:cubicBezTo>
                  <a:cubicBezTo>
                    <a:pt x="0" y="480"/>
                    <a:pt x="0" y="480"/>
                    <a:pt x="0" y="480"/>
                  </a:cubicBezTo>
                  <a:cubicBezTo>
                    <a:pt x="0" y="503"/>
                    <a:pt x="0" y="503"/>
                    <a:pt x="0" y="503"/>
                  </a:cubicBezTo>
                  <a:lnTo>
                    <a:pt x="8" y="503"/>
                  </a:lnTo>
                  <a:close/>
                  <a:moveTo>
                    <a:pt x="8" y="551"/>
                  </a:moveTo>
                  <a:cubicBezTo>
                    <a:pt x="8" y="527"/>
                    <a:pt x="8" y="527"/>
                    <a:pt x="8" y="527"/>
                  </a:cubicBezTo>
                  <a:cubicBezTo>
                    <a:pt x="0" y="527"/>
                    <a:pt x="0" y="527"/>
                    <a:pt x="0" y="527"/>
                  </a:cubicBezTo>
                  <a:cubicBezTo>
                    <a:pt x="0" y="551"/>
                    <a:pt x="0" y="551"/>
                    <a:pt x="0" y="551"/>
                  </a:cubicBezTo>
                  <a:lnTo>
                    <a:pt x="8" y="551"/>
                  </a:lnTo>
                  <a:close/>
                  <a:moveTo>
                    <a:pt x="8" y="598"/>
                  </a:moveTo>
                  <a:cubicBezTo>
                    <a:pt x="8" y="574"/>
                    <a:pt x="8" y="574"/>
                    <a:pt x="8" y="574"/>
                  </a:cubicBezTo>
                  <a:cubicBezTo>
                    <a:pt x="0" y="574"/>
                    <a:pt x="0" y="574"/>
                    <a:pt x="0" y="574"/>
                  </a:cubicBezTo>
                  <a:cubicBezTo>
                    <a:pt x="0" y="598"/>
                    <a:pt x="0" y="598"/>
                    <a:pt x="0" y="598"/>
                  </a:cubicBezTo>
                  <a:lnTo>
                    <a:pt x="8" y="598"/>
                  </a:lnTo>
                  <a:close/>
                  <a:moveTo>
                    <a:pt x="8" y="645"/>
                  </a:moveTo>
                  <a:cubicBezTo>
                    <a:pt x="8" y="622"/>
                    <a:pt x="8" y="622"/>
                    <a:pt x="8" y="622"/>
                  </a:cubicBezTo>
                  <a:cubicBezTo>
                    <a:pt x="0" y="622"/>
                    <a:pt x="0" y="622"/>
                    <a:pt x="0" y="622"/>
                  </a:cubicBezTo>
                  <a:cubicBezTo>
                    <a:pt x="0" y="645"/>
                    <a:pt x="0" y="645"/>
                    <a:pt x="0" y="645"/>
                  </a:cubicBezTo>
                  <a:lnTo>
                    <a:pt x="8" y="645"/>
                  </a:lnTo>
                  <a:close/>
                  <a:moveTo>
                    <a:pt x="8" y="693"/>
                  </a:moveTo>
                  <a:cubicBezTo>
                    <a:pt x="8" y="669"/>
                    <a:pt x="8" y="669"/>
                    <a:pt x="8" y="669"/>
                  </a:cubicBezTo>
                  <a:cubicBezTo>
                    <a:pt x="0" y="669"/>
                    <a:pt x="0" y="669"/>
                    <a:pt x="0" y="669"/>
                  </a:cubicBezTo>
                  <a:cubicBezTo>
                    <a:pt x="0" y="693"/>
                    <a:pt x="0" y="693"/>
                    <a:pt x="0" y="693"/>
                  </a:cubicBezTo>
                  <a:lnTo>
                    <a:pt x="8" y="693"/>
                  </a:lnTo>
                  <a:close/>
                  <a:moveTo>
                    <a:pt x="8" y="740"/>
                  </a:moveTo>
                  <a:cubicBezTo>
                    <a:pt x="8" y="716"/>
                    <a:pt x="8" y="716"/>
                    <a:pt x="8" y="716"/>
                  </a:cubicBezTo>
                  <a:cubicBezTo>
                    <a:pt x="0" y="716"/>
                    <a:pt x="0" y="716"/>
                    <a:pt x="0" y="716"/>
                  </a:cubicBezTo>
                  <a:cubicBezTo>
                    <a:pt x="0" y="740"/>
                    <a:pt x="0" y="740"/>
                    <a:pt x="0" y="740"/>
                  </a:cubicBezTo>
                  <a:lnTo>
                    <a:pt x="8" y="740"/>
                  </a:lnTo>
                  <a:close/>
                  <a:moveTo>
                    <a:pt x="8" y="787"/>
                  </a:moveTo>
                  <a:cubicBezTo>
                    <a:pt x="8" y="764"/>
                    <a:pt x="8" y="764"/>
                    <a:pt x="8" y="764"/>
                  </a:cubicBezTo>
                  <a:cubicBezTo>
                    <a:pt x="0" y="764"/>
                    <a:pt x="0" y="764"/>
                    <a:pt x="0" y="764"/>
                  </a:cubicBezTo>
                  <a:cubicBezTo>
                    <a:pt x="0" y="787"/>
                    <a:pt x="0" y="787"/>
                    <a:pt x="0" y="787"/>
                  </a:cubicBezTo>
                  <a:lnTo>
                    <a:pt x="8" y="787"/>
                  </a:lnTo>
                  <a:close/>
                  <a:moveTo>
                    <a:pt x="8" y="835"/>
                  </a:moveTo>
                  <a:cubicBezTo>
                    <a:pt x="8" y="811"/>
                    <a:pt x="8" y="811"/>
                    <a:pt x="8" y="811"/>
                  </a:cubicBezTo>
                  <a:cubicBezTo>
                    <a:pt x="0" y="811"/>
                    <a:pt x="0" y="811"/>
                    <a:pt x="0" y="811"/>
                  </a:cubicBezTo>
                  <a:cubicBezTo>
                    <a:pt x="0" y="835"/>
                    <a:pt x="0" y="835"/>
                    <a:pt x="0" y="835"/>
                  </a:cubicBezTo>
                  <a:lnTo>
                    <a:pt x="8" y="83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grpSp>
          <p:nvGrpSpPr>
            <p:cNvPr id="7" name="íṥḷîḋê">
              <a:extLst>
                <a:ext uri="{FF2B5EF4-FFF2-40B4-BE49-F238E27FC236}">
                  <a16:creationId xmlns:a16="http://schemas.microsoft.com/office/drawing/2014/main" id="{FB5EF7D1-14E9-4DC0-B6B5-69B8730D01D0}"/>
                </a:ext>
              </a:extLst>
            </p:cNvPr>
            <p:cNvGrpSpPr/>
            <p:nvPr/>
          </p:nvGrpSpPr>
          <p:grpSpPr>
            <a:xfrm>
              <a:off x="8700471" y="2735253"/>
              <a:ext cx="2822061" cy="1308272"/>
              <a:chOff x="8563614" y="4934816"/>
              <a:chExt cx="2955286" cy="1308272"/>
            </a:xfrm>
          </p:grpSpPr>
          <p:sp>
            <p:nvSpPr>
              <p:cNvPr id="63" name="iṩlíḋe">
                <a:extLst>
                  <a:ext uri="{FF2B5EF4-FFF2-40B4-BE49-F238E27FC236}">
                    <a16:creationId xmlns:a16="http://schemas.microsoft.com/office/drawing/2014/main" id="{11C6934D-2018-45B8-9CAD-A0373DA02EB2}"/>
                  </a:ext>
                </a:extLst>
              </p:cNvPr>
              <p:cNvSpPr txBox="1"/>
              <p:nvPr/>
            </p:nvSpPr>
            <p:spPr bwMode="auto">
              <a:xfrm>
                <a:off x="8563614" y="4934816"/>
                <a:ext cx="2955286" cy="4802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30000"/>
                  </a:lnSpc>
                  <a:spcBef>
                    <a:spcPct val="0"/>
                  </a:spcBef>
                </a:pPr>
                <a:r>
                  <a:rPr lang="en-US" altLang="zh-CN" b="1" dirty="0">
                    <a:latin typeface=""/>
                    <a:ea typeface="微软雅黑" panose="020B0503020204020204" pitchFamily="34" charset="-122"/>
                    <a:sym typeface=""/>
                  </a:rPr>
                  <a:t>D.</a:t>
                </a:r>
                <a:r>
                  <a:rPr lang="zh-CN" altLang="en-US" b="1" dirty="0">
                    <a:latin typeface=""/>
                    <a:ea typeface="微软雅黑" panose="020B0503020204020204" pitchFamily="34" charset="-122"/>
                    <a:sym typeface=""/>
                  </a:rPr>
                  <a:t>模型预测评测</a:t>
                </a:r>
                <a:endParaRPr lang="en-US" altLang="zh-CN" b="1" dirty="0"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64" name="ï$ḷíḋè">
                <a:extLst>
                  <a:ext uri="{FF2B5EF4-FFF2-40B4-BE49-F238E27FC236}">
                    <a16:creationId xmlns:a16="http://schemas.microsoft.com/office/drawing/2014/main" id="{4278434D-2606-4C28-B801-BFA8A4C58238}"/>
                  </a:ext>
                </a:extLst>
              </p:cNvPr>
              <p:cNvSpPr/>
              <p:nvPr/>
            </p:nvSpPr>
            <p:spPr bwMode="auto">
              <a:xfrm>
                <a:off x="8563614" y="5415115"/>
                <a:ext cx="2955286" cy="8279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30000"/>
                  </a:lnSpc>
                </a:pPr>
                <a:endParaRPr lang="en-US" altLang="zh-CN" sz="1100" dirty="0"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</p:grpSp>
        <p:sp>
          <p:nvSpPr>
            <p:cNvPr id="8" name="iş1íḋé">
              <a:extLst>
                <a:ext uri="{FF2B5EF4-FFF2-40B4-BE49-F238E27FC236}">
                  <a16:creationId xmlns:a16="http://schemas.microsoft.com/office/drawing/2014/main" id="{27C3008E-FDFE-4B90-AF34-EB1E555B623E}"/>
                </a:ext>
              </a:extLst>
            </p:cNvPr>
            <p:cNvSpPr/>
            <p:nvPr/>
          </p:nvSpPr>
          <p:spPr bwMode="auto">
            <a:xfrm>
              <a:off x="6093241" y="4423277"/>
              <a:ext cx="3357161" cy="1993398"/>
            </a:xfrm>
            <a:custGeom>
              <a:avLst/>
              <a:gdLst>
                <a:gd name="T0" fmla="*/ 903 w 1046"/>
                <a:gd name="T1" fmla="*/ 342 h 620"/>
                <a:gd name="T2" fmla="*/ 736 w 1046"/>
                <a:gd name="T3" fmla="*/ 143 h 620"/>
                <a:gd name="T4" fmla="*/ 535 w 1046"/>
                <a:gd name="T5" fmla="*/ 2 h 620"/>
                <a:gd name="T6" fmla="*/ 535 w 1046"/>
                <a:gd name="T7" fmla="*/ 2 h 620"/>
                <a:gd name="T8" fmla="*/ 520 w 1046"/>
                <a:gd name="T9" fmla="*/ 0 h 620"/>
                <a:gd name="T10" fmla="*/ 518 w 1046"/>
                <a:gd name="T11" fmla="*/ 0 h 620"/>
                <a:gd name="T12" fmla="*/ 512 w 1046"/>
                <a:gd name="T13" fmla="*/ 0 h 620"/>
                <a:gd name="T14" fmla="*/ 494 w 1046"/>
                <a:gd name="T15" fmla="*/ 0 h 620"/>
                <a:gd name="T16" fmla="*/ 482 w 1046"/>
                <a:gd name="T17" fmla="*/ 1 h 620"/>
                <a:gd name="T18" fmla="*/ 472 w 1046"/>
                <a:gd name="T19" fmla="*/ 2 h 620"/>
                <a:gd name="T20" fmla="*/ 460 w 1046"/>
                <a:gd name="T21" fmla="*/ 4 h 620"/>
                <a:gd name="T22" fmla="*/ 450 w 1046"/>
                <a:gd name="T23" fmla="*/ 6 h 620"/>
                <a:gd name="T24" fmla="*/ 439 w 1046"/>
                <a:gd name="T25" fmla="*/ 9 h 620"/>
                <a:gd name="T26" fmla="*/ 430 w 1046"/>
                <a:gd name="T27" fmla="*/ 12 h 620"/>
                <a:gd name="T28" fmla="*/ 419 w 1046"/>
                <a:gd name="T29" fmla="*/ 17 h 620"/>
                <a:gd name="T30" fmla="*/ 410 w 1046"/>
                <a:gd name="T31" fmla="*/ 21 h 620"/>
                <a:gd name="T32" fmla="*/ 400 w 1046"/>
                <a:gd name="T33" fmla="*/ 26 h 620"/>
                <a:gd name="T34" fmla="*/ 392 w 1046"/>
                <a:gd name="T35" fmla="*/ 30 h 620"/>
                <a:gd name="T36" fmla="*/ 382 w 1046"/>
                <a:gd name="T37" fmla="*/ 36 h 620"/>
                <a:gd name="T38" fmla="*/ 374 w 1046"/>
                <a:gd name="T39" fmla="*/ 42 h 620"/>
                <a:gd name="T40" fmla="*/ 365 w 1046"/>
                <a:gd name="T41" fmla="*/ 49 h 620"/>
                <a:gd name="T42" fmla="*/ 358 w 1046"/>
                <a:gd name="T43" fmla="*/ 55 h 620"/>
                <a:gd name="T44" fmla="*/ 350 w 1046"/>
                <a:gd name="T45" fmla="*/ 62 h 620"/>
                <a:gd name="T46" fmla="*/ 343 w 1046"/>
                <a:gd name="T47" fmla="*/ 69 h 620"/>
                <a:gd name="T48" fmla="*/ 336 w 1046"/>
                <a:gd name="T49" fmla="*/ 78 h 620"/>
                <a:gd name="T50" fmla="*/ 330 w 1046"/>
                <a:gd name="T51" fmla="*/ 85 h 620"/>
                <a:gd name="T52" fmla="*/ 323 w 1046"/>
                <a:gd name="T53" fmla="*/ 94 h 620"/>
                <a:gd name="T54" fmla="*/ 318 w 1046"/>
                <a:gd name="T55" fmla="*/ 102 h 620"/>
                <a:gd name="T56" fmla="*/ 284 w 1046"/>
                <a:gd name="T57" fmla="*/ 101 h 620"/>
                <a:gd name="T58" fmla="*/ 114 w 1046"/>
                <a:gd name="T59" fmla="*/ 282 h 620"/>
                <a:gd name="T60" fmla="*/ 114 w 1046"/>
                <a:gd name="T61" fmla="*/ 545 h 620"/>
                <a:gd name="T62" fmla="*/ 156 w 1046"/>
                <a:gd name="T63" fmla="*/ 547 h 620"/>
                <a:gd name="T64" fmla="*/ 298 w 1046"/>
                <a:gd name="T65" fmla="*/ 610 h 620"/>
                <a:gd name="T66" fmla="*/ 307 w 1046"/>
                <a:gd name="T67" fmla="*/ 610 h 620"/>
                <a:gd name="T68" fmla="*/ 316 w 1046"/>
                <a:gd name="T69" fmla="*/ 609 h 620"/>
                <a:gd name="T70" fmla="*/ 324 w 1046"/>
                <a:gd name="T71" fmla="*/ 607 h 620"/>
                <a:gd name="T72" fmla="*/ 333 w 1046"/>
                <a:gd name="T73" fmla="*/ 605 h 620"/>
                <a:gd name="T74" fmla="*/ 341 w 1046"/>
                <a:gd name="T75" fmla="*/ 603 h 620"/>
                <a:gd name="T76" fmla="*/ 349 w 1046"/>
                <a:gd name="T77" fmla="*/ 600 h 620"/>
                <a:gd name="T78" fmla="*/ 357 w 1046"/>
                <a:gd name="T79" fmla="*/ 597 h 620"/>
                <a:gd name="T80" fmla="*/ 364 w 1046"/>
                <a:gd name="T81" fmla="*/ 593 h 620"/>
                <a:gd name="T82" fmla="*/ 372 w 1046"/>
                <a:gd name="T83" fmla="*/ 589 h 620"/>
                <a:gd name="T84" fmla="*/ 379 w 1046"/>
                <a:gd name="T85" fmla="*/ 585 h 620"/>
                <a:gd name="T86" fmla="*/ 386 w 1046"/>
                <a:gd name="T87" fmla="*/ 580 h 620"/>
                <a:gd name="T88" fmla="*/ 393 w 1046"/>
                <a:gd name="T89" fmla="*/ 575 h 620"/>
                <a:gd name="T90" fmla="*/ 399 w 1046"/>
                <a:gd name="T91" fmla="*/ 570 h 620"/>
                <a:gd name="T92" fmla="*/ 405 w 1046"/>
                <a:gd name="T93" fmla="*/ 564 h 620"/>
                <a:gd name="T94" fmla="*/ 411 w 1046"/>
                <a:gd name="T95" fmla="*/ 558 h 620"/>
                <a:gd name="T96" fmla="*/ 411 w 1046"/>
                <a:gd name="T97" fmla="*/ 558 h 620"/>
                <a:gd name="T98" fmla="*/ 423 w 1046"/>
                <a:gd name="T99" fmla="*/ 565 h 620"/>
                <a:gd name="T100" fmla="*/ 432 w 1046"/>
                <a:gd name="T101" fmla="*/ 569 h 620"/>
                <a:gd name="T102" fmla="*/ 443 w 1046"/>
                <a:gd name="T103" fmla="*/ 573 h 620"/>
                <a:gd name="T104" fmla="*/ 454 w 1046"/>
                <a:gd name="T105" fmla="*/ 577 h 620"/>
                <a:gd name="T106" fmla="*/ 465 w 1046"/>
                <a:gd name="T107" fmla="*/ 579 h 620"/>
                <a:gd name="T108" fmla="*/ 478 w 1046"/>
                <a:gd name="T109" fmla="*/ 582 h 620"/>
                <a:gd name="T110" fmla="*/ 489 w 1046"/>
                <a:gd name="T111" fmla="*/ 583 h 620"/>
                <a:gd name="T112" fmla="*/ 509 w 1046"/>
                <a:gd name="T113" fmla="*/ 583 h 620"/>
                <a:gd name="T114" fmla="*/ 518 w 1046"/>
                <a:gd name="T115" fmla="*/ 582 h 620"/>
                <a:gd name="T116" fmla="*/ 519 w 1046"/>
                <a:gd name="T117" fmla="*/ 582 h 620"/>
                <a:gd name="T118" fmla="*/ 724 w 1046"/>
                <a:gd name="T119" fmla="*/ 620 h 620"/>
                <a:gd name="T120" fmla="*/ 849 w 1046"/>
                <a:gd name="T121" fmla="*/ 568 h 620"/>
                <a:gd name="T122" fmla="*/ 940 w 1046"/>
                <a:gd name="T123" fmla="*/ 547 h 620"/>
                <a:gd name="T124" fmla="*/ 940 w 1046"/>
                <a:gd name="T125" fmla="*/ 335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46" h="620">
                  <a:moveTo>
                    <a:pt x="940" y="335"/>
                  </a:moveTo>
                  <a:cubicBezTo>
                    <a:pt x="927" y="335"/>
                    <a:pt x="914" y="338"/>
                    <a:pt x="903" y="342"/>
                  </a:cubicBezTo>
                  <a:cubicBezTo>
                    <a:pt x="905" y="333"/>
                    <a:pt x="905" y="323"/>
                    <a:pt x="905" y="313"/>
                  </a:cubicBezTo>
                  <a:cubicBezTo>
                    <a:pt x="905" y="219"/>
                    <a:pt x="830" y="143"/>
                    <a:pt x="736" y="143"/>
                  </a:cubicBezTo>
                  <a:cubicBezTo>
                    <a:pt x="727" y="143"/>
                    <a:pt x="719" y="144"/>
                    <a:pt x="711" y="145"/>
                  </a:cubicBezTo>
                  <a:cubicBezTo>
                    <a:pt x="684" y="70"/>
                    <a:pt x="617" y="13"/>
                    <a:pt x="535" y="2"/>
                  </a:cubicBezTo>
                  <a:cubicBezTo>
                    <a:pt x="535" y="2"/>
                    <a:pt x="535" y="2"/>
                    <a:pt x="535" y="2"/>
                  </a:cubicBezTo>
                  <a:cubicBezTo>
                    <a:pt x="535" y="2"/>
                    <a:pt x="535" y="2"/>
                    <a:pt x="535" y="2"/>
                  </a:cubicBezTo>
                  <a:cubicBezTo>
                    <a:pt x="531" y="1"/>
                    <a:pt x="527" y="1"/>
                    <a:pt x="523" y="0"/>
                  </a:cubicBezTo>
                  <a:cubicBezTo>
                    <a:pt x="522" y="0"/>
                    <a:pt x="521" y="0"/>
                    <a:pt x="520" y="0"/>
                  </a:cubicBezTo>
                  <a:cubicBezTo>
                    <a:pt x="519" y="0"/>
                    <a:pt x="519" y="0"/>
                    <a:pt x="518" y="0"/>
                  </a:cubicBezTo>
                  <a:cubicBezTo>
                    <a:pt x="518" y="0"/>
                    <a:pt x="518" y="0"/>
                    <a:pt x="518" y="0"/>
                  </a:cubicBezTo>
                  <a:cubicBezTo>
                    <a:pt x="516" y="0"/>
                    <a:pt x="515" y="0"/>
                    <a:pt x="514" y="0"/>
                  </a:cubicBezTo>
                  <a:cubicBezTo>
                    <a:pt x="513" y="0"/>
                    <a:pt x="513" y="0"/>
                    <a:pt x="512" y="0"/>
                  </a:cubicBezTo>
                  <a:cubicBezTo>
                    <a:pt x="509" y="0"/>
                    <a:pt x="507" y="0"/>
                    <a:pt x="504" y="0"/>
                  </a:cubicBezTo>
                  <a:cubicBezTo>
                    <a:pt x="501" y="0"/>
                    <a:pt x="497" y="0"/>
                    <a:pt x="494" y="0"/>
                  </a:cubicBezTo>
                  <a:cubicBezTo>
                    <a:pt x="493" y="0"/>
                    <a:pt x="492" y="0"/>
                    <a:pt x="491" y="0"/>
                  </a:cubicBezTo>
                  <a:cubicBezTo>
                    <a:pt x="488" y="0"/>
                    <a:pt x="485" y="0"/>
                    <a:pt x="482" y="1"/>
                  </a:cubicBezTo>
                  <a:cubicBezTo>
                    <a:pt x="481" y="1"/>
                    <a:pt x="481" y="1"/>
                    <a:pt x="481" y="1"/>
                  </a:cubicBezTo>
                  <a:cubicBezTo>
                    <a:pt x="478" y="1"/>
                    <a:pt x="475" y="2"/>
                    <a:pt x="472" y="2"/>
                  </a:cubicBezTo>
                  <a:cubicBezTo>
                    <a:pt x="471" y="2"/>
                    <a:pt x="470" y="2"/>
                    <a:pt x="469" y="2"/>
                  </a:cubicBezTo>
                  <a:cubicBezTo>
                    <a:pt x="466" y="3"/>
                    <a:pt x="463" y="3"/>
                    <a:pt x="460" y="4"/>
                  </a:cubicBezTo>
                  <a:cubicBezTo>
                    <a:pt x="459" y="4"/>
                    <a:pt x="459" y="4"/>
                    <a:pt x="458" y="4"/>
                  </a:cubicBezTo>
                  <a:cubicBezTo>
                    <a:pt x="456" y="5"/>
                    <a:pt x="453" y="6"/>
                    <a:pt x="450" y="6"/>
                  </a:cubicBezTo>
                  <a:cubicBezTo>
                    <a:pt x="450" y="6"/>
                    <a:pt x="449" y="7"/>
                    <a:pt x="448" y="7"/>
                  </a:cubicBezTo>
                  <a:cubicBezTo>
                    <a:pt x="445" y="8"/>
                    <a:pt x="442" y="8"/>
                    <a:pt x="439" y="9"/>
                  </a:cubicBezTo>
                  <a:cubicBezTo>
                    <a:pt x="438" y="10"/>
                    <a:pt x="438" y="10"/>
                    <a:pt x="437" y="10"/>
                  </a:cubicBezTo>
                  <a:cubicBezTo>
                    <a:pt x="434" y="11"/>
                    <a:pt x="432" y="12"/>
                    <a:pt x="430" y="12"/>
                  </a:cubicBezTo>
                  <a:cubicBezTo>
                    <a:pt x="429" y="13"/>
                    <a:pt x="428" y="13"/>
                    <a:pt x="427" y="13"/>
                  </a:cubicBezTo>
                  <a:cubicBezTo>
                    <a:pt x="425" y="14"/>
                    <a:pt x="422" y="15"/>
                    <a:pt x="419" y="17"/>
                  </a:cubicBezTo>
                  <a:cubicBezTo>
                    <a:pt x="418" y="17"/>
                    <a:pt x="417" y="17"/>
                    <a:pt x="416" y="18"/>
                  </a:cubicBezTo>
                  <a:cubicBezTo>
                    <a:pt x="414" y="19"/>
                    <a:pt x="412" y="20"/>
                    <a:pt x="410" y="21"/>
                  </a:cubicBezTo>
                  <a:cubicBezTo>
                    <a:pt x="409" y="21"/>
                    <a:pt x="409" y="21"/>
                    <a:pt x="408" y="22"/>
                  </a:cubicBezTo>
                  <a:cubicBezTo>
                    <a:pt x="405" y="23"/>
                    <a:pt x="403" y="24"/>
                    <a:pt x="400" y="26"/>
                  </a:cubicBezTo>
                  <a:cubicBezTo>
                    <a:pt x="399" y="26"/>
                    <a:pt x="398" y="27"/>
                    <a:pt x="397" y="27"/>
                  </a:cubicBezTo>
                  <a:cubicBezTo>
                    <a:pt x="395" y="28"/>
                    <a:pt x="393" y="29"/>
                    <a:pt x="392" y="30"/>
                  </a:cubicBezTo>
                  <a:cubicBezTo>
                    <a:pt x="391" y="31"/>
                    <a:pt x="390" y="31"/>
                    <a:pt x="389" y="32"/>
                  </a:cubicBezTo>
                  <a:cubicBezTo>
                    <a:pt x="387" y="33"/>
                    <a:pt x="384" y="35"/>
                    <a:pt x="382" y="36"/>
                  </a:cubicBezTo>
                  <a:cubicBezTo>
                    <a:pt x="381" y="37"/>
                    <a:pt x="380" y="38"/>
                    <a:pt x="379" y="39"/>
                  </a:cubicBezTo>
                  <a:cubicBezTo>
                    <a:pt x="377" y="40"/>
                    <a:pt x="376" y="41"/>
                    <a:pt x="374" y="42"/>
                  </a:cubicBezTo>
                  <a:cubicBezTo>
                    <a:pt x="373" y="43"/>
                    <a:pt x="371" y="44"/>
                    <a:pt x="370" y="45"/>
                  </a:cubicBezTo>
                  <a:cubicBezTo>
                    <a:pt x="368" y="46"/>
                    <a:pt x="367" y="47"/>
                    <a:pt x="365" y="49"/>
                  </a:cubicBezTo>
                  <a:cubicBezTo>
                    <a:pt x="364" y="50"/>
                    <a:pt x="363" y="50"/>
                    <a:pt x="362" y="51"/>
                  </a:cubicBezTo>
                  <a:cubicBezTo>
                    <a:pt x="361" y="53"/>
                    <a:pt x="360" y="54"/>
                    <a:pt x="358" y="55"/>
                  </a:cubicBezTo>
                  <a:cubicBezTo>
                    <a:pt x="357" y="56"/>
                    <a:pt x="355" y="58"/>
                    <a:pt x="353" y="59"/>
                  </a:cubicBezTo>
                  <a:cubicBezTo>
                    <a:pt x="352" y="60"/>
                    <a:pt x="351" y="61"/>
                    <a:pt x="350" y="62"/>
                  </a:cubicBezTo>
                  <a:cubicBezTo>
                    <a:pt x="349" y="64"/>
                    <a:pt x="348" y="65"/>
                    <a:pt x="347" y="66"/>
                  </a:cubicBezTo>
                  <a:cubicBezTo>
                    <a:pt x="346" y="67"/>
                    <a:pt x="344" y="68"/>
                    <a:pt x="343" y="69"/>
                  </a:cubicBezTo>
                  <a:cubicBezTo>
                    <a:pt x="342" y="71"/>
                    <a:pt x="340" y="73"/>
                    <a:pt x="338" y="75"/>
                  </a:cubicBezTo>
                  <a:cubicBezTo>
                    <a:pt x="338" y="76"/>
                    <a:pt x="337" y="77"/>
                    <a:pt x="336" y="78"/>
                  </a:cubicBezTo>
                  <a:cubicBezTo>
                    <a:pt x="335" y="79"/>
                    <a:pt x="334" y="80"/>
                    <a:pt x="333" y="81"/>
                  </a:cubicBezTo>
                  <a:cubicBezTo>
                    <a:pt x="332" y="83"/>
                    <a:pt x="331" y="84"/>
                    <a:pt x="330" y="85"/>
                  </a:cubicBezTo>
                  <a:cubicBezTo>
                    <a:pt x="328" y="87"/>
                    <a:pt x="327" y="89"/>
                    <a:pt x="325" y="91"/>
                  </a:cubicBezTo>
                  <a:cubicBezTo>
                    <a:pt x="325" y="92"/>
                    <a:pt x="324" y="93"/>
                    <a:pt x="323" y="94"/>
                  </a:cubicBezTo>
                  <a:cubicBezTo>
                    <a:pt x="322" y="96"/>
                    <a:pt x="321" y="97"/>
                    <a:pt x="320" y="98"/>
                  </a:cubicBezTo>
                  <a:cubicBezTo>
                    <a:pt x="319" y="100"/>
                    <a:pt x="319" y="101"/>
                    <a:pt x="318" y="102"/>
                  </a:cubicBezTo>
                  <a:cubicBezTo>
                    <a:pt x="317" y="103"/>
                    <a:pt x="317" y="104"/>
                    <a:pt x="316" y="104"/>
                  </a:cubicBezTo>
                  <a:cubicBezTo>
                    <a:pt x="306" y="102"/>
                    <a:pt x="295" y="101"/>
                    <a:pt x="284" y="101"/>
                  </a:cubicBezTo>
                  <a:cubicBezTo>
                    <a:pt x="190" y="101"/>
                    <a:pt x="114" y="177"/>
                    <a:pt x="114" y="271"/>
                  </a:cubicBezTo>
                  <a:cubicBezTo>
                    <a:pt x="114" y="274"/>
                    <a:pt x="114" y="278"/>
                    <a:pt x="114" y="282"/>
                  </a:cubicBezTo>
                  <a:cubicBezTo>
                    <a:pt x="50" y="291"/>
                    <a:pt x="0" y="346"/>
                    <a:pt x="0" y="413"/>
                  </a:cubicBezTo>
                  <a:cubicBezTo>
                    <a:pt x="0" y="480"/>
                    <a:pt x="50" y="536"/>
                    <a:pt x="114" y="545"/>
                  </a:cubicBezTo>
                  <a:cubicBezTo>
                    <a:pt x="114" y="547"/>
                    <a:pt x="114" y="547"/>
                    <a:pt x="114" y="547"/>
                  </a:cubicBezTo>
                  <a:cubicBezTo>
                    <a:pt x="156" y="547"/>
                    <a:pt x="156" y="547"/>
                    <a:pt x="156" y="547"/>
                  </a:cubicBezTo>
                  <a:cubicBezTo>
                    <a:pt x="187" y="586"/>
                    <a:pt x="235" y="611"/>
                    <a:pt x="289" y="611"/>
                  </a:cubicBezTo>
                  <a:cubicBezTo>
                    <a:pt x="292" y="611"/>
                    <a:pt x="295" y="611"/>
                    <a:pt x="298" y="610"/>
                  </a:cubicBezTo>
                  <a:cubicBezTo>
                    <a:pt x="299" y="610"/>
                    <a:pt x="299" y="610"/>
                    <a:pt x="299" y="610"/>
                  </a:cubicBezTo>
                  <a:cubicBezTo>
                    <a:pt x="302" y="610"/>
                    <a:pt x="304" y="610"/>
                    <a:pt x="307" y="610"/>
                  </a:cubicBezTo>
                  <a:cubicBezTo>
                    <a:pt x="307" y="610"/>
                    <a:pt x="308" y="610"/>
                    <a:pt x="308" y="610"/>
                  </a:cubicBezTo>
                  <a:cubicBezTo>
                    <a:pt x="311" y="609"/>
                    <a:pt x="313" y="609"/>
                    <a:pt x="316" y="609"/>
                  </a:cubicBezTo>
                  <a:cubicBezTo>
                    <a:pt x="316" y="608"/>
                    <a:pt x="316" y="608"/>
                    <a:pt x="317" y="608"/>
                  </a:cubicBezTo>
                  <a:cubicBezTo>
                    <a:pt x="319" y="608"/>
                    <a:pt x="322" y="607"/>
                    <a:pt x="324" y="607"/>
                  </a:cubicBezTo>
                  <a:cubicBezTo>
                    <a:pt x="325" y="607"/>
                    <a:pt x="325" y="607"/>
                    <a:pt x="325" y="607"/>
                  </a:cubicBezTo>
                  <a:cubicBezTo>
                    <a:pt x="328" y="606"/>
                    <a:pt x="330" y="606"/>
                    <a:pt x="333" y="605"/>
                  </a:cubicBezTo>
                  <a:cubicBezTo>
                    <a:pt x="333" y="605"/>
                    <a:pt x="333" y="605"/>
                    <a:pt x="334" y="605"/>
                  </a:cubicBezTo>
                  <a:cubicBezTo>
                    <a:pt x="336" y="604"/>
                    <a:pt x="338" y="603"/>
                    <a:pt x="341" y="603"/>
                  </a:cubicBezTo>
                  <a:cubicBezTo>
                    <a:pt x="341" y="602"/>
                    <a:pt x="341" y="602"/>
                    <a:pt x="342" y="602"/>
                  </a:cubicBezTo>
                  <a:cubicBezTo>
                    <a:pt x="344" y="601"/>
                    <a:pt x="346" y="601"/>
                    <a:pt x="349" y="600"/>
                  </a:cubicBezTo>
                  <a:cubicBezTo>
                    <a:pt x="349" y="600"/>
                    <a:pt x="349" y="599"/>
                    <a:pt x="350" y="599"/>
                  </a:cubicBezTo>
                  <a:cubicBezTo>
                    <a:pt x="352" y="598"/>
                    <a:pt x="354" y="598"/>
                    <a:pt x="357" y="597"/>
                  </a:cubicBezTo>
                  <a:cubicBezTo>
                    <a:pt x="357" y="596"/>
                    <a:pt x="357" y="596"/>
                    <a:pt x="357" y="596"/>
                  </a:cubicBezTo>
                  <a:cubicBezTo>
                    <a:pt x="360" y="595"/>
                    <a:pt x="362" y="594"/>
                    <a:pt x="364" y="593"/>
                  </a:cubicBezTo>
                  <a:cubicBezTo>
                    <a:pt x="365" y="593"/>
                    <a:pt x="365" y="593"/>
                    <a:pt x="365" y="593"/>
                  </a:cubicBezTo>
                  <a:cubicBezTo>
                    <a:pt x="367" y="591"/>
                    <a:pt x="370" y="590"/>
                    <a:pt x="372" y="589"/>
                  </a:cubicBezTo>
                  <a:cubicBezTo>
                    <a:pt x="372" y="589"/>
                    <a:pt x="372" y="589"/>
                    <a:pt x="372" y="589"/>
                  </a:cubicBezTo>
                  <a:cubicBezTo>
                    <a:pt x="375" y="587"/>
                    <a:pt x="377" y="586"/>
                    <a:pt x="379" y="585"/>
                  </a:cubicBezTo>
                  <a:cubicBezTo>
                    <a:pt x="379" y="585"/>
                    <a:pt x="379" y="585"/>
                    <a:pt x="379" y="585"/>
                  </a:cubicBezTo>
                  <a:cubicBezTo>
                    <a:pt x="382" y="583"/>
                    <a:pt x="384" y="582"/>
                    <a:pt x="386" y="580"/>
                  </a:cubicBezTo>
                  <a:cubicBezTo>
                    <a:pt x="386" y="580"/>
                    <a:pt x="386" y="580"/>
                    <a:pt x="386" y="580"/>
                  </a:cubicBezTo>
                  <a:cubicBezTo>
                    <a:pt x="388" y="578"/>
                    <a:pt x="391" y="577"/>
                    <a:pt x="393" y="575"/>
                  </a:cubicBezTo>
                  <a:cubicBezTo>
                    <a:pt x="393" y="575"/>
                    <a:pt x="393" y="575"/>
                    <a:pt x="393" y="575"/>
                  </a:cubicBezTo>
                  <a:cubicBezTo>
                    <a:pt x="395" y="573"/>
                    <a:pt x="397" y="572"/>
                    <a:pt x="399" y="570"/>
                  </a:cubicBezTo>
                  <a:cubicBezTo>
                    <a:pt x="399" y="570"/>
                    <a:pt x="399" y="570"/>
                    <a:pt x="399" y="570"/>
                  </a:cubicBezTo>
                  <a:cubicBezTo>
                    <a:pt x="401" y="568"/>
                    <a:pt x="403" y="566"/>
                    <a:pt x="405" y="564"/>
                  </a:cubicBezTo>
                  <a:cubicBezTo>
                    <a:pt x="405" y="564"/>
                    <a:pt x="405" y="564"/>
                    <a:pt x="405" y="564"/>
                  </a:cubicBezTo>
                  <a:cubicBezTo>
                    <a:pt x="407" y="562"/>
                    <a:pt x="409" y="560"/>
                    <a:pt x="411" y="558"/>
                  </a:cubicBezTo>
                  <a:cubicBezTo>
                    <a:pt x="411" y="558"/>
                    <a:pt x="411" y="558"/>
                    <a:pt x="411" y="558"/>
                  </a:cubicBezTo>
                  <a:cubicBezTo>
                    <a:pt x="411" y="558"/>
                    <a:pt x="411" y="558"/>
                    <a:pt x="411" y="558"/>
                  </a:cubicBezTo>
                  <a:cubicBezTo>
                    <a:pt x="414" y="560"/>
                    <a:pt x="417" y="562"/>
                    <a:pt x="420" y="563"/>
                  </a:cubicBezTo>
                  <a:cubicBezTo>
                    <a:pt x="421" y="564"/>
                    <a:pt x="422" y="564"/>
                    <a:pt x="423" y="565"/>
                  </a:cubicBezTo>
                  <a:cubicBezTo>
                    <a:pt x="425" y="566"/>
                    <a:pt x="428" y="567"/>
                    <a:pt x="430" y="568"/>
                  </a:cubicBezTo>
                  <a:cubicBezTo>
                    <a:pt x="431" y="569"/>
                    <a:pt x="431" y="569"/>
                    <a:pt x="432" y="569"/>
                  </a:cubicBezTo>
                  <a:cubicBezTo>
                    <a:pt x="435" y="571"/>
                    <a:pt x="439" y="572"/>
                    <a:pt x="442" y="573"/>
                  </a:cubicBezTo>
                  <a:cubicBezTo>
                    <a:pt x="442" y="573"/>
                    <a:pt x="443" y="573"/>
                    <a:pt x="443" y="573"/>
                  </a:cubicBezTo>
                  <a:cubicBezTo>
                    <a:pt x="446" y="574"/>
                    <a:pt x="449" y="575"/>
                    <a:pt x="452" y="576"/>
                  </a:cubicBezTo>
                  <a:cubicBezTo>
                    <a:pt x="453" y="576"/>
                    <a:pt x="453" y="577"/>
                    <a:pt x="454" y="577"/>
                  </a:cubicBezTo>
                  <a:cubicBezTo>
                    <a:pt x="457" y="578"/>
                    <a:pt x="460" y="578"/>
                    <a:pt x="463" y="579"/>
                  </a:cubicBezTo>
                  <a:cubicBezTo>
                    <a:pt x="463" y="579"/>
                    <a:pt x="464" y="579"/>
                    <a:pt x="465" y="579"/>
                  </a:cubicBezTo>
                  <a:cubicBezTo>
                    <a:pt x="468" y="580"/>
                    <a:pt x="472" y="581"/>
                    <a:pt x="475" y="581"/>
                  </a:cubicBezTo>
                  <a:cubicBezTo>
                    <a:pt x="476" y="581"/>
                    <a:pt x="477" y="582"/>
                    <a:pt x="478" y="582"/>
                  </a:cubicBezTo>
                  <a:cubicBezTo>
                    <a:pt x="480" y="582"/>
                    <a:pt x="483" y="582"/>
                    <a:pt x="486" y="582"/>
                  </a:cubicBezTo>
                  <a:cubicBezTo>
                    <a:pt x="487" y="583"/>
                    <a:pt x="488" y="583"/>
                    <a:pt x="489" y="583"/>
                  </a:cubicBezTo>
                  <a:cubicBezTo>
                    <a:pt x="492" y="583"/>
                    <a:pt x="496" y="583"/>
                    <a:pt x="500" y="583"/>
                  </a:cubicBezTo>
                  <a:cubicBezTo>
                    <a:pt x="503" y="583"/>
                    <a:pt x="506" y="583"/>
                    <a:pt x="509" y="583"/>
                  </a:cubicBezTo>
                  <a:cubicBezTo>
                    <a:pt x="510" y="583"/>
                    <a:pt x="511" y="583"/>
                    <a:pt x="512" y="583"/>
                  </a:cubicBezTo>
                  <a:cubicBezTo>
                    <a:pt x="514" y="582"/>
                    <a:pt x="516" y="582"/>
                    <a:pt x="518" y="582"/>
                  </a:cubicBezTo>
                  <a:cubicBezTo>
                    <a:pt x="518" y="582"/>
                    <a:pt x="519" y="582"/>
                    <a:pt x="519" y="582"/>
                  </a:cubicBezTo>
                  <a:cubicBezTo>
                    <a:pt x="519" y="582"/>
                    <a:pt x="519" y="582"/>
                    <a:pt x="519" y="582"/>
                  </a:cubicBezTo>
                  <a:cubicBezTo>
                    <a:pt x="546" y="579"/>
                    <a:pt x="570" y="570"/>
                    <a:pt x="592" y="556"/>
                  </a:cubicBezTo>
                  <a:cubicBezTo>
                    <a:pt x="623" y="595"/>
                    <a:pt x="671" y="620"/>
                    <a:pt x="724" y="620"/>
                  </a:cubicBezTo>
                  <a:cubicBezTo>
                    <a:pt x="772" y="620"/>
                    <a:pt x="815" y="600"/>
                    <a:pt x="846" y="568"/>
                  </a:cubicBezTo>
                  <a:cubicBezTo>
                    <a:pt x="847" y="568"/>
                    <a:pt x="848" y="568"/>
                    <a:pt x="849" y="568"/>
                  </a:cubicBezTo>
                  <a:cubicBezTo>
                    <a:pt x="873" y="568"/>
                    <a:pt x="895" y="560"/>
                    <a:pt x="913" y="547"/>
                  </a:cubicBezTo>
                  <a:cubicBezTo>
                    <a:pt x="940" y="547"/>
                    <a:pt x="940" y="547"/>
                    <a:pt x="940" y="547"/>
                  </a:cubicBezTo>
                  <a:cubicBezTo>
                    <a:pt x="998" y="547"/>
                    <a:pt x="1046" y="499"/>
                    <a:pt x="1046" y="441"/>
                  </a:cubicBezTo>
                  <a:cubicBezTo>
                    <a:pt x="1046" y="383"/>
                    <a:pt x="998" y="335"/>
                    <a:pt x="940" y="335"/>
                  </a:cubicBezTo>
                  <a:close/>
                </a:path>
              </a:pathLst>
            </a:cu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9" name="ïśļíďé">
              <a:extLst>
                <a:ext uri="{FF2B5EF4-FFF2-40B4-BE49-F238E27FC236}">
                  <a16:creationId xmlns:a16="http://schemas.microsoft.com/office/drawing/2014/main" id="{F400AEA7-0B78-463F-BA4E-1E9DFB7F6457}"/>
                </a:ext>
              </a:extLst>
            </p:cNvPr>
            <p:cNvSpPr/>
            <p:nvPr/>
          </p:nvSpPr>
          <p:spPr bwMode="auto">
            <a:xfrm>
              <a:off x="3989604" y="3119013"/>
              <a:ext cx="2220913" cy="1687938"/>
            </a:xfrm>
            <a:custGeom>
              <a:avLst/>
              <a:gdLst>
                <a:gd name="T0" fmla="*/ 0 w 710"/>
                <a:gd name="T1" fmla="*/ 8 h 782"/>
                <a:gd name="T2" fmla="*/ 72 w 710"/>
                <a:gd name="T3" fmla="*/ 0 h 782"/>
                <a:gd name="T4" fmla="*/ 72 w 710"/>
                <a:gd name="T5" fmla="*/ 8 h 782"/>
                <a:gd name="T6" fmla="*/ 96 w 710"/>
                <a:gd name="T7" fmla="*/ 0 h 782"/>
                <a:gd name="T8" fmla="*/ 120 w 710"/>
                <a:gd name="T9" fmla="*/ 0 h 782"/>
                <a:gd name="T10" fmla="*/ 145 w 710"/>
                <a:gd name="T11" fmla="*/ 8 h 782"/>
                <a:gd name="T12" fmla="*/ 217 w 710"/>
                <a:gd name="T13" fmla="*/ 0 h 782"/>
                <a:gd name="T14" fmla="*/ 217 w 710"/>
                <a:gd name="T15" fmla="*/ 8 h 782"/>
                <a:gd name="T16" fmla="*/ 241 w 710"/>
                <a:gd name="T17" fmla="*/ 0 h 782"/>
                <a:gd name="T18" fmla="*/ 265 w 710"/>
                <a:gd name="T19" fmla="*/ 0 h 782"/>
                <a:gd name="T20" fmla="*/ 289 w 710"/>
                <a:gd name="T21" fmla="*/ 8 h 782"/>
                <a:gd name="T22" fmla="*/ 361 w 710"/>
                <a:gd name="T23" fmla="*/ 0 h 782"/>
                <a:gd name="T24" fmla="*/ 361 w 710"/>
                <a:gd name="T25" fmla="*/ 8 h 782"/>
                <a:gd name="T26" fmla="*/ 385 w 710"/>
                <a:gd name="T27" fmla="*/ 0 h 782"/>
                <a:gd name="T28" fmla="*/ 409 w 710"/>
                <a:gd name="T29" fmla="*/ 0 h 782"/>
                <a:gd name="T30" fmla="*/ 433 w 710"/>
                <a:gd name="T31" fmla="*/ 8 h 782"/>
                <a:gd name="T32" fmla="*/ 506 w 710"/>
                <a:gd name="T33" fmla="*/ 0 h 782"/>
                <a:gd name="T34" fmla="*/ 506 w 710"/>
                <a:gd name="T35" fmla="*/ 8 h 782"/>
                <a:gd name="T36" fmla="*/ 530 w 710"/>
                <a:gd name="T37" fmla="*/ 0 h 782"/>
                <a:gd name="T38" fmla="*/ 554 w 710"/>
                <a:gd name="T39" fmla="*/ 0 h 782"/>
                <a:gd name="T40" fmla="*/ 578 w 710"/>
                <a:gd name="T41" fmla="*/ 8 h 782"/>
                <a:gd name="T42" fmla="*/ 650 w 710"/>
                <a:gd name="T43" fmla="*/ 0 h 782"/>
                <a:gd name="T44" fmla="*/ 650 w 710"/>
                <a:gd name="T45" fmla="*/ 8 h 782"/>
                <a:gd name="T46" fmla="*/ 675 w 710"/>
                <a:gd name="T47" fmla="*/ 1 h 782"/>
                <a:gd name="T48" fmla="*/ 698 w 710"/>
                <a:gd name="T49" fmla="*/ 12 h 782"/>
                <a:gd name="T50" fmla="*/ 709 w 710"/>
                <a:gd name="T51" fmla="*/ 36 h 782"/>
                <a:gd name="T52" fmla="*/ 702 w 710"/>
                <a:gd name="T53" fmla="*/ 60 h 782"/>
                <a:gd name="T54" fmla="*/ 710 w 710"/>
                <a:gd name="T55" fmla="*/ 84 h 782"/>
                <a:gd name="T56" fmla="*/ 710 w 710"/>
                <a:gd name="T57" fmla="*/ 108 h 782"/>
                <a:gd name="T58" fmla="*/ 702 w 710"/>
                <a:gd name="T59" fmla="*/ 132 h 782"/>
                <a:gd name="T60" fmla="*/ 710 w 710"/>
                <a:gd name="T61" fmla="*/ 205 h 782"/>
                <a:gd name="T62" fmla="*/ 702 w 710"/>
                <a:gd name="T63" fmla="*/ 205 h 782"/>
                <a:gd name="T64" fmla="*/ 710 w 710"/>
                <a:gd name="T65" fmla="*/ 229 h 782"/>
                <a:gd name="T66" fmla="*/ 710 w 710"/>
                <a:gd name="T67" fmla="*/ 253 h 782"/>
                <a:gd name="T68" fmla="*/ 702 w 710"/>
                <a:gd name="T69" fmla="*/ 277 h 782"/>
                <a:gd name="T70" fmla="*/ 710 w 710"/>
                <a:gd name="T71" fmla="*/ 349 h 782"/>
                <a:gd name="T72" fmla="*/ 702 w 710"/>
                <a:gd name="T73" fmla="*/ 349 h 782"/>
                <a:gd name="T74" fmla="*/ 710 w 710"/>
                <a:gd name="T75" fmla="*/ 373 h 782"/>
                <a:gd name="T76" fmla="*/ 710 w 710"/>
                <a:gd name="T77" fmla="*/ 397 h 782"/>
                <a:gd name="T78" fmla="*/ 702 w 710"/>
                <a:gd name="T79" fmla="*/ 421 h 782"/>
                <a:gd name="T80" fmla="*/ 710 w 710"/>
                <a:gd name="T81" fmla="*/ 493 h 782"/>
                <a:gd name="T82" fmla="*/ 702 w 710"/>
                <a:gd name="T83" fmla="*/ 493 h 782"/>
                <a:gd name="T84" fmla="*/ 710 w 710"/>
                <a:gd name="T85" fmla="*/ 518 h 782"/>
                <a:gd name="T86" fmla="*/ 710 w 710"/>
                <a:gd name="T87" fmla="*/ 542 h 782"/>
                <a:gd name="T88" fmla="*/ 702 w 710"/>
                <a:gd name="T89" fmla="*/ 566 h 782"/>
                <a:gd name="T90" fmla="*/ 710 w 710"/>
                <a:gd name="T91" fmla="*/ 638 h 782"/>
                <a:gd name="T92" fmla="*/ 702 w 710"/>
                <a:gd name="T93" fmla="*/ 638 h 782"/>
                <a:gd name="T94" fmla="*/ 710 w 710"/>
                <a:gd name="T95" fmla="*/ 662 h 782"/>
                <a:gd name="T96" fmla="*/ 710 w 710"/>
                <a:gd name="T97" fmla="*/ 686 h 782"/>
                <a:gd name="T98" fmla="*/ 702 w 710"/>
                <a:gd name="T99" fmla="*/ 710 h 782"/>
                <a:gd name="T100" fmla="*/ 710 w 710"/>
                <a:gd name="T101" fmla="*/ 782 h 782"/>
                <a:gd name="T102" fmla="*/ 702 w 710"/>
                <a:gd name="T103" fmla="*/ 782 h 7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10" h="782">
                  <a:moveTo>
                    <a:pt x="2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24" y="8"/>
                    <a:pt x="24" y="8"/>
                    <a:pt x="24" y="8"/>
                  </a:cubicBezTo>
                  <a:lnTo>
                    <a:pt x="24" y="0"/>
                  </a:lnTo>
                  <a:close/>
                  <a:moveTo>
                    <a:pt x="72" y="0"/>
                  </a:moveTo>
                  <a:cubicBezTo>
                    <a:pt x="48" y="0"/>
                    <a:pt x="48" y="0"/>
                    <a:pt x="48" y="0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72" y="8"/>
                    <a:pt x="72" y="8"/>
                    <a:pt x="72" y="8"/>
                  </a:cubicBezTo>
                  <a:lnTo>
                    <a:pt x="72" y="0"/>
                  </a:lnTo>
                  <a:close/>
                  <a:moveTo>
                    <a:pt x="120" y="0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120" y="8"/>
                    <a:pt x="120" y="8"/>
                    <a:pt x="120" y="8"/>
                  </a:cubicBezTo>
                  <a:lnTo>
                    <a:pt x="120" y="0"/>
                  </a:lnTo>
                  <a:close/>
                  <a:moveTo>
                    <a:pt x="169" y="0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45" y="8"/>
                    <a:pt x="145" y="8"/>
                    <a:pt x="145" y="8"/>
                  </a:cubicBezTo>
                  <a:cubicBezTo>
                    <a:pt x="169" y="8"/>
                    <a:pt x="169" y="8"/>
                    <a:pt x="169" y="8"/>
                  </a:cubicBezTo>
                  <a:lnTo>
                    <a:pt x="169" y="0"/>
                  </a:lnTo>
                  <a:close/>
                  <a:moveTo>
                    <a:pt x="217" y="0"/>
                  </a:moveTo>
                  <a:cubicBezTo>
                    <a:pt x="193" y="0"/>
                    <a:pt x="193" y="0"/>
                    <a:pt x="193" y="0"/>
                  </a:cubicBezTo>
                  <a:cubicBezTo>
                    <a:pt x="193" y="8"/>
                    <a:pt x="193" y="8"/>
                    <a:pt x="193" y="8"/>
                  </a:cubicBezTo>
                  <a:cubicBezTo>
                    <a:pt x="217" y="8"/>
                    <a:pt x="217" y="8"/>
                    <a:pt x="217" y="8"/>
                  </a:cubicBezTo>
                  <a:lnTo>
                    <a:pt x="217" y="0"/>
                  </a:lnTo>
                  <a:close/>
                  <a:moveTo>
                    <a:pt x="265" y="0"/>
                  </a:moveTo>
                  <a:cubicBezTo>
                    <a:pt x="241" y="0"/>
                    <a:pt x="241" y="0"/>
                    <a:pt x="241" y="0"/>
                  </a:cubicBezTo>
                  <a:cubicBezTo>
                    <a:pt x="241" y="8"/>
                    <a:pt x="241" y="8"/>
                    <a:pt x="241" y="8"/>
                  </a:cubicBezTo>
                  <a:cubicBezTo>
                    <a:pt x="265" y="8"/>
                    <a:pt x="265" y="8"/>
                    <a:pt x="265" y="8"/>
                  </a:cubicBezTo>
                  <a:lnTo>
                    <a:pt x="265" y="0"/>
                  </a:lnTo>
                  <a:close/>
                  <a:moveTo>
                    <a:pt x="313" y="0"/>
                  </a:moveTo>
                  <a:cubicBezTo>
                    <a:pt x="289" y="0"/>
                    <a:pt x="289" y="0"/>
                    <a:pt x="289" y="0"/>
                  </a:cubicBezTo>
                  <a:cubicBezTo>
                    <a:pt x="289" y="8"/>
                    <a:pt x="289" y="8"/>
                    <a:pt x="289" y="8"/>
                  </a:cubicBezTo>
                  <a:cubicBezTo>
                    <a:pt x="313" y="8"/>
                    <a:pt x="313" y="8"/>
                    <a:pt x="313" y="8"/>
                  </a:cubicBezTo>
                  <a:lnTo>
                    <a:pt x="313" y="0"/>
                  </a:lnTo>
                  <a:close/>
                  <a:moveTo>
                    <a:pt x="361" y="0"/>
                  </a:moveTo>
                  <a:cubicBezTo>
                    <a:pt x="337" y="0"/>
                    <a:pt x="337" y="0"/>
                    <a:pt x="337" y="0"/>
                  </a:cubicBezTo>
                  <a:cubicBezTo>
                    <a:pt x="337" y="8"/>
                    <a:pt x="337" y="8"/>
                    <a:pt x="337" y="8"/>
                  </a:cubicBezTo>
                  <a:cubicBezTo>
                    <a:pt x="361" y="8"/>
                    <a:pt x="361" y="8"/>
                    <a:pt x="361" y="8"/>
                  </a:cubicBezTo>
                  <a:lnTo>
                    <a:pt x="361" y="0"/>
                  </a:lnTo>
                  <a:close/>
                  <a:moveTo>
                    <a:pt x="409" y="0"/>
                  </a:moveTo>
                  <a:cubicBezTo>
                    <a:pt x="385" y="0"/>
                    <a:pt x="385" y="0"/>
                    <a:pt x="385" y="0"/>
                  </a:cubicBezTo>
                  <a:cubicBezTo>
                    <a:pt x="385" y="8"/>
                    <a:pt x="385" y="8"/>
                    <a:pt x="385" y="8"/>
                  </a:cubicBezTo>
                  <a:cubicBezTo>
                    <a:pt x="409" y="8"/>
                    <a:pt x="409" y="8"/>
                    <a:pt x="409" y="8"/>
                  </a:cubicBezTo>
                  <a:lnTo>
                    <a:pt x="409" y="0"/>
                  </a:lnTo>
                  <a:close/>
                  <a:moveTo>
                    <a:pt x="457" y="0"/>
                  </a:moveTo>
                  <a:cubicBezTo>
                    <a:pt x="433" y="0"/>
                    <a:pt x="433" y="0"/>
                    <a:pt x="433" y="0"/>
                  </a:cubicBezTo>
                  <a:cubicBezTo>
                    <a:pt x="433" y="8"/>
                    <a:pt x="433" y="8"/>
                    <a:pt x="433" y="8"/>
                  </a:cubicBezTo>
                  <a:cubicBezTo>
                    <a:pt x="457" y="8"/>
                    <a:pt x="457" y="8"/>
                    <a:pt x="457" y="8"/>
                  </a:cubicBezTo>
                  <a:lnTo>
                    <a:pt x="457" y="0"/>
                  </a:lnTo>
                  <a:close/>
                  <a:moveTo>
                    <a:pt x="506" y="0"/>
                  </a:moveTo>
                  <a:cubicBezTo>
                    <a:pt x="482" y="0"/>
                    <a:pt x="482" y="0"/>
                    <a:pt x="482" y="0"/>
                  </a:cubicBezTo>
                  <a:cubicBezTo>
                    <a:pt x="482" y="8"/>
                    <a:pt x="482" y="8"/>
                    <a:pt x="482" y="8"/>
                  </a:cubicBezTo>
                  <a:cubicBezTo>
                    <a:pt x="506" y="8"/>
                    <a:pt x="506" y="8"/>
                    <a:pt x="506" y="8"/>
                  </a:cubicBezTo>
                  <a:lnTo>
                    <a:pt x="506" y="0"/>
                  </a:lnTo>
                  <a:close/>
                  <a:moveTo>
                    <a:pt x="554" y="0"/>
                  </a:moveTo>
                  <a:cubicBezTo>
                    <a:pt x="530" y="0"/>
                    <a:pt x="530" y="0"/>
                    <a:pt x="530" y="0"/>
                  </a:cubicBezTo>
                  <a:cubicBezTo>
                    <a:pt x="530" y="8"/>
                    <a:pt x="530" y="8"/>
                    <a:pt x="530" y="8"/>
                  </a:cubicBezTo>
                  <a:cubicBezTo>
                    <a:pt x="554" y="8"/>
                    <a:pt x="554" y="8"/>
                    <a:pt x="554" y="8"/>
                  </a:cubicBezTo>
                  <a:lnTo>
                    <a:pt x="554" y="0"/>
                  </a:lnTo>
                  <a:close/>
                  <a:moveTo>
                    <a:pt x="602" y="0"/>
                  </a:moveTo>
                  <a:cubicBezTo>
                    <a:pt x="578" y="0"/>
                    <a:pt x="578" y="0"/>
                    <a:pt x="578" y="0"/>
                  </a:cubicBezTo>
                  <a:cubicBezTo>
                    <a:pt x="578" y="8"/>
                    <a:pt x="578" y="8"/>
                    <a:pt x="578" y="8"/>
                  </a:cubicBezTo>
                  <a:cubicBezTo>
                    <a:pt x="602" y="8"/>
                    <a:pt x="602" y="8"/>
                    <a:pt x="602" y="8"/>
                  </a:cubicBezTo>
                  <a:lnTo>
                    <a:pt x="602" y="0"/>
                  </a:lnTo>
                  <a:close/>
                  <a:moveTo>
                    <a:pt x="650" y="0"/>
                  </a:moveTo>
                  <a:cubicBezTo>
                    <a:pt x="626" y="0"/>
                    <a:pt x="626" y="0"/>
                    <a:pt x="626" y="0"/>
                  </a:cubicBezTo>
                  <a:cubicBezTo>
                    <a:pt x="626" y="8"/>
                    <a:pt x="626" y="8"/>
                    <a:pt x="626" y="8"/>
                  </a:cubicBezTo>
                  <a:cubicBezTo>
                    <a:pt x="650" y="8"/>
                    <a:pt x="650" y="8"/>
                    <a:pt x="650" y="8"/>
                  </a:cubicBezTo>
                  <a:lnTo>
                    <a:pt x="650" y="0"/>
                  </a:lnTo>
                  <a:close/>
                  <a:moveTo>
                    <a:pt x="698" y="12"/>
                  </a:moveTo>
                  <a:cubicBezTo>
                    <a:pt x="693" y="6"/>
                    <a:pt x="685" y="2"/>
                    <a:pt x="675" y="1"/>
                  </a:cubicBezTo>
                  <a:cubicBezTo>
                    <a:pt x="674" y="8"/>
                    <a:pt x="674" y="8"/>
                    <a:pt x="674" y="8"/>
                  </a:cubicBezTo>
                  <a:cubicBezTo>
                    <a:pt x="682" y="10"/>
                    <a:pt x="688" y="13"/>
                    <a:pt x="693" y="17"/>
                  </a:cubicBezTo>
                  <a:cubicBezTo>
                    <a:pt x="698" y="12"/>
                    <a:pt x="698" y="12"/>
                    <a:pt x="698" y="12"/>
                  </a:cubicBezTo>
                  <a:close/>
                  <a:moveTo>
                    <a:pt x="710" y="60"/>
                  </a:moveTo>
                  <a:cubicBezTo>
                    <a:pt x="710" y="48"/>
                    <a:pt x="710" y="48"/>
                    <a:pt x="710" y="48"/>
                  </a:cubicBezTo>
                  <a:cubicBezTo>
                    <a:pt x="710" y="44"/>
                    <a:pt x="710" y="40"/>
                    <a:pt x="709" y="36"/>
                  </a:cubicBezTo>
                  <a:cubicBezTo>
                    <a:pt x="701" y="37"/>
                    <a:pt x="701" y="37"/>
                    <a:pt x="701" y="37"/>
                  </a:cubicBezTo>
                  <a:cubicBezTo>
                    <a:pt x="702" y="40"/>
                    <a:pt x="702" y="44"/>
                    <a:pt x="702" y="48"/>
                  </a:cubicBezTo>
                  <a:cubicBezTo>
                    <a:pt x="702" y="60"/>
                    <a:pt x="702" y="60"/>
                    <a:pt x="702" y="60"/>
                  </a:cubicBezTo>
                  <a:cubicBezTo>
                    <a:pt x="710" y="60"/>
                    <a:pt x="710" y="60"/>
                    <a:pt x="710" y="60"/>
                  </a:cubicBezTo>
                  <a:close/>
                  <a:moveTo>
                    <a:pt x="710" y="108"/>
                  </a:moveTo>
                  <a:cubicBezTo>
                    <a:pt x="710" y="84"/>
                    <a:pt x="710" y="84"/>
                    <a:pt x="710" y="84"/>
                  </a:cubicBezTo>
                  <a:cubicBezTo>
                    <a:pt x="702" y="84"/>
                    <a:pt x="702" y="84"/>
                    <a:pt x="702" y="84"/>
                  </a:cubicBezTo>
                  <a:cubicBezTo>
                    <a:pt x="702" y="108"/>
                    <a:pt x="702" y="108"/>
                    <a:pt x="702" y="108"/>
                  </a:cubicBezTo>
                  <a:lnTo>
                    <a:pt x="710" y="108"/>
                  </a:lnTo>
                  <a:close/>
                  <a:moveTo>
                    <a:pt x="710" y="156"/>
                  </a:moveTo>
                  <a:cubicBezTo>
                    <a:pt x="710" y="132"/>
                    <a:pt x="710" y="132"/>
                    <a:pt x="710" y="132"/>
                  </a:cubicBezTo>
                  <a:cubicBezTo>
                    <a:pt x="702" y="132"/>
                    <a:pt x="702" y="132"/>
                    <a:pt x="702" y="132"/>
                  </a:cubicBezTo>
                  <a:cubicBezTo>
                    <a:pt x="702" y="156"/>
                    <a:pt x="702" y="156"/>
                    <a:pt x="702" y="156"/>
                  </a:cubicBezTo>
                  <a:lnTo>
                    <a:pt x="710" y="156"/>
                  </a:lnTo>
                  <a:close/>
                  <a:moveTo>
                    <a:pt x="710" y="205"/>
                  </a:moveTo>
                  <a:cubicBezTo>
                    <a:pt x="710" y="181"/>
                    <a:pt x="710" y="181"/>
                    <a:pt x="710" y="181"/>
                  </a:cubicBezTo>
                  <a:cubicBezTo>
                    <a:pt x="702" y="181"/>
                    <a:pt x="702" y="181"/>
                    <a:pt x="702" y="181"/>
                  </a:cubicBezTo>
                  <a:cubicBezTo>
                    <a:pt x="702" y="205"/>
                    <a:pt x="702" y="205"/>
                    <a:pt x="702" y="205"/>
                  </a:cubicBezTo>
                  <a:lnTo>
                    <a:pt x="710" y="205"/>
                  </a:lnTo>
                  <a:close/>
                  <a:moveTo>
                    <a:pt x="710" y="253"/>
                  </a:moveTo>
                  <a:cubicBezTo>
                    <a:pt x="710" y="229"/>
                    <a:pt x="710" y="229"/>
                    <a:pt x="710" y="229"/>
                  </a:cubicBezTo>
                  <a:cubicBezTo>
                    <a:pt x="702" y="229"/>
                    <a:pt x="702" y="229"/>
                    <a:pt x="702" y="229"/>
                  </a:cubicBezTo>
                  <a:cubicBezTo>
                    <a:pt x="702" y="253"/>
                    <a:pt x="702" y="253"/>
                    <a:pt x="702" y="253"/>
                  </a:cubicBezTo>
                  <a:lnTo>
                    <a:pt x="710" y="253"/>
                  </a:lnTo>
                  <a:close/>
                  <a:moveTo>
                    <a:pt x="710" y="301"/>
                  </a:moveTo>
                  <a:cubicBezTo>
                    <a:pt x="710" y="277"/>
                    <a:pt x="710" y="277"/>
                    <a:pt x="710" y="277"/>
                  </a:cubicBezTo>
                  <a:cubicBezTo>
                    <a:pt x="702" y="277"/>
                    <a:pt x="702" y="277"/>
                    <a:pt x="702" y="277"/>
                  </a:cubicBezTo>
                  <a:cubicBezTo>
                    <a:pt x="702" y="301"/>
                    <a:pt x="702" y="301"/>
                    <a:pt x="702" y="301"/>
                  </a:cubicBezTo>
                  <a:lnTo>
                    <a:pt x="710" y="301"/>
                  </a:lnTo>
                  <a:close/>
                  <a:moveTo>
                    <a:pt x="710" y="349"/>
                  </a:moveTo>
                  <a:cubicBezTo>
                    <a:pt x="710" y="325"/>
                    <a:pt x="710" y="325"/>
                    <a:pt x="710" y="325"/>
                  </a:cubicBezTo>
                  <a:cubicBezTo>
                    <a:pt x="702" y="325"/>
                    <a:pt x="702" y="325"/>
                    <a:pt x="702" y="325"/>
                  </a:cubicBezTo>
                  <a:cubicBezTo>
                    <a:pt x="702" y="349"/>
                    <a:pt x="702" y="349"/>
                    <a:pt x="702" y="349"/>
                  </a:cubicBezTo>
                  <a:lnTo>
                    <a:pt x="710" y="349"/>
                  </a:lnTo>
                  <a:close/>
                  <a:moveTo>
                    <a:pt x="710" y="397"/>
                  </a:moveTo>
                  <a:cubicBezTo>
                    <a:pt x="710" y="373"/>
                    <a:pt x="710" y="373"/>
                    <a:pt x="710" y="373"/>
                  </a:cubicBezTo>
                  <a:cubicBezTo>
                    <a:pt x="702" y="373"/>
                    <a:pt x="702" y="373"/>
                    <a:pt x="702" y="373"/>
                  </a:cubicBezTo>
                  <a:cubicBezTo>
                    <a:pt x="702" y="397"/>
                    <a:pt x="702" y="397"/>
                    <a:pt x="702" y="397"/>
                  </a:cubicBezTo>
                  <a:lnTo>
                    <a:pt x="710" y="397"/>
                  </a:lnTo>
                  <a:close/>
                  <a:moveTo>
                    <a:pt x="710" y="445"/>
                  </a:moveTo>
                  <a:cubicBezTo>
                    <a:pt x="710" y="421"/>
                    <a:pt x="710" y="421"/>
                    <a:pt x="710" y="421"/>
                  </a:cubicBezTo>
                  <a:cubicBezTo>
                    <a:pt x="702" y="421"/>
                    <a:pt x="702" y="421"/>
                    <a:pt x="702" y="421"/>
                  </a:cubicBezTo>
                  <a:cubicBezTo>
                    <a:pt x="702" y="445"/>
                    <a:pt x="702" y="445"/>
                    <a:pt x="702" y="445"/>
                  </a:cubicBezTo>
                  <a:lnTo>
                    <a:pt x="710" y="445"/>
                  </a:lnTo>
                  <a:close/>
                  <a:moveTo>
                    <a:pt x="710" y="493"/>
                  </a:moveTo>
                  <a:cubicBezTo>
                    <a:pt x="710" y="469"/>
                    <a:pt x="710" y="469"/>
                    <a:pt x="710" y="469"/>
                  </a:cubicBezTo>
                  <a:cubicBezTo>
                    <a:pt x="702" y="469"/>
                    <a:pt x="702" y="469"/>
                    <a:pt x="702" y="469"/>
                  </a:cubicBezTo>
                  <a:cubicBezTo>
                    <a:pt x="702" y="493"/>
                    <a:pt x="702" y="493"/>
                    <a:pt x="702" y="493"/>
                  </a:cubicBezTo>
                  <a:lnTo>
                    <a:pt x="710" y="493"/>
                  </a:lnTo>
                  <a:close/>
                  <a:moveTo>
                    <a:pt x="710" y="542"/>
                  </a:moveTo>
                  <a:cubicBezTo>
                    <a:pt x="710" y="518"/>
                    <a:pt x="710" y="518"/>
                    <a:pt x="710" y="518"/>
                  </a:cubicBezTo>
                  <a:cubicBezTo>
                    <a:pt x="702" y="518"/>
                    <a:pt x="702" y="518"/>
                    <a:pt x="702" y="518"/>
                  </a:cubicBezTo>
                  <a:cubicBezTo>
                    <a:pt x="702" y="542"/>
                    <a:pt x="702" y="542"/>
                    <a:pt x="702" y="542"/>
                  </a:cubicBezTo>
                  <a:lnTo>
                    <a:pt x="710" y="542"/>
                  </a:lnTo>
                  <a:close/>
                  <a:moveTo>
                    <a:pt x="710" y="590"/>
                  </a:moveTo>
                  <a:cubicBezTo>
                    <a:pt x="710" y="566"/>
                    <a:pt x="710" y="566"/>
                    <a:pt x="710" y="566"/>
                  </a:cubicBezTo>
                  <a:cubicBezTo>
                    <a:pt x="702" y="566"/>
                    <a:pt x="702" y="566"/>
                    <a:pt x="702" y="566"/>
                  </a:cubicBezTo>
                  <a:cubicBezTo>
                    <a:pt x="702" y="590"/>
                    <a:pt x="702" y="590"/>
                    <a:pt x="702" y="590"/>
                  </a:cubicBezTo>
                  <a:lnTo>
                    <a:pt x="710" y="590"/>
                  </a:lnTo>
                  <a:close/>
                  <a:moveTo>
                    <a:pt x="710" y="638"/>
                  </a:moveTo>
                  <a:cubicBezTo>
                    <a:pt x="710" y="614"/>
                    <a:pt x="710" y="614"/>
                    <a:pt x="710" y="614"/>
                  </a:cubicBezTo>
                  <a:cubicBezTo>
                    <a:pt x="702" y="614"/>
                    <a:pt x="702" y="614"/>
                    <a:pt x="702" y="614"/>
                  </a:cubicBezTo>
                  <a:cubicBezTo>
                    <a:pt x="702" y="638"/>
                    <a:pt x="702" y="638"/>
                    <a:pt x="702" y="638"/>
                  </a:cubicBezTo>
                  <a:lnTo>
                    <a:pt x="710" y="638"/>
                  </a:lnTo>
                  <a:close/>
                  <a:moveTo>
                    <a:pt x="710" y="686"/>
                  </a:moveTo>
                  <a:cubicBezTo>
                    <a:pt x="710" y="662"/>
                    <a:pt x="710" y="662"/>
                    <a:pt x="710" y="662"/>
                  </a:cubicBezTo>
                  <a:cubicBezTo>
                    <a:pt x="702" y="662"/>
                    <a:pt x="702" y="662"/>
                    <a:pt x="702" y="662"/>
                  </a:cubicBezTo>
                  <a:cubicBezTo>
                    <a:pt x="702" y="686"/>
                    <a:pt x="702" y="686"/>
                    <a:pt x="702" y="686"/>
                  </a:cubicBezTo>
                  <a:lnTo>
                    <a:pt x="710" y="686"/>
                  </a:lnTo>
                  <a:close/>
                  <a:moveTo>
                    <a:pt x="710" y="734"/>
                  </a:moveTo>
                  <a:cubicBezTo>
                    <a:pt x="710" y="710"/>
                    <a:pt x="710" y="710"/>
                    <a:pt x="710" y="710"/>
                  </a:cubicBezTo>
                  <a:cubicBezTo>
                    <a:pt x="702" y="710"/>
                    <a:pt x="702" y="710"/>
                    <a:pt x="702" y="710"/>
                  </a:cubicBezTo>
                  <a:cubicBezTo>
                    <a:pt x="702" y="734"/>
                    <a:pt x="702" y="734"/>
                    <a:pt x="702" y="734"/>
                  </a:cubicBezTo>
                  <a:lnTo>
                    <a:pt x="710" y="734"/>
                  </a:lnTo>
                  <a:close/>
                  <a:moveTo>
                    <a:pt x="710" y="782"/>
                  </a:moveTo>
                  <a:cubicBezTo>
                    <a:pt x="710" y="758"/>
                    <a:pt x="710" y="758"/>
                    <a:pt x="710" y="758"/>
                  </a:cubicBezTo>
                  <a:cubicBezTo>
                    <a:pt x="702" y="758"/>
                    <a:pt x="702" y="758"/>
                    <a:pt x="702" y="758"/>
                  </a:cubicBezTo>
                  <a:cubicBezTo>
                    <a:pt x="702" y="782"/>
                    <a:pt x="702" y="782"/>
                    <a:pt x="702" y="782"/>
                  </a:cubicBezTo>
                  <a:lnTo>
                    <a:pt x="710" y="78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0" name="íṧ1iḑe">
              <a:extLst>
                <a:ext uri="{FF2B5EF4-FFF2-40B4-BE49-F238E27FC236}">
                  <a16:creationId xmlns:a16="http://schemas.microsoft.com/office/drawing/2014/main" id="{868D7B00-B158-4A26-AAA3-E3D30345D014}"/>
                </a:ext>
              </a:extLst>
            </p:cNvPr>
            <p:cNvSpPr/>
            <p:nvPr/>
          </p:nvSpPr>
          <p:spPr bwMode="auto">
            <a:xfrm>
              <a:off x="5385017" y="1514475"/>
              <a:ext cx="947738" cy="3292475"/>
            </a:xfrm>
            <a:custGeom>
              <a:avLst/>
              <a:gdLst>
                <a:gd name="T0" fmla="*/ 0 w 303"/>
                <a:gd name="T1" fmla="*/ 8 h 1129"/>
                <a:gd name="T2" fmla="*/ 72 w 303"/>
                <a:gd name="T3" fmla="*/ 0 h 1129"/>
                <a:gd name="T4" fmla="*/ 72 w 303"/>
                <a:gd name="T5" fmla="*/ 8 h 1129"/>
                <a:gd name="T6" fmla="*/ 96 w 303"/>
                <a:gd name="T7" fmla="*/ 0 h 1129"/>
                <a:gd name="T8" fmla="*/ 120 w 303"/>
                <a:gd name="T9" fmla="*/ 0 h 1129"/>
                <a:gd name="T10" fmla="*/ 144 w 303"/>
                <a:gd name="T11" fmla="*/ 8 h 1129"/>
                <a:gd name="T12" fmla="*/ 215 w 303"/>
                <a:gd name="T13" fmla="*/ 0 h 1129"/>
                <a:gd name="T14" fmla="*/ 215 w 303"/>
                <a:gd name="T15" fmla="*/ 8 h 1129"/>
                <a:gd name="T16" fmla="*/ 259 w 303"/>
                <a:gd name="T17" fmla="*/ 0 h 1129"/>
                <a:gd name="T18" fmla="*/ 259 w 303"/>
                <a:gd name="T19" fmla="*/ 8 h 1129"/>
                <a:gd name="T20" fmla="*/ 301 w 303"/>
                <a:gd name="T21" fmla="*/ 30 h 1129"/>
                <a:gd name="T22" fmla="*/ 294 w 303"/>
                <a:gd name="T23" fmla="*/ 32 h 1129"/>
                <a:gd name="T24" fmla="*/ 303 w 303"/>
                <a:gd name="T25" fmla="*/ 55 h 1129"/>
                <a:gd name="T26" fmla="*/ 303 w 303"/>
                <a:gd name="T27" fmla="*/ 79 h 1129"/>
                <a:gd name="T28" fmla="*/ 295 w 303"/>
                <a:gd name="T29" fmla="*/ 103 h 1129"/>
                <a:gd name="T30" fmla="*/ 303 w 303"/>
                <a:gd name="T31" fmla="*/ 174 h 1129"/>
                <a:gd name="T32" fmla="*/ 295 w 303"/>
                <a:gd name="T33" fmla="*/ 174 h 1129"/>
                <a:gd name="T34" fmla="*/ 303 w 303"/>
                <a:gd name="T35" fmla="*/ 198 h 1129"/>
                <a:gd name="T36" fmla="*/ 303 w 303"/>
                <a:gd name="T37" fmla="*/ 222 h 1129"/>
                <a:gd name="T38" fmla="*/ 295 w 303"/>
                <a:gd name="T39" fmla="*/ 246 h 1129"/>
                <a:gd name="T40" fmla="*/ 303 w 303"/>
                <a:gd name="T41" fmla="*/ 318 h 1129"/>
                <a:gd name="T42" fmla="*/ 295 w 303"/>
                <a:gd name="T43" fmla="*/ 318 h 1129"/>
                <a:gd name="T44" fmla="*/ 303 w 303"/>
                <a:gd name="T45" fmla="*/ 342 h 1129"/>
                <a:gd name="T46" fmla="*/ 303 w 303"/>
                <a:gd name="T47" fmla="*/ 365 h 1129"/>
                <a:gd name="T48" fmla="*/ 295 w 303"/>
                <a:gd name="T49" fmla="*/ 389 h 1129"/>
                <a:gd name="T50" fmla="*/ 303 w 303"/>
                <a:gd name="T51" fmla="*/ 461 h 1129"/>
                <a:gd name="T52" fmla="*/ 295 w 303"/>
                <a:gd name="T53" fmla="*/ 461 h 1129"/>
                <a:gd name="T54" fmla="*/ 303 w 303"/>
                <a:gd name="T55" fmla="*/ 485 h 1129"/>
                <a:gd name="T56" fmla="*/ 303 w 303"/>
                <a:gd name="T57" fmla="*/ 509 h 1129"/>
                <a:gd name="T58" fmla="*/ 295 w 303"/>
                <a:gd name="T59" fmla="*/ 533 h 1129"/>
                <a:gd name="T60" fmla="*/ 303 w 303"/>
                <a:gd name="T61" fmla="*/ 604 h 1129"/>
                <a:gd name="T62" fmla="*/ 295 w 303"/>
                <a:gd name="T63" fmla="*/ 604 h 1129"/>
                <a:gd name="T64" fmla="*/ 303 w 303"/>
                <a:gd name="T65" fmla="*/ 628 h 1129"/>
                <a:gd name="T66" fmla="*/ 303 w 303"/>
                <a:gd name="T67" fmla="*/ 652 h 1129"/>
                <a:gd name="T68" fmla="*/ 295 w 303"/>
                <a:gd name="T69" fmla="*/ 676 h 1129"/>
                <a:gd name="T70" fmla="*/ 303 w 303"/>
                <a:gd name="T71" fmla="*/ 747 h 1129"/>
                <a:gd name="T72" fmla="*/ 295 w 303"/>
                <a:gd name="T73" fmla="*/ 747 h 1129"/>
                <a:gd name="T74" fmla="*/ 303 w 303"/>
                <a:gd name="T75" fmla="*/ 771 h 1129"/>
                <a:gd name="T76" fmla="*/ 303 w 303"/>
                <a:gd name="T77" fmla="*/ 795 h 1129"/>
                <a:gd name="T78" fmla="*/ 295 w 303"/>
                <a:gd name="T79" fmla="*/ 819 h 1129"/>
                <a:gd name="T80" fmla="*/ 303 w 303"/>
                <a:gd name="T81" fmla="*/ 891 h 1129"/>
                <a:gd name="T82" fmla="*/ 295 w 303"/>
                <a:gd name="T83" fmla="*/ 891 h 1129"/>
                <a:gd name="T84" fmla="*/ 303 w 303"/>
                <a:gd name="T85" fmla="*/ 915 h 1129"/>
                <a:gd name="T86" fmla="*/ 303 w 303"/>
                <a:gd name="T87" fmla="*/ 938 h 1129"/>
                <a:gd name="T88" fmla="*/ 295 w 303"/>
                <a:gd name="T89" fmla="*/ 962 h 1129"/>
                <a:gd name="T90" fmla="*/ 303 w 303"/>
                <a:gd name="T91" fmla="*/ 1034 h 1129"/>
                <a:gd name="T92" fmla="*/ 295 w 303"/>
                <a:gd name="T93" fmla="*/ 1034 h 1129"/>
                <a:gd name="T94" fmla="*/ 303 w 303"/>
                <a:gd name="T95" fmla="*/ 1058 h 1129"/>
                <a:gd name="T96" fmla="*/ 303 w 303"/>
                <a:gd name="T97" fmla="*/ 1082 h 1129"/>
                <a:gd name="T98" fmla="*/ 295 w 303"/>
                <a:gd name="T99" fmla="*/ 1106 h 1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03" h="1129">
                  <a:moveTo>
                    <a:pt x="2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24" y="8"/>
                    <a:pt x="24" y="8"/>
                    <a:pt x="24" y="8"/>
                  </a:cubicBezTo>
                  <a:lnTo>
                    <a:pt x="24" y="0"/>
                  </a:lnTo>
                  <a:close/>
                  <a:moveTo>
                    <a:pt x="72" y="0"/>
                  </a:moveTo>
                  <a:cubicBezTo>
                    <a:pt x="48" y="0"/>
                    <a:pt x="48" y="0"/>
                    <a:pt x="48" y="0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72" y="8"/>
                    <a:pt x="72" y="8"/>
                    <a:pt x="72" y="8"/>
                  </a:cubicBezTo>
                  <a:lnTo>
                    <a:pt x="72" y="0"/>
                  </a:lnTo>
                  <a:close/>
                  <a:moveTo>
                    <a:pt x="120" y="0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120" y="8"/>
                    <a:pt x="120" y="8"/>
                    <a:pt x="120" y="8"/>
                  </a:cubicBezTo>
                  <a:lnTo>
                    <a:pt x="120" y="0"/>
                  </a:lnTo>
                  <a:close/>
                  <a:moveTo>
                    <a:pt x="168" y="0"/>
                  </a:moveTo>
                  <a:cubicBezTo>
                    <a:pt x="144" y="0"/>
                    <a:pt x="144" y="0"/>
                    <a:pt x="144" y="0"/>
                  </a:cubicBezTo>
                  <a:cubicBezTo>
                    <a:pt x="144" y="8"/>
                    <a:pt x="144" y="8"/>
                    <a:pt x="144" y="8"/>
                  </a:cubicBezTo>
                  <a:cubicBezTo>
                    <a:pt x="168" y="8"/>
                    <a:pt x="168" y="8"/>
                    <a:pt x="168" y="8"/>
                  </a:cubicBezTo>
                  <a:lnTo>
                    <a:pt x="168" y="0"/>
                  </a:lnTo>
                  <a:close/>
                  <a:moveTo>
                    <a:pt x="215" y="0"/>
                  </a:moveTo>
                  <a:cubicBezTo>
                    <a:pt x="191" y="0"/>
                    <a:pt x="191" y="0"/>
                    <a:pt x="191" y="0"/>
                  </a:cubicBezTo>
                  <a:cubicBezTo>
                    <a:pt x="191" y="8"/>
                    <a:pt x="191" y="8"/>
                    <a:pt x="191" y="8"/>
                  </a:cubicBezTo>
                  <a:cubicBezTo>
                    <a:pt x="215" y="8"/>
                    <a:pt x="215" y="8"/>
                    <a:pt x="215" y="8"/>
                  </a:cubicBezTo>
                  <a:lnTo>
                    <a:pt x="215" y="0"/>
                  </a:lnTo>
                  <a:close/>
                  <a:moveTo>
                    <a:pt x="263" y="0"/>
                  </a:moveTo>
                  <a:cubicBezTo>
                    <a:pt x="262" y="0"/>
                    <a:pt x="261" y="0"/>
                    <a:pt x="259" y="0"/>
                  </a:cubicBezTo>
                  <a:cubicBezTo>
                    <a:pt x="239" y="0"/>
                    <a:pt x="239" y="0"/>
                    <a:pt x="239" y="0"/>
                  </a:cubicBezTo>
                  <a:cubicBezTo>
                    <a:pt x="239" y="8"/>
                    <a:pt x="239" y="8"/>
                    <a:pt x="239" y="8"/>
                  </a:cubicBezTo>
                  <a:cubicBezTo>
                    <a:pt x="259" y="8"/>
                    <a:pt x="259" y="8"/>
                    <a:pt x="259" y="8"/>
                  </a:cubicBezTo>
                  <a:cubicBezTo>
                    <a:pt x="261" y="8"/>
                    <a:pt x="262" y="8"/>
                    <a:pt x="263" y="8"/>
                  </a:cubicBezTo>
                  <a:cubicBezTo>
                    <a:pt x="263" y="0"/>
                    <a:pt x="263" y="0"/>
                    <a:pt x="263" y="0"/>
                  </a:cubicBezTo>
                  <a:close/>
                  <a:moveTo>
                    <a:pt x="301" y="30"/>
                  </a:moveTo>
                  <a:cubicBezTo>
                    <a:pt x="299" y="22"/>
                    <a:pt x="295" y="14"/>
                    <a:pt x="288" y="8"/>
                  </a:cubicBezTo>
                  <a:cubicBezTo>
                    <a:pt x="283" y="14"/>
                    <a:pt x="283" y="14"/>
                    <a:pt x="283" y="14"/>
                  </a:cubicBezTo>
                  <a:cubicBezTo>
                    <a:pt x="288" y="19"/>
                    <a:pt x="292" y="25"/>
                    <a:pt x="294" y="32"/>
                  </a:cubicBezTo>
                  <a:cubicBezTo>
                    <a:pt x="301" y="30"/>
                    <a:pt x="301" y="30"/>
                    <a:pt x="301" y="30"/>
                  </a:cubicBezTo>
                  <a:close/>
                  <a:moveTo>
                    <a:pt x="303" y="79"/>
                  </a:moveTo>
                  <a:cubicBezTo>
                    <a:pt x="303" y="55"/>
                    <a:pt x="303" y="55"/>
                    <a:pt x="303" y="55"/>
                  </a:cubicBezTo>
                  <a:cubicBezTo>
                    <a:pt x="295" y="55"/>
                    <a:pt x="295" y="55"/>
                    <a:pt x="295" y="55"/>
                  </a:cubicBezTo>
                  <a:cubicBezTo>
                    <a:pt x="295" y="79"/>
                    <a:pt x="295" y="79"/>
                    <a:pt x="295" y="79"/>
                  </a:cubicBezTo>
                  <a:lnTo>
                    <a:pt x="303" y="79"/>
                  </a:lnTo>
                  <a:close/>
                  <a:moveTo>
                    <a:pt x="303" y="127"/>
                  </a:moveTo>
                  <a:cubicBezTo>
                    <a:pt x="303" y="103"/>
                    <a:pt x="303" y="103"/>
                    <a:pt x="303" y="103"/>
                  </a:cubicBezTo>
                  <a:cubicBezTo>
                    <a:pt x="295" y="103"/>
                    <a:pt x="295" y="103"/>
                    <a:pt x="295" y="103"/>
                  </a:cubicBezTo>
                  <a:cubicBezTo>
                    <a:pt x="295" y="127"/>
                    <a:pt x="295" y="127"/>
                    <a:pt x="295" y="127"/>
                  </a:cubicBezTo>
                  <a:lnTo>
                    <a:pt x="303" y="127"/>
                  </a:lnTo>
                  <a:close/>
                  <a:moveTo>
                    <a:pt x="303" y="174"/>
                  </a:moveTo>
                  <a:cubicBezTo>
                    <a:pt x="303" y="151"/>
                    <a:pt x="303" y="151"/>
                    <a:pt x="303" y="151"/>
                  </a:cubicBezTo>
                  <a:cubicBezTo>
                    <a:pt x="295" y="151"/>
                    <a:pt x="295" y="151"/>
                    <a:pt x="295" y="151"/>
                  </a:cubicBezTo>
                  <a:cubicBezTo>
                    <a:pt x="295" y="174"/>
                    <a:pt x="295" y="174"/>
                    <a:pt x="295" y="174"/>
                  </a:cubicBezTo>
                  <a:lnTo>
                    <a:pt x="303" y="174"/>
                  </a:lnTo>
                  <a:close/>
                  <a:moveTo>
                    <a:pt x="303" y="222"/>
                  </a:moveTo>
                  <a:cubicBezTo>
                    <a:pt x="303" y="198"/>
                    <a:pt x="303" y="198"/>
                    <a:pt x="303" y="198"/>
                  </a:cubicBezTo>
                  <a:cubicBezTo>
                    <a:pt x="295" y="198"/>
                    <a:pt x="295" y="198"/>
                    <a:pt x="295" y="198"/>
                  </a:cubicBezTo>
                  <a:cubicBezTo>
                    <a:pt x="295" y="222"/>
                    <a:pt x="295" y="222"/>
                    <a:pt x="295" y="222"/>
                  </a:cubicBezTo>
                  <a:lnTo>
                    <a:pt x="303" y="222"/>
                  </a:lnTo>
                  <a:close/>
                  <a:moveTo>
                    <a:pt x="303" y="270"/>
                  </a:moveTo>
                  <a:cubicBezTo>
                    <a:pt x="303" y="246"/>
                    <a:pt x="303" y="246"/>
                    <a:pt x="303" y="246"/>
                  </a:cubicBezTo>
                  <a:cubicBezTo>
                    <a:pt x="295" y="246"/>
                    <a:pt x="295" y="246"/>
                    <a:pt x="295" y="246"/>
                  </a:cubicBezTo>
                  <a:cubicBezTo>
                    <a:pt x="295" y="270"/>
                    <a:pt x="295" y="270"/>
                    <a:pt x="295" y="270"/>
                  </a:cubicBezTo>
                  <a:lnTo>
                    <a:pt x="303" y="270"/>
                  </a:lnTo>
                  <a:close/>
                  <a:moveTo>
                    <a:pt x="303" y="318"/>
                  </a:moveTo>
                  <a:cubicBezTo>
                    <a:pt x="303" y="294"/>
                    <a:pt x="303" y="294"/>
                    <a:pt x="303" y="294"/>
                  </a:cubicBezTo>
                  <a:cubicBezTo>
                    <a:pt x="295" y="294"/>
                    <a:pt x="295" y="294"/>
                    <a:pt x="295" y="294"/>
                  </a:cubicBezTo>
                  <a:cubicBezTo>
                    <a:pt x="295" y="318"/>
                    <a:pt x="295" y="318"/>
                    <a:pt x="295" y="318"/>
                  </a:cubicBezTo>
                  <a:lnTo>
                    <a:pt x="303" y="318"/>
                  </a:lnTo>
                  <a:close/>
                  <a:moveTo>
                    <a:pt x="303" y="365"/>
                  </a:moveTo>
                  <a:cubicBezTo>
                    <a:pt x="303" y="342"/>
                    <a:pt x="303" y="342"/>
                    <a:pt x="303" y="342"/>
                  </a:cubicBezTo>
                  <a:cubicBezTo>
                    <a:pt x="295" y="342"/>
                    <a:pt x="295" y="342"/>
                    <a:pt x="295" y="342"/>
                  </a:cubicBezTo>
                  <a:cubicBezTo>
                    <a:pt x="295" y="365"/>
                    <a:pt x="295" y="365"/>
                    <a:pt x="295" y="365"/>
                  </a:cubicBezTo>
                  <a:lnTo>
                    <a:pt x="303" y="365"/>
                  </a:lnTo>
                  <a:close/>
                  <a:moveTo>
                    <a:pt x="303" y="413"/>
                  </a:moveTo>
                  <a:cubicBezTo>
                    <a:pt x="303" y="389"/>
                    <a:pt x="303" y="389"/>
                    <a:pt x="303" y="389"/>
                  </a:cubicBezTo>
                  <a:cubicBezTo>
                    <a:pt x="295" y="389"/>
                    <a:pt x="295" y="389"/>
                    <a:pt x="295" y="389"/>
                  </a:cubicBezTo>
                  <a:cubicBezTo>
                    <a:pt x="295" y="413"/>
                    <a:pt x="295" y="413"/>
                    <a:pt x="295" y="413"/>
                  </a:cubicBezTo>
                  <a:lnTo>
                    <a:pt x="303" y="413"/>
                  </a:lnTo>
                  <a:close/>
                  <a:moveTo>
                    <a:pt x="303" y="461"/>
                  </a:moveTo>
                  <a:cubicBezTo>
                    <a:pt x="303" y="437"/>
                    <a:pt x="303" y="437"/>
                    <a:pt x="303" y="437"/>
                  </a:cubicBezTo>
                  <a:cubicBezTo>
                    <a:pt x="295" y="437"/>
                    <a:pt x="295" y="437"/>
                    <a:pt x="295" y="437"/>
                  </a:cubicBezTo>
                  <a:cubicBezTo>
                    <a:pt x="295" y="461"/>
                    <a:pt x="295" y="461"/>
                    <a:pt x="295" y="461"/>
                  </a:cubicBezTo>
                  <a:lnTo>
                    <a:pt x="303" y="461"/>
                  </a:lnTo>
                  <a:close/>
                  <a:moveTo>
                    <a:pt x="303" y="509"/>
                  </a:moveTo>
                  <a:cubicBezTo>
                    <a:pt x="303" y="485"/>
                    <a:pt x="303" y="485"/>
                    <a:pt x="303" y="485"/>
                  </a:cubicBezTo>
                  <a:cubicBezTo>
                    <a:pt x="295" y="485"/>
                    <a:pt x="295" y="485"/>
                    <a:pt x="295" y="485"/>
                  </a:cubicBezTo>
                  <a:cubicBezTo>
                    <a:pt x="295" y="509"/>
                    <a:pt x="295" y="509"/>
                    <a:pt x="295" y="509"/>
                  </a:cubicBezTo>
                  <a:lnTo>
                    <a:pt x="303" y="509"/>
                  </a:lnTo>
                  <a:close/>
                  <a:moveTo>
                    <a:pt x="303" y="556"/>
                  </a:moveTo>
                  <a:cubicBezTo>
                    <a:pt x="303" y="533"/>
                    <a:pt x="303" y="533"/>
                    <a:pt x="303" y="533"/>
                  </a:cubicBezTo>
                  <a:cubicBezTo>
                    <a:pt x="295" y="533"/>
                    <a:pt x="295" y="533"/>
                    <a:pt x="295" y="533"/>
                  </a:cubicBezTo>
                  <a:cubicBezTo>
                    <a:pt x="295" y="556"/>
                    <a:pt x="295" y="556"/>
                    <a:pt x="295" y="556"/>
                  </a:cubicBezTo>
                  <a:lnTo>
                    <a:pt x="303" y="556"/>
                  </a:lnTo>
                  <a:close/>
                  <a:moveTo>
                    <a:pt x="303" y="604"/>
                  </a:moveTo>
                  <a:cubicBezTo>
                    <a:pt x="303" y="580"/>
                    <a:pt x="303" y="580"/>
                    <a:pt x="303" y="580"/>
                  </a:cubicBezTo>
                  <a:cubicBezTo>
                    <a:pt x="295" y="580"/>
                    <a:pt x="295" y="580"/>
                    <a:pt x="295" y="580"/>
                  </a:cubicBezTo>
                  <a:cubicBezTo>
                    <a:pt x="295" y="604"/>
                    <a:pt x="295" y="604"/>
                    <a:pt x="295" y="604"/>
                  </a:cubicBezTo>
                  <a:lnTo>
                    <a:pt x="303" y="604"/>
                  </a:lnTo>
                  <a:close/>
                  <a:moveTo>
                    <a:pt x="303" y="652"/>
                  </a:moveTo>
                  <a:cubicBezTo>
                    <a:pt x="303" y="628"/>
                    <a:pt x="303" y="628"/>
                    <a:pt x="303" y="628"/>
                  </a:cubicBezTo>
                  <a:cubicBezTo>
                    <a:pt x="295" y="628"/>
                    <a:pt x="295" y="628"/>
                    <a:pt x="295" y="628"/>
                  </a:cubicBezTo>
                  <a:cubicBezTo>
                    <a:pt x="295" y="652"/>
                    <a:pt x="295" y="652"/>
                    <a:pt x="295" y="652"/>
                  </a:cubicBezTo>
                  <a:lnTo>
                    <a:pt x="303" y="652"/>
                  </a:lnTo>
                  <a:close/>
                  <a:moveTo>
                    <a:pt x="303" y="700"/>
                  </a:moveTo>
                  <a:cubicBezTo>
                    <a:pt x="303" y="676"/>
                    <a:pt x="303" y="676"/>
                    <a:pt x="303" y="676"/>
                  </a:cubicBezTo>
                  <a:cubicBezTo>
                    <a:pt x="295" y="676"/>
                    <a:pt x="295" y="676"/>
                    <a:pt x="295" y="676"/>
                  </a:cubicBezTo>
                  <a:cubicBezTo>
                    <a:pt x="295" y="700"/>
                    <a:pt x="295" y="700"/>
                    <a:pt x="295" y="700"/>
                  </a:cubicBezTo>
                  <a:lnTo>
                    <a:pt x="303" y="700"/>
                  </a:lnTo>
                  <a:close/>
                  <a:moveTo>
                    <a:pt x="303" y="747"/>
                  </a:moveTo>
                  <a:cubicBezTo>
                    <a:pt x="303" y="724"/>
                    <a:pt x="303" y="724"/>
                    <a:pt x="303" y="724"/>
                  </a:cubicBezTo>
                  <a:cubicBezTo>
                    <a:pt x="295" y="724"/>
                    <a:pt x="295" y="724"/>
                    <a:pt x="295" y="724"/>
                  </a:cubicBezTo>
                  <a:cubicBezTo>
                    <a:pt x="295" y="747"/>
                    <a:pt x="295" y="747"/>
                    <a:pt x="295" y="747"/>
                  </a:cubicBezTo>
                  <a:lnTo>
                    <a:pt x="303" y="747"/>
                  </a:lnTo>
                  <a:close/>
                  <a:moveTo>
                    <a:pt x="303" y="795"/>
                  </a:moveTo>
                  <a:cubicBezTo>
                    <a:pt x="303" y="771"/>
                    <a:pt x="303" y="771"/>
                    <a:pt x="303" y="771"/>
                  </a:cubicBezTo>
                  <a:cubicBezTo>
                    <a:pt x="295" y="771"/>
                    <a:pt x="295" y="771"/>
                    <a:pt x="295" y="771"/>
                  </a:cubicBezTo>
                  <a:cubicBezTo>
                    <a:pt x="295" y="795"/>
                    <a:pt x="295" y="795"/>
                    <a:pt x="295" y="795"/>
                  </a:cubicBezTo>
                  <a:lnTo>
                    <a:pt x="303" y="795"/>
                  </a:lnTo>
                  <a:close/>
                  <a:moveTo>
                    <a:pt x="303" y="843"/>
                  </a:moveTo>
                  <a:cubicBezTo>
                    <a:pt x="303" y="819"/>
                    <a:pt x="303" y="819"/>
                    <a:pt x="303" y="819"/>
                  </a:cubicBezTo>
                  <a:cubicBezTo>
                    <a:pt x="295" y="819"/>
                    <a:pt x="295" y="819"/>
                    <a:pt x="295" y="819"/>
                  </a:cubicBezTo>
                  <a:cubicBezTo>
                    <a:pt x="295" y="843"/>
                    <a:pt x="295" y="843"/>
                    <a:pt x="295" y="843"/>
                  </a:cubicBezTo>
                  <a:lnTo>
                    <a:pt x="303" y="843"/>
                  </a:lnTo>
                  <a:close/>
                  <a:moveTo>
                    <a:pt x="303" y="891"/>
                  </a:moveTo>
                  <a:cubicBezTo>
                    <a:pt x="303" y="867"/>
                    <a:pt x="303" y="867"/>
                    <a:pt x="303" y="867"/>
                  </a:cubicBezTo>
                  <a:cubicBezTo>
                    <a:pt x="295" y="867"/>
                    <a:pt x="295" y="867"/>
                    <a:pt x="295" y="867"/>
                  </a:cubicBezTo>
                  <a:cubicBezTo>
                    <a:pt x="295" y="891"/>
                    <a:pt x="295" y="891"/>
                    <a:pt x="295" y="891"/>
                  </a:cubicBezTo>
                  <a:lnTo>
                    <a:pt x="303" y="891"/>
                  </a:lnTo>
                  <a:close/>
                  <a:moveTo>
                    <a:pt x="303" y="938"/>
                  </a:moveTo>
                  <a:cubicBezTo>
                    <a:pt x="303" y="915"/>
                    <a:pt x="303" y="915"/>
                    <a:pt x="303" y="915"/>
                  </a:cubicBezTo>
                  <a:cubicBezTo>
                    <a:pt x="295" y="915"/>
                    <a:pt x="295" y="915"/>
                    <a:pt x="295" y="915"/>
                  </a:cubicBezTo>
                  <a:cubicBezTo>
                    <a:pt x="295" y="938"/>
                    <a:pt x="295" y="938"/>
                    <a:pt x="295" y="938"/>
                  </a:cubicBezTo>
                  <a:lnTo>
                    <a:pt x="303" y="938"/>
                  </a:lnTo>
                  <a:close/>
                  <a:moveTo>
                    <a:pt x="303" y="986"/>
                  </a:moveTo>
                  <a:cubicBezTo>
                    <a:pt x="303" y="962"/>
                    <a:pt x="303" y="962"/>
                    <a:pt x="303" y="962"/>
                  </a:cubicBezTo>
                  <a:cubicBezTo>
                    <a:pt x="295" y="962"/>
                    <a:pt x="295" y="962"/>
                    <a:pt x="295" y="962"/>
                  </a:cubicBezTo>
                  <a:cubicBezTo>
                    <a:pt x="295" y="986"/>
                    <a:pt x="295" y="986"/>
                    <a:pt x="295" y="986"/>
                  </a:cubicBezTo>
                  <a:lnTo>
                    <a:pt x="303" y="986"/>
                  </a:lnTo>
                  <a:close/>
                  <a:moveTo>
                    <a:pt x="303" y="1034"/>
                  </a:moveTo>
                  <a:cubicBezTo>
                    <a:pt x="303" y="1010"/>
                    <a:pt x="303" y="1010"/>
                    <a:pt x="303" y="1010"/>
                  </a:cubicBezTo>
                  <a:cubicBezTo>
                    <a:pt x="295" y="1010"/>
                    <a:pt x="295" y="1010"/>
                    <a:pt x="295" y="1010"/>
                  </a:cubicBezTo>
                  <a:cubicBezTo>
                    <a:pt x="295" y="1034"/>
                    <a:pt x="295" y="1034"/>
                    <a:pt x="295" y="1034"/>
                  </a:cubicBezTo>
                  <a:lnTo>
                    <a:pt x="303" y="1034"/>
                  </a:lnTo>
                  <a:close/>
                  <a:moveTo>
                    <a:pt x="303" y="1082"/>
                  </a:moveTo>
                  <a:cubicBezTo>
                    <a:pt x="303" y="1058"/>
                    <a:pt x="303" y="1058"/>
                    <a:pt x="303" y="1058"/>
                  </a:cubicBezTo>
                  <a:cubicBezTo>
                    <a:pt x="295" y="1058"/>
                    <a:pt x="295" y="1058"/>
                    <a:pt x="295" y="1058"/>
                  </a:cubicBezTo>
                  <a:cubicBezTo>
                    <a:pt x="295" y="1082"/>
                    <a:pt x="295" y="1082"/>
                    <a:pt x="295" y="1082"/>
                  </a:cubicBezTo>
                  <a:lnTo>
                    <a:pt x="303" y="1082"/>
                  </a:lnTo>
                  <a:close/>
                  <a:moveTo>
                    <a:pt x="303" y="1129"/>
                  </a:moveTo>
                  <a:cubicBezTo>
                    <a:pt x="303" y="1106"/>
                    <a:pt x="303" y="1106"/>
                    <a:pt x="303" y="1106"/>
                  </a:cubicBezTo>
                  <a:cubicBezTo>
                    <a:pt x="295" y="1106"/>
                    <a:pt x="295" y="1106"/>
                    <a:pt x="295" y="1106"/>
                  </a:cubicBezTo>
                  <a:cubicBezTo>
                    <a:pt x="295" y="1129"/>
                    <a:pt x="295" y="1129"/>
                    <a:pt x="295" y="1129"/>
                  </a:cubicBezTo>
                  <a:lnTo>
                    <a:pt x="303" y="112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1" name="íśḷíḓé">
              <a:extLst>
                <a:ext uri="{FF2B5EF4-FFF2-40B4-BE49-F238E27FC236}">
                  <a16:creationId xmlns:a16="http://schemas.microsoft.com/office/drawing/2014/main" id="{8A03CE0F-4DE2-4C93-A81C-855CF7CEA5C0}"/>
                </a:ext>
              </a:extLst>
            </p:cNvPr>
            <p:cNvSpPr/>
            <p:nvPr/>
          </p:nvSpPr>
          <p:spPr bwMode="auto">
            <a:xfrm>
              <a:off x="6588342" y="1943101"/>
              <a:ext cx="519113" cy="2613025"/>
            </a:xfrm>
            <a:custGeom>
              <a:avLst/>
              <a:gdLst>
                <a:gd name="T0" fmla="*/ 166 w 166"/>
                <a:gd name="T1" fmla="*/ 0 h 1061"/>
                <a:gd name="T2" fmla="*/ 96 w 166"/>
                <a:gd name="T3" fmla="*/ 8 h 1061"/>
                <a:gd name="T4" fmla="*/ 96 w 166"/>
                <a:gd name="T5" fmla="*/ 0 h 1061"/>
                <a:gd name="T6" fmla="*/ 72 w 166"/>
                <a:gd name="T7" fmla="*/ 8 h 1061"/>
                <a:gd name="T8" fmla="*/ 48 w 166"/>
                <a:gd name="T9" fmla="*/ 8 h 1061"/>
                <a:gd name="T10" fmla="*/ 24 w 166"/>
                <a:gd name="T11" fmla="*/ 4 h 1061"/>
                <a:gd name="T12" fmla="*/ 8 w 166"/>
                <a:gd name="T13" fmla="*/ 70 h 1061"/>
                <a:gd name="T14" fmla="*/ 0 w 166"/>
                <a:gd name="T15" fmla="*/ 46 h 1061"/>
                <a:gd name="T16" fmla="*/ 8 w 166"/>
                <a:gd name="T17" fmla="*/ 70 h 1061"/>
                <a:gd name="T18" fmla="*/ 0 w 166"/>
                <a:gd name="T19" fmla="*/ 93 h 1061"/>
                <a:gd name="T20" fmla="*/ 8 w 166"/>
                <a:gd name="T21" fmla="*/ 164 h 1061"/>
                <a:gd name="T22" fmla="*/ 0 w 166"/>
                <a:gd name="T23" fmla="*/ 164 h 1061"/>
                <a:gd name="T24" fmla="*/ 8 w 166"/>
                <a:gd name="T25" fmla="*/ 188 h 1061"/>
                <a:gd name="T26" fmla="*/ 8 w 166"/>
                <a:gd name="T27" fmla="*/ 211 h 1061"/>
                <a:gd name="T28" fmla="*/ 0 w 166"/>
                <a:gd name="T29" fmla="*/ 235 h 1061"/>
                <a:gd name="T30" fmla="*/ 8 w 166"/>
                <a:gd name="T31" fmla="*/ 306 h 1061"/>
                <a:gd name="T32" fmla="*/ 0 w 166"/>
                <a:gd name="T33" fmla="*/ 306 h 1061"/>
                <a:gd name="T34" fmla="*/ 8 w 166"/>
                <a:gd name="T35" fmla="*/ 329 h 1061"/>
                <a:gd name="T36" fmla="*/ 8 w 166"/>
                <a:gd name="T37" fmla="*/ 353 h 1061"/>
                <a:gd name="T38" fmla="*/ 0 w 166"/>
                <a:gd name="T39" fmla="*/ 376 h 1061"/>
                <a:gd name="T40" fmla="*/ 8 w 166"/>
                <a:gd name="T41" fmla="*/ 447 h 1061"/>
                <a:gd name="T42" fmla="*/ 0 w 166"/>
                <a:gd name="T43" fmla="*/ 447 h 1061"/>
                <a:gd name="T44" fmla="*/ 8 w 166"/>
                <a:gd name="T45" fmla="*/ 471 h 1061"/>
                <a:gd name="T46" fmla="*/ 8 w 166"/>
                <a:gd name="T47" fmla="*/ 494 h 1061"/>
                <a:gd name="T48" fmla="*/ 0 w 166"/>
                <a:gd name="T49" fmla="*/ 518 h 1061"/>
                <a:gd name="T50" fmla="*/ 8 w 166"/>
                <a:gd name="T51" fmla="*/ 589 h 1061"/>
                <a:gd name="T52" fmla="*/ 0 w 166"/>
                <a:gd name="T53" fmla="*/ 589 h 1061"/>
                <a:gd name="T54" fmla="*/ 8 w 166"/>
                <a:gd name="T55" fmla="*/ 612 h 1061"/>
                <a:gd name="T56" fmla="*/ 8 w 166"/>
                <a:gd name="T57" fmla="*/ 636 h 1061"/>
                <a:gd name="T58" fmla="*/ 0 w 166"/>
                <a:gd name="T59" fmla="*/ 660 h 1061"/>
                <a:gd name="T60" fmla="*/ 8 w 166"/>
                <a:gd name="T61" fmla="*/ 730 h 1061"/>
                <a:gd name="T62" fmla="*/ 0 w 166"/>
                <a:gd name="T63" fmla="*/ 730 h 1061"/>
                <a:gd name="T64" fmla="*/ 8 w 166"/>
                <a:gd name="T65" fmla="*/ 754 h 1061"/>
                <a:gd name="T66" fmla="*/ 8 w 166"/>
                <a:gd name="T67" fmla="*/ 778 h 1061"/>
                <a:gd name="T68" fmla="*/ 0 w 166"/>
                <a:gd name="T69" fmla="*/ 801 h 1061"/>
                <a:gd name="T70" fmla="*/ 8 w 166"/>
                <a:gd name="T71" fmla="*/ 872 h 1061"/>
                <a:gd name="T72" fmla="*/ 0 w 166"/>
                <a:gd name="T73" fmla="*/ 872 h 1061"/>
                <a:gd name="T74" fmla="*/ 8 w 166"/>
                <a:gd name="T75" fmla="*/ 896 h 1061"/>
                <a:gd name="T76" fmla="*/ 8 w 166"/>
                <a:gd name="T77" fmla="*/ 919 h 1061"/>
                <a:gd name="T78" fmla="*/ 0 w 166"/>
                <a:gd name="T79" fmla="*/ 943 h 1061"/>
                <a:gd name="T80" fmla="*/ 8 w 166"/>
                <a:gd name="T81" fmla="*/ 1014 h 1061"/>
                <a:gd name="T82" fmla="*/ 0 w 166"/>
                <a:gd name="T83" fmla="*/ 1014 h 1061"/>
                <a:gd name="T84" fmla="*/ 8 w 166"/>
                <a:gd name="T85" fmla="*/ 1037 h 1061"/>
                <a:gd name="T86" fmla="*/ 8 w 166"/>
                <a:gd name="T87" fmla="*/ 1061 h 10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66" h="1061">
                  <a:moveTo>
                    <a:pt x="143" y="8"/>
                  </a:moveTo>
                  <a:cubicBezTo>
                    <a:pt x="166" y="8"/>
                    <a:pt x="166" y="8"/>
                    <a:pt x="166" y="8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43" y="0"/>
                    <a:pt x="143" y="0"/>
                    <a:pt x="143" y="0"/>
                  </a:cubicBezTo>
                  <a:lnTo>
                    <a:pt x="143" y="8"/>
                  </a:lnTo>
                  <a:close/>
                  <a:moveTo>
                    <a:pt x="96" y="8"/>
                  </a:moveTo>
                  <a:cubicBezTo>
                    <a:pt x="119" y="8"/>
                    <a:pt x="119" y="8"/>
                    <a:pt x="119" y="8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96" y="8"/>
                  </a:lnTo>
                  <a:close/>
                  <a:moveTo>
                    <a:pt x="48" y="8"/>
                  </a:moveTo>
                  <a:cubicBezTo>
                    <a:pt x="72" y="8"/>
                    <a:pt x="72" y="8"/>
                    <a:pt x="72" y="8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48" y="0"/>
                    <a:pt x="48" y="0"/>
                    <a:pt x="48" y="0"/>
                  </a:cubicBezTo>
                  <a:lnTo>
                    <a:pt x="48" y="8"/>
                  </a:lnTo>
                  <a:close/>
                  <a:moveTo>
                    <a:pt x="12" y="25"/>
                  </a:moveTo>
                  <a:cubicBezTo>
                    <a:pt x="15" y="19"/>
                    <a:pt x="20" y="14"/>
                    <a:pt x="27" y="11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15" y="7"/>
                    <a:pt x="8" y="14"/>
                    <a:pt x="5" y="21"/>
                  </a:cubicBezTo>
                  <a:lnTo>
                    <a:pt x="12" y="25"/>
                  </a:lnTo>
                  <a:close/>
                  <a:moveTo>
                    <a:pt x="8" y="70"/>
                  </a:moveTo>
                  <a:cubicBezTo>
                    <a:pt x="8" y="49"/>
                    <a:pt x="8" y="49"/>
                    <a:pt x="8" y="49"/>
                  </a:cubicBezTo>
                  <a:cubicBezTo>
                    <a:pt x="8" y="48"/>
                    <a:pt x="8" y="47"/>
                    <a:pt x="8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7"/>
                    <a:pt x="0" y="48"/>
                    <a:pt x="0" y="49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8" y="70"/>
                    <a:pt x="8" y="70"/>
                    <a:pt x="8" y="70"/>
                  </a:cubicBezTo>
                  <a:close/>
                  <a:moveTo>
                    <a:pt x="8" y="117"/>
                  </a:moveTo>
                  <a:cubicBezTo>
                    <a:pt x="8" y="93"/>
                    <a:pt x="8" y="93"/>
                    <a:pt x="8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117"/>
                    <a:pt x="0" y="117"/>
                    <a:pt x="0" y="117"/>
                  </a:cubicBezTo>
                  <a:lnTo>
                    <a:pt x="8" y="117"/>
                  </a:lnTo>
                  <a:close/>
                  <a:moveTo>
                    <a:pt x="8" y="164"/>
                  </a:moveTo>
                  <a:cubicBezTo>
                    <a:pt x="8" y="141"/>
                    <a:pt x="8" y="141"/>
                    <a:pt x="8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164"/>
                    <a:pt x="0" y="164"/>
                    <a:pt x="0" y="164"/>
                  </a:cubicBezTo>
                  <a:lnTo>
                    <a:pt x="8" y="164"/>
                  </a:lnTo>
                  <a:close/>
                  <a:moveTo>
                    <a:pt x="8" y="211"/>
                  </a:moveTo>
                  <a:cubicBezTo>
                    <a:pt x="8" y="188"/>
                    <a:pt x="8" y="188"/>
                    <a:pt x="8" y="188"/>
                  </a:cubicBezTo>
                  <a:cubicBezTo>
                    <a:pt x="0" y="188"/>
                    <a:pt x="0" y="188"/>
                    <a:pt x="0" y="188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8" y="211"/>
                  </a:lnTo>
                  <a:close/>
                  <a:moveTo>
                    <a:pt x="8" y="258"/>
                  </a:moveTo>
                  <a:cubicBezTo>
                    <a:pt x="8" y="235"/>
                    <a:pt x="8" y="235"/>
                    <a:pt x="8" y="235"/>
                  </a:cubicBezTo>
                  <a:cubicBezTo>
                    <a:pt x="0" y="235"/>
                    <a:pt x="0" y="235"/>
                    <a:pt x="0" y="235"/>
                  </a:cubicBezTo>
                  <a:cubicBezTo>
                    <a:pt x="0" y="258"/>
                    <a:pt x="0" y="258"/>
                    <a:pt x="0" y="258"/>
                  </a:cubicBezTo>
                  <a:lnTo>
                    <a:pt x="8" y="258"/>
                  </a:lnTo>
                  <a:close/>
                  <a:moveTo>
                    <a:pt x="8" y="306"/>
                  </a:moveTo>
                  <a:cubicBezTo>
                    <a:pt x="8" y="282"/>
                    <a:pt x="8" y="282"/>
                    <a:pt x="8" y="282"/>
                  </a:cubicBezTo>
                  <a:cubicBezTo>
                    <a:pt x="0" y="282"/>
                    <a:pt x="0" y="282"/>
                    <a:pt x="0" y="282"/>
                  </a:cubicBezTo>
                  <a:cubicBezTo>
                    <a:pt x="0" y="306"/>
                    <a:pt x="0" y="306"/>
                    <a:pt x="0" y="306"/>
                  </a:cubicBezTo>
                  <a:lnTo>
                    <a:pt x="8" y="306"/>
                  </a:lnTo>
                  <a:close/>
                  <a:moveTo>
                    <a:pt x="8" y="353"/>
                  </a:moveTo>
                  <a:cubicBezTo>
                    <a:pt x="8" y="329"/>
                    <a:pt x="8" y="329"/>
                    <a:pt x="8" y="329"/>
                  </a:cubicBezTo>
                  <a:cubicBezTo>
                    <a:pt x="0" y="329"/>
                    <a:pt x="0" y="329"/>
                    <a:pt x="0" y="329"/>
                  </a:cubicBezTo>
                  <a:cubicBezTo>
                    <a:pt x="0" y="353"/>
                    <a:pt x="0" y="353"/>
                    <a:pt x="0" y="353"/>
                  </a:cubicBezTo>
                  <a:lnTo>
                    <a:pt x="8" y="353"/>
                  </a:lnTo>
                  <a:close/>
                  <a:moveTo>
                    <a:pt x="8" y="400"/>
                  </a:moveTo>
                  <a:cubicBezTo>
                    <a:pt x="8" y="376"/>
                    <a:pt x="8" y="376"/>
                    <a:pt x="8" y="376"/>
                  </a:cubicBezTo>
                  <a:cubicBezTo>
                    <a:pt x="0" y="376"/>
                    <a:pt x="0" y="376"/>
                    <a:pt x="0" y="376"/>
                  </a:cubicBezTo>
                  <a:cubicBezTo>
                    <a:pt x="0" y="400"/>
                    <a:pt x="0" y="400"/>
                    <a:pt x="0" y="400"/>
                  </a:cubicBezTo>
                  <a:lnTo>
                    <a:pt x="8" y="400"/>
                  </a:lnTo>
                  <a:close/>
                  <a:moveTo>
                    <a:pt x="8" y="447"/>
                  </a:moveTo>
                  <a:cubicBezTo>
                    <a:pt x="8" y="424"/>
                    <a:pt x="8" y="424"/>
                    <a:pt x="8" y="424"/>
                  </a:cubicBezTo>
                  <a:cubicBezTo>
                    <a:pt x="0" y="424"/>
                    <a:pt x="0" y="424"/>
                    <a:pt x="0" y="424"/>
                  </a:cubicBezTo>
                  <a:cubicBezTo>
                    <a:pt x="0" y="447"/>
                    <a:pt x="0" y="447"/>
                    <a:pt x="0" y="447"/>
                  </a:cubicBezTo>
                  <a:lnTo>
                    <a:pt x="8" y="447"/>
                  </a:lnTo>
                  <a:close/>
                  <a:moveTo>
                    <a:pt x="8" y="494"/>
                  </a:moveTo>
                  <a:cubicBezTo>
                    <a:pt x="8" y="471"/>
                    <a:pt x="8" y="471"/>
                    <a:pt x="8" y="471"/>
                  </a:cubicBezTo>
                  <a:cubicBezTo>
                    <a:pt x="0" y="471"/>
                    <a:pt x="0" y="471"/>
                    <a:pt x="0" y="471"/>
                  </a:cubicBezTo>
                  <a:cubicBezTo>
                    <a:pt x="0" y="494"/>
                    <a:pt x="0" y="494"/>
                    <a:pt x="0" y="494"/>
                  </a:cubicBezTo>
                  <a:lnTo>
                    <a:pt x="8" y="494"/>
                  </a:lnTo>
                  <a:close/>
                  <a:moveTo>
                    <a:pt x="8" y="542"/>
                  </a:moveTo>
                  <a:cubicBezTo>
                    <a:pt x="8" y="518"/>
                    <a:pt x="8" y="518"/>
                    <a:pt x="8" y="518"/>
                  </a:cubicBezTo>
                  <a:cubicBezTo>
                    <a:pt x="0" y="518"/>
                    <a:pt x="0" y="518"/>
                    <a:pt x="0" y="518"/>
                  </a:cubicBezTo>
                  <a:cubicBezTo>
                    <a:pt x="0" y="542"/>
                    <a:pt x="0" y="542"/>
                    <a:pt x="0" y="542"/>
                  </a:cubicBezTo>
                  <a:lnTo>
                    <a:pt x="8" y="542"/>
                  </a:lnTo>
                  <a:close/>
                  <a:moveTo>
                    <a:pt x="8" y="589"/>
                  </a:moveTo>
                  <a:cubicBezTo>
                    <a:pt x="8" y="565"/>
                    <a:pt x="8" y="565"/>
                    <a:pt x="8" y="565"/>
                  </a:cubicBezTo>
                  <a:cubicBezTo>
                    <a:pt x="0" y="565"/>
                    <a:pt x="0" y="565"/>
                    <a:pt x="0" y="565"/>
                  </a:cubicBezTo>
                  <a:cubicBezTo>
                    <a:pt x="0" y="589"/>
                    <a:pt x="0" y="589"/>
                    <a:pt x="0" y="589"/>
                  </a:cubicBezTo>
                  <a:lnTo>
                    <a:pt x="8" y="589"/>
                  </a:lnTo>
                  <a:close/>
                  <a:moveTo>
                    <a:pt x="8" y="636"/>
                  </a:moveTo>
                  <a:cubicBezTo>
                    <a:pt x="8" y="612"/>
                    <a:pt x="8" y="612"/>
                    <a:pt x="8" y="612"/>
                  </a:cubicBezTo>
                  <a:cubicBezTo>
                    <a:pt x="0" y="612"/>
                    <a:pt x="0" y="612"/>
                    <a:pt x="0" y="612"/>
                  </a:cubicBezTo>
                  <a:cubicBezTo>
                    <a:pt x="0" y="636"/>
                    <a:pt x="0" y="636"/>
                    <a:pt x="0" y="636"/>
                  </a:cubicBezTo>
                  <a:lnTo>
                    <a:pt x="8" y="636"/>
                  </a:lnTo>
                  <a:close/>
                  <a:moveTo>
                    <a:pt x="8" y="683"/>
                  </a:moveTo>
                  <a:cubicBezTo>
                    <a:pt x="8" y="660"/>
                    <a:pt x="8" y="660"/>
                    <a:pt x="8" y="660"/>
                  </a:cubicBezTo>
                  <a:cubicBezTo>
                    <a:pt x="0" y="660"/>
                    <a:pt x="0" y="660"/>
                    <a:pt x="0" y="660"/>
                  </a:cubicBezTo>
                  <a:cubicBezTo>
                    <a:pt x="0" y="683"/>
                    <a:pt x="0" y="683"/>
                    <a:pt x="0" y="683"/>
                  </a:cubicBezTo>
                  <a:lnTo>
                    <a:pt x="8" y="683"/>
                  </a:lnTo>
                  <a:close/>
                  <a:moveTo>
                    <a:pt x="8" y="730"/>
                  </a:moveTo>
                  <a:cubicBezTo>
                    <a:pt x="8" y="707"/>
                    <a:pt x="8" y="707"/>
                    <a:pt x="8" y="707"/>
                  </a:cubicBezTo>
                  <a:cubicBezTo>
                    <a:pt x="0" y="707"/>
                    <a:pt x="0" y="707"/>
                    <a:pt x="0" y="707"/>
                  </a:cubicBezTo>
                  <a:cubicBezTo>
                    <a:pt x="0" y="730"/>
                    <a:pt x="0" y="730"/>
                    <a:pt x="0" y="730"/>
                  </a:cubicBezTo>
                  <a:lnTo>
                    <a:pt x="8" y="730"/>
                  </a:lnTo>
                  <a:close/>
                  <a:moveTo>
                    <a:pt x="8" y="778"/>
                  </a:moveTo>
                  <a:cubicBezTo>
                    <a:pt x="8" y="754"/>
                    <a:pt x="8" y="754"/>
                    <a:pt x="8" y="754"/>
                  </a:cubicBezTo>
                  <a:cubicBezTo>
                    <a:pt x="0" y="754"/>
                    <a:pt x="0" y="754"/>
                    <a:pt x="0" y="754"/>
                  </a:cubicBezTo>
                  <a:cubicBezTo>
                    <a:pt x="0" y="778"/>
                    <a:pt x="0" y="778"/>
                    <a:pt x="0" y="778"/>
                  </a:cubicBezTo>
                  <a:lnTo>
                    <a:pt x="8" y="778"/>
                  </a:lnTo>
                  <a:close/>
                  <a:moveTo>
                    <a:pt x="8" y="825"/>
                  </a:moveTo>
                  <a:cubicBezTo>
                    <a:pt x="8" y="801"/>
                    <a:pt x="8" y="801"/>
                    <a:pt x="8" y="801"/>
                  </a:cubicBezTo>
                  <a:cubicBezTo>
                    <a:pt x="0" y="801"/>
                    <a:pt x="0" y="801"/>
                    <a:pt x="0" y="801"/>
                  </a:cubicBezTo>
                  <a:cubicBezTo>
                    <a:pt x="0" y="825"/>
                    <a:pt x="0" y="825"/>
                    <a:pt x="0" y="825"/>
                  </a:cubicBezTo>
                  <a:lnTo>
                    <a:pt x="8" y="825"/>
                  </a:lnTo>
                  <a:close/>
                  <a:moveTo>
                    <a:pt x="8" y="872"/>
                  </a:moveTo>
                  <a:cubicBezTo>
                    <a:pt x="8" y="848"/>
                    <a:pt x="8" y="848"/>
                    <a:pt x="8" y="848"/>
                  </a:cubicBezTo>
                  <a:cubicBezTo>
                    <a:pt x="0" y="848"/>
                    <a:pt x="0" y="848"/>
                    <a:pt x="0" y="848"/>
                  </a:cubicBezTo>
                  <a:cubicBezTo>
                    <a:pt x="0" y="872"/>
                    <a:pt x="0" y="872"/>
                    <a:pt x="0" y="872"/>
                  </a:cubicBezTo>
                  <a:lnTo>
                    <a:pt x="8" y="872"/>
                  </a:lnTo>
                  <a:close/>
                  <a:moveTo>
                    <a:pt x="8" y="919"/>
                  </a:moveTo>
                  <a:cubicBezTo>
                    <a:pt x="8" y="896"/>
                    <a:pt x="8" y="896"/>
                    <a:pt x="8" y="896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0" y="919"/>
                    <a:pt x="0" y="919"/>
                    <a:pt x="0" y="919"/>
                  </a:cubicBezTo>
                  <a:lnTo>
                    <a:pt x="8" y="919"/>
                  </a:lnTo>
                  <a:close/>
                  <a:moveTo>
                    <a:pt x="8" y="966"/>
                  </a:moveTo>
                  <a:cubicBezTo>
                    <a:pt x="8" y="943"/>
                    <a:pt x="8" y="943"/>
                    <a:pt x="8" y="943"/>
                  </a:cubicBezTo>
                  <a:cubicBezTo>
                    <a:pt x="0" y="943"/>
                    <a:pt x="0" y="943"/>
                    <a:pt x="0" y="943"/>
                  </a:cubicBezTo>
                  <a:cubicBezTo>
                    <a:pt x="0" y="966"/>
                    <a:pt x="0" y="966"/>
                    <a:pt x="0" y="966"/>
                  </a:cubicBezTo>
                  <a:lnTo>
                    <a:pt x="8" y="966"/>
                  </a:lnTo>
                  <a:close/>
                  <a:moveTo>
                    <a:pt x="8" y="1014"/>
                  </a:moveTo>
                  <a:cubicBezTo>
                    <a:pt x="8" y="990"/>
                    <a:pt x="8" y="990"/>
                    <a:pt x="8" y="990"/>
                  </a:cubicBezTo>
                  <a:cubicBezTo>
                    <a:pt x="0" y="990"/>
                    <a:pt x="0" y="990"/>
                    <a:pt x="0" y="990"/>
                  </a:cubicBezTo>
                  <a:cubicBezTo>
                    <a:pt x="0" y="1014"/>
                    <a:pt x="0" y="1014"/>
                    <a:pt x="0" y="1014"/>
                  </a:cubicBezTo>
                  <a:lnTo>
                    <a:pt x="8" y="1014"/>
                  </a:lnTo>
                  <a:close/>
                  <a:moveTo>
                    <a:pt x="8" y="1061"/>
                  </a:moveTo>
                  <a:cubicBezTo>
                    <a:pt x="8" y="1037"/>
                    <a:pt x="8" y="1037"/>
                    <a:pt x="8" y="1037"/>
                  </a:cubicBezTo>
                  <a:cubicBezTo>
                    <a:pt x="0" y="1037"/>
                    <a:pt x="0" y="1037"/>
                    <a:pt x="0" y="1037"/>
                  </a:cubicBezTo>
                  <a:cubicBezTo>
                    <a:pt x="0" y="1061"/>
                    <a:pt x="0" y="1061"/>
                    <a:pt x="0" y="1061"/>
                  </a:cubicBezTo>
                  <a:lnTo>
                    <a:pt x="8" y="106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grpSp>
          <p:nvGrpSpPr>
            <p:cNvPr id="12" name="íŝļîdè">
              <a:extLst>
                <a:ext uri="{FF2B5EF4-FFF2-40B4-BE49-F238E27FC236}">
                  <a16:creationId xmlns:a16="http://schemas.microsoft.com/office/drawing/2014/main" id="{83AD5E93-CC88-46EC-A371-D4AE353D2674}"/>
                </a:ext>
              </a:extLst>
            </p:cNvPr>
            <p:cNvGrpSpPr/>
            <p:nvPr/>
          </p:nvGrpSpPr>
          <p:grpSpPr>
            <a:xfrm>
              <a:off x="4579403" y="1175581"/>
              <a:ext cx="767514" cy="767520"/>
              <a:chOff x="5371847" y="2312243"/>
              <a:chExt cx="656438" cy="656442"/>
            </a:xfrm>
          </p:grpSpPr>
          <p:sp>
            <p:nvSpPr>
              <p:cNvPr id="61" name="ïslíḑê">
                <a:extLst>
                  <a:ext uri="{FF2B5EF4-FFF2-40B4-BE49-F238E27FC236}">
                    <a16:creationId xmlns:a16="http://schemas.microsoft.com/office/drawing/2014/main" id="{98295142-3696-4937-9DD0-A7E1E9A1B47E}"/>
                  </a:ext>
                </a:extLst>
              </p:cNvPr>
              <p:cNvSpPr/>
              <p:nvPr/>
            </p:nvSpPr>
            <p:spPr>
              <a:xfrm>
                <a:off x="5371847" y="2312243"/>
                <a:ext cx="656438" cy="656442"/>
              </a:xfrm>
              <a:prstGeom prst="ellipse">
                <a:avLst/>
              </a:prstGeom>
              <a:solidFill>
                <a:schemeClr val="accent1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</a:pPr>
                <a:endParaRPr lang="zh-CN" altLang="en-US" dirty="0"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62" name="íṩlïdê">
                <a:extLst>
                  <a:ext uri="{FF2B5EF4-FFF2-40B4-BE49-F238E27FC236}">
                    <a16:creationId xmlns:a16="http://schemas.microsoft.com/office/drawing/2014/main" id="{929C78F6-A65E-43D7-BD62-775DBB35B6DB}"/>
                  </a:ext>
                </a:extLst>
              </p:cNvPr>
              <p:cNvSpPr/>
              <p:nvPr/>
            </p:nvSpPr>
            <p:spPr bwMode="auto">
              <a:xfrm>
                <a:off x="5532706" y="2489856"/>
                <a:ext cx="334720" cy="301213"/>
              </a:xfrm>
              <a:custGeom>
                <a:avLst/>
                <a:gdLst>
                  <a:gd name="connsiteX0" fmla="*/ 225929 w 608344"/>
                  <a:gd name="connsiteY0" fmla="*/ 296304 h 547447"/>
                  <a:gd name="connsiteX1" fmla="*/ 225929 w 608344"/>
                  <a:gd name="connsiteY1" fmla="*/ 341046 h 547447"/>
                  <a:gd name="connsiteX2" fmla="*/ 44891 w 608344"/>
                  <a:gd name="connsiteY2" fmla="*/ 420403 h 547447"/>
                  <a:gd name="connsiteX3" fmla="*/ 287412 w 608344"/>
                  <a:gd name="connsiteY3" fmla="*/ 502613 h 547447"/>
                  <a:gd name="connsiteX4" fmla="*/ 530026 w 608344"/>
                  <a:gd name="connsiteY4" fmla="*/ 420403 h 547447"/>
                  <a:gd name="connsiteX5" fmla="*/ 351292 w 608344"/>
                  <a:gd name="connsiteY5" fmla="*/ 341322 h 547447"/>
                  <a:gd name="connsiteX6" fmla="*/ 351292 w 608344"/>
                  <a:gd name="connsiteY6" fmla="*/ 296488 h 547447"/>
                  <a:gd name="connsiteX7" fmla="*/ 574825 w 608344"/>
                  <a:gd name="connsiteY7" fmla="*/ 420403 h 547447"/>
                  <a:gd name="connsiteX8" fmla="*/ 287412 w 608344"/>
                  <a:gd name="connsiteY8" fmla="*/ 547447 h 547447"/>
                  <a:gd name="connsiteX9" fmla="*/ 0 w 608344"/>
                  <a:gd name="connsiteY9" fmla="*/ 420403 h 547447"/>
                  <a:gd name="connsiteX10" fmla="*/ 225929 w 608344"/>
                  <a:gd name="connsiteY10" fmla="*/ 296304 h 547447"/>
                  <a:gd name="connsiteX11" fmla="*/ 288618 w 608344"/>
                  <a:gd name="connsiteY11" fmla="*/ 0 h 547447"/>
                  <a:gd name="connsiteX12" fmla="*/ 311206 w 608344"/>
                  <a:gd name="connsiteY12" fmla="*/ 22551 h 547447"/>
                  <a:gd name="connsiteX13" fmla="*/ 311206 w 608344"/>
                  <a:gd name="connsiteY13" fmla="*/ 36174 h 547447"/>
                  <a:gd name="connsiteX14" fmla="*/ 370947 w 608344"/>
                  <a:gd name="connsiteY14" fmla="*/ 21079 h 547447"/>
                  <a:gd name="connsiteX15" fmla="*/ 428291 w 608344"/>
                  <a:gd name="connsiteY15" fmla="*/ 34978 h 547447"/>
                  <a:gd name="connsiteX16" fmla="*/ 486004 w 608344"/>
                  <a:gd name="connsiteY16" fmla="*/ 48969 h 547447"/>
                  <a:gd name="connsiteX17" fmla="*/ 540766 w 608344"/>
                  <a:gd name="connsiteY17" fmla="*/ 36450 h 547447"/>
                  <a:gd name="connsiteX18" fmla="*/ 578012 w 608344"/>
                  <a:gd name="connsiteY18" fmla="*/ 18409 h 547447"/>
                  <a:gd name="connsiteX19" fmla="*/ 587232 w 608344"/>
                  <a:gd name="connsiteY19" fmla="*/ 16292 h 547447"/>
                  <a:gd name="connsiteX20" fmla="*/ 598479 w 608344"/>
                  <a:gd name="connsiteY20" fmla="*/ 19514 h 547447"/>
                  <a:gd name="connsiteX21" fmla="*/ 608344 w 608344"/>
                  <a:gd name="connsiteY21" fmla="*/ 37371 h 547447"/>
                  <a:gd name="connsiteX22" fmla="*/ 608344 w 608344"/>
                  <a:gd name="connsiteY22" fmla="*/ 174520 h 547447"/>
                  <a:gd name="connsiteX23" fmla="*/ 596451 w 608344"/>
                  <a:gd name="connsiteY23" fmla="*/ 193481 h 547447"/>
                  <a:gd name="connsiteX24" fmla="*/ 540766 w 608344"/>
                  <a:gd name="connsiteY24" fmla="*/ 220451 h 547447"/>
                  <a:gd name="connsiteX25" fmla="*/ 486004 w 608344"/>
                  <a:gd name="connsiteY25" fmla="*/ 232969 h 547447"/>
                  <a:gd name="connsiteX26" fmla="*/ 428291 w 608344"/>
                  <a:gd name="connsiteY26" fmla="*/ 218978 h 547447"/>
                  <a:gd name="connsiteX27" fmla="*/ 370947 w 608344"/>
                  <a:gd name="connsiteY27" fmla="*/ 205079 h 547447"/>
                  <a:gd name="connsiteX28" fmla="*/ 311206 w 608344"/>
                  <a:gd name="connsiteY28" fmla="*/ 220175 h 547447"/>
                  <a:gd name="connsiteX29" fmla="*/ 311206 w 608344"/>
                  <a:gd name="connsiteY29" fmla="*/ 426267 h 547447"/>
                  <a:gd name="connsiteX30" fmla="*/ 288618 w 608344"/>
                  <a:gd name="connsiteY30" fmla="*/ 448726 h 547447"/>
                  <a:gd name="connsiteX31" fmla="*/ 266031 w 608344"/>
                  <a:gd name="connsiteY31" fmla="*/ 426267 h 547447"/>
                  <a:gd name="connsiteX32" fmla="*/ 266031 w 608344"/>
                  <a:gd name="connsiteY32" fmla="*/ 22551 h 547447"/>
                  <a:gd name="connsiteX33" fmla="*/ 288618 w 608344"/>
                  <a:gd name="connsiteY33" fmla="*/ 0 h 547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608344" h="547447">
                    <a:moveTo>
                      <a:pt x="225929" y="296304"/>
                    </a:moveTo>
                    <a:lnTo>
                      <a:pt x="225929" y="341046"/>
                    </a:lnTo>
                    <a:cubicBezTo>
                      <a:pt x="112458" y="351817"/>
                      <a:pt x="44891" y="391035"/>
                      <a:pt x="44891" y="420403"/>
                    </a:cubicBezTo>
                    <a:cubicBezTo>
                      <a:pt x="44891" y="454741"/>
                      <a:pt x="137162" y="502613"/>
                      <a:pt x="287412" y="502613"/>
                    </a:cubicBezTo>
                    <a:cubicBezTo>
                      <a:pt x="437663" y="502613"/>
                      <a:pt x="530026" y="454741"/>
                      <a:pt x="530026" y="420403"/>
                    </a:cubicBezTo>
                    <a:cubicBezTo>
                      <a:pt x="530026" y="391219"/>
                      <a:pt x="463289" y="352369"/>
                      <a:pt x="351292" y="341322"/>
                    </a:cubicBezTo>
                    <a:lnTo>
                      <a:pt x="351292" y="296488"/>
                    </a:lnTo>
                    <a:cubicBezTo>
                      <a:pt x="468543" y="307904"/>
                      <a:pt x="574825" y="350436"/>
                      <a:pt x="574825" y="420403"/>
                    </a:cubicBezTo>
                    <a:cubicBezTo>
                      <a:pt x="574825" y="502889"/>
                      <a:pt x="426786" y="547447"/>
                      <a:pt x="287412" y="547447"/>
                    </a:cubicBezTo>
                    <a:cubicBezTo>
                      <a:pt x="148131" y="547447"/>
                      <a:pt x="0" y="502889"/>
                      <a:pt x="0" y="420403"/>
                    </a:cubicBezTo>
                    <a:cubicBezTo>
                      <a:pt x="0" y="349976"/>
                      <a:pt x="107757" y="307351"/>
                      <a:pt x="225929" y="296304"/>
                    </a:cubicBezTo>
                    <a:close/>
                    <a:moveTo>
                      <a:pt x="288618" y="0"/>
                    </a:moveTo>
                    <a:cubicBezTo>
                      <a:pt x="301064" y="0"/>
                      <a:pt x="311206" y="10033"/>
                      <a:pt x="311206" y="22551"/>
                    </a:cubicBezTo>
                    <a:lnTo>
                      <a:pt x="311206" y="36174"/>
                    </a:lnTo>
                    <a:cubicBezTo>
                      <a:pt x="329829" y="26141"/>
                      <a:pt x="350388" y="21079"/>
                      <a:pt x="370947" y="21079"/>
                    </a:cubicBezTo>
                    <a:cubicBezTo>
                      <a:pt x="390584" y="21079"/>
                      <a:pt x="410313" y="25681"/>
                      <a:pt x="428291" y="34978"/>
                    </a:cubicBezTo>
                    <a:cubicBezTo>
                      <a:pt x="446361" y="44366"/>
                      <a:pt x="466182" y="48969"/>
                      <a:pt x="486004" y="48969"/>
                    </a:cubicBezTo>
                    <a:cubicBezTo>
                      <a:pt x="504719" y="48969"/>
                      <a:pt x="523526" y="44827"/>
                      <a:pt x="540766" y="36450"/>
                    </a:cubicBezTo>
                    <a:lnTo>
                      <a:pt x="578012" y="18409"/>
                    </a:lnTo>
                    <a:cubicBezTo>
                      <a:pt x="580963" y="17029"/>
                      <a:pt x="584097" y="16292"/>
                      <a:pt x="587232" y="16292"/>
                    </a:cubicBezTo>
                    <a:cubicBezTo>
                      <a:pt x="591104" y="16292"/>
                      <a:pt x="594976" y="17397"/>
                      <a:pt x="598479" y="19514"/>
                    </a:cubicBezTo>
                    <a:cubicBezTo>
                      <a:pt x="604564" y="23380"/>
                      <a:pt x="608344" y="30099"/>
                      <a:pt x="608344" y="37371"/>
                    </a:cubicBezTo>
                    <a:lnTo>
                      <a:pt x="608344" y="174520"/>
                    </a:lnTo>
                    <a:cubicBezTo>
                      <a:pt x="608344" y="182620"/>
                      <a:pt x="603734" y="189984"/>
                      <a:pt x="596451" y="193481"/>
                    </a:cubicBezTo>
                    <a:lnTo>
                      <a:pt x="540766" y="220451"/>
                    </a:lnTo>
                    <a:cubicBezTo>
                      <a:pt x="523434" y="228827"/>
                      <a:pt x="504719" y="232969"/>
                      <a:pt x="486004" y="232969"/>
                    </a:cubicBezTo>
                    <a:cubicBezTo>
                      <a:pt x="466182" y="232969"/>
                      <a:pt x="446361" y="228367"/>
                      <a:pt x="428291" y="218978"/>
                    </a:cubicBezTo>
                    <a:cubicBezTo>
                      <a:pt x="410313" y="209774"/>
                      <a:pt x="390584" y="205079"/>
                      <a:pt x="370947" y="205079"/>
                    </a:cubicBezTo>
                    <a:cubicBezTo>
                      <a:pt x="350388" y="205079"/>
                      <a:pt x="329829" y="210142"/>
                      <a:pt x="311206" y="220175"/>
                    </a:cubicBezTo>
                    <a:lnTo>
                      <a:pt x="311206" y="426267"/>
                    </a:lnTo>
                    <a:cubicBezTo>
                      <a:pt x="311206" y="438693"/>
                      <a:pt x="301064" y="448726"/>
                      <a:pt x="288618" y="448726"/>
                    </a:cubicBezTo>
                    <a:cubicBezTo>
                      <a:pt x="276172" y="448726"/>
                      <a:pt x="266031" y="438693"/>
                      <a:pt x="266031" y="426267"/>
                    </a:cubicBezTo>
                    <a:lnTo>
                      <a:pt x="266031" y="22551"/>
                    </a:lnTo>
                    <a:cubicBezTo>
                      <a:pt x="266031" y="10033"/>
                      <a:pt x="276172" y="0"/>
                      <a:pt x="28861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endParaRPr lang="en-US" sz="7198" dirty="0"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</p:grpSp>
        <p:grpSp>
          <p:nvGrpSpPr>
            <p:cNvPr id="13" name="iṣliḓê">
              <a:extLst>
                <a:ext uri="{FF2B5EF4-FFF2-40B4-BE49-F238E27FC236}">
                  <a16:creationId xmlns:a16="http://schemas.microsoft.com/office/drawing/2014/main" id="{ADFC4B4D-49BF-49A1-92CC-D7C065C86A65}"/>
                </a:ext>
              </a:extLst>
            </p:cNvPr>
            <p:cNvGrpSpPr/>
            <p:nvPr/>
          </p:nvGrpSpPr>
          <p:grpSpPr>
            <a:xfrm>
              <a:off x="3222090" y="2735253"/>
              <a:ext cx="767514" cy="767520"/>
              <a:chOff x="5371847" y="2312243"/>
              <a:chExt cx="656438" cy="656442"/>
            </a:xfrm>
          </p:grpSpPr>
          <p:sp>
            <p:nvSpPr>
              <p:cNvPr id="59" name="îš1ïḑé">
                <a:extLst>
                  <a:ext uri="{FF2B5EF4-FFF2-40B4-BE49-F238E27FC236}">
                    <a16:creationId xmlns:a16="http://schemas.microsoft.com/office/drawing/2014/main" id="{D425EE73-EBB8-4EEC-854A-B5F51F0E3146}"/>
                  </a:ext>
                </a:extLst>
              </p:cNvPr>
              <p:cNvSpPr/>
              <p:nvPr/>
            </p:nvSpPr>
            <p:spPr>
              <a:xfrm>
                <a:off x="5371847" y="2312243"/>
                <a:ext cx="656438" cy="656442"/>
              </a:xfrm>
              <a:prstGeom prst="ellipse">
                <a:avLst/>
              </a:prstGeom>
              <a:solidFill>
                <a:schemeClr val="accent2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</a:pPr>
                <a:endParaRPr lang="zh-CN" altLang="en-US" dirty="0"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60" name="išļîḓé">
                <a:extLst>
                  <a:ext uri="{FF2B5EF4-FFF2-40B4-BE49-F238E27FC236}">
                    <a16:creationId xmlns:a16="http://schemas.microsoft.com/office/drawing/2014/main" id="{63CC9DCC-3067-4A3E-A9FC-38BEECEC7824}"/>
                  </a:ext>
                </a:extLst>
              </p:cNvPr>
              <p:cNvSpPr/>
              <p:nvPr/>
            </p:nvSpPr>
            <p:spPr bwMode="auto">
              <a:xfrm>
                <a:off x="5532706" y="2489856"/>
                <a:ext cx="334720" cy="301213"/>
              </a:xfrm>
              <a:custGeom>
                <a:avLst/>
                <a:gdLst>
                  <a:gd name="connsiteX0" fmla="*/ 225929 w 608344"/>
                  <a:gd name="connsiteY0" fmla="*/ 296304 h 547447"/>
                  <a:gd name="connsiteX1" fmla="*/ 225929 w 608344"/>
                  <a:gd name="connsiteY1" fmla="*/ 341046 h 547447"/>
                  <a:gd name="connsiteX2" fmla="*/ 44891 w 608344"/>
                  <a:gd name="connsiteY2" fmla="*/ 420403 h 547447"/>
                  <a:gd name="connsiteX3" fmla="*/ 287412 w 608344"/>
                  <a:gd name="connsiteY3" fmla="*/ 502613 h 547447"/>
                  <a:gd name="connsiteX4" fmla="*/ 530026 w 608344"/>
                  <a:gd name="connsiteY4" fmla="*/ 420403 h 547447"/>
                  <a:gd name="connsiteX5" fmla="*/ 351292 w 608344"/>
                  <a:gd name="connsiteY5" fmla="*/ 341322 h 547447"/>
                  <a:gd name="connsiteX6" fmla="*/ 351292 w 608344"/>
                  <a:gd name="connsiteY6" fmla="*/ 296488 h 547447"/>
                  <a:gd name="connsiteX7" fmla="*/ 574825 w 608344"/>
                  <a:gd name="connsiteY7" fmla="*/ 420403 h 547447"/>
                  <a:gd name="connsiteX8" fmla="*/ 287412 w 608344"/>
                  <a:gd name="connsiteY8" fmla="*/ 547447 h 547447"/>
                  <a:gd name="connsiteX9" fmla="*/ 0 w 608344"/>
                  <a:gd name="connsiteY9" fmla="*/ 420403 h 547447"/>
                  <a:gd name="connsiteX10" fmla="*/ 225929 w 608344"/>
                  <a:gd name="connsiteY10" fmla="*/ 296304 h 547447"/>
                  <a:gd name="connsiteX11" fmla="*/ 288618 w 608344"/>
                  <a:gd name="connsiteY11" fmla="*/ 0 h 547447"/>
                  <a:gd name="connsiteX12" fmla="*/ 311206 w 608344"/>
                  <a:gd name="connsiteY12" fmla="*/ 22551 h 547447"/>
                  <a:gd name="connsiteX13" fmla="*/ 311206 w 608344"/>
                  <a:gd name="connsiteY13" fmla="*/ 36174 h 547447"/>
                  <a:gd name="connsiteX14" fmla="*/ 370947 w 608344"/>
                  <a:gd name="connsiteY14" fmla="*/ 21079 h 547447"/>
                  <a:gd name="connsiteX15" fmla="*/ 428291 w 608344"/>
                  <a:gd name="connsiteY15" fmla="*/ 34978 h 547447"/>
                  <a:gd name="connsiteX16" fmla="*/ 486004 w 608344"/>
                  <a:gd name="connsiteY16" fmla="*/ 48969 h 547447"/>
                  <a:gd name="connsiteX17" fmla="*/ 540766 w 608344"/>
                  <a:gd name="connsiteY17" fmla="*/ 36450 h 547447"/>
                  <a:gd name="connsiteX18" fmla="*/ 578012 w 608344"/>
                  <a:gd name="connsiteY18" fmla="*/ 18409 h 547447"/>
                  <a:gd name="connsiteX19" fmla="*/ 587232 w 608344"/>
                  <a:gd name="connsiteY19" fmla="*/ 16292 h 547447"/>
                  <a:gd name="connsiteX20" fmla="*/ 598479 w 608344"/>
                  <a:gd name="connsiteY20" fmla="*/ 19514 h 547447"/>
                  <a:gd name="connsiteX21" fmla="*/ 608344 w 608344"/>
                  <a:gd name="connsiteY21" fmla="*/ 37371 h 547447"/>
                  <a:gd name="connsiteX22" fmla="*/ 608344 w 608344"/>
                  <a:gd name="connsiteY22" fmla="*/ 174520 h 547447"/>
                  <a:gd name="connsiteX23" fmla="*/ 596451 w 608344"/>
                  <a:gd name="connsiteY23" fmla="*/ 193481 h 547447"/>
                  <a:gd name="connsiteX24" fmla="*/ 540766 w 608344"/>
                  <a:gd name="connsiteY24" fmla="*/ 220451 h 547447"/>
                  <a:gd name="connsiteX25" fmla="*/ 486004 w 608344"/>
                  <a:gd name="connsiteY25" fmla="*/ 232969 h 547447"/>
                  <a:gd name="connsiteX26" fmla="*/ 428291 w 608344"/>
                  <a:gd name="connsiteY26" fmla="*/ 218978 h 547447"/>
                  <a:gd name="connsiteX27" fmla="*/ 370947 w 608344"/>
                  <a:gd name="connsiteY27" fmla="*/ 205079 h 547447"/>
                  <a:gd name="connsiteX28" fmla="*/ 311206 w 608344"/>
                  <a:gd name="connsiteY28" fmla="*/ 220175 h 547447"/>
                  <a:gd name="connsiteX29" fmla="*/ 311206 w 608344"/>
                  <a:gd name="connsiteY29" fmla="*/ 426267 h 547447"/>
                  <a:gd name="connsiteX30" fmla="*/ 288618 w 608344"/>
                  <a:gd name="connsiteY30" fmla="*/ 448726 h 547447"/>
                  <a:gd name="connsiteX31" fmla="*/ 266031 w 608344"/>
                  <a:gd name="connsiteY31" fmla="*/ 426267 h 547447"/>
                  <a:gd name="connsiteX32" fmla="*/ 266031 w 608344"/>
                  <a:gd name="connsiteY32" fmla="*/ 22551 h 547447"/>
                  <a:gd name="connsiteX33" fmla="*/ 288618 w 608344"/>
                  <a:gd name="connsiteY33" fmla="*/ 0 h 547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608344" h="547447">
                    <a:moveTo>
                      <a:pt x="225929" y="296304"/>
                    </a:moveTo>
                    <a:lnTo>
                      <a:pt x="225929" y="341046"/>
                    </a:lnTo>
                    <a:cubicBezTo>
                      <a:pt x="112458" y="351817"/>
                      <a:pt x="44891" y="391035"/>
                      <a:pt x="44891" y="420403"/>
                    </a:cubicBezTo>
                    <a:cubicBezTo>
                      <a:pt x="44891" y="454741"/>
                      <a:pt x="137162" y="502613"/>
                      <a:pt x="287412" y="502613"/>
                    </a:cubicBezTo>
                    <a:cubicBezTo>
                      <a:pt x="437663" y="502613"/>
                      <a:pt x="530026" y="454741"/>
                      <a:pt x="530026" y="420403"/>
                    </a:cubicBezTo>
                    <a:cubicBezTo>
                      <a:pt x="530026" y="391219"/>
                      <a:pt x="463289" y="352369"/>
                      <a:pt x="351292" y="341322"/>
                    </a:cubicBezTo>
                    <a:lnTo>
                      <a:pt x="351292" y="296488"/>
                    </a:lnTo>
                    <a:cubicBezTo>
                      <a:pt x="468543" y="307904"/>
                      <a:pt x="574825" y="350436"/>
                      <a:pt x="574825" y="420403"/>
                    </a:cubicBezTo>
                    <a:cubicBezTo>
                      <a:pt x="574825" y="502889"/>
                      <a:pt x="426786" y="547447"/>
                      <a:pt x="287412" y="547447"/>
                    </a:cubicBezTo>
                    <a:cubicBezTo>
                      <a:pt x="148131" y="547447"/>
                      <a:pt x="0" y="502889"/>
                      <a:pt x="0" y="420403"/>
                    </a:cubicBezTo>
                    <a:cubicBezTo>
                      <a:pt x="0" y="349976"/>
                      <a:pt x="107757" y="307351"/>
                      <a:pt x="225929" y="296304"/>
                    </a:cubicBezTo>
                    <a:close/>
                    <a:moveTo>
                      <a:pt x="288618" y="0"/>
                    </a:moveTo>
                    <a:cubicBezTo>
                      <a:pt x="301064" y="0"/>
                      <a:pt x="311206" y="10033"/>
                      <a:pt x="311206" y="22551"/>
                    </a:cubicBezTo>
                    <a:lnTo>
                      <a:pt x="311206" y="36174"/>
                    </a:lnTo>
                    <a:cubicBezTo>
                      <a:pt x="329829" y="26141"/>
                      <a:pt x="350388" y="21079"/>
                      <a:pt x="370947" y="21079"/>
                    </a:cubicBezTo>
                    <a:cubicBezTo>
                      <a:pt x="390584" y="21079"/>
                      <a:pt x="410313" y="25681"/>
                      <a:pt x="428291" y="34978"/>
                    </a:cubicBezTo>
                    <a:cubicBezTo>
                      <a:pt x="446361" y="44366"/>
                      <a:pt x="466182" y="48969"/>
                      <a:pt x="486004" y="48969"/>
                    </a:cubicBezTo>
                    <a:cubicBezTo>
                      <a:pt x="504719" y="48969"/>
                      <a:pt x="523526" y="44827"/>
                      <a:pt x="540766" y="36450"/>
                    </a:cubicBezTo>
                    <a:lnTo>
                      <a:pt x="578012" y="18409"/>
                    </a:lnTo>
                    <a:cubicBezTo>
                      <a:pt x="580963" y="17029"/>
                      <a:pt x="584097" y="16292"/>
                      <a:pt x="587232" y="16292"/>
                    </a:cubicBezTo>
                    <a:cubicBezTo>
                      <a:pt x="591104" y="16292"/>
                      <a:pt x="594976" y="17397"/>
                      <a:pt x="598479" y="19514"/>
                    </a:cubicBezTo>
                    <a:cubicBezTo>
                      <a:pt x="604564" y="23380"/>
                      <a:pt x="608344" y="30099"/>
                      <a:pt x="608344" y="37371"/>
                    </a:cubicBezTo>
                    <a:lnTo>
                      <a:pt x="608344" y="174520"/>
                    </a:lnTo>
                    <a:cubicBezTo>
                      <a:pt x="608344" y="182620"/>
                      <a:pt x="603734" y="189984"/>
                      <a:pt x="596451" y="193481"/>
                    </a:cubicBezTo>
                    <a:lnTo>
                      <a:pt x="540766" y="220451"/>
                    </a:lnTo>
                    <a:cubicBezTo>
                      <a:pt x="523434" y="228827"/>
                      <a:pt x="504719" y="232969"/>
                      <a:pt x="486004" y="232969"/>
                    </a:cubicBezTo>
                    <a:cubicBezTo>
                      <a:pt x="466182" y="232969"/>
                      <a:pt x="446361" y="228367"/>
                      <a:pt x="428291" y="218978"/>
                    </a:cubicBezTo>
                    <a:cubicBezTo>
                      <a:pt x="410313" y="209774"/>
                      <a:pt x="390584" y="205079"/>
                      <a:pt x="370947" y="205079"/>
                    </a:cubicBezTo>
                    <a:cubicBezTo>
                      <a:pt x="350388" y="205079"/>
                      <a:pt x="329829" y="210142"/>
                      <a:pt x="311206" y="220175"/>
                    </a:cubicBezTo>
                    <a:lnTo>
                      <a:pt x="311206" y="426267"/>
                    </a:lnTo>
                    <a:cubicBezTo>
                      <a:pt x="311206" y="438693"/>
                      <a:pt x="301064" y="448726"/>
                      <a:pt x="288618" y="448726"/>
                    </a:cubicBezTo>
                    <a:cubicBezTo>
                      <a:pt x="276172" y="448726"/>
                      <a:pt x="266031" y="438693"/>
                      <a:pt x="266031" y="426267"/>
                    </a:cubicBezTo>
                    <a:lnTo>
                      <a:pt x="266031" y="22551"/>
                    </a:lnTo>
                    <a:cubicBezTo>
                      <a:pt x="266031" y="10033"/>
                      <a:pt x="276172" y="0"/>
                      <a:pt x="28861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endParaRPr lang="en-US" sz="7198" dirty="0"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</p:grpSp>
        <p:grpSp>
          <p:nvGrpSpPr>
            <p:cNvPr id="14" name="îṡļíḍé">
              <a:extLst>
                <a:ext uri="{FF2B5EF4-FFF2-40B4-BE49-F238E27FC236}">
                  <a16:creationId xmlns:a16="http://schemas.microsoft.com/office/drawing/2014/main" id="{8AB00BF9-47CE-41CC-BD41-8635628F648D}"/>
                </a:ext>
              </a:extLst>
            </p:cNvPr>
            <p:cNvGrpSpPr/>
            <p:nvPr/>
          </p:nvGrpSpPr>
          <p:grpSpPr>
            <a:xfrm>
              <a:off x="7919062" y="2876461"/>
              <a:ext cx="767514" cy="767520"/>
              <a:chOff x="5371847" y="2312243"/>
              <a:chExt cx="656438" cy="656442"/>
            </a:xfrm>
          </p:grpSpPr>
          <p:sp>
            <p:nvSpPr>
              <p:cNvPr id="57" name="iṧḷíďê">
                <a:extLst>
                  <a:ext uri="{FF2B5EF4-FFF2-40B4-BE49-F238E27FC236}">
                    <a16:creationId xmlns:a16="http://schemas.microsoft.com/office/drawing/2014/main" id="{9C245F42-9221-4420-81C5-4B9E568B1C48}"/>
                  </a:ext>
                </a:extLst>
              </p:cNvPr>
              <p:cNvSpPr/>
              <p:nvPr/>
            </p:nvSpPr>
            <p:spPr>
              <a:xfrm>
                <a:off x="5371847" y="2312243"/>
                <a:ext cx="656438" cy="656442"/>
              </a:xfrm>
              <a:prstGeom prst="ellipse">
                <a:avLst/>
              </a:prstGeom>
              <a:solidFill>
                <a:schemeClr val="accent1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</a:pPr>
                <a:endParaRPr lang="zh-CN" altLang="en-US" dirty="0"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58" name="îŝ1îḑe">
                <a:extLst>
                  <a:ext uri="{FF2B5EF4-FFF2-40B4-BE49-F238E27FC236}">
                    <a16:creationId xmlns:a16="http://schemas.microsoft.com/office/drawing/2014/main" id="{230067C6-907D-443B-8741-155D05E7AE55}"/>
                  </a:ext>
                </a:extLst>
              </p:cNvPr>
              <p:cNvSpPr/>
              <p:nvPr/>
            </p:nvSpPr>
            <p:spPr bwMode="auto">
              <a:xfrm>
                <a:off x="5532706" y="2489856"/>
                <a:ext cx="334720" cy="301213"/>
              </a:xfrm>
              <a:custGeom>
                <a:avLst/>
                <a:gdLst>
                  <a:gd name="connsiteX0" fmla="*/ 225929 w 608344"/>
                  <a:gd name="connsiteY0" fmla="*/ 296304 h 547447"/>
                  <a:gd name="connsiteX1" fmla="*/ 225929 w 608344"/>
                  <a:gd name="connsiteY1" fmla="*/ 341046 h 547447"/>
                  <a:gd name="connsiteX2" fmla="*/ 44891 w 608344"/>
                  <a:gd name="connsiteY2" fmla="*/ 420403 h 547447"/>
                  <a:gd name="connsiteX3" fmla="*/ 287412 w 608344"/>
                  <a:gd name="connsiteY3" fmla="*/ 502613 h 547447"/>
                  <a:gd name="connsiteX4" fmla="*/ 530026 w 608344"/>
                  <a:gd name="connsiteY4" fmla="*/ 420403 h 547447"/>
                  <a:gd name="connsiteX5" fmla="*/ 351292 w 608344"/>
                  <a:gd name="connsiteY5" fmla="*/ 341322 h 547447"/>
                  <a:gd name="connsiteX6" fmla="*/ 351292 w 608344"/>
                  <a:gd name="connsiteY6" fmla="*/ 296488 h 547447"/>
                  <a:gd name="connsiteX7" fmla="*/ 574825 w 608344"/>
                  <a:gd name="connsiteY7" fmla="*/ 420403 h 547447"/>
                  <a:gd name="connsiteX8" fmla="*/ 287412 w 608344"/>
                  <a:gd name="connsiteY8" fmla="*/ 547447 h 547447"/>
                  <a:gd name="connsiteX9" fmla="*/ 0 w 608344"/>
                  <a:gd name="connsiteY9" fmla="*/ 420403 h 547447"/>
                  <a:gd name="connsiteX10" fmla="*/ 225929 w 608344"/>
                  <a:gd name="connsiteY10" fmla="*/ 296304 h 547447"/>
                  <a:gd name="connsiteX11" fmla="*/ 288618 w 608344"/>
                  <a:gd name="connsiteY11" fmla="*/ 0 h 547447"/>
                  <a:gd name="connsiteX12" fmla="*/ 311206 w 608344"/>
                  <a:gd name="connsiteY12" fmla="*/ 22551 h 547447"/>
                  <a:gd name="connsiteX13" fmla="*/ 311206 w 608344"/>
                  <a:gd name="connsiteY13" fmla="*/ 36174 h 547447"/>
                  <a:gd name="connsiteX14" fmla="*/ 370947 w 608344"/>
                  <a:gd name="connsiteY14" fmla="*/ 21079 h 547447"/>
                  <a:gd name="connsiteX15" fmla="*/ 428291 w 608344"/>
                  <a:gd name="connsiteY15" fmla="*/ 34978 h 547447"/>
                  <a:gd name="connsiteX16" fmla="*/ 486004 w 608344"/>
                  <a:gd name="connsiteY16" fmla="*/ 48969 h 547447"/>
                  <a:gd name="connsiteX17" fmla="*/ 540766 w 608344"/>
                  <a:gd name="connsiteY17" fmla="*/ 36450 h 547447"/>
                  <a:gd name="connsiteX18" fmla="*/ 578012 w 608344"/>
                  <a:gd name="connsiteY18" fmla="*/ 18409 h 547447"/>
                  <a:gd name="connsiteX19" fmla="*/ 587232 w 608344"/>
                  <a:gd name="connsiteY19" fmla="*/ 16292 h 547447"/>
                  <a:gd name="connsiteX20" fmla="*/ 598479 w 608344"/>
                  <a:gd name="connsiteY20" fmla="*/ 19514 h 547447"/>
                  <a:gd name="connsiteX21" fmla="*/ 608344 w 608344"/>
                  <a:gd name="connsiteY21" fmla="*/ 37371 h 547447"/>
                  <a:gd name="connsiteX22" fmla="*/ 608344 w 608344"/>
                  <a:gd name="connsiteY22" fmla="*/ 174520 h 547447"/>
                  <a:gd name="connsiteX23" fmla="*/ 596451 w 608344"/>
                  <a:gd name="connsiteY23" fmla="*/ 193481 h 547447"/>
                  <a:gd name="connsiteX24" fmla="*/ 540766 w 608344"/>
                  <a:gd name="connsiteY24" fmla="*/ 220451 h 547447"/>
                  <a:gd name="connsiteX25" fmla="*/ 486004 w 608344"/>
                  <a:gd name="connsiteY25" fmla="*/ 232969 h 547447"/>
                  <a:gd name="connsiteX26" fmla="*/ 428291 w 608344"/>
                  <a:gd name="connsiteY26" fmla="*/ 218978 h 547447"/>
                  <a:gd name="connsiteX27" fmla="*/ 370947 w 608344"/>
                  <a:gd name="connsiteY27" fmla="*/ 205079 h 547447"/>
                  <a:gd name="connsiteX28" fmla="*/ 311206 w 608344"/>
                  <a:gd name="connsiteY28" fmla="*/ 220175 h 547447"/>
                  <a:gd name="connsiteX29" fmla="*/ 311206 w 608344"/>
                  <a:gd name="connsiteY29" fmla="*/ 426267 h 547447"/>
                  <a:gd name="connsiteX30" fmla="*/ 288618 w 608344"/>
                  <a:gd name="connsiteY30" fmla="*/ 448726 h 547447"/>
                  <a:gd name="connsiteX31" fmla="*/ 266031 w 608344"/>
                  <a:gd name="connsiteY31" fmla="*/ 426267 h 547447"/>
                  <a:gd name="connsiteX32" fmla="*/ 266031 w 608344"/>
                  <a:gd name="connsiteY32" fmla="*/ 22551 h 547447"/>
                  <a:gd name="connsiteX33" fmla="*/ 288618 w 608344"/>
                  <a:gd name="connsiteY33" fmla="*/ 0 h 547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608344" h="547447">
                    <a:moveTo>
                      <a:pt x="225929" y="296304"/>
                    </a:moveTo>
                    <a:lnTo>
                      <a:pt x="225929" y="341046"/>
                    </a:lnTo>
                    <a:cubicBezTo>
                      <a:pt x="112458" y="351817"/>
                      <a:pt x="44891" y="391035"/>
                      <a:pt x="44891" y="420403"/>
                    </a:cubicBezTo>
                    <a:cubicBezTo>
                      <a:pt x="44891" y="454741"/>
                      <a:pt x="137162" y="502613"/>
                      <a:pt x="287412" y="502613"/>
                    </a:cubicBezTo>
                    <a:cubicBezTo>
                      <a:pt x="437663" y="502613"/>
                      <a:pt x="530026" y="454741"/>
                      <a:pt x="530026" y="420403"/>
                    </a:cubicBezTo>
                    <a:cubicBezTo>
                      <a:pt x="530026" y="391219"/>
                      <a:pt x="463289" y="352369"/>
                      <a:pt x="351292" y="341322"/>
                    </a:cubicBezTo>
                    <a:lnTo>
                      <a:pt x="351292" y="296488"/>
                    </a:lnTo>
                    <a:cubicBezTo>
                      <a:pt x="468543" y="307904"/>
                      <a:pt x="574825" y="350436"/>
                      <a:pt x="574825" y="420403"/>
                    </a:cubicBezTo>
                    <a:cubicBezTo>
                      <a:pt x="574825" y="502889"/>
                      <a:pt x="426786" y="547447"/>
                      <a:pt x="287412" y="547447"/>
                    </a:cubicBezTo>
                    <a:cubicBezTo>
                      <a:pt x="148131" y="547447"/>
                      <a:pt x="0" y="502889"/>
                      <a:pt x="0" y="420403"/>
                    </a:cubicBezTo>
                    <a:cubicBezTo>
                      <a:pt x="0" y="349976"/>
                      <a:pt x="107757" y="307351"/>
                      <a:pt x="225929" y="296304"/>
                    </a:cubicBezTo>
                    <a:close/>
                    <a:moveTo>
                      <a:pt x="288618" y="0"/>
                    </a:moveTo>
                    <a:cubicBezTo>
                      <a:pt x="301064" y="0"/>
                      <a:pt x="311206" y="10033"/>
                      <a:pt x="311206" y="22551"/>
                    </a:cubicBezTo>
                    <a:lnTo>
                      <a:pt x="311206" y="36174"/>
                    </a:lnTo>
                    <a:cubicBezTo>
                      <a:pt x="329829" y="26141"/>
                      <a:pt x="350388" y="21079"/>
                      <a:pt x="370947" y="21079"/>
                    </a:cubicBezTo>
                    <a:cubicBezTo>
                      <a:pt x="390584" y="21079"/>
                      <a:pt x="410313" y="25681"/>
                      <a:pt x="428291" y="34978"/>
                    </a:cubicBezTo>
                    <a:cubicBezTo>
                      <a:pt x="446361" y="44366"/>
                      <a:pt x="466182" y="48969"/>
                      <a:pt x="486004" y="48969"/>
                    </a:cubicBezTo>
                    <a:cubicBezTo>
                      <a:pt x="504719" y="48969"/>
                      <a:pt x="523526" y="44827"/>
                      <a:pt x="540766" y="36450"/>
                    </a:cubicBezTo>
                    <a:lnTo>
                      <a:pt x="578012" y="18409"/>
                    </a:lnTo>
                    <a:cubicBezTo>
                      <a:pt x="580963" y="17029"/>
                      <a:pt x="584097" y="16292"/>
                      <a:pt x="587232" y="16292"/>
                    </a:cubicBezTo>
                    <a:cubicBezTo>
                      <a:pt x="591104" y="16292"/>
                      <a:pt x="594976" y="17397"/>
                      <a:pt x="598479" y="19514"/>
                    </a:cubicBezTo>
                    <a:cubicBezTo>
                      <a:pt x="604564" y="23380"/>
                      <a:pt x="608344" y="30099"/>
                      <a:pt x="608344" y="37371"/>
                    </a:cubicBezTo>
                    <a:lnTo>
                      <a:pt x="608344" y="174520"/>
                    </a:lnTo>
                    <a:cubicBezTo>
                      <a:pt x="608344" y="182620"/>
                      <a:pt x="603734" y="189984"/>
                      <a:pt x="596451" y="193481"/>
                    </a:cubicBezTo>
                    <a:lnTo>
                      <a:pt x="540766" y="220451"/>
                    </a:lnTo>
                    <a:cubicBezTo>
                      <a:pt x="523434" y="228827"/>
                      <a:pt x="504719" y="232969"/>
                      <a:pt x="486004" y="232969"/>
                    </a:cubicBezTo>
                    <a:cubicBezTo>
                      <a:pt x="466182" y="232969"/>
                      <a:pt x="446361" y="228367"/>
                      <a:pt x="428291" y="218978"/>
                    </a:cubicBezTo>
                    <a:cubicBezTo>
                      <a:pt x="410313" y="209774"/>
                      <a:pt x="390584" y="205079"/>
                      <a:pt x="370947" y="205079"/>
                    </a:cubicBezTo>
                    <a:cubicBezTo>
                      <a:pt x="350388" y="205079"/>
                      <a:pt x="329829" y="210142"/>
                      <a:pt x="311206" y="220175"/>
                    </a:cubicBezTo>
                    <a:lnTo>
                      <a:pt x="311206" y="426267"/>
                    </a:lnTo>
                    <a:cubicBezTo>
                      <a:pt x="311206" y="438693"/>
                      <a:pt x="301064" y="448726"/>
                      <a:pt x="288618" y="448726"/>
                    </a:cubicBezTo>
                    <a:cubicBezTo>
                      <a:pt x="276172" y="448726"/>
                      <a:pt x="266031" y="438693"/>
                      <a:pt x="266031" y="426267"/>
                    </a:cubicBezTo>
                    <a:lnTo>
                      <a:pt x="266031" y="22551"/>
                    </a:lnTo>
                    <a:cubicBezTo>
                      <a:pt x="266031" y="10033"/>
                      <a:pt x="276172" y="0"/>
                      <a:pt x="28861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endParaRPr lang="en-US" sz="7198" dirty="0"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</p:grpSp>
        <p:grpSp>
          <p:nvGrpSpPr>
            <p:cNvPr id="15" name="íşliḓe">
              <a:extLst>
                <a:ext uri="{FF2B5EF4-FFF2-40B4-BE49-F238E27FC236}">
                  <a16:creationId xmlns:a16="http://schemas.microsoft.com/office/drawing/2014/main" id="{C51FE69C-1D10-48D6-9AB6-8AAFA6B67A65}"/>
                </a:ext>
              </a:extLst>
            </p:cNvPr>
            <p:cNvGrpSpPr/>
            <p:nvPr/>
          </p:nvGrpSpPr>
          <p:grpSpPr>
            <a:xfrm>
              <a:off x="7088274" y="1559341"/>
              <a:ext cx="767514" cy="767520"/>
              <a:chOff x="5371847" y="2312243"/>
              <a:chExt cx="656438" cy="656442"/>
            </a:xfrm>
          </p:grpSpPr>
          <p:sp>
            <p:nvSpPr>
              <p:cNvPr id="55" name="íṥḷïďé">
                <a:extLst>
                  <a:ext uri="{FF2B5EF4-FFF2-40B4-BE49-F238E27FC236}">
                    <a16:creationId xmlns:a16="http://schemas.microsoft.com/office/drawing/2014/main" id="{391B02E4-2D12-45F0-9ED5-7D42A635A28B}"/>
                  </a:ext>
                </a:extLst>
              </p:cNvPr>
              <p:cNvSpPr/>
              <p:nvPr/>
            </p:nvSpPr>
            <p:spPr>
              <a:xfrm>
                <a:off x="5371847" y="2312243"/>
                <a:ext cx="656438" cy="656442"/>
              </a:xfrm>
              <a:prstGeom prst="ellipse">
                <a:avLst/>
              </a:prstGeom>
              <a:solidFill>
                <a:schemeClr val="accent2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</a:pPr>
                <a:endParaRPr lang="zh-CN" altLang="en-US" dirty="0"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56" name="íṣḷiḍé">
                <a:extLst>
                  <a:ext uri="{FF2B5EF4-FFF2-40B4-BE49-F238E27FC236}">
                    <a16:creationId xmlns:a16="http://schemas.microsoft.com/office/drawing/2014/main" id="{A29CDFB3-18FE-4782-8FAD-546D22BDDEBB}"/>
                  </a:ext>
                </a:extLst>
              </p:cNvPr>
              <p:cNvSpPr/>
              <p:nvPr/>
            </p:nvSpPr>
            <p:spPr bwMode="auto">
              <a:xfrm>
                <a:off x="5532706" y="2489856"/>
                <a:ext cx="334720" cy="301213"/>
              </a:xfrm>
              <a:custGeom>
                <a:avLst/>
                <a:gdLst>
                  <a:gd name="connsiteX0" fmla="*/ 225929 w 608344"/>
                  <a:gd name="connsiteY0" fmla="*/ 296304 h 547447"/>
                  <a:gd name="connsiteX1" fmla="*/ 225929 w 608344"/>
                  <a:gd name="connsiteY1" fmla="*/ 341046 h 547447"/>
                  <a:gd name="connsiteX2" fmla="*/ 44891 w 608344"/>
                  <a:gd name="connsiteY2" fmla="*/ 420403 h 547447"/>
                  <a:gd name="connsiteX3" fmla="*/ 287412 w 608344"/>
                  <a:gd name="connsiteY3" fmla="*/ 502613 h 547447"/>
                  <a:gd name="connsiteX4" fmla="*/ 530026 w 608344"/>
                  <a:gd name="connsiteY4" fmla="*/ 420403 h 547447"/>
                  <a:gd name="connsiteX5" fmla="*/ 351292 w 608344"/>
                  <a:gd name="connsiteY5" fmla="*/ 341322 h 547447"/>
                  <a:gd name="connsiteX6" fmla="*/ 351292 w 608344"/>
                  <a:gd name="connsiteY6" fmla="*/ 296488 h 547447"/>
                  <a:gd name="connsiteX7" fmla="*/ 574825 w 608344"/>
                  <a:gd name="connsiteY7" fmla="*/ 420403 h 547447"/>
                  <a:gd name="connsiteX8" fmla="*/ 287412 w 608344"/>
                  <a:gd name="connsiteY8" fmla="*/ 547447 h 547447"/>
                  <a:gd name="connsiteX9" fmla="*/ 0 w 608344"/>
                  <a:gd name="connsiteY9" fmla="*/ 420403 h 547447"/>
                  <a:gd name="connsiteX10" fmla="*/ 225929 w 608344"/>
                  <a:gd name="connsiteY10" fmla="*/ 296304 h 547447"/>
                  <a:gd name="connsiteX11" fmla="*/ 288618 w 608344"/>
                  <a:gd name="connsiteY11" fmla="*/ 0 h 547447"/>
                  <a:gd name="connsiteX12" fmla="*/ 311206 w 608344"/>
                  <a:gd name="connsiteY12" fmla="*/ 22551 h 547447"/>
                  <a:gd name="connsiteX13" fmla="*/ 311206 w 608344"/>
                  <a:gd name="connsiteY13" fmla="*/ 36174 h 547447"/>
                  <a:gd name="connsiteX14" fmla="*/ 370947 w 608344"/>
                  <a:gd name="connsiteY14" fmla="*/ 21079 h 547447"/>
                  <a:gd name="connsiteX15" fmla="*/ 428291 w 608344"/>
                  <a:gd name="connsiteY15" fmla="*/ 34978 h 547447"/>
                  <a:gd name="connsiteX16" fmla="*/ 486004 w 608344"/>
                  <a:gd name="connsiteY16" fmla="*/ 48969 h 547447"/>
                  <a:gd name="connsiteX17" fmla="*/ 540766 w 608344"/>
                  <a:gd name="connsiteY17" fmla="*/ 36450 h 547447"/>
                  <a:gd name="connsiteX18" fmla="*/ 578012 w 608344"/>
                  <a:gd name="connsiteY18" fmla="*/ 18409 h 547447"/>
                  <a:gd name="connsiteX19" fmla="*/ 587232 w 608344"/>
                  <a:gd name="connsiteY19" fmla="*/ 16292 h 547447"/>
                  <a:gd name="connsiteX20" fmla="*/ 598479 w 608344"/>
                  <a:gd name="connsiteY20" fmla="*/ 19514 h 547447"/>
                  <a:gd name="connsiteX21" fmla="*/ 608344 w 608344"/>
                  <a:gd name="connsiteY21" fmla="*/ 37371 h 547447"/>
                  <a:gd name="connsiteX22" fmla="*/ 608344 w 608344"/>
                  <a:gd name="connsiteY22" fmla="*/ 174520 h 547447"/>
                  <a:gd name="connsiteX23" fmla="*/ 596451 w 608344"/>
                  <a:gd name="connsiteY23" fmla="*/ 193481 h 547447"/>
                  <a:gd name="connsiteX24" fmla="*/ 540766 w 608344"/>
                  <a:gd name="connsiteY24" fmla="*/ 220451 h 547447"/>
                  <a:gd name="connsiteX25" fmla="*/ 486004 w 608344"/>
                  <a:gd name="connsiteY25" fmla="*/ 232969 h 547447"/>
                  <a:gd name="connsiteX26" fmla="*/ 428291 w 608344"/>
                  <a:gd name="connsiteY26" fmla="*/ 218978 h 547447"/>
                  <a:gd name="connsiteX27" fmla="*/ 370947 w 608344"/>
                  <a:gd name="connsiteY27" fmla="*/ 205079 h 547447"/>
                  <a:gd name="connsiteX28" fmla="*/ 311206 w 608344"/>
                  <a:gd name="connsiteY28" fmla="*/ 220175 h 547447"/>
                  <a:gd name="connsiteX29" fmla="*/ 311206 w 608344"/>
                  <a:gd name="connsiteY29" fmla="*/ 426267 h 547447"/>
                  <a:gd name="connsiteX30" fmla="*/ 288618 w 608344"/>
                  <a:gd name="connsiteY30" fmla="*/ 448726 h 547447"/>
                  <a:gd name="connsiteX31" fmla="*/ 266031 w 608344"/>
                  <a:gd name="connsiteY31" fmla="*/ 426267 h 547447"/>
                  <a:gd name="connsiteX32" fmla="*/ 266031 w 608344"/>
                  <a:gd name="connsiteY32" fmla="*/ 22551 h 547447"/>
                  <a:gd name="connsiteX33" fmla="*/ 288618 w 608344"/>
                  <a:gd name="connsiteY33" fmla="*/ 0 h 547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608344" h="547447">
                    <a:moveTo>
                      <a:pt x="225929" y="296304"/>
                    </a:moveTo>
                    <a:lnTo>
                      <a:pt x="225929" y="341046"/>
                    </a:lnTo>
                    <a:cubicBezTo>
                      <a:pt x="112458" y="351817"/>
                      <a:pt x="44891" y="391035"/>
                      <a:pt x="44891" y="420403"/>
                    </a:cubicBezTo>
                    <a:cubicBezTo>
                      <a:pt x="44891" y="454741"/>
                      <a:pt x="137162" y="502613"/>
                      <a:pt x="287412" y="502613"/>
                    </a:cubicBezTo>
                    <a:cubicBezTo>
                      <a:pt x="437663" y="502613"/>
                      <a:pt x="530026" y="454741"/>
                      <a:pt x="530026" y="420403"/>
                    </a:cubicBezTo>
                    <a:cubicBezTo>
                      <a:pt x="530026" y="391219"/>
                      <a:pt x="463289" y="352369"/>
                      <a:pt x="351292" y="341322"/>
                    </a:cubicBezTo>
                    <a:lnTo>
                      <a:pt x="351292" y="296488"/>
                    </a:lnTo>
                    <a:cubicBezTo>
                      <a:pt x="468543" y="307904"/>
                      <a:pt x="574825" y="350436"/>
                      <a:pt x="574825" y="420403"/>
                    </a:cubicBezTo>
                    <a:cubicBezTo>
                      <a:pt x="574825" y="502889"/>
                      <a:pt x="426786" y="547447"/>
                      <a:pt x="287412" y="547447"/>
                    </a:cubicBezTo>
                    <a:cubicBezTo>
                      <a:pt x="148131" y="547447"/>
                      <a:pt x="0" y="502889"/>
                      <a:pt x="0" y="420403"/>
                    </a:cubicBezTo>
                    <a:cubicBezTo>
                      <a:pt x="0" y="349976"/>
                      <a:pt x="107757" y="307351"/>
                      <a:pt x="225929" y="296304"/>
                    </a:cubicBezTo>
                    <a:close/>
                    <a:moveTo>
                      <a:pt x="288618" y="0"/>
                    </a:moveTo>
                    <a:cubicBezTo>
                      <a:pt x="301064" y="0"/>
                      <a:pt x="311206" y="10033"/>
                      <a:pt x="311206" y="22551"/>
                    </a:cubicBezTo>
                    <a:lnTo>
                      <a:pt x="311206" y="36174"/>
                    </a:lnTo>
                    <a:cubicBezTo>
                      <a:pt x="329829" y="26141"/>
                      <a:pt x="350388" y="21079"/>
                      <a:pt x="370947" y="21079"/>
                    </a:cubicBezTo>
                    <a:cubicBezTo>
                      <a:pt x="390584" y="21079"/>
                      <a:pt x="410313" y="25681"/>
                      <a:pt x="428291" y="34978"/>
                    </a:cubicBezTo>
                    <a:cubicBezTo>
                      <a:pt x="446361" y="44366"/>
                      <a:pt x="466182" y="48969"/>
                      <a:pt x="486004" y="48969"/>
                    </a:cubicBezTo>
                    <a:cubicBezTo>
                      <a:pt x="504719" y="48969"/>
                      <a:pt x="523526" y="44827"/>
                      <a:pt x="540766" y="36450"/>
                    </a:cubicBezTo>
                    <a:lnTo>
                      <a:pt x="578012" y="18409"/>
                    </a:lnTo>
                    <a:cubicBezTo>
                      <a:pt x="580963" y="17029"/>
                      <a:pt x="584097" y="16292"/>
                      <a:pt x="587232" y="16292"/>
                    </a:cubicBezTo>
                    <a:cubicBezTo>
                      <a:pt x="591104" y="16292"/>
                      <a:pt x="594976" y="17397"/>
                      <a:pt x="598479" y="19514"/>
                    </a:cubicBezTo>
                    <a:cubicBezTo>
                      <a:pt x="604564" y="23380"/>
                      <a:pt x="608344" y="30099"/>
                      <a:pt x="608344" y="37371"/>
                    </a:cubicBezTo>
                    <a:lnTo>
                      <a:pt x="608344" y="174520"/>
                    </a:lnTo>
                    <a:cubicBezTo>
                      <a:pt x="608344" y="182620"/>
                      <a:pt x="603734" y="189984"/>
                      <a:pt x="596451" y="193481"/>
                    </a:cubicBezTo>
                    <a:lnTo>
                      <a:pt x="540766" y="220451"/>
                    </a:lnTo>
                    <a:cubicBezTo>
                      <a:pt x="523434" y="228827"/>
                      <a:pt x="504719" y="232969"/>
                      <a:pt x="486004" y="232969"/>
                    </a:cubicBezTo>
                    <a:cubicBezTo>
                      <a:pt x="466182" y="232969"/>
                      <a:pt x="446361" y="228367"/>
                      <a:pt x="428291" y="218978"/>
                    </a:cubicBezTo>
                    <a:cubicBezTo>
                      <a:pt x="410313" y="209774"/>
                      <a:pt x="390584" y="205079"/>
                      <a:pt x="370947" y="205079"/>
                    </a:cubicBezTo>
                    <a:cubicBezTo>
                      <a:pt x="350388" y="205079"/>
                      <a:pt x="329829" y="210142"/>
                      <a:pt x="311206" y="220175"/>
                    </a:cubicBezTo>
                    <a:lnTo>
                      <a:pt x="311206" y="426267"/>
                    </a:lnTo>
                    <a:cubicBezTo>
                      <a:pt x="311206" y="438693"/>
                      <a:pt x="301064" y="448726"/>
                      <a:pt x="288618" y="448726"/>
                    </a:cubicBezTo>
                    <a:cubicBezTo>
                      <a:pt x="276172" y="448726"/>
                      <a:pt x="266031" y="438693"/>
                      <a:pt x="266031" y="426267"/>
                    </a:cubicBezTo>
                    <a:lnTo>
                      <a:pt x="266031" y="22551"/>
                    </a:lnTo>
                    <a:cubicBezTo>
                      <a:pt x="266031" y="10033"/>
                      <a:pt x="276172" y="0"/>
                      <a:pt x="28861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endParaRPr lang="en-US" sz="7198" dirty="0"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</p:grpSp>
        <p:sp>
          <p:nvSpPr>
            <p:cNvPr id="53" name="iṥļiḋê">
              <a:extLst>
                <a:ext uri="{FF2B5EF4-FFF2-40B4-BE49-F238E27FC236}">
                  <a16:creationId xmlns:a16="http://schemas.microsoft.com/office/drawing/2014/main" id="{FC922048-0AE3-4DAD-9E21-17014A04B539}"/>
                </a:ext>
              </a:extLst>
            </p:cNvPr>
            <p:cNvSpPr txBox="1"/>
            <p:nvPr/>
          </p:nvSpPr>
          <p:spPr bwMode="auto">
            <a:xfrm>
              <a:off x="2056942" y="1130300"/>
              <a:ext cx="2454951" cy="480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30000"/>
                </a:lnSpc>
                <a:spcBef>
                  <a:spcPct val="0"/>
                </a:spcBef>
              </a:pPr>
              <a:r>
                <a:rPr lang="en-US" altLang="zh-CN" b="1" dirty="0">
                  <a:latin typeface=""/>
                  <a:ea typeface="微软雅黑" panose="020B0503020204020204" pitchFamily="34" charset="-122"/>
                  <a:sym typeface=""/>
                </a:rPr>
                <a:t>A.</a:t>
              </a:r>
              <a:r>
                <a:rPr lang="zh-CN" altLang="en-US" b="1" dirty="0">
                  <a:latin typeface=""/>
                  <a:ea typeface="微软雅黑" panose="020B0503020204020204" pitchFamily="34" charset="-122"/>
                  <a:sym typeface=""/>
                </a:rPr>
                <a:t>结构变化拆解</a:t>
              </a:r>
              <a:endParaRPr lang="en-US" altLang="zh-CN" b="1" dirty="0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51" name="išļíḋè">
              <a:extLst>
                <a:ext uri="{FF2B5EF4-FFF2-40B4-BE49-F238E27FC236}">
                  <a16:creationId xmlns:a16="http://schemas.microsoft.com/office/drawing/2014/main" id="{94852C98-8509-478D-A33E-24B4A444F778}"/>
                </a:ext>
              </a:extLst>
            </p:cNvPr>
            <p:cNvSpPr txBox="1"/>
            <p:nvPr/>
          </p:nvSpPr>
          <p:spPr bwMode="auto">
            <a:xfrm>
              <a:off x="673100" y="2464876"/>
              <a:ext cx="2454951" cy="480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30000"/>
                </a:lnSpc>
                <a:spcBef>
                  <a:spcPct val="0"/>
                </a:spcBef>
              </a:pPr>
              <a:r>
                <a:rPr lang="en-US" altLang="zh-CN" b="1" dirty="0">
                  <a:latin typeface=""/>
                  <a:ea typeface="微软雅黑" panose="020B0503020204020204" pitchFamily="34" charset="-122"/>
                  <a:sym typeface=""/>
                </a:rPr>
                <a:t>C.</a:t>
              </a:r>
              <a:r>
                <a:rPr lang="zh-CN" altLang="en-US" b="1" dirty="0">
                  <a:latin typeface=""/>
                  <a:ea typeface="微软雅黑" panose="020B0503020204020204" pitchFamily="34" charset="-122"/>
                  <a:sym typeface=""/>
                </a:rPr>
                <a:t>影响因素变化</a:t>
              </a:r>
              <a:endParaRPr lang="en-US" altLang="zh-CN" b="1" dirty="0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9" name="ïṩḻiḋe">
              <a:extLst>
                <a:ext uri="{FF2B5EF4-FFF2-40B4-BE49-F238E27FC236}">
                  <a16:creationId xmlns:a16="http://schemas.microsoft.com/office/drawing/2014/main" id="{AA6B57C7-92B8-4883-AAE4-D4732BBFF479}"/>
                </a:ext>
              </a:extLst>
            </p:cNvPr>
            <p:cNvSpPr txBox="1"/>
            <p:nvPr/>
          </p:nvSpPr>
          <p:spPr bwMode="auto">
            <a:xfrm>
              <a:off x="7862974" y="1286961"/>
              <a:ext cx="2822061" cy="480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30000"/>
                </a:lnSpc>
                <a:spcBef>
                  <a:spcPct val="0"/>
                </a:spcBef>
              </a:pPr>
              <a:r>
                <a:rPr lang="en-US" altLang="zh-CN" b="1" dirty="0">
                  <a:latin typeface=""/>
                  <a:ea typeface="微软雅黑" panose="020B0503020204020204" pitchFamily="34" charset="-122"/>
                  <a:sym typeface=""/>
                </a:rPr>
                <a:t>B.</a:t>
              </a:r>
              <a:r>
                <a:rPr lang="zh-CN" altLang="en-US" b="1" dirty="0">
                  <a:latin typeface=""/>
                  <a:ea typeface="微软雅黑" panose="020B0503020204020204" pitchFamily="34" charset="-122"/>
                  <a:sym typeface=""/>
                </a:rPr>
                <a:t>影响因素拆解</a:t>
              </a:r>
              <a:endParaRPr lang="en-US" altLang="zh-CN" b="1" dirty="0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grpSp>
          <p:nvGrpSpPr>
            <p:cNvPr id="19" name="íṣḻîḍé">
              <a:extLst>
                <a:ext uri="{FF2B5EF4-FFF2-40B4-BE49-F238E27FC236}">
                  <a16:creationId xmlns:a16="http://schemas.microsoft.com/office/drawing/2014/main" id="{7AFA3DB7-C5EC-4B75-BDAD-FDAA1CC546CF}"/>
                </a:ext>
              </a:extLst>
            </p:cNvPr>
            <p:cNvGrpSpPr/>
            <p:nvPr/>
          </p:nvGrpSpPr>
          <p:grpSpPr>
            <a:xfrm>
              <a:off x="5207794" y="3140076"/>
              <a:ext cx="3280205" cy="3717959"/>
              <a:chOff x="578637" y="2767981"/>
              <a:chExt cx="3582736" cy="4060838"/>
            </a:xfrm>
          </p:grpSpPr>
          <p:sp>
            <p:nvSpPr>
              <p:cNvPr id="20" name="íṡľiḑè">
                <a:extLst>
                  <a:ext uri="{FF2B5EF4-FFF2-40B4-BE49-F238E27FC236}">
                    <a16:creationId xmlns:a16="http://schemas.microsoft.com/office/drawing/2014/main" id="{A13C7931-0BE0-4018-B38B-F1F19097F059}"/>
                  </a:ext>
                </a:extLst>
              </p:cNvPr>
              <p:cNvSpPr/>
              <p:nvPr/>
            </p:nvSpPr>
            <p:spPr bwMode="auto">
              <a:xfrm>
                <a:off x="776283" y="6266924"/>
                <a:ext cx="614900" cy="54290"/>
              </a:xfrm>
              <a:prstGeom prst="ellipse">
                <a:avLst/>
              </a:prstGeom>
              <a:solidFill>
                <a:srgbClr val="E8AE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21" name="ïṥľiḓe">
                <a:extLst>
                  <a:ext uri="{FF2B5EF4-FFF2-40B4-BE49-F238E27FC236}">
                    <a16:creationId xmlns:a16="http://schemas.microsoft.com/office/drawing/2014/main" id="{9B6620F7-3D50-4695-9A19-234617250D04}"/>
                  </a:ext>
                </a:extLst>
              </p:cNvPr>
              <p:cNvSpPr/>
              <p:nvPr/>
            </p:nvSpPr>
            <p:spPr bwMode="auto">
              <a:xfrm>
                <a:off x="597460" y="5282932"/>
                <a:ext cx="1686271" cy="1016567"/>
              </a:xfrm>
              <a:custGeom>
                <a:avLst/>
                <a:gdLst>
                  <a:gd name="T0" fmla="*/ 69 w 272"/>
                  <a:gd name="T1" fmla="*/ 190 h 190"/>
                  <a:gd name="T2" fmla="*/ 12 w 272"/>
                  <a:gd name="T3" fmla="*/ 114 h 190"/>
                  <a:gd name="T4" fmla="*/ 30 w 272"/>
                  <a:gd name="T5" fmla="*/ 95 h 190"/>
                  <a:gd name="T6" fmla="*/ 64 w 272"/>
                  <a:gd name="T7" fmla="*/ 104 h 190"/>
                  <a:gd name="T8" fmla="*/ 69 w 272"/>
                  <a:gd name="T9" fmla="*/ 48 h 190"/>
                  <a:gd name="T10" fmla="*/ 88 w 272"/>
                  <a:gd name="T11" fmla="*/ 66 h 190"/>
                  <a:gd name="T12" fmla="*/ 119 w 272"/>
                  <a:gd name="T13" fmla="*/ 71 h 190"/>
                  <a:gd name="T14" fmla="*/ 155 w 272"/>
                  <a:gd name="T15" fmla="*/ 14 h 190"/>
                  <a:gd name="T16" fmla="*/ 155 w 272"/>
                  <a:gd name="T17" fmla="*/ 63 h 190"/>
                  <a:gd name="T18" fmla="*/ 183 w 272"/>
                  <a:gd name="T19" fmla="*/ 62 h 190"/>
                  <a:gd name="T20" fmla="*/ 254 w 272"/>
                  <a:gd name="T21" fmla="*/ 14 h 190"/>
                  <a:gd name="T22" fmla="*/ 254 w 272"/>
                  <a:gd name="T23" fmla="*/ 65 h 190"/>
                  <a:gd name="T24" fmla="*/ 225 w 272"/>
                  <a:gd name="T25" fmla="*/ 101 h 190"/>
                  <a:gd name="T26" fmla="*/ 191 w 272"/>
                  <a:gd name="T27" fmla="*/ 127 h 190"/>
                  <a:gd name="T28" fmla="*/ 160 w 272"/>
                  <a:gd name="T29" fmla="*/ 142 h 190"/>
                  <a:gd name="T30" fmla="*/ 135 w 272"/>
                  <a:gd name="T31" fmla="*/ 145 h 190"/>
                  <a:gd name="T32" fmla="*/ 149 w 272"/>
                  <a:gd name="T33" fmla="*/ 166 h 190"/>
                  <a:gd name="T34" fmla="*/ 102 w 272"/>
                  <a:gd name="T35" fmla="*/ 164 h 190"/>
                  <a:gd name="T36" fmla="*/ 85 w 272"/>
                  <a:gd name="T37" fmla="*/ 190 h 190"/>
                  <a:gd name="T38" fmla="*/ 69 w 272"/>
                  <a:gd name="T39" fmla="*/ 190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72" h="190">
                    <a:moveTo>
                      <a:pt x="69" y="190"/>
                    </a:moveTo>
                    <a:cubicBezTo>
                      <a:pt x="69" y="190"/>
                      <a:pt x="25" y="142"/>
                      <a:pt x="12" y="114"/>
                    </a:cubicBezTo>
                    <a:cubicBezTo>
                      <a:pt x="0" y="85"/>
                      <a:pt x="20" y="80"/>
                      <a:pt x="30" y="95"/>
                    </a:cubicBezTo>
                    <a:cubicBezTo>
                      <a:pt x="40" y="110"/>
                      <a:pt x="59" y="145"/>
                      <a:pt x="64" y="104"/>
                    </a:cubicBezTo>
                    <a:cubicBezTo>
                      <a:pt x="69" y="62"/>
                      <a:pt x="62" y="53"/>
                      <a:pt x="69" y="48"/>
                    </a:cubicBezTo>
                    <a:cubicBezTo>
                      <a:pt x="75" y="43"/>
                      <a:pt x="83" y="47"/>
                      <a:pt x="88" y="66"/>
                    </a:cubicBezTo>
                    <a:cubicBezTo>
                      <a:pt x="94" y="86"/>
                      <a:pt x="114" y="90"/>
                      <a:pt x="119" y="71"/>
                    </a:cubicBezTo>
                    <a:cubicBezTo>
                      <a:pt x="124" y="53"/>
                      <a:pt x="137" y="12"/>
                      <a:pt x="155" y="14"/>
                    </a:cubicBezTo>
                    <a:cubicBezTo>
                      <a:pt x="174" y="16"/>
                      <a:pt x="155" y="46"/>
                      <a:pt x="155" y="63"/>
                    </a:cubicBezTo>
                    <a:cubicBezTo>
                      <a:pt x="156" y="80"/>
                      <a:pt x="171" y="77"/>
                      <a:pt x="183" y="62"/>
                    </a:cubicBezTo>
                    <a:cubicBezTo>
                      <a:pt x="195" y="47"/>
                      <a:pt x="235" y="0"/>
                      <a:pt x="254" y="14"/>
                    </a:cubicBezTo>
                    <a:cubicBezTo>
                      <a:pt x="272" y="28"/>
                      <a:pt x="246" y="47"/>
                      <a:pt x="254" y="65"/>
                    </a:cubicBezTo>
                    <a:cubicBezTo>
                      <a:pt x="261" y="83"/>
                      <a:pt x="260" y="112"/>
                      <a:pt x="225" y="101"/>
                    </a:cubicBezTo>
                    <a:cubicBezTo>
                      <a:pt x="191" y="89"/>
                      <a:pt x="193" y="122"/>
                      <a:pt x="191" y="127"/>
                    </a:cubicBezTo>
                    <a:cubicBezTo>
                      <a:pt x="190" y="133"/>
                      <a:pt x="181" y="152"/>
                      <a:pt x="160" y="142"/>
                    </a:cubicBezTo>
                    <a:cubicBezTo>
                      <a:pt x="138" y="133"/>
                      <a:pt x="127" y="137"/>
                      <a:pt x="135" y="145"/>
                    </a:cubicBezTo>
                    <a:cubicBezTo>
                      <a:pt x="142" y="153"/>
                      <a:pt x="157" y="162"/>
                      <a:pt x="149" y="166"/>
                    </a:cubicBezTo>
                    <a:cubicBezTo>
                      <a:pt x="142" y="171"/>
                      <a:pt x="114" y="156"/>
                      <a:pt x="102" y="164"/>
                    </a:cubicBezTo>
                    <a:cubicBezTo>
                      <a:pt x="90" y="172"/>
                      <a:pt x="85" y="190"/>
                      <a:pt x="85" y="190"/>
                    </a:cubicBezTo>
                    <a:lnTo>
                      <a:pt x="69" y="190"/>
                    </a:lnTo>
                    <a:close/>
                  </a:path>
                </a:pathLst>
              </a:custGeom>
              <a:solidFill>
                <a:srgbClr val="8C7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22" name="ïSľíḋè">
                <a:extLst>
                  <a:ext uri="{FF2B5EF4-FFF2-40B4-BE49-F238E27FC236}">
                    <a16:creationId xmlns:a16="http://schemas.microsoft.com/office/drawing/2014/main" id="{798FC959-C457-48E8-B20E-0C8F3178C2A5}"/>
                  </a:ext>
                </a:extLst>
              </p:cNvPr>
              <p:cNvSpPr/>
              <p:nvPr/>
            </p:nvSpPr>
            <p:spPr bwMode="auto">
              <a:xfrm>
                <a:off x="1080597" y="5577450"/>
                <a:ext cx="991370" cy="722047"/>
              </a:xfrm>
              <a:custGeom>
                <a:avLst/>
                <a:gdLst>
                  <a:gd name="T0" fmla="*/ 160 w 160"/>
                  <a:gd name="T1" fmla="*/ 0 h 135"/>
                  <a:gd name="T2" fmla="*/ 113 w 160"/>
                  <a:gd name="T3" fmla="*/ 34 h 135"/>
                  <a:gd name="T4" fmla="*/ 100 w 160"/>
                  <a:gd name="T5" fmla="*/ 40 h 135"/>
                  <a:gd name="T6" fmla="*/ 87 w 160"/>
                  <a:gd name="T7" fmla="*/ 45 h 135"/>
                  <a:gd name="T8" fmla="*/ 60 w 160"/>
                  <a:gd name="T9" fmla="*/ 54 h 135"/>
                  <a:gd name="T10" fmla="*/ 33 w 160"/>
                  <a:gd name="T11" fmla="*/ 65 h 135"/>
                  <a:gd name="T12" fmla="*/ 10 w 160"/>
                  <a:gd name="T13" fmla="*/ 80 h 135"/>
                  <a:gd name="T14" fmla="*/ 5 w 160"/>
                  <a:gd name="T15" fmla="*/ 93 h 135"/>
                  <a:gd name="T16" fmla="*/ 3 w 160"/>
                  <a:gd name="T17" fmla="*/ 107 h 135"/>
                  <a:gd name="T18" fmla="*/ 1 w 160"/>
                  <a:gd name="T19" fmla="*/ 135 h 135"/>
                  <a:gd name="T20" fmla="*/ 1 w 160"/>
                  <a:gd name="T21" fmla="*/ 107 h 135"/>
                  <a:gd name="T22" fmla="*/ 3 w 160"/>
                  <a:gd name="T23" fmla="*/ 92 h 135"/>
                  <a:gd name="T24" fmla="*/ 5 w 160"/>
                  <a:gd name="T25" fmla="*/ 85 h 135"/>
                  <a:gd name="T26" fmla="*/ 8 w 160"/>
                  <a:gd name="T27" fmla="*/ 79 h 135"/>
                  <a:gd name="T28" fmla="*/ 32 w 160"/>
                  <a:gd name="T29" fmla="*/ 62 h 135"/>
                  <a:gd name="T30" fmla="*/ 59 w 160"/>
                  <a:gd name="T31" fmla="*/ 51 h 135"/>
                  <a:gd name="T32" fmla="*/ 86 w 160"/>
                  <a:gd name="T33" fmla="*/ 42 h 135"/>
                  <a:gd name="T34" fmla="*/ 99 w 160"/>
                  <a:gd name="T35" fmla="*/ 37 h 135"/>
                  <a:gd name="T36" fmla="*/ 112 w 160"/>
                  <a:gd name="T37" fmla="*/ 31 h 135"/>
                  <a:gd name="T38" fmla="*/ 136 w 160"/>
                  <a:gd name="T39" fmla="*/ 17 h 135"/>
                  <a:gd name="T40" fmla="*/ 160 w 160"/>
                  <a:gd name="T41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0" h="135">
                    <a:moveTo>
                      <a:pt x="160" y="0"/>
                    </a:moveTo>
                    <a:cubicBezTo>
                      <a:pt x="145" y="13"/>
                      <a:pt x="130" y="24"/>
                      <a:pt x="113" y="34"/>
                    </a:cubicBezTo>
                    <a:cubicBezTo>
                      <a:pt x="109" y="36"/>
                      <a:pt x="105" y="38"/>
                      <a:pt x="100" y="40"/>
                    </a:cubicBezTo>
                    <a:cubicBezTo>
                      <a:pt x="96" y="42"/>
                      <a:pt x="91" y="44"/>
                      <a:pt x="87" y="45"/>
                    </a:cubicBezTo>
                    <a:cubicBezTo>
                      <a:pt x="60" y="54"/>
                      <a:pt x="60" y="54"/>
                      <a:pt x="60" y="54"/>
                    </a:cubicBezTo>
                    <a:cubicBezTo>
                      <a:pt x="51" y="57"/>
                      <a:pt x="42" y="60"/>
                      <a:pt x="33" y="65"/>
                    </a:cubicBezTo>
                    <a:cubicBezTo>
                      <a:pt x="25" y="69"/>
                      <a:pt x="16" y="73"/>
                      <a:pt x="10" y="80"/>
                    </a:cubicBezTo>
                    <a:cubicBezTo>
                      <a:pt x="8" y="84"/>
                      <a:pt x="6" y="88"/>
                      <a:pt x="5" y="93"/>
                    </a:cubicBezTo>
                    <a:cubicBezTo>
                      <a:pt x="4" y="97"/>
                      <a:pt x="4" y="102"/>
                      <a:pt x="3" y="107"/>
                    </a:cubicBezTo>
                    <a:cubicBezTo>
                      <a:pt x="2" y="116"/>
                      <a:pt x="1" y="126"/>
                      <a:pt x="1" y="135"/>
                    </a:cubicBezTo>
                    <a:cubicBezTo>
                      <a:pt x="0" y="126"/>
                      <a:pt x="1" y="116"/>
                      <a:pt x="1" y="107"/>
                    </a:cubicBezTo>
                    <a:cubicBezTo>
                      <a:pt x="2" y="102"/>
                      <a:pt x="2" y="97"/>
                      <a:pt x="3" y="92"/>
                    </a:cubicBezTo>
                    <a:cubicBezTo>
                      <a:pt x="3" y="90"/>
                      <a:pt x="4" y="88"/>
                      <a:pt x="5" y="85"/>
                    </a:cubicBezTo>
                    <a:cubicBezTo>
                      <a:pt x="6" y="83"/>
                      <a:pt x="7" y="81"/>
                      <a:pt x="8" y="79"/>
                    </a:cubicBezTo>
                    <a:cubicBezTo>
                      <a:pt x="15" y="71"/>
                      <a:pt x="23" y="66"/>
                      <a:pt x="32" y="62"/>
                    </a:cubicBezTo>
                    <a:cubicBezTo>
                      <a:pt x="41" y="57"/>
                      <a:pt x="50" y="54"/>
                      <a:pt x="59" y="51"/>
                    </a:cubicBezTo>
                    <a:cubicBezTo>
                      <a:pt x="86" y="42"/>
                      <a:pt x="86" y="42"/>
                      <a:pt x="86" y="42"/>
                    </a:cubicBezTo>
                    <a:cubicBezTo>
                      <a:pt x="90" y="41"/>
                      <a:pt x="95" y="39"/>
                      <a:pt x="99" y="37"/>
                    </a:cubicBezTo>
                    <a:cubicBezTo>
                      <a:pt x="104" y="36"/>
                      <a:pt x="108" y="34"/>
                      <a:pt x="112" y="31"/>
                    </a:cubicBezTo>
                    <a:cubicBezTo>
                      <a:pt x="120" y="27"/>
                      <a:pt x="128" y="22"/>
                      <a:pt x="136" y="17"/>
                    </a:cubicBezTo>
                    <a:cubicBezTo>
                      <a:pt x="144" y="11"/>
                      <a:pt x="152" y="6"/>
                      <a:pt x="160" y="0"/>
                    </a:cubicBezTo>
                    <a:close/>
                  </a:path>
                </a:pathLst>
              </a:custGeom>
              <a:solidFill>
                <a:srgbClr val="2D0A7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23" name="í$ḻîḍê">
                <a:extLst>
                  <a:ext uri="{FF2B5EF4-FFF2-40B4-BE49-F238E27FC236}">
                    <a16:creationId xmlns:a16="http://schemas.microsoft.com/office/drawing/2014/main" id="{49EECD16-F199-448A-9995-8001100A918A}"/>
                  </a:ext>
                </a:extLst>
              </p:cNvPr>
              <p:cNvSpPr/>
              <p:nvPr/>
            </p:nvSpPr>
            <p:spPr bwMode="auto">
              <a:xfrm>
                <a:off x="578637" y="6406719"/>
                <a:ext cx="3582736" cy="325736"/>
              </a:xfrm>
              <a:prstGeom prst="ellipse">
                <a:avLst/>
              </a:prstGeom>
              <a:solidFill>
                <a:srgbClr val="E8AE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24" name="ïšḻiďè">
                <a:extLst>
                  <a:ext uri="{FF2B5EF4-FFF2-40B4-BE49-F238E27FC236}">
                    <a16:creationId xmlns:a16="http://schemas.microsoft.com/office/drawing/2014/main" id="{E931FECD-77F6-4079-95B5-8C26BD20162E}"/>
                  </a:ext>
                </a:extLst>
              </p:cNvPr>
              <p:cNvSpPr/>
              <p:nvPr/>
            </p:nvSpPr>
            <p:spPr bwMode="auto">
              <a:xfrm>
                <a:off x="3033533" y="6770457"/>
                <a:ext cx="613332" cy="58362"/>
              </a:xfrm>
              <a:prstGeom prst="ellipse">
                <a:avLst/>
              </a:prstGeom>
              <a:solidFill>
                <a:srgbClr val="E8AE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25" name="íSļidê">
                <a:extLst>
                  <a:ext uri="{FF2B5EF4-FFF2-40B4-BE49-F238E27FC236}">
                    <a16:creationId xmlns:a16="http://schemas.microsoft.com/office/drawing/2014/main" id="{4CEFB0FC-766D-49AD-A691-D53B899596E3}"/>
                  </a:ext>
                </a:extLst>
              </p:cNvPr>
              <p:cNvSpPr/>
              <p:nvPr/>
            </p:nvSpPr>
            <p:spPr bwMode="auto">
              <a:xfrm>
                <a:off x="2035889" y="5390153"/>
                <a:ext cx="48628" cy="705761"/>
              </a:xfrm>
              <a:prstGeom prst="rect">
                <a:avLst/>
              </a:prstGeom>
              <a:solidFill>
                <a:srgbClr val="1D18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26" name="ïŝľïḋe">
                <a:extLst>
                  <a:ext uri="{FF2B5EF4-FFF2-40B4-BE49-F238E27FC236}">
                    <a16:creationId xmlns:a16="http://schemas.microsoft.com/office/drawing/2014/main" id="{6F045D42-7280-4499-A66A-C60A01A84813}"/>
                  </a:ext>
                </a:extLst>
              </p:cNvPr>
              <p:cNvSpPr/>
              <p:nvPr/>
            </p:nvSpPr>
            <p:spPr bwMode="auto">
              <a:xfrm>
                <a:off x="1905692" y="4742754"/>
                <a:ext cx="1226664" cy="1353161"/>
              </a:xfrm>
              <a:custGeom>
                <a:avLst/>
                <a:gdLst>
                  <a:gd name="T0" fmla="*/ 156 w 198"/>
                  <a:gd name="T1" fmla="*/ 8 h 253"/>
                  <a:gd name="T2" fmla="*/ 43 w 198"/>
                  <a:gd name="T3" fmla="*/ 53 h 253"/>
                  <a:gd name="T4" fmla="*/ 10 w 198"/>
                  <a:gd name="T5" fmla="*/ 145 h 253"/>
                  <a:gd name="T6" fmla="*/ 0 w 198"/>
                  <a:gd name="T7" fmla="*/ 245 h 253"/>
                  <a:gd name="T8" fmla="*/ 21 w 198"/>
                  <a:gd name="T9" fmla="*/ 248 h 253"/>
                  <a:gd name="T10" fmla="*/ 82 w 198"/>
                  <a:gd name="T11" fmla="*/ 67 h 253"/>
                  <a:gd name="T12" fmla="*/ 198 w 198"/>
                  <a:gd name="T13" fmla="*/ 0 h 253"/>
                  <a:gd name="T14" fmla="*/ 156 w 198"/>
                  <a:gd name="T15" fmla="*/ 8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8" h="253">
                    <a:moveTo>
                      <a:pt x="156" y="8"/>
                    </a:moveTo>
                    <a:cubicBezTo>
                      <a:pt x="156" y="8"/>
                      <a:pt x="83" y="49"/>
                      <a:pt x="43" y="53"/>
                    </a:cubicBezTo>
                    <a:cubicBezTo>
                      <a:pt x="3" y="57"/>
                      <a:pt x="12" y="132"/>
                      <a:pt x="10" y="145"/>
                    </a:cubicBezTo>
                    <a:cubicBezTo>
                      <a:pt x="9" y="159"/>
                      <a:pt x="0" y="245"/>
                      <a:pt x="0" y="245"/>
                    </a:cubicBezTo>
                    <a:cubicBezTo>
                      <a:pt x="0" y="245"/>
                      <a:pt x="11" y="253"/>
                      <a:pt x="21" y="248"/>
                    </a:cubicBezTo>
                    <a:cubicBezTo>
                      <a:pt x="21" y="248"/>
                      <a:pt x="73" y="118"/>
                      <a:pt x="82" y="67"/>
                    </a:cubicBezTo>
                    <a:cubicBezTo>
                      <a:pt x="82" y="67"/>
                      <a:pt x="163" y="34"/>
                      <a:pt x="198" y="0"/>
                    </a:cubicBezTo>
                    <a:cubicBezTo>
                      <a:pt x="198" y="0"/>
                      <a:pt x="175" y="8"/>
                      <a:pt x="156" y="8"/>
                    </a:cubicBezTo>
                    <a:close/>
                  </a:path>
                </a:pathLst>
              </a:custGeom>
              <a:solidFill>
                <a:srgbClr val="F5D5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27" name="îŝḷïdè">
                <a:extLst>
                  <a:ext uri="{FF2B5EF4-FFF2-40B4-BE49-F238E27FC236}">
                    <a16:creationId xmlns:a16="http://schemas.microsoft.com/office/drawing/2014/main" id="{CAAC69B9-CC7A-43B2-B770-8C074782B297}"/>
                  </a:ext>
                </a:extLst>
              </p:cNvPr>
              <p:cNvSpPr/>
              <p:nvPr/>
            </p:nvSpPr>
            <p:spPr bwMode="auto">
              <a:xfrm>
                <a:off x="2103339" y="4715609"/>
                <a:ext cx="1413330" cy="1625964"/>
              </a:xfrm>
              <a:custGeom>
                <a:avLst/>
                <a:gdLst>
                  <a:gd name="T0" fmla="*/ 176 w 228"/>
                  <a:gd name="T1" fmla="*/ 0 h 304"/>
                  <a:gd name="T2" fmla="*/ 176 w 228"/>
                  <a:gd name="T3" fmla="*/ 107 h 304"/>
                  <a:gd name="T4" fmla="*/ 44 w 228"/>
                  <a:gd name="T5" fmla="*/ 140 h 304"/>
                  <a:gd name="T6" fmla="*/ 40 w 228"/>
                  <a:gd name="T7" fmla="*/ 295 h 304"/>
                  <a:gd name="T8" fmla="*/ 14 w 228"/>
                  <a:gd name="T9" fmla="*/ 298 h 304"/>
                  <a:gd name="T10" fmla="*/ 0 w 228"/>
                  <a:gd name="T11" fmla="*/ 222 h 304"/>
                  <a:gd name="T12" fmla="*/ 50 w 228"/>
                  <a:gd name="T13" fmla="*/ 72 h 304"/>
                  <a:gd name="T14" fmla="*/ 166 w 228"/>
                  <a:gd name="T15" fmla="*/ 5 h 304"/>
                  <a:gd name="T16" fmla="*/ 176 w 228"/>
                  <a:gd name="T17" fmla="*/ 0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304">
                    <a:moveTo>
                      <a:pt x="176" y="0"/>
                    </a:moveTo>
                    <a:cubicBezTo>
                      <a:pt x="176" y="0"/>
                      <a:pt x="228" y="61"/>
                      <a:pt x="176" y="107"/>
                    </a:cubicBezTo>
                    <a:cubicBezTo>
                      <a:pt x="137" y="137"/>
                      <a:pt x="44" y="140"/>
                      <a:pt x="44" y="140"/>
                    </a:cubicBezTo>
                    <a:cubicBezTo>
                      <a:pt x="44" y="140"/>
                      <a:pt x="57" y="235"/>
                      <a:pt x="40" y="295"/>
                    </a:cubicBezTo>
                    <a:cubicBezTo>
                      <a:pt x="40" y="295"/>
                      <a:pt x="30" y="304"/>
                      <a:pt x="14" y="298"/>
                    </a:cubicBezTo>
                    <a:cubicBezTo>
                      <a:pt x="14" y="298"/>
                      <a:pt x="10" y="256"/>
                      <a:pt x="0" y="222"/>
                    </a:cubicBezTo>
                    <a:cubicBezTo>
                      <a:pt x="0" y="222"/>
                      <a:pt x="42" y="107"/>
                      <a:pt x="50" y="72"/>
                    </a:cubicBezTo>
                    <a:cubicBezTo>
                      <a:pt x="50" y="72"/>
                      <a:pt x="122" y="42"/>
                      <a:pt x="166" y="5"/>
                    </a:cubicBezTo>
                    <a:cubicBezTo>
                      <a:pt x="166" y="5"/>
                      <a:pt x="170" y="2"/>
                      <a:pt x="176" y="0"/>
                    </a:cubicBezTo>
                    <a:close/>
                  </a:path>
                </a:pathLst>
              </a:custGeom>
              <a:solidFill>
                <a:srgbClr val="DBBF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28" name="ïṥļïḓe">
                <a:extLst>
                  <a:ext uri="{FF2B5EF4-FFF2-40B4-BE49-F238E27FC236}">
                    <a16:creationId xmlns:a16="http://schemas.microsoft.com/office/drawing/2014/main" id="{58DE82EA-7488-4B5A-8655-6E6E5C07DFCD}"/>
                  </a:ext>
                </a:extLst>
              </p:cNvPr>
              <p:cNvSpPr/>
              <p:nvPr/>
            </p:nvSpPr>
            <p:spPr bwMode="auto">
              <a:xfrm>
                <a:off x="2059417" y="2767981"/>
                <a:ext cx="1625093" cy="1765759"/>
              </a:xfrm>
              <a:custGeom>
                <a:avLst/>
                <a:gdLst>
                  <a:gd name="T0" fmla="*/ 71 w 262"/>
                  <a:gd name="T1" fmla="*/ 72 h 330"/>
                  <a:gd name="T2" fmla="*/ 48 w 262"/>
                  <a:gd name="T3" fmla="*/ 180 h 330"/>
                  <a:gd name="T4" fmla="*/ 51 w 262"/>
                  <a:gd name="T5" fmla="*/ 240 h 330"/>
                  <a:gd name="T6" fmla="*/ 177 w 262"/>
                  <a:gd name="T7" fmla="*/ 294 h 330"/>
                  <a:gd name="T8" fmla="*/ 244 w 262"/>
                  <a:gd name="T9" fmla="*/ 180 h 330"/>
                  <a:gd name="T10" fmla="*/ 231 w 262"/>
                  <a:gd name="T11" fmla="*/ 110 h 330"/>
                  <a:gd name="T12" fmla="*/ 132 w 262"/>
                  <a:gd name="T13" fmla="*/ 9 h 330"/>
                  <a:gd name="T14" fmla="*/ 71 w 262"/>
                  <a:gd name="T15" fmla="*/ 72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2" h="330">
                    <a:moveTo>
                      <a:pt x="71" y="72"/>
                    </a:moveTo>
                    <a:cubicBezTo>
                      <a:pt x="71" y="72"/>
                      <a:pt x="0" y="93"/>
                      <a:pt x="48" y="180"/>
                    </a:cubicBezTo>
                    <a:cubicBezTo>
                      <a:pt x="57" y="200"/>
                      <a:pt x="42" y="213"/>
                      <a:pt x="51" y="240"/>
                    </a:cubicBezTo>
                    <a:cubicBezTo>
                      <a:pt x="60" y="268"/>
                      <a:pt x="93" y="330"/>
                      <a:pt x="177" y="294"/>
                    </a:cubicBezTo>
                    <a:cubicBezTo>
                      <a:pt x="262" y="259"/>
                      <a:pt x="258" y="203"/>
                      <a:pt x="244" y="180"/>
                    </a:cubicBezTo>
                    <a:cubicBezTo>
                      <a:pt x="231" y="156"/>
                      <a:pt x="229" y="152"/>
                      <a:pt x="231" y="110"/>
                    </a:cubicBezTo>
                    <a:cubicBezTo>
                      <a:pt x="234" y="68"/>
                      <a:pt x="199" y="0"/>
                      <a:pt x="132" y="9"/>
                    </a:cubicBezTo>
                    <a:cubicBezTo>
                      <a:pt x="64" y="19"/>
                      <a:pt x="71" y="72"/>
                      <a:pt x="71" y="72"/>
                    </a:cubicBezTo>
                    <a:close/>
                  </a:path>
                </a:pathLst>
              </a:custGeom>
              <a:solidFill>
                <a:srgbClr val="8C7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29" name="íŝḻîdé">
                <a:extLst>
                  <a:ext uri="{FF2B5EF4-FFF2-40B4-BE49-F238E27FC236}">
                    <a16:creationId xmlns:a16="http://schemas.microsoft.com/office/drawing/2014/main" id="{9DBA62AD-8BD4-4D2E-AB1F-BD39F1740BC5}"/>
                  </a:ext>
                </a:extLst>
              </p:cNvPr>
              <p:cNvSpPr/>
              <p:nvPr/>
            </p:nvSpPr>
            <p:spPr bwMode="auto">
              <a:xfrm>
                <a:off x="2437457" y="3298659"/>
                <a:ext cx="917646" cy="593110"/>
              </a:xfrm>
              <a:custGeom>
                <a:avLst/>
                <a:gdLst>
                  <a:gd name="T0" fmla="*/ 5 w 148"/>
                  <a:gd name="T1" fmla="*/ 16 h 111"/>
                  <a:gd name="T2" fmla="*/ 65 w 148"/>
                  <a:gd name="T3" fmla="*/ 107 h 111"/>
                  <a:gd name="T4" fmla="*/ 127 w 148"/>
                  <a:gd name="T5" fmla="*/ 51 h 111"/>
                  <a:gd name="T6" fmla="*/ 128 w 148"/>
                  <a:gd name="T7" fmla="*/ 16 h 111"/>
                  <a:gd name="T8" fmla="*/ 109 w 148"/>
                  <a:gd name="T9" fmla="*/ 26 h 111"/>
                  <a:gd name="T10" fmla="*/ 15 w 148"/>
                  <a:gd name="T11" fmla="*/ 0 h 111"/>
                  <a:gd name="T12" fmla="*/ 5 w 148"/>
                  <a:gd name="T13" fmla="*/ 16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8" h="111">
                    <a:moveTo>
                      <a:pt x="5" y="16"/>
                    </a:moveTo>
                    <a:cubicBezTo>
                      <a:pt x="5" y="16"/>
                      <a:pt x="0" y="111"/>
                      <a:pt x="65" y="107"/>
                    </a:cubicBezTo>
                    <a:cubicBezTo>
                      <a:pt x="129" y="102"/>
                      <a:pt x="130" y="55"/>
                      <a:pt x="127" y="51"/>
                    </a:cubicBezTo>
                    <a:cubicBezTo>
                      <a:pt x="127" y="51"/>
                      <a:pt x="148" y="35"/>
                      <a:pt x="128" y="16"/>
                    </a:cubicBezTo>
                    <a:cubicBezTo>
                      <a:pt x="119" y="6"/>
                      <a:pt x="109" y="26"/>
                      <a:pt x="109" y="26"/>
                    </a:cubicBezTo>
                    <a:cubicBezTo>
                      <a:pt x="109" y="26"/>
                      <a:pt x="58" y="45"/>
                      <a:pt x="15" y="0"/>
                    </a:cubicBezTo>
                    <a:cubicBezTo>
                      <a:pt x="15" y="0"/>
                      <a:pt x="13" y="11"/>
                      <a:pt x="5" y="16"/>
                    </a:cubicBezTo>
                    <a:close/>
                  </a:path>
                </a:pathLst>
              </a:custGeom>
              <a:solidFill>
                <a:srgbClr val="FED196"/>
              </a:solidFill>
              <a:ln>
                <a:noFill/>
              </a:ln>
              <a:extLst/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30" name="îṣļiḑé">
                <a:extLst>
                  <a:ext uri="{FF2B5EF4-FFF2-40B4-BE49-F238E27FC236}">
                    <a16:creationId xmlns:a16="http://schemas.microsoft.com/office/drawing/2014/main" id="{B62DCE8E-3185-4062-9713-9ED1F757662C}"/>
                  </a:ext>
                </a:extLst>
              </p:cNvPr>
              <p:cNvSpPr/>
              <p:nvPr/>
            </p:nvSpPr>
            <p:spPr bwMode="auto">
              <a:xfrm>
                <a:off x="2853141" y="3822551"/>
                <a:ext cx="222745" cy="299949"/>
              </a:xfrm>
              <a:custGeom>
                <a:avLst/>
                <a:gdLst>
                  <a:gd name="T0" fmla="*/ 4 w 36"/>
                  <a:gd name="T1" fmla="*/ 8 h 56"/>
                  <a:gd name="T2" fmla="*/ 4 w 36"/>
                  <a:gd name="T3" fmla="*/ 34 h 56"/>
                  <a:gd name="T4" fmla="*/ 24 w 36"/>
                  <a:gd name="T5" fmla="*/ 43 h 56"/>
                  <a:gd name="T6" fmla="*/ 34 w 36"/>
                  <a:gd name="T7" fmla="*/ 21 h 56"/>
                  <a:gd name="T8" fmla="*/ 32 w 36"/>
                  <a:gd name="T9" fmla="*/ 0 h 56"/>
                  <a:gd name="T10" fmla="*/ 4 w 36"/>
                  <a:gd name="T11" fmla="*/ 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6" h="56">
                    <a:moveTo>
                      <a:pt x="4" y="8"/>
                    </a:moveTo>
                    <a:cubicBezTo>
                      <a:pt x="4" y="8"/>
                      <a:pt x="8" y="24"/>
                      <a:pt x="4" y="34"/>
                    </a:cubicBezTo>
                    <a:cubicBezTo>
                      <a:pt x="0" y="43"/>
                      <a:pt x="12" y="56"/>
                      <a:pt x="24" y="43"/>
                    </a:cubicBezTo>
                    <a:cubicBezTo>
                      <a:pt x="36" y="30"/>
                      <a:pt x="34" y="21"/>
                      <a:pt x="34" y="21"/>
                    </a:cubicBezTo>
                    <a:cubicBezTo>
                      <a:pt x="34" y="21"/>
                      <a:pt x="31" y="13"/>
                      <a:pt x="32" y="0"/>
                    </a:cubicBezTo>
                    <a:cubicBezTo>
                      <a:pt x="32" y="0"/>
                      <a:pt x="19" y="5"/>
                      <a:pt x="4" y="8"/>
                    </a:cubicBezTo>
                    <a:close/>
                  </a:path>
                </a:pathLst>
              </a:custGeom>
              <a:solidFill>
                <a:srgbClr val="F9BB78"/>
              </a:solidFill>
              <a:ln>
                <a:noFill/>
              </a:ln>
              <a:extLst/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31" name="íŝ1îḍé">
                <a:extLst>
                  <a:ext uri="{FF2B5EF4-FFF2-40B4-BE49-F238E27FC236}">
                    <a16:creationId xmlns:a16="http://schemas.microsoft.com/office/drawing/2014/main" id="{A2FB06A3-CFE2-43C4-AD90-4FE2974A38B6}"/>
                  </a:ext>
                </a:extLst>
              </p:cNvPr>
              <p:cNvSpPr/>
              <p:nvPr/>
            </p:nvSpPr>
            <p:spPr bwMode="auto">
              <a:xfrm>
                <a:off x="1948046" y="3993561"/>
                <a:ext cx="1003919" cy="936490"/>
              </a:xfrm>
              <a:custGeom>
                <a:avLst/>
                <a:gdLst>
                  <a:gd name="T0" fmla="*/ 4 w 162"/>
                  <a:gd name="T1" fmla="*/ 158 h 175"/>
                  <a:gd name="T2" fmla="*/ 107 w 162"/>
                  <a:gd name="T3" fmla="*/ 79 h 175"/>
                  <a:gd name="T4" fmla="*/ 150 w 162"/>
                  <a:gd name="T5" fmla="*/ 2 h 175"/>
                  <a:gd name="T6" fmla="*/ 162 w 162"/>
                  <a:gd name="T7" fmla="*/ 16 h 175"/>
                  <a:gd name="T8" fmla="*/ 104 w 162"/>
                  <a:gd name="T9" fmla="*/ 150 h 175"/>
                  <a:gd name="T10" fmla="*/ 9 w 162"/>
                  <a:gd name="T11" fmla="*/ 175 h 175"/>
                  <a:gd name="T12" fmla="*/ 4 w 162"/>
                  <a:gd name="T13" fmla="*/ 158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2" h="175">
                    <a:moveTo>
                      <a:pt x="4" y="158"/>
                    </a:moveTo>
                    <a:cubicBezTo>
                      <a:pt x="4" y="158"/>
                      <a:pt x="93" y="157"/>
                      <a:pt x="107" y="79"/>
                    </a:cubicBezTo>
                    <a:cubicBezTo>
                      <a:pt x="121" y="0"/>
                      <a:pt x="150" y="2"/>
                      <a:pt x="150" y="2"/>
                    </a:cubicBezTo>
                    <a:cubicBezTo>
                      <a:pt x="150" y="2"/>
                      <a:pt x="149" y="15"/>
                      <a:pt x="162" y="16"/>
                    </a:cubicBezTo>
                    <a:cubicBezTo>
                      <a:pt x="162" y="16"/>
                      <a:pt x="129" y="137"/>
                      <a:pt x="104" y="150"/>
                    </a:cubicBezTo>
                    <a:cubicBezTo>
                      <a:pt x="79" y="163"/>
                      <a:pt x="30" y="175"/>
                      <a:pt x="9" y="175"/>
                    </a:cubicBezTo>
                    <a:cubicBezTo>
                      <a:pt x="9" y="175"/>
                      <a:pt x="0" y="166"/>
                      <a:pt x="4" y="158"/>
                    </a:cubicBezTo>
                    <a:close/>
                  </a:path>
                </a:pathLst>
              </a:custGeom>
              <a:solidFill>
                <a:srgbClr val="1D18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32" name="iṡḻïďê">
                <a:extLst>
                  <a:ext uri="{FF2B5EF4-FFF2-40B4-BE49-F238E27FC236}">
                    <a16:creationId xmlns:a16="http://schemas.microsoft.com/office/drawing/2014/main" id="{AFBC44B3-161F-4096-A507-3B6ED16E9D3F}"/>
                  </a:ext>
                </a:extLst>
              </p:cNvPr>
              <p:cNvSpPr/>
              <p:nvPr/>
            </p:nvSpPr>
            <p:spPr bwMode="auto">
              <a:xfrm>
                <a:off x="2716671" y="3908056"/>
                <a:ext cx="552156" cy="887630"/>
              </a:xfrm>
              <a:custGeom>
                <a:avLst/>
                <a:gdLst>
                  <a:gd name="T0" fmla="*/ 25 w 89"/>
                  <a:gd name="T1" fmla="*/ 164 h 166"/>
                  <a:gd name="T2" fmla="*/ 17 w 89"/>
                  <a:gd name="T3" fmla="*/ 104 h 166"/>
                  <a:gd name="T4" fmla="*/ 9 w 89"/>
                  <a:gd name="T5" fmla="*/ 51 h 166"/>
                  <a:gd name="T6" fmla="*/ 26 w 89"/>
                  <a:gd name="T7" fmla="*/ 18 h 166"/>
                  <a:gd name="T8" fmla="*/ 56 w 89"/>
                  <a:gd name="T9" fmla="*/ 5 h 166"/>
                  <a:gd name="T10" fmla="*/ 89 w 89"/>
                  <a:gd name="T11" fmla="*/ 8 h 166"/>
                  <a:gd name="T12" fmla="*/ 77 w 89"/>
                  <a:gd name="T13" fmla="*/ 151 h 166"/>
                  <a:gd name="T14" fmla="*/ 25 w 89"/>
                  <a:gd name="T15" fmla="*/ 164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9" h="166">
                    <a:moveTo>
                      <a:pt x="25" y="164"/>
                    </a:moveTo>
                    <a:cubicBezTo>
                      <a:pt x="25" y="164"/>
                      <a:pt x="25" y="118"/>
                      <a:pt x="17" y="104"/>
                    </a:cubicBezTo>
                    <a:cubicBezTo>
                      <a:pt x="10" y="91"/>
                      <a:pt x="0" y="75"/>
                      <a:pt x="9" y="51"/>
                    </a:cubicBezTo>
                    <a:cubicBezTo>
                      <a:pt x="17" y="28"/>
                      <a:pt x="26" y="18"/>
                      <a:pt x="26" y="18"/>
                    </a:cubicBezTo>
                    <a:cubicBezTo>
                      <a:pt x="56" y="5"/>
                      <a:pt x="56" y="5"/>
                      <a:pt x="56" y="5"/>
                    </a:cubicBezTo>
                    <a:cubicBezTo>
                      <a:pt x="56" y="5"/>
                      <a:pt x="76" y="0"/>
                      <a:pt x="89" y="8"/>
                    </a:cubicBezTo>
                    <a:cubicBezTo>
                      <a:pt x="77" y="151"/>
                      <a:pt x="77" y="151"/>
                      <a:pt x="77" y="151"/>
                    </a:cubicBezTo>
                    <a:cubicBezTo>
                      <a:pt x="77" y="151"/>
                      <a:pt x="51" y="166"/>
                      <a:pt x="25" y="164"/>
                    </a:cubicBezTo>
                    <a:close/>
                  </a:path>
                </a:pathLst>
              </a:custGeom>
              <a:solidFill>
                <a:srgbClr val="3327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33" name="iSḷîḍè">
                <a:extLst>
                  <a:ext uri="{FF2B5EF4-FFF2-40B4-BE49-F238E27FC236}">
                    <a16:creationId xmlns:a16="http://schemas.microsoft.com/office/drawing/2014/main" id="{69111816-5D6A-4311-8B72-B43D920D9277}"/>
                  </a:ext>
                </a:extLst>
              </p:cNvPr>
              <p:cNvSpPr/>
              <p:nvPr/>
            </p:nvSpPr>
            <p:spPr bwMode="auto">
              <a:xfrm>
                <a:off x="851578" y="5020985"/>
                <a:ext cx="1822741" cy="133009"/>
              </a:xfrm>
              <a:custGeom>
                <a:avLst/>
                <a:gdLst>
                  <a:gd name="T0" fmla="*/ 0 w 294"/>
                  <a:gd name="T1" fmla="*/ 0 h 25"/>
                  <a:gd name="T2" fmla="*/ 0 w 294"/>
                  <a:gd name="T3" fmla="*/ 15 h 25"/>
                  <a:gd name="T4" fmla="*/ 147 w 294"/>
                  <a:gd name="T5" fmla="*/ 25 h 25"/>
                  <a:gd name="T6" fmla="*/ 294 w 294"/>
                  <a:gd name="T7" fmla="*/ 15 h 25"/>
                  <a:gd name="T8" fmla="*/ 294 w 294"/>
                  <a:gd name="T9" fmla="*/ 0 h 25"/>
                  <a:gd name="T10" fmla="*/ 0 w 294"/>
                  <a:gd name="T11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4" h="25">
                    <a:moveTo>
                      <a:pt x="0" y="0"/>
                    </a:moveTo>
                    <a:cubicBezTo>
                      <a:pt x="0" y="15"/>
                      <a:pt x="0" y="15"/>
                      <a:pt x="0" y="15"/>
                    </a:cubicBezTo>
                    <a:cubicBezTo>
                      <a:pt x="0" y="21"/>
                      <a:pt x="66" y="25"/>
                      <a:pt x="147" y="25"/>
                    </a:cubicBezTo>
                    <a:cubicBezTo>
                      <a:pt x="228" y="25"/>
                      <a:pt x="294" y="21"/>
                      <a:pt x="294" y="15"/>
                    </a:cubicBezTo>
                    <a:cubicBezTo>
                      <a:pt x="294" y="0"/>
                      <a:pt x="294" y="0"/>
                      <a:pt x="294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34" name="îṥlíḓè">
                <a:extLst>
                  <a:ext uri="{FF2B5EF4-FFF2-40B4-BE49-F238E27FC236}">
                    <a16:creationId xmlns:a16="http://schemas.microsoft.com/office/drawing/2014/main" id="{FAAF8B89-CC56-4D23-AD27-92CB2A62F48B}"/>
                  </a:ext>
                </a:extLst>
              </p:cNvPr>
              <p:cNvSpPr/>
              <p:nvPr/>
            </p:nvSpPr>
            <p:spPr bwMode="auto">
              <a:xfrm>
                <a:off x="851578" y="4966697"/>
                <a:ext cx="1822741" cy="107222"/>
              </a:xfrm>
              <a:prstGeom prst="ellipse">
                <a:avLst/>
              </a:prstGeom>
              <a:solidFill>
                <a:srgbClr val="2D0A7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35" name="ïśļîḍé">
                <a:extLst>
                  <a:ext uri="{FF2B5EF4-FFF2-40B4-BE49-F238E27FC236}">
                    <a16:creationId xmlns:a16="http://schemas.microsoft.com/office/drawing/2014/main" id="{8ABED782-90FD-4A2F-BA9F-4592696D10EC}"/>
                  </a:ext>
                </a:extLst>
              </p:cNvPr>
              <p:cNvSpPr/>
              <p:nvPr/>
            </p:nvSpPr>
            <p:spPr bwMode="auto">
              <a:xfrm>
                <a:off x="1607654" y="4817401"/>
                <a:ext cx="396863" cy="134367"/>
              </a:xfrm>
              <a:custGeom>
                <a:avLst/>
                <a:gdLst>
                  <a:gd name="T0" fmla="*/ 59 w 64"/>
                  <a:gd name="T1" fmla="*/ 4 h 25"/>
                  <a:gd name="T2" fmla="*/ 34 w 64"/>
                  <a:gd name="T3" fmla="*/ 1 h 25"/>
                  <a:gd name="T4" fmla="*/ 9 w 64"/>
                  <a:gd name="T5" fmla="*/ 15 h 25"/>
                  <a:gd name="T6" fmla="*/ 27 w 64"/>
                  <a:gd name="T7" fmla="*/ 23 h 25"/>
                  <a:gd name="T8" fmla="*/ 64 w 64"/>
                  <a:gd name="T9" fmla="*/ 21 h 25"/>
                  <a:gd name="T10" fmla="*/ 59 w 64"/>
                  <a:gd name="T11" fmla="*/ 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4" h="25">
                    <a:moveTo>
                      <a:pt x="59" y="4"/>
                    </a:moveTo>
                    <a:cubicBezTo>
                      <a:pt x="59" y="4"/>
                      <a:pt x="40" y="0"/>
                      <a:pt x="34" y="1"/>
                    </a:cubicBezTo>
                    <a:cubicBezTo>
                      <a:pt x="28" y="1"/>
                      <a:pt x="18" y="12"/>
                      <a:pt x="9" y="15"/>
                    </a:cubicBezTo>
                    <a:cubicBezTo>
                      <a:pt x="0" y="18"/>
                      <a:pt x="12" y="25"/>
                      <a:pt x="27" y="23"/>
                    </a:cubicBezTo>
                    <a:cubicBezTo>
                      <a:pt x="41" y="20"/>
                      <a:pt x="50" y="24"/>
                      <a:pt x="64" y="21"/>
                    </a:cubicBezTo>
                    <a:cubicBezTo>
                      <a:pt x="64" y="21"/>
                      <a:pt x="57" y="14"/>
                      <a:pt x="59" y="4"/>
                    </a:cubicBezTo>
                    <a:close/>
                  </a:path>
                </a:pathLst>
              </a:custGeom>
              <a:solidFill>
                <a:srgbClr val="E299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36" name="íṣ1iḑè">
                <a:extLst>
                  <a:ext uri="{FF2B5EF4-FFF2-40B4-BE49-F238E27FC236}">
                    <a16:creationId xmlns:a16="http://schemas.microsoft.com/office/drawing/2014/main" id="{6E88210E-597E-4554-8E82-39557EFECB38}"/>
                  </a:ext>
                </a:extLst>
              </p:cNvPr>
              <p:cNvSpPr/>
              <p:nvPr/>
            </p:nvSpPr>
            <p:spPr bwMode="auto">
              <a:xfrm>
                <a:off x="1042950" y="6512583"/>
                <a:ext cx="1320781" cy="96364"/>
              </a:xfrm>
              <a:custGeom>
                <a:avLst/>
                <a:gdLst>
                  <a:gd name="T0" fmla="*/ 0 w 213"/>
                  <a:gd name="T1" fmla="*/ 0 h 18"/>
                  <a:gd name="T2" fmla="*/ 0 w 213"/>
                  <a:gd name="T3" fmla="*/ 11 h 18"/>
                  <a:gd name="T4" fmla="*/ 106 w 213"/>
                  <a:gd name="T5" fmla="*/ 18 h 18"/>
                  <a:gd name="T6" fmla="*/ 213 w 213"/>
                  <a:gd name="T7" fmla="*/ 11 h 18"/>
                  <a:gd name="T8" fmla="*/ 213 w 213"/>
                  <a:gd name="T9" fmla="*/ 0 h 18"/>
                  <a:gd name="T10" fmla="*/ 0 w 213"/>
                  <a:gd name="T11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3" h="18">
                    <a:moveTo>
                      <a:pt x="0" y="0"/>
                    </a:moveTo>
                    <a:cubicBezTo>
                      <a:pt x="0" y="11"/>
                      <a:pt x="0" y="11"/>
                      <a:pt x="0" y="11"/>
                    </a:cubicBezTo>
                    <a:cubicBezTo>
                      <a:pt x="0" y="15"/>
                      <a:pt x="48" y="18"/>
                      <a:pt x="106" y="18"/>
                    </a:cubicBezTo>
                    <a:cubicBezTo>
                      <a:pt x="165" y="18"/>
                      <a:pt x="213" y="15"/>
                      <a:pt x="213" y="11"/>
                    </a:cubicBezTo>
                    <a:cubicBezTo>
                      <a:pt x="213" y="0"/>
                      <a:pt x="213" y="0"/>
                      <a:pt x="21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D18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37" name="i$1iḓè">
                <a:extLst>
                  <a:ext uri="{FF2B5EF4-FFF2-40B4-BE49-F238E27FC236}">
                    <a16:creationId xmlns:a16="http://schemas.microsoft.com/office/drawing/2014/main" id="{B612E84B-8227-4F6A-A30B-537A0629FB21}"/>
                  </a:ext>
                </a:extLst>
              </p:cNvPr>
              <p:cNvSpPr/>
              <p:nvPr/>
            </p:nvSpPr>
            <p:spPr bwMode="auto">
              <a:xfrm>
                <a:off x="1000597" y="4426518"/>
                <a:ext cx="1035292" cy="578180"/>
              </a:xfrm>
              <a:custGeom>
                <a:avLst/>
                <a:gdLst>
                  <a:gd name="T0" fmla="*/ 0 w 660"/>
                  <a:gd name="T1" fmla="*/ 0 h 426"/>
                  <a:gd name="T2" fmla="*/ 158 w 660"/>
                  <a:gd name="T3" fmla="*/ 426 h 426"/>
                  <a:gd name="T4" fmla="*/ 660 w 660"/>
                  <a:gd name="T5" fmla="*/ 426 h 426"/>
                  <a:gd name="T6" fmla="*/ 506 w 660"/>
                  <a:gd name="T7" fmla="*/ 0 h 426"/>
                  <a:gd name="T8" fmla="*/ 0 w 660"/>
                  <a:gd name="T9" fmla="*/ 0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0" h="426">
                    <a:moveTo>
                      <a:pt x="0" y="0"/>
                    </a:moveTo>
                    <a:lnTo>
                      <a:pt x="158" y="426"/>
                    </a:lnTo>
                    <a:lnTo>
                      <a:pt x="660" y="426"/>
                    </a:lnTo>
                    <a:lnTo>
                      <a:pt x="50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D18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38" name="iṥḷiḑe">
                <a:extLst>
                  <a:ext uri="{FF2B5EF4-FFF2-40B4-BE49-F238E27FC236}">
                    <a16:creationId xmlns:a16="http://schemas.microsoft.com/office/drawing/2014/main" id="{C21F9C45-BE06-46F3-8F36-7A34F81F1A29}"/>
                  </a:ext>
                </a:extLst>
              </p:cNvPr>
              <p:cNvSpPr/>
              <p:nvPr/>
            </p:nvSpPr>
            <p:spPr bwMode="auto">
              <a:xfrm>
                <a:off x="1042950" y="6470508"/>
                <a:ext cx="1320781" cy="80077"/>
              </a:xfrm>
              <a:prstGeom prst="ellipse">
                <a:avLst/>
              </a:prstGeom>
              <a:solidFill>
                <a:srgbClr val="2D0A7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39" name="ïşliḍe">
                <a:extLst>
                  <a:ext uri="{FF2B5EF4-FFF2-40B4-BE49-F238E27FC236}">
                    <a16:creationId xmlns:a16="http://schemas.microsoft.com/office/drawing/2014/main" id="{269BE50F-AC42-4A19-955B-C3B4C79168BC}"/>
                  </a:ext>
                </a:extLst>
              </p:cNvPr>
              <p:cNvSpPr/>
              <p:nvPr/>
            </p:nvSpPr>
            <p:spPr bwMode="auto">
              <a:xfrm>
                <a:off x="1645301" y="5153994"/>
                <a:ext cx="117648" cy="133823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40" name="íSḻîḑe">
                <a:extLst>
                  <a:ext uri="{FF2B5EF4-FFF2-40B4-BE49-F238E27FC236}">
                    <a16:creationId xmlns:a16="http://schemas.microsoft.com/office/drawing/2014/main" id="{FF41C1DF-EF42-43A0-93CC-531D576CC50A}"/>
                  </a:ext>
                </a:extLst>
              </p:cNvPr>
              <p:cNvSpPr/>
              <p:nvPr/>
            </p:nvSpPr>
            <p:spPr bwMode="auto">
              <a:xfrm>
                <a:off x="1620203" y="6052482"/>
                <a:ext cx="415686" cy="354237"/>
              </a:xfrm>
              <a:custGeom>
                <a:avLst/>
                <a:gdLst>
                  <a:gd name="T0" fmla="*/ 46 w 67"/>
                  <a:gd name="T1" fmla="*/ 0 h 66"/>
                  <a:gd name="T2" fmla="*/ 13 w 67"/>
                  <a:gd name="T3" fmla="*/ 39 h 66"/>
                  <a:gd name="T4" fmla="*/ 23 w 67"/>
                  <a:gd name="T5" fmla="*/ 55 h 66"/>
                  <a:gd name="T6" fmla="*/ 59 w 67"/>
                  <a:gd name="T7" fmla="*/ 29 h 66"/>
                  <a:gd name="T8" fmla="*/ 67 w 67"/>
                  <a:gd name="T9" fmla="*/ 3 h 66"/>
                  <a:gd name="T10" fmla="*/ 46 w 67"/>
                  <a:gd name="T11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7" h="66">
                    <a:moveTo>
                      <a:pt x="46" y="0"/>
                    </a:moveTo>
                    <a:cubicBezTo>
                      <a:pt x="46" y="0"/>
                      <a:pt x="27" y="29"/>
                      <a:pt x="13" y="39"/>
                    </a:cubicBezTo>
                    <a:cubicBezTo>
                      <a:pt x="0" y="48"/>
                      <a:pt x="4" y="66"/>
                      <a:pt x="23" y="55"/>
                    </a:cubicBezTo>
                    <a:cubicBezTo>
                      <a:pt x="42" y="44"/>
                      <a:pt x="52" y="31"/>
                      <a:pt x="59" y="29"/>
                    </a:cubicBezTo>
                    <a:cubicBezTo>
                      <a:pt x="66" y="27"/>
                      <a:pt x="67" y="3"/>
                      <a:pt x="67" y="3"/>
                    </a:cubicBezTo>
                    <a:cubicBezTo>
                      <a:pt x="67" y="3"/>
                      <a:pt x="54" y="4"/>
                      <a:pt x="46" y="0"/>
                    </a:cubicBezTo>
                    <a:close/>
                  </a:path>
                </a:pathLst>
              </a:custGeom>
              <a:solidFill>
                <a:srgbClr val="4643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41" name="iś1íḑe">
                <a:extLst>
                  <a:ext uri="{FF2B5EF4-FFF2-40B4-BE49-F238E27FC236}">
                    <a16:creationId xmlns:a16="http://schemas.microsoft.com/office/drawing/2014/main" id="{2833D819-DA6A-4F13-98A5-990D4E026824}"/>
                  </a:ext>
                </a:extLst>
              </p:cNvPr>
              <p:cNvSpPr/>
              <p:nvPr/>
            </p:nvSpPr>
            <p:spPr bwMode="auto">
              <a:xfrm>
                <a:off x="1899418" y="6294069"/>
                <a:ext cx="470587" cy="251089"/>
              </a:xfrm>
              <a:custGeom>
                <a:avLst/>
                <a:gdLst>
                  <a:gd name="T0" fmla="*/ 51 w 76"/>
                  <a:gd name="T1" fmla="*/ 4 h 47"/>
                  <a:gd name="T2" fmla="*/ 43 w 76"/>
                  <a:gd name="T3" fmla="*/ 19 h 47"/>
                  <a:gd name="T4" fmla="*/ 5 w 76"/>
                  <a:gd name="T5" fmla="*/ 41 h 47"/>
                  <a:gd name="T6" fmla="*/ 55 w 76"/>
                  <a:gd name="T7" fmla="*/ 37 h 47"/>
                  <a:gd name="T8" fmla="*/ 75 w 76"/>
                  <a:gd name="T9" fmla="*/ 24 h 47"/>
                  <a:gd name="T10" fmla="*/ 73 w 76"/>
                  <a:gd name="T11" fmla="*/ 0 h 47"/>
                  <a:gd name="T12" fmla="*/ 51 w 76"/>
                  <a:gd name="T13" fmla="*/ 4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" h="47">
                    <a:moveTo>
                      <a:pt x="51" y="4"/>
                    </a:moveTo>
                    <a:cubicBezTo>
                      <a:pt x="51" y="4"/>
                      <a:pt x="59" y="11"/>
                      <a:pt x="43" y="19"/>
                    </a:cubicBezTo>
                    <a:cubicBezTo>
                      <a:pt x="27" y="27"/>
                      <a:pt x="0" y="34"/>
                      <a:pt x="5" y="41"/>
                    </a:cubicBezTo>
                    <a:cubicBezTo>
                      <a:pt x="10" y="47"/>
                      <a:pt x="44" y="38"/>
                      <a:pt x="55" y="37"/>
                    </a:cubicBezTo>
                    <a:cubicBezTo>
                      <a:pt x="65" y="35"/>
                      <a:pt x="76" y="31"/>
                      <a:pt x="75" y="24"/>
                    </a:cubicBezTo>
                    <a:cubicBezTo>
                      <a:pt x="74" y="17"/>
                      <a:pt x="73" y="0"/>
                      <a:pt x="73" y="0"/>
                    </a:cubicBezTo>
                    <a:cubicBezTo>
                      <a:pt x="73" y="0"/>
                      <a:pt x="67" y="7"/>
                      <a:pt x="51" y="4"/>
                    </a:cubicBezTo>
                    <a:close/>
                  </a:path>
                </a:pathLst>
              </a:custGeom>
              <a:solidFill>
                <a:srgbClr val="4643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42" name="îşļíḍe">
                <a:extLst>
                  <a:ext uri="{FF2B5EF4-FFF2-40B4-BE49-F238E27FC236}">
                    <a16:creationId xmlns:a16="http://schemas.microsoft.com/office/drawing/2014/main" id="{ADCD6B7B-A045-40E7-8CFC-CFE8A504B679}"/>
                  </a:ext>
                </a:extLst>
              </p:cNvPr>
              <p:cNvSpPr/>
              <p:nvPr/>
            </p:nvSpPr>
            <p:spPr bwMode="auto">
              <a:xfrm>
                <a:off x="2023340" y="4977554"/>
                <a:ext cx="533332" cy="27145"/>
              </a:xfrm>
              <a:custGeom>
                <a:avLst/>
                <a:gdLst>
                  <a:gd name="T0" fmla="*/ 8 w 340"/>
                  <a:gd name="T1" fmla="*/ 20 h 20"/>
                  <a:gd name="T2" fmla="*/ 340 w 340"/>
                  <a:gd name="T3" fmla="*/ 20 h 20"/>
                  <a:gd name="T4" fmla="*/ 340 w 340"/>
                  <a:gd name="T5" fmla="*/ 0 h 20"/>
                  <a:gd name="T6" fmla="*/ 0 w 340"/>
                  <a:gd name="T7" fmla="*/ 0 h 20"/>
                  <a:gd name="T8" fmla="*/ 8 w 340"/>
                  <a:gd name="T9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0" h="20">
                    <a:moveTo>
                      <a:pt x="8" y="20"/>
                    </a:moveTo>
                    <a:lnTo>
                      <a:pt x="340" y="20"/>
                    </a:lnTo>
                    <a:lnTo>
                      <a:pt x="340" y="0"/>
                    </a:lnTo>
                    <a:lnTo>
                      <a:pt x="0" y="0"/>
                    </a:lnTo>
                    <a:lnTo>
                      <a:pt x="8" y="20"/>
                    </a:lnTo>
                    <a:close/>
                  </a:path>
                </a:pathLst>
              </a:custGeom>
              <a:solidFill>
                <a:srgbClr val="1D18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43" name="íṥḷïḋè">
                <a:extLst>
                  <a:ext uri="{FF2B5EF4-FFF2-40B4-BE49-F238E27FC236}">
                    <a16:creationId xmlns:a16="http://schemas.microsoft.com/office/drawing/2014/main" id="{547B3F2A-0D83-45C9-B0AC-A7EA638A7520}"/>
                  </a:ext>
                </a:extLst>
              </p:cNvPr>
              <p:cNvSpPr/>
              <p:nvPr/>
            </p:nvSpPr>
            <p:spPr bwMode="auto">
              <a:xfrm>
                <a:off x="2624122" y="3555175"/>
                <a:ext cx="98824" cy="176440"/>
              </a:xfrm>
              <a:custGeom>
                <a:avLst/>
                <a:gdLst>
                  <a:gd name="T0" fmla="*/ 5 w 16"/>
                  <a:gd name="T1" fmla="*/ 0 h 33"/>
                  <a:gd name="T2" fmla="*/ 3 w 16"/>
                  <a:gd name="T3" fmla="*/ 20 h 33"/>
                  <a:gd name="T4" fmla="*/ 10 w 16"/>
                  <a:gd name="T5" fmla="*/ 32 h 33"/>
                  <a:gd name="T6" fmla="*/ 16 w 16"/>
                  <a:gd name="T7" fmla="*/ 29 h 33"/>
                  <a:gd name="T8" fmla="*/ 5 w 16"/>
                  <a:gd name="T9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33">
                    <a:moveTo>
                      <a:pt x="5" y="0"/>
                    </a:moveTo>
                    <a:cubicBezTo>
                      <a:pt x="5" y="0"/>
                      <a:pt x="6" y="12"/>
                      <a:pt x="3" y="20"/>
                    </a:cubicBezTo>
                    <a:cubicBezTo>
                      <a:pt x="0" y="27"/>
                      <a:pt x="6" y="33"/>
                      <a:pt x="10" y="32"/>
                    </a:cubicBezTo>
                    <a:cubicBezTo>
                      <a:pt x="14" y="31"/>
                      <a:pt x="16" y="29"/>
                      <a:pt x="16" y="29"/>
                    </a:cubicBez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BC7D5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44" name="îṧḷíḓè">
                <a:extLst>
                  <a:ext uri="{FF2B5EF4-FFF2-40B4-BE49-F238E27FC236}">
                    <a16:creationId xmlns:a16="http://schemas.microsoft.com/office/drawing/2014/main" id="{75FCEDF4-C8F7-4E0A-8C00-5421BAD63F8F}"/>
                  </a:ext>
                </a:extLst>
              </p:cNvPr>
              <p:cNvSpPr/>
              <p:nvPr/>
            </p:nvSpPr>
            <p:spPr bwMode="auto">
              <a:xfrm>
                <a:off x="2500201" y="3950130"/>
                <a:ext cx="949017" cy="1112930"/>
              </a:xfrm>
              <a:custGeom>
                <a:avLst/>
                <a:gdLst>
                  <a:gd name="T0" fmla="*/ 4 w 153"/>
                  <a:gd name="T1" fmla="*/ 197 h 208"/>
                  <a:gd name="T2" fmla="*/ 114 w 153"/>
                  <a:gd name="T3" fmla="*/ 122 h 208"/>
                  <a:gd name="T4" fmla="*/ 111 w 153"/>
                  <a:gd name="T5" fmla="*/ 16 h 208"/>
                  <a:gd name="T6" fmla="*/ 124 w 153"/>
                  <a:gd name="T7" fmla="*/ 0 h 208"/>
                  <a:gd name="T8" fmla="*/ 150 w 153"/>
                  <a:gd name="T9" fmla="*/ 29 h 208"/>
                  <a:gd name="T10" fmla="*/ 119 w 153"/>
                  <a:gd name="T11" fmla="*/ 162 h 208"/>
                  <a:gd name="T12" fmla="*/ 10 w 153"/>
                  <a:gd name="T13" fmla="*/ 208 h 208"/>
                  <a:gd name="T14" fmla="*/ 4 w 153"/>
                  <a:gd name="T15" fmla="*/ 197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3" h="208">
                    <a:moveTo>
                      <a:pt x="4" y="197"/>
                    </a:moveTo>
                    <a:cubicBezTo>
                      <a:pt x="4" y="197"/>
                      <a:pt x="111" y="153"/>
                      <a:pt x="114" y="122"/>
                    </a:cubicBezTo>
                    <a:cubicBezTo>
                      <a:pt x="117" y="91"/>
                      <a:pt x="104" y="31"/>
                      <a:pt x="111" y="16"/>
                    </a:cubicBezTo>
                    <a:cubicBezTo>
                      <a:pt x="117" y="1"/>
                      <a:pt x="124" y="0"/>
                      <a:pt x="124" y="0"/>
                    </a:cubicBezTo>
                    <a:cubicBezTo>
                      <a:pt x="124" y="0"/>
                      <a:pt x="147" y="0"/>
                      <a:pt x="150" y="29"/>
                    </a:cubicBezTo>
                    <a:cubicBezTo>
                      <a:pt x="153" y="57"/>
                      <a:pt x="152" y="141"/>
                      <a:pt x="119" y="162"/>
                    </a:cubicBezTo>
                    <a:cubicBezTo>
                      <a:pt x="85" y="183"/>
                      <a:pt x="10" y="208"/>
                      <a:pt x="10" y="208"/>
                    </a:cubicBezTo>
                    <a:cubicBezTo>
                      <a:pt x="10" y="208"/>
                      <a:pt x="0" y="206"/>
                      <a:pt x="4" y="197"/>
                    </a:cubicBezTo>
                    <a:close/>
                  </a:path>
                </a:pathLst>
              </a:custGeom>
              <a:solidFill>
                <a:srgbClr val="4643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45" name="í$liḓè">
                <a:extLst>
                  <a:ext uri="{FF2B5EF4-FFF2-40B4-BE49-F238E27FC236}">
                    <a16:creationId xmlns:a16="http://schemas.microsoft.com/office/drawing/2014/main" id="{45C9A66C-BA18-44C1-B372-02AB868F2465}"/>
                  </a:ext>
                </a:extLst>
              </p:cNvPr>
              <p:cNvSpPr/>
              <p:nvPr/>
            </p:nvSpPr>
            <p:spPr bwMode="auto">
              <a:xfrm>
                <a:off x="2172359" y="4999270"/>
                <a:ext cx="389018" cy="154724"/>
              </a:xfrm>
              <a:custGeom>
                <a:avLst/>
                <a:gdLst>
                  <a:gd name="T0" fmla="*/ 57 w 63"/>
                  <a:gd name="T1" fmla="*/ 1 h 29"/>
                  <a:gd name="T2" fmla="*/ 33 w 63"/>
                  <a:gd name="T3" fmla="*/ 1 h 29"/>
                  <a:gd name="T4" fmla="*/ 7 w 63"/>
                  <a:gd name="T5" fmla="*/ 16 h 29"/>
                  <a:gd name="T6" fmla="*/ 6 w 63"/>
                  <a:gd name="T7" fmla="*/ 25 h 29"/>
                  <a:gd name="T8" fmla="*/ 30 w 63"/>
                  <a:gd name="T9" fmla="*/ 25 h 29"/>
                  <a:gd name="T10" fmla="*/ 63 w 63"/>
                  <a:gd name="T11" fmla="*/ 12 h 29"/>
                  <a:gd name="T12" fmla="*/ 57 w 63"/>
                  <a:gd name="T13" fmla="*/ 1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" h="29">
                    <a:moveTo>
                      <a:pt x="57" y="1"/>
                    </a:moveTo>
                    <a:cubicBezTo>
                      <a:pt x="57" y="1"/>
                      <a:pt x="40" y="0"/>
                      <a:pt x="33" y="1"/>
                    </a:cubicBezTo>
                    <a:cubicBezTo>
                      <a:pt x="26" y="1"/>
                      <a:pt x="14" y="12"/>
                      <a:pt x="7" y="16"/>
                    </a:cubicBezTo>
                    <a:cubicBezTo>
                      <a:pt x="0" y="20"/>
                      <a:pt x="2" y="25"/>
                      <a:pt x="6" y="25"/>
                    </a:cubicBezTo>
                    <a:cubicBezTo>
                      <a:pt x="6" y="25"/>
                      <a:pt x="15" y="29"/>
                      <a:pt x="30" y="25"/>
                    </a:cubicBezTo>
                    <a:cubicBezTo>
                      <a:pt x="45" y="22"/>
                      <a:pt x="63" y="12"/>
                      <a:pt x="63" y="12"/>
                    </a:cubicBezTo>
                    <a:cubicBezTo>
                      <a:pt x="63" y="12"/>
                      <a:pt x="54" y="9"/>
                      <a:pt x="57" y="1"/>
                    </a:cubicBezTo>
                    <a:close/>
                  </a:path>
                </a:pathLst>
              </a:custGeom>
              <a:solidFill>
                <a:srgbClr val="E299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46" name="îṥļïďè">
                <a:extLst>
                  <a:ext uri="{FF2B5EF4-FFF2-40B4-BE49-F238E27FC236}">
                    <a16:creationId xmlns:a16="http://schemas.microsoft.com/office/drawing/2014/main" id="{176ACC6B-D4BD-44B3-8404-CD60BE27ED16}"/>
                  </a:ext>
                </a:extLst>
              </p:cNvPr>
              <p:cNvSpPr/>
              <p:nvPr/>
            </p:nvSpPr>
            <p:spPr bwMode="auto">
              <a:xfrm>
                <a:off x="2519024" y="3586392"/>
                <a:ext cx="92549" cy="43432"/>
              </a:xfrm>
              <a:custGeom>
                <a:avLst/>
                <a:gdLst>
                  <a:gd name="T0" fmla="*/ 0 w 15"/>
                  <a:gd name="T1" fmla="*/ 0 h 8"/>
                  <a:gd name="T2" fmla="*/ 5 w 15"/>
                  <a:gd name="T3" fmla="*/ 2 h 8"/>
                  <a:gd name="T4" fmla="*/ 8 w 15"/>
                  <a:gd name="T5" fmla="*/ 3 h 8"/>
                  <a:gd name="T6" fmla="*/ 10 w 15"/>
                  <a:gd name="T7" fmla="*/ 2 h 8"/>
                  <a:gd name="T8" fmla="*/ 12 w 15"/>
                  <a:gd name="T9" fmla="*/ 1 h 8"/>
                  <a:gd name="T10" fmla="*/ 15 w 15"/>
                  <a:gd name="T11" fmla="*/ 0 h 8"/>
                  <a:gd name="T12" fmla="*/ 13 w 15"/>
                  <a:gd name="T13" fmla="*/ 5 h 8"/>
                  <a:gd name="T14" fmla="*/ 7 w 15"/>
                  <a:gd name="T15" fmla="*/ 8 h 8"/>
                  <a:gd name="T16" fmla="*/ 2 w 15"/>
                  <a:gd name="T17" fmla="*/ 5 h 8"/>
                  <a:gd name="T18" fmla="*/ 0 w 15"/>
                  <a:gd name="T1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" h="8">
                    <a:moveTo>
                      <a:pt x="0" y="0"/>
                    </a:moveTo>
                    <a:cubicBezTo>
                      <a:pt x="2" y="0"/>
                      <a:pt x="3" y="1"/>
                      <a:pt x="5" y="2"/>
                    </a:cubicBezTo>
                    <a:cubicBezTo>
                      <a:pt x="6" y="3"/>
                      <a:pt x="7" y="3"/>
                      <a:pt x="8" y="3"/>
                    </a:cubicBezTo>
                    <a:cubicBezTo>
                      <a:pt x="8" y="3"/>
                      <a:pt x="9" y="3"/>
                      <a:pt x="10" y="2"/>
                    </a:cubicBezTo>
                    <a:cubicBezTo>
                      <a:pt x="11" y="2"/>
                      <a:pt x="12" y="2"/>
                      <a:pt x="12" y="1"/>
                    </a:cubicBezTo>
                    <a:cubicBezTo>
                      <a:pt x="13" y="1"/>
                      <a:pt x="14" y="0"/>
                      <a:pt x="15" y="0"/>
                    </a:cubicBezTo>
                    <a:cubicBezTo>
                      <a:pt x="15" y="2"/>
                      <a:pt x="14" y="3"/>
                      <a:pt x="13" y="5"/>
                    </a:cubicBezTo>
                    <a:cubicBezTo>
                      <a:pt x="12" y="7"/>
                      <a:pt x="10" y="8"/>
                      <a:pt x="7" y="8"/>
                    </a:cubicBezTo>
                    <a:cubicBezTo>
                      <a:pt x="5" y="8"/>
                      <a:pt x="3" y="6"/>
                      <a:pt x="2" y="5"/>
                    </a:cubicBezTo>
                    <a:cubicBezTo>
                      <a:pt x="1" y="3"/>
                      <a:pt x="0" y="2"/>
                      <a:pt x="0" y="0"/>
                    </a:cubicBezTo>
                    <a:close/>
                  </a:path>
                </a:pathLst>
              </a:custGeom>
              <a:solidFill>
                <a:srgbClr val="BC7D5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47" name="íŝ1îḍé">
                <a:extLst>
                  <a:ext uri="{FF2B5EF4-FFF2-40B4-BE49-F238E27FC236}">
                    <a16:creationId xmlns:a16="http://schemas.microsoft.com/office/drawing/2014/main" id="{7E28C472-D962-4EBA-A128-54CE4D5FA5F0}"/>
                  </a:ext>
                </a:extLst>
              </p:cNvPr>
              <p:cNvSpPr/>
              <p:nvPr/>
            </p:nvSpPr>
            <p:spPr bwMode="auto">
              <a:xfrm>
                <a:off x="2748044" y="3490028"/>
                <a:ext cx="130196" cy="81433"/>
              </a:xfrm>
              <a:custGeom>
                <a:avLst/>
                <a:gdLst>
                  <a:gd name="T0" fmla="*/ 0 w 21"/>
                  <a:gd name="T1" fmla="*/ 10 h 15"/>
                  <a:gd name="T2" fmla="*/ 12 w 21"/>
                  <a:gd name="T3" fmla="*/ 9 h 15"/>
                  <a:gd name="T4" fmla="*/ 16 w 21"/>
                  <a:gd name="T5" fmla="*/ 5 h 15"/>
                  <a:gd name="T6" fmla="*/ 19 w 21"/>
                  <a:gd name="T7" fmla="*/ 3 h 15"/>
                  <a:gd name="T8" fmla="*/ 21 w 21"/>
                  <a:gd name="T9" fmla="*/ 0 h 15"/>
                  <a:gd name="T10" fmla="*/ 21 w 21"/>
                  <a:gd name="T11" fmla="*/ 4 h 15"/>
                  <a:gd name="T12" fmla="*/ 20 w 21"/>
                  <a:gd name="T13" fmla="*/ 7 h 15"/>
                  <a:gd name="T14" fmla="*/ 14 w 21"/>
                  <a:gd name="T15" fmla="*/ 13 h 15"/>
                  <a:gd name="T16" fmla="*/ 7 w 21"/>
                  <a:gd name="T17" fmla="*/ 14 h 15"/>
                  <a:gd name="T18" fmla="*/ 0 w 21"/>
                  <a:gd name="T19" fmla="*/ 1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15">
                    <a:moveTo>
                      <a:pt x="0" y="10"/>
                    </a:moveTo>
                    <a:cubicBezTo>
                      <a:pt x="5" y="11"/>
                      <a:pt x="9" y="10"/>
                      <a:pt x="12" y="9"/>
                    </a:cubicBezTo>
                    <a:cubicBezTo>
                      <a:pt x="14" y="8"/>
                      <a:pt x="15" y="6"/>
                      <a:pt x="16" y="5"/>
                    </a:cubicBezTo>
                    <a:cubicBezTo>
                      <a:pt x="17" y="4"/>
                      <a:pt x="18" y="3"/>
                      <a:pt x="19" y="3"/>
                    </a:cubicBezTo>
                    <a:cubicBezTo>
                      <a:pt x="19" y="2"/>
                      <a:pt x="20" y="1"/>
                      <a:pt x="21" y="0"/>
                    </a:cubicBezTo>
                    <a:cubicBezTo>
                      <a:pt x="21" y="1"/>
                      <a:pt x="21" y="2"/>
                      <a:pt x="21" y="4"/>
                    </a:cubicBezTo>
                    <a:cubicBezTo>
                      <a:pt x="20" y="5"/>
                      <a:pt x="20" y="6"/>
                      <a:pt x="20" y="7"/>
                    </a:cubicBezTo>
                    <a:cubicBezTo>
                      <a:pt x="18" y="9"/>
                      <a:pt x="17" y="11"/>
                      <a:pt x="14" y="13"/>
                    </a:cubicBezTo>
                    <a:cubicBezTo>
                      <a:pt x="12" y="14"/>
                      <a:pt x="9" y="15"/>
                      <a:pt x="7" y="14"/>
                    </a:cubicBezTo>
                    <a:cubicBezTo>
                      <a:pt x="4" y="14"/>
                      <a:pt x="2" y="12"/>
                      <a:pt x="0" y="10"/>
                    </a:cubicBezTo>
                    <a:close/>
                  </a:path>
                </a:pathLst>
              </a:custGeom>
              <a:solidFill>
                <a:srgbClr val="BC7D5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48" name="îṣļiďê">
                <a:extLst>
                  <a:ext uri="{FF2B5EF4-FFF2-40B4-BE49-F238E27FC236}">
                    <a16:creationId xmlns:a16="http://schemas.microsoft.com/office/drawing/2014/main" id="{CC0B5310-6908-43EB-BAF5-3049CE0BFC78}"/>
                  </a:ext>
                </a:extLst>
              </p:cNvPr>
              <p:cNvSpPr/>
              <p:nvPr/>
            </p:nvSpPr>
            <p:spPr bwMode="auto">
              <a:xfrm>
                <a:off x="2748044" y="3671897"/>
                <a:ext cx="86275" cy="90935"/>
              </a:xfrm>
              <a:custGeom>
                <a:avLst/>
                <a:gdLst>
                  <a:gd name="T0" fmla="*/ 0 w 14"/>
                  <a:gd name="T1" fmla="*/ 16 h 17"/>
                  <a:gd name="T2" fmla="*/ 8 w 14"/>
                  <a:gd name="T3" fmla="*/ 10 h 17"/>
                  <a:gd name="T4" fmla="*/ 10 w 14"/>
                  <a:gd name="T5" fmla="*/ 6 h 17"/>
                  <a:gd name="T6" fmla="*/ 11 w 14"/>
                  <a:gd name="T7" fmla="*/ 0 h 17"/>
                  <a:gd name="T8" fmla="*/ 14 w 14"/>
                  <a:gd name="T9" fmla="*/ 6 h 17"/>
                  <a:gd name="T10" fmla="*/ 12 w 14"/>
                  <a:gd name="T11" fmla="*/ 12 h 17"/>
                  <a:gd name="T12" fmla="*/ 6 w 14"/>
                  <a:gd name="T13" fmla="*/ 16 h 17"/>
                  <a:gd name="T14" fmla="*/ 0 w 14"/>
                  <a:gd name="T15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7">
                    <a:moveTo>
                      <a:pt x="0" y="16"/>
                    </a:moveTo>
                    <a:cubicBezTo>
                      <a:pt x="4" y="14"/>
                      <a:pt x="6" y="12"/>
                      <a:pt x="8" y="10"/>
                    </a:cubicBezTo>
                    <a:cubicBezTo>
                      <a:pt x="9" y="9"/>
                      <a:pt x="9" y="7"/>
                      <a:pt x="10" y="6"/>
                    </a:cubicBezTo>
                    <a:cubicBezTo>
                      <a:pt x="10" y="4"/>
                      <a:pt x="10" y="2"/>
                      <a:pt x="11" y="0"/>
                    </a:cubicBezTo>
                    <a:cubicBezTo>
                      <a:pt x="12" y="2"/>
                      <a:pt x="13" y="4"/>
                      <a:pt x="14" y="6"/>
                    </a:cubicBezTo>
                    <a:cubicBezTo>
                      <a:pt x="14" y="8"/>
                      <a:pt x="13" y="11"/>
                      <a:pt x="12" y="12"/>
                    </a:cubicBezTo>
                    <a:cubicBezTo>
                      <a:pt x="10" y="14"/>
                      <a:pt x="9" y="16"/>
                      <a:pt x="6" y="16"/>
                    </a:cubicBezTo>
                    <a:cubicBezTo>
                      <a:pt x="4" y="17"/>
                      <a:pt x="2" y="17"/>
                      <a:pt x="0" y="16"/>
                    </a:cubicBezTo>
                    <a:close/>
                  </a:path>
                </a:pathLst>
              </a:custGeom>
              <a:solidFill>
                <a:srgbClr val="BC7D5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</p:grpSp>
      </p:grpSp>
      <p:sp>
        <p:nvSpPr>
          <p:cNvPr id="66" name="文本框 65">
            <a:extLst>
              <a:ext uri="{FF2B5EF4-FFF2-40B4-BE49-F238E27FC236}">
                <a16:creationId xmlns:a16="http://schemas.microsoft.com/office/drawing/2014/main" id="{17B53709-06F1-4D99-BF29-95B64399638D}"/>
              </a:ext>
            </a:extLst>
          </p:cNvPr>
          <p:cNvSpPr txBox="1"/>
          <p:nvPr/>
        </p:nvSpPr>
        <p:spPr>
          <a:xfrm>
            <a:off x="7494172" y="576229"/>
            <a:ext cx="41075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根据前面图形得到最终建模思路：拆解</a:t>
            </a:r>
          </a:p>
        </p:txBody>
      </p:sp>
    </p:spTree>
    <p:extLst>
      <p:ext uri="{BB962C8B-B14F-4D97-AF65-F5344CB8AC3E}">
        <p14:creationId xmlns:p14="http://schemas.microsoft.com/office/powerpoint/2010/main" val="140339248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fld id="{5DD3DB80-B894-403A-B48E-6FDC1A72010E}" type="slidenum">
              <a:rPr lang="zh-CN" altLang="en-US" smtClean="0">
                <a:latin typeface=""/>
                <a:ea typeface="微软雅黑" panose="020B0503020204020204" pitchFamily="34" charset="-122"/>
                <a:sym typeface=""/>
              </a:rPr>
              <a:pPr>
                <a:lnSpc>
                  <a:spcPct val="130000"/>
                </a:lnSpc>
              </a:pPr>
              <a:t>16</a:t>
            </a:fld>
            <a:endParaRPr lang="zh-CN" altLang="en-US" dirty="0">
              <a:latin typeface=""/>
              <a:ea typeface="微软雅黑" panose="020B0503020204020204" pitchFamily="34" charset="-122"/>
              <a:sym typeface=""/>
            </a:endParaRPr>
          </a:p>
        </p:txBody>
      </p:sp>
      <p:grpSp>
        <p:nvGrpSpPr>
          <p:cNvPr id="7" name="ccade046-71c4-408a-8591-d2478564afd4" descr="0gQAAB+LCAAAAAAABACdU01vgkAQ/S/b9kYMaDWVm62l4WA1xbSHxsPKjrANLGZZGo3hv3cXWD6CtrHZyzL7Zua9mccJ3YrjHpCNvBhzMac44Dh2BcTIQC5BNsuiyECPlBHKgheeZPsU2Z+nOq398kFF+JRECX/HUQaqAKOC4qj8tHtJHeyKU8ngWMQuYSWsV2u521Ef1iHEoDFrysSMES/ERCLMgSkFcBqEgkGaqsC9gZbbL/BFK80eK1SWhrLmjeM8TOdzZ6qKFW3MPDeQB37CyP9JvoEPTGjQW7BFtjW2RsPR1Oz0fp6oU/e2VO9LM9TjW1BG4yyuYIXmBT60QpZZBikhEbRhLhPAv+stWSpW3D3BZQMn4TEWsuHJzO8abePJoJiJywgcZJYmizpLrUgqP521jXqoXVN4qElaYelEkNzOqO7nNWgDzVgQaXV6fXVZ6Yo9vEqsIlQJVSG06UrQbGRhubS+uNy4yGoNB3GdDpXRVnBu9L9KKFo2CioGHe5/0tbGvHb+beLS6CmImd8YvVxDGe/+hfV2htdI0yz7e0H5Rp4fT4AZ59IEAAA=">
            <a:extLst>
              <a:ext uri="{FF2B5EF4-FFF2-40B4-BE49-F238E27FC236}">
                <a16:creationId xmlns:a16="http://schemas.microsoft.com/office/drawing/2014/main" id="{58CE92CF-5373-4051-97E8-06506E06A694}"/>
              </a:ext>
            </a:extLst>
          </p:cNvPr>
          <p:cNvGrpSpPr>
            <a:grpSpLocks noChangeAspect="1"/>
          </p:cNvGrpSpPr>
          <p:nvPr/>
        </p:nvGrpSpPr>
        <p:grpSpPr>
          <a:xfrm>
            <a:off x="752476" y="2621361"/>
            <a:ext cx="10953750" cy="2704592"/>
            <a:chOff x="809743" y="2343150"/>
            <a:chExt cx="10572514" cy="2704592"/>
          </a:xfrm>
        </p:grpSpPr>
        <p:sp>
          <p:nvSpPr>
            <p:cNvPr id="8" name="ExtraShape">
              <a:extLst>
                <a:ext uri="{FF2B5EF4-FFF2-40B4-BE49-F238E27FC236}">
                  <a16:creationId xmlns:a16="http://schemas.microsoft.com/office/drawing/2014/main" id="{336A5058-6693-463D-BD13-55ABA2EB42A1}"/>
                </a:ext>
              </a:extLst>
            </p:cNvPr>
            <p:cNvSpPr/>
            <p:nvPr/>
          </p:nvSpPr>
          <p:spPr bwMode="auto">
            <a:xfrm>
              <a:off x="6779062" y="2660147"/>
              <a:ext cx="1748873" cy="2092017"/>
            </a:xfrm>
            <a:custGeom>
              <a:avLst/>
              <a:gdLst>
                <a:gd name="connsiteX0" fmla="*/ 764268 w 1674813"/>
                <a:gd name="connsiteY0" fmla="*/ 1212216 h 2003425"/>
                <a:gd name="connsiteX1" fmla="*/ 760744 w 1674813"/>
                <a:gd name="connsiteY1" fmla="*/ 1213963 h 2003425"/>
                <a:gd name="connsiteX2" fmla="*/ 761839 w 1674813"/>
                <a:gd name="connsiteY2" fmla="*/ 1218316 h 2003425"/>
                <a:gd name="connsiteX3" fmla="*/ 762001 w 1674813"/>
                <a:gd name="connsiteY3" fmla="*/ 1218959 h 2003425"/>
                <a:gd name="connsiteX4" fmla="*/ 734977 w 1674813"/>
                <a:gd name="connsiteY4" fmla="*/ 1199195 h 2003425"/>
                <a:gd name="connsiteX5" fmla="*/ 733264 w 1674813"/>
                <a:gd name="connsiteY5" fmla="*/ 1200328 h 2003425"/>
                <a:gd name="connsiteX6" fmla="*/ 733872 w 1674813"/>
                <a:gd name="connsiteY6" fmla="*/ 1202141 h 2003425"/>
                <a:gd name="connsiteX7" fmla="*/ 738703 w 1674813"/>
                <a:gd name="connsiteY7" fmla="*/ 1216547 h 2003425"/>
                <a:gd name="connsiteX8" fmla="*/ 738996 w 1674813"/>
                <a:gd name="connsiteY8" fmla="*/ 1217422 h 2003425"/>
                <a:gd name="connsiteX9" fmla="*/ 744731 w 1674813"/>
                <a:gd name="connsiteY9" fmla="*/ 1208892 h 2003425"/>
                <a:gd name="connsiteX10" fmla="*/ 764268 w 1674813"/>
                <a:gd name="connsiteY10" fmla="*/ 1179831 h 2003425"/>
                <a:gd name="connsiteX11" fmla="*/ 758145 w 1674813"/>
                <a:gd name="connsiteY11" fmla="*/ 1183879 h 2003425"/>
                <a:gd name="connsiteX12" fmla="*/ 753886 w 1674813"/>
                <a:gd name="connsiteY12" fmla="*/ 1186694 h 2003425"/>
                <a:gd name="connsiteX13" fmla="*/ 755457 w 1674813"/>
                <a:gd name="connsiteY13" fmla="*/ 1192937 h 2003425"/>
                <a:gd name="connsiteX14" fmla="*/ 759165 w 1674813"/>
                <a:gd name="connsiteY14" fmla="*/ 1187421 h 2003425"/>
                <a:gd name="connsiteX15" fmla="*/ 764268 w 1674813"/>
                <a:gd name="connsiteY15" fmla="*/ 1179831 h 2003425"/>
                <a:gd name="connsiteX16" fmla="*/ 748110 w 1674813"/>
                <a:gd name="connsiteY16" fmla="*/ 1163724 h 2003425"/>
                <a:gd name="connsiteX17" fmla="*/ 749070 w 1674813"/>
                <a:gd name="connsiteY17" fmla="*/ 1167541 h 2003425"/>
                <a:gd name="connsiteX18" fmla="*/ 750305 w 1674813"/>
                <a:gd name="connsiteY18" fmla="*/ 1165907 h 2003425"/>
                <a:gd name="connsiteX19" fmla="*/ 757670 w 1674813"/>
                <a:gd name="connsiteY19" fmla="*/ 1150717 h 2003425"/>
                <a:gd name="connsiteX20" fmla="*/ 756103 w 1674813"/>
                <a:gd name="connsiteY20" fmla="*/ 1151494 h 2003425"/>
                <a:gd name="connsiteX21" fmla="*/ 752090 w 1674813"/>
                <a:gd name="connsiteY21" fmla="*/ 1153484 h 2003425"/>
                <a:gd name="connsiteX22" fmla="*/ 753195 w 1674813"/>
                <a:gd name="connsiteY22" fmla="*/ 1155131 h 2003425"/>
                <a:gd name="connsiteX23" fmla="*/ 755667 w 1674813"/>
                <a:gd name="connsiteY23" fmla="*/ 1158818 h 2003425"/>
                <a:gd name="connsiteX24" fmla="*/ 756614 w 1674813"/>
                <a:gd name="connsiteY24" fmla="*/ 1157566 h 2003425"/>
                <a:gd name="connsiteX25" fmla="*/ 760967 w 1674813"/>
                <a:gd name="connsiteY25" fmla="*/ 1151810 h 2003425"/>
                <a:gd name="connsiteX26" fmla="*/ 749781 w 1674813"/>
                <a:gd name="connsiteY26" fmla="*/ 1029473 h 2003425"/>
                <a:gd name="connsiteX27" fmla="*/ 748418 w 1674813"/>
                <a:gd name="connsiteY27" fmla="*/ 1033645 h 2003425"/>
                <a:gd name="connsiteX28" fmla="*/ 746186 w 1674813"/>
                <a:gd name="connsiteY28" fmla="*/ 1049975 h 2003425"/>
                <a:gd name="connsiteX29" fmla="*/ 715282 w 1674813"/>
                <a:gd name="connsiteY29" fmla="*/ 1001713 h 2003425"/>
                <a:gd name="connsiteX30" fmla="*/ 715120 w 1674813"/>
                <a:gd name="connsiteY30" fmla="*/ 1001882 h 2003425"/>
                <a:gd name="connsiteX31" fmla="*/ 715084 w 1674813"/>
                <a:gd name="connsiteY31" fmla="*/ 1001811 h 2003425"/>
                <a:gd name="connsiteX32" fmla="*/ 821907 w 1674813"/>
                <a:gd name="connsiteY32" fmla="*/ 940961 h 2003425"/>
                <a:gd name="connsiteX33" fmla="*/ 820289 w 1674813"/>
                <a:gd name="connsiteY33" fmla="*/ 948964 h 2003425"/>
                <a:gd name="connsiteX34" fmla="*/ 837605 w 1674813"/>
                <a:gd name="connsiteY34" fmla="*/ 969620 h 2003425"/>
                <a:gd name="connsiteX35" fmla="*/ 840853 w 1674813"/>
                <a:gd name="connsiteY35" fmla="*/ 973494 h 2003425"/>
                <a:gd name="connsiteX36" fmla="*/ 837456 w 1674813"/>
                <a:gd name="connsiteY36" fmla="*/ 953327 h 2003425"/>
                <a:gd name="connsiteX37" fmla="*/ 823780 w 1674813"/>
                <a:gd name="connsiteY37" fmla="*/ 942451 h 2003425"/>
                <a:gd name="connsiteX38" fmla="*/ 894484 w 1674813"/>
                <a:gd name="connsiteY38" fmla="*/ 936890 h 2003425"/>
                <a:gd name="connsiteX39" fmla="*/ 894438 w 1674813"/>
                <a:gd name="connsiteY39" fmla="*/ 937121 h 2003425"/>
                <a:gd name="connsiteX40" fmla="*/ 894486 w 1674813"/>
                <a:gd name="connsiteY40" fmla="*/ 937182 h 2003425"/>
                <a:gd name="connsiteX41" fmla="*/ 796925 w 1674813"/>
                <a:gd name="connsiteY41" fmla="*/ 921094 h 2003425"/>
                <a:gd name="connsiteX42" fmla="*/ 809638 w 1674813"/>
                <a:gd name="connsiteY42" fmla="*/ 936259 h 2003425"/>
                <a:gd name="connsiteX43" fmla="*/ 812944 w 1674813"/>
                <a:gd name="connsiteY43" fmla="*/ 940203 h 2003425"/>
                <a:gd name="connsiteX44" fmla="*/ 812944 w 1674813"/>
                <a:gd name="connsiteY44" fmla="*/ 936890 h 2003425"/>
                <a:gd name="connsiteX45" fmla="*/ 812944 w 1674813"/>
                <a:gd name="connsiteY45" fmla="*/ 933833 h 2003425"/>
                <a:gd name="connsiteX46" fmla="*/ 861868 w 1674813"/>
                <a:gd name="connsiteY46" fmla="*/ 920751 h 2003425"/>
                <a:gd name="connsiteX47" fmla="*/ 859830 w 1674813"/>
                <a:gd name="connsiteY47" fmla="*/ 930838 h 2003425"/>
                <a:gd name="connsiteX48" fmla="*/ 855569 w 1674813"/>
                <a:gd name="connsiteY48" fmla="*/ 951924 h 2003425"/>
                <a:gd name="connsiteX49" fmla="*/ 868115 w 1674813"/>
                <a:gd name="connsiteY49" fmla="*/ 970631 h 2003425"/>
                <a:gd name="connsiteX50" fmla="*/ 870991 w 1674813"/>
                <a:gd name="connsiteY50" fmla="*/ 974919 h 2003425"/>
                <a:gd name="connsiteX51" fmla="*/ 870022 w 1674813"/>
                <a:gd name="connsiteY51" fmla="*/ 969170 h 2003425"/>
                <a:gd name="connsiteX52" fmla="*/ 861868 w 1674813"/>
                <a:gd name="connsiteY52" fmla="*/ 920751 h 2003425"/>
                <a:gd name="connsiteX53" fmla="*/ 471375 w 1674813"/>
                <a:gd name="connsiteY53" fmla="*/ 920751 h 2003425"/>
                <a:gd name="connsiteX54" fmla="*/ 485056 w 1674813"/>
                <a:gd name="connsiteY54" fmla="*/ 934368 h 2003425"/>
                <a:gd name="connsiteX55" fmla="*/ 487528 w 1674813"/>
                <a:gd name="connsiteY55" fmla="*/ 936828 h 2003425"/>
                <a:gd name="connsiteX56" fmla="*/ 482114 w 1674813"/>
                <a:gd name="connsiteY56" fmla="*/ 926095 h 2003425"/>
                <a:gd name="connsiteX57" fmla="*/ 877752 w 1674813"/>
                <a:gd name="connsiteY57" fmla="*/ 916389 h 2003425"/>
                <a:gd name="connsiteX58" fmla="*/ 883487 w 1674813"/>
                <a:gd name="connsiteY58" fmla="*/ 923515 h 2003425"/>
                <a:gd name="connsiteX59" fmla="*/ 918569 w 1674813"/>
                <a:gd name="connsiteY59" fmla="*/ 941770 h 2003425"/>
                <a:gd name="connsiteX60" fmla="*/ 900004 w 1674813"/>
                <a:gd name="connsiteY60" fmla="*/ 929036 h 2003425"/>
                <a:gd name="connsiteX61" fmla="*/ 254292 w 1674813"/>
                <a:gd name="connsiteY61" fmla="*/ 906846 h 2003425"/>
                <a:gd name="connsiteX62" fmla="*/ 222400 w 1674813"/>
                <a:gd name="connsiteY62" fmla="*/ 933939 h 2003425"/>
                <a:gd name="connsiteX63" fmla="*/ 243451 w 1674813"/>
                <a:gd name="connsiteY63" fmla="*/ 920667 h 2003425"/>
                <a:gd name="connsiteX64" fmla="*/ 259735 w 1674813"/>
                <a:gd name="connsiteY64" fmla="*/ 1017421 h 2003425"/>
                <a:gd name="connsiteX65" fmla="*/ 227166 w 1674813"/>
                <a:gd name="connsiteY65" fmla="*/ 936793 h 2003425"/>
                <a:gd name="connsiteX66" fmla="*/ 227166 w 1674813"/>
                <a:gd name="connsiteY66" fmla="*/ 1033547 h 2003425"/>
                <a:gd name="connsiteX67" fmla="*/ 194597 w 1674813"/>
                <a:gd name="connsiteY67" fmla="*/ 969044 h 2003425"/>
                <a:gd name="connsiteX68" fmla="*/ 210881 w 1674813"/>
                <a:gd name="connsiteY68" fmla="*/ 1049673 h 2003425"/>
                <a:gd name="connsiteX69" fmla="*/ 190271 w 1674813"/>
                <a:gd name="connsiteY69" fmla="*/ 1022461 h 2003425"/>
                <a:gd name="connsiteX70" fmla="*/ 162053 w 1674813"/>
                <a:gd name="connsiteY70" fmla="*/ 985204 h 2003425"/>
                <a:gd name="connsiteX71" fmla="*/ 162037 w 1674813"/>
                <a:gd name="connsiteY71" fmla="*/ 985217 h 2003425"/>
                <a:gd name="connsiteX72" fmla="*/ 164572 w 1674813"/>
                <a:gd name="connsiteY72" fmla="*/ 997768 h 2003425"/>
                <a:gd name="connsiteX73" fmla="*/ 178312 w 1674813"/>
                <a:gd name="connsiteY73" fmla="*/ 1065798 h 2003425"/>
                <a:gd name="connsiteX74" fmla="*/ 145742 w 1674813"/>
                <a:gd name="connsiteY74" fmla="*/ 1001296 h 2003425"/>
                <a:gd name="connsiteX75" fmla="*/ 145742 w 1674813"/>
                <a:gd name="connsiteY75" fmla="*/ 1081924 h 2003425"/>
                <a:gd name="connsiteX76" fmla="*/ 113173 w 1674813"/>
                <a:gd name="connsiteY76" fmla="*/ 1033547 h 2003425"/>
                <a:gd name="connsiteX77" fmla="*/ 113173 w 1674813"/>
                <a:gd name="connsiteY77" fmla="*/ 1098050 h 2003425"/>
                <a:gd name="connsiteX78" fmla="*/ 96888 w 1674813"/>
                <a:gd name="connsiteY78" fmla="*/ 1049673 h 2003425"/>
                <a:gd name="connsiteX79" fmla="*/ 96888 w 1674813"/>
                <a:gd name="connsiteY79" fmla="*/ 1098050 h 2003425"/>
                <a:gd name="connsiteX80" fmla="*/ 80604 w 1674813"/>
                <a:gd name="connsiteY80" fmla="*/ 1065798 h 2003425"/>
                <a:gd name="connsiteX81" fmla="*/ 64319 w 1674813"/>
                <a:gd name="connsiteY81" fmla="*/ 1114175 h 2003425"/>
                <a:gd name="connsiteX82" fmla="*/ 64319 w 1674813"/>
                <a:gd name="connsiteY82" fmla="*/ 1081924 h 2003425"/>
                <a:gd name="connsiteX83" fmla="*/ 48034 w 1674813"/>
                <a:gd name="connsiteY83" fmla="*/ 1114175 h 2003425"/>
                <a:gd name="connsiteX84" fmla="*/ 31750 w 1674813"/>
                <a:gd name="connsiteY84" fmla="*/ 1130301 h 2003425"/>
                <a:gd name="connsiteX85" fmla="*/ 48034 w 1674813"/>
                <a:gd name="connsiteY85" fmla="*/ 1098050 h 2003425"/>
                <a:gd name="connsiteX86" fmla="*/ 48055 w 1674813"/>
                <a:gd name="connsiteY86" fmla="*/ 1098012 h 2003425"/>
                <a:gd name="connsiteX87" fmla="*/ 47625 w 1674813"/>
                <a:gd name="connsiteY87" fmla="*/ 1098551 h 2003425"/>
                <a:gd name="connsiteX88" fmla="*/ 48203 w 1674813"/>
                <a:gd name="connsiteY88" fmla="*/ 1097741 h 2003425"/>
                <a:gd name="connsiteX89" fmla="*/ 69408 w 1674813"/>
                <a:gd name="connsiteY89" fmla="*/ 1058995 h 2003425"/>
                <a:gd name="connsiteX90" fmla="*/ 99324 w 1674813"/>
                <a:gd name="connsiteY90" fmla="*/ 1026143 h 2003425"/>
                <a:gd name="connsiteX91" fmla="*/ 101822 w 1674813"/>
                <a:gd name="connsiteY91" fmla="*/ 1022645 h 2003425"/>
                <a:gd name="connsiteX92" fmla="*/ 107230 w 1674813"/>
                <a:gd name="connsiteY92" fmla="*/ 1017462 h 2003425"/>
                <a:gd name="connsiteX93" fmla="*/ 109102 w 1674813"/>
                <a:gd name="connsiteY93" fmla="*/ 1015406 h 2003425"/>
                <a:gd name="connsiteX94" fmla="*/ 110789 w 1674813"/>
                <a:gd name="connsiteY94" fmla="*/ 1014050 h 2003425"/>
                <a:gd name="connsiteX95" fmla="*/ 163653 w 1674813"/>
                <a:gd name="connsiteY95" fmla="*/ 963382 h 2003425"/>
                <a:gd name="connsiteX96" fmla="*/ 228537 w 1674813"/>
                <a:gd name="connsiteY96" fmla="*/ 919250 h 2003425"/>
                <a:gd name="connsiteX97" fmla="*/ 829252 w 1674813"/>
                <a:gd name="connsiteY97" fmla="*/ 904611 h 2003425"/>
                <a:gd name="connsiteX98" fmla="*/ 828997 w 1674813"/>
                <a:gd name="connsiteY98" fmla="*/ 905872 h 2003425"/>
                <a:gd name="connsiteX99" fmla="*/ 827999 w 1674813"/>
                <a:gd name="connsiteY99" fmla="*/ 910814 h 2003425"/>
                <a:gd name="connsiteX100" fmla="*/ 831067 w 1674813"/>
                <a:gd name="connsiteY100" fmla="*/ 915390 h 2003425"/>
                <a:gd name="connsiteX101" fmla="*/ 829953 w 1674813"/>
                <a:gd name="connsiteY101" fmla="*/ 908772 h 2003425"/>
                <a:gd name="connsiteX102" fmla="*/ 829252 w 1674813"/>
                <a:gd name="connsiteY102" fmla="*/ 904611 h 2003425"/>
                <a:gd name="connsiteX103" fmla="*/ 600982 w 1674813"/>
                <a:gd name="connsiteY103" fmla="*/ 872173 h 2003425"/>
                <a:gd name="connsiteX104" fmla="*/ 598941 w 1674813"/>
                <a:gd name="connsiteY104" fmla="*/ 874197 h 2003425"/>
                <a:gd name="connsiteX105" fmla="*/ 596076 w 1674813"/>
                <a:gd name="connsiteY105" fmla="*/ 877038 h 2003425"/>
                <a:gd name="connsiteX106" fmla="*/ 599033 w 1674813"/>
                <a:gd name="connsiteY106" fmla="*/ 900493 h 2003425"/>
                <a:gd name="connsiteX107" fmla="*/ 600879 w 1674813"/>
                <a:gd name="connsiteY107" fmla="*/ 915130 h 2003425"/>
                <a:gd name="connsiteX108" fmla="*/ 600982 w 1674813"/>
                <a:gd name="connsiteY108" fmla="*/ 915943 h 2003425"/>
                <a:gd name="connsiteX109" fmla="*/ 600982 w 1674813"/>
                <a:gd name="connsiteY109" fmla="*/ 914678 h 2003425"/>
                <a:gd name="connsiteX110" fmla="*/ 600982 w 1674813"/>
                <a:gd name="connsiteY110" fmla="*/ 872173 h 2003425"/>
                <a:gd name="connsiteX111" fmla="*/ 36280 w 1674813"/>
                <a:gd name="connsiteY111" fmla="*/ 869393 h 2003425"/>
                <a:gd name="connsiteX112" fmla="*/ 34552 w 1674813"/>
                <a:gd name="connsiteY112" fmla="*/ 871109 h 2003425"/>
                <a:gd name="connsiteX113" fmla="*/ 32519 w 1674813"/>
                <a:gd name="connsiteY113" fmla="*/ 873126 h 2003425"/>
                <a:gd name="connsiteX114" fmla="*/ 335306 w 1674813"/>
                <a:gd name="connsiteY114" fmla="*/ 868711 h 2003425"/>
                <a:gd name="connsiteX115" fmla="*/ 291895 w 1674813"/>
                <a:gd name="connsiteY115" fmla="*/ 888736 h 2003425"/>
                <a:gd name="connsiteX116" fmla="*/ 254292 w 1674813"/>
                <a:gd name="connsiteY116" fmla="*/ 906846 h 2003425"/>
                <a:gd name="connsiteX117" fmla="*/ 275610 w 1674813"/>
                <a:gd name="connsiteY117" fmla="*/ 888736 h 2003425"/>
                <a:gd name="connsiteX118" fmla="*/ 764988 w 1674813"/>
                <a:gd name="connsiteY118" fmla="*/ 868077 h 2003425"/>
                <a:gd name="connsiteX119" fmla="*/ 764883 w 1674813"/>
                <a:gd name="connsiteY119" fmla="*/ 868492 h 2003425"/>
                <a:gd name="connsiteX120" fmla="*/ 794307 w 1674813"/>
                <a:gd name="connsiteY120" fmla="*/ 879301 h 2003425"/>
                <a:gd name="connsiteX121" fmla="*/ 794935 w 1674813"/>
                <a:gd name="connsiteY121" fmla="*/ 877700 h 2003425"/>
                <a:gd name="connsiteX122" fmla="*/ 755135 w 1674813"/>
                <a:gd name="connsiteY122" fmla="*/ 864910 h 2003425"/>
                <a:gd name="connsiteX123" fmla="*/ 763099 w 1674813"/>
                <a:gd name="connsiteY123" fmla="*/ 867836 h 2003425"/>
                <a:gd name="connsiteX124" fmla="*/ 763041 w 1674813"/>
                <a:gd name="connsiteY124" fmla="*/ 867451 h 2003425"/>
                <a:gd name="connsiteX125" fmla="*/ 715048 w 1674813"/>
                <a:gd name="connsiteY125" fmla="*/ 852029 h 2003425"/>
                <a:gd name="connsiteX126" fmla="*/ 715048 w 1674813"/>
                <a:gd name="connsiteY126" fmla="*/ 852445 h 2003425"/>
                <a:gd name="connsiteX127" fmla="*/ 719562 w 1674813"/>
                <a:gd name="connsiteY127" fmla="*/ 853479 h 2003425"/>
                <a:gd name="connsiteX128" fmla="*/ 861387 w 1674813"/>
                <a:gd name="connsiteY128" fmla="*/ 847994 h 2003425"/>
                <a:gd name="connsiteX129" fmla="*/ 861387 w 1674813"/>
                <a:gd name="connsiteY129" fmla="*/ 851539 h 2003425"/>
                <a:gd name="connsiteX130" fmla="*/ 861387 w 1674813"/>
                <a:gd name="connsiteY130" fmla="*/ 855771 h 2003425"/>
                <a:gd name="connsiteX131" fmla="*/ 878285 w 1674813"/>
                <a:gd name="connsiteY131" fmla="*/ 872568 h 2003425"/>
                <a:gd name="connsiteX132" fmla="*/ 893221 w 1674813"/>
                <a:gd name="connsiteY132" fmla="*/ 887416 h 2003425"/>
                <a:gd name="connsiteX133" fmla="*/ 888825 w 1674813"/>
                <a:gd name="connsiteY133" fmla="*/ 878711 h 2003425"/>
                <a:gd name="connsiteX134" fmla="*/ 877647 w 1674813"/>
                <a:gd name="connsiteY134" fmla="*/ 856571 h 2003425"/>
                <a:gd name="connsiteX135" fmla="*/ 877313 w 1674813"/>
                <a:gd name="connsiteY135" fmla="*/ 855910 h 2003425"/>
                <a:gd name="connsiteX136" fmla="*/ 695856 w 1674813"/>
                <a:gd name="connsiteY136" fmla="*/ 846027 h 2003425"/>
                <a:gd name="connsiteX137" fmla="*/ 696756 w 1674813"/>
                <a:gd name="connsiteY137" fmla="*/ 846151 h 2003425"/>
                <a:gd name="connsiteX138" fmla="*/ 697987 w 1674813"/>
                <a:gd name="connsiteY138" fmla="*/ 846546 h 2003425"/>
                <a:gd name="connsiteX139" fmla="*/ 926426 w 1674813"/>
                <a:gd name="connsiteY139" fmla="*/ 840469 h 2003425"/>
                <a:gd name="connsiteX140" fmla="*/ 910166 w 1674813"/>
                <a:gd name="connsiteY140" fmla="*/ 888774 h 2003425"/>
                <a:gd name="connsiteX141" fmla="*/ 907626 w 1674813"/>
                <a:gd name="connsiteY141" fmla="*/ 878711 h 2003425"/>
                <a:gd name="connsiteX142" fmla="*/ 905393 w 1674813"/>
                <a:gd name="connsiteY142" fmla="*/ 869867 h 2003425"/>
                <a:gd name="connsiteX143" fmla="*/ 902692 w 1674813"/>
                <a:gd name="connsiteY143" fmla="*/ 868524 h 2003425"/>
                <a:gd name="connsiteX144" fmla="*/ 893907 w 1674813"/>
                <a:gd name="connsiteY144" fmla="*/ 864158 h 2003425"/>
                <a:gd name="connsiteX145" fmla="*/ 893907 w 1674813"/>
                <a:gd name="connsiteY145" fmla="*/ 888098 h 2003425"/>
                <a:gd name="connsiteX146" fmla="*/ 900658 w 1674813"/>
                <a:gd name="connsiteY146" fmla="*/ 894809 h 2003425"/>
                <a:gd name="connsiteX147" fmla="*/ 910828 w 1674813"/>
                <a:gd name="connsiteY147" fmla="*/ 904919 h 2003425"/>
                <a:gd name="connsiteX148" fmla="*/ 876505 w 1674813"/>
                <a:gd name="connsiteY148" fmla="*/ 884447 h 2003425"/>
                <a:gd name="connsiteX149" fmla="*/ 861387 w 1674813"/>
                <a:gd name="connsiteY149" fmla="*/ 875430 h 2003425"/>
                <a:gd name="connsiteX150" fmla="*/ 861387 w 1674813"/>
                <a:gd name="connsiteY150" fmla="*/ 888774 h 2003425"/>
                <a:gd name="connsiteX151" fmla="*/ 858846 w 1674813"/>
                <a:gd name="connsiteY151" fmla="*/ 876195 h 2003425"/>
                <a:gd name="connsiteX152" fmla="*/ 858323 w 1674813"/>
                <a:gd name="connsiteY152" fmla="*/ 873602 h 2003425"/>
                <a:gd name="connsiteX153" fmla="*/ 856324 w 1674813"/>
                <a:gd name="connsiteY153" fmla="*/ 872410 h 2003425"/>
                <a:gd name="connsiteX154" fmla="*/ 834769 w 1674813"/>
                <a:gd name="connsiteY154" fmla="*/ 859554 h 2003425"/>
                <a:gd name="connsiteX155" fmla="*/ 834216 w 1674813"/>
                <a:gd name="connsiteY155" fmla="*/ 862292 h 2003425"/>
                <a:gd name="connsiteX156" fmla="*/ 839639 w 1674813"/>
                <a:gd name="connsiteY156" fmla="*/ 869030 h 2003425"/>
                <a:gd name="connsiteX157" fmla="*/ 862013 w 1674813"/>
                <a:gd name="connsiteY157" fmla="*/ 896831 h 2003425"/>
                <a:gd name="connsiteX158" fmla="*/ 873008 w 1674813"/>
                <a:gd name="connsiteY158" fmla="*/ 910494 h 2003425"/>
                <a:gd name="connsiteX159" fmla="*/ 929761 w 1674813"/>
                <a:gd name="connsiteY159" fmla="*/ 938638 h 2003425"/>
                <a:gd name="connsiteX160" fmla="*/ 934244 w 1674813"/>
                <a:gd name="connsiteY160" fmla="*/ 942016 h 2003425"/>
                <a:gd name="connsiteX161" fmla="*/ 937337 w 1674813"/>
                <a:gd name="connsiteY161" fmla="*/ 910172 h 2003425"/>
                <a:gd name="connsiteX162" fmla="*/ 940149 w 1674813"/>
                <a:gd name="connsiteY162" fmla="*/ 881236 h 2003425"/>
                <a:gd name="connsiteX163" fmla="*/ 940146 w 1674813"/>
                <a:gd name="connsiteY163" fmla="*/ 881227 h 2003425"/>
                <a:gd name="connsiteX164" fmla="*/ 926426 w 1674813"/>
                <a:gd name="connsiteY164" fmla="*/ 840469 h 2003425"/>
                <a:gd name="connsiteX165" fmla="*/ 845741 w 1674813"/>
                <a:gd name="connsiteY165" fmla="*/ 840217 h 2003425"/>
                <a:gd name="connsiteX166" fmla="*/ 853047 w 1674813"/>
                <a:gd name="connsiteY166" fmla="*/ 847480 h 2003425"/>
                <a:gd name="connsiteX167" fmla="*/ 852232 w 1674813"/>
                <a:gd name="connsiteY167" fmla="*/ 843444 h 2003425"/>
                <a:gd name="connsiteX168" fmla="*/ 600941 w 1674813"/>
                <a:gd name="connsiteY168" fmla="*/ 840053 h 2003425"/>
                <a:gd name="connsiteX169" fmla="*/ 602979 w 1674813"/>
                <a:gd name="connsiteY169" fmla="*/ 844088 h 2003425"/>
                <a:gd name="connsiteX170" fmla="*/ 607121 w 1674813"/>
                <a:gd name="connsiteY170" fmla="*/ 852285 h 2003425"/>
                <a:gd name="connsiteX171" fmla="*/ 609656 w 1674813"/>
                <a:gd name="connsiteY171" fmla="*/ 853451 h 2003425"/>
                <a:gd name="connsiteX172" fmla="*/ 621023 w 1674813"/>
                <a:gd name="connsiteY172" fmla="*/ 862324 h 2003425"/>
                <a:gd name="connsiteX173" fmla="*/ 614203 w 1674813"/>
                <a:gd name="connsiteY173" fmla="*/ 848803 h 2003425"/>
                <a:gd name="connsiteX174" fmla="*/ 471436 w 1674813"/>
                <a:gd name="connsiteY174" fmla="*/ 840039 h 2003425"/>
                <a:gd name="connsiteX175" fmla="*/ 464566 w 1674813"/>
                <a:gd name="connsiteY175" fmla="*/ 860448 h 2003425"/>
                <a:gd name="connsiteX176" fmla="*/ 458095 w 1674813"/>
                <a:gd name="connsiteY176" fmla="*/ 879670 h 2003425"/>
                <a:gd name="connsiteX177" fmla="*/ 459518 w 1674813"/>
                <a:gd name="connsiteY177" fmla="*/ 878389 h 2003425"/>
                <a:gd name="connsiteX178" fmla="*/ 471436 w 1674813"/>
                <a:gd name="connsiteY178" fmla="*/ 866890 h 2003425"/>
                <a:gd name="connsiteX179" fmla="*/ 471436 w 1674813"/>
                <a:gd name="connsiteY179" fmla="*/ 858684 h 2003425"/>
                <a:gd name="connsiteX180" fmla="*/ 471436 w 1674813"/>
                <a:gd name="connsiteY180" fmla="*/ 840039 h 2003425"/>
                <a:gd name="connsiteX181" fmla="*/ 560711 w 1674813"/>
                <a:gd name="connsiteY181" fmla="*/ 839656 h 2003425"/>
                <a:gd name="connsiteX182" fmla="*/ 558178 w 1674813"/>
                <a:gd name="connsiteY182" fmla="*/ 839788 h 2003425"/>
                <a:gd name="connsiteX183" fmla="*/ 560778 w 1674813"/>
                <a:gd name="connsiteY183" fmla="*/ 839788 h 2003425"/>
                <a:gd name="connsiteX184" fmla="*/ 632112 w 1674813"/>
                <a:gd name="connsiteY184" fmla="*/ 837227 h 2003425"/>
                <a:gd name="connsiteX185" fmla="*/ 633537 w 1674813"/>
                <a:gd name="connsiteY185" fmla="*/ 840049 h 2003425"/>
                <a:gd name="connsiteX186" fmla="*/ 633557 w 1674813"/>
                <a:gd name="connsiteY186" fmla="*/ 840053 h 2003425"/>
                <a:gd name="connsiteX187" fmla="*/ 649865 w 1674813"/>
                <a:gd name="connsiteY187" fmla="*/ 872332 h 2003425"/>
                <a:gd name="connsiteX188" fmla="*/ 643749 w 1674813"/>
                <a:gd name="connsiteY188" fmla="*/ 868297 h 2003425"/>
                <a:gd name="connsiteX189" fmla="*/ 629959 w 1674813"/>
                <a:gd name="connsiteY189" fmla="*/ 859199 h 2003425"/>
                <a:gd name="connsiteX190" fmla="*/ 631600 w 1674813"/>
                <a:gd name="connsiteY190" fmla="*/ 870581 h 2003425"/>
                <a:gd name="connsiteX191" fmla="*/ 633639 w 1674813"/>
                <a:gd name="connsiteY191" fmla="*/ 872173 h 2003425"/>
                <a:gd name="connsiteX192" fmla="*/ 671240 w 1674813"/>
                <a:gd name="connsiteY192" fmla="*/ 922269 h 2003425"/>
                <a:gd name="connsiteX193" fmla="*/ 674610 w 1674813"/>
                <a:gd name="connsiteY193" fmla="*/ 928371 h 2003425"/>
                <a:gd name="connsiteX194" fmla="*/ 678543 w 1674813"/>
                <a:gd name="connsiteY194" fmla="*/ 932856 h 2003425"/>
                <a:gd name="connsiteX195" fmla="*/ 731610 w 1674813"/>
                <a:gd name="connsiteY195" fmla="*/ 1017588 h 2003425"/>
                <a:gd name="connsiteX196" fmla="*/ 706428 w 1674813"/>
                <a:gd name="connsiteY196" fmla="*/ 985970 h 2003425"/>
                <a:gd name="connsiteX197" fmla="*/ 714006 w 1674813"/>
                <a:gd name="connsiteY197" fmla="*/ 999689 h 2003425"/>
                <a:gd name="connsiteX198" fmla="*/ 715084 w 1674813"/>
                <a:gd name="connsiteY198" fmla="*/ 1001811 h 2003425"/>
                <a:gd name="connsiteX199" fmla="*/ 714261 w 1674813"/>
                <a:gd name="connsiteY199" fmla="*/ 1002219 h 2003425"/>
                <a:gd name="connsiteX200" fmla="*/ 649968 w 1674813"/>
                <a:gd name="connsiteY200" fmla="*/ 1034098 h 2003425"/>
                <a:gd name="connsiteX201" fmla="*/ 682625 w 1674813"/>
                <a:gd name="connsiteY201" fmla="*/ 985521 h 2003425"/>
                <a:gd name="connsiteX202" fmla="*/ 649968 w 1674813"/>
                <a:gd name="connsiteY202" fmla="*/ 1017906 h 2003425"/>
                <a:gd name="connsiteX203" fmla="*/ 682625 w 1674813"/>
                <a:gd name="connsiteY203" fmla="*/ 969328 h 2003425"/>
                <a:gd name="connsiteX204" fmla="*/ 633639 w 1674813"/>
                <a:gd name="connsiteY204" fmla="*/ 985521 h 2003425"/>
                <a:gd name="connsiteX205" fmla="*/ 666296 w 1674813"/>
                <a:gd name="connsiteY205" fmla="*/ 953136 h 2003425"/>
                <a:gd name="connsiteX206" fmla="*/ 633639 w 1674813"/>
                <a:gd name="connsiteY206" fmla="*/ 969328 h 2003425"/>
                <a:gd name="connsiteX207" fmla="*/ 649968 w 1674813"/>
                <a:gd name="connsiteY207" fmla="*/ 936943 h 2003425"/>
                <a:gd name="connsiteX208" fmla="*/ 617310 w 1674813"/>
                <a:gd name="connsiteY208" fmla="*/ 953136 h 2003425"/>
                <a:gd name="connsiteX209" fmla="*/ 633639 w 1674813"/>
                <a:gd name="connsiteY209" fmla="*/ 904558 h 2003425"/>
                <a:gd name="connsiteX210" fmla="*/ 600982 w 1674813"/>
                <a:gd name="connsiteY210" fmla="*/ 936943 h 2003425"/>
                <a:gd name="connsiteX211" fmla="*/ 617310 w 1674813"/>
                <a:gd name="connsiteY211" fmla="*/ 888366 h 2003425"/>
                <a:gd name="connsiteX212" fmla="*/ 610422 w 1674813"/>
                <a:gd name="connsiteY212" fmla="*/ 902028 h 2003425"/>
                <a:gd name="connsiteX213" fmla="*/ 601467 w 1674813"/>
                <a:gd name="connsiteY213" fmla="*/ 919789 h 2003425"/>
                <a:gd name="connsiteX214" fmla="*/ 601579 w 1674813"/>
                <a:gd name="connsiteY214" fmla="*/ 920682 h 2003425"/>
                <a:gd name="connsiteX215" fmla="*/ 601298 w 1674813"/>
                <a:gd name="connsiteY215" fmla="*/ 920124 h 2003425"/>
                <a:gd name="connsiteX216" fmla="*/ 600982 w 1674813"/>
                <a:gd name="connsiteY216" fmla="*/ 920751 h 2003425"/>
                <a:gd name="connsiteX217" fmla="*/ 600982 w 1674813"/>
                <a:gd name="connsiteY217" fmla="*/ 919992 h 2003425"/>
                <a:gd name="connsiteX218" fmla="*/ 600982 w 1674813"/>
                <a:gd name="connsiteY218" fmla="*/ 919497 h 2003425"/>
                <a:gd name="connsiteX219" fmla="*/ 600816 w 1674813"/>
                <a:gd name="connsiteY219" fmla="*/ 919168 h 2003425"/>
                <a:gd name="connsiteX220" fmla="*/ 595469 w 1674813"/>
                <a:gd name="connsiteY220" fmla="*/ 908568 h 2003425"/>
                <a:gd name="connsiteX221" fmla="*/ 585071 w 1674813"/>
                <a:gd name="connsiteY221" fmla="*/ 887952 h 2003425"/>
                <a:gd name="connsiteX222" fmla="*/ 584653 w 1674813"/>
                <a:gd name="connsiteY222" fmla="*/ 888366 h 2003425"/>
                <a:gd name="connsiteX223" fmla="*/ 583402 w 1674813"/>
                <a:gd name="connsiteY223" fmla="*/ 884644 h 2003425"/>
                <a:gd name="connsiteX224" fmla="*/ 580959 w 1674813"/>
                <a:gd name="connsiteY224" fmla="*/ 879799 h 2003425"/>
                <a:gd name="connsiteX225" fmla="*/ 568835 w 1674813"/>
                <a:gd name="connsiteY225" fmla="*/ 855762 h 2003425"/>
                <a:gd name="connsiteX226" fmla="*/ 567971 w 1674813"/>
                <a:gd name="connsiteY226" fmla="*/ 854050 h 2003425"/>
                <a:gd name="connsiteX227" fmla="*/ 567948 w 1674813"/>
                <a:gd name="connsiteY227" fmla="*/ 854333 h 2003425"/>
                <a:gd name="connsiteX228" fmla="*/ 564504 w 1674813"/>
                <a:gd name="connsiteY228" fmla="*/ 897143 h 2003425"/>
                <a:gd name="connsiteX229" fmla="*/ 564063 w 1674813"/>
                <a:gd name="connsiteY229" fmla="*/ 902618 h 2003425"/>
                <a:gd name="connsiteX230" fmla="*/ 566448 w 1674813"/>
                <a:gd name="connsiteY230" fmla="*/ 919167 h 2003425"/>
                <a:gd name="connsiteX231" fmla="*/ 568994 w 1674813"/>
                <a:gd name="connsiteY231" fmla="*/ 936833 h 2003425"/>
                <a:gd name="connsiteX232" fmla="*/ 562884 w 1674813"/>
                <a:gd name="connsiteY232" fmla="*/ 926738 h 2003425"/>
                <a:gd name="connsiteX233" fmla="*/ 562212 w 1674813"/>
                <a:gd name="connsiteY233" fmla="*/ 925627 h 2003425"/>
                <a:gd name="connsiteX234" fmla="*/ 561468 w 1674813"/>
                <a:gd name="connsiteY234" fmla="*/ 934870 h 2003425"/>
                <a:gd name="connsiteX235" fmla="*/ 536575 w 1674813"/>
                <a:gd name="connsiteY235" fmla="*/ 1244223 h 2003425"/>
                <a:gd name="connsiteX236" fmla="*/ 536575 w 1674813"/>
                <a:gd name="connsiteY236" fmla="*/ 1438351 h 2003425"/>
                <a:gd name="connsiteX237" fmla="*/ 580179 w 1674813"/>
                <a:gd name="connsiteY237" fmla="*/ 1720128 h 2003425"/>
                <a:gd name="connsiteX238" fmla="*/ 590977 w 1674813"/>
                <a:gd name="connsiteY238" fmla="*/ 1789912 h 2003425"/>
                <a:gd name="connsiteX239" fmla="*/ 647156 w 1674813"/>
                <a:gd name="connsiteY239" fmla="*/ 1782403 h 2003425"/>
                <a:gd name="connsiteX240" fmla="*/ 748311 w 1674813"/>
                <a:gd name="connsiteY240" fmla="*/ 1778000 h 2003425"/>
                <a:gd name="connsiteX241" fmla="*/ 944775 w 1674813"/>
                <a:gd name="connsiteY241" fmla="*/ 1795108 h 2003425"/>
                <a:gd name="connsiteX242" fmla="*/ 947991 w 1674813"/>
                <a:gd name="connsiteY242" fmla="*/ 1795848 h 2003425"/>
                <a:gd name="connsiteX243" fmla="*/ 939370 w 1674813"/>
                <a:gd name="connsiteY243" fmla="*/ 1704254 h 2003425"/>
                <a:gd name="connsiteX244" fmla="*/ 911225 w 1674813"/>
                <a:gd name="connsiteY244" fmla="*/ 1405227 h 2003425"/>
                <a:gd name="connsiteX245" fmla="*/ 911225 w 1674813"/>
                <a:gd name="connsiteY245" fmla="*/ 1178936 h 2003425"/>
                <a:gd name="connsiteX246" fmla="*/ 923110 w 1674813"/>
                <a:gd name="connsiteY246" fmla="*/ 1056604 h 2003425"/>
                <a:gd name="connsiteX247" fmla="*/ 927100 w 1674813"/>
                <a:gd name="connsiteY247" fmla="*/ 1015538 h 2003425"/>
                <a:gd name="connsiteX248" fmla="*/ 927100 w 1674813"/>
                <a:gd name="connsiteY248" fmla="*/ 1009519 h 2003425"/>
                <a:gd name="connsiteX249" fmla="*/ 927100 w 1674813"/>
                <a:gd name="connsiteY249" fmla="*/ 969170 h 2003425"/>
                <a:gd name="connsiteX250" fmla="*/ 910792 w 1674813"/>
                <a:gd name="connsiteY250" fmla="*/ 1033728 h 2003425"/>
                <a:gd name="connsiteX251" fmla="*/ 894516 w 1674813"/>
                <a:gd name="connsiteY251" fmla="*/ 941051 h 2003425"/>
                <a:gd name="connsiteX252" fmla="*/ 894487 w 1674813"/>
                <a:gd name="connsiteY252" fmla="*/ 937228 h 2003425"/>
                <a:gd name="connsiteX253" fmla="*/ 894424 w 1674813"/>
                <a:gd name="connsiteY253" fmla="*/ 937190 h 2003425"/>
                <a:gd name="connsiteX254" fmla="*/ 894229 w 1674813"/>
                <a:gd name="connsiteY254" fmla="*/ 938151 h 2003425"/>
                <a:gd name="connsiteX255" fmla="*/ 878176 w 1674813"/>
                <a:gd name="connsiteY255" fmla="*/ 1017588 h 2003425"/>
                <a:gd name="connsiteX256" fmla="*/ 875628 w 1674813"/>
                <a:gd name="connsiteY256" fmla="*/ 1002458 h 2003425"/>
                <a:gd name="connsiteX257" fmla="*/ 871977 w 1674813"/>
                <a:gd name="connsiteY257" fmla="*/ 980780 h 2003425"/>
                <a:gd name="connsiteX258" fmla="*/ 868115 w 1674813"/>
                <a:gd name="connsiteY258" fmla="*/ 977708 h 2003425"/>
                <a:gd name="connsiteX259" fmla="*/ 852817 w 1674813"/>
                <a:gd name="connsiteY259" fmla="*/ 965542 h 2003425"/>
                <a:gd name="connsiteX260" fmla="*/ 849198 w 1674813"/>
                <a:gd name="connsiteY260" fmla="*/ 983449 h 2003425"/>
                <a:gd name="connsiteX261" fmla="*/ 865572 w 1674813"/>
                <a:gd name="connsiteY261" fmla="*/ 1002982 h 2003425"/>
                <a:gd name="connsiteX262" fmla="*/ 878285 w 1674813"/>
                <a:gd name="connsiteY262" fmla="*/ 1018146 h 2003425"/>
                <a:gd name="connsiteX263" fmla="*/ 866081 w 1674813"/>
                <a:gd name="connsiteY263" fmla="*/ 1010058 h 2003425"/>
                <a:gd name="connsiteX264" fmla="*/ 846449 w 1674813"/>
                <a:gd name="connsiteY264" fmla="*/ 997049 h 2003425"/>
                <a:gd name="connsiteX265" fmla="*/ 845560 w 1674813"/>
                <a:gd name="connsiteY265" fmla="*/ 1001449 h 2003425"/>
                <a:gd name="connsiteX266" fmla="*/ 844860 w 1674813"/>
                <a:gd name="connsiteY266" fmla="*/ 997288 h 2003425"/>
                <a:gd name="connsiteX267" fmla="*/ 844614 w 1674813"/>
                <a:gd name="connsiteY267" fmla="*/ 995833 h 2003425"/>
                <a:gd name="connsiteX268" fmla="*/ 837096 w 1674813"/>
                <a:gd name="connsiteY268" fmla="*/ 990850 h 2003425"/>
                <a:gd name="connsiteX269" fmla="*/ 814809 w 1674813"/>
                <a:gd name="connsiteY269" fmla="*/ 976080 h 2003425"/>
                <a:gd name="connsiteX270" fmla="*/ 812944 w 1674813"/>
                <a:gd name="connsiteY270" fmla="*/ 985309 h 2003425"/>
                <a:gd name="connsiteX271" fmla="*/ 812944 w 1674813"/>
                <a:gd name="connsiteY271" fmla="*/ 981148 h 2003425"/>
                <a:gd name="connsiteX272" fmla="*/ 812944 w 1674813"/>
                <a:gd name="connsiteY272" fmla="*/ 974844 h 2003425"/>
                <a:gd name="connsiteX273" fmla="*/ 812879 w 1674813"/>
                <a:gd name="connsiteY273" fmla="*/ 974801 h 2003425"/>
                <a:gd name="connsiteX274" fmla="*/ 780653 w 1674813"/>
                <a:gd name="connsiteY274" fmla="*/ 953445 h 2003425"/>
                <a:gd name="connsiteX275" fmla="*/ 862013 w 1674813"/>
                <a:gd name="connsiteY275" fmla="*/ 1050497 h 2003425"/>
                <a:gd name="connsiteX276" fmla="*/ 780653 w 1674813"/>
                <a:gd name="connsiteY276" fmla="*/ 1001971 h 2003425"/>
                <a:gd name="connsiteX277" fmla="*/ 845741 w 1674813"/>
                <a:gd name="connsiteY277" fmla="*/ 1082848 h 2003425"/>
                <a:gd name="connsiteX278" fmla="*/ 764382 w 1674813"/>
                <a:gd name="connsiteY278" fmla="*/ 1034322 h 2003425"/>
                <a:gd name="connsiteX279" fmla="*/ 829469 w 1674813"/>
                <a:gd name="connsiteY279" fmla="*/ 1099023 h 2003425"/>
                <a:gd name="connsiteX280" fmla="*/ 774965 w 1674813"/>
                <a:gd name="connsiteY280" fmla="*/ 1077350 h 2003425"/>
                <a:gd name="connsiteX281" fmla="*/ 754306 w 1674813"/>
                <a:gd name="connsiteY281" fmla="*/ 1069136 h 2003425"/>
                <a:gd name="connsiteX282" fmla="*/ 755593 w 1674813"/>
                <a:gd name="connsiteY282" fmla="*/ 1072060 h 2003425"/>
                <a:gd name="connsiteX283" fmla="*/ 756531 w 1674813"/>
                <a:gd name="connsiteY283" fmla="*/ 1075043 h 2003425"/>
                <a:gd name="connsiteX284" fmla="*/ 758280 w 1674813"/>
                <a:gd name="connsiteY284" fmla="*/ 1076782 h 2003425"/>
                <a:gd name="connsiteX285" fmla="*/ 813197 w 1674813"/>
                <a:gd name="connsiteY285" fmla="*/ 1131374 h 2003425"/>
                <a:gd name="connsiteX286" fmla="*/ 785738 w 1674813"/>
                <a:gd name="connsiteY286" fmla="*/ 1124550 h 2003425"/>
                <a:gd name="connsiteX287" fmla="*/ 770932 w 1674813"/>
                <a:gd name="connsiteY287" fmla="*/ 1120870 h 2003425"/>
                <a:gd name="connsiteX288" fmla="*/ 776514 w 1674813"/>
                <a:gd name="connsiteY288" fmla="*/ 1138635 h 2003425"/>
                <a:gd name="connsiteX289" fmla="*/ 777624 w 1674813"/>
                <a:gd name="connsiteY289" fmla="*/ 1144538 h 2003425"/>
                <a:gd name="connsiteX290" fmla="*/ 789298 w 1674813"/>
                <a:gd name="connsiteY290" fmla="*/ 1156142 h 2003425"/>
                <a:gd name="connsiteX291" fmla="*/ 796925 w 1674813"/>
                <a:gd name="connsiteY291" fmla="*/ 1163724 h 2003425"/>
                <a:gd name="connsiteX292" fmla="*/ 790823 w 1674813"/>
                <a:gd name="connsiteY292" fmla="*/ 1161702 h 2003425"/>
                <a:gd name="connsiteX293" fmla="*/ 780498 w 1674813"/>
                <a:gd name="connsiteY293" fmla="*/ 1158281 h 2003425"/>
                <a:gd name="connsiteX294" fmla="*/ 790802 w 1674813"/>
                <a:gd name="connsiteY294" fmla="*/ 1206143 h 2003425"/>
                <a:gd name="connsiteX295" fmla="*/ 796159 w 1674813"/>
                <a:gd name="connsiteY295" fmla="*/ 1264588 h 2003425"/>
                <a:gd name="connsiteX296" fmla="*/ 796895 w 1674813"/>
                <a:gd name="connsiteY296" fmla="*/ 1307616 h 2003425"/>
                <a:gd name="connsiteX297" fmla="*/ 796925 w 1674813"/>
                <a:gd name="connsiteY297" fmla="*/ 1308101 h 2003425"/>
                <a:gd name="connsiteX298" fmla="*/ 796901 w 1674813"/>
                <a:gd name="connsiteY298" fmla="*/ 1307984 h 2003425"/>
                <a:gd name="connsiteX299" fmla="*/ 796925 w 1674813"/>
                <a:gd name="connsiteY299" fmla="*/ 1309371 h 2003425"/>
                <a:gd name="connsiteX300" fmla="*/ 780596 w 1674813"/>
                <a:gd name="connsiteY300" fmla="*/ 1325563 h 2003425"/>
                <a:gd name="connsiteX301" fmla="*/ 780596 w 1674813"/>
                <a:gd name="connsiteY301" fmla="*/ 1276986 h 2003425"/>
                <a:gd name="connsiteX302" fmla="*/ 764268 w 1674813"/>
                <a:gd name="connsiteY302" fmla="*/ 1309371 h 2003425"/>
                <a:gd name="connsiteX303" fmla="*/ 780596 w 1674813"/>
                <a:gd name="connsiteY303" fmla="*/ 1260793 h 2003425"/>
                <a:gd name="connsiteX304" fmla="*/ 747939 w 1674813"/>
                <a:gd name="connsiteY304" fmla="*/ 1276986 h 2003425"/>
                <a:gd name="connsiteX305" fmla="*/ 764268 w 1674813"/>
                <a:gd name="connsiteY305" fmla="*/ 1244601 h 2003425"/>
                <a:gd name="connsiteX306" fmla="*/ 747939 w 1674813"/>
                <a:gd name="connsiteY306" fmla="*/ 1260793 h 2003425"/>
                <a:gd name="connsiteX307" fmla="*/ 756104 w 1674813"/>
                <a:gd name="connsiteY307" fmla="*/ 1236504 h 2003425"/>
                <a:gd name="connsiteX308" fmla="*/ 760212 w 1674813"/>
                <a:gd name="connsiteY308" fmla="*/ 1224281 h 2003425"/>
                <a:gd name="connsiteX309" fmla="*/ 753464 w 1674813"/>
                <a:gd name="connsiteY309" fmla="*/ 1217573 h 2003425"/>
                <a:gd name="connsiteX310" fmla="*/ 750490 w 1674813"/>
                <a:gd name="connsiteY310" fmla="*/ 1219047 h 2003425"/>
                <a:gd name="connsiteX311" fmla="*/ 741102 w 1674813"/>
                <a:gd name="connsiteY311" fmla="*/ 1223702 h 2003425"/>
                <a:gd name="connsiteX312" fmla="*/ 748110 w 1674813"/>
                <a:gd name="connsiteY312" fmla="*/ 1244601 h 2003425"/>
                <a:gd name="connsiteX313" fmla="*/ 741245 w 1674813"/>
                <a:gd name="connsiteY313" fmla="*/ 1230953 h 2003425"/>
                <a:gd name="connsiteX314" fmla="*/ 738297 w 1674813"/>
                <a:gd name="connsiteY314" fmla="*/ 1225093 h 2003425"/>
                <a:gd name="connsiteX315" fmla="*/ 731610 w 1674813"/>
                <a:gd name="connsiteY315" fmla="*/ 1228408 h 2003425"/>
                <a:gd name="connsiteX316" fmla="*/ 736389 w 1674813"/>
                <a:gd name="connsiteY316" fmla="*/ 1221299 h 2003425"/>
                <a:gd name="connsiteX317" fmla="*/ 731838 w 1674813"/>
                <a:gd name="connsiteY317" fmla="*/ 1212250 h 2003425"/>
                <a:gd name="connsiteX318" fmla="*/ 732015 w 1674813"/>
                <a:gd name="connsiteY318" fmla="*/ 1201153 h 2003425"/>
                <a:gd name="connsiteX319" fmla="*/ 715282 w 1674813"/>
                <a:gd name="connsiteY319" fmla="*/ 1212216 h 2003425"/>
                <a:gd name="connsiteX320" fmla="*/ 722936 w 1674813"/>
                <a:gd name="connsiteY320" fmla="*/ 1202095 h 2003425"/>
                <a:gd name="connsiteX321" fmla="*/ 731931 w 1674813"/>
                <a:gd name="connsiteY321" fmla="*/ 1190201 h 2003425"/>
                <a:gd name="connsiteX322" fmla="*/ 731604 w 1674813"/>
                <a:gd name="connsiteY322" fmla="*/ 1163641 h 2003425"/>
                <a:gd name="connsiteX323" fmla="*/ 698953 w 1674813"/>
                <a:gd name="connsiteY323" fmla="*/ 1179831 h 2003425"/>
                <a:gd name="connsiteX324" fmla="*/ 723446 w 1674813"/>
                <a:gd name="connsiteY324" fmla="*/ 1155542 h 2003425"/>
                <a:gd name="connsiteX325" fmla="*/ 731407 w 1674813"/>
                <a:gd name="connsiteY325" fmla="*/ 1147648 h 2003425"/>
                <a:gd name="connsiteX326" fmla="*/ 731307 w 1674813"/>
                <a:gd name="connsiteY326" fmla="*/ 1139500 h 2003425"/>
                <a:gd name="connsiteX327" fmla="*/ 720385 w 1674813"/>
                <a:gd name="connsiteY327" fmla="*/ 1144916 h 2003425"/>
                <a:gd name="connsiteX328" fmla="*/ 682625 w 1674813"/>
                <a:gd name="connsiteY328" fmla="*/ 1163638 h 2003425"/>
                <a:gd name="connsiteX329" fmla="*/ 703291 w 1674813"/>
                <a:gd name="connsiteY329" fmla="*/ 1138021 h 2003425"/>
                <a:gd name="connsiteX330" fmla="*/ 731906 w 1674813"/>
                <a:gd name="connsiteY330" fmla="*/ 1102550 h 2003425"/>
                <a:gd name="connsiteX331" fmla="*/ 733456 w 1674813"/>
                <a:gd name="connsiteY331" fmla="*/ 1093447 h 2003425"/>
                <a:gd name="connsiteX332" fmla="*/ 720385 w 1674813"/>
                <a:gd name="connsiteY332" fmla="*/ 1103169 h 2003425"/>
                <a:gd name="connsiteX333" fmla="*/ 682625 w 1674813"/>
                <a:gd name="connsiteY333" fmla="*/ 1131253 h 2003425"/>
                <a:gd name="connsiteX334" fmla="*/ 731610 w 1674813"/>
                <a:gd name="connsiteY334" fmla="*/ 1066483 h 2003425"/>
                <a:gd name="connsiteX335" fmla="*/ 666296 w 1674813"/>
                <a:gd name="connsiteY335" fmla="*/ 1115061 h 2003425"/>
                <a:gd name="connsiteX336" fmla="*/ 715282 w 1674813"/>
                <a:gd name="connsiteY336" fmla="*/ 1034098 h 2003425"/>
                <a:gd name="connsiteX337" fmla="*/ 666296 w 1674813"/>
                <a:gd name="connsiteY337" fmla="*/ 1082676 h 2003425"/>
                <a:gd name="connsiteX338" fmla="*/ 705332 w 1674813"/>
                <a:gd name="connsiteY338" fmla="*/ 1012086 h 2003425"/>
                <a:gd name="connsiteX339" fmla="*/ 715120 w 1674813"/>
                <a:gd name="connsiteY339" fmla="*/ 1001882 h 2003425"/>
                <a:gd name="connsiteX340" fmla="*/ 740531 w 1674813"/>
                <a:gd name="connsiteY340" fmla="*/ 1051901 h 2003425"/>
                <a:gd name="connsiteX341" fmla="*/ 741225 w 1674813"/>
                <a:gd name="connsiteY341" fmla="*/ 1047827 h 2003425"/>
                <a:gd name="connsiteX342" fmla="*/ 731610 w 1674813"/>
                <a:gd name="connsiteY342" fmla="*/ 1017588 h 2003425"/>
                <a:gd name="connsiteX343" fmla="*/ 742257 w 1674813"/>
                <a:gd name="connsiteY343" fmla="*/ 1041769 h 2003425"/>
                <a:gd name="connsiteX344" fmla="*/ 746390 w 1674813"/>
                <a:gd name="connsiteY344" fmla="*/ 1017497 h 2003425"/>
                <a:gd name="connsiteX345" fmla="*/ 770985 w 1674813"/>
                <a:gd name="connsiteY345" fmla="*/ 938780 h 2003425"/>
                <a:gd name="connsiteX346" fmla="*/ 780328 w 1674813"/>
                <a:gd name="connsiteY346" fmla="*/ 914952 h 2003425"/>
                <a:gd name="connsiteX347" fmla="*/ 780328 w 1674813"/>
                <a:gd name="connsiteY347" fmla="*/ 898559 h 2003425"/>
                <a:gd name="connsiteX348" fmla="*/ 780328 w 1674813"/>
                <a:gd name="connsiteY348" fmla="*/ 888472 h 2003425"/>
                <a:gd name="connsiteX349" fmla="*/ 747712 w 1674813"/>
                <a:gd name="connsiteY349" fmla="*/ 936890 h 2003425"/>
                <a:gd name="connsiteX350" fmla="*/ 747712 w 1674813"/>
                <a:gd name="connsiteY350" fmla="*/ 872332 h 2003425"/>
                <a:gd name="connsiteX351" fmla="*/ 731404 w 1674813"/>
                <a:gd name="connsiteY351" fmla="*/ 920751 h 2003425"/>
                <a:gd name="connsiteX352" fmla="*/ 731404 w 1674813"/>
                <a:gd name="connsiteY352" fmla="*/ 872332 h 2003425"/>
                <a:gd name="connsiteX353" fmla="*/ 698789 w 1674813"/>
                <a:gd name="connsiteY353" fmla="*/ 904611 h 2003425"/>
                <a:gd name="connsiteX354" fmla="*/ 698789 w 1674813"/>
                <a:gd name="connsiteY354" fmla="*/ 872332 h 2003425"/>
                <a:gd name="connsiteX355" fmla="*/ 682481 w 1674813"/>
                <a:gd name="connsiteY355" fmla="*/ 904611 h 2003425"/>
                <a:gd name="connsiteX356" fmla="*/ 675601 w 1674813"/>
                <a:gd name="connsiteY356" fmla="*/ 884184 h 2003425"/>
                <a:gd name="connsiteX357" fmla="*/ 666750 w 1674813"/>
                <a:gd name="connsiteY357" fmla="*/ 857907 h 2003425"/>
                <a:gd name="connsiteX358" fmla="*/ 666750 w 1674813"/>
                <a:gd name="connsiteY358" fmla="*/ 867370 h 2003425"/>
                <a:gd name="connsiteX359" fmla="*/ 666750 w 1674813"/>
                <a:gd name="connsiteY359" fmla="*/ 872228 h 2003425"/>
                <a:gd name="connsiteX360" fmla="*/ 666173 w 1674813"/>
                <a:gd name="connsiteY360" fmla="*/ 871083 h 2003425"/>
                <a:gd name="connsiteX361" fmla="*/ 666173 w 1674813"/>
                <a:gd name="connsiteY361" fmla="*/ 888472 h 2003425"/>
                <a:gd name="connsiteX362" fmla="*/ 633557 w 1674813"/>
                <a:gd name="connsiteY362" fmla="*/ 840053 h 2003425"/>
                <a:gd name="connsiteX363" fmla="*/ 651258 w 1674813"/>
                <a:gd name="connsiteY363" fmla="*/ 841512 h 2003425"/>
                <a:gd name="connsiteX364" fmla="*/ 650367 w 1674813"/>
                <a:gd name="connsiteY364" fmla="*/ 839747 h 2003425"/>
                <a:gd name="connsiteX365" fmla="*/ 650009 w 1674813"/>
                <a:gd name="connsiteY365" fmla="*/ 839697 h 2003425"/>
                <a:gd name="connsiteX366" fmla="*/ 650009 w 1674813"/>
                <a:gd name="connsiteY366" fmla="*/ 840469 h 2003425"/>
                <a:gd name="connsiteX367" fmla="*/ 649104 w 1674813"/>
                <a:gd name="connsiteY367" fmla="*/ 839573 h 2003425"/>
                <a:gd name="connsiteX368" fmla="*/ 626762 w 1674813"/>
                <a:gd name="connsiteY368" fmla="*/ 837009 h 2003425"/>
                <a:gd name="connsiteX369" fmla="*/ 627042 w 1674813"/>
                <a:gd name="connsiteY369" fmla="*/ 838956 h 2003425"/>
                <a:gd name="connsiteX370" fmla="*/ 632575 w 1674813"/>
                <a:gd name="connsiteY370" fmla="*/ 839887 h 2003425"/>
                <a:gd name="connsiteX371" fmla="*/ 629684 w 1674813"/>
                <a:gd name="connsiteY371" fmla="*/ 838456 h 2003425"/>
                <a:gd name="connsiteX372" fmla="*/ 893907 w 1674813"/>
                <a:gd name="connsiteY372" fmla="*/ 824367 h 2003425"/>
                <a:gd name="connsiteX373" fmla="*/ 893907 w 1674813"/>
                <a:gd name="connsiteY373" fmla="*/ 832418 h 2003425"/>
                <a:gd name="connsiteX374" fmla="*/ 893907 w 1674813"/>
                <a:gd name="connsiteY374" fmla="*/ 850140 h 2003425"/>
                <a:gd name="connsiteX375" fmla="*/ 903201 w 1674813"/>
                <a:gd name="connsiteY375" fmla="*/ 862459 h 2003425"/>
                <a:gd name="connsiteX376" fmla="*/ 903685 w 1674813"/>
                <a:gd name="connsiteY376" fmla="*/ 863100 h 2003425"/>
                <a:gd name="connsiteX377" fmla="*/ 902036 w 1674813"/>
                <a:gd name="connsiteY377" fmla="*/ 856571 h 2003425"/>
                <a:gd name="connsiteX378" fmla="*/ 893907 w 1674813"/>
                <a:gd name="connsiteY378" fmla="*/ 824367 h 2003425"/>
                <a:gd name="connsiteX379" fmla="*/ 601229 w 1674813"/>
                <a:gd name="connsiteY379" fmla="*/ 824367 h 2003425"/>
                <a:gd name="connsiteX380" fmla="*/ 602525 w 1674813"/>
                <a:gd name="connsiteY380" fmla="*/ 825650 h 2003425"/>
                <a:gd name="connsiteX381" fmla="*/ 602093 w 1674813"/>
                <a:gd name="connsiteY381" fmla="*/ 824795 h 2003425"/>
                <a:gd name="connsiteX382" fmla="*/ 623473 w 1674813"/>
                <a:gd name="connsiteY382" fmla="*/ 814191 h 2003425"/>
                <a:gd name="connsiteX383" fmla="*/ 624668 w 1674813"/>
                <a:gd name="connsiteY383" fmla="*/ 822484 h 2003425"/>
                <a:gd name="connsiteX384" fmla="*/ 629703 w 1674813"/>
                <a:gd name="connsiteY384" fmla="*/ 832455 h 2003425"/>
                <a:gd name="connsiteX385" fmla="*/ 644633 w 1674813"/>
                <a:gd name="connsiteY385" fmla="*/ 835145 h 2003425"/>
                <a:gd name="connsiteX386" fmla="*/ 636290 w 1674813"/>
                <a:gd name="connsiteY386" fmla="*/ 826883 h 2003425"/>
                <a:gd name="connsiteX387" fmla="*/ 497189 w 1674813"/>
                <a:gd name="connsiteY387" fmla="*/ 810839 h 2003425"/>
                <a:gd name="connsiteX388" fmla="*/ 483476 w 1674813"/>
                <a:gd name="connsiteY388" fmla="*/ 815376 h 2003425"/>
                <a:gd name="connsiteX389" fmla="*/ 455276 w 1674813"/>
                <a:gd name="connsiteY389" fmla="*/ 824707 h 2003425"/>
                <a:gd name="connsiteX390" fmla="*/ 449345 w 1674813"/>
                <a:gd name="connsiteY390" fmla="*/ 830594 h 2003425"/>
                <a:gd name="connsiteX391" fmla="*/ 471436 w 1674813"/>
                <a:gd name="connsiteY391" fmla="*/ 823913 h 2003425"/>
                <a:gd name="connsiteX392" fmla="*/ 488595 w 1674813"/>
                <a:gd name="connsiteY392" fmla="*/ 823913 h 2003425"/>
                <a:gd name="connsiteX393" fmla="*/ 489828 w 1674813"/>
                <a:gd name="connsiteY393" fmla="*/ 822690 h 2003425"/>
                <a:gd name="connsiteX394" fmla="*/ 500620 w 1674813"/>
                <a:gd name="connsiteY394" fmla="*/ 811978 h 2003425"/>
                <a:gd name="connsiteX395" fmla="*/ 471535 w 1674813"/>
                <a:gd name="connsiteY395" fmla="*/ 808567 h 2003425"/>
                <a:gd name="connsiteX396" fmla="*/ 469820 w 1674813"/>
                <a:gd name="connsiteY396" fmla="*/ 810270 h 2003425"/>
                <a:gd name="connsiteX397" fmla="*/ 467060 w 1674813"/>
                <a:gd name="connsiteY397" fmla="*/ 813009 h 2003425"/>
                <a:gd name="connsiteX398" fmla="*/ 457308 w 1674813"/>
                <a:gd name="connsiteY398" fmla="*/ 822690 h 2003425"/>
                <a:gd name="connsiteX399" fmla="*/ 457046 w 1674813"/>
                <a:gd name="connsiteY399" fmla="*/ 822950 h 2003425"/>
                <a:gd name="connsiteX400" fmla="*/ 457816 w 1674813"/>
                <a:gd name="connsiteY400" fmla="*/ 822185 h 2003425"/>
                <a:gd name="connsiteX401" fmla="*/ 467060 w 1674813"/>
                <a:gd name="connsiteY401" fmla="*/ 813009 h 2003425"/>
                <a:gd name="connsiteX402" fmla="*/ 780088 w 1674813"/>
                <a:gd name="connsiteY402" fmla="*/ 808265 h 2003425"/>
                <a:gd name="connsiteX403" fmla="*/ 773228 w 1674813"/>
                <a:gd name="connsiteY403" fmla="*/ 835437 h 2003425"/>
                <a:gd name="connsiteX404" fmla="*/ 765184 w 1674813"/>
                <a:gd name="connsiteY404" fmla="*/ 867298 h 2003425"/>
                <a:gd name="connsiteX405" fmla="*/ 795090 w 1674813"/>
                <a:gd name="connsiteY405" fmla="*/ 877303 h 2003425"/>
                <a:gd name="connsiteX406" fmla="*/ 797102 w 1674813"/>
                <a:gd name="connsiteY406" fmla="*/ 872173 h 2003425"/>
                <a:gd name="connsiteX407" fmla="*/ 815847 w 1674813"/>
                <a:gd name="connsiteY407" fmla="*/ 838977 h 2003425"/>
                <a:gd name="connsiteX408" fmla="*/ 817265 w 1674813"/>
                <a:gd name="connsiteY408" fmla="*/ 835668 h 2003425"/>
                <a:gd name="connsiteX409" fmla="*/ 817913 w 1674813"/>
                <a:gd name="connsiteY409" fmla="*/ 834533 h 2003425"/>
                <a:gd name="connsiteX410" fmla="*/ 817752 w 1674813"/>
                <a:gd name="connsiteY410" fmla="*/ 833739 h 2003425"/>
                <a:gd name="connsiteX411" fmla="*/ 812607 w 1674813"/>
                <a:gd name="connsiteY411" fmla="*/ 808265 h 2003425"/>
                <a:gd name="connsiteX412" fmla="*/ 796347 w 1674813"/>
                <a:gd name="connsiteY412" fmla="*/ 872672 h 2003425"/>
                <a:gd name="connsiteX413" fmla="*/ 780088 w 1674813"/>
                <a:gd name="connsiteY413" fmla="*/ 808265 h 2003425"/>
                <a:gd name="connsiteX414" fmla="*/ 715048 w 1674813"/>
                <a:gd name="connsiteY414" fmla="*/ 808265 h 2003425"/>
                <a:gd name="connsiteX415" fmla="*/ 715048 w 1674813"/>
                <a:gd name="connsiteY415" fmla="*/ 828644 h 2003425"/>
                <a:gd name="connsiteX416" fmla="*/ 715048 w 1674813"/>
                <a:gd name="connsiteY416" fmla="*/ 850709 h 2003425"/>
                <a:gd name="connsiteX417" fmla="*/ 717081 w 1674813"/>
                <a:gd name="connsiteY417" fmla="*/ 851205 h 2003425"/>
                <a:gd name="connsiteX418" fmla="*/ 762903 w 1674813"/>
                <a:gd name="connsiteY418" fmla="*/ 866535 h 2003425"/>
                <a:gd name="connsiteX419" fmla="*/ 761287 w 1674813"/>
                <a:gd name="connsiteY419" fmla="*/ 855816 h 2003425"/>
                <a:gd name="connsiteX420" fmla="*/ 747568 w 1674813"/>
                <a:gd name="connsiteY420" fmla="*/ 808265 h 2003425"/>
                <a:gd name="connsiteX421" fmla="*/ 747568 w 1674813"/>
                <a:gd name="connsiteY421" fmla="*/ 856571 h 2003425"/>
                <a:gd name="connsiteX422" fmla="*/ 715048 w 1674813"/>
                <a:gd name="connsiteY422" fmla="*/ 808265 h 2003425"/>
                <a:gd name="connsiteX423" fmla="*/ 682529 w 1674813"/>
                <a:gd name="connsiteY423" fmla="*/ 808265 h 2003425"/>
                <a:gd name="connsiteX424" fmla="*/ 682529 w 1674813"/>
                <a:gd name="connsiteY424" fmla="*/ 840469 h 2003425"/>
                <a:gd name="connsiteX425" fmla="*/ 668809 w 1674813"/>
                <a:gd name="connsiteY425" fmla="*/ 826883 h 2003425"/>
                <a:gd name="connsiteX426" fmla="*/ 666750 w 1674813"/>
                <a:gd name="connsiteY426" fmla="*/ 824844 h 2003425"/>
                <a:gd name="connsiteX427" fmla="*/ 666750 w 1674813"/>
                <a:gd name="connsiteY427" fmla="*/ 839130 h 2003425"/>
                <a:gd name="connsiteX428" fmla="*/ 669953 w 1674813"/>
                <a:gd name="connsiteY428" fmla="*/ 839707 h 2003425"/>
                <a:gd name="connsiteX429" fmla="*/ 695856 w 1674813"/>
                <a:gd name="connsiteY429" fmla="*/ 846027 h 2003425"/>
                <a:gd name="connsiteX430" fmla="*/ 666750 w 1674813"/>
                <a:gd name="connsiteY430" fmla="*/ 842009 h 2003425"/>
                <a:gd name="connsiteX431" fmla="*/ 666750 w 1674813"/>
                <a:gd name="connsiteY431" fmla="*/ 842790 h 2003425"/>
                <a:gd name="connsiteX432" fmla="*/ 676365 w 1674813"/>
                <a:gd name="connsiteY432" fmla="*/ 843583 h 2003425"/>
                <a:gd name="connsiteX433" fmla="*/ 713544 w 1674813"/>
                <a:gd name="connsiteY433" fmla="*/ 852101 h 2003425"/>
                <a:gd name="connsiteX434" fmla="*/ 713334 w 1674813"/>
                <a:gd name="connsiteY434" fmla="*/ 851478 h 2003425"/>
                <a:gd name="connsiteX435" fmla="*/ 697987 w 1674813"/>
                <a:gd name="connsiteY435" fmla="*/ 846546 h 2003425"/>
                <a:gd name="connsiteX436" fmla="*/ 712899 w 1674813"/>
                <a:gd name="connsiteY436" fmla="*/ 850184 h 2003425"/>
                <a:gd name="connsiteX437" fmla="*/ 708189 w 1674813"/>
                <a:gd name="connsiteY437" fmla="*/ 836192 h 2003425"/>
                <a:gd name="connsiteX438" fmla="*/ 699336 w 1674813"/>
                <a:gd name="connsiteY438" fmla="*/ 809891 h 2003425"/>
                <a:gd name="connsiteX439" fmla="*/ 699336 w 1674813"/>
                <a:gd name="connsiteY439" fmla="*/ 824785 h 2003425"/>
                <a:gd name="connsiteX440" fmla="*/ 699336 w 1674813"/>
                <a:gd name="connsiteY440" fmla="*/ 839926 h 2003425"/>
                <a:gd name="connsiteX441" fmla="*/ 698827 w 1674813"/>
                <a:gd name="connsiteY441" fmla="*/ 838664 h 2003425"/>
                <a:gd name="connsiteX442" fmla="*/ 698788 w 1674813"/>
                <a:gd name="connsiteY442" fmla="*/ 838569 h 2003425"/>
                <a:gd name="connsiteX443" fmla="*/ 698788 w 1674813"/>
                <a:gd name="connsiteY443" fmla="*/ 840469 h 2003425"/>
                <a:gd name="connsiteX444" fmla="*/ 682529 w 1674813"/>
                <a:gd name="connsiteY444" fmla="*/ 808265 h 2003425"/>
                <a:gd name="connsiteX445" fmla="*/ 862013 w 1674813"/>
                <a:gd name="connsiteY445" fmla="*/ 807867 h 2003425"/>
                <a:gd name="connsiteX446" fmla="*/ 865096 w 1674813"/>
                <a:gd name="connsiteY446" fmla="*/ 811953 h 2003425"/>
                <a:gd name="connsiteX447" fmla="*/ 873272 w 1674813"/>
                <a:gd name="connsiteY447" fmla="*/ 813463 h 2003425"/>
                <a:gd name="connsiteX448" fmla="*/ 720788 w 1674813"/>
                <a:gd name="connsiteY448" fmla="*/ 796184 h 2003425"/>
                <a:gd name="connsiteX449" fmla="*/ 713843 w 1674813"/>
                <a:gd name="connsiteY449" fmla="*/ 796529 h 2003425"/>
                <a:gd name="connsiteX450" fmla="*/ 721070 w 1674813"/>
                <a:gd name="connsiteY450" fmla="*/ 796884 h 2003425"/>
                <a:gd name="connsiteX451" fmla="*/ 439016 w 1674813"/>
                <a:gd name="connsiteY451" fmla="*/ 792428 h 2003425"/>
                <a:gd name="connsiteX452" fmla="*/ 432156 w 1674813"/>
                <a:gd name="connsiteY452" fmla="*/ 812855 h 2003425"/>
                <a:gd name="connsiteX453" fmla="*/ 424208 w 1674813"/>
                <a:gd name="connsiteY453" fmla="*/ 836522 h 2003425"/>
                <a:gd name="connsiteX454" fmla="*/ 439016 w 1674813"/>
                <a:gd name="connsiteY454" fmla="*/ 833256 h 2003425"/>
                <a:gd name="connsiteX455" fmla="*/ 439016 w 1674813"/>
                <a:gd name="connsiteY455" fmla="*/ 820420 h 2003425"/>
                <a:gd name="connsiteX456" fmla="*/ 439016 w 1674813"/>
                <a:gd name="connsiteY456" fmla="*/ 792428 h 2003425"/>
                <a:gd name="connsiteX457" fmla="*/ 620207 w 1674813"/>
                <a:gd name="connsiteY457" fmla="*/ 791528 h 2003425"/>
                <a:gd name="connsiteX458" fmla="*/ 620418 w 1674813"/>
                <a:gd name="connsiteY458" fmla="*/ 792987 h 2003425"/>
                <a:gd name="connsiteX459" fmla="*/ 621743 w 1674813"/>
                <a:gd name="connsiteY459" fmla="*/ 802181 h 2003425"/>
                <a:gd name="connsiteX460" fmla="*/ 630722 w 1674813"/>
                <a:gd name="connsiteY460" fmla="*/ 800799 h 2003425"/>
                <a:gd name="connsiteX461" fmla="*/ 626046 w 1674813"/>
                <a:gd name="connsiteY461" fmla="*/ 791528 h 2003425"/>
                <a:gd name="connsiteX462" fmla="*/ 478327 w 1674813"/>
                <a:gd name="connsiteY462" fmla="*/ 791528 h 2003425"/>
                <a:gd name="connsiteX463" fmla="*/ 485378 w 1674813"/>
                <a:gd name="connsiteY463" fmla="*/ 793122 h 2003425"/>
                <a:gd name="connsiteX464" fmla="*/ 497782 w 1674813"/>
                <a:gd name="connsiteY464" fmla="*/ 797775 h 2003425"/>
                <a:gd name="connsiteX465" fmla="*/ 502199 w 1674813"/>
                <a:gd name="connsiteY465" fmla="*/ 793377 h 2003425"/>
                <a:gd name="connsiteX466" fmla="*/ 500846 w 1674813"/>
                <a:gd name="connsiteY466" fmla="*/ 791528 h 2003425"/>
                <a:gd name="connsiteX467" fmla="*/ 497958 w 1674813"/>
                <a:gd name="connsiteY467" fmla="*/ 791528 h 2003425"/>
                <a:gd name="connsiteX468" fmla="*/ 483476 w 1674813"/>
                <a:gd name="connsiteY468" fmla="*/ 791528 h 2003425"/>
                <a:gd name="connsiteX469" fmla="*/ 585286 w 1674813"/>
                <a:gd name="connsiteY469" fmla="*/ 791473 h 2003425"/>
                <a:gd name="connsiteX470" fmla="*/ 585448 w 1674813"/>
                <a:gd name="connsiteY470" fmla="*/ 792755 h 2003425"/>
                <a:gd name="connsiteX471" fmla="*/ 585757 w 1674813"/>
                <a:gd name="connsiteY471" fmla="*/ 792406 h 2003425"/>
                <a:gd name="connsiteX472" fmla="*/ 617911 w 1674813"/>
                <a:gd name="connsiteY472" fmla="*/ 775591 h 2003425"/>
                <a:gd name="connsiteX473" fmla="*/ 617997 w 1674813"/>
                <a:gd name="connsiteY473" fmla="*/ 776188 h 2003425"/>
                <a:gd name="connsiteX474" fmla="*/ 618623 w 1674813"/>
                <a:gd name="connsiteY474" fmla="*/ 776811 h 2003425"/>
                <a:gd name="connsiteX475" fmla="*/ 618027 w 1674813"/>
                <a:gd name="connsiteY475" fmla="*/ 775630 h 2003425"/>
                <a:gd name="connsiteX476" fmla="*/ 487270 w 1674813"/>
                <a:gd name="connsiteY476" fmla="*/ 775510 h 2003425"/>
                <a:gd name="connsiteX477" fmla="*/ 487033 w 1674813"/>
                <a:gd name="connsiteY477" fmla="*/ 775589 h 2003425"/>
                <a:gd name="connsiteX478" fmla="*/ 461631 w 1674813"/>
                <a:gd name="connsiteY478" fmla="*/ 784021 h 2003425"/>
                <a:gd name="connsiteX479" fmla="*/ 454940 w 1674813"/>
                <a:gd name="connsiteY479" fmla="*/ 786242 h 2003425"/>
                <a:gd name="connsiteX480" fmla="*/ 462473 w 1674813"/>
                <a:gd name="connsiteY480" fmla="*/ 787944 h 2003425"/>
                <a:gd name="connsiteX481" fmla="*/ 468995 w 1674813"/>
                <a:gd name="connsiteY481" fmla="*/ 784697 h 2003425"/>
                <a:gd name="connsiteX482" fmla="*/ 487328 w 1674813"/>
                <a:gd name="connsiteY482" fmla="*/ 775568 h 2003425"/>
                <a:gd name="connsiteX483" fmla="*/ 292292 w 1674813"/>
                <a:gd name="connsiteY483" fmla="*/ 774965 h 2003425"/>
                <a:gd name="connsiteX484" fmla="*/ 298210 w 1674813"/>
                <a:gd name="connsiteY484" fmla="*/ 775516 h 2003425"/>
                <a:gd name="connsiteX485" fmla="*/ 283792 w 1674813"/>
                <a:gd name="connsiteY485" fmla="*/ 776283 h 2003425"/>
                <a:gd name="connsiteX486" fmla="*/ 666750 w 1674813"/>
                <a:gd name="connsiteY486" fmla="*/ 770202 h 2003425"/>
                <a:gd name="connsiteX487" fmla="*/ 666750 w 1674813"/>
                <a:gd name="connsiteY487" fmla="*/ 776836 h 2003425"/>
                <a:gd name="connsiteX488" fmla="*/ 666750 w 1674813"/>
                <a:gd name="connsiteY488" fmla="*/ 795256 h 2003425"/>
                <a:gd name="connsiteX489" fmla="*/ 680460 w 1674813"/>
                <a:gd name="connsiteY489" fmla="*/ 793147 h 2003425"/>
                <a:gd name="connsiteX490" fmla="*/ 671889 w 1674813"/>
                <a:gd name="connsiteY490" fmla="*/ 771906 h 2003425"/>
                <a:gd name="connsiteX491" fmla="*/ 1126042 w 1674813"/>
                <a:gd name="connsiteY491" fmla="*/ 769037 h 2003425"/>
                <a:gd name="connsiteX492" fmla="*/ 1142042 w 1674813"/>
                <a:gd name="connsiteY492" fmla="*/ 790043 h 2003425"/>
                <a:gd name="connsiteX493" fmla="*/ 1130433 w 1674813"/>
                <a:gd name="connsiteY493" fmla="*/ 773251 h 2003425"/>
                <a:gd name="connsiteX494" fmla="*/ 498642 w 1674813"/>
                <a:gd name="connsiteY494" fmla="*/ 762996 h 2003425"/>
                <a:gd name="connsiteX495" fmla="*/ 511588 w 1674813"/>
                <a:gd name="connsiteY495" fmla="*/ 775406 h 2003425"/>
                <a:gd name="connsiteX496" fmla="*/ 517319 w 1674813"/>
                <a:gd name="connsiteY496" fmla="*/ 775406 h 2003425"/>
                <a:gd name="connsiteX497" fmla="*/ 531740 w 1674813"/>
                <a:gd name="connsiteY497" fmla="*/ 775406 h 2003425"/>
                <a:gd name="connsiteX498" fmla="*/ 531601 w 1674813"/>
                <a:gd name="connsiteY498" fmla="*/ 773899 h 2003425"/>
                <a:gd name="connsiteX499" fmla="*/ 527459 w 1674813"/>
                <a:gd name="connsiteY499" fmla="*/ 772528 h 2003425"/>
                <a:gd name="connsiteX500" fmla="*/ 515537 w 1674813"/>
                <a:gd name="connsiteY500" fmla="*/ 768585 h 2003425"/>
                <a:gd name="connsiteX501" fmla="*/ 537615 w 1674813"/>
                <a:gd name="connsiteY501" fmla="*/ 745262 h 2003425"/>
                <a:gd name="connsiteX502" fmla="*/ 542307 w 1674813"/>
                <a:gd name="connsiteY502" fmla="*/ 759237 h 2003425"/>
                <a:gd name="connsiteX503" fmla="*/ 545345 w 1674813"/>
                <a:gd name="connsiteY503" fmla="*/ 775494 h 2003425"/>
                <a:gd name="connsiteX504" fmla="*/ 549165 w 1674813"/>
                <a:gd name="connsiteY504" fmla="*/ 775494 h 2003425"/>
                <a:gd name="connsiteX505" fmla="*/ 550332 w 1674813"/>
                <a:gd name="connsiteY505" fmla="*/ 770286 h 2003425"/>
                <a:gd name="connsiteX506" fmla="*/ 546059 w 1674813"/>
                <a:gd name="connsiteY506" fmla="*/ 761877 h 2003425"/>
                <a:gd name="connsiteX507" fmla="*/ 699336 w 1674813"/>
                <a:gd name="connsiteY507" fmla="*/ 743020 h 2003425"/>
                <a:gd name="connsiteX508" fmla="*/ 699336 w 1674813"/>
                <a:gd name="connsiteY508" fmla="*/ 758161 h 2003425"/>
                <a:gd name="connsiteX509" fmla="*/ 699336 w 1674813"/>
                <a:gd name="connsiteY509" fmla="*/ 790711 h 2003425"/>
                <a:gd name="connsiteX510" fmla="*/ 718718 w 1674813"/>
                <a:gd name="connsiteY510" fmla="*/ 791053 h 2003425"/>
                <a:gd name="connsiteX511" fmla="*/ 718174 w 1674813"/>
                <a:gd name="connsiteY511" fmla="*/ 789706 h 2003425"/>
                <a:gd name="connsiteX512" fmla="*/ 699336 w 1674813"/>
                <a:gd name="connsiteY512" fmla="*/ 743020 h 2003425"/>
                <a:gd name="connsiteX513" fmla="*/ 601265 w 1674813"/>
                <a:gd name="connsiteY513" fmla="*/ 742806 h 2003425"/>
                <a:gd name="connsiteX514" fmla="*/ 601426 w 1674813"/>
                <a:gd name="connsiteY514" fmla="*/ 743125 h 2003425"/>
                <a:gd name="connsiteX515" fmla="*/ 601486 w 1674813"/>
                <a:gd name="connsiteY515" fmla="*/ 743095 h 2003425"/>
                <a:gd name="connsiteX516" fmla="*/ 601436 w 1674813"/>
                <a:gd name="connsiteY516" fmla="*/ 743145 h 2003425"/>
                <a:gd name="connsiteX517" fmla="*/ 603299 w 1674813"/>
                <a:gd name="connsiteY517" fmla="*/ 746847 h 2003425"/>
                <a:gd name="connsiteX518" fmla="*/ 608130 w 1674813"/>
                <a:gd name="connsiteY518" fmla="*/ 756444 h 2003425"/>
                <a:gd name="connsiteX519" fmla="*/ 609554 w 1674813"/>
                <a:gd name="connsiteY519" fmla="*/ 759273 h 2003425"/>
                <a:gd name="connsiteX520" fmla="*/ 621191 w 1674813"/>
                <a:gd name="connsiteY520" fmla="*/ 752703 h 2003425"/>
                <a:gd name="connsiteX521" fmla="*/ 620080 w 1674813"/>
                <a:gd name="connsiteY521" fmla="*/ 752151 h 2003425"/>
                <a:gd name="connsiteX522" fmla="*/ 601265 w 1674813"/>
                <a:gd name="connsiteY522" fmla="*/ 742806 h 2003425"/>
                <a:gd name="connsiteX523" fmla="*/ 617537 w 1674813"/>
                <a:gd name="connsiteY523" fmla="*/ 726643 h 2003425"/>
                <a:gd name="connsiteX524" fmla="*/ 624402 w 1674813"/>
                <a:gd name="connsiteY524" fmla="*/ 740281 h 2003425"/>
                <a:gd name="connsiteX525" fmla="*/ 627276 w 1674813"/>
                <a:gd name="connsiteY525" fmla="*/ 745991 h 2003425"/>
                <a:gd name="connsiteX526" fmla="*/ 631378 w 1674813"/>
                <a:gd name="connsiteY526" fmla="*/ 741433 h 2003425"/>
                <a:gd name="connsiteX527" fmla="*/ 637870 w 1674813"/>
                <a:gd name="connsiteY527" fmla="*/ 736741 h 2003425"/>
                <a:gd name="connsiteX528" fmla="*/ 636351 w 1674813"/>
                <a:gd name="connsiteY528" fmla="*/ 735987 h 2003425"/>
                <a:gd name="connsiteX529" fmla="*/ 617537 w 1674813"/>
                <a:gd name="connsiteY529" fmla="*/ 726643 h 2003425"/>
                <a:gd name="connsiteX530" fmla="*/ 599836 w 1674813"/>
                <a:gd name="connsiteY530" fmla="*/ 716703 h 2003425"/>
                <a:gd name="connsiteX531" fmla="*/ 597175 w 1674813"/>
                <a:gd name="connsiteY531" fmla="*/ 717587 h 2003425"/>
                <a:gd name="connsiteX532" fmla="*/ 577946 w 1674813"/>
                <a:gd name="connsiteY532" fmla="*/ 723971 h 2003425"/>
                <a:gd name="connsiteX533" fmla="*/ 577230 w 1674813"/>
                <a:gd name="connsiteY533" fmla="*/ 726931 h 2003425"/>
                <a:gd name="connsiteX534" fmla="*/ 582722 w 1674813"/>
                <a:gd name="connsiteY534" fmla="*/ 726931 h 2003425"/>
                <a:gd name="connsiteX535" fmla="*/ 590947 w 1674813"/>
                <a:gd name="connsiteY535" fmla="*/ 726931 h 2003425"/>
                <a:gd name="connsiteX536" fmla="*/ 527424 w 1674813"/>
                <a:gd name="connsiteY536" fmla="*/ 713315 h 2003425"/>
                <a:gd name="connsiteX537" fmla="*/ 530048 w 1674813"/>
                <a:gd name="connsiteY537" fmla="*/ 719825 h 2003425"/>
                <a:gd name="connsiteX538" fmla="*/ 530882 w 1674813"/>
                <a:gd name="connsiteY538" fmla="*/ 725205 h 2003425"/>
                <a:gd name="connsiteX539" fmla="*/ 537102 w 1674813"/>
                <a:gd name="connsiteY539" fmla="*/ 743734 h 2003425"/>
                <a:gd name="connsiteX540" fmla="*/ 538626 w 1674813"/>
                <a:gd name="connsiteY540" fmla="*/ 745233 h 2003425"/>
                <a:gd name="connsiteX541" fmla="*/ 552792 w 1674813"/>
                <a:gd name="connsiteY541" fmla="*/ 759170 h 2003425"/>
                <a:gd name="connsiteX542" fmla="*/ 552796 w 1674813"/>
                <a:gd name="connsiteY542" fmla="*/ 758994 h 2003425"/>
                <a:gd name="connsiteX543" fmla="*/ 550929 w 1674813"/>
                <a:gd name="connsiteY543" fmla="*/ 755320 h 2003425"/>
                <a:gd name="connsiteX544" fmla="*/ 536575 w 1674813"/>
                <a:gd name="connsiteY544" fmla="*/ 727076 h 2003425"/>
                <a:gd name="connsiteX545" fmla="*/ 550416 w 1674813"/>
                <a:gd name="connsiteY545" fmla="*/ 727076 h 2003425"/>
                <a:gd name="connsiteX546" fmla="*/ 555495 w 1674813"/>
                <a:gd name="connsiteY546" fmla="*/ 727076 h 2003425"/>
                <a:gd name="connsiteX547" fmla="*/ 555866 w 1674813"/>
                <a:gd name="connsiteY547" fmla="*/ 722643 h 2003425"/>
                <a:gd name="connsiteX548" fmla="*/ 548622 w 1674813"/>
                <a:gd name="connsiteY548" fmla="*/ 720267 h 2003425"/>
                <a:gd name="connsiteX549" fmla="*/ 943372 w 1674813"/>
                <a:gd name="connsiteY549" fmla="*/ 710815 h 2003425"/>
                <a:gd name="connsiteX550" fmla="*/ 943372 w 1674813"/>
                <a:gd name="connsiteY550" fmla="*/ 759341 h 2003425"/>
                <a:gd name="connsiteX551" fmla="*/ 910828 w 1674813"/>
                <a:gd name="connsiteY551" fmla="*/ 726990 h 2003425"/>
                <a:gd name="connsiteX552" fmla="*/ 943372 w 1674813"/>
                <a:gd name="connsiteY552" fmla="*/ 791691 h 2003425"/>
                <a:gd name="connsiteX553" fmla="*/ 894557 w 1674813"/>
                <a:gd name="connsiteY553" fmla="*/ 759341 h 2003425"/>
                <a:gd name="connsiteX554" fmla="*/ 927100 w 1674813"/>
                <a:gd name="connsiteY554" fmla="*/ 807867 h 2003425"/>
                <a:gd name="connsiteX555" fmla="*/ 878285 w 1674813"/>
                <a:gd name="connsiteY555" fmla="*/ 775516 h 2003425"/>
                <a:gd name="connsiteX556" fmla="*/ 898879 w 1674813"/>
                <a:gd name="connsiteY556" fmla="*/ 802812 h 2003425"/>
                <a:gd name="connsiteX557" fmla="*/ 903163 w 1674813"/>
                <a:gd name="connsiteY557" fmla="*/ 808491 h 2003425"/>
                <a:gd name="connsiteX558" fmla="*/ 928737 w 1674813"/>
                <a:gd name="connsiteY558" fmla="*/ 814620 h 2003425"/>
                <a:gd name="connsiteX559" fmla="*/ 945944 w 1674813"/>
                <a:gd name="connsiteY559" fmla="*/ 821591 h 2003425"/>
                <a:gd name="connsiteX560" fmla="*/ 951339 w 1674813"/>
                <a:gd name="connsiteY560" fmla="*/ 766065 h 2003425"/>
                <a:gd name="connsiteX561" fmla="*/ 954548 w 1674813"/>
                <a:gd name="connsiteY561" fmla="*/ 733034 h 2003425"/>
                <a:gd name="connsiteX562" fmla="*/ 952779 w 1674813"/>
                <a:gd name="connsiteY562" fmla="*/ 729517 h 2003425"/>
                <a:gd name="connsiteX563" fmla="*/ 943372 w 1674813"/>
                <a:gd name="connsiteY563" fmla="*/ 710815 h 2003425"/>
                <a:gd name="connsiteX564" fmla="*/ 698500 w 1674813"/>
                <a:gd name="connsiteY564" fmla="*/ 710565 h 2003425"/>
                <a:gd name="connsiteX565" fmla="*/ 699008 w 1674813"/>
                <a:gd name="connsiteY565" fmla="*/ 711324 h 2003425"/>
                <a:gd name="connsiteX566" fmla="*/ 699141 w 1674813"/>
                <a:gd name="connsiteY566" fmla="*/ 711523 h 2003425"/>
                <a:gd name="connsiteX567" fmla="*/ 699607 w 1674813"/>
                <a:gd name="connsiteY567" fmla="*/ 711300 h 2003425"/>
                <a:gd name="connsiteX568" fmla="*/ 633809 w 1674813"/>
                <a:gd name="connsiteY568" fmla="*/ 710479 h 2003425"/>
                <a:gd name="connsiteX569" fmla="*/ 640674 w 1674813"/>
                <a:gd name="connsiteY569" fmla="*/ 724117 h 2003425"/>
                <a:gd name="connsiteX570" fmla="*/ 644585 w 1674813"/>
                <a:gd name="connsiteY570" fmla="*/ 731888 h 2003425"/>
                <a:gd name="connsiteX571" fmla="*/ 657754 w 1674813"/>
                <a:gd name="connsiteY571" fmla="*/ 722372 h 2003425"/>
                <a:gd name="connsiteX572" fmla="*/ 652623 w 1674813"/>
                <a:gd name="connsiteY572" fmla="*/ 719824 h 2003425"/>
                <a:gd name="connsiteX573" fmla="*/ 634734 w 1674813"/>
                <a:gd name="connsiteY573" fmla="*/ 710938 h 2003425"/>
                <a:gd name="connsiteX574" fmla="*/ 634603 w 1674813"/>
                <a:gd name="connsiteY574" fmla="*/ 711200 h 2003425"/>
                <a:gd name="connsiteX575" fmla="*/ 634603 w 1674813"/>
                <a:gd name="connsiteY575" fmla="*/ 710874 h 2003425"/>
                <a:gd name="connsiteX576" fmla="*/ 531077 w 1674813"/>
                <a:gd name="connsiteY576" fmla="*/ 700161 h 2003425"/>
                <a:gd name="connsiteX577" fmla="*/ 524810 w 1674813"/>
                <a:gd name="connsiteY577" fmla="*/ 706829 h 2003425"/>
                <a:gd name="connsiteX578" fmla="*/ 526465 w 1674813"/>
                <a:gd name="connsiteY578" fmla="*/ 710936 h 2003425"/>
                <a:gd name="connsiteX579" fmla="*/ 534012 w 1674813"/>
                <a:gd name="connsiteY579" fmla="*/ 710936 h 2003425"/>
                <a:gd name="connsiteX580" fmla="*/ 552979 w 1674813"/>
                <a:gd name="connsiteY580" fmla="*/ 710936 h 2003425"/>
                <a:gd name="connsiteX581" fmla="*/ 539138 w 1674813"/>
                <a:gd name="connsiteY581" fmla="*/ 704127 h 2003425"/>
                <a:gd name="connsiteX582" fmla="*/ 642025 w 1674813"/>
                <a:gd name="connsiteY582" fmla="*/ 696356 h 2003425"/>
                <a:gd name="connsiteX583" fmla="*/ 639981 w 1674813"/>
                <a:gd name="connsiteY583" fmla="*/ 700446 h 2003425"/>
                <a:gd name="connsiteX584" fmla="*/ 647539 w 1674813"/>
                <a:gd name="connsiteY584" fmla="*/ 707953 h 2003425"/>
                <a:gd name="connsiteX585" fmla="*/ 660243 w 1674813"/>
                <a:gd name="connsiteY585" fmla="*/ 720573 h 2003425"/>
                <a:gd name="connsiteX586" fmla="*/ 674092 w 1674813"/>
                <a:gd name="connsiteY586" fmla="*/ 710565 h 2003425"/>
                <a:gd name="connsiteX587" fmla="*/ 681800 w 1674813"/>
                <a:gd name="connsiteY587" fmla="*/ 706233 h 2003425"/>
                <a:gd name="connsiteX588" fmla="*/ 666353 w 1674813"/>
                <a:gd name="connsiteY588" fmla="*/ 702397 h 2003425"/>
                <a:gd name="connsiteX589" fmla="*/ 643979 w 1674813"/>
                <a:gd name="connsiteY589" fmla="*/ 696841 h 2003425"/>
                <a:gd name="connsiteX590" fmla="*/ 585258 w 1674813"/>
                <a:gd name="connsiteY590" fmla="*/ 694604 h 2003425"/>
                <a:gd name="connsiteX591" fmla="*/ 586970 w 1674813"/>
                <a:gd name="connsiteY591" fmla="*/ 695457 h 2003425"/>
                <a:gd name="connsiteX592" fmla="*/ 588301 w 1674813"/>
                <a:gd name="connsiteY592" fmla="*/ 696120 h 2003425"/>
                <a:gd name="connsiteX593" fmla="*/ 588554 w 1674813"/>
                <a:gd name="connsiteY593" fmla="*/ 694604 h 2003425"/>
                <a:gd name="connsiteX594" fmla="*/ 797092 w 1674813"/>
                <a:gd name="connsiteY594" fmla="*/ 694566 h 2003425"/>
                <a:gd name="connsiteX595" fmla="*/ 797092 w 1674813"/>
                <a:gd name="connsiteY595" fmla="*/ 695828 h 2003425"/>
                <a:gd name="connsiteX596" fmla="*/ 797092 w 1674813"/>
                <a:gd name="connsiteY596" fmla="*/ 696286 h 2003425"/>
                <a:gd name="connsiteX597" fmla="*/ 797963 w 1674813"/>
                <a:gd name="connsiteY597" fmla="*/ 698019 h 2003425"/>
                <a:gd name="connsiteX598" fmla="*/ 731044 w 1674813"/>
                <a:gd name="connsiteY598" fmla="*/ 694373 h 2003425"/>
                <a:gd name="connsiteX599" fmla="*/ 731298 w 1674813"/>
                <a:gd name="connsiteY599" fmla="*/ 695132 h 2003425"/>
                <a:gd name="connsiteX600" fmla="*/ 731589 w 1674813"/>
                <a:gd name="connsiteY600" fmla="*/ 695999 h 2003425"/>
                <a:gd name="connsiteX601" fmla="*/ 731790 w 1674813"/>
                <a:gd name="connsiteY601" fmla="*/ 695903 h 2003425"/>
                <a:gd name="connsiteX602" fmla="*/ 732369 w 1674813"/>
                <a:gd name="connsiteY602" fmla="*/ 695692 h 2003425"/>
                <a:gd name="connsiteX603" fmla="*/ 633809 w 1674813"/>
                <a:gd name="connsiteY603" fmla="*/ 694315 h 2003425"/>
                <a:gd name="connsiteX604" fmla="*/ 634603 w 1674813"/>
                <a:gd name="connsiteY604" fmla="*/ 695104 h 2003425"/>
                <a:gd name="connsiteX605" fmla="*/ 634603 w 1674813"/>
                <a:gd name="connsiteY605" fmla="*/ 694513 h 2003425"/>
                <a:gd name="connsiteX606" fmla="*/ 707362 w 1674813"/>
                <a:gd name="connsiteY606" fmla="*/ 691731 h 2003425"/>
                <a:gd name="connsiteX607" fmla="*/ 705996 w 1674813"/>
                <a:gd name="connsiteY607" fmla="*/ 692633 h 2003425"/>
                <a:gd name="connsiteX608" fmla="*/ 707513 w 1674813"/>
                <a:gd name="connsiteY608" fmla="*/ 691781 h 2003425"/>
                <a:gd name="connsiteX609" fmla="*/ 715963 w 1674813"/>
                <a:gd name="connsiteY609" fmla="*/ 686510 h 2003425"/>
                <a:gd name="connsiteX610" fmla="*/ 712849 w 1674813"/>
                <a:gd name="connsiteY610" fmla="*/ 688106 h 2003425"/>
                <a:gd name="connsiteX611" fmla="*/ 710488 w 1674813"/>
                <a:gd name="connsiteY611" fmla="*/ 689666 h 2003425"/>
                <a:gd name="connsiteX612" fmla="*/ 710773 w 1674813"/>
                <a:gd name="connsiteY612" fmla="*/ 689949 h 2003425"/>
                <a:gd name="connsiteX613" fmla="*/ 715963 w 1674813"/>
                <a:gd name="connsiteY613" fmla="*/ 687031 h 2003425"/>
                <a:gd name="connsiteX614" fmla="*/ 488157 w 1674813"/>
                <a:gd name="connsiteY614" fmla="*/ 682217 h 2003425"/>
                <a:gd name="connsiteX615" fmla="*/ 476078 w 1674813"/>
                <a:gd name="connsiteY615" fmla="*/ 685213 h 2003425"/>
                <a:gd name="connsiteX616" fmla="*/ 467548 w 1674813"/>
                <a:gd name="connsiteY616" fmla="*/ 687330 h 2003425"/>
                <a:gd name="connsiteX617" fmla="*/ 460698 w 1674813"/>
                <a:gd name="connsiteY617" fmla="*/ 701030 h 2003425"/>
                <a:gd name="connsiteX618" fmla="*/ 456418 w 1674813"/>
                <a:gd name="connsiteY618" fmla="*/ 709590 h 2003425"/>
                <a:gd name="connsiteX619" fmla="*/ 460804 w 1674813"/>
                <a:gd name="connsiteY619" fmla="*/ 706688 h 2003425"/>
                <a:gd name="connsiteX620" fmla="*/ 475315 w 1674813"/>
                <a:gd name="connsiteY620" fmla="*/ 697088 h 2003425"/>
                <a:gd name="connsiteX621" fmla="*/ 488157 w 1674813"/>
                <a:gd name="connsiteY621" fmla="*/ 688591 h 2003425"/>
                <a:gd name="connsiteX622" fmla="*/ 488157 w 1674813"/>
                <a:gd name="connsiteY622" fmla="*/ 683741 h 2003425"/>
                <a:gd name="connsiteX623" fmla="*/ 675413 w 1674813"/>
                <a:gd name="connsiteY623" fmla="*/ 681152 h 2003425"/>
                <a:gd name="connsiteX624" fmla="*/ 674775 w 1674813"/>
                <a:gd name="connsiteY624" fmla="*/ 682216 h 2003425"/>
                <a:gd name="connsiteX625" fmla="*/ 673157 w 1674813"/>
                <a:gd name="connsiteY625" fmla="*/ 684911 h 2003425"/>
                <a:gd name="connsiteX626" fmla="*/ 680082 w 1674813"/>
                <a:gd name="connsiteY626" fmla="*/ 691790 h 2003425"/>
                <a:gd name="connsiteX627" fmla="*/ 689916 w 1674813"/>
                <a:gd name="connsiteY627" fmla="*/ 701559 h 2003425"/>
                <a:gd name="connsiteX628" fmla="*/ 703473 w 1674813"/>
                <a:gd name="connsiteY628" fmla="*/ 691960 h 2003425"/>
                <a:gd name="connsiteX629" fmla="*/ 705305 w 1674813"/>
                <a:gd name="connsiteY629" fmla="*/ 691049 h 2003425"/>
                <a:gd name="connsiteX630" fmla="*/ 690761 w 1674813"/>
                <a:gd name="connsiteY630" fmla="*/ 686234 h 2003425"/>
                <a:gd name="connsiteX631" fmla="*/ 726539 w 1674813"/>
                <a:gd name="connsiteY631" fmla="*/ 681087 h 2003425"/>
                <a:gd name="connsiteX632" fmla="*/ 720199 w 1674813"/>
                <a:gd name="connsiteY632" fmla="*/ 684337 h 2003425"/>
                <a:gd name="connsiteX633" fmla="*/ 720038 w 1674813"/>
                <a:gd name="connsiteY633" fmla="*/ 684741 h 2003425"/>
                <a:gd name="connsiteX634" fmla="*/ 540041 w 1674813"/>
                <a:gd name="connsiteY634" fmla="*/ 678657 h 2003425"/>
                <a:gd name="connsiteX635" fmla="*/ 535955 w 1674813"/>
                <a:gd name="connsiteY635" fmla="*/ 689620 h 2003425"/>
                <a:gd name="connsiteX636" fmla="*/ 540932 w 1674813"/>
                <a:gd name="connsiteY636" fmla="*/ 687987 h 2003425"/>
                <a:gd name="connsiteX637" fmla="*/ 553244 w 1674813"/>
                <a:gd name="connsiteY637" fmla="*/ 683950 h 2003425"/>
                <a:gd name="connsiteX638" fmla="*/ 553244 w 1674813"/>
                <a:gd name="connsiteY638" fmla="*/ 678657 h 2003425"/>
                <a:gd name="connsiteX639" fmla="*/ 548622 w 1674813"/>
                <a:gd name="connsiteY639" fmla="*/ 678657 h 2003425"/>
                <a:gd name="connsiteX640" fmla="*/ 423069 w 1674813"/>
                <a:gd name="connsiteY640" fmla="*/ 678656 h 2003425"/>
                <a:gd name="connsiteX641" fmla="*/ 417984 w 1674813"/>
                <a:gd name="connsiteY641" fmla="*/ 683741 h 2003425"/>
                <a:gd name="connsiteX642" fmla="*/ 411492 w 1674813"/>
                <a:gd name="connsiteY642" fmla="*/ 690233 h 2003425"/>
                <a:gd name="connsiteX643" fmla="*/ 414818 w 1674813"/>
                <a:gd name="connsiteY643" fmla="*/ 692321 h 2003425"/>
                <a:gd name="connsiteX644" fmla="*/ 423069 w 1674813"/>
                <a:gd name="connsiteY644" fmla="*/ 698838 h 2003425"/>
                <a:gd name="connsiteX645" fmla="*/ 423069 w 1674813"/>
                <a:gd name="connsiteY645" fmla="*/ 697471 h 2003425"/>
                <a:gd name="connsiteX646" fmla="*/ 423069 w 1674813"/>
                <a:gd name="connsiteY646" fmla="*/ 678656 h 2003425"/>
                <a:gd name="connsiteX647" fmla="*/ 862263 w 1674813"/>
                <a:gd name="connsiteY647" fmla="*/ 678415 h 2003425"/>
                <a:gd name="connsiteX648" fmla="*/ 860227 w 1674813"/>
                <a:gd name="connsiteY648" fmla="*/ 686491 h 2003425"/>
                <a:gd name="connsiteX649" fmla="*/ 860006 w 1674813"/>
                <a:gd name="connsiteY649" fmla="*/ 687367 h 2003425"/>
                <a:gd name="connsiteX650" fmla="*/ 862263 w 1674813"/>
                <a:gd name="connsiteY650" fmla="*/ 690362 h 2003425"/>
                <a:gd name="connsiteX651" fmla="*/ 747315 w 1674813"/>
                <a:gd name="connsiteY651" fmla="*/ 678180 h 2003425"/>
                <a:gd name="connsiteX652" fmla="*/ 751383 w 1674813"/>
                <a:gd name="connsiteY652" fmla="*/ 686277 h 2003425"/>
                <a:gd name="connsiteX653" fmla="*/ 752443 w 1674813"/>
                <a:gd name="connsiteY653" fmla="*/ 688386 h 2003425"/>
                <a:gd name="connsiteX654" fmla="*/ 758188 w 1674813"/>
                <a:gd name="connsiteY654" fmla="*/ 686295 h 2003425"/>
                <a:gd name="connsiteX655" fmla="*/ 757485 w 1674813"/>
                <a:gd name="connsiteY655" fmla="*/ 685771 h 2003425"/>
                <a:gd name="connsiteX656" fmla="*/ 747315 w 1674813"/>
                <a:gd name="connsiteY656" fmla="*/ 678180 h 2003425"/>
                <a:gd name="connsiteX657" fmla="*/ 666353 w 1674813"/>
                <a:gd name="connsiteY657" fmla="*/ 678152 h 2003425"/>
                <a:gd name="connsiteX658" fmla="*/ 668069 w 1674813"/>
                <a:gd name="connsiteY658" fmla="*/ 679857 h 2003425"/>
                <a:gd name="connsiteX659" fmla="*/ 669815 w 1674813"/>
                <a:gd name="connsiteY659" fmla="*/ 681591 h 2003425"/>
                <a:gd name="connsiteX660" fmla="*/ 670245 w 1674813"/>
                <a:gd name="connsiteY660" fmla="*/ 679441 h 2003425"/>
                <a:gd name="connsiteX661" fmla="*/ 1008394 w 1674813"/>
                <a:gd name="connsiteY661" fmla="*/ 677843 h 2003425"/>
                <a:gd name="connsiteX662" fmla="*/ 1007904 w 1674813"/>
                <a:gd name="connsiteY662" fmla="*/ 677863 h 2003425"/>
                <a:gd name="connsiteX663" fmla="*/ 1008375 w 1674813"/>
                <a:gd name="connsiteY663" fmla="*/ 677863 h 2003425"/>
                <a:gd name="connsiteX664" fmla="*/ 748507 w 1674813"/>
                <a:gd name="connsiteY664" fmla="*/ 669824 h 2003425"/>
                <a:gd name="connsiteX665" fmla="*/ 745048 w 1674813"/>
                <a:gd name="connsiteY665" fmla="*/ 671598 h 2003425"/>
                <a:gd name="connsiteX666" fmla="*/ 748507 w 1674813"/>
                <a:gd name="connsiteY666" fmla="*/ 669850 h 2003425"/>
                <a:gd name="connsiteX667" fmla="*/ 922461 w 1674813"/>
                <a:gd name="connsiteY667" fmla="*/ 669660 h 2003425"/>
                <a:gd name="connsiteX668" fmla="*/ 913687 w 1674813"/>
                <a:gd name="connsiteY668" fmla="*/ 682705 h 2003425"/>
                <a:gd name="connsiteX669" fmla="*/ 908241 w 1674813"/>
                <a:gd name="connsiteY669" fmla="*/ 690804 h 2003425"/>
                <a:gd name="connsiteX670" fmla="*/ 910034 w 1674813"/>
                <a:gd name="connsiteY670" fmla="*/ 694373 h 2003425"/>
                <a:gd name="connsiteX671" fmla="*/ 907042 w 1674813"/>
                <a:gd name="connsiteY671" fmla="*/ 692586 h 2003425"/>
                <a:gd name="connsiteX672" fmla="*/ 894849 w 1674813"/>
                <a:gd name="connsiteY672" fmla="*/ 710717 h 2003425"/>
                <a:gd name="connsiteX673" fmla="*/ 894849 w 1674813"/>
                <a:gd name="connsiteY673" fmla="*/ 697090 h 2003425"/>
                <a:gd name="connsiteX674" fmla="*/ 894849 w 1674813"/>
                <a:gd name="connsiteY674" fmla="*/ 685306 h 2003425"/>
                <a:gd name="connsiteX675" fmla="*/ 891542 w 1674813"/>
                <a:gd name="connsiteY675" fmla="*/ 683332 h 2003425"/>
                <a:gd name="connsiteX676" fmla="*/ 890776 w 1674813"/>
                <a:gd name="connsiteY676" fmla="*/ 684472 h 2003425"/>
                <a:gd name="connsiteX677" fmla="*/ 881102 w 1674813"/>
                <a:gd name="connsiteY677" fmla="*/ 698857 h 2003425"/>
                <a:gd name="connsiteX678" fmla="*/ 875238 w 1674813"/>
                <a:gd name="connsiteY678" fmla="*/ 707576 h 2003425"/>
                <a:gd name="connsiteX679" fmla="*/ 877490 w 1674813"/>
                <a:gd name="connsiteY679" fmla="*/ 710565 h 2003425"/>
                <a:gd name="connsiteX680" fmla="*/ 874936 w 1674813"/>
                <a:gd name="connsiteY680" fmla="*/ 708024 h 2003425"/>
                <a:gd name="connsiteX681" fmla="*/ 862263 w 1674813"/>
                <a:gd name="connsiteY681" fmla="*/ 726869 h 2003425"/>
                <a:gd name="connsiteX682" fmla="*/ 862263 w 1674813"/>
                <a:gd name="connsiteY682" fmla="*/ 706427 h 2003425"/>
                <a:gd name="connsiteX683" fmla="*/ 862263 w 1674813"/>
                <a:gd name="connsiteY683" fmla="*/ 695413 h 2003425"/>
                <a:gd name="connsiteX684" fmla="*/ 858837 w 1674813"/>
                <a:gd name="connsiteY684" fmla="*/ 692003 h 2003425"/>
                <a:gd name="connsiteX685" fmla="*/ 855390 w 1674813"/>
                <a:gd name="connsiteY685" fmla="*/ 705670 h 2003425"/>
                <a:gd name="connsiteX686" fmla="*/ 853359 w 1674813"/>
                <a:gd name="connsiteY686" fmla="*/ 713723 h 2003425"/>
                <a:gd name="connsiteX687" fmla="*/ 861219 w 1674813"/>
                <a:gd name="connsiteY687" fmla="*/ 726758 h 2003425"/>
                <a:gd name="connsiteX688" fmla="*/ 857723 w 1674813"/>
                <a:gd name="connsiteY688" fmla="*/ 723975 h 2003425"/>
                <a:gd name="connsiteX689" fmla="*/ 851936 w 1674813"/>
                <a:gd name="connsiteY689" fmla="*/ 719368 h 2003425"/>
                <a:gd name="connsiteX690" fmla="*/ 845971 w 1674813"/>
                <a:gd name="connsiteY690" fmla="*/ 743020 h 2003425"/>
                <a:gd name="connsiteX691" fmla="*/ 839097 w 1674813"/>
                <a:gd name="connsiteY691" fmla="*/ 722578 h 2003425"/>
                <a:gd name="connsiteX692" fmla="*/ 832930 w 1674813"/>
                <a:gd name="connsiteY692" fmla="*/ 704237 h 2003425"/>
                <a:gd name="connsiteX693" fmla="*/ 828190 w 1674813"/>
                <a:gd name="connsiteY693" fmla="*/ 700464 h 2003425"/>
                <a:gd name="connsiteX694" fmla="*/ 827641 w 1674813"/>
                <a:gd name="connsiteY694" fmla="*/ 702642 h 2003425"/>
                <a:gd name="connsiteX695" fmla="*/ 813385 w 1674813"/>
                <a:gd name="connsiteY695" fmla="*/ 759171 h 2003425"/>
                <a:gd name="connsiteX696" fmla="*/ 806512 w 1674813"/>
                <a:gd name="connsiteY696" fmla="*/ 731916 h 2003425"/>
                <a:gd name="connsiteX697" fmla="*/ 803543 w 1674813"/>
                <a:gd name="connsiteY697" fmla="*/ 720146 h 2003425"/>
                <a:gd name="connsiteX698" fmla="*/ 802233 w 1674813"/>
                <a:gd name="connsiteY698" fmla="*/ 719168 h 2003425"/>
                <a:gd name="connsiteX699" fmla="*/ 797092 w 1674813"/>
                <a:gd name="connsiteY699" fmla="*/ 715331 h 2003425"/>
                <a:gd name="connsiteX700" fmla="*/ 797092 w 1674813"/>
                <a:gd name="connsiteY700" fmla="*/ 728635 h 2003425"/>
                <a:gd name="connsiteX701" fmla="*/ 797092 w 1674813"/>
                <a:gd name="connsiteY701" fmla="*/ 775322 h 2003425"/>
                <a:gd name="connsiteX702" fmla="*/ 764507 w 1674813"/>
                <a:gd name="connsiteY702" fmla="*/ 710717 h 2003425"/>
                <a:gd name="connsiteX703" fmla="*/ 764507 w 1674813"/>
                <a:gd name="connsiteY703" fmla="*/ 712395 h 2003425"/>
                <a:gd name="connsiteX704" fmla="*/ 779859 w 1674813"/>
                <a:gd name="connsiteY704" fmla="*/ 742950 h 2003425"/>
                <a:gd name="connsiteX705" fmla="*/ 772232 w 1674813"/>
                <a:gd name="connsiteY705" fmla="*/ 735360 h 2003425"/>
                <a:gd name="connsiteX706" fmla="*/ 764507 w 1674813"/>
                <a:gd name="connsiteY706" fmla="*/ 727673 h 2003425"/>
                <a:gd name="connsiteX707" fmla="*/ 764507 w 1674813"/>
                <a:gd name="connsiteY707" fmla="*/ 751095 h 2003425"/>
                <a:gd name="connsiteX708" fmla="*/ 764507 w 1674813"/>
                <a:gd name="connsiteY708" fmla="*/ 791473 h 2003425"/>
                <a:gd name="connsiteX709" fmla="*/ 750760 w 1674813"/>
                <a:gd name="connsiteY709" fmla="*/ 764218 h 2003425"/>
                <a:gd name="connsiteX710" fmla="*/ 736370 w 1674813"/>
                <a:gd name="connsiteY710" fmla="*/ 735689 h 2003425"/>
                <a:gd name="connsiteX711" fmla="*/ 731921 w 1674813"/>
                <a:gd name="connsiteY711" fmla="*/ 732738 h 2003425"/>
                <a:gd name="connsiteX712" fmla="*/ 731921 w 1674813"/>
                <a:gd name="connsiteY712" fmla="*/ 739739 h 2003425"/>
                <a:gd name="connsiteX713" fmla="*/ 731921 w 1674813"/>
                <a:gd name="connsiteY713" fmla="*/ 769265 h 2003425"/>
                <a:gd name="connsiteX714" fmla="*/ 731921 w 1674813"/>
                <a:gd name="connsiteY714" fmla="*/ 791287 h 2003425"/>
                <a:gd name="connsiteX715" fmla="*/ 796528 w 1674813"/>
                <a:gd name="connsiteY715" fmla="*/ 792428 h 2003425"/>
                <a:gd name="connsiteX716" fmla="*/ 731921 w 1674813"/>
                <a:gd name="connsiteY716" fmla="*/ 795632 h 2003425"/>
                <a:gd name="connsiteX717" fmla="*/ 731921 w 1674813"/>
                <a:gd name="connsiteY717" fmla="*/ 797416 h 2003425"/>
                <a:gd name="connsiteX718" fmla="*/ 768401 w 1674813"/>
                <a:gd name="connsiteY718" fmla="*/ 799208 h 2003425"/>
                <a:gd name="connsiteX719" fmla="*/ 833665 w 1674813"/>
                <a:gd name="connsiteY719" fmla="*/ 806912 h 2003425"/>
                <a:gd name="connsiteX720" fmla="*/ 836728 w 1674813"/>
                <a:gd name="connsiteY720" fmla="*/ 801542 h 2003425"/>
                <a:gd name="connsiteX721" fmla="*/ 796528 w 1674813"/>
                <a:gd name="connsiteY721" fmla="*/ 792428 h 2003425"/>
                <a:gd name="connsiteX722" fmla="*/ 839688 w 1674813"/>
                <a:gd name="connsiteY722" fmla="*/ 796351 h 2003425"/>
                <a:gd name="connsiteX723" fmla="*/ 853877 w 1674813"/>
                <a:gd name="connsiteY723" fmla="*/ 771472 h 2003425"/>
                <a:gd name="connsiteX724" fmla="*/ 927100 w 1674813"/>
                <a:gd name="connsiteY724" fmla="*/ 694639 h 2003425"/>
                <a:gd name="connsiteX725" fmla="*/ 927434 w 1674813"/>
                <a:gd name="connsiteY725" fmla="*/ 694368 h 2003425"/>
                <a:gd name="connsiteX726" fmla="*/ 927434 w 1674813"/>
                <a:gd name="connsiteY726" fmla="*/ 692863 h 2003425"/>
                <a:gd name="connsiteX727" fmla="*/ 927434 w 1674813"/>
                <a:gd name="connsiteY727" fmla="*/ 680939 h 2003425"/>
                <a:gd name="connsiteX728" fmla="*/ 927434 w 1674813"/>
                <a:gd name="connsiteY728" fmla="*/ 673541 h 2003425"/>
                <a:gd name="connsiteX729" fmla="*/ 726107 w 1674813"/>
                <a:gd name="connsiteY729" fmla="*/ 669567 h 2003425"/>
                <a:gd name="connsiteX730" fmla="*/ 721048 w 1674813"/>
                <a:gd name="connsiteY730" fmla="*/ 682216 h 2003425"/>
                <a:gd name="connsiteX731" fmla="*/ 720543 w 1674813"/>
                <a:gd name="connsiteY731" fmla="*/ 683477 h 2003425"/>
                <a:gd name="connsiteX732" fmla="*/ 738569 w 1674813"/>
                <a:gd name="connsiteY732" fmla="*/ 674519 h 2003425"/>
                <a:gd name="connsiteX733" fmla="*/ 735000 w 1674813"/>
                <a:gd name="connsiteY733" fmla="*/ 673101 h 2003425"/>
                <a:gd name="connsiteX734" fmla="*/ 784328 w 1674813"/>
                <a:gd name="connsiteY734" fmla="*/ 665545 h 2003425"/>
                <a:gd name="connsiteX735" fmla="*/ 783437 w 1674813"/>
                <a:gd name="connsiteY735" fmla="*/ 669109 h 2003425"/>
                <a:gd name="connsiteX736" fmla="*/ 783927 w 1674813"/>
                <a:gd name="connsiteY736" fmla="*/ 670084 h 2003425"/>
                <a:gd name="connsiteX737" fmla="*/ 786834 w 1674813"/>
                <a:gd name="connsiteY737" fmla="*/ 675870 h 2003425"/>
                <a:gd name="connsiteX738" fmla="*/ 792856 w 1674813"/>
                <a:gd name="connsiteY738" fmla="*/ 673678 h 2003425"/>
                <a:gd name="connsiteX739" fmla="*/ 794122 w 1674813"/>
                <a:gd name="connsiteY739" fmla="*/ 673343 h 2003425"/>
                <a:gd name="connsiteX740" fmla="*/ 792572 w 1674813"/>
                <a:gd name="connsiteY740" fmla="*/ 672108 h 2003425"/>
                <a:gd name="connsiteX741" fmla="*/ 455613 w 1674813"/>
                <a:gd name="connsiteY741" fmla="*/ 662385 h 2003425"/>
                <a:gd name="connsiteX742" fmla="*/ 439341 w 1674813"/>
                <a:gd name="connsiteY742" fmla="*/ 686792 h 2003425"/>
                <a:gd name="connsiteX743" fmla="*/ 428467 w 1674813"/>
                <a:gd name="connsiteY743" fmla="*/ 703103 h 2003425"/>
                <a:gd name="connsiteX744" fmla="*/ 472203 w 1674813"/>
                <a:gd name="connsiteY744" fmla="*/ 737651 h 2003425"/>
                <a:gd name="connsiteX745" fmla="*/ 494721 w 1674813"/>
                <a:gd name="connsiteY745" fmla="*/ 759237 h 2003425"/>
                <a:gd name="connsiteX746" fmla="*/ 501027 w 1674813"/>
                <a:gd name="connsiteY746" fmla="*/ 759237 h 2003425"/>
                <a:gd name="connsiteX747" fmla="*/ 519865 w 1674813"/>
                <a:gd name="connsiteY747" fmla="*/ 759237 h 2003425"/>
                <a:gd name="connsiteX748" fmla="*/ 487280 w 1674813"/>
                <a:gd name="connsiteY748" fmla="*/ 743068 h 2003425"/>
                <a:gd name="connsiteX749" fmla="*/ 519865 w 1674813"/>
                <a:gd name="connsiteY749" fmla="*/ 726899 h 2003425"/>
                <a:gd name="connsiteX750" fmla="*/ 470987 w 1674813"/>
                <a:gd name="connsiteY750" fmla="*/ 726899 h 2003425"/>
                <a:gd name="connsiteX751" fmla="*/ 503572 w 1674813"/>
                <a:gd name="connsiteY751" fmla="*/ 710730 h 2003425"/>
                <a:gd name="connsiteX752" fmla="*/ 497463 w 1674813"/>
                <a:gd name="connsiteY752" fmla="*/ 710730 h 2003425"/>
                <a:gd name="connsiteX753" fmla="*/ 488392 w 1674813"/>
                <a:gd name="connsiteY753" fmla="*/ 710730 h 2003425"/>
                <a:gd name="connsiteX754" fmla="*/ 488157 w 1674813"/>
                <a:gd name="connsiteY754" fmla="*/ 711200 h 2003425"/>
                <a:gd name="connsiteX755" fmla="*/ 488157 w 1674813"/>
                <a:gd name="connsiteY755" fmla="*/ 710730 h 2003425"/>
                <a:gd name="connsiteX756" fmla="*/ 482952 w 1674813"/>
                <a:gd name="connsiteY756" fmla="*/ 710730 h 2003425"/>
                <a:gd name="connsiteX757" fmla="*/ 455848 w 1674813"/>
                <a:gd name="connsiteY757" fmla="*/ 710730 h 2003425"/>
                <a:gd name="connsiteX758" fmla="*/ 455613 w 1674813"/>
                <a:gd name="connsiteY758" fmla="*/ 711200 h 2003425"/>
                <a:gd name="connsiteX759" fmla="*/ 455613 w 1674813"/>
                <a:gd name="connsiteY759" fmla="*/ 710730 h 2003425"/>
                <a:gd name="connsiteX760" fmla="*/ 454694 w 1674813"/>
                <a:gd name="connsiteY760" fmla="*/ 710730 h 2003425"/>
                <a:gd name="connsiteX761" fmla="*/ 455458 w 1674813"/>
                <a:gd name="connsiteY761" fmla="*/ 710225 h 2003425"/>
                <a:gd name="connsiteX762" fmla="*/ 455613 w 1674813"/>
                <a:gd name="connsiteY762" fmla="*/ 710122 h 2003425"/>
                <a:gd name="connsiteX763" fmla="*/ 455613 w 1674813"/>
                <a:gd name="connsiteY763" fmla="*/ 705098 h 2003425"/>
                <a:gd name="connsiteX764" fmla="*/ 455613 w 1674813"/>
                <a:gd name="connsiteY764" fmla="*/ 690606 h 2003425"/>
                <a:gd name="connsiteX765" fmla="*/ 455613 w 1674813"/>
                <a:gd name="connsiteY765" fmla="*/ 690291 h 2003425"/>
                <a:gd name="connsiteX766" fmla="*/ 438401 w 1674813"/>
                <a:gd name="connsiteY766" fmla="*/ 694561 h 2003425"/>
                <a:gd name="connsiteX767" fmla="*/ 444511 w 1674813"/>
                <a:gd name="connsiteY767" fmla="*/ 690519 h 2003425"/>
                <a:gd name="connsiteX768" fmla="*/ 455613 w 1674813"/>
                <a:gd name="connsiteY768" fmla="*/ 683174 h 2003425"/>
                <a:gd name="connsiteX769" fmla="*/ 585258 w 1674813"/>
                <a:gd name="connsiteY769" fmla="*/ 662277 h 2003425"/>
                <a:gd name="connsiteX770" fmla="*/ 589315 w 1674813"/>
                <a:gd name="connsiteY770" fmla="*/ 666318 h 2003425"/>
                <a:gd name="connsiteX771" fmla="*/ 592705 w 1674813"/>
                <a:gd name="connsiteY771" fmla="*/ 669694 h 2003425"/>
                <a:gd name="connsiteX772" fmla="*/ 593942 w 1674813"/>
                <a:gd name="connsiteY772" fmla="*/ 662277 h 2003425"/>
                <a:gd name="connsiteX773" fmla="*/ 480101 w 1674813"/>
                <a:gd name="connsiteY773" fmla="*/ 662223 h 2003425"/>
                <a:gd name="connsiteX774" fmla="*/ 476553 w 1674813"/>
                <a:gd name="connsiteY774" fmla="*/ 669320 h 2003425"/>
                <a:gd name="connsiteX775" fmla="*/ 487280 w 1674813"/>
                <a:gd name="connsiteY775" fmla="*/ 662223 h 2003425"/>
                <a:gd name="connsiteX776" fmla="*/ 779859 w 1674813"/>
                <a:gd name="connsiteY776" fmla="*/ 661988 h 2003425"/>
                <a:gd name="connsiteX777" fmla="*/ 780368 w 1674813"/>
                <a:gd name="connsiteY777" fmla="*/ 663000 h 2003425"/>
                <a:gd name="connsiteX778" fmla="*/ 781050 w 1674813"/>
                <a:gd name="connsiteY778" fmla="*/ 664358 h 2003425"/>
                <a:gd name="connsiteX779" fmla="*/ 781050 w 1674813"/>
                <a:gd name="connsiteY779" fmla="*/ 662936 h 2003425"/>
                <a:gd name="connsiteX780" fmla="*/ 545804 w 1674813"/>
                <a:gd name="connsiteY780" fmla="*/ 660164 h 2003425"/>
                <a:gd name="connsiteX781" fmla="*/ 544022 w 1674813"/>
                <a:gd name="connsiteY781" fmla="*/ 666923 h 2003425"/>
                <a:gd name="connsiteX782" fmla="*/ 552979 w 1674813"/>
                <a:gd name="connsiteY782" fmla="*/ 662517 h 2003425"/>
                <a:gd name="connsiteX783" fmla="*/ 758262 w 1674813"/>
                <a:gd name="connsiteY783" fmla="*/ 659146 h 2003425"/>
                <a:gd name="connsiteX784" fmla="*/ 754545 w 1674813"/>
                <a:gd name="connsiteY784" fmla="*/ 666579 h 2003425"/>
                <a:gd name="connsiteX785" fmla="*/ 763884 w 1674813"/>
                <a:gd name="connsiteY785" fmla="*/ 661938 h 2003425"/>
                <a:gd name="connsiteX786" fmla="*/ 690785 w 1674813"/>
                <a:gd name="connsiteY786" fmla="*/ 655532 h 2003425"/>
                <a:gd name="connsiteX787" fmla="*/ 685311 w 1674813"/>
                <a:gd name="connsiteY787" fmla="*/ 664656 h 2003425"/>
                <a:gd name="connsiteX788" fmla="*/ 686947 w 1674813"/>
                <a:gd name="connsiteY788" fmla="*/ 666282 h 2003425"/>
                <a:gd name="connsiteX789" fmla="*/ 709688 w 1674813"/>
                <a:gd name="connsiteY789" fmla="*/ 688871 h 2003425"/>
                <a:gd name="connsiteX790" fmla="*/ 715963 w 1674813"/>
                <a:gd name="connsiteY790" fmla="*/ 685753 h 2003425"/>
                <a:gd name="connsiteX791" fmla="*/ 715963 w 1674813"/>
                <a:gd name="connsiteY791" fmla="*/ 684758 h 2003425"/>
                <a:gd name="connsiteX792" fmla="*/ 715963 w 1674813"/>
                <a:gd name="connsiteY792" fmla="*/ 665536 h 2003425"/>
                <a:gd name="connsiteX793" fmla="*/ 699445 w 1674813"/>
                <a:gd name="connsiteY793" fmla="*/ 658973 h 2003425"/>
                <a:gd name="connsiteX794" fmla="*/ 839808 w 1674813"/>
                <a:gd name="connsiteY794" fmla="*/ 652443 h 2003425"/>
                <a:gd name="connsiteX795" fmla="*/ 836316 w 1674813"/>
                <a:gd name="connsiteY795" fmla="*/ 655934 h 2003425"/>
                <a:gd name="connsiteX796" fmla="*/ 840237 w 1674813"/>
                <a:gd name="connsiteY796" fmla="*/ 661136 h 2003425"/>
                <a:gd name="connsiteX797" fmla="*/ 848194 w 1674813"/>
                <a:gd name="connsiteY797" fmla="*/ 659030 h 2003425"/>
                <a:gd name="connsiteX798" fmla="*/ 850233 w 1674813"/>
                <a:gd name="connsiteY798" fmla="*/ 658667 h 2003425"/>
                <a:gd name="connsiteX799" fmla="*/ 841387 w 1674813"/>
                <a:gd name="connsiteY799" fmla="*/ 653386 h 2003425"/>
                <a:gd name="connsiteX800" fmla="*/ 818737 w 1674813"/>
                <a:gd name="connsiteY800" fmla="*/ 652098 h 2003425"/>
                <a:gd name="connsiteX801" fmla="*/ 817588 w 1674813"/>
                <a:gd name="connsiteY801" fmla="*/ 654396 h 2003425"/>
                <a:gd name="connsiteX802" fmla="*/ 818505 w 1674813"/>
                <a:gd name="connsiteY802" fmla="*/ 655916 h 2003425"/>
                <a:gd name="connsiteX803" fmla="*/ 824210 w 1674813"/>
                <a:gd name="connsiteY803" fmla="*/ 665378 h 2003425"/>
                <a:gd name="connsiteX804" fmla="*/ 830428 w 1674813"/>
                <a:gd name="connsiteY804" fmla="*/ 663732 h 2003425"/>
                <a:gd name="connsiteX805" fmla="*/ 822573 w 1674813"/>
                <a:gd name="connsiteY805" fmla="*/ 655916 h 2003425"/>
                <a:gd name="connsiteX806" fmla="*/ 518201 w 1674813"/>
                <a:gd name="connsiteY806" fmla="*/ 651111 h 2003425"/>
                <a:gd name="connsiteX807" fmla="*/ 515615 w 1674813"/>
                <a:gd name="connsiteY807" fmla="*/ 656283 h 2003425"/>
                <a:gd name="connsiteX808" fmla="*/ 509425 w 1674813"/>
                <a:gd name="connsiteY808" fmla="*/ 668664 h 2003425"/>
                <a:gd name="connsiteX809" fmla="*/ 518219 w 1674813"/>
                <a:gd name="connsiteY809" fmla="*/ 687487 h 2003425"/>
                <a:gd name="connsiteX810" fmla="*/ 520623 w 1674813"/>
                <a:gd name="connsiteY810" fmla="*/ 694648 h 2003425"/>
                <a:gd name="connsiteX811" fmla="*/ 520700 w 1674813"/>
                <a:gd name="connsiteY811" fmla="*/ 694623 h 2003425"/>
                <a:gd name="connsiteX812" fmla="*/ 520700 w 1674813"/>
                <a:gd name="connsiteY812" fmla="*/ 683741 h 2003425"/>
                <a:gd name="connsiteX813" fmla="*/ 520700 w 1674813"/>
                <a:gd name="connsiteY813" fmla="*/ 678657 h 2003425"/>
                <a:gd name="connsiteX814" fmla="*/ 520171 w 1674813"/>
                <a:gd name="connsiteY814" fmla="*/ 678657 h 2003425"/>
                <a:gd name="connsiteX815" fmla="*/ 520700 w 1674813"/>
                <a:gd name="connsiteY815" fmla="*/ 678396 h 2003425"/>
                <a:gd name="connsiteX816" fmla="*/ 520700 w 1674813"/>
                <a:gd name="connsiteY816" fmla="*/ 651931 h 2003425"/>
                <a:gd name="connsiteX817" fmla="*/ 734914 w 1674813"/>
                <a:gd name="connsiteY817" fmla="*/ 647550 h 2003425"/>
                <a:gd name="connsiteX818" fmla="*/ 732235 w 1674813"/>
                <a:gd name="connsiteY818" fmla="*/ 654249 h 2003425"/>
                <a:gd name="connsiteX819" fmla="*/ 729793 w 1674813"/>
                <a:gd name="connsiteY819" fmla="*/ 660352 h 2003425"/>
                <a:gd name="connsiteX820" fmla="*/ 742226 w 1674813"/>
                <a:gd name="connsiteY820" fmla="*/ 672702 h 2003425"/>
                <a:gd name="connsiteX821" fmla="*/ 748507 w 1674813"/>
                <a:gd name="connsiteY821" fmla="*/ 669580 h 2003425"/>
                <a:gd name="connsiteX822" fmla="*/ 748507 w 1674813"/>
                <a:gd name="connsiteY822" fmla="*/ 654301 h 2003425"/>
                <a:gd name="connsiteX823" fmla="*/ 1154602 w 1674813"/>
                <a:gd name="connsiteY823" fmla="*/ 646510 h 2003425"/>
                <a:gd name="connsiteX824" fmla="*/ 1154602 w 1674813"/>
                <a:gd name="connsiteY824" fmla="*/ 660072 h 2003425"/>
                <a:gd name="connsiteX825" fmla="*/ 1154602 w 1674813"/>
                <a:gd name="connsiteY825" fmla="*/ 673990 h 2003425"/>
                <a:gd name="connsiteX826" fmla="*/ 1170115 w 1674813"/>
                <a:gd name="connsiteY826" fmla="*/ 677139 h 2003425"/>
                <a:gd name="connsiteX827" fmla="*/ 1168849 w 1674813"/>
                <a:gd name="connsiteY827" fmla="*/ 674639 h 2003425"/>
                <a:gd name="connsiteX828" fmla="*/ 1154602 w 1674813"/>
                <a:gd name="connsiteY828" fmla="*/ 646510 h 2003425"/>
                <a:gd name="connsiteX829" fmla="*/ 1089474 w 1674813"/>
                <a:gd name="connsiteY829" fmla="*/ 646510 h 2003425"/>
                <a:gd name="connsiteX830" fmla="*/ 1096343 w 1674813"/>
                <a:gd name="connsiteY830" fmla="*/ 660072 h 2003425"/>
                <a:gd name="connsiteX831" fmla="*/ 1097661 w 1674813"/>
                <a:gd name="connsiteY831" fmla="*/ 662675 h 2003425"/>
                <a:gd name="connsiteX832" fmla="*/ 1105191 w 1674813"/>
                <a:gd name="connsiteY832" fmla="*/ 662026 h 2003425"/>
                <a:gd name="connsiteX833" fmla="*/ 1056909 w 1674813"/>
                <a:gd name="connsiteY833" fmla="*/ 646510 h 2003425"/>
                <a:gd name="connsiteX834" fmla="*/ 1063778 w 1674813"/>
                <a:gd name="connsiteY834" fmla="*/ 660072 h 2003425"/>
                <a:gd name="connsiteX835" fmla="*/ 1065056 w 1674813"/>
                <a:gd name="connsiteY835" fmla="*/ 662594 h 2003425"/>
                <a:gd name="connsiteX836" fmla="*/ 1083295 w 1674813"/>
                <a:gd name="connsiteY836" fmla="*/ 663876 h 2003425"/>
                <a:gd name="connsiteX837" fmla="*/ 926844 w 1674813"/>
                <a:gd name="connsiteY837" fmla="*/ 646330 h 2003425"/>
                <a:gd name="connsiteX838" fmla="*/ 926735 w 1674813"/>
                <a:gd name="connsiteY838" fmla="*/ 646367 h 2003425"/>
                <a:gd name="connsiteX839" fmla="*/ 922387 w 1674813"/>
                <a:gd name="connsiteY839" fmla="*/ 647816 h 2003425"/>
                <a:gd name="connsiteX840" fmla="*/ 926178 w 1674813"/>
                <a:gd name="connsiteY840" fmla="*/ 647432 h 2003425"/>
                <a:gd name="connsiteX841" fmla="*/ 927062 w 1674813"/>
                <a:gd name="connsiteY841" fmla="*/ 646548 h 2003425"/>
                <a:gd name="connsiteX842" fmla="*/ 667136 w 1674813"/>
                <a:gd name="connsiteY842" fmla="*/ 646135 h 2003425"/>
                <a:gd name="connsiteX843" fmla="*/ 666980 w 1674813"/>
                <a:gd name="connsiteY843" fmla="*/ 646447 h 2003425"/>
                <a:gd name="connsiteX844" fmla="*/ 667116 w 1674813"/>
                <a:gd name="connsiteY844" fmla="*/ 646582 h 2003425"/>
                <a:gd name="connsiteX845" fmla="*/ 672455 w 1674813"/>
                <a:gd name="connsiteY845" fmla="*/ 651886 h 2003425"/>
                <a:gd name="connsiteX846" fmla="*/ 675209 w 1674813"/>
                <a:gd name="connsiteY846" fmla="*/ 654621 h 2003425"/>
                <a:gd name="connsiteX847" fmla="*/ 676186 w 1674813"/>
                <a:gd name="connsiteY847" fmla="*/ 649732 h 2003425"/>
                <a:gd name="connsiteX848" fmla="*/ 669849 w 1674813"/>
                <a:gd name="connsiteY848" fmla="*/ 647213 h 2003425"/>
                <a:gd name="connsiteX849" fmla="*/ 622584 w 1674813"/>
                <a:gd name="connsiteY849" fmla="*/ 646113 h 2003425"/>
                <a:gd name="connsiteX850" fmla="*/ 618340 w 1674813"/>
                <a:gd name="connsiteY850" fmla="*/ 657097 h 2003425"/>
                <a:gd name="connsiteX851" fmla="*/ 633941 w 1674813"/>
                <a:gd name="connsiteY851" fmla="*/ 662277 h 2003425"/>
                <a:gd name="connsiteX852" fmla="*/ 627856 w 1674813"/>
                <a:gd name="connsiteY852" fmla="*/ 662277 h 2003425"/>
                <a:gd name="connsiteX853" fmla="*/ 616339 w 1674813"/>
                <a:gd name="connsiteY853" fmla="*/ 662277 h 2003425"/>
                <a:gd name="connsiteX854" fmla="*/ 616298 w 1674813"/>
                <a:gd name="connsiteY854" fmla="*/ 662385 h 2003425"/>
                <a:gd name="connsiteX855" fmla="*/ 606331 w 1674813"/>
                <a:gd name="connsiteY855" fmla="*/ 683266 h 2003425"/>
                <a:gd name="connsiteX856" fmla="*/ 617714 w 1674813"/>
                <a:gd name="connsiteY856" fmla="*/ 694604 h 2003425"/>
                <a:gd name="connsiteX857" fmla="*/ 604022 w 1674813"/>
                <a:gd name="connsiteY857" fmla="*/ 694604 h 2003425"/>
                <a:gd name="connsiteX858" fmla="*/ 600920 w 1674813"/>
                <a:gd name="connsiteY858" fmla="*/ 694604 h 2003425"/>
                <a:gd name="connsiteX859" fmla="*/ 600280 w 1674813"/>
                <a:gd name="connsiteY859" fmla="*/ 695945 h 2003425"/>
                <a:gd name="connsiteX860" fmla="*/ 597099 w 1674813"/>
                <a:gd name="connsiteY860" fmla="*/ 700501 h 2003425"/>
                <a:gd name="connsiteX861" fmla="*/ 598950 w 1674813"/>
                <a:gd name="connsiteY861" fmla="*/ 701423 h 2003425"/>
                <a:gd name="connsiteX862" fmla="*/ 608837 w 1674813"/>
                <a:gd name="connsiteY862" fmla="*/ 706347 h 2003425"/>
                <a:gd name="connsiteX863" fmla="*/ 617537 w 1674813"/>
                <a:gd name="connsiteY863" fmla="*/ 696336 h 2003425"/>
                <a:gd name="connsiteX864" fmla="*/ 624044 w 1674813"/>
                <a:gd name="connsiteY864" fmla="*/ 689604 h 2003425"/>
                <a:gd name="connsiteX865" fmla="*/ 624661 w 1674813"/>
                <a:gd name="connsiteY865" fmla="*/ 688891 h 2003425"/>
                <a:gd name="connsiteX866" fmla="*/ 624424 w 1674813"/>
                <a:gd name="connsiteY866" fmla="*/ 689210 h 2003425"/>
                <a:gd name="connsiteX867" fmla="*/ 634603 w 1674813"/>
                <a:gd name="connsiteY867" fmla="*/ 678677 h 2003425"/>
                <a:gd name="connsiteX868" fmla="*/ 634603 w 1674813"/>
                <a:gd name="connsiteY868" fmla="*/ 677413 h 2003425"/>
                <a:gd name="connsiteX869" fmla="*/ 624661 w 1674813"/>
                <a:gd name="connsiteY869" fmla="*/ 688891 h 2003425"/>
                <a:gd name="connsiteX870" fmla="*/ 634603 w 1674813"/>
                <a:gd name="connsiteY870" fmla="*/ 675502 h 2003425"/>
                <a:gd name="connsiteX871" fmla="*/ 634603 w 1674813"/>
                <a:gd name="connsiteY871" fmla="*/ 670012 h 2003425"/>
                <a:gd name="connsiteX872" fmla="*/ 634603 w 1674813"/>
                <a:gd name="connsiteY872" fmla="*/ 646113 h 2003425"/>
                <a:gd name="connsiteX873" fmla="*/ 585788 w 1674813"/>
                <a:gd name="connsiteY873" fmla="*/ 646113 h 2003425"/>
                <a:gd name="connsiteX874" fmla="*/ 585712 w 1674813"/>
                <a:gd name="connsiteY874" fmla="*/ 646264 h 2003425"/>
                <a:gd name="connsiteX875" fmla="*/ 586019 w 1674813"/>
                <a:gd name="connsiteY875" fmla="*/ 646366 h 2003425"/>
                <a:gd name="connsiteX876" fmla="*/ 591344 w 1674813"/>
                <a:gd name="connsiteY876" fmla="*/ 648134 h 2003425"/>
                <a:gd name="connsiteX877" fmla="*/ 596039 w 1674813"/>
                <a:gd name="connsiteY877" fmla="*/ 649693 h 2003425"/>
                <a:gd name="connsiteX878" fmla="*/ 596636 w 1674813"/>
                <a:gd name="connsiteY878" fmla="*/ 646113 h 2003425"/>
                <a:gd name="connsiteX879" fmla="*/ 595401 w 1674813"/>
                <a:gd name="connsiteY879" fmla="*/ 646113 h 2003425"/>
                <a:gd name="connsiteX880" fmla="*/ 520700 w 1674813"/>
                <a:gd name="connsiteY880" fmla="*/ 646113 h 2003425"/>
                <a:gd name="connsiteX881" fmla="*/ 520568 w 1674813"/>
                <a:gd name="connsiteY881" fmla="*/ 646378 h 2003425"/>
                <a:gd name="connsiteX882" fmla="*/ 520700 w 1674813"/>
                <a:gd name="connsiteY882" fmla="*/ 646378 h 2003425"/>
                <a:gd name="connsiteX883" fmla="*/ 828675 w 1674813"/>
                <a:gd name="connsiteY883" fmla="*/ 645795 h 2003425"/>
                <a:gd name="connsiteX884" fmla="*/ 829438 w 1674813"/>
                <a:gd name="connsiteY884" fmla="*/ 646807 h 2003425"/>
                <a:gd name="connsiteX885" fmla="*/ 829866 w 1674813"/>
                <a:gd name="connsiteY885" fmla="*/ 647376 h 2003425"/>
                <a:gd name="connsiteX886" fmla="*/ 829866 w 1674813"/>
                <a:gd name="connsiteY886" fmla="*/ 646506 h 2003425"/>
                <a:gd name="connsiteX887" fmla="*/ 795673 w 1674813"/>
                <a:gd name="connsiteY887" fmla="*/ 645485 h 2003425"/>
                <a:gd name="connsiteX888" fmla="*/ 788402 w 1674813"/>
                <a:gd name="connsiteY888" fmla="*/ 649248 h 2003425"/>
                <a:gd name="connsiteX889" fmla="*/ 788273 w 1674813"/>
                <a:gd name="connsiteY889" fmla="*/ 649764 h 2003425"/>
                <a:gd name="connsiteX890" fmla="*/ 796131 w 1674813"/>
                <a:gd name="connsiteY890" fmla="*/ 645795 h 2003425"/>
                <a:gd name="connsiteX891" fmla="*/ 796290 w 1674813"/>
                <a:gd name="connsiteY891" fmla="*/ 645730 h 2003425"/>
                <a:gd name="connsiteX892" fmla="*/ 549721 w 1674813"/>
                <a:gd name="connsiteY892" fmla="*/ 645309 h 2003425"/>
                <a:gd name="connsiteX893" fmla="*/ 549439 w 1674813"/>
                <a:gd name="connsiteY893" fmla="*/ 646378 h 2003425"/>
                <a:gd name="connsiteX894" fmla="*/ 552979 w 1674813"/>
                <a:gd name="connsiteY894" fmla="*/ 646378 h 2003425"/>
                <a:gd name="connsiteX895" fmla="*/ 789915 w 1674813"/>
                <a:gd name="connsiteY895" fmla="*/ 643197 h 2003425"/>
                <a:gd name="connsiteX896" fmla="*/ 788819 w 1674813"/>
                <a:gd name="connsiteY896" fmla="*/ 647581 h 2003425"/>
                <a:gd name="connsiteX897" fmla="*/ 793770 w 1674813"/>
                <a:gd name="connsiteY897" fmla="*/ 644729 h 2003425"/>
                <a:gd name="connsiteX898" fmla="*/ 793032 w 1674813"/>
                <a:gd name="connsiteY898" fmla="*/ 644435 h 2003425"/>
                <a:gd name="connsiteX899" fmla="*/ 806500 w 1674813"/>
                <a:gd name="connsiteY899" fmla="*/ 641102 h 2003425"/>
                <a:gd name="connsiteX900" fmla="*/ 800596 w 1674813"/>
                <a:gd name="connsiteY900" fmla="*/ 642936 h 2003425"/>
                <a:gd name="connsiteX901" fmla="*/ 795908 w 1674813"/>
                <a:gd name="connsiteY901" fmla="*/ 645363 h 2003425"/>
                <a:gd name="connsiteX902" fmla="*/ 796362 w 1674813"/>
                <a:gd name="connsiteY902" fmla="*/ 645701 h 2003425"/>
                <a:gd name="connsiteX903" fmla="*/ 806629 w 1674813"/>
                <a:gd name="connsiteY903" fmla="*/ 641489 h 2003425"/>
                <a:gd name="connsiteX904" fmla="*/ 886474 w 1674813"/>
                <a:gd name="connsiteY904" fmla="*/ 638320 h 2003425"/>
                <a:gd name="connsiteX905" fmla="*/ 883410 w 1674813"/>
                <a:gd name="connsiteY905" fmla="*/ 641384 h 2003425"/>
                <a:gd name="connsiteX906" fmla="*/ 886303 w 1674813"/>
                <a:gd name="connsiteY906" fmla="*/ 647142 h 2003425"/>
                <a:gd name="connsiteX907" fmla="*/ 889360 w 1674813"/>
                <a:gd name="connsiteY907" fmla="*/ 641027 h 2003425"/>
                <a:gd name="connsiteX908" fmla="*/ 887660 w 1674813"/>
                <a:gd name="connsiteY908" fmla="*/ 639470 h 2003425"/>
                <a:gd name="connsiteX909" fmla="*/ 770161 w 1674813"/>
                <a:gd name="connsiteY909" fmla="*/ 635348 h 2003425"/>
                <a:gd name="connsiteX910" fmla="*/ 764779 w 1674813"/>
                <a:gd name="connsiteY910" fmla="*/ 646113 h 2003425"/>
                <a:gd name="connsiteX911" fmla="*/ 759211 w 1674813"/>
                <a:gd name="connsiteY911" fmla="*/ 657247 h 2003425"/>
                <a:gd name="connsiteX912" fmla="*/ 763917 w 1674813"/>
                <a:gd name="connsiteY912" fmla="*/ 661922 h 2003425"/>
                <a:gd name="connsiteX913" fmla="*/ 763984 w 1674813"/>
                <a:gd name="connsiteY913" fmla="*/ 661889 h 2003425"/>
                <a:gd name="connsiteX914" fmla="*/ 763918 w 1674813"/>
                <a:gd name="connsiteY914" fmla="*/ 661923 h 2003425"/>
                <a:gd name="connsiteX915" fmla="*/ 763984 w 1674813"/>
                <a:gd name="connsiteY915" fmla="*/ 661988 h 2003425"/>
                <a:gd name="connsiteX916" fmla="*/ 763886 w 1674813"/>
                <a:gd name="connsiteY916" fmla="*/ 661939 h 2003425"/>
                <a:gd name="connsiteX917" fmla="*/ 754445 w 1674813"/>
                <a:gd name="connsiteY917" fmla="*/ 666779 h 2003425"/>
                <a:gd name="connsiteX918" fmla="*/ 754397 w 1674813"/>
                <a:gd name="connsiteY918" fmla="*/ 666875 h 2003425"/>
                <a:gd name="connsiteX919" fmla="*/ 781050 w 1674813"/>
                <a:gd name="connsiteY919" fmla="*/ 653413 h 2003425"/>
                <a:gd name="connsiteX920" fmla="*/ 781050 w 1674813"/>
                <a:gd name="connsiteY920" fmla="*/ 653054 h 2003425"/>
                <a:gd name="connsiteX921" fmla="*/ 763984 w 1674813"/>
                <a:gd name="connsiteY921" fmla="*/ 661889 h 2003425"/>
                <a:gd name="connsiteX922" fmla="*/ 781050 w 1674813"/>
                <a:gd name="connsiteY922" fmla="*/ 652057 h 2003425"/>
                <a:gd name="connsiteX923" fmla="*/ 781050 w 1674813"/>
                <a:gd name="connsiteY923" fmla="*/ 651198 h 2003425"/>
                <a:gd name="connsiteX924" fmla="*/ 781050 w 1674813"/>
                <a:gd name="connsiteY924" fmla="*/ 639675 h 2003425"/>
                <a:gd name="connsiteX925" fmla="*/ 774296 w 1674813"/>
                <a:gd name="connsiteY925" fmla="*/ 636991 h 2003425"/>
                <a:gd name="connsiteX926" fmla="*/ 678321 w 1674813"/>
                <a:gd name="connsiteY926" fmla="*/ 634106 h 2003425"/>
                <a:gd name="connsiteX927" fmla="*/ 668513 w 1674813"/>
                <a:gd name="connsiteY927" fmla="*/ 643380 h 2003425"/>
                <a:gd name="connsiteX928" fmla="*/ 668001 w 1674813"/>
                <a:gd name="connsiteY928" fmla="*/ 644405 h 2003425"/>
                <a:gd name="connsiteX929" fmla="*/ 1123472 w 1674813"/>
                <a:gd name="connsiteY929" fmla="*/ 632561 h 2003425"/>
                <a:gd name="connsiteX930" fmla="*/ 1122038 w 1674813"/>
                <a:gd name="connsiteY930" fmla="*/ 632803 h 2003425"/>
                <a:gd name="connsiteX931" fmla="*/ 1122038 w 1674813"/>
                <a:gd name="connsiteY931" fmla="*/ 632980 h 2003425"/>
                <a:gd name="connsiteX932" fmla="*/ 1122038 w 1674813"/>
                <a:gd name="connsiteY932" fmla="*/ 650780 h 2003425"/>
                <a:gd name="connsiteX933" fmla="*/ 1122038 w 1674813"/>
                <a:gd name="connsiteY933" fmla="*/ 666028 h 2003425"/>
                <a:gd name="connsiteX934" fmla="*/ 1150868 w 1674813"/>
                <a:gd name="connsiteY934" fmla="*/ 673128 h 2003425"/>
                <a:gd name="connsiteX935" fmla="*/ 1150531 w 1674813"/>
                <a:gd name="connsiteY935" fmla="*/ 672630 h 2003425"/>
                <a:gd name="connsiteX936" fmla="*/ 1140864 w 1674813"/>
                <a:gd name="connsiteY936" fmla="*/ 658314 h 2003425"/>
                <a:gd name="connsiteX937" fmla="*/ 704606 w 1674813"/>
                <a:gd name="connsiteY937" fmla="*/ 632497 h 2003425"/>
                <a:gd name="connsiteX938" fmla="*/ 703540 w 1674813"/>
                <a:gd name="connsiteY938" fmla="*/ 634273 h 2003425"/>
                <a:gd name="connsiteX939" fmla="*/ 707585 w 1674813"/>
                <a:gd name="connsiteY939" fmla="*/ 638291 h 2003425"/>
                <a:gd name="connsiteX940" fmla="*/ 715963 w 1674813"/>
                <a:gd name="connsiteY940" fmla="*/ 646614 h 2003425"/>
                <a:gd name="connsiteX941" fmla="*/ 715963 w 1674813"/>
                <a:gd name="connsiteY941" fmla="*/ 638137 h 2003425"/>
                <a:gd name="connsiteX942" fmla="*/ 704903 w 1674813"/>
                <a:gd name="connsiteY942" fmla="*/ 632644 h 2003425"/>
                <a:gd name="connsiteX943" fmla="*/ 1236012 w 1674813"/>
                <a:gd name="connsiteY943" fmla="*/ 630437 h 2003425"/>
                <a:gd name="connsiteX944" fmla="*/ 1236012 w 1674813"/>
                <a:gd name="connsiteY944" fmla="*/ 657561 h 2003425"/>
                <a:gd name="connsiteX945" fmla="*/ 1236012 w 1674813"/>
                <a:gd name="connsiteY945" fmla="*/ 693471 h 2003425"/>
                <a:gd name="connsiteX946" fmla="*/ 1262992 w 1674813"/>
                <a:gd name="connsiteY946" fmla="*/ 701048 h 2003425"/>
                <a:gd name="connsiteX947" fmla="*/ 1264909 w 1674813"/>
                <a:gd name="connsiteY947" fmla="*/ 701753 h 2003425"/>
                <a:gd name="connsiteX948" fmla="*/ 1263488 w 1674813"/>
                <a:gd name="connsiteY948" fmla="*/ 698247 h 2003425"/>
                <a:gd name="connsiteX949" fmla="*/ 1236012 w 1674813"/>
                <a:gd name="connsiteY949" fmla="*/ 630437 h 2003425"/>
                <a:gd name="connsiteX950" fmla="*/ 1203448 w 1674813"/>
                <a:gd name="connsiteY950" fmla="*/ 630437 h 2003425"/>
                <a:gd name="connsiteX951" fmla="*/ 1203448 w 1674813"/>
                <a:gd name="connsiteY951" fmla="*/ 657561 h 2003425"/>
                <a:gd name="connsiteX952" fmla="*/ 1203448 w 1674813"/>
                <a:gd name="connsiteY952" fmla="*/ 684327 h 2003425"/>
                <a:gd name="connsiteX953" fmla="*/ 1235268 w 1674813"/>
                <a:gd name="connsiteY953" fmla="*/ 693263 h 2003425"/>
                <a:gd name="connsiteX954" fmla="*/ 1230924 w 1674813"/>
                <a:gd name="connsiteY954" fmla="*/ 684685 h 2003425"/>
                <a:gd name="connsiteX955" fmla="*/ 1203448 w 1674813"/>
                <a:gd name="connsiteY955" fmla="*/ 630437 h 2003425"/>
                <a:gd name="connsiteX956" fmla="*/ 1187166 w 1674813"/>
                <a:gd name="connsiteY956" fmla="*/ 630437 h 2003425"/>
                <a:gd name="connsiteX957" fmla="*/ 1180297 w 1674813"/>
                <a:gd name="connsiteY957" fmla="*/ 650780 h 2003425"/>
                <a:gd name="connsiteX958" fmla="*/ 1171314 w 1674813"/>
                <a:gd name="connsiteY958" fmla="*/ 677382 h 2003425"/>
                <a:gd name="connsiteX959" fmla="*/ 1198007 w 1674813"/>
                <a:gd name="connsiteY959" fmla="*/ 682799 h 2003425"/>
                <a:gd name="connsiteX960" fmla="*/ 1200611 w 1674813"/>
                <a:gd name="connsiteY960" fmla="*/ 683531 h 2003425"/>
                <a:gd name="connsiteX961" fmla="*/ 1196579 w 1674813"/>
                <a:gd name="connsiteY961" fmla="*/ 667607 h 2003425"/>
                <a:gd name="connsiteX962" fmla="*/ 1187166 w 1674813"/>
                <a:gd name="connsiteY962" fmla="*/ 630437 h 2003425"/>
                <a:gd name="connsiteX963" fmla="*/ 743960 w 1674813"/>
                <a:gd name="connsiteY963" fmla="*/ 624937 h 2003425"/>
                <a:gd name="connsiteX964" fmla="*/ 743422 w 1674813"/>
                <a:gd name="connsiteY964" fmla="*/ 626281 h 2003425"/>
                <a:gd name="connsiteX965" fmla="*/ 739047 w 1674813"/>
                <a:gd name="connsiteY965" fmla="*/ 637217 h 2003425"/>
                <a:gd name="connsiteX966" fmla="*/ 748507 w 1674813"/>
                <a:gd name="connsiteY966" fmla="*/ 646614 h 2003425"/>
                <a:gd name="connsiteX967" fmla="*/ 748507 w 1674813"/>
                <a:gd name="connsiteY967" fmla="*/ 626744 h 2003425"/>
                <a:gd name="connsiteX968" fmla="*/ 748261 w 1674813"/>
                <a:gd name="connsiteY968" fmla="*/ 626646 h 2003425"/>
                <a:gd name="connsiteX969" fmla="*/ 634529 w 1674813"/>
                <a:gd name="connsiteY969" fmla="*/ 613786 h 2003425"/>
                <a:gd name="connsiteX970" fmla="*/ 633173 w 1674813"/>
                <a:gd name="connsiteY970" fmla="*/ 617764 h 2003425"/>
                <a:gd name="connsiteX971" fmla="*/ 629264 w 1674813"/>
                <a:gd name="connsiteY971" fmla="*/ 628824 h 2003425"/>
                <a:gd name="connsiteX972" fmla="*/ 628216 w 1674813"/>
                <a:gd name="connsiteY972" fmla="*/ 631536 h 2003425"/>
                <a:gd name="connsiteX973" fmla="*/ 634603 w 1674813"/>
                <a:gd name="connsiteY973" fmla="*/ 635777 h 2003425"/>
                <a:gd name="connsiteX974" fmla="*/ 634603 w 1674813"/>
                <a:gd name="connsiteY974" fmla="*/ 613786 h 2003425"/>
                <a:gd name="connsiteX975" fmla="*/ 601951 w 1674813"/>
                <a:gd name="connsiteY975" fmla="*/ 613786 h 2003425"/>
                <a:gd name="connsiteX976" fmla="*/ 601835 w 1674813"/>
                <a:gd name="connsiteY976" fmla="*/ 614018 h 2003425"/>
                <a:gd name="connsiteX977" fmla="*/ 601970 w 1674813"/>
                <a:gd name="connsiteY977" fmla="*/ 614107 h 2003425"/>
                <a:gd name="connsiteX978" fmla="*/ 602024 w 1674813"/>
                <a:gd name="connsiteY978" fmla="*/ 613786 h 2003425"/>
                <a:gd name="connsiteX979" fmla="*/ 715845 w 1674813"/>
                <a:gd name="connsiteY979" fmla="*/ 613766 h 2003425"/>
                <a:gd name="connsiteX980" fmla="*/ 715693 w 1674813"/>
                <a:gd name="connsiteY980" fmla="*/ 614018 h 2003425"/>
                <a:gd name="connsiteX981" fmla="*/ 715963 w 1674813"/>
                <a:gd name="connsiteY981" fmla="*/ 614286 h 2003425"/>
                <a:gd name="connsiteX982" fmla="*/ 715963 w 1674813"/>
                <a:gd name="connsiteY982" fmla="*/ 613813 h 2003425"/>
                <a:gd name="connsiteX983" fmla="*/ 942628 w 1674813"/>
                <a:gd name="connsiteY983" fmla="*/ 613611 h 2003425"/>
                <a:gd name="connsiteX984" fmla="*/ 942755 w 1674813"/>
                <a:gd name="connsiteY984" fmla="*/ 614114 h 2003425"/>
                <a:gd name="connsiteX985" fmla="*/ 943109 w 1674813"/>
                <a:gd name="connsiteY985" fmla="*/ 613938 h 2003425"/>
                <a:gd name="connsiteX986" fmla="*/ 942780 w 1674813"/>
                <a:gd name="connsiteY986" fmla="*/ 613611 h 2003425"/>
                <a:gd name="connsiteX987" fmla="*/ 942752 w 1674813"/>
                <a:gd name="connsiteY987" fmla="*/ 613611 h 2003425"/>
                <a:gd name="connsiteX988" fmla="*/ 797322 w 1674813"/>
                <a:gd name="connsiteY988" fmla="*/ 613569 h 2003425"/>
                <a:gd name="connsiteX989" fmla="*/ 790458 w 1674813"/>
                <a:gd name="connsiteY989" fmla="*/ 641028 h 2003425"/>
                <a:gd name="connsiteX990" fmla="*/ 790400 w 1674813"/>
                <a:gd name="connsiteY990" fmla="*/ 641259 h 2003425"/>
                <a:gd name="connsiteX991" fmla="*/ 794496 w 1674813"/>
                <a:gd name="connsiteY991" fmla="*/ 644311 h 2003425"/>
                <a:gd name="connsiteX992" fmla="*/ 805463 w 1674813"/>
                <a:gd name="connsiteY992" fmla="*/ 637992 h 2003425"/>
                <a:gd name="connsiteX993" fmla="*/ 781050 w 1674813"/>
                <a:gd name="connsiteY993" fmla="*/ 613569 h 2003425"/>
                <a:gd name="connsiteX994" fmla="*/ 775965 w 1674813"/>
                <a:gd name="connsiteY994" fmla="*/ 623739 h 2003425"/>
                <a:gd name="connsiteX995" fmla="*/ 773500 w 1674813"/>
                <a:gd name="connsiteY995" fmla="*/ 628669 h 2003425"/>
                <a:gd name="connsiteX996" fmla="*/ 781050 w 1674813"/>
                <a:gd name="connsiteY996" fmla="*/ 634294 h 2003425"/>
                <a:gd name="connsiteX997" fmla="*/ 683419 w 1674813"/>
                <a:gd name="connsiteY997" fmla="*/ 613569 h 2003425"/>
                <a:gd name="connsiteX998" fmla="*/ 675791 w 1674813"/>
                <a:gd name="connsiteY998" fmla="*/ 628824 h 2003425"/>
                <a:gd name="connsiteX999" fmla="*/ 668841 w 1674813"/>
                <a:gd name="connsiteY999" fmla="*/ 642724 h 2003425"/>
                <a:gd name="connsiteX1000" fmla="*/ 679563 w 1674813"/>
                <a:gd name="connsiteY1000" fmla="*/ 632847 h 2003425"/>
                <a:gd name="connsiteX1001" fmla="*/ 1032922 w 1674813"/>
                <a:gd name="connsiteY1001" fmla="*/ 609379 h 2003425"/>
                <a:gd name="connsiteX1002" fmla="*/ 1031807 w 1674813"/>
                <a:gd name="connsiteY1002" fmla="*/ 609934 h 2003425"/>
                <a:gd name="connsiteX1003" fmla="*/ 1030919 w 1674813"/>
                <a:gd name="connsiteY1003" fmla="*/ 611112 h 2003425"/>
                <a:gd name="connsiteX1004" fmla="*/ 1031112 w 1674813"/>
                <a:gd name="connsiteY1004" fmla="*/ 611496 h 2003425"/>
                <a:gd name="connsiteX1005" fmla="*/ 1040210 w 1674813"/>
                <a:gd name="connsiteY1005" fmla="*/ 597218 h 2003425"/>
                <a:gd name="connsiteX1006" fmla="*/ 1040400 w 1674813"/>
                <a:gd name="connsiteY1006" fmla="*/ 597312 h 2003425"/>
                <a:gd name="connsiteX1007" fmla="*/ 1043239 w 1674813"/>
                <a:gd name="connsiteY1007" fmla="*/ 597312 h 2003425"/>
                <a:gd name="connsiteX1008" fmla="*/ 1043320 w 1674813"/>
                <a:gd name="connsiteY1008" fmla="*/ 597218 h 2003425"/>
                <a:gd name="connsiteX1009" fmla="*/ 610016 w 1674813"/>
                <a:gd name="connsiteY1009" fmla="*/ 581459 h 2003425"/>
                <a:gd name="connsiteX1010" fmla="*/ 608355 w 1674813"/>
                <a:gd name="connsiteY1010" fmla="*/ 584880 h 2003425"/>
                <a:gd name="connsiteX1011" fmla="*/ 609600 w 1674813"/>
                <a:gd name="connsiteY1011" fmla="*/ 585500 h 2003425"/>
                <a:gd name="connsiteX1012" fmla="*/ 622939 w 1674813"/>
                <a:gd name="connsiteY1012" fmla="*/ 592143 h 2003425"/>
                <a:gd name="connsiteX1013" fmla="*/ 680680 w 1674813"/>
                <a:gd name="connsiteY1013" fmla="*/ 581459 h 2003425"/>
                <a:gd name="connsiteX1014" fmla="*/ 668045 w 1674813"/>
                <a:gd name="connsiteY1014" fmla="*/ 581459 h 2003425"/>
                <a:gd name="connsiteX1015" fmla="*/ 616699 w 1674813"/>
                <a:gd name="connsiteY1015" fmla="*/ 581459 h 2003425"/>
                <a:gd name="connsiteX1016" fmla="*/ 763984 w 1674813"/>
                <a:gd name="connsiteY1016" fmla="*/ 581170 h 2003425"/>
                <a:gd name="connsiteX1017" fmla="*/ 770086 w 1674813"/>
                <a:gd name="connsiteY1017" fmla="*/ 585211 h 2003425"/>
                <a:gd name="connsiteX1018" fmla="*/ 771486 w 1674813"/>
                <a:gd name="connsiteY1018" fmla="*/ 586138 h 2003425"/>
                <a:gd name="connsiteX1019" fmla="*/ 795797 w 1674813"/>
                <a:gd name="connsiteY1019" fmla="*/ 589070 h 2003425"/>
                <a:gd name="connsiteX1020" fmla="*/ 774154 w 1674813"/>
                <a:gd name="connsiteY1020" fmla="*/ 583695 h 2003425"/>
                <a:gd name="connsiteX1021" fmla="*/ 763984 w 1674813"/>
                <a:gd name="connsiteY1021" fmla="*/ 581170 h 2003425"/>
                <a:gd name="connsiteX1022" fmla="*/ 979550 w 1674813"/>
                <a:gd name="connsiteY1022" fmla="*/ 569625 h 2003425"/>
                <a:gd name="connsiteX1023" fmla="*/ 979998 w 1674813"/>
                <a:gd name="connsiteY1023" fmla="*/ 571068 h 2003425"/>
                <a:gd name="connsiteX1024" fmla="*/ 982680 w 1674813"/>
                <a:gd name="connsiteY1024" fmla="*/ 585229 h 2003425"/>
                <a:gd name="connsiteX1025" fmla="*/ 985154 w 1674813"/>
                <a:gd name="connsiteY1025" fmla="*/ 586462 h 2003425"/>
                <a:gd name="connsiteX1026" fmla="*/ 989139 w 1674813"/>
                <a:gd name="connsiteY1026" fmla="*/ 586216 h 2003425"/>
                <a:gd name="connsiteX1027" fmla="*/ 990118 w 1674813"/>
                <a:gd name="connsiteY1027" fmla="*/ 580154 h 2003425"/>
                <a:gd name="connsiteX1028" fmla="*/ 821505 w 1674813"/>
                <a:gd name="connsiteY1028" fmla="*/ 565383 h 2003425"/>
                <a:gd name="connsiteX1029" fmla="*/ 811891 w 1674813"/>
                <a:gd name="connsiteY1029" fmla="*/ 571734 h 2003425"/>
                <a:gd name="connsiteX1030" fmla="*/ 826698 w 1674813"/>
                <a:gd name="connsiteY1030" fmla="*/ 593797 h 2003425"/>
                <a:gd name="connsiteX1031" fmla="*/ 830832 w 1674813"/>
                <a:gd name="connsiteY1031" fmla="*/ 594614 h 2003425"/>
                <a:gd name="connsiteX1032" fmla="*/ 836731 w 1674813"/>
                <a:gd name="connsiteY1032" fmla="*/ 577076 h 2003425"/>
                <a:gd name="connsiteX1033" fmla="*/ 837173 w 1674813"/>
                <a:gd name="connsiteY1033" fmla="*/ 575759 h 2003425"/>
                <a:gd name="connsiteX1034" fmla="*/ 878682 w 1674813"/>
                <a:gd name="connsiteY1034" fmla="*/ 565234 h 2003425"/>
                <a:gd name="connsiteX1035" fmla="*/ 858088 w 1674813"/>
                <a:gd name="connsiteY1035" fmla="*/ 578840 h 2003425"/>
                <a:gd name="connsiteX1036" fmla="*/ 833434 w 1674813"/>
                <a:gd name="connsiteY1036" fmla="*/ 595128 h 2003425"/>
                <a:gd name="connsiteX1037" fmla="*/ 866653 w 1674813"/>
                <a:gd name="connsiteY1037" fmla="*/ 601691 h 2003425"/>
                <a:gd name="connsiteX1038" fmla="*/ 884689 w 1674813"/>
                <a:gd name="connsiteY1038" fmla="*/ 606587 h 2003425"/>
                <a:gd name="connsiteX1039" fmla="*/ 894159 w 1674813"/>
                <a:gd name="connsiteY1039" fmla="*/ 603263 h 2003425"/>
                <a:gd name="connsiteX1040" fmla="*/ 903028 w 1674813"/>
                <a:gd name="connsiteY1040" fmla="*/ 601547 h 2003425"/>
                <a:gd name="connsiteX1041" fmla="*/ 911225 w 1674813"/>
                <a:gd name="connsiteY1041" fmla="*/ 597485 h 2003425"/>
                <a:gd name="connsiteX1042" fmla="*/ 862410 w 1674813"/>
                <a:gd name="connsiteY1042" fmla="*/ 597485 h 2003425"/>
                <a:gd name="connsiteX1043" fmla="*/ 878682 w 1674813"/>
                <a:gd name="connsiteY1043" fmla="*/ 565234 h 2003425"/>
                <a:gd name="connsiteX1044" fmla="*/ 1057170 w 1674813"/>
                <a:gd name="connsiteY1044" fmla="*/ 564974 h 2003425"/>
                <a:gd name="connsiteX1045" fmla="*/ 1059200 w 1674813"/>
                <a:gd name="connsiteY1045" fmla="*/ 566995 h 2003425"/>
                <a:gd name="connsiteX1046" fmla="*/ 1066548 w 1674813"/>
                <a:gd name="connsiteY1046" fmla="*/ 574308 h 2003425"/>
                <a:gd name="connsiteX1047" fmla="*/ 1079348 w 1674813"/>
                <a:gd name="connsiteY1047" fmla="*/ 564974 h 2003425"/>
                <a:gd name="connsiteX1048" fmla="*/ 797097 w 1674813"/>
                <a:gd name="connsiteY1048" fmla="*/ 549220 h 2003425"/>
                <a:gd name="connsiteX1049" fmla="*/ 796860 w 1674813"/>
                <a:gd name="connsiteY1049" fmla="*/ 549337 h 2003425"/>
                <a:gd name="connsiteX1050" fmla="*/ 797036 w 1674813"/>
                <a:gd name="connsiteY1050" fmla="*/ 549600 h 2003425"/>
                <a:gd name="connsiteX1051" fmla="*/ 800596 w 1674813"/>
                <a:gd name="connsiteY1051" fmla="*/ 554904 h 2003425"/>
                <a:gd name="connsiteX1052" fmla="*/ 807849 w 1674813"/>
                <a:gd name="connsiteY1052" fmla="*/ 565711 h 2003425"/>
                <a:gd name="connsiteX1053" fmla="*/ 811052 w 1674813"/>
                <a:gd name="connsiteY1053" fmla="*/ 560951 h 2003425"/>
                <a:gd name="connsiteX1054" fmla="*/ 812210 w 1674813"/>
                <a:gd name="connsiteY1054" fmla="*/ 559228 h 2003425"/>
                <a:gd name="connsiteX1055" fmla="*/ 804155 w 1674813"/>
                <a:gd name="connsiteY1055" fmla="*/ 553894 h 2003425"/>
                <a:gd name="connsiteX1056" fmla="*/ 846026 w 1674813"/>
                <a:gd name="connsiteY1056" fmla="*/ 549182 h 2003425"/>
                <a:gd name="connsiteX1057" fmla="*/ 845375 w 1674813"/>
                <a:gd name="connsiteY1057" fmla="*/ 549612 h 2003425"/>
                <a:gd name="connsiteX1058" fmla="*/ 840036 w 1674813"/>
                <a:gd name="connsiteY1058" fmla="*/ 553140 h 2003425"/>
                <a:gd name="connsiteX1059" fmla="*/ 830680 w 1674813"/>
                <a:gd name="connsiteY1059" fmla="*/ 559321 h 2003425"/>
                <a:gd name="connsiteX1060" fmla="*/ 838689 w 1674813"/>
                <a:gd name="connsiteY1060" fmla="*/ 571254 h 2003425"/>
                <a:gd name="connsiteX1061" fmla="*/ 846101 w 1674813"/>
                <a:gd name="connsiteY1061" fmla="*/ 549219 h 2003425"/>
                <a:gd name="connsiteX1062" fmla="*/ 1042828 w 1674813"/>
                <a:gd name="connsiteY1062" fmla="*/ 542542 h 2003425"/>
                <a:gd name="connsiteX1063" fmla="*/ 1036944 w 1674813"/>
                <a:gd name="connsiteY1063" fmla="*/ 546443 h 2003425"/>
                <a:gd name="connsiteX1064" fmla="*/ 1023873 w 1674813"/>
                <a:gd name="connsiteY1064" fmla="*/ 555109 h 2003425"/>
                <a:gd name="connsiteX1065" fmla="*/ 1023936 w 1674813"/>
                <a:gd name="connsiteY1065" fmla="*/ 565112 h 2003425"/>
                <a:gd name="connsiteX1066" fmla="*/ 1031924 w 1674813"/>
                <a:gd name="connsiteY1066" fmla="*/ 565112 h 2003425"/>
                <a:gd name="connsiteX1067" fmla="*/ 1033094 w 1674813"/>
                <a:gd name="connsiteY1067" fmla="*/ 563245 h 2003425"/>
                <a:gd name="connsiteX1068" fmla="*/ 821629 w 1674813"/>
                <a:gd name="connsiteY1068" fmla="*/ 537064 h 2003425"/>
                <a:gd name="connsiteX1069" fmla="*/ 817212 w 1674813"/>
                <a:gd name="connsiteY1069" fmla="*/ 539253 h 2003425"/>
                <a:gd name="connsiteX1070" fmla="*/ 821425 w 1674813"/>
                <a:gd name="connsiteY1070" fmla="*/ 545530 h 2003425"/>
                <a:gd name="connsiteX1071" fmla="*/ 825745 w 1674813"/>
                <a:gd name="connsiteY1071" fmla="*/ 539109 h 2003425"/>
                <a:gd name="connsiteX1072" fmla="*/ 822970 w 1674813"/>
                <a:gd name="connsiteY1072" fmla="*/ 537730 h 2003425"/>
                <a:gd name="connsiteX1073" fmla="*/ 1073415 w 1674813"/>
                <a:gd name="connsiteY1073" fmla="*/ 532636 h 2003425"/>
                <a:gd name="connsiteX1074" fmla="*/ 1087122 w 1674813"/>
                <a:gd name="connsiteY1074" fmla="*/ 546279 h 2003425"/>
                <a:gd name="connsiteX1075" fmla="*/ 1093415 w 1674813"/>
                <a:gd name="connsiteY1075" fmla="*/ 552541 h 2003425"/>
                <a:gd name="connsiteX1076" fmla="*/ 1105758 w 1674813"/>
                <a:gd name="connsiteY1076" fmla="*/ 543366 h 2003425"/>
                <a:gd name="connsiteX1077" fmla="*/ 1101591 w 1674813"/>
                <a:gd name="connsiteY1077" fmla="*/ 541984 h 2003425"/>
                <a:gd name="connsiteX1078" fmla="*/ 1073415 w 1674813"/>
                <a:gd name="connsiteY1078" fmla="*/ 532636 h 2003425"/>
                <a:gd name="connsiteX1079" fmla="*/ 1057054 w 1674813"/>
                <a:gd name="connsiteY1079" fmla="*/ 522201 h 2003425"/>
                <a:gd name="connsiteX1080" fmla="*/ 1053180 w 1674813"/>
                <a:gd name="connsiteY1080" fmla="*/ 523485 h 2003425"/>
                <a:gd name="connsiteX1081" fmla="*/ 1025021 w 1674813"/>
                <a:gd name="connsiteY1081" fmla="*/ 532820 h 2003425"/>
                <a:gd name="connsiteX1082" fmla="*/ 1038720 w 1674813"/>
                <a:gd name="connsiteY1082" fmla="*/ 532820 h 2003425"/>
                <a:gd name="connsiteX1083" fmla="*/ 1049526 w 1674813"/>
                <a:gd name="connsiteY1083" fmla="*/ 532820 h 2003425"/>
                <a:gd name="connsiteX1084" fmla="*/ 968423 w 1674813"/>
                <a:gd name="connsiteY1084" fmla="*/ 520127 h 2003425"/>
                <a:gd name="connsiteX1085" fmla="*/ 969536 w 1674813"/>
                <a:gd name="connsiteY1085" fmla="*/ 523049 h 2003425"/>
                <a:gd name="connsiteX1086" fmla="*/ 973737 w 1674813"/>
                <a:gd name="connsiteY1086" fmla="*/ 550914 h 2003425"/>
                <a:gd name="connsiteX1087" fmla="*/ 978253 w 1674813"/>
                <a:gd name="connsiteY1087" fmla="*/ 565451 h 2003425"/>
                <a:gd name="connsiteX1088" fmla="*/ 979409 w 1674813"/>
                <a:gd name="connsiteY1088" fmla="*/ 565451 h 2003425"/>
                <a:gd name="connsiteX1089" fmla="*/ 989023 w 1674813"/>
                <a:gd name="connsiteY1089" fmla="*/ 565451 h 2003425"/>
                <a:gd name="connsiteX1090" fmla="*/ 992494 w 1674813"/>
                <a:gd name="connsiteY1090" fmla="*/ 565451 h 2003425"/>
                <a:gd name="connsiteX1091" fmla="*/ 992549 w 1674813"/>
                <a:gd name="connsiteY1091" fmla="*/ 565112 h 2003425"/>
                <a:gd name="connsiteX1092" fmla="*/ 994095 w 1674813"/>
                <a:gd name="connsiteY1092" fmla="*/ 551851 h 2003425"/>
                <a:gd name="connsiteX1093" fmla="*/ 994083 w 1674813"/>
                <a:gd name="connsiteY1093" fmla="*/ 551839 h 2003425"/>
                <a:gd name="connsiteX1094" fmla="*/ 975360 w 1674813"/>
                <a:gd name="connsiteY1094" fmla="*/ 533186 h 2003425"/>
                <a:gd name="connsiteX1095" fmla="*/ 989023 w 1674813"/>
                <a:gd name="connsiteY1095" fmla="*/ 533186 h 2003425"/>
                <a:gd name="connsiteX1096" fmla="*/ 996271 w 1674813"/>
                <a:gd name="connsiteY1096" fmla="*/ 533186 h 2003425"/>
                <a:gd name="connsiteX1097" fmla="*/ 996699 w 1674813"/>
                <a:gd name="connsiteY1097" fmla="*/ 529518 h 2003425"/>
                <a:gd name="connsiteX1098" fmla="*/ 987252 w 1674813"/>
                <a:gd name="connsiteY1098" fmla="*/ 526380 h 2003425"/>
                <a:gd name="connsiteX1099" fmla="*/ 717902 w 1674813"/>
                <a:gd name="connsiteY1099" fmla="*/ 519030 h 2003425"/>
                <a:gd name="connsiteX1100" fmla="*/ 716095 w 1674813"/>
                <a:gd name="connsiteY1100" fmla="*/ 519330 h 2003425"/>
                <a:gd name="connsiteX1101" fmla="*/ 682625 w 1674813"/>
                <a:gd name="connsiteY1101" fmla="*/ 524886 h 2003425"/>
                <a:gd name="connsiteX1102" fmla="*/ 660633 w 1674813"/>
                <a:gd name="connsiteY1102" fmla="*/ 528537 h 2003425"/>
                <a:gd name="connsiteX1103" fmla="*/ 650875 w 1674813"/>
                <a:gd name="connsiteY1103" fmla="*/ 532983 h 2003425"/>
                <a:gd name="connsiteX1104" fmla="*/ 651892 w 1674813"/>
                <a:gd name="connsiteY1104" fmla="*/ 531723 h 2003425"/>
                <a:gd name="connsiteX1105" fmla="*/ 653510 w 1674813"/>
                <a:gd name="connsiteY1105" fmla="*/ 529719 h 2003425"/>
                <a:gd name="connsiteX1106" fmla="*/ 649155 w 1674813"/>
                <a:gd name="connsiteY1106" fmla="*/ 530442 h 2003425"/>
                <a:gd name="connsiteX1107" fmla="*/ 633941 w 1674813"/>
                <a:gd name="connsiteY1107" fmla="*/ 532968 h 2003425"/>
                <a:gd name="connsiteX1108" fmla="*/ 688298 w 1674813"/>
                <a:gd name="connsiteY1108" fmla="*/ 543796 h 2003425"/>
                <a:gd name="connsiteX1109" fmla="*/ 701335 w 1674813"/>
                <a:gd name="connsiteY1109" fmla="*/ 546393 h 2003425"/>
                <a:gd name="connsiteX1110" fmla="*/ 705793 w 1674813"/>
                <a:gd name="connsiteY1110" fmla="*/ 539030 h 2003425"/>
                <a:gd name="connsiteX1111" fmla="*/ 1089661 w 1674813"/>
                <a:gd name="connsiteY1111" fmla="*/ 516467 h 2003425"/>
                <a:gd name="connsiteX1112" fmla="*/ 1103368 w 1674813"/>
                <a:gd name="connsiteY1112" fmla="*/ 530110 h 2003425"/>
                <a:gd name="connsiteX1113" fmla="*/ 1112015 w 1674813"/>
                <a:gd name="connsiteY1113" fmla="*/ 538716 h 2003425"/>
                <a:gd name="connsiteX1114" fmla="*/ 1125811 w 1674813"/>
                <a:gd name="connsiteY1114" fmla="*/ 528461 h 2003425"/>
                <a:gd name="connsiteX1115" fmla="*/ 1117837 w 1674813"/>
                <a:gd name="connsiteY1115" fmla="*/ 525815 h 2003425"/>
                <a:gd name="connsiteX1116" fmla="*/ 1089661 w 1674813"/>
                <a:gd name="connsiteY1116" fmla="*/ 516467 h 2003425"/>
                <a:gd name="connsiteX1117" fmla="*/ 764778 w 1674813"/>
                <a:gd name="connsiteY1117" fmla="*/ 500731 h 2003425"/>
                <a:gd name="connsiteX1118" fmla="*/ 709861 w 1674813"/>
                <a:gd name="connsiteY1118" fmla="*/ 541549 h 2003425"/>
                <a:gd name="connsiteX1119" fmla="*/ 702919 w 1674813"/>
                <a:gd name="connsiteY1119" fmla="*/ 546709 h 2003425"/>
                <a:gd name="connsiteX1120" fmla="*/ 715080 w 1674813"/>
                <a:gd name="connsiteY1120" fmla="*/ 549131 h 2003425"/>
                <a:gd name="connsiteX1121" fmla="*/ 621897 w 1674813"/>
                <a:gd name="connsiteY1121" fmla="*/ 564600 h 2003425"/>
                <a:gd name="connsiteX1122" fmla="*/ 617877 w 1674813"/>
                <a:gd name="connsiteY1122" fmla="*/ 565268 h 2003425"/>
                <a:gd name="connsiteX1123" fmla="*/ 617851 w 1674813"/>
                <a:gd name="connsiteY1123" fmla="*/ 565322 h 2003425"/>
                <a:gd name="connsiteX1124" fmla="*/ 618982 w 1674813"/>
                <a:gd name="connsiteY1124" fmla="*/ 565547 h 2003425"/>
                <a:gd name="connsiteX1125" fmla="*/ 698853 w 1674813"/>
                <a:gd name="connsiteY1125" fmla="*/ 581459 h 2003425"/>
                <a:gd name="connsiteX1126" fmla="*/ 693734 w 1674813"/>
                <a:gd name="connsiteY1126" fmla="*/ 581459 h 2003425"/>
                <a:gd name="connsiteX1127" fmla="*/ 725022 w 1674813"/>
                <a:gd name="connsiteY1127" fmla="*/ 582725 h 2003425"/>
                <a:gd name="connsiteX1128" fmla="*/ 725735 w 1674813"/>
                <a:gd name="connsiteY1128" fmla="*/ 581928 h 2003425"/>
                <a:gd name="connsiteX1129" fmla="*/ 780653 w 1674813"/>
                <a:gd name="connsiteY1129" fmla="*/ 538740 h 2003425"/>
                <a:gd name="connsiteX1130" fmla="*/ 802931 w 1674813"/>
                <a:gd name="connsiteY1130" fmla="*/ 527424 h 2003425"/>
                <a:gd name="connsiteX1131" fmla="*/ 813594 w 1674813"/>
                <a:gd name="connsiteY1131" fmla="*/ 516857 h 2003425"/>
                <a:gd name="connsiteX1132" fmla="*/ 732235 w 1674813"/>
                <a:gd name="connsiteY1132" fmla="*/ 565234 h 2003425"/>
                <a:gd name="connsiteX1133" fmla="*/ 764778 w 1674813"/>
                <a:gd name="connsiteY1133" fmla="*/ 500731 h 2003425"/>
                <a:gd name="connsiteX1134" fmla="*/ 878305 w 1674813"/>
                <a:gd name="connsiteY1134" fmla="*/ 500559 h 2003425"/>
                <a:gd name="connsiteX1135" fmla="*/ 881955 w 1674813"/>
                <a:gd name="connsiteY1135" fmla="*/ 502372 h 2003425"/>
                <a:gd name="connsiteX1136" fmla="*/ 910431 w 1674813"/>
                <a:gd name="connsiteY1136" fmla="*/ 516515 h 2003425"/>
                <a:gd name="connsiteX1137" fmla="*/ 861615 w 1674813"/>
                <a:gd name="connsiteY1137" fmla="*/ 516515 h 2003425"/>
                <a:gd name="connsiteX1138" fmla="*/ 894159 w 1674813"/>
                <a:gd name="connsiteY1138" fmla="*/ 532679 h 2003425"/>
                <a:gd name="connsiteX1139" fmla="*/ 886532 w 1674813"/>
                <a:gd name="connsiteY1139" fmla="*/ 532679 h 2003425"/>
                <a:gd name="connsiteX1140" fmla="*/ 872024 w 1674813"/>
                <a:gd name="connsiteY1140" fmla="*/ 532679 h 2003425"/>
                <a:gd name="connsiteX1141" fmla="*/ 881538 w 1674813"/>
                <a:gd name="connsiteY1141" fmla="*/ 540705 h 2003425"/>
                <a:gd name="connsiteX1142" fmla="*/ 887072 w 1674813"/>
                <a:gd name="connsiteY1142" fmla="*/ 544825 h 2003425"/>
                <a:gd name="connsiteX1143" fmla="*/ 927497 w 1674813"/>
                <a:gd name="connsiteY1143" fmla="*/ 581360 h 2003425"/>
                <a:gd name="connsiteX1144" fmla="*/ 938836 w 1674813"/>
                <a:gd name="connsiteY1144" fmla="*/ 594621 h 2003425"/>
                <a:gd name="connsiteX1145" fmla="*/ 956734 w 1674813"/>
                <a:gd name="connsiteY1145" fmla="*/ 591159 h 2003425"/>
                <a:gd name="connsiteX1146" fmla="*/ 963602 w 1674813"/>
                <a:gd name="connsiteY1146" fmla="*/ 589456 h 2003425"/>
                <a:gd name="connsiteX1147" fmla="*/ 955283 w 1674813"/>
                <a:gd name="connsiteY1147" fmla="*/ 583950 h 2003425"/>
                <a:gd name="connsiteX1148" fmla="*/ 927031 w 1674813"/>
                <a:gd name="connsiteY1148" fmla="*/ 565250 h 2003425"/>
                <a:gd name="connsiteX1149" fmla="*/ 959610 w 1674813"/>
                <a:gd name="connsiteY1149" fmla="*/ 565250 h 2003425"/>
                <a:gd name="connsiteX1150" fmla="*/ 910742 w 1674813"/>
                <a:gd name="connsiteY1150" fmla="*/ 549077 h 2003425"/>
                <a:gd name="connsiteX1151" fmla="*/ 959610 w 1674813"/>
                <a:gd name="connsiteY1151" fmla="*/ 532905 h 2003425"/>
                <a:gd name="connsiteX1152" fmla="*/ 894453 w 1674813"/>
                <a:gd name="connsiteY1152" fmla="*/ 532905 h 2003425"/>
                <a:gd name="connsiteX1153" fmla="*/ 943320 w 1674813"/>
                <a:gd name="connsiteY1153" fmla="*/ 500559 h 2003425"/>
                <a:gd name="connsiteX1154" fmla="*/ 915832 w 1674813"/>
                <a:gd name="connsiteY1154" fmla="*/ 500559 h 2003425"/>
                <a:gd name="connsiteX1155" fmla="*/ 877887 w 1674813"/>
                <a:gd name="connsiteY1155" fmla="*/ 500352 h 2003425"/>
                <a:gd name="connsiteX1156" fmla="*/ 878248 w 1674813"/>
                <a:gd name="connsiteY1156" fmla="*/ 500531 h 2003425"/>
                <a:gd name="connsiteX1157" fmla="*/ 878790 w 1674813"/>
                <a:gd name="connsiteY1157" fmla="*/ 500352 h 2003425"/>
                <a:gd name="connsiteX1158" fmla="*/ 1105906 w 1674813"/>
                <a:gd name="connsiteY1158" fmla="*/ 500298 h 2003425"/>
                <a:gd name="connsiteX1159" fmla="*/ 1119613 w 1674813"/>
                <a:gd name="connsiteY1159" fmla="*/ 513941 h 2003425"/>
                <a:gd name="connsiteX1160" fmla="*/ 1130615 w 1674813"/>
                <a:gd name="connsiteY1160" fmla="*/ 524890 h 2003425"/>
                <a:gd name="connsiteX1161" fmla="*/ 1149205 w 1674813"/>
                <a:gd name="connsiteY1161" fmla="*/ 511072 h 2003425"/>
                <a:gd name="connsiteX1162" fmla="*/ 1138397 w 1674813"/>
                <a:gd name="connsiteY1162" fmla="*/ 508383 h 2003425"/>
                <a:gd name="connsiteX1163" fmla="*/ 1105906 w 1674813"/>
                <a:gd name="connsiteY1163" fmla="*/ 500298 h 2003425"/>
                <a:gd name="connsiteX1164" fmla="*/ 677713 w 1674813"/>
                <a:gd name="connsiteY1164" fmla="*/ 499737 h 2003425"/>
                <a:gd name="connsiteX1165" fmla="*/ 665383 w 1674813"/>
                <a:gd name="connsiteY1165" fmla="*/ 500388 h 2003425"/>
                <a:gd name="connsiteX1166" fmla="*/ 650169 w 1674813"/>
                <a:gd name="connsiteY1166" fmla="*/ 500640 h 2003425"/>
                <a:gd name="connsiteX1167" fmla="*/ 660312 w 1674813"/>
                <a:gd name="connsiteY1167" fmla="*/ 502661 h 2003425"/>
                <a:gd name="connsiteX1168" fmla="*/ 673269 w 1674813"/>
                <a:gd name="connsiteY1168" fmla="*/ 505242 h 2003425"/>
                <a:gd name="connsiteX1169" fmla="*/ 1178143 w 1674813"/>
                <a:gd name="connsiteY1169" fmla="*/ 495824 h 2003425"/>
                <a:gd name="connsiteX1170" fmla="*/ 1171925 w 1674813"/>
                <a:gd name="connsiteY1170" fmla="*/ 500644 h 2003425"/>
                <a:gd name="connsiteX1171" fmla="*/ 1179111 w 1674813"/>
                <a:gd name="connsiteY1171" fmla="*/ 496306 h 2003425"/>
                <a:gd name="connsiteX1172" fmla="*/ 733401 w 1674813"/>
                <a:gd name="connsiteY1172" fmla="*/ 493429 h 2003425"/>
                <a:gd name="connsiteX1173" fmla="*/ 732322 w 1674813"/>
                <a:gd name="connsiteY1173" fmla="*/ 493821 h 2003425"/>
                <a:gd name="connsiteX1174" fmla="*/ 710953 w 1674813"/>
                <a:gd name="connsiteY1174" fmla="*/ 496885 h 2003425"/>
                <a:gd name="connsiteX1175" fmla="*/ 705793 w 1674813"/>
                <a:gd name="connsiteY1175" fmla="*/ 500731 h 2003425"/>
                <a:gd name="connsiteX1176" fmla="*/ 693237 w 1674813"/>
                <a:gd name="connsiteY1176" fmla="*/ 509220 h 2003425"/>
                <a:gd name="connsiteX1177" fmla="*/ 704526 w 1674813"/>
                <a:gd name="connsiteY1177" fmla="*/ 511469 h 2003425"/>
                <a:gd name="connsiteX1178" fmla="*/ 720547 w 1674813"/>
                <a:gd name="connsiteY1178" fmla="*/ 514660 h 2003425"/>
                <a:gd name="connsiteX1179" fmla="*/ 1083788 w 1674813"/>
                <a:gd name="connsiteY1179" fmla="*/ 485917 h 2003425"/>
                <a:gd name="connsiteX1180" fmla="*/ 1081846 w 1674813"/>
                <a:gd name="connsiteY1180" fmla="*/ 486400 h 2003425"/>
                <a:gd name="connsiteX1181" fmla="*/ 1062566 w 1674813"/>
                <a:gd name="connsiteY1181" fmla="*/ 491193 h 2003425"/>
                <a:gd name="connsiteX1182" fmla="*/ 1025721 w 1674813"/>
                <a:gd name="connsiteY1182" fmla="*/ 500354 h 2003425"/>
                <a:gd name="connsiteX1183" fmla="*/ 1025670 w 1674813"/>
                <a:gd name="connsiteY1183" fmla="*/ 500743 h 2003425"/>
                <a:gd name="connsiteX1184" fmla="*/ 1027589 w 1674813"/>
                <a:gd name="connsiteY1184" fmla="*/ 501379 h 2003425"/>
                <a:gd name="connsiteX1185" fmla="*/ 1045569 w 1674813"/>
                <a:gd name="connsiteY1185" fmla="*/ 507339 h 2003425"/>
                <a:gd name="connsiteX1186" fmla="*/ 1063399 w 1674813"/>
                <a:gd name="connsiteY1186" fmla="*/ 513250 h 2003425"/>
                <a:gd name="connsiteX1187" fmla="*/ 1072255 w 1674813"/>
                <a:gd name="connsiteY1187" fmla="*/ 500757 h 2003425"/>
                <a:gd name="connsiteX1188" fmla="*/ 1072338 w 1674813"/>
                <a:gd name="connsiteY1188" fmla="*/ 500625 h 2003425"/>
                <a:gd name="connsiteX1189" fmla="*/ 1072460 w 1674813"/>
                <a:gd name="connsiteY1189" fmla="*/ 500468 h 2003425"/>
                <a:gd name="connsiteX1190" fmla="*/ 1075446 w 1674813"/>
                <a:gd name="connsiteY1190" fmla="*/ 496256 h 2003425"/>
                <a:gd name="connsiteX1191" fmla="*/ 1077341 w 1674813"/>
                <a:gd name="connsiteY1191" fmla="*/ 494198 h 2003425"/>
                <a:gd name="connsiteX1192" fmla="*/ 532119 w 1674813"/>
                <a:gd name="connsiteY1192" fmla="*/ 473290 h 2003425"/>
                <a:gd name="connsiteX1193" fmla="*/ 530870 w 1674813"/>
                <a:gd name="connsiteY1193" fmla="*/ 474527 h 2003425"/>
                <a:gd name="connsiteX1194" fmla="*/ 529393 w 1674813"/>
                <a:gd name="connsiteY1194" fmla="*/ 475991 h 2003425"/>
                <a:gd name="connsiteX1195" fmla="*/ 535294 w 1674813"/>
                <a:gd name="connsiteY1195" fmla="*/ 489773 h 2003425"/>
                <a:gd name="connsiteX1196" fmla="*/ 537604 w 1674813"/>
                <a:gd name="connsiteY1196" fmla="*/ 499688 h 2003425"/>
                <a:gd name="connsiteX1197" fmla="*/ 537735 w 1674813"/>
                <a:gd name="connsiteY1197" fmla="*/ 499472 h 2003425"/>
                <a:gd name="connsiteX1198" fmla="*/ 540543 w 1674813"/>
                <a:gd name="connsiteY1198" fmla="*/ 494834 h 2003425"/>
                <a:gd name="connsiteX1199" fmla="*/ 536752 w 1674813"/>
                <a:gd name="connsiteY1199" fmla="*/ 482771 h 2003425"/>
                <a:gd name="connsiteX1200" fmla="*/ 949441 w 1674813"/>
                <a:gd name="connsiteY1200" fmla="*/ 470267 h 2003425"/>
                <a:gd name="connsiteX1201" fmla="*/ 966346 w 1674813"/>
                <a:gd name="connsiteY1201" fmla="*/ 514670 h 2003425"/>
                <a:gd name="connsiteX1202" fmla="*/ 979662 w 1674813"/>
                <a:gd name="connsiteY1202" fmla="*/ 510248 h 2003425"/>
                <a:gd name="connsiteX1203" fmla="*/ 1001516 w 1674813"/>
                <a:gd name="connsiteY1203" fmla="*/ 502990 h 2003425"/>
                <a:gd name="connsiteX1204" fmla="*/ 1002613 w 1674813"/>
                <a:gd name="connsiteY1204" fmla="*/ 499217 h 2003425"/>
                <a:gd name="connsiteX1205" fmla="*/ 1001674 w 1674813"/>
                <a:gd name="connsiteY1205" fmla="*/ 498905 h 2003425"/>
                <a:gd name="connsiteX1206" fmla="*/ 959168 w 1674813"/>
                <a:gd name="connsiteY1206" fmla="*/ 484789 h 2003425"/>
                <a:gd name="connsiteX1207" fmla="*/ 979662 w 1674813"/>
                <a:gd name="connsiteY1207" fmla="*/ 484789 h 2003425"/>
                <a:gd name="connsiteX1208" fmla="*/ 1006808 w 1674813"/>
                <a:gd name="connsiteY1208" fmla="*/ 484789 h 2003425"/>
                <a:gd name="connsiteX1209" fmla="*/ 1006872 w 1674813"/>
                <a:gd name="connsiteY1209" fmla="*/ 484571 h 2003425"/>
                <a:gd name="connsiteX1210" fmla="*/ 1006734 w 1674813"/>
                <a:gd name="connsiteY1210" fmla="*/ 484537 h 2003425"/>
                <a:gd name="connsiteX1211" fmla="*/ 980421 w 1674813"/>
                <a:gd name="connsiteY1211" fmla="*/ 477983 h 2003425"/>
                <a:gd name="connsiteX1212" fmla="*/ 748507 w 1674813"/>
                <a:gd name="connsiteY1212" fmla="*/ 468480 h 2003425"/>
                <a:gd name="connsiteX1213" fmla="*/ 735540 w 1674813"/>
                <a:gd name="connsiteY1213" fmla="*/ 478558 h 2003425"/>
                <a:gd name="connsiteX1214" fmla="*/ 732592 w 1674813"/>
                <a:gd name="connsiteY1214" fmla="*/ 480756 h 2003425"/>
                <a:gd name="connsiteX1215" fmla="*/ 739963 w 1674813"/>
                <a:gd name="connsiteY1215" fmla="*/ 482591 h 2003425"/>
                <a:gd name="connsiteX1216" fmla="*/ 691807 w 1674813"/>
                <a:gd name="connsiteY1216" fmla="*/ 468313 h 2003425"/>
                <a:gd name="connsiteX1217" fmla="*/ 689294 w 1674813"/>
                <a:gd name="connsiteY1217" fmla="*/ 469974 h 2003425"/>
                <a:gd name="connsiteX1218" fmla="*/ 690739 w 1674813"/>
                <a:gd name="connsiteY1218" fmla="*/ 470334 h 2003425"/>
                <a:gd name="connsiteX1219" fmla="*/ 699656 w 1674813"/>
                <a:gd name="connsiteY1219" fmla="*/ 472554 h 2003425"/>
                <a:gd name="connsiteX1220" fmla="*/ 703080 w 1674813"/>
                <a:gd name="connsiteY1220" fmla="*/ 468313 h 2003425"/>
                <a:gd name="connsiteX1221" fmla="*/ 695303 w 1674813"/>
                <a:gd name="connsiteY1221" fmla="*/ 468313 h 2003425"/>
                <a:gd name="connsiteX1222" fmla="*/ 1122152 w 1674813"/>
                <a:gd name="connsiteY1222" fmla="*/ 467960 h 2003425"/>
                <a:gd name="connsiteX1223" fmla="*/ 1142712 w 1674813"/>
                <a:gd name="connsiteY1223" fmla="*/ 488424 h 2003425"/>
                <a:gd name="connsiteX1224" fmla="*/ 1158515 w 1674813"/>
                <a:gd name="connsiteY1224" fmla="*/ 504152 h 2003425"/>
                <a:gd name="connsiteX1225" fmla="*/ 1162046 w 1674813"/>
                <a:gd name="connsiteY1225" fmla="*/ 501527 h 2003425"/>
                <a:gd name="connsiteX1226" fmla="*/ 1175209 w 1674813"/>
                <a:gd name="connsiteY1226" fmla="*/ 494364 h 2003425"/>
                <a:gd name="connsiteX1227" fmla="*/ 1154643 w 1674813"/>
                <a:gd name="connsiteY1227" fmla="*/ 484129 h 2003425"/>
                <a:gd name="connsiteX1228" fmla="*/ 1122152 w 1674813"/>
                <a:gd name="connsiteY1228" fmla="*/ 467960 h 2003425"/>
                <a:gd name="connsiteX1229" fmla="*/ 1229281 w 1674813"/>
                <a:gd name="connsiteY1229" fmla="*/ 465774 h 2003425"/>
                <a:gd name="connsiteX1230" fmla="*/ 1181855 w 1674813"/>
                <a:gd name="connsiteY1230" fmla="*/ 493293 h 2003425"/>
                <a:gd name="connsiteX1231" fmla="*/ 1182557 w 1674813"/>
                <a:gd name="connsiteY1231" fmla="*/ 494225 h 2003425"/>
                <a:gd name="connsiteX1232" fmla="*/ 1214767 w 1674813"/>
                <a:gd name="connsiteY1232" fmla="*/ 474779 h 2003425"/>
                <a:gd name="connsiteX1233" fmla="*/ 1232507 w 1674813"/>
                <a:gd name="connsiteY1233" fmla="*/ 466845 h 2003425"/>
                <a:gd name="connsiteX1234" fmla="*/ 1231681 w 1674813"/>
                <a:gd name="connsiteY1234" fmla="*/ 466571 h 2003425"/>
                <a:gd name="connsiteX1235" fmla="*/ 499978 w 1674813"/>
                <a:gd name="connsiteY1235" fmla="*/ 451460 h 2003425"/>
                <a:gd name="connsiteX1236" fmla="*/ 494877 w 1674813"/>
                <a:gd name="connsiteY1236" fmla="*/ 455618 h 2003425"/>
                <a:gd name="connsiteX1237" fmla="*/ 503767 w 1674813"/>
                <a:gd name="connsiteY1237" fmla="*/ 452702 h 2003425"/>
                <a:gd name="connsiteX1238" fmla="*/ 515335 w 1674813"/>
                <a:gd name="connsiteY1238" fmla="*/ 438944 h 2003425"/>
                <a:gd name="connsiteX1239" fmla="*/ 513996 w 1674813"/>
                <a:gd name="connsiteY1239" fmla="*/ 440035 h 2003425"/>
                <a:gd name="connsiteX1240" fmla="*/ 526708 w 1674813"/>
                <a:gd name="connsiteY1240" fmla="*/ 469722 h 2003425"/>
                <a:gd name="connsiteX1241" fmla="*/ 528367 w 1674813"/>
                <a:gd name="connsiteY1241" fmla="*/ 465612 h 2003425"/>
                <a:gd name="connsiteX1242" fmla="*/ 1140094 w 1674813"/>
                <a:gd name="connsiteY1242" fmla="*/ 436185 h 2003425"/>
                <a:gd name="connsiteX1243" fmla="*/ 1139404 w 1674813"/>
                <a:gd name="connsiteY1243" fmla="*/ 436958 h 2003425"/>
                <a:gd name="connsiteX1244" fmla="*/ 1144489 w 1674813"/>
                <a:gd name="connsiteY1244" fmla="*/ 443707 h 2003425"/>
                <a:gd name="connsiteX1245" fmla="*/ 1158958 w 1674813"/>
                <a:gd name="connsiteY1245" fmla="*/ 462907 h 2003425"/>
                <a:gd name="connsiteX1246" fmla="*/ 1180494 w 1674813"/>
                <a:gd name="connsiteY1246" fmla="*/ 491487 h 2003425"/>
                <a:gd name="connsiteX1247" fmla="*/ 1228324 w 1674813"/>
                <a:gd name="connsiteY1247" fmla="*/ 465457 h 2003425"/>
                <a:gd name="connsiteX1248" fmla="*/ 1220640 w 1674813"/>
                <a:gd name="connsiteY1248" fmla="*/ 462907 h 2003425"/>
                <a:gd name="connsiteX1249" fmla="*/ 1142586 w 1674813"/>
                <a:gd name="connsiteY1249" fmla="*/ 437012 h 2003425"/>
                <a:gd name="connsiteX1250" fmla="*/ 585788 w 1674813"/>
                <a:gd name="connsiteY1250" fmla="*/ 420103 h 2003425"/>
                <a:gd name="connsiteX1251" fmla="*/ 553244 w 1674813"/>
                <a:gd name="connsiteY1251" fmla="*/ 452354 h 2003425"/>
                <a:gd name="connsiteX1252" fmla="*/ 536760 w 1674813"/>
                <a:gd name="connsiteY1252" fmla="*/ 468691 h 2003425"/>
                <a:gd name="connsiteX1253" fmla="*/ 540798 w 1674813"/>
                <a:gd name="connsiteY1253" fmla="*/ 494412 h 2003425"/>
                <a:gd name="connsiteX1254" fmla="*/ 543074 w 1674813"/>
                <a:gd name="connsiteY1254" fmla="*/ 490653 h 2003425"/>
                <a:gd name="connsiteX1255" fmla="*/ 585788 w 1674813"/>
                <a:gd name="connsiteY1255" fmla="*/ 420103 h 2003425"/>
                <a:gd name="connsiteX1256" fmla="*/ 1170888 w 1674813"/>
                <a:gd name="connsiteY1256" fmla="*/ 419453 h 2003425"/>
                <a:gd name="connsiteX1257" fmla="*/ 1198302 w 1674813"/>
                <a:gd name="connsiteY1257" fmla="*/ 439917 h 2003425"/>
                <a:gd name="connsiteX1258" fmla="*/ 1230749 w 1674813"/>
                <a:gd name="connsiteY1258" fmla="*/ 464138 h 2003425"/>
                <a:gd name="connsiteX1259" fmla="*/ 1252538 w 1674813"/>
                <a:gd name="connsiteY1259" fmla="*/ 452279 h 2003425"/>
                <a:gd name="connsiteX1260" fmla="*/ 1231340 w 1674813"/>
                <a:gd name="connsiteY1260" fmla="*/ 464579 h 2003425"/>
                <a:gd name="connsiteX1261" fmla="*/ 1233675 w 1674813"/>
                <a:gd name="connsiteY1261" fmla="*/ 466322 h 2003425"/>
                <a:gd name="connsiteX1262" fmla="*/ 1267099 w 1674813"/>
                <a:gd name="connsiteY1262" fmla="*/ 451373 h 2003425"/>
                <a:gd name="connsiteX1263" fmla="*/ 1264172 w 1674813"/>
                <a:gd name="connsiteY1263" fmla="*/ 450402 h 2003425"/>
                <a:gd name="connsiteX1264" fmla="*/ 1260094 w 1674813"/>
                <a:gd name="connsiteY1264" fmla="*/ 449048 h 2003425"/>
                <a:gd name="connsiteX1265" fmla="*/ 1252538 w 1674813"/>
                <a:gd name="connsiteY1265" fmla="*/ 452279 h 2003425"/>
                <a:gd name="connsiteX1266" fmla="*/ 1259324 w 1674813"/>
                <a:gd name="connsiteY1266" fmla="*/ 448793 h 2003425"/>
                <a:gd name="connsiteX1267" fmla="*/ 1253131 w 1674813"/>
                <a:gd name="connsiteY1267" fmla="*/ 446738 h 2003425"/>
                <a:gd name="connsiteX1268" fmla="*/ 1170888 w 1674813"/>
                <a:gd name="connsiteY1268" fmla="*/ 419453 h 2003425"/>
                <a:gd name="connsiteX1269" fmla="*/ 553244 w 1674813"/>
                <a:gd name="connsiteY1269" fmla="*/ 403977 h 2003425"/>
                <a:gd name="connsiteX1270" fmla="*/ 518666 w 1674813"/>
                <a:gd name="connsiteY1270" fmla="*/ 436229 h 2003425"/>
                <a:gd name="connsiteX1271" fmla="*/ 518027 w 1674813"/>
                <a:gd name="connsiteY1271" fmla="*/ 436749 h 2003425"/>
                <a:gd name="connsiteX1272" fmla="*/ 531058 w 1674813"/>
                <a:gd name="connsiteY1272" fmla="*/ 458944 h 2003425"/>
                <a:gd name="connsiteX1273" fmla="*/ 534430 w 1674813"/>
                <a:gd name="connsiteY1273" fmla="*/ 450590 h 2003425"/>
                <a:gd name="connsiteX1274" fmla="*/ 553244 w 1674813"/>
                <a:gd name="connsiteY1274" fmla="*/ 403977 h 2003425"/>
                <a:gd name="connsiteX1275" fmla="*/ 484270 w 1674813"/>
                <a:gd name="connsiteY1275" fmla="*/ 402835 h 2003425"/>
                <a:gd name="connsiteX1276" fmla="*/ 482320 w 1674813"/>
                <a:gd name="connsiteY1276" fmla="*/ 404284 h 2003425"/>
                <a:gd name="connsiteX1277" fmla="*/ 487362 w 1674813"/>
                <a:gd name="connsiteY1277" fmla="*/ 404284 h 2003425"/>
                <a:gd name="connsiteX1278" fmla="*/ 489752 w 1674813"/>
                <a:gd name="connsiteY1278" fmla="*/ 398760 h 2003425"/>
                <a:gd name="connsiteX1279" fmla="*/ 489547 w 1674813"/>
                <a:gd name="connsiteY1279" fmla="*/ 398912 h 2003425"/>
                <a:gd name="connsiteX1280" fmla="*/ 495953 w 1674813"/>
                <a:gd name="connsiteY1280" fmla="*/ 408849 h 2003425"/>
                <a:gd name="connsiteX1281" fmla="*/ 496554 w 1674813"/>
                <a:gd name="connsiteY1281" fmla="*/ 407359 h 2003425"/>
                <a:gd name="connsiteX1282" fmla="*/ 504428 w 1674813"/>
                <a:gd name="connsiteY1282" fmla="*/ 387851 h 2003425"/>
                <a:gd name="connsiteX1283" fmla="*/ 494258 w 1674813"/>
                <a:gd name="connsiteY1283" fmla="*/ 395410 h 2003425"/>
                <a:gd name="connsiteX1284" fmla="*/ 491209 w 1674813"/>
                <a:gd name="connsiteY1284" fmla="*/ 397677 h 2003425"/>
                <a:gd name="connsiteX1285" fmla="*/ 497185 w 1674813"/>
                <a:gd name="connsiteY1285" fmla="*/ 405797 h 2003425"/>
                <a:gd name="connsiteX1286" fmla="*/ 439341 w 1674813"/>
                <a:gd name="connsiteY1286" fmla="*/ 387851 h 2003425"/>
                <a:gd name="connsiteX1287" fmla="*/ 438160 w 1674813"/>
                <a:gd name="connsiteY1287" fmla="*/ 388144 h 2003425"/>
                <a:gd name="connsiteX1288" fmla="*/ 439046 w 1674813"/>
                <a:gd name="connsiteY1288" fmla="*/ 388144 h 2003425"/>
                <a:gd name="connsiteX1289" fmla="*/ 242888 w 1674813"/>
                <a:gd name="connsiteY1289" fmla="*/ 387350 h 2003425"/>
                <a:gd name="connsiteX1290" fmla="*/ 259181 w 1674813"/>
                <a:gd name="connsiteY1290" fmla="*/ 387350 h 2003425"/>
                <a:gd name="connsiteX1291" fmla="*/ 272388 w 1674813"/>
                <a:gd name="connsiteY1291" fmla="*/ 396652 h 2003425"/>
                <a:gd name="connsiteX1292" fmla="*/ 271506 w 1674813"/>
                <a:gd name="connsiteY1292" fmla="*/ 395940 h 2003425"/>
                <a:gd name="connsiteX1293" fmla="*/ 260350 w 1674813"/>
                <a:gd name="connsiteY1293" fmla="*/ 387350 h 2003425"/>
                <a:gd name="connsiteX1294" fmla="*/ 471311 w 1674813"/>
                <a:gd name="connsiteY1294" fmla="*/ 597547 h 2003425"/>
                <a:gd name="connsiteX1295" fmla="*/ 390172 w 1674813"/>
                <a:gd name="connsiteY1295" fmla="*/ 500533 h 2003425"/>
                <a:gd name="connsiteX1296" fmla="*/ 380762 w 1674813"/>
                <a:gd name="connsiteY1296" fmla="*/ 491656 h 2003425"/>
                <a:gd name="connsiteX1297" fmla="*/ 389778 w 1674813"/>
                <a:gd name="connsiteY1297" fmla="*/ 501038 h 2003425"/>
                <a:gd name="connsiteX1298" fmla="*/ 438401 w 1674813"/>
                <a:gd name="connsiteY1298" fmla="*/ 565209 h 2003425"/>
                <a:gd name="connsiteX1299" fmla="*/ 340644 w 1674813"/>
                <a:gd name="connsiteY1299" fmla="*/ 581378 h 2003425"/>
                <a:gd name="connsiteX1300" fmla="*/ 422108 w 1674813"/>
                <a:gd name="connsiteY1300" fmla="*/ 549040 h 2003425"/>
                <a:gd name="connsiteX1301" fmla="*/ 324352 w 1674813"/>
                <a:gd name="connsiteY1301" fmla="*/ 549040 h 2003425"/>
                <a:gd name="connsiteX1302" fmla="*/ 389523 w 1674813"/>
                <a:gd name="connsiteY1302" fmla="*/ 516702 h 2003425"/>
                <a:gd name="connsiteX1303" fmla="*/ 324352 w 1674813"/>
                <a:gd name="connsiteY1303" fmla="*/ 532871 h 2003425"/>
                <a:gd name="connsiteX1304" fmla="*/ 373230 w 1674813"/>
                <a:gd name="connsiteY1304" fmla="*/ 500533 h 2003425"/>
                <a:gd name="connsiteX1305" fmla="*/ 308059 w 1674813"/>
                <a:gd name="connsiteY1305" fmla="*/ 516702 h 2003425"/>
                <a:gd name="connsiteX1306" fmla="*/ 328679 w 1674813"/>
                <a:gd name="connsiteY1306" fmla="*/ 496238 h 2003425"/>
                <a:gd name="connsiteX1307" fmla="*/ 356428 w 1674813"/>
                <a:gd name="connsiteY1307" fmla="*/ 468700 h 2003425"/>
                <a:gd name="connsiteX1308" fmla="*/ 356110 w 1674813"/>
                <a:gd name="connsiteY1308" fmla="*/ 468400 h 2003425"/>
                <a:gd name="connsiteX1309" fmla="*/ 346754 w 1674813"/>
                <a:gd name="connsiteY1309" fmla="*/ 470722 h 2003425"/>
                <a:gd name="connsiteX1310" fmla="*/ 291766 w 1674813"/>
                <a:gd name="connsiteY1310" fmla="*/ 484364 h 2003425"/>
                <a:gd name="connsiteX1311" fmla="*/ 324352 w 1674813"/>
                <a:gd name="connsiteY1311" fmla="*/ 452026 h 2003425"/>
                <a:gd name="connsiteX1312" fmla="*/ 275473 w 1674813"/>
                <a:gd name="connsiteY1312" fmla="*/ 452026 h 2003425"/>
                <a:gd name="connsiteX1313" fmla="*/ 308059 w 1674813"/>
                <a:gd name="connsiteY1313" fmla="*/ 435857 h 2003425"/>
                <a:gd name="connsiteX1314" fmla="*/ 300422 w 1674813"/>
                <a:gd name="connsiteY1314" fmla="*/ 435857 h 2003425"/>
                <a:gd name="connsiteX1315" fmla="*/ 291766 w 1674813"/>
                <a:gd name="connsiteY1315" fmla="*/ 435857 h 2003425"/>
                <a:gd name="connsiteX1316" fmla="*/ 259181 w 1674813"/>
                <a:gd name="connsiteY1316" fmla="*/ 419688 h 2003425"/>
                <a:gd name="connsiteX1317" fmla="*/ 275473 w 1674813"/>
                <a:gd name="connsiteY1317" fmla="*/ 403519 h 2003425"/>
                <a:gd name="connsiteX1318" fmla="*/ 242888 w 1674813"/>
                <a:gd name="connsiteY1318" fmla="*/ 387350 h 2003425"/>
                <a:gd name="connsiteX1319" fmla="*/ 795911 w 1674813"/>
                <a:gd name="connsiteY1319" fmla="*/ 371178 h 2003425"/>
                <a:gd name="connsiteX1320" fmla="*/ 796219 w 1674813"/>
                <a:gd name="connsiteY1320" fmla="*/ 371331 h 2003425"/>
                <a:gd name="connsiteX1321" fmla="*/ 747536 w 1674813"/>
                <a:gd name="connsiteY1321" fmla="*/ 387495 h 2003425"/>
                <a:gd name="connsiteX1322" fmla="*/ 779991 w 1674813"/>
                <a:gd name="connsiteY1322" fmla="*/ 403659 h 2003425"/>
                <a:gd name="connsiteX1323" fmla="*/ 715080 w 1674813"/>
                <a:gd name="connsiteY1323" fmla="*/ 403659 h 2003425"/>
                <a:gd name="connsiteX1324" fmla="*/ 779991 w 1674813"/>
                <a:gd name="connsiteY1324" fmla="*/ 435986 h 2003425"/>
                <a:gd name="connsiteX1325" fmla="*/ 739422 w 1674813"/>
                <a:gd name="connsiteY1325" fmla="*/ 435986 h 2003425"/>
                <a:gd name="connsiteX1326" fmla="*/ 730978 w 1674813"/>
                <a:gd name="connsiteY1326" fmla="*/ 435986 h 2003425"/>
                <a:gd name="connsiteX1327" fmla="*/ 731838 w 1674813"/>
                <a:gd name="connsiteY1327" fmla="*/ 436404 h 2003425"/>
                <a:gd name="connsiteX1328" fmla="*/ 794415 w 1674813"/>
                <a:gd name="connsiteY1328" fmla="*/ 473855 h 2003425"/>
                <a:gd name="connsiteX1329" fmla="*/ 841576 w 1674813"/>
                <a:gd name="connsiteY1329" fmla="*/ 507794 h 2003425"/>
                <a:gd name="connsiteX1330" fmla="*/ 847774 w 1674813"/>
                <a:gd name="connsiteY1330" fmla="*/ 504645 h 2003425"/>
                <a:gd name="connsiteX1331" fmla="*/ 859743 w 1674813"/>
                <a:gd name="connsiteY1331" fmla="*/ 501559 h 2003425"/>
                <a:gd name="connsiteX1332" fmla="*/ 884498 w 1674813"/>
                <a:gd name="connsiteY1332" fmla="*/ 490502 h 2003425"/>
                <a:gd name="connsiteX1333" fmla="*/ 901692 w 1674813"/>
                <a:gd name="connsiteY1333" fmla="*/ 487930 h 2003425"/>
                <a:gd name="connsiteX1334" fmla="*/ 905417 w 1674813"/>
                <a:gd name="connsiteY1334" fmla="*/ 489780 h 2003425"/>
                <a:gd name="connsiteX1335" fmla="*/ 908385 w 1674813"/>
                <a:gd name="connsiteY1335" fmla="*/ 489015 h 2003425"/>
                <a:gd name="connsiteX1336" fmla="*/ 905607 w 1674813"/>
                <a:gd name="connsiteY1336" fmla="*/ 489874 h 2003425"/>
                <a:gd name="connsiteX1337" fmla="*/ 907544 w 1674813"/>
                <a:gd name="connsiteY1337" fmla="*/ 490836 h 2003425"/>
                <a:gd name="connsiteX1338" fmla="*/ 927031 w 1674813"/>
                <a:gd name="connsiteY1338" fmla="*/ 484387 h 2003425"/>
                <a:gd name="connsiteX1339" fmla="*/ 926330 w 1674813"/>
                <a:gd name="connsiteY1339" fmla="*/ 484387 h 2003425"/>
                <a:gd name="connsiteX1340" fmla="*/ 908385 w 1674813"/>
                <a:gd name="connsiteY1340" fmla="*/ 489015 h 2003425"/>
                <a:gd name="connsiteX1341" fmla="*/ 913370 w 1674813"/>
                <a:gd name="connsiteY1341" fmla="*/ 487471 h 2003425"/>
                <a:gd name="connsiteX1342" fmla="*/ 923477 w 1674813"/>
                <a:gd name="connsiteY1342" fmla="*/ 484977 h 2003425"/>
                <a:gd name="connsiteX1343" fmla="*/ 926189 w 1674813"/>
                <a:gd name="connsiteY1343" fmla="*/ 484387 h 2003425"/>
                <a:gd name="connsiteX1344" fmla="*/ 926013 w 1674813"/>
                <a:gd name="connsiteY1344" fmla="*/ 484387 h 2003425"/>
                <a:gd name="connsiteX1345" fmla="*/ 925376 w 1674813"/>
                <a:gd name="connsiteY1345" fmla="*/ 484387 h 2003425"/>
                <a:gd name="connsiteX1346" fmla="*/ 901692 w 1674813"/>
                <a:gd name="connsiteY1346" fmla="*/ 487930 h 2003425"/>
                <a:gd name="connsiteX1347" fmla="*/ 898227 w 1674813"/>
                <a:gd name="connsiteY1347" fmla="*/ 486209 h 2003425"/>
                <a:gd name="connsiteX1348" fmla="*/ 894559 w 1674813"/>
                <a:gd name="connsiteY1348" fmla="*/ 484387 h 2003425"/>
                <a:gd name="connsiteX1349" fmla="*/ 861875 w 1674813"/>
                <a:gd name="connsiteY1349" fmla="*/ 484387 h 2003425"/>
                <a:gd name="connsiteX1350" fmla="*/ 927031 w 1674813"/>
                <a:gd name="connsiteY1350" fmla="*/ 452041 h 2003425"/>
                <a:gd name="connsiteX1351" fmla="*/ 845586 w 1674813"/>
                <a:gd name="connsiteY1351" fmla="*/ 468214 h 2003425"/>
                <a:gd name="connsiteX1352" fmla="*/ 894453 w 1674813"/>
                <a:gd name="connsiteY1352" fmla="*/ 435869 h 2003425"/>
                <a:gd name="connsiteX1353" fmla="*/ 829296 w 1674813"/>
                <a:gd name="connsiteY1353" fmla="*/ 435869 h 2003425"/>
                <a:gd name="connsiteX1354" fmla="*/ 894453 w 1674813"/>
                <a:gd name="connsiteY1354" fmla="*/ 403523 h 2003425"/>
                <a:gd name="connsiteX1355" fmla="*/ 796718 w 1674813"/>
                <a:gd name="connsiteY1355" fmla="*/ 403523 h 2003425"/>
                <a:gd name="connsiteX1356" fmla="*/ 878164 w 1674813"/>
                <a:gd name="connsiteY1356" fmla="*/ 371178 h 2003425"/>
                <a:gd name="connsiteX1357" fmla="*/ 821152 w 1674813"/>
                <a:gd name="connsiteY1357" fmla="*/ 371178 h 2003425"/>
                <a:gd name="connsiteX1358" fmla="*/ 1240357 w 1674813"/>
                <a:gd name="connsiteY1358" fmla="*/ 341051 h 2003425"/>
                <a:gd name="connsiteX1359" fmla="*/ 1220187 w 1674813"/>
                <a:gd name="connsiteY1359" fmla="*/ 356713 h 2003425"/>
                <a:gd name="connsiteX1360" fmla="*/ 1201740 w 1674813"/>
                <a:gd name="connsiteY1360" fmla="*/ 374473 h 2003425"/>
                <a:gd name="connsiteX1361" fmla="*/ 438150 w 1674813"/>
                <a:gd name="connsiteY1361" fmla="*/ 339725 h 2003425"/>
                <a:gd name="connsiteX1362" fmla="*/ 453555 w 1674813"/>
                <a:gd name="connsiteY1362" fmla="*/ 354882 h 2003425"/>
                <a:gd name="connsiteX1363" fmla="*/ 440200 w 1674813"/>
                <a:gd name="connsiteY1363" fmla="*/ 341743 h 2003425"/>
                <a:gd name="connsiteX1364" fmla="*/ 438150 w 1674813"/>
                <a:gd name="connsiteY1364" fmla="*/ 339725 h 2003425"/>
                <a:gd name="connsiteX1365" fmla="*/ 829296 w 1674813"/>
                <a:gd name="connsiteY1365" fmla="*/ 306487 h 2003425"/>
                <a:gd name="connsiteX1366" fmla="*/ 814025 w 1674813"/>
                <a:gd name="connsiteY1366" fmla="*/ 309014 h 2003425"/>
                <a:gd name="connsiteX1367" fmla="*/ 809318 w 1674813"/>
                <a:gd name="connsiteY1367" fmla="*/ 309793 h 2003425"/>
                <a:gd name="connsiteX1368" fmla="*/ 796219 w 1674813"/>
                <a:gd name="connsiteY1368" fmla="*/ 322840 h 2003425"/>
                <a:gd name="connsiteX1369" fmla="*/ 798248 w 1674813"/>
                <a:gd name="connsiteY1369" fmla="*/ 322840 h 2003425"/>
                <a:gd name="connsiteX1370" fmla="*/ 801845 w 1674813"/>
                <a:gd name="connsiteY1370" fmla="*/ 322840 h 2003425"/>
                <a:gd name="connsiteX1371" fmla="*/ 802413 w 1674813"/>
                <a:gd name="connsiteY1371" fmla="*/ 322502 h 2003425"/>
                <a:gd name="connsiteX1372" fmla="*/ 829296 w 1674813"/>
                <a:gd name="connsiteY1372" fmla="*/ 306487 h 2003425"/>
                <a:gd name="connsiteX1373" fmla="*/ 1301030 w 1674813"/>
                <a:gd name="connsiteY1373" fmla="*/ 0 h 2003425"/>
                <a:gd name="connsiteX1374" fmla="*/ 1301751 w 1674813"/>
                <a:gd name="connsiteY1374" fmla="*/ 0 h 2003425"/>
                <a:gd name="connsiteX1375" fmla="*/ 1305089 w 1674813"/>
                <a:gd name="connsiteY1375" fmla="*/ 0 h 2003425"/>
                <a:gd name="connsiteX1376" fmla="*/ 1333501 w 1674813"/>
                <a:gd name="connsiteY1376" fmla="*/ 0 h 2003425"/>
                <a:gd name="connsiteX1377" fmla="*/ 1284794 w 1674813"/>
                <a:gd name="connsiteY1377" fmla="*/ 32292 h 2003425"/>
                <a:gd name="connsiteX1378" fmla="*/ 1317265 w 1674813"/>
                <a:gd name="connsiteY1378" fmla="*/ 32292 h 2003425"/>
                <a:gd name="connsiteX1379" fmla="*/ 1268558 w 1674813"/>
                <a:gd name="connsiteY1379" fmla="*/ 64584 h 2003425"/>
                <a:gd name="connsiteX1380" fmla="*/ 1317265 w 1674813"/>
                <a:gd name="connsiteY1380" fmla="*/ 64584 h 2003425"/>
                <a:gd name="connsiteX1381" fmla="*/ 1252322 w 1674813"/>
                <a:gd name="connsiteY1381" fmla="*/ 80730 h 2003425"/>
                <a:gd name="connsiteX1382" fmla="*/ 1301030 w 1674813"/>
                <a:gd name="connsiteY1382" fmla="*/ 96876 h 2003425"/>
                <a:gd name="connsiteX1383" fmla="*/ 1236086 w 1674813"/>
                <a:gd name="connsiteY1383" fmla="*/ 113022 h 2003425"/>
                <a:gd name="connsiteX1384" fmla="*/ 1284794 w 1674813"/>
                <a:gd name="connsiteY1384" fmla="*/ 145314 h 2003425"/>
                <a:gd name="connsiteX1385" fmla="*/ 1203615 w 1674813"/>
                <a:gd name="connsiteY1385" fmla="*/ 145314 h 2003425"/>
                <a:gd name="connsiteX1386" fmla="*/ 1268558 w 1674813"/>
                <a:gd name="connsiteY1386" fmla="*/ 177606 h 2003425"/>
                <a:gd name="connsiteX1387" fmla="*/ 1187379 w 1674813"/>
                <a:gd name="connsiteY1387" fmla="*/ 177606 h 2003425"/>
                <a:gd name="connsiteX1388" fmla="*/ 1252322 w 1674813"/>
                <a:gd name="connsiteY1388" fmla="*/ 209899 h 2003425"/>
                <a:gd name="connsiteX1389" fmla="*/ 1154907 w 1674813"/>
                <a:gd name="connsiteY1389" fmla="*/ 209899 h 2003425"/>
                <a:gd name="connsiteX1390" fmla="*/ 1236086 w 1674813"/>
                <a:gd name="connsiteY1390" fmla="*/ 242191 h 2003425"/>
                <a:gd name="connsiteX1391" fmla="*/ 1122436 w 1674813"/>
                <a:gd name="connsiteY1391" fmla="*/ 258337 h 2003425"/>
                <a:gd name="connsiteX1392" fmla="*/ 1219851 w 1674813"/>
                <a:gd name="connsiteY1392" fmla="*/ 274483 h 2003425"/>
                <a:gd name="connsiteX1393" fmla="*/ 1106200 w 1674813"/>
                <a:gd name="connsiteY1393" fmla="*/ 290629 h 2003425"/>
                <a:gd name="connsiteX1394" fmla="*/ 1203615 w 1674813"/>
                <a:gd name="connsiteY1394" fmla="*/ 306775 h 2003425"/>
                <a:gd name="connsiteX1395" fmla="*/ 1089964 w 1674813"/>
                <a:gd name="connsiteY1395" fmla="*/ 322921 h 2003425"/>
                <a:gd name="connsiteX1396" fmla="*/ 1171143 w 1674813"/>
                <a:gd name="connsiteY1396" fmla="*/ 355213 h 2003425"/>
                <a:gd name="connsiteX1397" fmla="*/ 1062376 w 1674813"/>
                <a:gd name="connsiteY1397" fmla="*/ 370665 h 2003425"/>
                <a:gd name="connsiteX1398" fmla="*/ 1060252 w 1674813"/>
                <a:gd name="connsiteY1398" fmla="*/ 370967 h 2003425"/>
                <a:gd name="connsiteX1399" fmla="*/ 1059881 w 1674813"/>
                <a:gd name="connsiteY1399" fmla="*/ 371834 h 2003425"/>
                <a:gd name="connsiteX1400" fmla="*/ 1067640 w 1674813"/>
                <a:gd name="connsiteY1400" fmla="*/ 373377 h 2003425"/>
                <a:gd name="connsiteX1401" fmla="*/ 1138671 w 1674813"/>
                <a:gd name="connsiteY1401" fmla="*/ 387505 h 2003425"/>
                <a:gd name="connsiteX1402" fmla="*/ 1057492 w 1674813"/>
                <a:gd name="connsiteY1402" fmla="*/ 403651 h 2003425"/>
                <a:gd name="connsiteX1403" fmla="*/ 1122436 w 1674813"/>
                <a:gd name="connsiteY1403" fmla="*/ 419797 h 2003425"/>
                <a:gd name="connsiteX1404" fmla="*/ 1041257 w 1674813"/>
                <a:gd name="connsiteY1404" fmla="*/ 435943 h 2003425"/>
                <a:gd name="connsiteX1405" fmla="*/ 1106200 w 1674813"/>
                <a:gd name="connsiteY1405" fmla="*/ 452090 h 2003425"/>
                <a:gd name="connsiteX1406" fmla="*/ 1041257 w 1674813"/>
                <a:gd name="connsiteY1406" fmla="*/ 468236 h 2003425"/>
                <a:gd name="connsiteX1407" fmla="*/ 1061805 w 1674813"/>
                <a:gd name="connsiteY1407" fmla="*/ 475047 h 2003425"/>
                <a:gd name="connsiteX1408" fmla="*/ 1086005 w 1674813"/>
                <a:gd name="connsiteY1408" fmla="*/ 483069 h 2003425"/>
                <a:gd name="connsiteX1409" fmla="*/ 1110126 w 1674813"/>
                <a:gd name="connsiteY1409" fmla="*/ 452086 h 2003425"/>
                <a:gd name="connsiteX1410" fmla="*/ 1155154 w 1674813"/>
                <a:gd name="connsiteY1410" fmla="*/ 403169 h 2003425"/>
                <a:gd name="connsiteX1411" fmla="*/ 1356349 w 1674813"/>
                <a:gd name="connsiteY1411" fmla="*/ 257742 h 2003425"/>
                <a:gd name="connsiteX1412" fmla="*/ 1401363 w 1674813"/>
                <a:gd name="connsiteY1412" fmla="*/ 241835 h 2003425"/>
                <a:gd name="connsiteX1413" fmla="*/ 1401878 w 1674813"/>
                <a:gd name="connsiteY1413" fmla="*/ 241594 h 2003425"/>
                <a:gd name="connsiteX1414" fmla="*/ 1447060 w 1674813"/>
                <a:gd name="connsiteY1414" fmla="*/ 225425 h 2003425"/>
                <a:gd name="connsiteX1415" fmla="*/ 1447801 w 1674813"/>
                <a:gd name="connsiteY1415" fmla="*/ 225425 h 2003425"/>
                <a:gd name="connsiteX1416" fmla="*/ 1451122 w 1674813"/>
                <a:gd name="connsiteY1416" fmla="*/ 225425 h 2003425"/>
                <a:gd name="connsiteX1417" fmla="*/ 1479551 w 1674813"/>
                <a:gd name="connsiteY1417" fmla="*/ 225425 h 2003425"/>
                <a:gd name="connsiteX1418" fmla="*/ 1463306 w 1674813"/>
                <a:gd name="connsiteY1418" fmla="*/ 241594 h 2003425"/>
                <a:gd name="connsiteX1419" fmla="*/ 1430815 w 1674813"/>
                <a:gd name="connsiteY1419" fmla="*/ 241594 h 2003425"/>
                <a:gd name="connsiteX1420" fmla="*/ 1463306 w 1674813"/>
                <a:gd name="connsiteY1420" fmla="*/ 257763 h 2003425"/>
                <a:gd name="connsiteX1421" fmla="*/ 1398324 w 1674813"/>
                <a:gd name="connsiteY1421" fmla="*/ 257763 h 2003425"/>
                <a:gd name="connsiteX1422" fmla="*/ 1430815 w 1674813"/>
                <a:gd name="connsiteY1422" fmla="*/ 273932 h 2003425"/>
                <a:gd name="connsiteX1423" fmla="*/ 1382079 w 1674813"/>
                <a:gd name="connsiteY1423" fmla="*/ 273932 h 2003425"/>
                <a:gd name="connsiteX1424" fmla="*/ 1414570 w 1674813"/>
                <a:gd name="connsiteY1424" fmla="*/ 306270 h 2003425"/>
                <a:gd name="connsiteX1425" fmla="*/ 1349588 w 1674813"/>
                <a:gd name="connsiteY1425" fmla="*/ 290101 h 2003425"/>
                <a:gd name="connsiteX1426" fmla="*/ 1382079 w 1674813"/>
                <a:gd name="connsiteY1426" fmla="*/ 322439 h 2003425"/>
                <a:gd name="connsiteX1427" fmla="*/ 1317097 w 1674813"/>
                <a:gd name="connsiteY1427" fmla="*/ 306270 h 2003425"/>
                <a:gd name="connsiteX1428" fmla="*/ 1365833 w 1674813"/>
                <a:gd name="connsiteY1428" fmla="*/ 354777 h 2003425"/>
                <a:gd name="connsiteX1429" fmla="*/ 1300851 w 1674813"/>
                <a:gd name="connsiteY1429" fmla="*/ 322439 h 2003425"/>
                <a:gd name="connsiteX1430" fmla="*/ 1333342 w 1674813"/>
                <a:gd name="connsiteY1430" fmla="*/ 387115 h 2003425"/>
                <a:gd name="connsiteX1431" fmla="*/ 1268361 w 1674813"/>
                <a:gd name="connsiteY1431" fmla="*/ 338608 h 2003425"/>
                <a:gd name="connsiteX1432" fmla="*/ 1317097 w 1674813"/>
                <a:gd name="connsiteY1432" fmla="*/ 403284 h 2003425"/>
                <a:gd name="connsiteX1433" fmla="*/ 1219624 w 1674813"/>
                <a:gd name="connsiteY1433" fmla="*/ 370946 h 2003425"/>
                <a:gd name="connsiteX1434" fmla="*/ 1284606 w 1674813"/>
                <a:gd name="connsiteY1434" fmla="*/ 419453 h 2003425"/>
                <a:gd name="connsiteX1435" fmla="*/ 1203379 w 1674813"/>
                <a:gd name="connsiteY1435" fmla="*/ 387115 h 2003425"/>
                <a:gd name="connsiteX1436" fmla="*/ 1230793 w 1674813"/>
                <a:gd name="connsiteY1436" fmla="*/ 414400 h 2003425"/>
                <a:gd name="connsiteX1437" fmla="*/ 1263297 w 1674813"/>
                <a:gd name="connsiteY1437" fmla="*/ 446752 h 2003425"/>
                <a:gd name="connsiteX1438" fmla="*/ 1304846 w 1674813"/>
                <a:gd name="connsiteY1438" fmla="*/ 425407 h 2003425"/>
                <a:gd name="connsiteX1439" fmla="*/ 1524838 w 1674813"/>
                <a:gd name="connsiteY1439" fmla="*/ 363908 h 2003425"/>
                <a:gd name="connsiteX1440" fmla="*/ 1573964 w 1674813"/>
                <a:gd name="connsiteY1440" fmla="*/ 360456 h 2003425"/>
                <a:gd name="connsiteX1441" fmla="*/ 1582409 w 1674813"/>
                <a:gd name="connsiteY1441" fmla="*/ 359128 h 2003425"/>
                <a:gd name="connsiteX1442" fmla="*/ 1642666 w 1674813"/>
                <a:gd name="connsiteY1442" fmla="*/ 355600 h 2003425"/>
                <a:gd name="connsiteX1443" fmla="*/ 1642693 w 1674813"/>
                <a:gd name="connsiteY1443" fmla="*/ 355626 h 2003425"/>
                <a:gd name="connsiteX1444" fmla="*/ 1643063 w 1674813"/>
                <a:gd name="connsiteY1444" fmla="*/ 355600 h 2003425"/>
                <a:gd name="connsiteX1445" fmla="*/ 1642716 w 1674813"/>
                <a:gd name="connsiteY1445" fmla="*/ 355650 h 2003425"/>
                <a:gd name="connsiteX1446" fmla="*/ 1644700 w 1674813"/>
                <a:gd name="connsiteY1446" fmla="*/ 357616 h 2003425"/>
                <a:gd name="connsiteX1447" fmla="*/ 1658938 w 1674813"/>
                <a:gd name="connsiteY1447" fmla="*/ 371726 h 2003425"/>
                <a:gd name="connsiteX1448" fmla="*/ 1610123 w 1674813"/>
                <a:gd name="connsiteY1448" fmla="*/ 371726 h 2003425"/>
                <a:gd name="connsiteX1449" fmla="*/ 1642666 w 1674813"/>
                <a:gd name="connsiteY1449" fmla="*/ 387851 h 2003425"/>
                <a:gd name="connsiteX1450" fmla="*/ 1577579 w 1674813"/>
                <a:gd name="connsiteY1450" fmla="*/ 387851 h 2003425"/>
                <a:gd name="connsiteX1451" fmla="*/ 1610123 w 1674813"/>
                <a:gd name="connsiteY1451" fmla="*/ 403977 h 2003425"/>
                <a:gd name="connsiteX1452" fmla="*/ 1545035 w 1674813"/>
                <a:gd name="connsiteY1452" fmla="*/ 387851 h 2003425"/>
                <a:gd name="connsiteX1453" fmla="*/ 1577579 w 1674813"/>
                <a:gd name="connsiteY1453" fmla="*/ 420103 h 2003425"/>
                <a:gd name="connsiteX1454" fmla="*/ 1512491 w 1674813"/>
                <a:gd name="connsiteY1454" fmla="*/ 387851 h 2003425"/>
                <a:gd name="connsiteX1455" fmla="*/ 1545035 w 1674813"/>
                <a:gd name="connsiteY1455" fmla="*/ 452354 h 2003425"/>
                <a:gd name="connsiteX1456" fmla="*/ 1479948 w 1674813"/>
                <a:gd name="connsiteY1456" fmla="*/ 387851 h 2003425"/>
                <a:gd name="connsiteX1457" fmla="*/ 1512491 w 1674813"/>
                <a:gd name="connsiteY1457" fmla="*/ 468480 h 2003425"/>
                <a:gd name="connsiteX1458" fmla="*/ 1431132 w 1674813"/>
                <a:gd name="connsiteY1458" fmla="*/ 403977 h 2003425"/>
                <a:gd name="connsiteX1459" fmla="*/ 1463676 w 1674813"/>
                <a:gd name="connsiteY1459" fmla="*/ 484606 h 2003425"/>
                <a:gd name="connsiteX1460" fmla="*/ 1398588 w 1674813"/>
                <a:gd name="connsiteY1460" fmla="*/ 420103 h 2003425"/>
                <a:gd name="connsiteX1461" fmla="*/ 1447404 w 1674813"/>
                <a:gd name="connsiteY1461" fmla="*/ 500731 h 2003425"/>
                <a:gd name="connsiteX1462" fmla="*/ 1349773 w 1674813"/>
                <a:gd name="connsiteY1462" fmla="*/ 420103 h 2003425"/>
                <a:gd name="connsiteX1463" fmla="*/ 1398588 w 1674813"/>
                <a:gd name="connsiteY1463" fmla="*/ 516857 h 2003425"/>
                <a:gd name="connsiteX1464" fmla="*/ 1300957 w 1674813"/>
                <a:gd name="connsiteY1464" fmla="*/ 436229 h 2003425"/>
                <a:gd name="connsiteX1465" fmla="*/ 1406978 w 1674813"/>
                <a:gd name="connsiteY1465" fmla="*/ 396418 h 2003425"/>
                <a:gd name="connsiteX1466" fmla="*/ 1453957 w 1674813"/>
                <a:gd name="connsiteY1466" fmla="*/ 384252 h 2003425"/>
                <a:gd name="connsiteX1467" fmla="*/ 1431529 w 1674813"/>
                <a:gd name="connsiteY1467" fmla="*/ 387826 h 2003425"/>
                <a:gd name="connsiteX1468" fmla="*/ 1342033 w 1674813"/>
                <a:gd name="connsiteY1468" fmla="*/ 414010 h 2003425"/>
                <a:gd name="connsiteX1469" fmla="*/ 1263949 w 1674813"/>
                <a:gd name="connsiteY1469" fmla="*/ 447400 h 2003425"/>
                <a:gd name="connsiteX1470" fmla="*/ 1267679 w 1674813"/>
                <a:gd name="connsiteY1470" fmla="*/ 451113 h 2003425"/>
                <a:gd name="connsiteX1471" fmla="*/ 1300957 w 1674813"/>
                <a:gd name="connsiteY1471" fmla="*/ 436229 h 2003425"/>
                <a:gd name="connsiteX1472" fmla="*/ 1366044 w 1674813"/>
                <a:gd name="connsiteY1472" fmla="*/ 532983 h 2003425"/>
                <a:gd name="connsiteX1473" fmla="*/ 1268413 w 1674813"/>
                <a:gd name="connsiteY1473" fmla="*/ 468480 h 2003425"/>
                <a:gd name="connsiteX1474" fmla="*/ 1333501 w 1674813"/>
                <a:gd name="connsiteY1474" fmla="*/ 549108 h 2003425"/>
                <a:gd name="connsiteX1475" fmla="*/ 1235869 w 1674813"/>
                <a:gd name="connsiteY1475" fmla="*/ 468480 h 2003425"/>
                <a:gd name="connsiteX1476" fmla="*/ 1284685 w 1674813"/>
                <a:gd name="connsiteY1476" fmla="*/ 549108 h 2003425"/>
                <a:gd name="connsiteX1477" fmla="*/ 1219598 w 1674813"/>
                <a:gd name="connsiteY1477" fmla="*/ 500731 h 2003425"/>
                <a:gd name="connsiteX1478" fmla="*/ 1252141 w 1674813"/>
                <a:gd name="connsiteY1478" fmla="*/ 565234 h 2003425"/>
                <a:gd name="connsiteX1479" fmla="*/ 1170782 w 1674813"/>
                <a:gd name="connsiteY1479" fmla="*/ 516857 h 2003425"/>
                <a:gd name="connsiteX1480" fmla="*/ 1219598 w 1674813"/>
                <a:gd name="connsiteY1480" fmla="*/ 581360 h 2003425"/>
                <a:gd name="connsiteX1481" fmla="*/ 1154510 w 1674813"/>
                <a:gd name="connsiteY1481" fmla="*/ 532983 h 2003425"/>
                <a:gd name="connsiteX1482" fmla="*/ 1187054 w 1674813"/>
                <a:gd name="connsiteY1482" fmla="*/ 581360 h 2003425"/>
                <a:gd name="connsiteX1483" fmla="*/ 1138238 w 1674813"/>
                <a:gd name="connsiteY1483" fmla="*/ 549108 h 2003425"/>
                <a:gd name="connsiteX1484" fmla="*/ 1154510 w 1674813"/>
                <a:gd name="connsiteY1484" fmla="*/ 597485 h 2003425"/>
                <a:gd name="connsiteX1485" fmla="*/ 1105694 w 1674813"/>
                <a:gd name="connsiteY1485" fmla="*/ 565234 h 2003425"/>
                <a:gd name="connsiteX1486" fmla="*/ 1121966 w 1674813"/>
                <a:gd name="connsiteY1486" fmla="*/ 613611 h 2003425"/>
                <a:gd name="connsiteX1487" fmla="*/ 1073151 w 1674813"/>
                <a:gd name="connsiteY1487" fmla="*/ 597485 h 2003425"/>
                <a:gd name="connsiteX1488" fmla="*/ 1105694 w 1674813"/>
                <a:gd name="connsiteY1488" fmla="*/ 613611 h 2003425"/>
                <a:gd name="connsiteX1489" fmla="*/ 1078236 w 1674813"/>
                <a:gd name="connsiteY1489" fmla="*/ 620414 h 2003425"/>
                <a:gd name="connsiteX1490" fmla="*/ 1040906 w 1674813"/>
                <a:gd name="connsiteY1490" fmla="*/ 629663 h 2003425"/>
                <a:gd name="connsiteX1491" fmla="*/ 1040794 w 1674813"/>
                <a:gd name="connsiteY1491" fmla="*/ 629737 h 2003425"/>
                <a:gd name="connsiteX1492" fmla="*/ 1044675 w 1674813"/>
                <a:gd name="connsiteY1492" fmla="*/ 629737 h 2003425"/>
                <a:gd name="connsiteX1493" fmla="*/ 1073151 w 1674813"/>
                <a:gd name="connsiteY1493" fmla="*/ 629737 h 2003425"/>
                <a:gd name="connsiteX1494" fmla="*/ 1062981 w 1674813"/>
                <a:gd name="connsiteY1494" fmla="*/ 634776 h 2003425"/>
                <a:gd name="connsiteX1495" fmla="*/ 1049986 w 1674813"/>
                <a:gd name="connsiteY1495" fmla="*/ 641215 h 2003425"/>
                <a:gd name="connsiteX1496" fmla="*/ 1079650 w 1674813"/>
                <a:gd name="connsiteY1496" fmla="*/ 632644 h 2003425"/>
                <a:gd name="connsiteX1497" fmla="*/ 1088681 w 1674813"/>
                <a:gd name="connsiteY1497" fmla="*/ 630670 h 2003425"/>
                <a:gd name="connsiteX1498" fmla="*/ 1089474 w 1674813"/>
                <a:gd name="connsiteY1498" fmla="*/ 630437 h 2003425"/>
                <a:gd name="connsiteX1499" fmla="*/ 1096577 w 1674813"/>
                <a:gd name="connsiteY1499" fmla="*/ 628943 h 2003425"/>
                <a:gd name="connsiteX1500" fmla="*/ 1124874 w 1674813"/>
                <a:gd name="connsiteY1500" fmla="*/ 622755 h 2003425"/>
                <a:gd name="connsiteX1501" fmla="*/ 1128308 w 1674813"/>
                <a:gd name="connsiteY1501" fmla="*/ 622270 h 2003425"/>
                <a:gd name="connsiteX1502" fmla="*/ 1132468 w 1674813"/>
                <a:gd name="connsiteY1502" fmla="*/ 621395 h 2003425"/>
                <a:gd name="connsiteX1503" fmla="*/ 1135724 w 1674813"/>
                <a:gd name="connsiteY1503" fmla="*/ 621222 h 2003425"/>
                <a:gd name="connsiteX1504" fmla="*/ 1177535 w 1674813"/>
                <a:gd name="connsiteY1504" fmla="*/ 615315 h 2003425"/>
                <a:gd name="connsiteX1505" fmla="*/ 1301354 w 1674813"/>
                <a:gd name="connsiteY1505" fmla="*/ 614562 h 2003425"/>
                <a:gd name="connsiteX1506" fmla="*/ 1555348 w 1674813"/>
                <a:gd name="connsiteY1506" fmla="*/ 675591 h 2003425"/>
                <a:gd name="connsiteX1507" fmla="*/ 1625176 w 1674813"/>
                <a:gd name="connsiteY1507" fmla="*/ 716577 h 2003425"/>
                <a:gd name="connsiteX1508" fmla="*/ 1643063 w 1674813"/>
                <a:gd name="connsiteY1508" fmla="*/ 726878 h 2003425"/>
                <a:gd name="connsiteX1509" fmla="*/ 1643063 w 1674813"/>
                <a:gd name="connsiteY1509" fmla="*/ 727076 h 2003425"/>
                <a:gd name="connsiteX1510" fmla="*/ 1643063 w 1674813"/>
                <a:gd name="connsiteY1510" fmla="*/ 728887 h 2003425"/>
                <a:gd name="connsiteX1511" fmla="*/ 1643063 w 1674813"/>
                <a:gd name="connsiteY1511" fmla="*/ 742951 h 2003425"/>
                <a:gd name="connsiteX1512" fmla="*/ 1610499 w 1674813"/>
                <a:gd name="connsiteY1512" fmla="*/ 710804 h 2003425"/>
                <a:gd name="connsiteX1513" fmla="*/ 1626781 w 1674813"/>
                <a:gd name="connsiteY1513" fmla="*/ 742951 h 2003425"/>
                <a:gd name="connsiteX1514" fmla="*/ 1577935 w 1674813"/>
                <a:gd name="connsiteY1514" fmla="*/ 710804 h 2003425"/>
                <a:gd name="connsiteX1515" fmla="*/ 1577935 w 1674813"/>
                <a:gd name="connsiteY1515" fmla="*/ 742951 h 2003425"/>
                <a:gd name="connsiteX1516" fmla="*/ 1561653 w 1674813"/>
                <a:gd name="connsiteY1516" fmla="*/ 710804 h 2003425"/>
                <a:gd name="connsiteX1517" fmla="*/ 1561653 w 1674813"/>
                <a:gd name="connsiteY1517" fmla="*/ 742951 h 2003425"/>
                <a:gd name="connsiteX1518" fmla="*/ 1529089 w 1674813"/>
                <a:gd name="connsiteY1518" fmla="*/ 694731 h 2003425"/>
                <a:gd name="connsiteX1519" fmla="*/ 1512807 w 1674813"/>
                <a:gd name="connsiteY1519" fmla="*/ 742951 h 2003425"/>
                <a:gd name="connsiteX1520" fmla="*/ 1496525 w 1674813"/>
                <a:gd name="connsiteY1520" fmla="*/ 678657 h 2003425"/>
                <a:gd name="connsiteX1521" fmla="*/ 1480243 w 1674813"/>
                <a:gd name="connsiteY1521" fmla="*/ 742951 h 2003425"/>
                <a:gd name="connsiteX1522" fmla="*/ 1466505 w 1674813"/>
                <a:gd name="connsiteY1522" fmla="*/ 675141 h 2003425"/>
                <a:gd name="connsiteX1523" fmla="*/ 1463996 w 1674813"/>
                <a:gd name="connsiteY1523" fmla="*/ 662760 h 2003425"/>
                <a:gd name="connsiteX1524" fmla="*/ 1463929 w 1674813"/>
                <a:gd name="connsiteY1524" fmla="*/ 662740 h 2003425"/>
                <a:gd name="connsiteX1525" fmla="*/ 1463706 w 1674813"/>
                <a:gd name="connsiteY1525" fmla="*/ 663839 h 2003425"/>
                <a:gd name="connsiteX1526" fmla="*/ 1447679 w 1674813"/>
                <a:gd name="connsiteY1526" fmla="*/ 742951 h 2003425"/>
                <a:gd name="connsiteX1527" fmla="*/ 1431397 w 1674813"/>
                <a:gd name="connsiteY1527" fmla="*/ 662584 h 2003425"/>
                <a:gd name="connsiteX1528" fmla="*/ 1415115 w 1674813"/>
                <a:gd name="connsiteY1528" fmla="*/ 742951 h 2003425"/>
                <a:gd name="connsiteX1529" fmla="*/ 1382550 w 1674813"/>
                <a:gd name="connsiteY1529" fmla="*/ 646510 h 2003425"/>
                <a:gd name="connsiteX1530" fmla="*/ 1382550 w 1674813"/>
                <a:gd name="connsiteY1530" fmla="*/ 726878 h 2003425"/>
                <a:gd name="connsiteX1531" fmla="*/ 1355074 w 1674813"/>
                <a:gd name="connsiteY1531" fmla="*/ 645506 h 2003425"/>
                <a:gd name="connsiteX1532" fmla="*/ 1352018 w 1674813"/>
                <a:gd name="connsiteY1532" fmla="*/ 636455 h 2003425"/>
                <a:gd name="connsiteX1533" fmla="*/ 1349986 w 1674813"/>
                <a:gd name="connsiteY1533" fmla="*/ 636221 h 2003425"/>
                <a:gd name="connsiteX1534" fmla="*/ 1349986 w 1674813"/>
                <a:gd name="connsiteY1534" fmla="*/ 642492 h 2003425"/>
                <a:gd name="connsiteX1535" fmla="*/ 1349986 w 1674813"/>
                <a:gd name="connsiteY1535" fmla="*/ 726878 h 2003425"/>
                <a:gd name="connsiteX1536" fmla="*/ 1303239 w 1674813"/>
                <a:gd name="connsiteY1536" fmla="*/ 634581 h 2003425"/>
                <a:gd name="connsiteX1537" fmla="*/ 1301236 w 1674813"/>
                <a:gd name="connsiteY1537" fmla="*/ 630625 h 2003425"/>
                <a:gd name="connsiteX1538" fmla="*/ 1301140 w 1674813"/>
                <a:gd name="connsiteY1538" fmla="*/ 630617 h 2003425"/>
                <a:gd name="connsiteX1539" fmla="*/ 1301140 w 1674813"/>
                <a:gd name="connsiteY1539" fmla="*/ 631692 h 2003425"/>
                <a:gd name="connsiteX1540" fmla="*/ 1301140 w 1674813"/>
                <a:gd name="connsiteY1540" fmla="*/ 710804 h 2003425"/>
                <a:gd name="connsiteX1541" fmla="*/ 1268576 w 1674813"/>
                <a:gd name="connsiteY1541" fmla="*/ 630437 h 2003425"/>
                <a:gd name="connsiteX1542" fmla="*/ 1268576 w 1674813"/>
                <a:gd name="connsiteY1542" fmla="*/ 664342 h 2003425"/>
                <a:gd name="connsiteX1543" fmla="*/ 1268576 w 1674813"/>
                <a:gd name="connsiteY1543" fmla="*/ 703103 h 2003425"/>
                <a:gd name="connsiteX1544" fmla="*/ 1333694 w 1674813"/>
                <a:gd name="connsiteY1544" fmla="*/ 727076 h 2003425"/>
                <a:gd name="connsiteX1545" fmla="*/ 1502415 w 1674813"/>
                <a:gd name="connsiteY1545" fmla="*/ 824231 h 2003425"/>
                <a:gd name="connsiteX1546" fmla="*/ 1565817 w 1674813"/>
                <a:gd name="connsiteY1546" fmla="*/ 873981 h 2003425"/>
                <a:gd name="connsiteX1547" fmla="*/ 1569109 w 1674813"/>
                <a:gd name="connsiteY1547" fmla="*/ 876338 h 2003425"/>
                <a:gd name="connsiteX1548" fmla="*/ 1570759 w 1674813"/>
                <a:gd name="connsiteY1548" fmla="*/ 877859 h 2003425"/>
                <a:gd name="connsiteX1549" fmla="*/ 1587537 w 1674813"/>
                <a:gd name="connsiteY1549" fmla="*/ 891025 h 2003425"/>
                <a:gd name="connsiteX1550" fmla="*/ 1600052 w 1674813"/>
                <a:gd name="connsiteY1550" fmla="*/ 904861 h 2003425"/>
                <a:gd name="connsiteX1551" fmla="*/ 1624502 w 1674813"/>
                <a:gd name="connsiteY1551" fmla="*/ 927398 h 2003425"/>
                <a:gd name="connsiteX1552" fmla="*/ 1658551 w 1674813"/>
                <a:gd name="connsiteY1552" fmla="*/ 969358 h 2003425"/>
                <a:gd name="connsiteX1553" fmla="*/ 1658751 w 1674813"/>
                <a:gd name="connsiteY1553" fmla="*/ 969757 h 2003425"/>
                <a:gd name="connsiteX1554" fmla="*/ 1658938 w 1674813"/>
                <a:gd name="connsiteY1554" fmla="*/ 969963 h 2003425"/>
                <a:gd name="connsiteX1555" fmla="*/ 1658779 w 1674813"/>
                <a:gd name="connsiteY1555" fmla="*/ 969811 h 2003425"/>
                <a:gd name="connsiteX1556" fmla="*/ 1660584 w 1674813"/>
                <a:gd name="connsiteY1556" fmla="*/ 973403 h 2003425"/>
                <a:gd name="connsiteX1557" fmla="*/ 1674813 w 1674813"/>
                <a:gd name="connsiteY1557" fmla="*/ 1001713 h 2003425"/>
                <a:gd name="connsiteX1558" fmla="*/ 1661092 w 1674813"/>
                <a:gd name="connsiteY1558" fmla="*/ 981239 h 2003425"/>
                <a:gd name="connsiteX1559" fmla="*/ 1644346 w 1674813"/>
                <a:gd name="connsiteY1559" fmla="*/ 956251 h 2003425"/>
                <a:gd name="connsiteX1560" fmla="*/ 1642289 w 1674813"/>
                <a:gd name="connsiteY1560" fmla="*/ 954423 h 2003425"/>
                <a:gd name="connsiteX1561" fmla="*/ 1642289 w 1674813"/>
                <a:gd name="connsiteY1561" fmla="*/ 959247 h 2003425"/>
                <a:gd name="connsiteX1562" fmla="*/ 1642289 w 1674813"/>
                <a:gd name="connsiteY1562" fmla="*/ 1001713 h 2003425"/>
                <a:gd name="connsiteX1563" fmla="*/ 1609764 w 1674813"/>
                <a:gd name="connsiteY1563" fmla="*/ 937004 h 2003425"/>
                <a:gd name="connsiteX1564" fmla="*/ 1609764 w 1674813"/>
                <a:gd name="connsiteY1564" fmla="*/ 985536 h 2003425"/>
                <a:gd name="connsiteX1565" fmla="*/ 1593502 w 1674813"/>
                <a:gd name="connsiteY1565" fmla="*/ 937004 h 2003425"/>
                <a:gd name="connsiteX1566" fmla="*/ 1577240 w 1674813"/>
                <a:gd name="connsiteY1566" fmla="*/ 969358 h 2003425"/>
                <a:gd name="connsiteX1567" fmla="*/ 1560978 w 1674813"/>
                <a:gd name="connsiteY1567" fmla="*/ 904649 h 2003425"/>
                <a:gd name="connsiteX1568" fmla="*/ 1528453 w 1674813"/>
                <a:gd name="connsiteY1568" fmla="*/ 953181 h 2003425"/>
                <a:gd name="connsiteX1569" fmla="*/ 1528453 w 1674813"/>
                <a:gd name="connsiteY1569" fmla="*/ 872294 h 2003425"/>
                <a:gd name="connsiteX1570" fmla="*/ 1495929 w 1674813"/>
                <a:gd name="connsiteY1570" fmla="*/ 937004 h 2003425"/>
                <a:gd name="connsiteX1571" fmla="*/ 1495929 w 1674813"/>
                <a:gd name="connsiteY1571" fmla="*/ 856117 h 2003425"/>
                <a:gd name="connsiteX1572" fmla="*/ 1463405 w 1674813"/>
                <a:gd name="connsiteY1572" fmla="*/ 920826 h 2003425"/>
                <a:gd name="connsiteX1573" fmla="*/ 1463405 w 1674813"/>
                <a:gd name="connsiteY1573" fmla="*/ 823762 h 2003425"/>
                <a:gd name="connsiteX1574" fmla="*/ 1430880 w 1674813"/>
                <a:gd name="connsiteY1574" fmla="*/ 904649 h 2003425"/>
                <a:gd name="connsiteX1575" fmla="*/ 1414618 w 1674813"/>
                <a:gd name="connsiteY1575" fmla="*/ 791407 h 2003425"/>
                <a:gd name="connsiteX1576" fmla="*/ 1398356 w 1674813"/>
                <a:gd name="connsiteY1576" fmla="*/ 888471 h 2003425"/>
                <a:gd name="connsiteX1577" fmla="*/ 1382094 w 1674813"/>
                <a:gd name="connsiteY1577" fmla="*/ 775230 h 2003425"/>
                <a:gd name="connsiteX1578" fmla="*/ 1349569 w 1674813"/>
                <a:gd name="connsiteY1578" fmla="*/ 872294 h 2003425"/>
                <a:gd name="connsiteX1579" fmla="*/ 1349569 w 1674813"/>
                <a:gd name="connsiteY1579" fmla="*/ 759052 h 2003425"/>
                <a:gd name="connsiteX1580" fmla="*/ 1317045 w 1674813"/>
                <a:gd name="connsiteY1580" fmla="*/ 839939 h 2003425"/>
                <a:gd name="connsiteX1581" fmla="*/ 1300783 w 1674813"/>
                <a:gd name="connsiteY1581" fmla="*/ 742875 h 2003425"/>
                <a:gd name="connsiteX1582" fmla="*/ 1268258 w 1674813"/>
                <a:gd name="connsiteY1582" fmla="*/ 823762 h 2003425"/>
                <a:gd name="connsiteX1583" fmla="*/ 1268258 w 1674813"/>
                <a:gd name="connsiteY1583" fmla="*/ 726698 h 2003425"/>
                <a:gd name="connsiteX1584" fmla="*/ 1251996 w 1674813"/>
                <a:gd name="connsiteY1584" fmla="*/ 791407 h 2003425"/>
                <a:gd name="connsiteX1585" fmla="*/ 1235734 w 1674813"/>
                <a:gd name="connsiteY1585" fmla="*/ 710520 h 2003425"/>
                <a:gd name="connsiteX1586" fmla="*/ 1219472 w 1674813"/>
                <a:gd name="connsiteY1586" fmla="*/ 775230 h 2003425"/>
                <a:gd name="connsiteX1587" fmla="*/ 1203210 w 1674813"/>
                <a:gd name="connsiteY1587" fmla="*/ 710520 h 2003425"/>
                <a:gd name="connsiteX1588" fmla="*/ 1186947 w 1674813"/>
                <a:gd name="connsiteY1588" fmla="*/ 759052 h 2003425"/>
                <a:gd name="connsiteX1589" fmla="*/ 1170685 w 1674813"/>
                <a:gd name="connsiteY1589" fmla="*/ 710520 h 2003425"/>
                <a:gd name="connsiteX1590" fmla="*/ 1154423 w 1674813"/>
                <a:gd name="connsiteY1590" fmla="*/ 742875 h 2003425"/>
                <a:gd name="connsiteX1591" fmla="*/ 1138161 w 1674813"/>
                <a:gd name="connsiteY1591" fmla="*/ 694343 h 2003425"/>
                <a:gd name="connsiteX1592" fmla="*/ 1138161 w 1674813"/>
                <a:gd name="connsiteY1592" fmla="*/ 726698 h 2003425"/>
                <a:gd name="connsiteX1593" fmla="*/ 1124439 w 1674813"/>
                <a:gd name="connsiteY1593" fmla="*/ 706223 h 2003425"/>
                <a:gd name="connsiteX1594" fmla="*/ 1105750 w 1674813"/>
                <a:gd name="connsiteY1594" fmla="*/ 678336 h 2003425"/>
                <a:gd name="connsiteX1595" fmla="*/ 1105636 w 1674813"/>
                <a:gd name="connsiteY1595" fmla="*/ 678321 h 2003425"/>
                <a:gd name="connsiteX1596" fmla="*/ 1105636 w 1674813"/>
                <a:gd name="connsiteY1596" fmla="*/ 678421 h 2003425"/>
                <a:gd name="connsiteX1597" fmla="*/ 1105756 w 1674813"/>
                <a:gd name="connsiteY1597" fmla="*/ 678657 h 2003425"/>
                <a:gd name="connsiteX1598" fmla="*/ 1105636 w 1674813"/>
                <a:gd name="connsiteY1598" fmla="*/ 678579 h 2003425"/>
                <a:gd name="connsiteX1599" fmla="*/ 1105636 w 1674813"/>
                <a:gd name="connsiteY1599" fmla="*/ 678924 h 2003425"/>
                <a:gd name="connsiteX1600" fmla="*/ 1105636 w 1674813"/>
                <a:gd name="connsiteY1600" fmla="*/ 726698 h 2003425"/>
                <a:gd name="connsiteX1601" fmla="*/ 1073112 w 1674813"/>
                <a:gd name="connsiteY1601" fmla="*/ 678166 h 2003425"/>
                <a:gd name="connsiteX1602" fmla="*/ 1073112 w 1674813"/>
                <a:gd name="connsiteY1602" fmla="*/ 678501 h 2003425"/>
                <a:gd name="connsiteX1603" fmla="*/ 1073191 w 1674813"/>
                <a:gd name="connsiteY1603" fmla="*/ 678657 h 2003425"/>
                <a:gd name="connsiteX1604" fmla="*/ 1073112 w 1674813"/>
                <a:gd name="connsiteY1604" fmla="*/ 678638 h 2003425"/>
                <a:gd name="connsiteX1605" fmla="*/ 1073112 w 1674813"/>
                <a:gd name="connsiteY1605" fmla="*/ 679872 h 2003425"/>
                <a:gd name="connsiteX1606" fmla="*/ 1073112 w 1674813"/>
                <a:gd name="connsiteY1606" fmla="*/ 691815 h 2003425"/>
                <a:gd name="connsiteX1607" fmla="*/ 1073112 w 1674813"/>
                <a:gd name="connsiteY1607" fmla="*/ 699186 h 2003425"/>
                <a:gd name="connsiteX1608" fmla="*/ 1091683 w 1674813"/>
                <a:gd name="connsiteY1608" fmla="*/ 714585 h 2003425"/>
                <a:gd name="connsiteX1609" fmla="*/ 1220171 w 1674813"/>
                <a:gd name="connsiteY1609" fmla="*/ 888560 h 2003425"/>
                <a:gd name="connsiteX1610" fmla="*/ 1271159 w 1674813"/>
                <a:gd name="connsiteY1610" fmla="*/ 1042305 h 2003425"/>
                <a:gd name="connsiteX1611" fmla="*/ 1279423 w 1674813"/>
                <a:gd name="connsiteY1611" fmla="*/ 1093638 h 2003425"/>
                <a:gd name="connsiteX1612" fmla="*/ 1285409 w 1674813"/>
                <a:gd name="connsiteY1612" fmla="*/ 1120892 h 2003425"/>
                <a:gd name="connsiteX1613" fmla="*/ 1291538 w 1674813"/>
                <a:gd name="connsiteY1613" fmla="*/ 1189420 h 2003425"/>
                <a:gd name="connsiteX1614" fmla="*/ 1285443 w 1674813"/>
                <a:gd name="connsiteY1614" fmla="*/ 1243994 h 2003425"/>
                <a:gd name="connsiteX1615" fmla="*/ 1285435 w 1674813"/>
                <a:gd name="connsiteY1615" fmla="*/ 1244601 h 2003425"/>
                <a:gd name="connsiteX1616" fmla="*/ 1285432 w 1674813"/>
                <a:gd name="connsiteY1616" fmla="*/ 1244093 h 2003425"/>
                <a:gd name="connsiteX1617" fmla="*/ 1285409 w 1674813"/>
                <a:gd name="connsiteY1617" fmla="*/ 1244292 h 2003425"/>
                <a:gd name="connsiteX1618" fmla="*/ 1285409 w 1674813"/>
                <a:gd name="connsiteY1618" fmla="*/ 1260476 h 2003425"/>
                <a:gd name="connsiteX1619" fmla="*/ 1269067 w 1674813"/>
                <a:gd name="connsiteY1619" fmla="*/ 1260476 h 2003425"/>
                <a:gd name="connsiteX1620" fmla="*/ 1275962 w 1674813"/>
                <a:gd name="connsiteY1620" fmla="*/ 1239994 h 2003425"/>
                <a:gd name="connsiteX1621" fmla="*/ 1284626 w 1674813"/>
                <a:gd name="connsiteY1621" fmla="*/ 1214251 h 2003425"/>
                <a:gd name="connsiteX1622" fmla="*/ 1284597 w 1674813"/>
                <a:gd name="connsiteY1622" fmla="*/ 1213534 h 2003425"/>
                <a:gd name="connsiteX1623" fmla="*/ 1283367 w 1674813"/>
                <a:gd name="connsiteY1623" fmla="*/ 1215971 h 2003425"/>
                <a:gd name="connsiteX1624" fmla="*/ 1269067 w 1674813"/>
                <a:gd name="connsiteY1624" fmla="*/ 1244292 h 2003425"/>
                <a:gd name="connsiteX1625" fmla="*/ 1269067 w 1674813"/>
                <a:gd name="connsiteY1625" fmla="*/ 1195741 h 2003425"/>
                <a:gd name="connsiteX1626" fmla="*/ 1252725 w 1674813"/>
                <a:gd name="connsiteY1626" fmla="*/ 1211925 h 2003425"/>
                <a:gd name="connsiteX1627" fmla="*/ 1269067 w 1674813"/>
                <a:gd name="connsiteY1627" fmla="*/ 1163374 h 2003425"/>
                <a:gd name="connsiteX1628" fmla="*/ 1236383 w 1674813"/>
                <a:gd name="connsiteY1628" fmla="*/ 1195741 h 2003425"/>
                <a:gd name="connsiteX1629" fmla="*/ 1269067 w 1674813"/>
                <a:gd name="connsiteY1629" fmla="*/ 1131007 h 2003425"/>
                <a:gd name="connsiteX1630" fmla="*/ 1220042 w 1674813"/>
                <a:gd name="connsiteY1630" fmla="*/ 1163374 h 2003425"/>
                <a:gd name="connsiteX1631" fmla="*/ 1269067 w 1674813"/>
                <a:gd name="connsiteY1631" fmla="*/ 1098639 h 2003425"/>
                <a:gd name="connsiteX1632" fmla="*/ 1187358 w 1674813"/>
                <a:gd name="connsiteY1632" fmla="*/ 1131007 h 2003425"/>
                <a:gd name="connsiteX1633" fmla="*/ 1252725 w 1674813"/>
                <a:gd name="connsiteY1633" fmla="*/ 1066272 h 2003425"/>
                <a:gd name="connsiteX1634" fmla="*/ 1171016 w 1674813"/>
                <a:gd name="connsiteY1634" fmla="*/ 1098639 h 2003425"/>
                <a:gd name="connsiteX1635" fmla="*/ 1236383 w 1674813"/>
                <a:gd name="connsiteY1635" fmla="*/ 1017721 h 2003425"/>
                <a:gd name="connsiteX1636" fmla="*/ 1171016 w 1674813"/>
                <a:gd name="connsiteY1636" fmla="*/ 1066272 h 2003425"/>
                <a:gd name="connsiteX1637" fmla="*/ 1236383 w 1674813"/>
                <a:gd name="connsiteY1637" fmla="*/ 985353 h 2003425"/>
                <a:gd name="connsiteX1638" fmla="*/ 1154674 w 1674813"/>
                <a:gd name="connsiteY1638" fmla="*/ 1033904 h 2003425"/>
                <a:gd name="connsiteX1639" fmla="*/ 1220042 w 1674813"/>
                <a:gd name="connsiteY1639" fmla="*/ 952986 h 2003425"/>
                <a:gd name="connsiteX1640" fmla="*/ 1138332 w 1674813"/>
                <a:gd name="connsiteY1640" fmla="*/ 1001537 h 2003425"/>
                <a:gd name="connsiteX1641" fmla="*/ 1203700 w 1674813"/>
                <a:gd name="connsiteY1641" fmla="*/ 920619 h 2003425"/>
                <a:gd name="connsiteX1642" fmla="*/ 1121990 w 1674813"/>
                <a:gd name="connsiteY1642" fmla="*/ 969170 h 2003425"/>
                <a:gd name="connsiteX1643" fmla="*/ 1187358 w 1674813"/>
                <a:gd name="connsiteY1643" fmla="*/ 888251 h 2003425"/>
                <a:gd name="connsiteX1644" fmla="*/ 1121990 w 1674813"/>
                <a:gd name="connsiteY1644" fmla="*/ 920619 h 2003425"/>
                <a:gd name="connsiteX1645" fmla="*/ 1171016 w 1674813"/>
                <a:gd name="connsiteY1645" fmla="*/ 855884 h 2003425"/>
                <a:gd name="connsiteX1646" fmla="*/ 1105648 w 1674813"/>
                <a:gd name="connsiteY1646" fmla="*/ 888251 h 2003425"/>
                <a:gd name="connsiteX1647" fmla="*/ 1154674 w 1674813"/>
                <a:gd name="connsiteY1647" fmla="*/ 823516 h 2003425"/>
                <a:gd name="connsiteX1648" fmla="*/ 1089306 w 1674813"/>
                <a:gd name="connsiteY1648" fmla="*/ 855884 h 2003425"/>
                <a:gd name="connsiteX1649" fmla="*/ 1138332 w 1674813"/>
                <a:gd name="connsiteY1649" fmla="*/ 807333 h 2003425"/>
                <a:gd name="connsiteX1650" fmla="*/ 1089306 w 1674813"/>
                <a:gd name="connsiteY1650" fmla="*/ 823516 h 2003425"/>
                <a:gd name="connsiteX1651" fmla="*/ 1121990 w 1674813"/>
                <a:gd name="connsiteY1651" fmla="*/ 791149 h 2003425"/>
                <a:gd name="connsiteX1652" fmla="*/ 1072964 w 1674813"/>
                <a:gd name="connsiteY1652" fmla="*/ 807333 h 2003425"/>
                <a:gd name="connsiteX1653" fmla="*/ 1105648 w 1674813"/>
                <a:gd name="connsiteY1653" fmla="*/ 758782 h 2003425"/>
                <a:gd name="connsiteX1654" fmla="*/ 1072964 w 1674813"/>
                <a:gd name="connsiteY1654" fmla="*/ 791149 h 2003425"/>
                <a:gd name="connsiteX1655" fmla="*/ 1072964 w 1674813"/>
                <a:gd name="connsiteY1655" fmla="*/ 726414 h 2003425"/>
                <a:gd name="connsiteX1656" fmla="*/ 1056622 w 1674813"/>
                <a:gd name="connsiteY1656" fmla="*/ 758782 h 2003425"/>
                <a:gd name="connsiteX1657" fmla="*/ 1056622 w 1674813"/>
                <a:gd name="connsiteY1657" fmla="*/ 710231 h 2003425"/>
                <a:gd name="connsiteX1658" fmla="*/ 1040280 w 1674813"/>
                <a:gd name="connsiteY1658" fmla="*/ 742598 h 2003425"/>
                <a:gd name="connsiteX1659" fmla="*/ 1035109 w 1674813"/>
                <a:gd name="connsiteY1659" fmla="*/ 722115 h 2003425"/>
                <a:gd name="connsiteX1660" fmla="*/ 1027019 w 1674813"/>
                <a:gd name="connsiteY1660" fmla="*/ 690065 h 2003425"/>
                <a:gd name="connsiteX1661" fmla="*/ 1008571 w 1674813"/>
                <a:gd name="connsiteY1661" fmla="*/ 678491 h 2003425"/>
                <a:gd name="connsiteX1662" fmla="*/ 1008530 w 1674813"/>
                <a:gd name="connsiteY1662" fmla="*/ 679775 h 2003425"/>
                <a:gd name="connsiteX1663" fmla="*/ 1004630 w 1674813"/>
                <a:gd name="connsiteY1663" fmla="*/ 800195 h 2003425"/>
                <a:gd name="connsiteX1664" fmla="*/ 1003186 w 1674813"/>
                <a:gd name="connsiteY1664" fmla="*/ 844781 h 2003425"/>
                <a:gd name="connsiteX1665" fmla="*/ 1013073 w 1674813"/>
                <a:gd name="connsiteY1665" fmla="*/ 848787 h 2003425"/>
                <a:gd name="connsiteX1666" fmla="*/ 1039483 w 1674813"/>
                <a:gd name="connsiteY1666" fmla="*/ 858080 h 2003425"/>
                <a:gd name="connsiteX1667" fmla="*/ 1072765 w 1674813"/>
                <a:gd name="connsiteY1667" fmla="*/ 872672 h 2003425"/>
                <a:gd name="connsiteX1668" fmla="*/ 1072947 w 1674813"/>
                <a:gd name="connsiteY1668" fmla="*/ 873032 h 2003425"/>
                <a:gd name="connsiteX1669" fmla="*/ 1073150 w 1674813"/>
                <a:gd name="connsiteY1669" fmla="*/ 873126 h 2003425"/>
                <a:gd name="connsiteX1670" fmla="*/ 1072954 w 1674813"/>
                <a:gd name="connsiteY1670" fmla="*/ 873047 h 2003425"/>
                <a:gd name="connsiteX1671" fmla="*/ 1074798 w 1674813"/>
                <a:gd name="connsiteY1671" fmla="*/ 876698 h 2003425"/>
                <a:gd name="connsiteX1672" fmla="*/ 1089025 w 1674813"/>
                <a:gd name="connsiteY1672" fmla="*/ 904876 h 2003425"/>
                <a:gd name="connsiteX1673" fmla="*/ 1072765 w 1674813"/>
                <a:gd name="connsiteY1673" fmla="*/ 904876 h 2003425"/>
                <a:gd name="connsiteX1674" fmla="*/ 1056506 w 1674813"/>
                <a:gd name="connsiteY1674" fmla="*/ 872672 h 2003425"/>
                <a:gd name="connsiteX1675" fmla="*/ 1056506 w 1674813"/>
                <a:gd name="connsiteY1675" fmla="*/ 904876 h 2003425"/>
                <a:gd name="connsiteX1676" fmla="*/ 1023986 w 1674813"/>
                <a:gd name="connsiteY1676" fmla="*/ 872672 h 2003425"/>
                <a:gd name="connsiteX1677" fmla="*/ 1023986 w 1674813"/>
                <a:gd name="connsiteY1677" fmla="*/ 904876 h 2003425"/>
                <a:gd name="connsiteX1678" fmla="*/ 1007726 w 1674813"/>
                <a:gd name="connsiteY1678" fmla="*/ 872672 h 2003425"/>
                <a:gd name="connsiteX1679" fmla="*/ 1007726 w 1674813"/>
                <a:gd name="connsiteY1679" fmla="*/ 904876 h 2003425"/>
                <a:gd name="connsiteX1680" fmla="*/ 1005186 w 1674813"/>
                <a:gd name="connsiteY1680" fmla="*/ 897328 h 2003425"/>
                <a:gd name="connsiteX1681" fmla="*/ 1001809 w 1674813"/>
                <a:gd name="connsiteY1681" fmla="*/ 887297 h 2003425"/>
                <a:gd name="connsiteX1682" fmla="*/ 1001746 w 1674813"/>
                <a:gd name="connsiteY1682" fmla="*/ 889253 h 2003425"/>
                <a:gd name="connsiteX1683" fmla="*/ 999888 w 1674813"/>
                <a:gd name="connsiteY1683" fmla="*/ 946627 h 2003425"/>
                <a:gd name="connsiteX1684" fmla="*/ 998470 w 1674813"/>
                <a:gd name="connsiteY1684" fmla="*/ 990417 h 2003425"/>
                <a:gd name="connsiteX1685" fmla="*/ 1032370 w 1674813"/>
                <a:gd name="connsiteY1685" fmla="*/ 1015964 h 2003425"/>
                <a:gd name="connsiteX1686" fmla="*/ 1042214 w 1674813"/>
                <a:gd name="connsiteY1686" fmla="*/ 1027556 h 2003425"/>
                <a:gd name="connsiteX1687" fmla="*/ 1066228 w 1674813"/>
                <a:gd name="connsiteY1687" fmla="*/ 1050120 h 2003425"/>
                <a:gd name="connsiteX1688" fmla="*/ 1090180 w 1674813"/>
                <a:gd name="connsiteY1688" fmla="*/ 1082147 h 2003425"/>
                <a:gd name="connsiteX1689" fmla="*/ 1106488 w 1674813"/>
                <a:gd name="connsiteY1689" fmla="*/ 1114426 h 2003425"/>
                <a:gd name="connsiteX1690" fmla="*/ 1092728 w 1674813"/>
                <a:gd name="connsiteY1690" fmla="*/ 1093999 h 2003425"/>
                <a:gd name="connsiteX1691" fmla="*/ 1077955 w 1674813"/>
                <a:gd name="connsiteY1691" fmla="*/ 1072068 h 2003425"/>
                <a:gd name="connsiteX1692" fmla="*/ 1073872 w 1674813"/>
                <a:gd name="connsiteY1692" fmla="*/ 1068289 h 2003425"/>
                <a:gd name="connsiteX1693" fmla="*/ 1073872 w 1674813"/>
                <a:gd name="connsiteY1693" fmla="*/ 1070042 h 2003425"/>
                <a:gd name="connsiteX1694" fmla="*/ 1073872 w 1674813"/>
                <a:gd name="connsiteY1694" fmla="*/ 1098287 h 2003425"/>
                <a:gd name="connsiteX1695" fmla="*/ 1057564 w 1674813"/>
                <a:gd name="connsiteY1695" fmla="*/ 1066007 h 2003425"/>
                <a:gd name="connsiteX1696" fmla="*/ 1041256 w 1674813"/>
                <a:gd name="connsiteY1696" fmla="*/ 1098287 h 2003425"/>
                <a:gd name="connsiteX1697" fmla="*/ 1041256 w 1674813"/>
                <a:gd name="connsiteY1697" fmla="*/ 1049868 h 2003425"/>
                <a:gd name="connsiteX1698" fmla="*/ 1024948 w 1674813"/>
                <a:gd name="connsiteY1698" fmla="*/ 1082147 h 2003425"/>
                <a:gd name="connsiteX1699" fmla="*/ 1008640 w 1674813"/>
                <a:gd name="connsiteY1699" fmla="*/ 1017588 h 2003425"/>
                <a:gd name="connsiteX1700" fmla="*/ 1001760 w 1674813"/>
                <a:gd name="connsiteY1700" fmla="*/ 1038015 h 2003425"/>
                <a:gd name="connsiteX1701" fmla="*/ 996414 w 1674813"/>
                <a:gd name="connsiteY1701" fmla="*/ 1053889 h 2003425"/>
                <a:gd name="connsiteX1702" fmla="*/ 995221 w 1674813"/>
                <a:gd name="connsiteY1702" fmla="*/ 1090734 h 2003425"/>
                <a:gd name="connsiteX1703" fmla="*/ 992364 w 1674813"/>
                <a:gd name="connsiteY1703" fmla="*/ 1178936 h 2003425"/>
                <a:gd name="connsiteX1704" fmla="*/ 992364 w 1674813"/>
                <a:gd name="connsiteY1704" fmla="*/ 1405227 h 2003425"/>
                <a:gd name="connsiteX1705" fmla="*/ 1035850 w 1674813"/>
                <a:gd name="connsiteY1705" fmla="*/ 1751735 h 2003425"/>
                <a:gd name="connsiteX1706" fmla="*/ 1044326 w 1674813"/>
                <a:gd name="connsiteY1706" fmla="*/ 1819281 h 2003425"/>
                <a:gd name="connsiteX1707" fmla="*/ 1112266 w 1674813"/>
                <a:gd name="connsiteY1707" fmla="*/ 1842407 h 2003425"/>
                <a:gd name="connsiteX1708" fmla="*/ 1317626 w 1674813"/>
                <a:gd name="connsiteY1708" fmla="*/ 2003425 h 2003425"/>
                <a:gd name="connsiteX1709" fmla="*/ 195263 w 1674813"/>
                <a:gd name="connsiteY1709" fmla="*/ 2003425 h 2003425"/>
                <a:gd name="connsiteX1710" fmla="*/ 464671 w 1674813"/>
                <a:gd name="connsiteY1710" fmla="*/ 1815361 h 2003425"/>
                <a:gd name="connsiteX1711" fmla="*/ 516010 w 1674813"/>
                <a:gd name="connsiteY1711" fmla="*/ 1803469 h 2003425"/>
                <a:gd name="connsiteX1712" fmla="*/ 512358 w 1674813"/>
                <a:gd name="connsiteY1712" fmla="*/ 1756275 h 2003425"/>
                <a:gd name="connsiteX1713" fmla="*/ 487760 w 1674813"/>
                <a:gd name="connsiteY1713" fmla="*/ 1438351 h 2003425"/>
                <a:gd name="connsiteX1714" fmla="*/ 487760 w 1674813"/>
                <a:gd name="connsiteY1714" fmla="*/ 1244223 h 2003425"/>
                <a:gd name="connsiteX1715" fmla="*/ 509561 w 1674813"/>
                <a:gd name="connsiteY1715" fmla="*/ 973283 h 2003425"/>
                <a:gd name="connsiteX1716" fmla="*/ 514154 w 1674813"/>
                <a:gd name="connsiteY1716" fmla="*/ 916215 h 2003425"/>
                <a:gd name="connsiteX1717" fmla="*/ 512168 w 1674813"/>
                <a:gd name="connsiteY1717" fmla="*/ 912935 h 2003425"/>
                <a:gd name="connsiteX1718" fmla="*/ 506339 w 1674813"/>
                <a:gd name="connsiteY1718" fmla="*/ 907133 h 2003425"/>
                <a:gd name="connsiteX1719" fmla="*/ 490798 w 1674813"/>
                <a:gd name="connsiteY1719" fmla="*/ 891664 h 2003425"/>
                <a:gd name="connsiteX1720" fmla="*/ 492954 w 1674813"/>
                <a:gd name="connsiteY1720" fmla="*/ 904488 h 2003425"/>
                <a:gd name="connsiteX1721" fmla="*/ 494431 w 1674813"/>
                <a:gd name="connsiteY1721" fmla="*/ 908898 h 2003425"/>
                <a:gd name="connsiteX1722" fmla="*/ 503805 w 1674813"/>
                <a:gd name="connsiteY1722" fmla="*/ 936890 h 2003425"/>
                <a:gd name="connsiteX1723" fmla="*/ 499751 w 1674813"/>
                <a:gd name="connsiteY1723" fmla="*/ 934873 h 2003425"/>
                <a:gd name="connsiteX1724" fmla="*/ 497908 w 1674813"/>
                <a:gd name="connsiteY1724" fmla="*/ 933955 h 2003425"/>
                <a:gd name="connsiteX1725" fmla="*/ 500574 w 1674813"/>
                <a:gd name="connsiteY1725" fmla="*/ 949814 h 2003425"/>
                <a:gd name="connsiteX1726" fmla="*/ 503805 w 1674813"/>
                <a:gd name="connsiteY1726" fmla="*/ 953030 h 2003425"/>
                <a:gd name="connsiteX1727" fmla="*/ 503045 w 1674813"/>
                <a:gd name="connsiteY1727" fmla="*/ 952778 h 2003425"/>
                <a:gd name="connsiteX1728" fmla="*/ 500956 w 1674813"/>
                <a:gd name="connsiteY1728" fmla="*/ 952085 h 2003425"/>
                <a:gd name="connsiteX1729" fmla="*/ 501277 w 1674813"/>
                <a:gd name="connsiteY1729" fmla="*/ 953993 h 2003425"/>
                <a:gd name="connsiteX1730" fmla="*/ 503823 w 1674813"/>
                <a:gd name="connsiteY1730" fmla="*/ 969135 h 2003425"/>
                <a:gd name="connsiteX1731" fmla="*/ 499750 w 1674813"/>
                <a:gd name="connsiteY1731" fmla="*/ 961059 h 2003425"/>
                <a:gd name="connsiteX1732" fmla="*/ 494071 w 1674813"/>
                <a:gd name="connsiteY1732" fmla="*/ 949800 h 2003425"/>
                <a:gd name="connsiteX1733" fmla="*/ 483283 w 1674813"/>
                <a:gd name="connsiteY1733" fmla="*/ 946221 h 2003425"/>
                <a:gd name="connsiteX1734" fmla="*/ 464109 w 1674813"/>
                <a:gd name="connsiteY1734" fmla="*/ 939860 h 2003425"/>
                <a:gd name="connsiteX1735" fmla="*/ 463112 w 1674813"/>
                <a:gd name="connsiteY1735" fmla="*/ 944806 h 2003425"/>
                <a:gd name="connsiteX1736" fmla="*/ 468841 w 1674813"/>
                <a:gd name="connsiteY1736" fmla="*/ 950508 h 2003425"/>
                <a:gd name="connsiteX1737" fmla="*/ 487590 w 1674813"/>
                <a:gd name="connsiteY1737" fmla="*/ 969170 h 2003425"/>
                <a:gd name="connsiteX1738" fmla="*/ 473908 w 1674813"/>
                <a:gd name="connsiteY1738" fmla="*/ 962361 h 2003425"/>
                <a:gd name="connsiteX1739" fmla="*/ 460878 w 1674813"/>
                <a:gd name="connsiteY1739" fmla="*/ 955876 h 2003425"/>
                <a:gd name="connsiteX1740" fmla="*/ 459995 w 1674813"/>
                <a:gd name="connsiteY1740" fmla="*/ 960250 h 2003425"/>
                <a:gd name="connsiteX1741" fmla="*/ 460227 w 1674813"/>
                <a:gd name="connsiteY1741" fmla="*/ 960595 h 2003425"/>
                <a:gd name="connsiteX1742" fmla="*/ 487590 w 1674813"/>
                <a:gd name="connsiteY1742" fmla="*/ 1001449 h 2003425"/>
                <a:gd name="connsiteX1743" fmla="*/ 467067 w 1674813"/>
                <a:gd name="connsiteY1743" fmla="*/ 987831 h 2003425"/>
                <a:gd name="connsiteX1744" fmla="*/ 455923 w 1674813"/>
                <a:gd name="connsiteY1744" fmla="*/ 980436 h 2003425"/>
                <a:gd name="connsiteX1745" fmla="*/ 454944 w 1674813"/>
                <a:gd name="connsiteY1745" fmla="*/ 985286 h 2003425"/>
                <a:gd name="connsiteX1746" fmla="*/ 452908 w 1674813"/>
                <a:gd name="connsiteY1746" fmla="*/ 979229 h 2003425"/>
                <a:gd name="connsiteX1747" fmla="*/ 452564 w 1674813"/>
                <a:gd name="connsiteY1747" fmla="*/ 978207 h 2003425"/>
                <a:gd name="connsiteX1748" fmla="*/ 438944 w 1674813"/>
                <a:gd name="connsiteY1748" fmla="*/ 969170 h 2003425"/>
                <a:gd name="connsiteX1749" fmla="*/ 471375 w 1674813"/>
                <a:gd name="connsiteY1749" fmla="*/ 1017588 h 2003425"/>
                <a:gd name="connsiteX1750" fmla="*/ 450852 w 1674813"/>
                <a:gd name="connsiteY1750" fmla="*/ 1003971 h 2003425"/>
                <a:gd name="connsiteX1751" fmla="*/ 431784 w 1674813"/>
                <a:gd name="connsiteY1751" fmla="*/ 991317 h 2003425"/>
                <a:gd name="connsiteX1752" fmla="*/ 431778 w 1674813"/>
                <a:gd name="connsiteY1752" fmla="*/ 991343 h 2003425"/>
                <a:gd name="connsiteX1753" fmla="*/ 429198 w 1674813"/>
                <a:gd name="connsiteY1753" fmla="*/ 994108 h 2003425"/>
                <a:gd name="connsiteX1754" fmla="*/ 430330 w 1674813"/>
                <a:gd name="connsiteY1754" fmla="*/ 995649 h 2003425"/>
                <a:gd name="connsiteX1755" fmla="*/ 471375 w 1674813"/>
                <a:gd name="connsiteY1755" fmla="*/ 1066007 h 2003425"/>
                <a:gd name="connsiteX1756" fmla="*/ 406514 w 1674813"/>
                <a:gd name="connsiteY1756" fmla="*/ 1017588 h 2003425"/>
                <a:gd name="connsiteX1757" fmla="*/ 455159 w 1674813"/>
                <a:gd name="connsiteY1757" fmla="*/ 1098286 h 2003425"/>
                <a:gd name="connsiteX1758" fmla="*/ 390299 w 1674813"/>
                <a:gd name="connsiteY1758" fmla="*/ 1033728 h 2003425"/>
                <a:gd name="connsiteX1759" fmla="*/ 455159 w 1674813"/>
                <a:gd name="connsiteY1759" fmla="*/ 1114426 h 2003425"/>
                <a:gd name="connsiteX1760" fmla="*/ 374083 w 1674813"/>
                <a:gd name="connsiteY1760" fmla="*/ 1066007 h 2003425"/>
                <a:gd name="connsiteX1761" fmla="*/ 438944 w 1674813"/>
                <a:gd name="connsiteY1761" fmla="*/ 1146705 h 2003425"/>
                <a:gd name="connsiteX1762" fmla="*/ 374083 w 1674813"/>
                <a:gd name="connsiteY1762" fmla="*/ 1098286 h 2003425"/>
                <a:gd name="connsiteX1763" fmla="*/ 422729 w 1674813"/>
                <a:gd name="connsiteY1763" fmla="*/ 1162845 h 2003425"/>
                <a:gd name="connsiteX1764" fmla="*/ 374083 w 1674813"/>
                <a:gd name="connsiteY1764" fmla="*/ 1130566 h 2003425"/>
                <a:gd name="connsiteX1765" fmla="*/ 422729 w 1674813"/>
                <a:gd name="connsiteY1765" fmla="*/ 1195124 h 2003425"/>
                <a:gd name="connsiteX1766" fmla="*/ 357868 w 1674813"/>
                <a:gd name="connsiteY1766" fmla="*/ 1162845 h 2003425"/>
                <a:gd name="connsiteX1767" fmla="*/ 406514 w 1674813"/>
                <a:gd name="connsiteY1767" fmla="*/ 1211264 h 2003425"/>
                <a:gd name="connsiteX1768" fmla="*/ 357868 w 1674813"/>
                <a:gd name="connsiteY1768" fmla="*/ 1195124 h 2003425"/>
                <a:gd name="connsiteX1769" fmla="*/ 390299 w 1674813"/>
                <a:gd name="connsiteY1769" fmla="*/ 1243543 h 2003425"/>
                <a:gd name="connsiteX1770" fmla="*/ 357868 w 1674813"/>
                <a:gd name="connsiteY1770" fmla="*/ 1227403 h 2003425"/>
                <a:gd name="connsiteX1771" fmla="*/ 374083 w 1674813"/>
                <a:gd name="connsiteY1771" fmla="*/ 1259682 h 2003425"/>
                <a:gd name="connsiteX1772" fmla="*/ 357868 w 1674813"/>
                <a:gd name="connsiteY1772" fmla="*/ 1243543 h 2003425"/>
                <a:gd name="connsiteX1773" fmla="*/ 357868 w 1674813"/>
                <a:gd name="connsiteY1773" fmla="*/ 1291962 h 2003425"/>
                <a:gd name="connsiteX1774" fmla="*/ 351027 w 1674813"/>
                <a:gd name="connsiteY1774" fmla="*/ 1278344 h 2003425"/>
                <a:gd name="connsiteX1775" fmla="*/ 342132 w 1674813"/>
                <a:gd name="connsiteY1775" fmla="*/ 1260636 h 2003425"/>
                <a:gd name="connsiteX1776" fmla="*/ 342109 w 1674813"/>
                <a:gd name="connsiteY1776" fmla="*/ 1261044 h 2003425"/>
                <a:gd name="connsiteX1777" fmla="*/ 343680 w 1674813"/>
                <a:gd name="connsiteY1777" fmla="*/ 1265735 h 2003425"/>
                <a:gd name="connsiteX1778" fmla="*/ 357868 w 1674813"/>
                <a:gd name="connsiteY1778" fmla="*/ 1308101 h 2003425"/>
                <a:gd name="connsiteX1779" fmla="*/ 341653 w 1674813"/>
                <a:gd name="connsiteY1779" fmla="*/ 1308101 h 2003425"/>
                <a:gd name="connsiteX1780" fmla="*/ 341653 w 1674813"/>
                <a:gd name="connsiteY1780" fmla="*/ 1275822 h 2003425"/>
                <a:gd name="connsiteX1781" fmla="*/ 341643 w 1674813"/>
                <a:gd name="connsiteY1781" fmla="*/ 1275768 h 2003425"/>
                <a:gd name="connsiteX1782" fmla="*/ 341630 w 1674813"/>
                <a:gd name="connsiteY1782" fmla="*/ 1276351 h 2003425"/>
                <a:gd name="connsiteX1783" fmla="*/ 341589 w 1674813"/>
                <a:gd name="connsiteY1783" fmla="*/ 1275464 h 2003425"/>
                <a:gd name="connsiteX1784" fmla="*/ 335319 w 1674813"/>
                <a:gd name="connsiteY1784" fmla="*/ 1240264 h 2003425"/>
                <a:gd name="connsiteX1785" fmla="*/ 338219 w 1674813"/>
                <a:gd name="connsiteY1785" fmla="*/ 1203083 h 2003425"/>
                <a:gd name="connsiteX1786" fmla="*/ 337835 w 1674813"/>
                <a:gd name="connsiteY1786" fmla="*/ 1194851 h 2003425"/>
                <a:gd name="connsiteX1787" fmla="*/ 366678 w 1674813"/>
                <a:gd name="connsiteY1787" fmla="*/ 1056072 h 2003425"/>
                <a:gd name="connsiteX1788" fmla="*/ 370669 w 1674813"/>
                <a:gd name="connsiteY1788" fmla="*/ 1046871 h 2003425"/>
                <a:gd name="connsiteX1789" fmla="*/ 374083 w 1674813"/>
                <a:gd name="connsiteY1789" fmla="*/ 1033728 h 2003425"/>
                <a:gd name="connsiteX1790" fmla="*/ 387919 w 1674813"/>
                <a:gd name="connsiteY1790" fmla="*/ 1007100 h 2003425"/>
                <a:gd name="connsiteX1791" fmla="*/ 390208 w 1674813"/>
                <a:gd name="connsiteY1791" fmla="*/ 1001823 h 2003425"/>
                <a:gd name="connsiteX1792" fmla="*/ 389315 w 1674813"/>
                <a:gd name="connsiteY1792" fmla="*/ 1004413 h 2003425"/>
                <a:gd name="connsiteX1793" fmla="*/ 391632 w 1674813"/>
                <a:gd name="connsiteY1793" fmla="*/ 999954 h 2003425"/>
                <a:gd name="connsiteX1794" fmla="*/ 390208 w 1674813"/>
                <a:gd name="connsiteY1794" fmla="*/ 1001823 h 2003425"/>
                <a:gd name="connsiteX1795" fmla="*/ 392989 w 1674813"/>
                <a:gd name="connsiteY1795" fmla="*/ 997343 h 2003425"/>
                <a:gd name="connsiteX1796" fmla="*/ 394558 w 1674813"/>
                <a:gd name="connsiteY1796" fmla="*/ 994322 h 2003425"/>
                <a:gd name="connsiteX1797" fmla="*/ 389773 w 1674813"/>
                <a:gd name="connsiteY1797" fmla="*/ 1001437 h 2003425"/>
                <a:gd name="connsiteX1798" fmla="*/ 389773 w 1674813"/>
                <a:gd name="connsiteY1798" fmla="*/ 969135 h 2003425"/>
                <a:gd name="connsiteX1799" fmla="*/ 373481 w 1674813"/>
                <a:gd name="connsiteY1799" fmla="*/ 1017588 h 2003425"/>
                <a:gd name="connsiteX1800" fmla="*/ 357188 w 1674813"/>
                <a:gd name="connsiteY1800" fmla="*/ 1017588 h 2003425"/>
                <a:gd name="connsiteX1801" fmla="*/ 364061 w 1674813"/>
                <a:gd name="connsiteY1801" fmla="*/ 1003961 h 2003425"/>
                <a:gd name="connsiteX1802" fmla="*/ 373412 w 1674813"/>
                <a:gd name="connsiteY1802" fmla="*/ 985423 h 2003425"/>
                <a:gd name="connsiteX1803" fmla="*/ 373063 w 1674813"/>
                <a:gd name="connsiteY1803" fmla="*/ 985838 h 2003425"/>
                <a:gd name="connsiteX1804" fmla="*/ 373505 w 1674813"/>
                <a:gd name="connsiteY1804" fmla="*/ 985251 h 2003425"/>
                <a:gd name="connsiteX1805" fmla="*/ 404794 w 1674813"/>
                <a:gd name="connsiteY1805" fmla="*/ 940871 h 2003425"/>
                <a:gd name="connsiteX1806" fmla="*/ 423746 w 1674813"/>
                <a:gd name="connsiteY1806" fmla="*/ 918603 h 2003425"/>
                <a:gd name="connsiteX1807" fmla="*/ 439507 w 1674813"/>
                <a:gd name="connsiteY1807" fmla="*/ 897696 h 2003425"/>
                <a:gd name="connsiteX1808" fmla="*/ 450885 w 1674813"/>
                <a:gd name="connsiteY1808" fmla="*/ 886718 h 2003425"/>
                <a:gd name="connsiteX1809" fmla="*/ 452908 w 1674813"/>
                <a:gd name="connsiteY1809" fmla="*/ 884342 h 2003425"/>
                <a:gd name="connsiteX1810" fmla="*/ 453577 w 1674813"/>
                <a:gd name="connsiteY1810" fmla="*/ 883739 h 2003425"/>
                <a:gd name="connsiteX1811" fmla="*/ 448281 w 1674813"/>
                <a:gd name="connsiteY1811" fmla="*/ 868007 h 2003425"/>
                <a:gd name="connsiteX1812" fmla="*/ 439108 w 1674813"/>
                <a:gd name="connsiteY1812" fmla="*/ 840755 h 2003425"/>
                <a:gd name="connsiteX1813" fmla="*/ 439016 w 1674813"/>
                <a:gd name="connsiteY1813" fmla="*/ 840847 h 2003425"/>
                <a:gd name="connsiteX1814" fmla="*/ 439016 w 1674813"/>
                <a:gd name="connsiteY1814" fmla="*/ 840482 h 2003425"/>
                <a:gd name="connsiteX1815" fmla="*/ 438867 w 1674813"/>
                <a:gd name="connsiteY1815" fmla="*/ 840039 h 2003425"/>
                <a:gd name="connsiteX1816" fmla="*/ 422582 w 1674813"/>
                <a:gd name="connsiteY1816" fmla="*/ 888416 h 2003425"/>
                <a:gd name="connsiteX1817" fmla="*/ 406297 w 1674813"/>
                <a:gd name="connsiteY1817" fmla="*/ 856164 h 2003425"/>
                <a:gd name="connsiteX1818" fmla="*/ 406297 w 1674813"/>
                <a:gd name="connsiteY1818" fmla="*/ 904542 h 2003425"/>
                <a:gd name="connsiteX1819" fmla="*/ 390013 w 1674813"/>
                <a:gd name="connsiteY1819" fmla="*/ 856164 h 2003425"/>
                <a:gd name="connsiteX1820" fmla="*/ 390013 w 1674813"/>
                <a:gd name="connsiteY1820" fmla="*/ 920667 h 2003425"/>
                <a:gd name="connsiteX1821" fmla="*/ 373728 w 1674813"/>
                <a:gd name="connsiteY1821" fmla="*/ 872290 h 2003425"/>
                <a:gd name="connsiteX1822" fmla="*/ 357443 w 1674813"/>
                <a:gd name="connsiteY1822" fmla="*/ 936793 h 2003425"/>
                <a:gd name="connsiteX1823" fmla="*/ 341159 w 1674813"/>
                <a:gd name="connsiteY1823" fmla="*/ 888416 h 2003425"/>
                <a:gd name="connsiteX1824" fmla="*/ 341159 w 1674813"/>
                <a:gd name="connsiteY1824" fmla="*/ 952919 h 2003425"/>
                <a:gd name="connsiteX1825" fmla="*/ 308589 w 1674813"/>
                <a:gd name="connsiteY1825" fmla="*/ 888416 h 2003425"/>
                <a:gd name="connsiteX1826" fmla="*/ 308589 w 1674813"/>
                <a:gd name="connsiteY1826" fmla="*/ 985170 h 2003425"/>
                <a:gd name="connsiteX1827" fmla="*/ 276020 w 1674813"/>
                <a:gd name="connsiteY1827" fmla="*/ 904542 h 2003425"/>
                <a:gd name="connsiteX1828" fmla="*/ 276020 w 1674813"/>
                <a:gd name="connsiteY1828" fmla="*/ 1001296 h 2003425"/>
                <a:gd name="connsiteX1829" fmla="*/ 243451 w 1674813"/>
                <a:gd name="connsiteY1829" fmla="*/ 920667 h 2003425"/>
                <a:gd name="connsiteX1830" fmla="*/ 313424 w 1674813"/>
                <a:gd name="connsiteY1830" fmla="*/ 880605 h 2003425"/>
                <a:gd name="connsiteX1831" fmla="*/ 364618 w 1674813"/>
                <a:gd name="connsiteY1831" fmla="*/ 858879 h 2003425"/>
                <a:gd name="connsiteX1832" fmla="*/ 335306 w 1674813"/>
                <a:gd name="connsiteY1832" fmla="*/ 868711 h 2003425"/>
                <a:gd name="connsiteX1833" fmla="*/ 387567 w 1674813"/>
                <a:gd name="connsiteY1833" fmla="*/ 844604 h 2003425"/>
                <a:gd name="connsiteX1834" fmla="*/ 422756 w 1674813"/>
                <a:gd name="connsiteY1834" fmla="*/ 836843 h 2003425"/>
                <a:gd name="connsiteX1835" fmla="*/ 422756 w 1674813"/>
                <a:gd name="connsiteY1835" fmla="*/ 834795 h 2003425"/>
                <a:gd name="connsiteX1836" fmla="*/ 422756 w 1674813"/>
                <a:gd name="connsiteY1836" fmla="*/ 792428 h 2003425"/>
                <a:gd name="connsiteX1837" fmla="*/ 390236 w 1674813"/>
                <a:gd name="connsiteY1837" fmla="*/ 840847 h 2003425"/>
                <a:gd name="connsiteX1838" fmla="*/ 390236 w 1674813"/>
                <a:gd name="connsiteY1838" fmla="*/ 792428 h 2003425"/>
                <a:gd name="connsiteX1839" fmla="*/ 373976 w 1674813"/>
                <a:gd name="connsiteY1839" fmla="*/ 840847 h 2003425"/>
                <a:gd name="connsiteX1840" fmla="*/ 373976 w 1674813"/>
                <a:gd name="connsiteY1840" fmla="*/ 792428 h 2003425"/>
                <a:gd name="connsiteX1841" fmla="*/ 341457 w 1674813"/>
                <a:gd name="connsiteY1841" fmla="*/ 840847 h 2003425"/>
                <a:gd name="connsiteX1842" fmla="*/ 341457 w 1674813"/>
                <a:gd name="connsiteY1842" fmla="*/ 792428 h 2003425"/>
                <a:gd name="connsiteX1843" fmla="*/ 325197 w 1674813"/>
                <a:gd name="connsiteY1843" fmla="*/ 856986 h 2003425"/>
                <a:gd name="connsiteX1844" fmla="*/ 325197 w 1674813"/>
                <a:gd name="connsiteY1844" fmla="*/ 792428 h 2003425"/>
                <a:gd name="connsiteX1845" fmla="*/ 292677 w 1674813"/>
                <a:gd name="connsiteY1845" fmla="*/ 856986 h 2003425"/>
                <a:gd name="connsiteX1846" fmla="*/ 292677 w 1674813"/>
                <a:gd name="connsiteY1846" fmla="*/ 792428 h 2003425"/>
                <a:gd name="connsiteX1847" fmla="*/ 260157 w 1674813"/>
                <a:gd name="connsiteY1847" fmla="*/ 873126 h 2003425"/>
                <a:gd name="connsiteX1848" fmla="*/ 260157 w 1674813"/>
                <a:gd name="connsiteY1848" fmla="*/ 792428 h 2003425"/>
                <a:gd name="connsiteX1849" fmla="*/ 227638 w 1674813"/>
                <a:gd name="connsiteY1849" fmla="*/ 873126 h 2003425"/>
                <a:gd name="connsiteX1850" fmla="*/ 227638 w 1674813"/>
                <a:gd name="connsiteY1850" fmla="*/ 792428 h 2003425"/>
                <a:gd name="connsiteX1851" fmla="*/ 195118 w 1674813"/>
                <a:gd name="connsiteY1851" fmla="*/ 873126 h 2003425"/>
                <a:gd name="connsiteX1852" fmla="*/ 195118 w 1674813"/>
                <a:gd name="connsiteY1852" fmla="*/ 808567 h 2003425"/>
                <a:gd name="connsiteX1853" fmla="*/ 178858 w 1674813"/>
                <a:gd name="connsiteY1853" fmla="*/ 873126 h 2003425"/>
                <a:gd name="connsiteX1854" fmla="*/ 162598 w 1674813"/>
                <a:gd name="connsiteY1854" fmla="*/ 808567 h 2003425"/>
                <a:gd name="connsiteX1855" fmla="*/ 146338 w 1674813"/>
                <a:gd name="connsiteY1855" fmla="*/ 873126 h 2003425"/>
                <a:gd name="connsiteX1856" fmla="*/ 130079 w 1674813"/>
                <a:gd name="connsiteY1856" fmla="*/ 824707 h 2003425"/>
                <a:gd name="connsiteX1857" fmla="*/ 113819 w 1674813"/>
                <a:gd name="connsiteY1857" fmla="*/ 873126 h 2003425"/>
                <a:gd name="connsiteX1858" fmla="*/ 113819 w 1674813"/>
                <a:gd name="connsiteY1858" fmla="*/ 824707 h 2003425"/>
                <a:gd name="connsiteX1859" fmla="*/ 81299 w 1674813"/>
                <a:gd name="connsiteY1859" fmla="*/ 873126 h 2003425"/>
                <a:gd name="connsiteX1860" fmla="*/ 81299 w 1674813"/>
                <a:gd name="connsiteY1860" fmla="*/ 840847 h 2003425"/>
                <a:gd name="connsiteX1861" fmla="*/ 65039 w 1674813"/>
                <a:gd name="connsiteY1861" fmla="*/ 873126 h 2003425"/>
                <a:gd name="connsiteX1862" fmla="*/ 65039 w 1674813"/>
                <a:gd name="connsiteY1862" fmla="*/ 840847 h 2003425"/>
                <a:gd name="connsiteX1863" fmla="*/ 37601 w 1674813"/>
                <a:gd name="connsiteY1863" fmla="*/ 868083 h 2003425"/>
                <a:gd name="connsiteX1864" fmla="*/ 36280 w 1674813"/>
                <a:gd name="connsiteY1864" fmla="*/ 869393 h 2003425"/>
                <a:gd name="connsiteX1865" fmla="*/ 48779 w 1674813"/>
                <a:gd name="connsiteY1865" fmla="*/ 856986 h 2003425"/>
                <a:gd name="connsiteX1866" fmla="*/ 16260 w 1674813"/>
                <a:gd name="connsiteY1866" fmla="*/ 873126 h 2003425"/>
                <a:gd name="connsiteX1867" fmla="*/ 0 w 1674813"/>
                <a:gd name="connsiteY1867" fmla="*/ 873126 h 2003425"/>
                <a:gd name="connsiteX1868" fmla="*/ 16260 w 1674813"/>
                <a:gd name="connsiteY1868" fmla="*/ 856986 h 2003425"/>
                <a:gd name="connsiteX1869" fmla="*/ 24715 w 1674813"/>
                <a:gd name="connsiteY1869" fmla="*/ 852241 h 2003425"/>
                <a:gd name="connsiteX1870" fmla="*/ 19495 w 1674813"/>
                <a:gd name="connsiteY1870" fmla="*/ 854245 h 2003425"/>
                <a:gd name="connsiteX1871" fmla="*/ 15875 w 1674813"/>
                <a:gd name="connsiteY1871" fmla="*/ 855663 h 2003425"/>
                <a:gd name="connsiteX1872" fmla="*/ 242242 w 1674813"/>
                <a:gd name="connsiteY1872" fmla="*/ 778495 h 2003425"/>
                <a:gd name="connsiteX1873" fmla="*/ 250836 w 1674813"/>
                <a:gd name="connsiteY1873" fmla="*/ 778038 h 2003425"/>
                <a:gd name="connsiteX1874" fmla="*/ 260157 w 1674813"/>
                <a:gd name="connsiteY1874" fmla="*/ 776288 h 2003425"/>
                <a:gd name="connsiteX1875" fmla="*/ 282928 w 1674813"/>
                <a:gd name="connsiteY1875" fmla="*/ 776329 h 2003425"/>
                <a:gd name="connsiteX1876" fmla="*/ 283792 w 1674813"/>
                <a:gd name="connsiteY1876" fmla="*/ 776283 h 2003425"/>
                <a:gd name="connsiteX1877" fmla="*/ 283489 w 1674813"/>
                <a:gd name="connsiteY1877" fmla="*/ 776330 h 2003425"/>
                <a:gd name="connsiteX1878" fmla="*/ 307428 w 1674813"/>
                <a:gd name="connsiteY1878" fmla="*/ 776373 h 2003425"/>
                <a:gd name="connsiteX1879" fmla="*/ 298210 w 1674813"/>
                <a:gd name="connsiteY1879" fmla="*/ 775516 h 2003425"/>
                <a:gd name="connsiteX1880" fmla="*/ 308552 w 1674813"/>
                <a:gd name="connsiteY1880" fmla="*/ 774965 h 2003425"/>
                <a:gd name="connsiteX1881" fmla="*/ 408398 w 1674813"/>
                <a:gd name="connsiteY1881" fmla="*/ 775721 h 2003425"/>
                <a:gd name="connsiteX1882" fmla="*/ 443023 w 1674813"/>
                <a:gd name="connsiteY1882" fmla="*/ 783548 h 2003425"/>
                <a:gd name="connsiteX1883" fmla="*/ 445875 w 1674813"/>
                <a:gd name="connsiteY1883" fmla="*/ 777866 h 2003425"/>
                <a:gd name="connsiteX1884" fmla="*/ 455276 w 1674813"/>
                <a:gd name="connsiteY1884" fmla="*/ 759143 h 2003425"/>
                <a:gd name="connsiteX1885" fmla="*/ 422756 w 1674813"/>
                <a:gd name="connsiteY1885" fmla="*/ 775336 h 2003425"/>
                <a:gd name="connsiteX1886" fmla="*/ 439016 w 1674813"/>
                <a:gd name="connsiteY1886" fmla="*/ 742950 h 2003425"/>
                <a:gd name="connsiteX1887" fmla="*/ 390236 w 1674813"/>
                <a:gd name="connsiteY1887" fmla="*/ 759143 h 2003425"/>
                <a:gd name="connsiteX1888" fmla="*/ 422756 w 1674813"/>
                <a:gd name="connsiteY1888" fmla="*/ 726758 h 2003425"/>
                <a:gd name="connsiteX1889" fmla="*/ 373976 w 1674813"/>
                <a:gd name="connsiteY1889" fmla="*/ 759143 h 2003425"/>
                <a:gd name="connsiteX1890" fmla="*/ 390236 w 1674813"/>
                <a:gd name="connsiteY1890" fmla="*/ 710565 h 2003425"/>
                <a:gd name="connsiteX1891" fmla="*/ 341457 w 1674813"/>
                <a:gd name="connsiteY1891" fmla="*/ 742950 h 2003425"/>
                <a:gd name="connsiteX1892" fmla="*/ 355176 w 1674813"/>
                <a:gd name="connsiteY1892" fmla="*/ 722457 h 2003425"/>
                <a:gd name="connsiteX1893" fmla="*/ 372290 w 1674813"/>
                <a:gd name="connsiteY1893" fmla="*/ 696892 h 2003425"/>
                <a:gd name="connsiteX1894" fmla="*/ 363067 w 1674813"/>
                <a:gd name="connsiteY1894" fmla="*/ 706115 h 2003425"/>
                <a:gd name="connsiteX1895" fmla="*/ 357982 w 1674813"/>
                <a:gd name="connsiteY1895" fmla="*/ 711200 h 2003425"/>
                <a:gd name="connsiteX1896" fmla="*/ 360016 w 1674813"/>
                <a:gd name="connsiteY1896" fmla="*/ 707132 h 2003425"/>
                <a:gd name="connsiteX1897" fmla="*/ 361877 w 1674813"/>
                <a:gd name="connsiteY1897" fmla="*/ 703410 h 2003425"/>
                <a:gd name="connsiteX1898" fmla="*/ 341457 w 1674813"/>
                <a:gd name="connsiteY1898" fmla="*/ 718662 h 2003425"/>
                <a:gd name="connsiteX1899" fmla="*/ 308937 w 1674813"/>
                <a:gd name="connsiteY1899" fmla="*/ 742950 h 2003425"/>
                <a:gd name="connsiteX1900" fmla="*/ 329516 w 1674813"/>
                <a:gd name="connsiteY1900" fmla="*/ 715626 h 2003425"/>
                <a:gd name="connsiteX1901" fmla="*/ 340321 w 1674813"/>
                <a:gd name="connsiteY1901" fmla="*/ 701278 h 2003425"/>
                <a:gd name="connsiteX1902" fmla="*/ 325438 w 1674813"/>
                <a:gd name="connsiteY1902" fmla="*/ 711200 h 2003425"/>
                <a:gd name="connsiteX1903" fmla="*/ 341710 w 1674813"/>
                <a:gd name="connsiteY1903" fmla="*/ 694928 h 2003425"/>
                <a:gd name="connsiteX1904" fmla="*/ 347762 w 1674813"/>
                <a:gd name="connsiteY1904" fmla="*/ 691398 h 2003425"/>
                <a:gd name="connsiteX1905" fmla="*/ 357716 w 1674813"/>
                <a:gd name="connsiteY1905" fmla="*/ 678180 h 2003425"/>
                <a:gd name="connsiteX1906" fmla="*/ 276417 w 1674813"/>
                <a:gd name="connsiteY1906" fmla="*/ 726758 h 2003425"/>
                <a:gd name="connsiteX1907" fmla="*/ 325197 w 1674813"/>
                <a:gd name="connsiteY1907" fmla="*/ 661988 h 2003425"/>
                <a:gd name="connsiteX1908" fmla="*/ 243897 w 1674813"/>
                <a:gd name="connsiteY1908" fmla="*/ 710565 h 2003425"/>
                <a:gd name="connsiteX1909" fmla="*/ 292677 w 1674813"/>
                <a:gd name="connsiteY1909" fmla="*/ 645795 h 2003425"/>
                <a:gd name="connsiteX1910" fmla="*/ 211378 w 1674813"/>
                <a:gd name="connsiteY1910" fmla="*/ 710565 h 2003425"/>
                <a:gd name="connsiteX1911" fmla="*/ 260157 w 1674813"/>
                <a:gd name="connsiteY1911" fmla="*/ 629603 h 2003425"/>
                <a:gd name="connsiteX1912" fmla="*/ 178858 w 1674813"/>
                <a:gd name="connsiteY1912" fmla="*/ 694373 h 2003425"/>
                <a:gd name="connsiteX1913" fmla="*/ 227638 w 1674813"/>
                <a:gd name="connsiteY1913" fmla="*/ 629603 h 2003425"/>
                <a:gd name="connsiteX1914" fmla="*/ 162598 w 1674813"/>
                <a:gd name="connsiteY1914" fmla="*/ 678180 h 2003425"/>
                <a:gd name="connsiteX1915" fmla="*/ 176317 w 1674813"/>
                <a:gd name="connsiteY1915" fmla="*/ 650855 h 2003425"/>
                <a:gd name="connsiteX1916" fmla="*/ 194973 w 1674813"/>
                <a:gd name="connsiteY1916" fmla="*/ 613699 h 2003425"/>
                <a:gd name="connsiteX1917" fmla="*/ 194775 w 1674813"/>
                <a:gd name="connsiteY1917" fmla="*/ 613666 h 2003425"/>
                <a:gd name="connsiteX1918" fmla="*/ 184955 w 1674813"/>
                <a:gd name="connsiteY1918" fmla="*/ 621000 h 2003425"/>
                <a:gd name="connsiteX1919" fmla="*/ 130079 w 1674813"/>
                <a:gd name="connsiteY1919" fmla="*/ 661988 h 2003425"/>
                <a:gd name="connsiteX1920" fmla="*/ 162598 w 1674813"/>
                <a:gd name="connsiteY1920" fmla="*/ 613410 h 2003425"/>
                <a:gd name="connsiteX1921" fmla="*/ 97559 w 1674813"/>
                <a:gd name="connsiteY1921" fmla="*/ 645795 h 2003425"/>
                <a:gd name="connsiteX1922" fmla="*/ 130079 w 1674813"/>
                <a:gd name="connsiteY1922" fmla="*/ 597218 h 2003425"/>
                <a:gd name="connsiteX1923" fmla="*/ 81299 w 1674813"/>
                <a:gd name="connsiteY1923" fmla="*/ 629603 h 2003425"/>
                <a:gd name="connsiteX1924" fmla="*/ 97559 w 1674813"/>
                <a:gd name="connsiteY1924" fmla="*/ 597218 h 2003425"/>
                <a:gd name="connsiteX1925" fmla="*/ 48779 w 1674813"/>
                <a:gd name="connsiteY1925" fmla="*/ 613410 h 2003425"/>
                <a:gd name="connsiteX1926" fmla="*/ 81299 w 1674813"/>
                <a:gd name="connsiteY1926" fmla="*/ 597218 h 2003425"/>
                <a:gd name="connsiteX1927" fmla="*/ 32519 w 1674813"/>
                <a:gd name="connsiteY1927" fmla="*/ 597218 h 2003425"/>
                <a:gd name="connsiteX1928" fmla="*/ 34552 w 1674813"/>
                <a:gd name="connsiteY1928" fmla="*/ 595194 h 2003425"/>
                <a:gd name="connsiteX1929" fmla="*/ 47793 w 1674813"/>
                <a:gd name="connsiteY1929" fmla="*/ 582008 h 2003425"/>
                <a:gd name="connsiteX1930" fmla="*/ 46262 w 1674813"/>
                <a:gd name="connsiteY1930" fmla="*/ 581861 h 2003425"/>
                <a:gd name="connsiteX1931" fmla="*/ 42682 w 1674813"/>
                <a:gd name="connsiteY1931" fmla="*/ 583049 h 2003425"/>
                <a:gd name="connsiteX1932" fmla="*/ 0 w 1674813"/>
                <a:gd name="connsiteY1932" fmla="*/ 597218 h 2003425"/>
                <a:gd name="connsiteX1933" fmla="*/ 13719 w 1674813"/>
                <a:gd name="connsiteY1933" fmla="*/ 590386 h 2003425"/>
                <a:gd name="connsiteX1934" fmla="*/ 31949 w 1674813"/>
                <a:gd name="connsiteY1934" fmla="*/ 581309 h 2003425"/>
                <a:gd name="connsiteX1935" fmla="*/ 31750 w 1674813"/>
                <a:gd name="connsiteY1935" fmla="*/ 581305 h 2003425"/>
                <a:gd name="connsiteX1936" fmla="*/ 31962 w 1674813"/>
                <a:gd name="connsiteY1936" fmla="*/ 581302 h 2003425"/>
                <a:gd name="connsiteX1937" fmla="*/ 32519 w 1674813"/>
                <a:gd name="connsiteY1937" fmla="*/ 581025 h 2003425"/>
                <a:gd name="connsiteX1938" fmla="*/ 41351 w 1674813"/>
                <a:gd name="connsiteY1938" fmla="*/ 581173 h 2003425"/>
                <a:gd name="connsiteX1939" fmla="*/ 48634 w 1674813"/>
                <a:gd name="connsiteY1939" fmla="*/ 581073 h 2003425"/>
                <a:gd name="connsiteX1940" fmla="*/ 48779 w 1674813"/>
                <a:gd name="connsiteY1940" fmla="*/ 581025 h 2003425"/>
                <a:gd name="connsiteX1941" fmla="*/ 48732 w 1674813"/>
                <a:gd name="connsiteY1941" fmla="*/ 581072 h 2003425"/>
                <a:gd name="connsiteX1942" fmla="*/ 123533 w 1674813"/>
                <a:gd name="connsiteY1942" fmla="*/ 580043 h 2003425"/>
                <a:gd name="connsiteX1943" fmla="*/ 340915 w 1674813"/>
                <a:gd name="connsiteY1943" fmla="*/ 645926 h 2003425"/>
                <a:gd name="connsiteX1944" fmla="*/ 381758 w 1674813"/>
                <a:gd name="connsiteY1944" fmla="*/ 671567 h 2003425"/>
                <a:gd name="connsiteX1945" fmla="*/ 387474 w 1674813"/>
                <a:gd name="connsiteY1945" fmla="*/ 668232 h 2003425"/>
                <a:gd name="connsiteX1946" fmla="*/ 400031 w 1674813"/>
                <a:gd name="connsiteY1946" fmla="*/ 662701 h 2003425"/>
                <a:gd name="connsiteX1947" fmla="*/ 429993 w 1674813"/>
                <a:gd name="connsiteY1947" fmla="*/ 646054 h 2003425"/>
                <a:gd name="connsiteX1948" fmla="*/ 415999 w 1674813"/>
                <a:gd name="connsiteY1948" fmla="*/ 646054 h 2003425"/>
                <a:gd name="connsiteX1949" fmla="*/ 405816 w 1674813"/>
                <a:gd name="connsiteY1949" fmla="*/ 646054 h 2003425"/>
                <a:gd name="connsiteX1950" fmla="*/ 470987 w 1674813"/>
                <a:gd name="connsiteY1950" fmla="*/ 613716 h 2003425"/>
                <a:gd name="connsiteX1951" fmla="*/ 389523 w 1674813"/>
                <a:gd name="connsiteY1951" fmla="*/ 629885 h 2003425"/>
                <a:gd name="connsiteX1952" fmla="*/ 454694 w 1674813"/>
                <a:gd name="connsiteY1952" fmla="*/ 597547 h 2003425"/>
                <a:gd name="connsiteX1953" fmla="*/ 356937 w 1674813"/>
                <a:gd name="connsiteY1953" fmla="*/ 597547 h 2003425"/>
                <a:gd name="connsiteX1954" fmla="*/ 438401 w 1674813"/>
                <a:gd name="connsiteY1954" fmla="*/ 565209 h 2003425"/>
                <a:gd name="connsiteX1955" fmla="*/ 481170 w 1674813"/>
                <a:gd name="connsiteY1955" fmla="*/ 622811 h 2003425"/>
                <a:gd name="connsiteX1956" fmla="*/ 483411 w 1674813"/>
                <a:gd name="connsiteY1956" fmla="*/ 626593 h 2003425"/>
                <a:gd name="connsiteX1957" fmla="*/ 471311 w 1674813"/>
                <a:gd name="connsiteY1957" fmla="*/ 597547 h 2003425"/>
                <a:gd name="connsiteX1958" fmla="*/ 487664 w 1674813"/>
                <a:gd name="connsiteY1958" fmla="*/ 626162 h 2003425"/>
                <a:gd name="connsiteX1959" fmla="*/ 524371 w 1674813"/>
                <a:gd name="connsiteY1959" fmla="*/ 613682 h 2003425"/>
                <a:gd name="connsiteX1960" fmla="*/ 544480 w 1674813"/>
                <a:gd name="connsiteY1960" fmla="*/ 609198 h 2003425"/>
                <a:gd name="connsiteX1961" fmla="*/ 508060 w 1674813"/>
                <a:gd name="connsiteY1961" fmla="*/ 602031 h 2003425"/>
                <a:gd name="connsiteX1962" fmla="*/ 487362 w 1674813"/>
                <a:gd name="connsiteY1962" fmla="*/ 597959 h 2003425"/>
                <a:gd name="connsiteX1963" fmla="*/ 552979 w 1674813"/>
                <a:gd name="connsiteY1963" fmla="*/ 597959 h 2003425"/>
                <a:gd name="connsiteX1964" fmla="*/ 470958 w 1674813"/>
                <a:gd name="connsiteY1964" fmla="*/ 565680 h 2003425"/>
                <a:gd name="connsiteX1965" fmla="*/ 552979 w 1674813"/>
                <a:gd name="connsiteY1965" fmla="*/ 565680 h 2003425"/>
                <a:gd name="connsiteX1966" fmla="*/ 564352 w 1674813"/>
                <a:gd name="connsiteY1966" fmla="*/ 604767 h 2003425"/>
                <a:gd name="connsiteX1967" fmla="*/ 569909 w 1674813"/>
                <a:gd name="connsiteY1967" fmla="*/ 603527 h 2003425"/>
                <a:gd name="connsiteX1968" fmla="*/ 569207 w 1674813"/>
                <a:gd name="connsiteY1968" fmla="*/ 597831 h 2003425"/>
                <a:gd name="connsiteX1969" fmla="*/ 570243 w 1674813"/>
                <a:gd name="connsiteY1969" fmla="*/ 603453 h 2003425"/>
                <a:gd name="connsiteX1970" fmla="*/ 588363 w 1674813"/>
                <a:gd name="connsiteY1970" fmla="*/ 599412 h 2003425"/>
                <a:gd name="connsiteX1971" fmla="*/ 601662 w 1674813"/>
                <a:gd name="connsiteY1971" fmla="*/ 565151 h 2003425"/>
                <a:gd name="connsiteX1972" fmla="*/ 629328 w 1674813"/>
                <a:gd name="connsiteY1972" fmla="*/ 509592 h 2003425"/>
                <a:gd name="connsiteX1973" fmla="*/ 622527 w 1674813"/>
                <a:gd name="connsiteY1973" fmla="*/ 514085 h 2003425"/>
                <a:gd name="connsiteX1974" fmla="*/ 618332 w 1674813"/>
                <a:gd name="connsiteY1974" fmla="*/ 516857 h 2003425"/>
                <a:gd name="connsiteX1975" fmla="*/ 626468 w 1674813"/>
                <a:gd name="connsiteY1975" fmla="*/ 506778 h 2003425"/>
                <a:gd name="connsiteX1976" fmla="*/ 637589 w 1674813"/>
                <a:gd name="connsiteY1976" fmla="*/ 493001 h 2003425"/>
                <a:gd name="connsiteX1977" fmla="*/ 652003 w 1674813"/>
                <a:gd name="connsiteY1977" fmla="*/ 464055 h 2003425"/>
                <a:gd name="connsiteX1978" fmla="*/ 656864 w 1674813"/>
                <a:gd name="connsiteY1978" fmla="*/ 457313 h 2003425"/>
                <a:gd name="connsiteX1979" fmla="*/ 634603 w 1674813"/>
                <a:gd name="connsiteY1979" fmla="*/ 474527 h 2003425"/>
                <a:gd name="connsiteX1980" fmla="*/ 585788 w 1674813"/>
                <a:gd name="connsiteY1980" fmla="*/ 500731 h 2003425"/>
                <a:gd name="connsiteX1981" fmla="*/ 634603 w 1674813"/>
                <a:gd name="connsiteY1981" fmla="*/ 420103 h 2003425"/>
                <a:gd name="connsiteX1982" fmla="*/ 552227 w 1674813"/>
                <a:gd name="connsiteY1982" fmla="*/ 488133 h 2003425"/>
                <a:gd name="connsiteX1983" fmla="*/ 541278 w 1674813"/>
                <a:gd name="connsiteY1983" fmla="*/ 497175 h 2003425"/>
                <a:gd name="connsiteX1984" fmla="*/ 556022 w 1674813"/>
                <a:gd name="connsiteY1984" fmla="*/ 544086 h 2003425"/>
                <a:gd name="connsiteX1985" fmla="*/ 569207 w 1674813"/>
                <a:gd name="connsiteY1985" fmla="*/ 597831 h 2003425"/>
                <a:gd name="connsiteX1986" fmla="*/ 546894 w 1674813"/>
                <a:gd name="connsiteY1986" fmla="*/ 533236 h 2003425"/>
                <a:gd name="connsiteX1987" fmla="*/ 541237 w 1674813"/>
                <a:gd name="connsiteY1987" fmla="*/ 497209 h 2003425"/>
                <a:gd name="connsiteX1988" fmla="*/ 541167 w 1674813"/>
                <a:gd name="connsiteY1988" fmla="*/ 497267 h 2003425"/>
                <a:gd name="connsiteX1989" fmla="*/ 537706 w 1674813"/>
                <a:gd name="connsiteY1989" fmla="*/ 500126 h 2003425"/>
                <a:gd name="connsiteX1990" fmla="*/ 552979 w 1674813"/>
                <a:gd name="connsiteY1990" fmla="*/ 565680 h 2003425"/>
                <a:gd name="connsiteX1991" fmla="*/ 470958 w 1674813"/>
                <a:gd name="connsiteY1991" fmla="*/ 533400 h 2003425"/>
                <a:gd name="connsiteX1992" fmla="*/ 536575 w 1674813"/>
                <a:gd name="connsiteY1992" fmla="*/ 533400 h 2003425"/>
                <a:gd name="connsiteX1993" fmla="*/ 470958 w 1674813"/>
                <a:gd name="connsiteY1993" fmla="*/ 517261 h 2003425"/>
                <a:gd name="connsiteX1994" fmla="*/ 520171 w 1674813"/>
                <a:gd name="connsiteY1994" fmla="*/ 501121 h 2003425"/>
                <a:gd name="connsiteX1995" fmla="*/ 454554 w 1674813"/>
                <a:gd name="connsiteY1995" fmla="*/ 484982 h 2003425"/>
                <a:gd name="connsiteX1996" fmla="*/ 520171 w 1674813"/>
                <a:gd name="connsiteY1996" fmla="*/ 484982 h 2003425"/>
                <a:gd name="connsiteX1997" fmla="*/ 454554 w 1674813"/>
                <a:gd name="connsiteY1997" fmla="*/ 468842 h 2003425"/>
                <a:gd name="connsiteX1998" fmla="*/ 460705 w 1674813"/>
                <a:gd name="connsiteY1998" fmla="*/ 466824 h 2003425"/>
                <a:gd name="connsiteX1999" fmla="*/ 474360 w 1674813"/>
                <a:gd name="connsiteY1999" fmla="*/ 462346 h 2003425"/>
                <a:gd name="connsiteX2000" fmla="*/ 475953 w 1674813"/>
                <a:gd name="connsiteY2000" fmla="*/ 458401 h 2003425"/>
                <a:gd name="connsiteX2001" fmla="*/ 481235 w 1674813"/>
                <a:gd name="connsiteY2001" fmla="*/ 445313 h 2003425"/>
                <a:gd name="connsiteX2002" fmla="*/ 479160 w 1674813"/>
                <a:gd name="connsiteY2002" fmla="*/ 444633 h 2003425"/>
                <a:gd name="connsiteX2003" fmla="*/ 454554 w 1674813"/>
                <a:gd name="connsiteY2003" fmla="*/ 436563 h 2003425"/>
                <a:gd name="connsiteX2004" fmla="*/ 475315 w 1674813"/>
                <a:gd name="connsiteY2004" fmla="*/ 429754 h 2003425"/>
                <a:gd name="connsiteX2005" fmla="*/ 489377 w 1674813"/>
                <a:gd name="connsiteY2005" fmla="*/ 425142 h 2003425"/>
                <a:gd name="connsiteX2006" fmla="*/ 492741 w 1674813"/>
                <a:gd name="connsiteY2006" fmla="*/ 416807 h 2003425"/>
                <a:gd name="connsiteX2007" fmla="*/ 473819 w 1674813"/>
                <a:gd name="connsiteY2007" fmla="*/ 410602 h 2003425"/>
                <a:gd name="connsiteX2008" fmla="*/ 471885 w 1674813"/>
                <a:gd name="connsiteY2008" fmla="*/ 412040 h 2003425"/>
                <a:gd name="connsiteX2009" fmla="*/ 439341 w 1674813"/>
                <a:gd name="connsiteY2009" fmla="*/ 436229 h 2003425"/>
                <a:gd name="connsiteX2010" fmla="*/ 453070 w 1674813"/>
                <a:gd name="connsiteY2010" fmla="*/ 415820 h 2003425"/>
                <a:gd name="connsiteX2011" fmla="*/ 459696 w 1674813"/>
                <a:gd name="connsiteY2011" fmla="*/ 405970 h 2003425"/>
                <a:gd name="connsiteX2012" fmla="*/ 459095 w 1674813"/>
                <a:gd name="connsiteY2012" fmla="*/ 405773 h 2003425"/>
                <a:gd name="connsiteX2013" fmla="*/ 454554 w 1674813"/>
                <a:gd name="connsiteY2013" fmla="*/ 404284 h 2003425"/>
                <a:gd name="connsiteX2014" fmla="*/ 458655 w 1674813"/>
                <a:gd name="connsiteY2014" fmla="*/ 404284 h 2003425"/>
                <a:gd name="connsiteX2015" fmla="*/ 460831 w 1674813"/>
                <a:gd name="connsiteY2015" fmla="*/ 404284 h 2003425"/>
                <a:gd name="connsiteX2016" fmla="*/ 466657 w 1674813"/>
                <a:gd name="connsiteY2016" fmla="*/ 395623 h 2003425"/>
                <a:gd name="connsiteX2017" fmla="*/ 459820 w 1674813"/>
                <a:gd name="connsiteY2017" fmla="*/ 393830 h 2003425"/>
                <a:gd name="connsiteX2018" fmla="*/ 439341 w 1674813"/>
                <a:gd name="connsiteY2018" fmla="*/ 403977 h 2003425"/>
                <a:gd name="connsiteX2019" fmla="*/ 406797 w 1674813"/>
                <a:gd name="connsiteY2019" fmla="*/ 420103 h 2003425"/>
                <a:gd name="connsiteX2020" fmla="*/ 420527 w 1674813"/>
                <a:gd name="connsiteY2020" fmla="*/ 406497 h 2003425"/>
                <a:gd name="connsiteX2021" fmla="*/ 438858 w 1674813"/>
                <a:gd name="connsiteY2021" fmla="*/ 388330 h 2003425"/>
                <a:gd name="connsiteX2022" fmla="*/ 438155 w 1674813"/>
                <a:gd name="connsiteY2022" fmla="*/ 388145 h 2003425"/>
                <a:gd name="connsiteX2023" fmla="*/ 429171 w 1674813"/>
                <a:gd name="connsiteY2023" fmla="*/ 390371 h 2003425"/>
                <a:gd name="connsiteX2024" fmla="*/ 374253 w 1674813"/>
                <a:gd name="connsiteY2024" fmla="*/ 403977 h 2003425"/>
                <a:gd name="connsiteX2025" fmla="*/ 406797 w 1674813"/>
                <a:gd name="connsiteY2025" fmla="*/ 371726 h 2003425"/>
                <a:gd name="connsiteX2026" fmla="*/ 341710 w 1674813"/>
                <a:gd name="connsiteY2026" fmla="*/ 387851 h 2003425"/>
                <a:gd name="connsiteX2027" fmla="*/ 355439 w 1674813"/>
                <a:gd name="connsiteY2027" fmla="*/ 374245 h 2003425"/>
                <a:gd name="connsiteX2028" fmla="*/ 372832 w 1674813"/>
                <a:gd name="connsiteY2028" fmla="*/ 357009 h 2003425"/>
                <a:gd name="connsiteX2029" fmla="*/ 370392 w 1674813"/>
                <a:gd name="connsiteY2029" fmla="*/ 356876 h 2003425"/>
                <a:gd name="connsiteX2030" fmla="*/ 368151 w 1674813"/>
                <a:gd name="connsiteY2030" fmla="*/ 357616 h 2003425"/>
                <a:gd name="connsiteX2031" fmla="*/ 325438 w 1674813"/>
                <a:gd name="connsiteY2031" fmla="*/ 371726 h 2003425"/>
                <a:gd name="connsiteX2032" fmla="*/ 327472 w 1674813"/>
                <a:gd name="connsiteY2032" fmla="*/ 369710 h 2003425"/>
                <a:gd name="connsiteX2033" fmla="*/ 341467 w 1674813"/>
                <a:gd name="connsiteY2033" fmla="*/ 355840 h 2003425"/>
                <a:gd name="connsiteX2034" fmla="*/ 341313 w 1674813"/>
                <a:gd name="connsiteY2034" fmla="*/ 355838 h 2003425"/>
                <a:gd name="connsiteX2035" fmla="*/ 341471 w 1674813"/>
                <a:gd name="connsiteY2035" fmla="*/ 355837 h 2003425"/>
                <a:gd name="connsiteX2036" fmla="*/ 341710 w 1674813"/>
                <a:gd name="connsiteY2036" fmla="*/ 355600 h 2003425"/>
                <a:gd name="connsiteX2037" fmla="*/ 351015 w 1674813"/>
                <a:gd name="connsiteY2037" fmla="*/ 355756 h 2003425"/>
                <a:gd name="connsiteX2038" fmla="*/ 453555 w 1674813"/>
                <a:gd name="connsiteY2038" fmla="*/ 354882 h 2003425"/>
                <a:gd name="connsiteX2039" fmla="*/ 459538 w 1674813"/>
                <a:gd name="connsiteY2039" fmla="*/ 354831 h 2003425"/>
                <a:gd name="connsiteX2040" fmla="*/ 659377 w 1674813"/>
                <a:gd name="connsiteY2040" fmla="*/ 401157 h 2003425"/>
                <a:gd name="connsiteX2041" fmla="*/ 687491 w 1674813"/>
                <a:gd name="connsiteY2041" fmla="*/ 414832 h 2003425"/>
                <a:gd name="connsiteX2042" fmla="*/ 729803 w 1674813"/>
                <a:gd name="connsiteY2042" fmla="*/ 356143 h 2003425"/>
                <a:gd name="connsiteX2043" fmla="*/ 770665 w 1674813"/>
                <a:gd name="connsiteY2043" fmla="*/ 316190 h 2003425"/>
                <a:gd name="connsiteX2044" fmla="*/ 746833 w 1674813"/>
                <a:gd name="connsiteY2044" fmla="*/ 320133 h 2003425"/>
                <a:gd name="connsiteX2045" fmla="*/ 731562 w 1674813"/>
                <a:gd name="connsiteY2045" fmla="*/ 322660 h 2003425"/>
                <a:gd name="connsiteX2046" fmla="*/ 796718 w 1674813"/>
                <a:gd name="connsiteY2046" fmla="*/ 274142 h 2003425"/>
                <a:gd name="connsiteX2047" fmla="*/ 715273 w 1674813"/>
                <a:gd name="connsiteY2047" fmla="*/ 290315 h 2003425"/>
                <a:gd name="connsiteX2048" fmla="*/ 780429 w 1674813"/>
                <a:gd name="connsiteY2048" fmla="*/ 257969 h 2003425"/>
                <a:gd name="connsiteX2049" fmla="*/ 698983 w 1674813"/>
                <a:gd name="connsiteY2049" fmla="*/ 274142 h 2003425"/>
                <a:gd name="connsiteX2050" fmla="*/ 747851 w 1674813"/>
                <a:gd name="connsiteY2050" fmla="*/ 225624 h 2003425"/>
                <a:gd name="connsiteX2051" fmla="*/ 666405 w 1674813"/>
                <a:gd name="connsiteY2051" fmla="*/ 241797 h 2003425"/>
                <a:gd name="connsiteX2052" fmla="*/ 731562 w 1674813"/>
                <a:gd name="connsiteY2052" fmla="*/ 209451 h 2003425"/>
                <a:gd name="connsiteX2053" fmla="*/ 650116 w 1674813"/>
                <a:gd name="connsiteY2053" fmla="*/ 209451 h 2003425"/>
                <a:gd name="connsiteX2054" fmla="*/ 698983 w 1674813"/>
                <a:gd name="connsiteY2054" fmla="*/ 177106 h 2003425"/>
                <a:gd name="connsiteX2055" fmla="*/ 650116 w 1674813"/>
                <a:gd name="connsiteY2055" fmla="*/ 177106 h 2003425"/>
                <a:gd name="connsiteX2056" fmla="*/ 682694 w 1674813"/>
                <a:gd name="connsiteY2056" fmla="*/ 160933 h 2003425"/>
                <a:gd name="connsiteX2057" fmla="*/ 633827 w 1674813"/>
                <a:gd name="connsiteY2057" fmla="*/ 144761 h 2003425"/>
                <a:gd name="connsiteX2058" fmla="*/ 666405 w 1674813"/>
                <a:gd name="connsiteY2058" fmla="*/ 144761 h 2003425"/>
                <a:gd name="connsiteX2059" fmla="*/ 617538 w 1674813"/>
                <a:gd name="connsiteY2059" fmla="*/ 128588 h 2003425"/>
                <a:gd name="connsiteX2060" fmla="*/ 650116 w 1674813"/>
                <a:gd name="connsiteY2060" fmla="*/ 128588 h 2003425"/>
                <a:gd name="connsiteX2061" fmla="*/ 652046 w 1674813"/>
                <a:gd name="connsiteY2061" fmla="*/ 129488 h 2003425"/>
                <a:gd name="connsiteX2062" fmla="*/ 650875 w 1674813"/>
                <a:gd name="connsiteY2062" fmla="*/ 128588 h 2003425"/>
                <a:gd name="connsiteX2063" fmla="*/ 652539 w 1674813"/>
                <a:gd name="connsiteY2063" fmla="*/ 129718 h 2003425"/>
                <a:gd name="connsiteX2064" fmla="*/ 680825 w 1674813"/>
                <a:gd name="connsiteY2064" fmla="*/ 142909 h 2003425"/>
                <a:gd name="connsiteX2065" fmla="*/ 757706 w 1674813"/>
                <a:gd name="connsiteY2065" fmla="*/ 204812 h 2003425"/>
                <a:gd name="connsiteX2066" fmla="*/ 771496 w 1674813"/>
                <a:gd name="connsiteY2066" fmla="*/ 220269 h 2003425"/>
                <a:gd name="connsiteX2067" fmla="*/ 797152 w 1674813"/>
                <a:gd name="connsiteY2067" fmla="*/ 243754 h 2003425"/>
                <a:gd name="connsiteX2068" fmla="*/ 894670 w 1674813"/>
                <a:gd name="connsiteY2068" fmla="*/ 371043 h 2003425"/>
                <a:gd name="connsiteX2069" fmla="*/ 843879 w 1674813"/>
                <a:gd name="connsiteY2069" fmla="*/ 300327 h 2003425"/>
                <a:gd name="connsiteX2070" fmla="*/ 816105 w 1674813"/>
                <a:gd name="connsiteY2070" fmla="*/ 274487 h 2003425"/>
                <a:gd name="connsiteX2071" fmla="*/ 827504 w 1674813"/>
                <a:gd name="connsiteY2071" fmla="*/ 290513 h 2003425"/>
                <a:gd name="connsiteX2072" fmla="*/ 828675 w 1674813"/>
                <a:gd name="connsiteY2072" fmla="*/ 290513 h 2003425"/>
                <a:gd name="connsiteX2073" fmla="*/ 827990 w 1674813"/>
                <a:gd name="connsiteY2073" fmla="*/ 291196 h 2003425"/>
                <a:gd name="connsiteX2074" fmla="*/ 861875 w 1674813"/>
                <a:gd name="connsiteY2074" fmla="*/ 338833 h 2003425"/>
                <a:gd name="connsiteX2075" fmla="*/ 844059 w 1674813"/>
                <a:gd name="connsiteY2075" fmla="*/ 341360 h 2003425"/>
                <a:gd name="connsiteX2076" fmla="*/ 806153 w 1674813"/>
                <a:gd name="connsiteY2076" fmla="*/ 346736 h 2003425"/>
                <a:gd name="connsiteX2077" fmla="*/ 804840 w 1674813"/>
                <a:gd name="connsiteY2077" fmla="*/ 348349 h 2003425"/>
                <a:gd name="connsiteX2078" fmla="*/ 763764 w 1674813"/>
                <a:gd name="connsiteY2078" fmla="*/ 355168 h 2003425"/>
                <a:gd name="connsiteX2079" fmla="*/ 777456 w 1674813"/>
                <a:gd name="connsiteY2079" fmla="*/ 361987 h 2003425"/>
                <a:gd name="connsiteX2080" fmla="*/ 783227 w 1674813"/>
                <a:gd name="connsiteY2080" fmla="*/ 364861 h 2003425"/>
                <a:gd name="connsiteX2081" fmla="*/ 805372 w 1674813"/>
                <a:gd name="connsiteY2081" fmla="*/ 357532 h 2003425"/>
                <a:gd name="connsiteX2082" fmla="*/ 861875 w 1674813"/>
                <a:gd name="connsiteY2082" fmla="*/ 338833 h 2003425"/>
                <a:gd name="connsiteX2083" fmla="*/ 914051 w 1674813"/>
                <a:gd name="connsiteY2083" fmla="*/ 408325 h 2003425"/>
                <a:gd name="connsiteX2084" fmla="*/ 915303 w 1674813"/>
                <a:gd name="connsiteY2084" fmla="*/ 410515 h 2003425"/>
                <a:gd name="connsiteX2085" fmla="*/ 894670 w 1674813"/>
                <a:gd name="connsiteY2085" fmla="*/ 371043 h 2003425"/>
                <a:gd name="connsiteX2086" fmla="*/ 926858 w 1674813"/>
                <a:gd name="connsiteY2086" fmla="*/ 425311 h 2003425"/>
                <a:gd name="connsiteX2087" fmla="*/ 939686 w 1674813"/>
                <a:gd name="connsiteY2087" fmla="*/ 453186 h 2003425"/>
                <a:gd name="connsiteX2088" fmla="*/ 947835 w 1674813"/>
                <a:gd name="connsiteY2088" fmla="*/ 467446 h 2003425"/>
                <a:gd name="connsiteX2089" fmla="*/ 951072 w 1674813"/>
                <a:gd name="connsiteY2089" fmla="*/ 466640 h 2003425"/>
                <a:gd name="connsiteX2090" fmla="*/ 1007746 w 1674813"/>
                <a:gd name="connsiteY2090" fmla="*/ 452524 h 2003425"/>
                <a:gd name="connsiteX2091" fmla="*/ 942975 w 1674813"/>
                <a:gd name="connsiteY2091" fmla="*/ 436392 h 2003425"/>
                <a:gd name="connsiteX2092" fmla="*/ 1007746 w 1674813"/>
                <a:gd name="connsiteY2092" fmla="*/ 420259 h 2003425"/>
                <a:gd name="connsiteX2093" fmla="*/ 926783 w 1674813"/>
                <a:gd name="connsiteY2093" fmla="*/ 404127 h 2003425"/>
                <a:gd name="connsiteX2094" fmla="*/ 1007746 w 1674813"/>
                <a:gd name="connsiteY2094" fmla="*/ 404127 h 2003425"/>
                <a:gd name="connsiteX2095" fmla="*/ 910590 w 1674813"/>
                <a:gd name="connsiteY2095" fmla="*/ 371862 h 2003425"/>
                <a:gd name="connsiteX2096" fmla="*/ 991553 w 1674813"/>
                <a:gd name="connsiteY2096" fmla="*/ 371862 h 2003425"/>
                <a:gd name="connsiteX2097" fmla="*/ 910590 w 1674813"/>
                <a:gd name="connsiteY2097" fmla="*/ 339597 h 2003425"/>
                <a:gd name="connsiteX2098" fmla="*/ 991553 w 1674813"/>
                <a:gd name="connsiteY2098" fmla="*/ 323464 h 2003425"/>
                <a:gd name="connsiteX2099" fmla="*/ 894398 w 1674813"/>
                <a:gd name="connsiteY2099" fmla="*/ 307332 h 2003425"/>
                <a:gd name="connsiteX2100" fmla="*/ 991553 w 1674813"/>
                <a:gd name="connsiteY2100" fmla="*/ 291200 h 2003425"/>
                <a:gd name="connsiteX2101" fmla="*/ 894398 w 1674813"/>
                <a:gd name="connsiteY2101" fmla="*/ 275067 h 2003425"/>
                <a:gd name="connsiteX2102" fmla="*/ 959168 w 1674813"/>
                <a:gd name="connsiteY2102" fmla="*/ 258935 h 2003425"/>
                <a:gd name="connsiteX2103" fmla="*/ 878205 w 1674813"/>
                <a:gd name="connsiteY2103" fmla="*/ 242802 h 2003425"/>
                <a:gd name="connsiteX2104" fmla="*/ 959168 w 1674813"/>
                <a:gd name="connsiteY2104" fmla="*/ 226670 h 2003425"/>
                <a:gd name="connsiteX2105" fmla="*/ 878205 w 1674813"/>
                <a:gd name="connsiteY2105" fmla="*/ 210537 h 2003425"/>
                <a:gd name="connsiteX2106" fmla="*/ 942975 w 1674813"/>
                <a:gd name="connsiteY2106" fmla="*/ 194405 h 2003425"/>
                <a:gd name="connsiteX2107" fmla="*/ 878205 w 1674813"/>
                <a:gd name="connsiteY2107" fmla="*/ 178272 h 2003425"/>
                <a:gd name="connsiteX2108" fmla="*/ 926783 w 1674813"/>
                <a:gd name="connsiteY2108" fmla="*/ 162140 h 2003425"/>
                <a:gd name="connsiteX2109" fmla="*/ 862013 w 1674813"/>
                <a:gd name="connsiteY2109" fmla="*/ 146007 h 2003425"/>
                <a:gd name="connsiteX2110" fmla="*/ 910590 w 1674813"/>
                <a:gd name="connsiteY2110" fmla="*/ 146007 h 2003425"/>
                <a:gd name="connsiteX2111" fmla="*/ 862013 w 1674813"/>
                <a:gd name="connsiteY2111" fmla="*/ 113743 h 2003425"/>
                <a:gd name="connsiteX2112" fmla="*/ 894398 w 1674813"/>
                <a:gd name="connsiteY2112" fmla="*/ 113743 h 2003425"/>
                <a:gd name="connsiteX2113" fmla="*/ 862013 w 1674813"/>
                <a:gd name="connsiteY2113" fmla="*/ 81478 h 2003425"/>
                <a:gd name="connsiteX2114" fmla="*/ 894398 w 1674813"/>
                <a:gd name="connsiteY2114" fmla="*/ 97610 h 2003425"/>
                <a:gd name="connsiteX2115" fmla="*/ 862013 w 1674813"/>
                <a:gd name="connsiteY2115" fmla="*/ 65345 h 2003425"/>
                <a:gd name="connsiteX2116" fmla="*/ 862013 w 1674813"/>
                <a:gd name="connsiteY2116" fmla="*/ 49213 h 2003425"/>
                <a:gd name="connsiteX2117" fmla="*/ 878205 w 1674813"/>
                <a:gd name="connsiteY2117" fmla="*/ 65345 h 2003425"/>
                <a:gd name="connsiteX2118" fmla="*/ 878880 w 1674813"/>
                <a:gd name="connsiteY2118" fmla="*/ 66324 h 2003425"/>
                <a:gd name="connsiteX2119" fmla="*/ 939972 w 1674813"/>
                <a:gd name="connsiteY2119" fmla="*/ 142473 h 2003425"/>
                <a:gd name="connsiteX2120" fmla="*/ 1025050 w 1674813"/>
                <a:gd name="connsiteY2120" fmla="*/ 371604 h 2003425"/>
                <a:gd name="connsiteX2121" fmla="*/ 1025826 w 1674813"/>
                <a:gd name="connsiteY2121" fmla="*/ 423806 h 2003425"/>
                <a:gd name="connsiteX2122" fmla="*/ 1031517 w 1674813"/>
                <a:gd name="connsiteY2122" fmla="*/ 404467 h 2003425"/>
                <a:gd name="connsiteX2123" fmla="*/ 1057673 w 1674813"/>
                <a:gd name="connsiteY2123" fmla="*/ 338932 h 2003425"/>
                <a:gd name="connsiteX2124" fmla="*/ 1088688 w 1674813"/>
                <a:gd name="connsiteY2124" fmla="*/ 277405 h 2003425"/>
                <a:gd name="connsiteX2125" fmla="*/ 1089964 w 1674813"/>
                <a:gd name="connsiteY2125" fmla="*/ 274483 h 2003425"/>
                <a:gd name="connsiteX2126" fmla="*/ 1091020 w 1674813"/>
                <a:gd name="connsiteY2126" fmla="*/ 272779 h 2003425"/>
                <a:gd name="connsiteX2127" fmla="*/ 1098098 w 1674813"/>
                <a:gd name="connsiteY2127" fmla="*/ 258738 h 2003425"/>
                <a:gd name="connsiteX2128" fmla="*/ 1215561 w 1674813"/>
                <a:gd name="connsiteY2128" fmla="*/ 80193 h 2003425"/>
                <a:gd name="connsiteX2129" fmla="*/ 1293402 w 1674813"/>
                <a:gd name="connsiteY2129" fmla="*/ 7769 h 200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</a:cxnLst>
              <a:rect l="l" t="t" r="r" b="b"/>
              <a:pathLst>
                <a:path w="1674813" h="2003425">
                  <a:moveTo>
                    <a:pt x="764268" y="1212216"/>
                  </a:moveTo>
                  <a:lnTo>
                    <a:pt x="760744" y="1213963"/>
                  </a:lnTo>
                  <a:lnTo>
                    <a:pt x="761839" y="1218316"/>
                  </a:lnTo>
                  <a:lnTo>
                    <a:pt x="762001" y="1218959"/>
                  </a:lnTo>
                  <a:close/>
                  <a:moveTo>
                    <a:pt x="734977" y="1199195"/>
                  </a:moveTo>
                  <a:lnTo>
                    <a:pt x="733264" y="1200328"/>
                  </a:lnTo>
                  <a:lnTo>
                    <a:pt x="733872" y="1202141"/>
                  </a:lnTo>
                  <a:cubicBezTo>
                    <a:pt x="734889" y="1205174"/>
                    <a:pt x="736414" y="1209723"/>
                    <a:pt x="738703" y="1216547"/>
                  </a:cubicBezTo>
                  <a:lnTo>
                    <a:pt x="738996" y="1217422"/>
                  </a:lnTo>
                  <a:lnTo>
                    <a:pt x="744731" y="1208892"/>
                  </a:lnTo>
                  <a:close/>
                  <a:moveTo>
                    <a:pt x="764268" y="1179831"/>
                  </a:moveTo>
                  <a:cubicBezTo>
                    <a:pt x="764268" y="1179831"/>
                    <a:pt x="764268" y="1179831"/>
                    <a:pt x="758145" y="1183879"/>
                  </a:cubicBezTo>
                  <a:lnTo>
                    <a:pt x="753886" y="1186694"/>
                  </a:lnTo>
                  <a:lnTo>
                    <a:pt x="755457" y="1192937"/>
                  </a:lnTo>
                  <a:lnTo>
                    <a:pt x="759165" y="1187421"/>
                  </a:lnTo>
                  <a:cubicBezTo>
                    <a:pt x="762227" y="1182867"/>
                    <a:pt x="764268" y="1179831"/>
                    <a:pt x="764268" y="1179831"/>
                  </a:cubicBezTo>
                  <a:close/>
                  <a:moveTo>
                    <a:pt x="748110" y="1163724"/>
                  </a:moveTo>
                  <a:lnTo>
                    <a:pt x="749070" y="1167541"/>
                  </a:lnTo>
                  <a:lnTo>
                    <a:pt x="750305" y="1165907"/>
                  </a:lnTo>
                  <a:close/>
                  <a:moveTo>
                    <a:pt x="757670" y="1150717"/>
                  </a:moveTo>
                  <a:lnTo>
                    <a:pt x="756103" y="1151494"/>
                  </a:lnTo>
                  <a:lnTo>
                    <a:pt x="752090" y="1153484"/>
                  </a:lnTo>
                  <a:lnTo>
                    <a:pt x="753195" y="1155131"/>
                  </a:lnTo>
                  <a:lnTo>
                    <a:pt x="755667" y="1158818"/>
                  </a:lnTo>
                  <a:lnTo>
                    <a:pt x="756614" y="1157566"/>
                  </a:lnTo>
                  <a:lnTo>
                    <a:pt x="760967" y="1151810"/>
                  </a:lnTo>
                  <a:close/>
                  <a:moveTo>
                    <a:pt x="749781" y="1029473"/>
                  </a:moveTo>
                  <a:lnTo>
                    <a:pt x="748418" y="1033645"/>
                  </a:lnTo>
                  <a:lnTo>
                    <a:pt x="746186" y="1049975"/>
                  </a:lnTo>
                  <a:close/>
                  <a:moveTo>
                    <a:pt x="715282" y="1001713"/>
                  </a:moveTo>
                  <a:lnTo>
                    <a:pt x="715120" y="1001882"/>
                  </a:lnTo>
                  <a:lnTo>
                    <a:pt x="715084" y="1001811"/>
                  </a:lnTo>
                  <a:close/>
                  <a:moveTo>
                    <a:pt x="821907" y="940961"/>
                  </a:moveTo>
                  <a:lnTo>
                    <a:pt x="820289" y="948964"/>
                  </a:lnTo>
                  <a:lnTo>
                    <a:pt x="837605" y="969620"/>
                  </a:lnTo>
                  <a:lnTo>
                    <a:pt x="840853" y="973494"/>
                  </a:lnTo>
                  <a:lnTo>
                    <a:pt x="837456" y="953327"/>
                  </a:lnTo>
                  <a:lnTo>
                    <a:pt x="823780" y="942451"/>
                  </a:lnTo>
                  <a:close/>
                  <a:moveTo>
                    <a:pt x="894484" y="936890"/>
                  </a:moveTo>
                  <a:lnTo>
                    <a:pt x="894438" y="937121"/>
                  </a:lnTo>
                  <a:lnTo>
                    <a:pt x="894486" y="937182"/>
                  </a:lnTo>
                  <a:close/>
                  <a:moveTo>
                    <a:pt x="796925" y="921094"/>
                  </a:moveTo>
                  <a:cubicBezTo>
                    <a:pt x="796925" y="921094"/>
                    <a:pt x="802010" y="927160"/>
                    <a:pt x="809638" y="936259"/>
                  </a:cubicBezTo>
                  <a:lnTo>
                    <a:pt x="812944" y="940203"/>
                  </a:lnTo>
                  <a:lnTo>
                    <a:pt x="812944" y="936890"/>
                  </a:lnTo>
                  <a:lnTo>
                    <a:pt x="812944" y="933833"/>
                  </a:lnTo>
                  <a:close/>
                  <a:moveTo>
                    <a:pt x="861868" y="920751"/>
                  </a:moveTo>
                  <a:cubicBezTo>
                    <a:pt x="861868" y="920751"/>
                    <a:pt x="861868" y="920751"/>
                    <a:pt x="859830" y="930838"/>
                  </a:cubicBezTo>
                  <a:lnTo>
                    <a:pt x="855569" y="951924"/>
                  </a:lnTo>
                  <a:lnTo>
                    <a:pt x="868115" y="970631"/>
                  </a:lnTo>
                  <a:lnTo>
                    <a:pt x="870991" y="974919"/>
                  </a:lnTo>
                  <a:lnTo>
                    <a:pt x="870022" y="969170"/>
                  </a:lnTo>
                  <a:cubicBezTo>
                    <a:pt x="865945" y="944960"/>
                    <a:pt x="861868" y="920751"/>
                    <a:pt x="861868" y="920751"/>
                  </a:cubicBezTo>
                  <a:close/>
                  <a:moveTo>
                    <a:pt x="471375" y="920751"/>
                  </a:moveTo>
                  <a:cubicBezTo>
                    <a:pt x="471375" y="920751"/>
                    <a:pt x="471375" y="920751"/>
                    <a:pt x="485056" y="934368"/>
                  </a:cubicBezTo>
                  <a:lnTo>
                    <a:pt x="487528" y="936828"/>
                  </a:lnTo>
                  <a:lnTo>
                    <a:pt x="482114" y="926095"/>
                  </a:lnTo>
                  <a:close/>
                  <a:moveTo>
                    <a:pt x="877752" y="916389"/>
                  </a:moveTo>
                  <a:lnTo>
                    <a:pt x="883487" y="923515"/>
                  </a:lnTo>
                  <a:lnTo>
                    <a:pt x="918569" y="941770"/>
                  </a:lnTo>
                  <a:lnTo>
                    <a:pt x="900004" y="929036"/>
                  </a:lnTo>
                  <a:close/>
                  <a:moveTo>
                    <a:pt x="254292" y="906846"/>
                  </a:moveTo>
                  <a:lnTo>
                    <a:pt x="222400" y="933939"/>
                  </a:lnTo>
                  <a:lnTo>
                    <a:pt x="243451" y="920667"/>
                  </a:lnTo>
                  <a:cubicBezTo>
                    <a:pt x="243451" y="920667"/>
                    <a:pt x="259735" y="1017421"/>
                    <a:pt x="259735" y="1017421"/>
                  </a:cubicBezTo>
                  <a:cubicBezTo>
                    <a:pt x="259735" y="1017421"/>
                    <a:pt x="259735" y="1017421"/>
                    <a:pt x="227166" y="936793"/>
                  </a:cubicBezTo>
                  <a:cubicBezTo>
                    <a:pt x="227166" y="936793"/>
                    <a:pt x="227166" y="1033547"/>
                    <a:pt x="227166" y="1033547"/>
                  </a:cubicBezTo>
                  <a:cubicBezTo>
                    <a:pt x="227166" y="1033547"/>
                    <a:pt x="227166" y="1033547"/>
                    <a:pt x="194597" y="969044"/>
                  </a:cubicBezTo>
                  <a:cubicBezTo>
                    <a:pt x="194597" y="969044"/>
                    <a:pt x="210881" y="1049673"/>
                    <a:pt x="210881" y="1049673"/>
                  </a:cubicBezTo>
                  <a:cubicBezTo>
                    <a:pt x="210881" y="1049673"/>
                    <a:pt x="210881" y="1049673"/>
                    <a:pt x="190271" y="1022461"/>
                  </a:cubicBezTo>
                  <a:lnTo>
                    <a:pt x="162053" y="985204"/>
                  </a:lnTo>
                  <a:lnTo>
                    <a:pt x="162037" y="985217"/>
                  </a:lnTo>
                  <a:lnTo>
                    <a:pt x="164572" y="997768"/>
                  </a:lnTo>
                  <a:cubicBezTo>
                    <a:pt x="169152" y="1020445"/>
                    <a:pt x="178312" y="1065798"/>
                    <a:pt x="178312" y="1065798"/>
                  </a:cubicBezTo>
                  <a:cubicBezTo>
                    <a:pt x="178312" y="1065798"/>
                    <a:pt x="178312" y="1065798"/>
                    <a:pt x="145742" y="1001296"/>
                  </a:cubicBezTo>
                  <a:cubicBezTo>
                    <a:pt x="145742" y="1001296"/>
                    <a:pt x="145742" y="1081924"/>
                    <a:pt x="145742" y="1081924"/>
                  </a:cubicBezTo>
                  <a:cubicBezTo>
                    <a:pt x="145742" y="1081924"/>
                    <a:pt x="145742" y="1081924"/>
                    <a:pt x="113173" y="1033547"/>
                  </a:cubicBezTo>
                  <a:cubicBezTo>
                    <a:pt x="113173" y="1033547"/>
                    <a:pt x="113173" y="1098050"/>
                    <a:pt x="113173" y="1098050"/>
                  </a:cubicBezTo>
                  <a:cubicBezTo>
                    <a:pt x="113173" y="1098050"/>
                    <a:pt x="113173" y="1098050"/>
                    <a:pt x="96888" y="1049673"/>
                  </a:cubicBezTo>
                  <a:cubicBezTo>
                    <a:pt x="96888" y="1049673"/>
                    <a:pt x="96888" y="1098050"/>
                    <a:pt x="96888" y="1098050"/>
                  </a:cubicBezTo>
                  <a:cubicBezTo>
                    <a:pt x="96888" y="1098050"/>
                    <a:pt x="96888" y="1098050"/>
                    <a:pt x="80604" y="1065798"/>
                  </a:cubicBezTo>
                  <a:cubicBezTo>
                    <a:pt x="80604" y="1065798"/>
                    <a:pt x="64319" y="1114175"/>
                    <a:pt x="64319" y="1114175"/>
                  </a:cubicBezTo>
                  <a:cubicBezTo>
                    <a:pt x="64319" y="1114175"/>
                    <a:pt x="64319" y="1114175"/>
                    <a:pt x="64319" y="1081924"/>
                  </a:cubicBezTo>
                  <a:cubicBezTo>
                    <a:pt x="64319" y="1081924"/>
                    <a:pt x="64319" y="1081924"/>
                    <a:pt x="48034" y="1114175"/>
                  </a:cubicBezTo>
                  <a:cubicBezTo>
                    <a:pt x="48034" y="1114175"/>
                    <a:pt x="31750" y="1114175"/>
                    <a:pt x="31750" y="1130301"/>
                  </a:cubicBezTo>
                  <a:cubicBezTo>
                    <a:pt x="31750" y="1130301"/>
                    <a:pt x="31750" y="1130301"/>
                    <a:pt x="48034" y="1098050"/>
                  </a:cubicBezTo>
                  <a:lnTo>
                    <a:pt x="48055" y="1098012"/>
                  </a:lnTo>
                  <a:lnTo>
                    <a:pt x="47625" y="1098551"/>
                  </a:lnTo>
                  <a:lnTo>
                    <a:pt x="48203" y="1097741"/>
                  </a:lnTo>
                  <a:lnTo>
                    <a:pt x="69408" y="1058995"/>
                  </a:lnTo>
                  <a:lnTo>
                    <a:pt x="99324" y="1026143"/>
                  </a:lnTo>
                  <a:lnTo>
                    <a:pt x="101822" y="1022645"/>
                  </a:lnTo>
                  <a:lnTo>
                    <a:pt x="107230" y="1017462"/>
                  </a:lnTo>
                  <a:lnTo>
                    <a:pt x="109102" y="1015406"/>
                  </a:lnTo>
                  <a:lnTo>
                    <a:pt x="110789" y="1014050"/>
                  </a:lnTo>
                  <a:lnTo>
                    <a:pt x="163653" y="963382"/>
                  </a:lnTo>
                  <a:cubicBezTo>
                    <a:pt x="185027" y="946234"/>
                    <a:pt x="206909" y="931607"/>
                    <a:pt x="228537" y="919250"/>
                  </a:cubicBezTo>
                  <a:close/>
                  <a:moveTo>
                    <a:pt x="829252" y="904611"/>
                  </a:moveTo>
                  <a:cubicBezTo>
                    <a:pt x="829252" y="904611"/>
                    <a:pt x="829252" y="904611"/>
                    <a:pt x="828997" y="905872"/>
                  </a:cubicBezTo>
                  <a:lnTo>
                    <a:pt x="827999" y="910814"/>
                  </a:lnTo>
                  <a:lnTo>
                    <a:pt x="831067" y="915390"/>
                  </a:lnTo>
                  <a:lnTo>
                    <a:pt x="829953" y="908772"/>
                  </a:lnTo>
                  <a:cubicBezTo>
                    <a:pt x="829507" y="906124"/>
                    <a:pt x="829252" y="904611"/>
                    <a:pt x="829252" y="904611"/>
                  </a:cubicBezTo>
                  <a:close/>
                  <a:moveTo>
                    <a:pt x="600982" y="872173"/>
                  </a:moveTo>
                  <a:cubicBezTo>
                    <a:pt x="600982" y="872173"/>
                    <a:pt x="600982" y="872173"/>
                    <a:pt x="598941" y="874197"/>
                  </a:cubicBezTo>
                  <a:lnTo>
                    <a:pt x="596076" y="877038"/>
                  </a:lnTo>
                  <a:lnTo>
                    <a:pt x="599033" y="900493"/>
                  </a:lnTo>
                  <a:cubicBezTo>
                    <a:pt x="599797" y="906549"/>
                    <a:pt x="600434" y="911597"/>
                    <a:pt x="600879" y="915130"/>
                  </a:cubicBezTo>
                  <a:lnTo>
                    <a:pt x="600982" y="915943"/>
                  </a:lnTo>
                  <a:lnTo>
                    <a:pt x="600982" y="914678"/>
                  </a:lnTo>
                  <a:cubicBezTo>
                    <a:pt x="600982" y="908606"/>
                    <a:pt x="600982" y="896462"/>
                    <a:pt x="600982" y="872173"/>
                  </a:cubicBezTo>
                  <a:close/>
                  <a:moveTo>
                    <a:pt x="36280" y="869393"/>
                  </a:moveTo>
                  <a:lnTo>
                    <a:pt x="34552" y="871109"/>
                  </a:lnTo>
                  <a:cubicBezTo>
                    <a:pt x="32519" y="873126"/>
                    <a:pt x="32519" y="873126"/>
                    <a:pt x="32519" y="873126"/>
                  </a:cubicBezTo>
                  <a:close/>
                  <a:moveTo>
                    <a:pt x="335306" y="868711"/>
                  </a:moveTo>
                  <a:lnTo>
                    <a:pt x="291895" y="888736"/>
                  </a:lnTo>
                  <a:lnTo>
                    <a:pt x="254292" y="906846"/>
                  </a:lnTo>
                  <a:lnTo>
                    <a:pt x="275610" y="888736"/>
                  </a:lnTo>
                  <a:close/>
                  <a:moveTo>
                    <a:pt x="764988" y="868077"/>
                  </a:moveTo>
                  <a:lnTo>
                    <a:pt x="764883" y="868492"/>
                  </a:lnTo>
                  <a:lnTo>
                    <a:pt x="794307" y="879301"/>
                  </a:lnTo>
                  <a:lnTo>
                    <a:pt x="794935" y="877700"/>
                  </a:lnTo>
                  <a:close/>
                  <a:moveTo>
                    <a:pt x="755135" y="864910"/>
                  </a:moveTo>
                  <a:lnTo>
                    <a:pt x="763099" y="867836"/>
                  </a:lnTo>
                  <a:lnTo>
                    <a:pt x="763041" y="867451"/>
                  </a:lnTo>
                  <a:close/>
                  <a:moveTo>
                    <a:pt x="715048" y="852029"/>
                  </a:moveTo>
                  <a:lnTo>
                    <a:pt x="715048" y="852445"/>
                  </a:lnTo>
                  <a:lnTo>
                    <a:pt x="719562" y="853479"/>
                  </a:lnTo>
                  <a:close/>
                  <a:moveTo>
                    <a:pt x="861387" y="847994"/>
                  </a:moveTo>
                  <a:lnTo>
                    <a:pt x="861387" y="851539"/>
                  </a:lnTo>
                  <a:lnTo>
                    <a:pt x="861387" y="855771"/>
                  </a:lnTo>
                  <a:lnTo>
                    <a:pt x="878285" y="872568"/>
                  </a:lnTo>
                  <a:lnTo>
                    <a:pt x="893221" y="887416"/>
                  </a:lnTo>
                  <a:lnTo>
                    <a:pt x="888825" y="878711"/>
                  </a:lnTo>
                  <a:cubicBezTo>
                    <a:pt x="885777" y="872673"/>
                    <a:pt x="881712" y="864622"/>
                    <a:pt x="877647" y="856571"/>
                  </a:cubicBezTo>
                  <a:lnTo>
                    <a:pt x="877313" y="855910"/>
                  </a:lnTo>
                  <a:close/>
                  <a:moveTo>
                    <a:pt x="695856" y="846027"/>
                  </a:moveTo>
                  <a:lnTo>
                    <a:pt x="696756" y="846151"/>
                  </a:lnTo>
                  <a:lnTo>
                    <a:pt x="697987" y="846546"/>
                  </a:lnTo>
                  <a:close/>
                  <a:moveTo>
                    <a:pt x="926426" y="840469"/>
                  </a:moveTo>
                  <a:cubicBezTo>
                    <a:pt x="926426" y="840469"/>
                    <a:pt x="926426" y="840469"/>
                    <a:pt x="910166" y="888774"/>
                  </a:cubicBezTo>
                  <a:cubicBezTo>
                    <a:pt x="910166" y="888774"/>
                    <a:pt x="909150" y="884749"/>
                    <a:pt x="907626" y="878711"/>
                  </a:cubicBezTo>
                  <a:lnTo>
                    <a:pt x="905393" y="869867"/>
                  </a:lnTo>
                  <a:lnTo>
                    <a:pt x="902692" y="868524"/>
                  </a:lnTo>
                  <a:lnTo>
                    <a:pt x="893907" y="864158"/>
                  </a:lnTo>
                  <a:lnTo>
                    <a:pt x="893907" y="888098"/>
                  </a:lnTo>
                  <a:lnTo>
                    <a:pt x="900658" y="894809"/>
                  </a:lnTo>
                  <a:cubicBezTo>
                    <a:pt x="906760" y="900875"/>
                    <a:pt x="910828" y="904919"/>
                    <a:pt x="910828" y="904919"/>
                  </a:cubicBezTo>
                  <a:cubicBezTo>
                    <a:pt x="910828" y="904919"/>
                    <a:pt x="910828" y="904919"/>
                    <a:pt x="876505" y="884447"/>
                  </a:cubicBezTo>
                  <a:lnTo>
                    <a:pt x="861387" y="875430"/>
                  </a:lnTo>
                  <a:lnTo>
                    <a:pt x="861387" y="888774"/>
                  </a:lnTo>
                  <a:cubicBezTo>
                    <a:pt x="861387" y="888774"/>
                    <a:pt x="860371" y="883743"/>
                    <a:pt x="858846" y="876195"/>
                  </a:cubicBezTo>
                  <a:lnTo>
                    <a:pt x="858323" y="873602"/>
                  </a:lnTo>
                  <a:lnTo>
                    <a:pt x="856324" y="872410"/>
                  </a:lnTo>
                  <a:lnTo>
                    <a:pt x="834769" y="859554"/>
                  </a:lnTo>
                  <a:lnTo>
                    <a:pt x="834216" y="862292"/>
                  </a:lnTo>
                  <a:lnTo>
                    <a:pt x="839639" y="869030"/>
                  </a:lnTo>
                  <a:cubicBezTo>
                    <a:pt x="845741" y="876612"/>
                    <a:pt x="853877" y="886721"/>
                    <a:pt x="862013" y="896831"/>
                  </a:cubicBezTo>
                  <a:lnTo>
                    <a:pt x="873008" y="910494"/>
                  </a:lnTo>
                  <a:lnTo>
                    <a:pt x="929761" y="938638"/>
                  </a:lnTo>
                  <a:lnTo>
                    <a:pt x="934244" y="942016"/>
                  </a:lnTo>
                  <a:lnTo>
                    <a:pt x="937337" y="910172"/>
                  </a:lnTo>
                  <a:lnTo>
                    <a:pt x="940149" y="881236"/>
                  </a:lnTo>
                  <a:lnTo>
                    <a:pt x="940146" y="881227"/>
                  </a:lnTo>
                  <a:cubicBezTo>
                    <a:pt x="935573" y="867641"/>
                    <a:pt x="926426" y="840469"/>
                    <a:pt x="926426" y="840469"/>
                  </a:cubicBezTo>
                  <a:close/>
                  <a:moveTo>
                    <a:pt x="845741" y="840217"/>
                  </a:moveTo>
                  <a:lnTo>
                    <a:pt x="853047" y="847480"/>
                  </a:lnTo>
                  <a:lnTo>
                    <a:pt x="852232" y="843444"/>
                  </a:lnTo>
                  <a:close/>
                  <a:moveTo>
                    <a:pt x="600941" y="840053"/>
                  </a:moveTo>
                  <a:cubicBezTo>
                    <a:pt x="600941" y="840053"/>
                    <a:pt x="600941" y="840053"/>
                    <a:pt x="602979" y="844088"/>
                  </a:cubicBezTo>
                  <a:lnTo>
                    <a:pt x="607121" y="852285"/>
                  </a:lnTo>
                  <a:lnTo>
                    <a:pt x="609656" y="853451"/>
                  </a:lnTo>
                  <a:lnTo>
                    <a:pt x="621023" y="862324"/>
                  </a:lnTo>
                  <a:lnTo>
                    <a:pt x="614203" y="848803"/>
                  </a:lnTo>
                  <a:close/>
                  <a:moveTo>
                    <a:pt x="471436" y="840039"/>
                  </a:moveTo>
                  <a:cubicBezTo>
                    <a:pt x="471436" y="840039"/>
                    <a:pt x="471436" y="840039"/>
                    <a:pt x="464566" y="860448"/>
                  </a:cubicBezTo>
                  <a:lnTo>
                    <a:pt x="458095" y="879670"/>
                  </a:lnTo>
                  <a:lnTo>
                    <a:pt x="459518" y="878389"/>
                  </a:lnTo>
                  <a:lnTo>
                    <a:pt x="471436" y="866890"/>
                  </a:lnTo>
                  <a:lnTo>
                    <a:pt x="471436" y="858684"/>
                  </a:lnTo>
                  <a:cubicBezTo>
                    <a:pt x="471436" y="854149"/>
                    <a:pt x="471436" y="848102"/>
                    <a:pt x="471436" y="840039"/>
                  </a:cubicBezTo>
                  <a:close/>
                  <a:moveTo>
                    <a:pt x="560711" y="839656"/>
                  </a:moveTo>
                  <a:lnTo>
                    <a:pt x="558178" y="839788"/>
                  </a:lnTo>
                  <a:lnTo>
                    <a:pt x="560778" y="839788"/>
                  </a:lnTo>
                  <a:close/>
                  <a:moveTo>
                    <a:pt x="632112" y="837227"/>
                  </a:moveTo>
                  <a:lnTo>
                    <a:pt x="633537" y="840049"/>
                  </a:lnTo>
                  <a:lnTo>
                    <a:pt x="633557" y="840053"/>
                  </a:lnTo>
                  <a:cubicBezTo>
                    <a:pt x="633557" y="840053"/>
                    <a:pt x="633557" y="840053"/>
                    <a:pt x="649865" y="872332"/>
                  </a:cubicBezTo>
                  <a:cubicBezTo>
                    <a:pt x="649865" y="872332"/>
                    <a:pt x="649865" y="872332"/>
                    <a:pt x="643749" y="868297"/>
                  </a:cubicBezTo>
                  <a:lnTo>
                    <a:pt x="629959" y="859199"/>
                  </a:lnTo>
                  <a:lnTo>
                    <a:pt x="631600" y="870581"/>
                  </a:lnTo>
                  <a:lnTo>
                    <a:pt x="633639" y="872173"/>
                  </a:lnTo>
                  <a:cubicBezTo>
                    <a:pt x="645886" y="884318"/>
                    <a:pt x="658132" y="901016"/>
                    <a:pt x="671240" y="922269"/>
                  </a:cubicBezTo>
                  <a:lnTo>
                    <a:pt x="674610" y="928371"/>
                  </a:lnTo>
                  <a:lnTo>
                    <a:pt x="678543" y="932856"/>
                  </a:lnTo>
                  <a:cubicBezTo>
                    <a:pt x="696912" y="957065"/>
                    <a:pt x="715282" y="985309"/>
                    <a:pt x="731610" y="1017588"/>
                  </a:cubicBezTo>
                  <a:lnTo>
                    <a:pt x="706428" y="985970"/>
                  </a:lnTo>
                  <a:lnTo>
                    <a:pt x="714006" y="999689"/>
                  </a:lnTo>
                  <a:lnTo>
                    <a:pt x="715084" y="1001811"/>
                  </a:lnTo>
                  <a:lnTo>
                    <a:pt x="714261" y="1002219"/>
                  </a:lnTo>
                  <a:cubicBezTo>
                    <a:pt x="711200" y="1003737"/>
                    <a:pt x="698953" y="1009809"/>
                    <a:pt x="649968" y="1034098"/>
                  </a:cubicBezTo>
                  <a:cubicBezTo>
                    <a:pt x="649968" y="1034098"/>
                    <a:pt x="682625" y="985521"/>
                    <a:pt x="682625" y="985521"/>
                  </a:cubicBezTo>
                  <a:cubicBezTo>
                    <a:pt x="682625" y="985521"/>
                    <a:pt x="682625" y="985521"/>
                    <a:pt x="649968" y="1017906"/>
                  </a:cubicBezTo>
                  <a:cubicBezTo>
                    <a:pt x="649968" y="1017906"/>
                    <a:pt x="682625" y="969328"/>
                    <a:pt x="682625" y="969328"/>
                  </a:cubicBezTo>
                  <a:cubicBezTo>
                    <a:pt x="682625" y="969328"/>
                    <a:pt x="682625" y="969328"/>
                    <a:pt x="633639" y="985521"/>
                  </a:cubicBezTo>
                  <a:cubicBezTo>
                    <a:pt x="633639" y="985521"/>
                    <a:pt x="633639" y="985521"/>
                    <a:pt x="666296" y="953136"/>
                  </a:cubicBezTo>
                  <a:cubicBezTo>
                    <a:pt x="666296" y="953136"/>
                    <a:pt x="666296" y="953136"/>
                    <a:pt x="633639" y="969328"/>
                  </a:cubicBezTo>
                  <a:cubicBezTo>
                    <a:pt x="633639" y="969328"/>
                    <a:pt x="633639" y="969328"/>
                    <a:pt x="649968" y="936943"/>
                  </a:cubicBezTo>
                  <a:cubicBezTo>
                    <a:pt x="649968" y="936943"/>
                    <a:pt x="649968" y="936943"/>
                    <a:pt x="617310" y="953136"/>
                  </a:cubicBezTo>
                  <a:cubicBezTo>
                    <a:pt x="617310" y="953136"/>
                    <a:pt x="617310" y="953136"/>
                    <a:pt x="633639" y="904558"/>
                  </a:cubicBezTo>
                  <a:cubicBezTo>
                    <a:pt x="633639" y="904558"/>
                    <a:pt x="633639" y="904558"/>
                    <a:pt x="600982" y="936943"/>
                  </a:cubicBezTo>
                  <a:cubicBezTo>
                    <a:pt x="600982" y="936943"/>
                    <a:pt x="600982" y="936943"/>
                    <a:pt x="617310" y="888366"/>
                  </a:cubicBezTo>
                  <a:cubicBezTo>
                    <a:pt x="617310" y="888366"/>
                    <a:pt x="617310" y="888366"/>
                    <a:pt x="610422" y="902028"/>
                  </a:cubicBezTo>
                  <a:lnTo>
                    <a:pt x="601467" y="919789"/>
                  </a:lnTo>
                  <a:lnTo>
                    <a:pt x="601579" y="920682"/>
                  </a:lnTo>
                  <a:lnTo>
                    <a:pt x="601298" y="920124"/>
                  </a:lnTo>
                  <a:lnTo>
                    <a:pt x="600982" y="920751"/>
                  </a:lnTo>
                  <a:cubicBezTo>
                    <a:pt x="600982" y="920751"/>
                    <a:pt x="600982" y="920751"/>
                    <a:pt x="600982" y="919992"/>
                  </a:cubicBezTo>
                  <a:lnTo>
                    <a:pt x="600982" y="919497"/>
                  </a:lnTo>
                  <a:lnTo>
                    <a:pt x="600816" y="919168"/>
                  </a:lnTo>
                  <a:cubicBezTo>
                    <a:pt x="600052" y="917653"/>
                    <a:pt x="598524" y="914625"/>
                    <a:pt x="595469" y="908568"/>
                  </a:cubicBezTo>
                  <a:lnTo>
                    <a:pt x="585071" y="887952"/>
                  </a:lnTo>
                  <a:lnTo>
                    <a:pt x="584653" y="888366"/>
                  </a:lnTo>
                  <a:lnTo>
                    <a:pt x="583402" y="884644"/>
                  </a:lnTo>
                  <a:lnTo>
                    <a:pt x="580959" y="879799"/>
                  </a:lnTo>
                  <a:cubicBezTo>
                    <a:pt x="577522" y="872985"/>
                    <a:pt x="573512" y="865036"/>
                    <a:pt x="568835" y="855762"/>
                  </a:cubicBezTo>
                  <a:lnTo>
                    <a:pt x="567971" y="854050"/>
                  </a:lnTo>
                  <a:lnTo>
                    <a:pt x="567948" y="854333"/>
                  </a:lnTo>
                  <a:cubicBezTo>
                    <a:pt x="567270" y="862767"/>
                    <a:pt x="566198" y="876092"/>
                    <a:pt x="564504" y="897143"/>
                  </a:cubicBezTo>
                  <a:lnTo>
                    <a:pt x="564063" y="902618"/>
                  </a:lnTo>
                  <a:lnTo>
                    <a:pt x="566448" y="919167"/>
                  </a:lnTo>
                  <a:cubicBezTo>
                    <a:pt x="567975" y="929767"/>
                    <a:pt x="568994" y="936833"/>
                    <a:pt x="568994" y="936833"/>
                  </a:cubicBezTo>
                  <a:cubicBezTo>
                    <a:pt x="568994" y="936833"/>
                    <a:pt x="568994" y="936833"/>
                    <a:pt x="562884" y="926738"/>
                  </a:cubicBezTo>
                  <a:lnTo>
                    <a:pt x="562212" y="925627"/>
                  </a:lnTo>
                  <a:lnTo>
                    <a:pt x="561468" y="934870"/>
                  </a:lnTo>
                  <a:cubicBezTo>
                    <a:pt x="556722" y="993845"/>
                    <a:pt x="549033" y="1089400"/>
                    <a:pt x="536575" y="1244223"/>
                  </a:cubicBezTo>
                  <a:cubicBezTo>
                    <a:pt x="536575" y="1308932"/>
                    <a:pt x="536575" y="1373642"/>
                    <a:pt x="536575" y="1438351"/>
                  </a:cubicBezTo>
                  <a:cubicBezTo>
                    <a:pt x="536575" y="1438351"/>
                    <a:pt x="536575" y="1438351"/>
                    <a:pt x="580179" y="1720128"/>
                  </a:cubicBezTo>
                  <a:lnTo>
                    <a:pt x="590977" y="1789912"/>
                  </a:lnTo>
                  <a:lnTo>
                    <a:pt x="647156" y="1782403"/>
                  </a:lnTo>
                  <a:cubicBezTo>
                    <a:pt x="679943" y="1779510"/>
                    <a:pt x="713746" y="1778000"/>
                    <a:pt x="748311" y="1778000"/>
                  </a:cubicBezTo>
                  <a:cubicBezTo>
                    <a:pt x="817442" y="1778000"/>
                    <a:pt x="883523" y="1784038"/>
                    <a:pt x="944775" y="1795108"/>
                  </a:cubicBezTo>
                  <a:lnTo>
                    <a:pt x="947991" y="1795848"/>
                  </a:lnTo>
                  <a:lnTo>
                    <a:pt x="939370" y="1704254"/>
                  </a:lnTo>
                  <a:cubicBezTo>
                    <a:pt x="932524" y="1631518"/>
                    <a:pt x="923396" y="1534536"/>
                    <a:pt x="911225" y="1405227"/>
                  </a:cubicBezTo>
                  <a:cubicBezTo>
                    <a:pt x="911225" y="1324409"/>
                    <a:pt x="911225" y="1243590"/>
                    <a:pt x="911225" y="1178936"/>
                  </a:cubicBezTo>
                  <a:cubicBezTo>
                    <a:pt x="911225" y="1178936"/>
                    <a:pt x="911225" y="1178936"/>
                    <a:pt x="923110" y="1056604"/>
                  </a:cubicBezTo>
                  <a:lnTo>
                    <a:pt x="927100" y="1015538"/>
                  </a:lnTo>
                  <a:lnTo>
                    <a:pt x="927100" y="1009519"/>
                  </a:lnTo>
                  <a:cubicBezTo>
                    <a:pt x="927100" y="989344"/>
                    <a:pt x="927100" y="969170"/>
                    <a:pt x="927100" y="969170"/>
                  </a:cubicBezTo>
                  <a:cubicBezTo>
                    <a:pt x="927100" y="969170"/>
                    <a:pt x="927100" y="969170"/>
                    <a:pt x="910792" y="1033728"/>
                  </a:cubicBezTo>
                  <a:cubicBezTo>
                    <a:pt x="896523" y="1033728"/>
                    <a:pt x="894739" y="959587"/>
                    <a:pt x="894516" y="941051"/>
                  </a:cubicBezTo>
                  <a:lnTo>
                    <a:pt x="894487" y="937228"/>
                  </a:lnTo>
                  <a:lnTo>
                    <a:pt x="894424" y="937190"/>
                  </a:lnTo>
                  <a:lnTo>
                    <a:pt x="894229" y="938151"/>
                  </a:lnTo>
                  <a:cubicBezTo>
                    <a:pt x="893465" y="941934"/>
                    <a:pt x="890407" y="957065"/>
                    <a:pt x="878176" y="1017588"/>
                  </a:cubicBezTo>
                  <a:cubicBezTo>
                    <a:pt x="878176" y="1017588"/>
                    <a:pt x="877157" y="1011536"/>
                    <a:pt x="875628" y="1002458"/>
                  </a:cubicBezTo>
                  <a:lnTo>
                    <a:pt x="871977" y="980780"/>
                  </a:lnTo>
                  <a:lnTo>
                    <a:pt x="868115" y="977708"/>
                  </a:lnTo>
                  <a:lnTo>
                    <a:pt x="852817" y="965542"/>
                  </a:lnTo>
                  <a:lnTo>
                    <a:pt x="849198" y="983449"/>
                  </a:lnTo>
                  <a:lnTo>
                    <a:pt x="865572" y="1002982"/>
                  </a:lnTo>
                  <a:cubicBezTo>
                    <a:pt x="873200" y="1012080"/>
                    <a:pt x="878285" y="1018146"/>
                    <a:pt x="878285" y="1018146"/>
                  </a:cubicBezTo>
                  <a:cubicBezTo>
                    <a:pt x="878285" y="1018146"/>
                    <a:pt x="878285" y="1018146"/>
                    <a:pt x="866081" y="1010058"/>
                  </a:cubicBezTo>
                  <a:lnTo>
                    <a:pt x="846449" y="997049"/>
                  </a:lnTo>
                  <a:lnTo>
                    <a:pt x="845560" y="1001449"/>
                  </a:lnTo>
                  <a:cubicBezTo>
                    <a:pt x="845560" y="1001449"/>
                    <a:pt x="845305" y="999936"/>
                    <a:pt x="844860" y="997288"/>
                  </a:cubicBezTo>
                  <a:lnTo>
                    <a:pt x="844614" y="995833"/>
                  </a:lnTo>
                  <a:lnTo>
                    <a:pt x="837096" y="990850"/>
                  </a:lnTo>
                  <a:lnTo>
                    <a:pt x="814809" y="976080"/>
                  </a:lnTo>
                  <a:lnTo>
                    <a:pt x="812944" y="985309"/>
                  </a:lnTo>
                  <a:cubicBezTo>
                    <a:pt x="812944" y="985309"/>
                    <a:pt x="812944" y="983796"/>
                    <a:pt x="812944" y="981148"/>
                  </a:cubicBezTo>
                  <a:lnTo>
                    <a:pt x="812944" y="974844"/>
                  </a:lnTo>
                  <a:lnTo>
                    <a:pt x="812879" y="974801"/>
                  </a:lnTo>
                  <a:cubicBezTo>
                    <a:pt x="803536" y="968609"/>
                    <a:pt x="792857" y="961533"/>
                    <a:pt x="780653" y="953445"/>
                  </a:cubicBezTo>
                  <a:cubicBezTo>
                    <a:pt x="780653" y="953445"/>
                    <a:pt x="862013" y="1050497"/>
                    <a:pt x="862013" y="1050497"/>
                  </a:cubicBezTo>
                  <a:cubicBezTo>
                    <a:pt x="862013" y="1050497"/>
                    <a:pt x="862013" y="1050497"/>
                    <a:pt x="780653" y="1001971"/>
                  </a:cubicBezTo>
                  <a:cubicBezTo>
                    <a:pt x="780653" y="1001971"/>
                    <a:pt x="845741" y="1066672"/>
                    <a:pt x="845741" y="1082848"/>
                  </a:cubicBezTo>
                  <a:cubicBezTo>
                    <a:pt x="845741" y="1082848"/>
                    <a:pt x="845741" y="1082848"/>
                    <a:pt x="764382" y="1034322"/>
                  </a:cubicBezTo>
                  <a:cubicBezTo>
                    <a:pt x="764382" y="1034322"/>
                    <a:pt x="829469" y="1099023"/>
                    <a:pt x="829469" y="1099023"/>
                  </a:cubicBezTo>
                  <a:cubicBezTo>
                    <a:pt x="829469" y="1099023"/>
                    <a:pt x="829469" y="1099023"/>
                    <a:pt x="774965" y="1077350"/>
                  </a:cubicBezTo>
                  <a:lnTo>
                    <a:pt x="754306" y="1069136"/>
                  </a:lnTo>
                  <a:lnTo>
                    <a:pt x="755593" y="1072060"/>
                  </a:lnTo>
                  <a:lnTo>
                    <a:pt x="756531" y="1075043"/>
                  </a:lnTo>
                  <a:lnTo>
                    <a:pt x="758280" y="1076782"/>
                  </a:lnTo>
                  <a:cubicBezTo>
                    <a:pt x="776586" y="1094979"/>
                    <a:pt x="813197" y="1131374"/>
                    <a:pt x="813197" y="1131374"/>
                  </a:cubicBezTo>
                  <a:cubicBezTo>
                    <a:pt x="813197" y="1131374"/>
                    <a:pt x="813197" y="1131374"/>
                    <a:pt x="785738" y="1124550"/>
                  </a:cubicBezTo>
                  <a:lnTo>
                    <a:pt x="770932" y="1120870"/>
                  </a:lnTo>
                  <a:lnTo>
                    <a:pt x="776514" y="1138635"/>
                  </a:lnTo>
                  <a:lnTo>
                    <a:pt x="777624" y="1144538"/>
                  </a:lnTo>
                  <a:lnTo>
                    <a:pt x="789298" y="1156142"/>
                  </a:lnTo>
                  <a:cubicBezTo>
                    <a:pt x="793874" y="1160691"/>
                    <a:pt x="796925" y="1163724"/>
                    <a:pt x="796925" y="1163724"/>
                  </a:cubicBezTo>
                  <a:cubicBezTo>
                    <a:pt x="796925" y="1163724"/>
                    <a:pt x="796925" y="1163724"/>
                    <a:pt x="790823" y="1161702"/>
                  </a:cubicBezTo>
                  <a:lnTo>
                    <a:pt x="780498" y="1158281"/>
                  </a:lnTo>
                  <a:lnTo>
                    <a:pt x="790802" y="1206143"/>
                  </a:lnTo>
                  <a:cubicBezTo>
                    <a:pt x="793863" y="1227396"/>
                    <a:pt x="795394" y="1247131"/>
                    <a:pt x="796159" y="1264588"/>
                  </a:cubicBezTo>
                  <a:lnTo>
                    <a:pt x="796895" y="1307616"/>
                  </a:lnTo>
                  <a:lnTo>
                    <a:pt x="796925" y="1308101"/>
                  </a:lnTo>
                  <a:lnTo>
                    <a:pt x="796901" y="1307984"/>
                  </a:lnTo>
                  <a:lnTo>
                    <a:pt x="796925" y="1309371"/>
                  </a:lnTo>
                  <a:cubicBezTo>
                    <a:pt x="796925" y="1309371"/>
                    <a:pt x="796925" y="1309371"/>
                    <a:pt x="780596" y="1325563"/>
                  </a:cubicBezTo>
                  <a:cubicBezTo>
                    <a:pt x="780596" y="1325563"/>
                    <a:pt x="780596" y="1325563"/>
                    <a:pt x="780596" y="1276986"/>
                  </a:cubicBezTo>
                  <a:cubicBezTo>
                    <a:pt x="780596" y="1276986"/>
                    <a:pt x="780596" y="1276986"/>
                    <a:pt x="764268" y="1309371"/>
                  </a:cubicBezTo>
                  <a:cubicBezTo>
                    <a:pt x="764268" y="1309371"/>
                    <a:pt x="780596" y="1260793"/>
                    <a:pt x="780596" y="1260793"/>
                  </a:cubicBezTo>
                  <a:cubicBezTo>
                    <a:pt x="780596" y="1260793"/>
                    <a:pt x="780596" y="1260793"/>
                    <a:pt x="747939" y="1276986"/>
                  </a:cubicBezTo>
                  <a:cubicBezTo>
                    <a:pt x="747939" y="1276986"/>
                    <a:pt x="764268" y="1244601"/>
                    <a:pt x="764268" y="1244601"/>
                  </a:cubicBezTo>
                  <a:cubicBezTo>
                    <a:pt x="764268" y="1244601"/>
                    <a:pt x="764268" y="1244601"/>
                    <a:pt x="747939" y="1260793"/>
                  </a:cubicBezTo>
                  <a:cubicBezTo>
                    <a:pt x="747939" y="1260793"/>
                    <a:pt x="752021" y="1248649"/>
                    <a:pt x="756104" y="1236504"/>
                  </a:cubicBezTo>
                  <a:lnTo>
                    <a:pt x="760212" y="1224281"/>
                  </a:lnTo>
                  <a:lnTo>
                    <a:pt x="753464" y="1217573"/>
                  </a:lnTo>
                  <a:lnTo>
                    <a:pt x="750490" y="1219047"/>
                  </a:lnTo>
                  <a:lnTo>
                    <a:pt x="741102" y="1223702"/>
                  </a:lnTo>
                  <a:lnTo>
                    <a:pt x="748110" y="1244601"/>
                  </a:lnTo>
                  <a:cubicBezTo>
                    <a:pt x="748110" y="1244601"/>
                    <a:pt x="748110" y="1244601"/>
                    <a:pt x="741245" y="1230953"/>
                  </a:cubicBezTo>
                  <a:lnTo>
                    <a:pt x="738297" y="1225093"/>
                  </a:lnTo>
                  <a:lnTo>
                    <a:pt x="731610" y="1228408"/>
                  </a:lnTo>
                  <a:lnTo>
                    <a:pt x="736389" y="1221299"/>
                  </a:lnTo>
                  <a:lnTo>
                    <a:pt x="731838" y="1212250"/>
                  </a:lnTo>
                  <a:lnTo>
                    <a:pt x="732015" y="1201153"/>
                  </a:lnTo>
                  <a:lnTo>
                    <a:pt x="715282" y="1212216"/>
                  </a:lnTo>
                  <a:cubicBezTo>
                    <a:pt x="715282" y="1212216"/>
                    <a:pt x="718343" y="1208167"/>
                    <a:pt x="722936" y="1202095"/>
                  </a:cubicBezTo>
                  <a:lnTo>
                    <a:pt x="731931" y="1190201"/>
                  </a:lnTo>
                  <a:lnTo>
                    <a:pt x="731604" y="1163641"/>
                  </a:lnTo>
                  <a:lnTo>
                    <a:pt x="698953" y="1179831"/>
                  </a:lnTo>
                  <a:cubicBezTo>
                    <a:pt x="698953" y="1179831"/>
                    <a:pt x="711200" y="1167686"/>
                    <a:pt x="723446" y="1155542"/>
                  </a:cubicBezTo>
                  <a:lnTo>
                    <a:pt x="731407" y="1147648"/>
                  </a:lnTo>
                  <a:lnTo>
                    <a:pt x="731307" y="1139500"/>
                  </a:lnTo>
                  <a:lnTo>
                    <a:pt x="720385" y="1144916"/>
                  </a:lnTo>
                  <a:cubicBezTo>
                    <a:pt x="711200" y="1149470"/>
                    <a:pt x="698953" y="1155542"/>
                    <a:pt x="682625" y="1163638"/>
                  </a:cubicBezTo>
                  <a:cubicBezTo>
                    <a:pt x="682625" y="1163638"/>
                    <a:pt x="691810" y="1152253"/>
                    <a:pt x="703291" y="1138021"/>
                  </a:cubicBezTo>
                  <a:lnTo>
                    <a:pt x="731906" y="1102550"/>
                  </a:lnTo>
                  <a:lnTo>
                    <a:pt x="733456" y="1093447"/>
                  </a:lnTo>
                  <a:lnTo>
                    <a:pt x="720385" y="1103169"/>
                  </a:lnTo>
                  <a:cubicBezTo>
                    <a:pt x="711200" y="1110000"/>
                    <a:pt x="698953" y="1119109"/>
                    <a:pt x="682625" y="1131253"/>
                  </a:cubicBezTo>
                  <a:cubicBezTo>
                    <a:pt x="682625" y="1131253"/>
                    <a:pt x="731610" y="1066483"/>
                    <a:pt x="731610" y="1066483"/>
                  </a:cubicBezTo>
                  <a:cubicBezTo>
                    <a:pt x="731610" y="1066483"/>
                    <a:pt x="731610" y="1066483"/>
                    <a:pt x="666296" y="1115061"/>
                  </a:cubicBezTo>
                  <a:cubicBezTo>
                    <a:pt x="666296" y="1098868"/>
                    <a:pt x="715282" y="1034098"/>
                    <a:pt x="715282" y="1034098"/>
                  </a:cubicBezTo>
                  <a:cubicBezTo>
                    <a:pt x="715282" y="1034098"/>
                    <a:pt x="715282" y="1034098"/>
                    <a:pt x="666296" y="1082676"/>
                  </a:cubicBezTo>
                  <a:cubicBezTo>
                    <a:pt x="654050" y="1070531"/>
                    <a:pt x="687727" y="1031062"/>
                    <a:pt x="705332" y="1012086"/>
                  </a:cubicBezTo>
                  <a:lnTo>
                    <a:pt x="715120" y="1001882"/>
                  </a:lnTo>
                  <a:lnTo>
                    <a:pt x="740531" y="1051901"/>
                  </a:lnTo>
                  <a:lnTo>
                    <a:pt x="741225" y="1047827"/>
                  </a:lnTo>
                  <a:lnTo>
                    <a:pt x="731610" y="1017588"/>
                  </a:lnTo>
                  <a:lnTo>
                    <a:pt x="742257" y="1041769"/>
                  </a:lnTo>
                  <a:lnTo>
                    <a:pt x="746390" y="1017497"/>
                  </a:lnTo>
                  <a:cubicBezTo>
                    <a:pt x="753490" y="989240"/>
                    <a:pt x="762111" y="963001"/>
                    <a:pt x="770985" y="938780"/>
                  </a:cubicBezTo>
                  <a:lnTo>
                    <a:pt x="780328" y="914952"/>
                  </a:lnTo>
                  <a:lnTo>
                    <a:pt x="780328" y="898559"/>
                  </a:lnTo>
                  <a:cubicBezTo>
                    <a:pt x="780328" y="892507"/>
                    <a:pt x="780328" y="888472"/>
                    <a:pt x="780328" y="888472"/>
                  </a:cubicBezTo>
                  <a:cubicBezTo>
                    <a:pt x="780328" y="888472"/>
                    <a:pt x="780328" y="888472"/>
                    <a:pt x="747712" y="936890"/>
                  </a:cubicBezTo>
                  <a:cubicBezTo>
                    <a:pt x="747712" y="936890"/>
                    <a:pt x="747712" y="872332"/>
                    <a:pt x="747712" y="872332"/>
                  </a:cubicBezTo>
                  <a:cubicBezTo>
                    <a:pt x="747712" y="872332"/>
                    <a:pt x="747712" y="872332"/>
                    <a:pt x="731404" y="920751"/>
                  </a:cubicBezTo>
                  <a:cubicBezTo>
                    <a:pt x="731404" y="920751"/>
                    <a:pt x="731404" y="920751"/>
                    <a:pt x="731404" y="872332"/>
                  </a:cubicBezTo>
                  <a:cubicBezTo>
                    <a:pt x="731404" y="872332"/>
                    <a:pt x="731404" y="872332"/>
                    <a:pt x="698789" y="904611"/>
                  </a:cubicBezTo>
                  <a:cubicBezTo>
                    <a:pt x="698789" y="904611"/>
                    <a:pt x="698789" y="904611"/>
                    <a:pt x="698789" y="872332"/>
                  </a:cubicBezTo>
                  <a:cubicBezTo>
                    <a:pt x="698789" y="872332"/>
                    <a:pt x="698789" y="872332"/>
                    <a:pt x="682481" y="904611"/>
                  </a:cubicBezTo>
                  <a:cubicBezTo>
                    <a:pt x="682481" y="904611"/>
                    <a:pt x="682481" y="904611"/>
                    <a:pt x="675601" y="884184"/>
                  </a:cubicBezTo>
                  <a:lnTo>
                    <a:pt x="666750" y="857907"/>
                  </a:lnTo>
                  <a:lnTo>
                    <a:pt x="666750" y="867370"/>
                  </a:lnTo>
                  <a:cubicBezTo>
                    <a:pt x="666750" y="870462"/>
                    <a:pt x="666750" y="872228"/>
                    <a:pt x="666750" y="872228"/>
                  </a:cubicBezTo>
                  <a:lnTo>
                    <a:pt x="666173" y="871083"/>
                  </a:lnTo>
                  <a:lnTo>
                    <a:pt x="666173" y="888472"/>
                  </a:lnTo>
                  <a:cubicBezTo>
                    <a:pt x="666173" y="888472"/>
                    <a:pt x="666173" y="888472"/>
                    <a:pt x="633557" y="840053"/>
                  </a:cubicBezTo>
                  <a:lnTo>
                    <a:pt x="651258" y="841512"/>
                  </a:lnTo>
                  <a:lnTo>
                    <a:pt x="650367" y="839747"/>
                  </a:lnTo>
                  <a:lnTo>
                    <a:pt x="650009" y="839697"/>
                  </a:lnTo>
                  <a:lnTo>
                    <a:pt x="650009" y="840469"/>
                  </a:lnTo>
                  <a:lnTo>
                    <a:pt x="649104" y="839573"/>
                  </a:lnTo>
                  <a:close/>
                  <a:moveTo>
                    <a:pt x="626762" y="837009"/>
                  </a:moveTo>
                  <a:lnTo>
                    <a:pt x="627042" y="838956"/>
                  </a:lnTo>
                  <a:lnTo>
                    <a:pt x="632575" y="839887"/>
                  </a:lnTo>
                  <a:lnTo>
                    <a:pt x="629684" y="838456"/>
                  </a:lnTo>
                  <a:close/>
                  <a:moveTo>
                    <a:pt x="893907" y="824367"/>
                  </a:moveTo>
                  <a:cubicBezTo>
                    <a:pt x="893907" y="824367"/>
                    <a:pt x="893907" y="824367"/>
                    <a:pt x="893907" y="832418"/>
                  </a:cubicBezTo>
                  <a:lnTo>
                    <a:pt x="893907" y="850140"/>
                  </a:lnTo>
                  <a:lnTo>
                    <a:pt x="903201" y="862459"/>
                  </a:lnTo>
                  <a:lnTo>
                    <a:pt x="903685" y="863100"/>
                  </a:lnTo>
                  <a:lnTo>
                    <a:pt x="902036" y="856571"/>
                  </a:lnTo>
                  <a:cubicBezTo>
                    <a:pt x="897972" y="840469"/>
                    <a:pt x="893907" y="824367"/>
                    <a:pt x="893907" y="824367"/>
                  </a:cubicBezTo>
                  <a:close/>
                  <a:moveTo>
                    <a:pt x="601229" y="824367"/>
                  </a:moveTo>
                  <a:lnTo>
                    <a:pt x="602525" y="825650"/>
                  </a:lnTo>
                  <a:lnTo>
                    <a:pt x="602093" y="824795"/>
                  </a:lnTo>
                  <a:close/>
                  <a:moveTo>
                    <a:pt x="623473" y="814191"/>
                  </a:moveTo>
                  <a:lnTo>
                    <a:pt x="624668" y="822484"/>
                  </a:lnTo>
                  <a:lnTo>
                    <a:pt x="629703" y="832455"/>
                  </a:lnTo>
                  <a:lnTo>
                    <a:pt x="644633" y="835145"/>
                  </a:lnTo>
                  <a:lnTo>
                    <a:pt x="636290" y="826883"/>
                  </a:lnTo>
                  <a:close/>
                  <a:moveTo>
                    <a:pt x="497189" y="810839"/>
                  </a:moveTo>
                  <a:lnTo>
                    <a:pt x="483476" y="815376"/>
                  </a:lnTo>
                  <a:lnTo>
                    <a:pt x="455276" y="824707"/>
                  </a:lnTo>
                  <a:lnTo>
                    <a:pt x="449345" y="830594"/>
                  </a:lnTo>
                  <a:lnTo>
                    <a:pt x="471436" y="823913"/>
                  </a:lnTo>
                  <a:lnTo>
                    <a:pt x="488595" y="823913"/>
                  </a:lnTo>
                  <a:lnTo>
                    <a:pt x="489828" y="822690"/>
                  </a:lnTo>
                  <a:lnTo>
                    <a:pt x="500620" y="811978"/>
                  </a:lnTo>
                  <a:close/>
                  <a:moveTo>
                    <a:pt x="471535" y="808567"/>
                  </a:moveTo>
                  <a:cubicBezTo>
                    <a:pt x="471535" y="808567"/>
                    <a:pt x="471535" y="808567"/>
                    <a:pt x="469820" y="810270"/>
                  </a:cubicBezTo>
                  <a:lnTo>
                    <a:pt x="467060" y="813009"/>
                  </a:lnTo>
                  <a:lnTo>
                    <a:pt x="457308" y="822690"/>
                  </a:lnTo>
                  <a:lnTo>
                    <a:pt x="457046" y="822950"/>
                  </a:lnTo>
                  <a:lnTo>
                    <a:pt x="457816" y="822185"/>
                  </a:lnTo>
                  <a:lnTo>
                    <a:pt x="467060" y="813009"/>
                  </a:lnTo>
                  <a:close/>
                  <a:moveTo>
                    <a:pt x="780088" y="808265"/>
                  </a:moveTo>
                  <a:cubicBezTo>
                    <a:pt x="780088" y="808265"/>
                    <a:pt x="780088" y="808265"/>
                    <a:pt x="773228" y="835437"/>
                  </a:cubicBezTo>
                  <a:lnTo>
                    <a:pt x="765184" y="867298"/>
                  </a:lnTo>
                  <a:lnTo>
                    <a:pt x="795090" y="877303"/>
                  </a:lnTo>
                  <a:lnTo>
                    <a:pt x="797102" y="872173"/>
                  </a:lnTo>
                  <a:lnTo>
                    <a:pt x="815847" y="838977"/>
                  </a:lnTo>
                  <a:lnTo>
                    <a:pt x="817265" y="835668"/>
                  </a:lnTo>
                  <a:lnTo>
                    <a:pt x="817913" y="834533"/>
                  </a:lnTo>
                  <a:lnTo>
                    <a:pt x="817752" y="833739"/>
                  </a:lnTo>
                  <a:cubicBezTo>
                    <a:pt x="814894" y="819587"/>
                    <a:pt x="812607" y="808265"/>
                    <a:pt x="812607" y="808265"/>
                  </a:cubicBezTo>
                  <a:cubicBezTo>
                    <a:pt x="812607" y="808265"/>
                    <a:pt x="812607" y="808265"/>
                    <a:pt x="796347" y="872672"/>
                  </a:cubicBezTo>
                  <a:cubicBezTo>
                    <a:pt x="796347" y="872672"/>
                    <a:pt x="780088" y="808265"/>
                    <a:pt x="780088" y="808265"/>
                  </a:cubicBezTo>
                  <a:close/>
                  <a:moveTo>
                    <a:pt x="715048" y="808265"/>
                  </a:moveTo>
                  <a:cubicBezTo>
                    <a:pt x="715048" y="808265"/>
                    <a:pt x="715048" y="808265"/>
                    <a:pt x="715048" y="828644"/>
                  </a:cubicBezTo>
                  <a:lnTo>
                    <a:pt x="715048" y="850709"/>
                  </a:lnTo>
                  <a:lnTo>
                    <a:pt x="717081" y="851205"/>
                  </a:lnTo>
                  <a:lnTo>
                    <a:pt x="762903" y="866535"/>
                  </a:lnTo>
                  <a:lnTo>
                    <a:pt x="761287" y="855816"/>
                  </a:lnTo>
                  <a:cubicBezTo>
                    <a:pt x="756714" y="835437"/>
                    <a:pt x="747568" y="808265"/>
                    <a:pt x="747568" y="808265"/>
                  </a:cubicBezTo>
                  <a:cubicBezTo>
                    <a:pt x="747568" y="808265"/>
                    <a:pt x="747568" y="808265"/>
                    <a:pt x="747568" y="856571"/>
                  </a:cubicBezTo>
                  <a:cubicBezTo>
                    <a:pt x="747568" y="856571"/>
                    <a:pt x="715048" y="808265"/>
                    <a:pt x="715048" y="808265"/>
                  </a:cubicBezTo>
                  <a:close/>
                  <a:moveTo>
                    <a:pt x="682529" y="808265"/>
                  </a:moveTo>
                  <a:cubicBezTo>
                    <a:pt x="682529" y="808265"/>
                    <a:pt x="682529" y="808265"/>
                    <a:pt x="682529" y="840469"/>
                  </a:cubicBezTo>
                  <a:cubicBezTo>
                    <a:pt x="682529" y="840469"/>
                    <a:pt x="682529" y="840469"/>
                    <a:pt x="668809" y="826883"/>
                  </a:cubicBezTo>
                  <a:lnTo>
                    <a:pt x="666750" y="824844"/>
                  </a:lnTo>
                  <a:lnTo>
                    <a:pt x="666750" y="839130"/>
                  </a:lnTo>
                  <a:lnTo>
                    <a:pt x="669953" y="839707"/>
                  </a:lnTo>
                  <a:lnTo>
                    <a:pt x="695856" y="846027"/>
                  </a:lnTo>
                  <a:lnTo>
                    <a:pt x="666750" y="842009"/>
                  </a:lnTo>
                  <a:lnTo>
                    <a:pt x="666750" y="842790"/>
                  </a:lnTo>
                  <a:lnTo>
                    <a:pt x="676365" y="843583"/>
                  </a:lnTo>
                  <a:lnTo>
                    <a:pt x="713544" y="852101"/>
                  </a:lnTo>
                  <a:lnTo>
                    <a:pt x="713334" y="851478"/>
                  </a:lnTo>
                  <a:lnTo>
                    <a:pt x="697987" y="846546"/>
                  </a:lnTo>
                  <a:lnTo>
                    <a:pt x="712899" y="850184"/>
                  </a:lnTo>
                  <a:lnTo>
                    <a:pt x="708189" y="836192"/>
                  </a:lnTo>
                  <a:lnTo>
                    <a:pt x="699336" y="809891"/>
                  </a:lnTo>
                  <a:lnTo>
                    <a:pt x="699336" y="824785"/>
                  </a:lnTo>
                  <a:cubicBezTo>
                    <a:pt x="699336" y="833869"/>
                    <a:pt x="699336" y="839926"/>
                    <a:pt x="699336" y="839926"/>
                  </a:cubicBezTo>
                  <a:cubicBezTo>
                    <a:pt x="699336" y="839926"/>
                    <a:pt x="699336" y="839926"/>
                    <a:pt x="698827" y="838664"/>
                  </a:cubicBezTo>
                  <a:lnTo>
                    <a:pt x="698788" y="838569"/>
                  </a:lnTo>
                  <a:lnTo>
                    <a:pt x="698788" y="840469"/>
                  </a:lnTo>
                  <a:cubicBezTo>
                    <a:pt x="698788" y="840469"/>
                    <a:pt x="698788" y="840469"/>
                    <a:pt x="682529" y="808265"/>
                  </a:cubicBezTo>
                  <a:close/>
                  <a:moveTo>
                    <a:pt x="862013" y="807867"/>
                  </a:moveTo>
                  <a:lnTo>
                    <a:pt x="865096" y="811953"/>
                  </a:lnTo>
                  <a:lnTo>
                    <a:pt x="873272" y="813463"/>
                  </a:lnTo>
                  <a:close/>
                  <a:moveTo>
                    <a:pt x="720788" y="796184"/>
                  </a:moveTo>
                  <a:lnTo>
                    <a:pt x="713843" y="796529"/>
                  </a:lnTo>
                  <a:lnTo>
                    <a:pt x="721070" y="796884"/>
                  </a:lnTo>
                  <a:close/>
                  <a:moveTo>
                    <a:pt x="439016" y="792428"/>
                  </a:moveTo>
                  <a:cubicBezTo>
                    <a:pt x="439016" y="792428"/>
                    <a:pt x="439016" y="792428"/>
                    <a:pt x="432156" y="812855"/>
                  </a:cubicBezTo>
                  <a:lnTo>
                    <a:pt x="424208" y="836522"/>
                  </a:lnTo>
                  <a:lnTo>
                    <a:pt x="439016" y="833256"/>
                  </a:lnTo>
                  <a:lnTo>
                    <a:pt x="439016" y="820420"/>
                  </a:lnTo>
                  <a:cubicBezTo>
                    <a:pt x="439016" y="813611"/>
                    <a:pt x="439016" y="804533"/>
                    <a:pt x="439016" y="792428"/>
                  </a:cubicBezTo>
                  <a:close/>
                  <a:moveTo>
                    <a:pt x="620207" y="791528"/>
                  </a:moveTo>
                  <a:lnTo>
                    <a:pt x="620418" y="792987"/>
                  </a:lnTo>
                  <a:lnTo>
                    <a:pt x="621743" y="802181"/>
                  </a:lnTo>
                  <a:lnTo>
                    <a:pt x="630722" y="800799"/>
                  </a:lnTo>
                  <a:lnTo>
                    <a:pt x="626046" y="791528"/>
                  </a:lnTo>
                  <a:close/>
                  <a:moveTo>
                    <a:pt x="478327" y="791528"/>
                  </a:moveTo>
                  <a:lnTo>
                    <a:pt x="485378" y="793122"/>
                  </a:lnTo>
                  <a:lnTo>
                    <a:pt x="497782" y="797775"/>
                  </a:lnTo>
                  <a:lnTo>
                    <a:pt x="502199" y="793377"/>
                  </a:lnTo>
                  <a:lnTo>
                    <a:pt x="500846" y="791528"/>
                  </a:lnTo>
                  <a:lnTo>
                    <a:pt x="497958" y="791528"/>
                  </a:lnTo>
                  <a:cubicBezTo>
                    <a:pt x="494909" y="791528"/>
                    <a:pt x="490336" y="791528"/>
                    <a:pt x="483476" y="791528"/>
                  </a:cubicBezTo>
                  <a:close/>
                  <a:moveTo>
                    <a:pt x="585286" y="791473"/>
                  </a:moveTo>
                  <a:lnTo>
                    <a:pt x="585448" y="792755"/>
                  </a:lnTo>
                  <a:lnTo>
                    <a:pt x="585757" y="792406"/>
                  </a:lnTo>
                  <a:close/>
                  <a:moveTo>
                    <a:pt x="617911" y="775591"/>
                  </a:moveTo>
                  <a:lnTo>
                    <a:pt x="617997" y="776188"/>
                  </a:lnTo>
                  <a:lnTo>
                    <a:pt x="618623" y="776811"/>
                  </a:lnTo>
                  <a:lnTo>
                    <a:pt x="618027" y="775630"/>
                  </a:lnTo>
                  <a:close/>
                  <a:moveTo>
                    <a:pt x="487270" y="775510"/>
                  </a:moveTo>
                  <a:lnTo>
                    <a:pt x="487033" y="775589"/>
                  </a:lnTo>
                  <a:cubicBezTo>
                    <a:pt x="485318" y="776158"/>
                    <a:pt x="479745" y="778008"/>
                    <a:pt x="461631" y="784021"/>
                  </a:cubicBezTo>
                  <a:lnTo>
                    <a:pt x="454940" y="786242"/>
                  </a:lnTo>
                  <a:lnTo>
                    <a:pt x="462473" y="787944"/>
                  </a:lnTo>
                  <a:lnTo>
                    <a:pt x="468995" y="784697"/>
                  </a:lnTo>
                  <a:lnTo>
                    <a:pt x="487328" y="775568"/>
                  </a:lnTo>
                  <a:close/>
                  <a:moveTo>
                    <a:pt x="292292" y="774965"/>
                  </a:moveTo>
                  <a:lnTo>
                    <a:pt x="298210" y="775516"/>
                  </a:lnTo>
                  <a:lnTo>
                    <a:pt x="283792" y="776283"/>
                  </a:lnTo>
                  <a:close/>
                  <a:moveTo>
                    <a:pt x="666750" y="770202"/>
                  </a:moveTo>
                  <a:lnTo>
                    <a:pt x="666750" y="776836"/>
                  </a:lnTo>
                  <a:lnTo>
                    <a:pt x="666750" y="795256"/>
                  </a:lnTo>
                  <a:lnTo>
                    <a:pt x="680460" y="793147"/>
                  </a:lnTo>
                  <a:lnTo>
                    <a:pt x="671889" y="771906"/>
                  </a:lnTo>
                  <a:close/>
                  <a:moveTo>
                    <a:pt x="1126042" y="769037"/>
                  </a:moveTo>
                  <a:lnTo>
                    <a:pt x="1142042" y="790043"/>
                  </a:lnTo>
                  <a:lnTo>
                    <a:pt x="1130433" y="773251"/>
                  </a:lnTo>
                  <a:close/>
                  <a:moveTo>
                    <a:pt x="498642" y="762996"/>
                  </a:moveTo>
                  <a:lnTo>
                    <a:pt x="511588" y="775406"/>
                  </a:lnTo>
                  <a:lnTo>
                    <a:pt x="517319" y="775406"/>
                  </a:lnTo>
                  <a:lnTo>
                    <a:pt x="531740" y="775406"/>
                  </a:lnTo>
                  <a:lnTo>
                    <a:pt x="531601" y="773899"/>
                  </a:lnTo>
                  <a:lnTo>
                    <a:pt x="527459" y="772528"/>
                  </a:lnTo>
                  <a:cubicBezTo>
                    <a:pt x="524559" y="771569"/>
                    <a:pt x="520692" y="770290"/>
                    <a:pt x="515537" y="768585"/>
                  </a:cubicBezTo>
                  <a:close/>
                  <a:moveTo>
                    <a:pt x="537615" y="745262"/>
                  </a:moveTo>
                  <a:lnTo>
                    <a:pt x="542307" y="759237"/>
                  </a:lnTo>
                  <a:lnTo>
                    <a:pt x="545345" y="775494"/>
                  </a:lnTo>
                  <a:lnTo>
                    <a:pt x="549165" y="775494"/>
                  </a:lnTo>
                  <a:lnTo>
                    <a:pt x="550332" y="770286"/>
                  </a:lnTo>
                  <a:lnTo>
                    <a:pt x="546059" y="761877"/>
                  </a:lnTo>
                  <a:close/>
                  <a:moveTo>
                    <a:pt x="699336" y="743020"/>
                  </a:moveTo>
                  <a:cubicBezTo>
                    <a:pt x="699336" y="743020"/>
                    <a:pt x="699336" y="749076"/>
                    <a:pt x="699336" y="758161"/>
                  </a:cubicBezTo>
                  <a:lnTo>
                    <a:pt x="699336" y="790711"/>
                  </a:lnTo>
                  <a:lnTo>
                    <a:pt x="718718" y="791053"/>
                  </a:lnTo>
                  <a:lnTo>
                    <a:pt x="718174" y="789706"/>
                  </a:lnTo>
                  <a:cubicBezTo>
                    <a:pt x="713592" y="778350"/>
                    <a:pt x="707482" y="763209"/>
                    <a:pt x="699336" y="743020"/>
                  </a:cubicBezTo>
                  <a:close/>
                  <a:moveTo>
                    <a:pt x="601265" y="742806"/>
                  </a:moveTo>
                  <a:lnTo>
                    <a:pt x="601426" y="743125"/>
                  </a:lnTo>
                  <a:lnTo>
                    <a:pt x="601486" y="743095"/>
                  </a:lnTo>
                  <a:lnTo>
                    <a:pt x="601436" y="743145"/>
                  </a:lnTo>
                  <a:lnTo>
                    <a:pt x="603299" y="746847"/>
                  </a:lnTo>
                  <a:cubicBezTo>
                    <a:pt x="604316" y="748868"/>
                    <a:pt x="605842" y="751898"/>
                    <a:pt x="608130" y="756444"/>
                  </a:cubicBezTo>
                  <a:lnTo>
                    <a:pt x="609554" y="759273"/>
                  </a:lnTo>
                  <a:lnTo>
                    <a:pt x="621191" y="752703"/>
                  </a:lnTo>
                  <a:lnTo>
                    <a:pt x="620080" y="752151"/>
                  </a:lnTo>
                  <a:cubicBezTo>
                    <a:pt x="615503" y="749878"/>
                    <a:pt x="609401" y="746847"/>
                    <a:pt x="601265" y="742806"/>
                  </a:cubicBezTo>
                  <a:close/>
                  <a:moveTo>
                    <a:pt x="617537" y="726643"/>
                  </a:moveTo>
                  <a:cubicBezTo>
                    <a:pt x="617537" y="726643"/>
                    <a:pt x="617537" y="726643"/>
                    <a:pt x="624402" y="740281"/>
                  </a:cubicBezTo>
                  <a:lnTo>
                    <a:pt x="627276" y="745991"/>
                  </a:lnTo>
                  <a:lnTo>
                    <a:pt x="631378" y="741433"/>
                  </a:lnTo>
                  <a:lnTo>
                    <a:pt x="637870" y="736741"/>
                  </a:lnTo>
                  <a:lnTo>
                    <a:pt x="636351" y="735987"/>
                  </a:lnTo>
                  <a:cubicBezTo>
                    <a:pt x="631775" y="733714"/>
                    <a:pt x="625673" y="730684"/>
                    <a:pt x="617537" y="726643"/>
                  </a:cubicBezTo>
                  <a:close/>
                  <a:moveTo>
                    <a:pt x="599836" y="716703"/>
                  </a:moveTo>
                  <a:lnTo>
                    <a:pt x="597175" y="717587"/>
                  </a:lnTo>
                  <a:lnTo>
                    <a:pt x="577946" y="723971"/>
                  </a:lnTo>
                  <a:lnTo>
                    <a:pt x="577230" y="726931"/>
                  </a:lnTo>
                  <a:lnTo>
                    <a:pt x="582722" y="726931"/>
                  </a:lnTo>
                  <a:lnTo>
                    <a:pt x="590947" y="726931"/>
                  </a:lnTo>
                  <a:close/>
                  <a:moveTo>
                    <a:pt x="527424" y="713315"/>
                  </a:moveTo>
                  <a:lnTo>
                    <a:pt x="530048" y="719825"/>
                  </a:lnTo>
                  <a:lnTo>
                    <a:pt x="530882" y="725205"/>
                  </a:lnTo>
                  <a:lnTo>
                    <a:pt x="537102" y="743734"/>
                  </a:lnTo>
                  <a:lnTo>
                    <a:pt x="538626" y="745233"/>
                  </a:lnTo>
                  <a:lnTo>
                    <a:pt x="552792" y="759170"/>
                  </a:lnTo>
                  <a:lnTo>
                    <a:pt x="552796" y="758994"/>
                  </a:lnTo>
                  <a:lnTo>
                    <a:pt x="550929" y="755320"/>
                  </a:lnTo>
                  <a:cubicBezTo>
                    <a:pt x="548878" y="751285"/>
                    <a:pt x="544777" y="743215"/>
                    <a:pt x="536575" y="727076"/>
                  </a:cubicBezTo>
                  <a:cubicBezTo>
                    <a:pt x="536575" y="727076"/>
                    <a:pt x="536575" y="727076"/>
                    <a:pt x="550416" y="727076"/>
                  </a:cubicBezTo>
                  <a:lnTo>
                    <a:pt x="555495" y="727076"/>
                  </a:lnTo>
                  <a:lnTo>
                    <a:pt x="555866" y="722643"/>
                  </a:lnTo>
                  <a:lnTo>
                    <a:pt x="548622" y="720267"/>
                  </a:lnTo>
                  <a:close/>
                  <a:moveTo>
                    <a:pt x="943372" y="710815"/>
                  </a:moveTo>
                  <a:cubicBezTo>
                    <a:pt x="943372" y="710815"/>
                    <a:pt x="943372" y="710815"/>
                    <a:pt x="943372" y="759341"/>
                  </a:cubicBezTo>
                  <a:cubicBezTo>
                    <a:pt x="943372" y="759341"/>
                    <a:pt x="943372" y="759341"/>
                    <a:pt x="910828" y="726990"/>
                  </a:cubicBezTo>
                  <a:cubicBezTo>
                    <a:pt x="910828" y="726990"/>
                    <a:pt x="910828" y="726990"/>
                    <a:pt x="943372" y="791691"/>
                  </a:cubicBezTo>
                  <a:cubicBezTo>
                    <a:pt x="943372" y="791691"/>
                    <a:pt x="943372" y="791691"/>
                    <a:pt x="894557" y="759341"/>
                  </a:cubicBezTo>
                  <a:cubicBezTo>
                    <a:pt x="894557" y="759341"/>
                    <a:pt x="894557" y="759341"/>
                    <a:pt x="927100" y="807867"/>
                  </a:cubicBezTo>
                  <a:cubicBezTo>
                    <a:pt x="927100" y="807867"/>
                    <a:pt x="927100" y="807867"/>
                    <a:pt x="878285" y="775516"/>
                  </a:cubicBezTo>
                  <a:cubicBezTo>
                    <a:pt x="878285" y="775516"/>
                    <a:pt x="878285" y="775516"/>
                    <a:pt x="898879" y="802812"/>
                  </a:cubicBezTo>
                  <a:lnTo>
                    <a:pt x="903163" y="808491"/>
                  </a:lnTo>
                  <a:lnTo>
                    <a:pt x="928737" y="814620"/>
                  </a:lnTo>
                  <a:lnTo>
                    <a:pt x="945944" y="821591"/>
                  </a:lnTo>
                  <a:lnTo>
                    <a:pt x="951339" y="766065"/>
                  </a:lnTo>
                  <a:lnTo>
                    <a:pt x="954548" y="733034"/>
                  </a:lnTo>
                  <a:lnTo>
                    <a:pt x="952779" y="729517"/>
                  </a:lnTo>
                  <a:cubicBezTo>
                    <a:pt x="950491" y="724968"/>
                    <a:pt x="947440" y="718902"/>
                    <a:pt x="943372" y="710815"/>
                  </a:cubicBezTo>
                  <a:close/>
                  <a:moveTo>
                    <a:pt x="698500" y="710565"/>
                  </a:moveTo>
                  <a:cubicBezTo>
                    <a:pt x="698500" y="710565"/>
                    <a:pt x="698500" y="710565"/>
                    <a:pt x="699008" y="711324"/>
                  </a:cubicBezTo>
                  <a:lnTo>
                    <a:pt x="699141" y="711523"/>
                  </a:lnTo>
                  <a:lnTo>
                    <a:pt x="699607" y="711300"/>
                  </a:lnTo>
                  <a:close/>
                  <a:moveTo>
                    <a:pt x="633809" y="710479"/>
                  </a:moveTo>
                  <a:cubicBezTo>
                    <a:pt x="633809" y="710479"/>
                    <a:pt x="633809" y="710479"/>
                    <a:pt x="640674" y="724117"/>
                  </a:cubicBezTo>
                  <a:lnTo>
                    <a:pt x="644585" y="731888"/>
                  </a:lnTo>
                  <a:lnTo>
                    <a:pt x="657754" y="722372"/>
                  </a:lnTo>
                  <a:lnTo>
                    <a:pt x="652623" y="719824"/>
                  </a:lnTo>
                  <a:lnTo>
                    <a:pt x="634734" y="710938"/>
                  </a:lnTo>
                  <a:lnTo>
                    <a:pt x="634603" y="711200"/>
                  </a:lnTo>
                  <a:lnTo>
                    <a:pt x="634603" y="710874"/>
                  </a:lnTo>
                  <a:close/>
                  <a:moveTo>
                    <a:pt x="531077" y="700161"/>
                  </a:moveTo>
                  <a:lnTo>
                    <a:pt x="524810" y="706829"/>
                  </a:lnTo>
                  <a:lnTo>
                    <a:pt x="526465" y="710936"/>
                  </a:lnTo>
                  <a:lnTo>
                    <a:pt x="534012" y="710936"/>
                  </a:lnTo>
                  <a:cubicBezTo>
                    <a:pt x="538626" y="710936"/>
                    <a:pt x="544777" y="710936"/>
                    <a:pt x="552979" y="710936"/>
                  </a:cubicBezTo>
                  <a:cubicBezTo>
                    <a:pt x="552979" y="710936"/>
                    <a:pt x="552979" y="710936"/>
                    <a:pt x="539138" y="704127"/>
                  </a:cubicBezTo>
                  <a:close/>
                  <a:moveTo>
                    <a:pt x="642025" y="696356"/>
                  </a:moveTo>
                  <a:lnTo>
                    <a:pt x="639981" y="700446"/>
                  </a:lnTo>
                  <a:lnTo>
                    <a:pt x="647539" y="707953"/>
                  </a:lnTo>
                  <a:lnTo>
                    <a:pt x="660243" y="720573"/>
                  </a:lnTo>
                  <a:lnTo>
                    <a:pt x="674092" y="710565"/>
                  </a:lnTo>
                  <a:lnTo>
                    <a:pt x="681800" y="706233"/>
                  </a:lnTo>
                  <a:lnTo>
                    <a:pt x="666353" y="702397"/>
                  </a:lnTo>
                  <a:cubicBezTo>
                    <a:pt x="658217" y="700377"/>
                    <a:pt x="650081" y="698356"/>
                    <a:pt x="643979" y="696841"/>
                  </a:cubicBezTo>
                  <a:close/>
                  <a:moveTo>
                    <a:pt x="585258" y="694604"/>
                  </a:moveTo>
                  <a:cubicBezTo>
                    <a:pt x="585258" y="694604"/>
                    <a:pt x="585258" y="694604"/>
                    <a:pt x="586970" y="695457"/>
                  </a:cubicBezTo>
                  <a:lnTo>
                    <a:pt x="588301" y="696120"/>
                  </a:lnTo>
                  <a:lnTo>
                    <a:pt x="588554" y="694604"/>
                  </a:lnTo>
                  <a:close/>
                  <a:moveTo>
                    <a:pt x="797092" y="694566"/>
                  </a:moveTo>
                  <a:cubicBezTo>
                    <a:pt x="797092" y="694566"/>
                    <a:pt x="797092" y="694566"/>
                    <a:pt x="797092" y="695828"/>
                  </a:cubicBezTo>
                  <a:lnTo>
                    <a:pt x="797092" y="696286"/>
                  </a:lnTo>
                  <a:lnTo>
                    <a:pt x="797963" y="698019"/>
                  </a:lnTo>
                  <a:close/>
                  <a:moveTo>
                    <a:pt x="731044" y="694373"/>
                  </a:moveTo>
                  <a:cubicBezTo>
                    <a:pt x="731044" y="694373"/>
                    <a:pt x="731044" y="694373"/>
                    <a:pt x="731298" y="695132"/>
                  </a:cubicBezTo>
                  <a:lnTo>
                    <a:pt x="731589" y="695999"/>
                  </a:lnTo>
                  <a:lnTo>
                    <a:pt x="731790" y="695903"/>
                  </a:lnTo>
                  <a:lnTo>
                    <a:pt x="732369" y="695692"/>
                  </a:lnTo>
                  <a:close/>
                  <a:moveTo>
                    <a:pt x="633809" y="694315"/>
                  </a:moveTo>
                  <a:lnTo>
                    <a:pt x="634603" y="695104"/>
                  </a:lnTo>
                  <a:lnTo>
                    <a:pt x="634603" y="694513"/>
                  </a:lnTo>
                  <a:close/>
                  <a:moveTo>
                    <a:pt x="707362" y="691731"/>
                  </a:moveTo>
                  <a:lnTo>
                    <a:pt x="705996" y="692633"/>
                  </a:lnTo>
                  <a:lnTo>
                    <a:pt x="707513" y="691781"/>
                  </a:lnTo>
                  <a:close/>
                  <a:moveTo>
                    <a:pt x="715963" y="686510"/>
                  </a:moveTo>
                  <a:lnTo>
                    <a:pt x="712849" y="688106"/>
                  </a:lnTo>
                  <a:lnTo>
                    <a:pt x="710488" y="689666"/>
                  </a:lnTo>
                  <a:lnTo>
                    <a:pt x="710773" y="689949"/>
                  </a:lnTo>
                  <a:lnTo>
                    <a:pt x="715963" y="687031"/>
                  </a:lnTo>
                  <a:close/>
                  <a:moveTo>
                    <a:pt x="488157" y="682217"/>
                  </a:moveTo>
                  <a:lnTo>
                    <a:pt x="476078" y="685213"/>
                  </a:lnTo>
                  <a:lnTo>
                    <a:pt x="467548" y="687330"/>
                  </a:lnTo>
                  <a:lnTo>
                    <a:pt x="460698" y="701030"/>
                  </a:lnTo>
                  <a:lnTo>
                    <a:pt x="456418" y="709590"/>
                  </a:lnTo>
                  <a:lnTo>
                    <a:pt x="460804" y="706688"/>
                  </a:lnTo>
                  <a:cubicBezTo>
                    <a:pt x="463859" y="704667"/>
                    <a:pt x="468441" y="701635"/>
                    <a:pt x="475315" y="697088"/>
                  </a:cubicBezTo>
                  <a:lnTo>
                    <a:pt x="488157" y="688591"/>
                  </a:lnTo>
                  <a:lnTo>
                    <a:pt x="488157" y="683741"/>
                  </a:lnTo>
                  <a:close/>
                  <a:moveTo>
                    <a:pt x="675413" y="681152"/>
                  </a:moveTo>
                  <a:lnTo>
                    <a:pt x="674775" y="682216"/>
                  </a:lnTo>
                  <a:lnTo>
                    <a:pt x="673157" y="684911"/>
                  </a:lnTo>
                  <a:lnTo>
                    <a:pt x="680082" y="691790"/>
                  </a:lnTo>
                  <a:lnTo>
                    <a:pt x="689916" y="701559"/>
                  </a:lnTo>
                  <a:lnTo>
                    <a:pt x="703473" y="691960"/>
                  </a:lnTo>
                  <a:lnTo>
                    <a:pt x="705305" y="691049"/>
                  </a:lnTo>
                  <a:lnTo>
                    <a:pt x="690761" y="686234"/>
                  </a:lnTo>
                  <a:close/>
                  <a:moveTo>
                    <a:pt x="726539" y="681087"/>
                  </a:moveTo>
                  <a:lnTo>
                    <a:pt x="720199" y="684337"/>
                  </a:lnTo>
                  <a:lnTo>
                    <a:pt x="720038" y="684741"/>
                  </a:lnTo>
                  <a:close/>
                  <a:moveTo>
                    <a:pt x="540041" y="678657"/>
                  </a:moveTo>
                  <a:lnTo>
                    <a:pt x="535955" y="689620"/>
                  </a:lnTo>
                  <a:lnTo>
                    <a:pt x="540932" y="687987"/>
                  </a:lnTo>
                  <a:lnTo>
                    <a:pt x="553244" y="683950"/>
                  </a:lnTo>
                  <a:lnTo>
                    <a:pt x="553244" y="678657"/>
                  </a:lnTo>
                  <a:lnTo>
                    <a:pt x="548622" y="678657"/>
                  </a:lnTo>
                  <a:close/>
                  <a:moveTo>
                    <a:pt x="423069" y="678656"/>
                  </a:moveTo>
                  <a:cubicBezTo>
                    <a:pt x="423069" y="678656"/>
                    <a:pt x="421035" y="680690"/>
                    <a:pt x="417984" y="683741"/>
                  </a:cubicBezTo>
                  <a:lnTo>
                    <a:pt x="411492" y="690233"/>
                  </a:lnTo>
                  <a:lnTo>
                    <a:pt x="414818" y="692321"/>
                  </a:lnTo>
                  <a:lnTo>
                    <a:pt x="423069" y="698838"/>
                  </a:lnTo>
                  <a:lnTo>
                    <a:pt x="423069" y="697471"/>
                  </a:lnTo>
                  <a:cubicBezTo>
                    <a:pt x="423069" y="692894"/>
                    <a:pt x="423069" y="686792"/>
                    <a:pt x="423069" y="678656"/>
                  </a:cubicBezTo>
                  <a:close/>
                  <a:moveTo>
                    <a:pt x="862263" y="678415"/>
                  </a:moveTo>
                  <a:cubicBezTo>
                    <a:pt x="862263" y="678415"/>
                    <a:pt x="862263" y="678415"/>
                    <a:pt x="860227" y="686491"/>
                  </a:cubicBezTo>
                  <a:lnTo>
                    <a:pt x="860006" y="687367"/>
                  </a:lnTo>
                  <a:lnTo>
                    <a:pt x="862263" y="690362"/>
                  </a:lnTo>
                  <a:close/>
                  <a:moveTo>
                    <a:pt x="747315" y="678180"/>
                  </a:moveTo>
                  <a:cubicBezTo>
                    <a:pt x="747315" y="678180"/>
                    <a:pt x="747315" y="678180"/>
                    <a:pt x="751383" y="686277"/>
                  </a:cubicBezTo>
                  <a:lnTo>
                    <a:pt x="752443" y="688386"/>
                  </a:lnTo>
                  <a:lnTo>
                    <a:pt x="758188" y="686295"/>
                  </a:lnTo>
                  <a:lnTo>
                    <a:pt x="757485" y="685771"/>
                  </a:lnTo>
                  <a:cubicBezTo>
                    <a:pt x="751383" y="681217"/>
                    <a:pt x="747315" y="678180"/>
                    <a:pt x="747315" y="678180"/>
                  </a:cubicBezTo>
                  <a:close/>
                  <a:moveTo>
                    <a:pt x="666353" y="678152"/>
                  </a:moveTo>
                  <a:cubicBezTo>
                    <a:pt x="666353" y="678152"/>
                    <a:pt x="666353" y="678152"/>
                    <a:pt x="668069" y="679857"/>
                  </a:cubicBezTo>
                  <a:lnTo>
                    <a:pt x="669815" y="681591"/>
                  </a:lnTo>
                  <a:lnTo>
                    <a:pt x="670245" y="679441"/>
                  </a:lnTo>
                  <a:close/>
                  <a:moveTo>
                    <a:pt x="1008394" y="677843"/>
                  </a:moveTo>
                  <a:lnTo>
                    <a:pt x="1007904" y="677863"/>
                  </a:lnTo>
                  <a:lnTo>
                    <a:pt x="1008375" y="677863"/>
                  </a:lnTo>
                  <a:close/>
                  <a:moveTo>
                    <a:pt x="748507" y="669824"/>
                  </a:moveTo>
                  <a:lnTo>
                    <a:pt x="745048" y="671598"/>
                  </a:lnTo>
                  <a:lnTo>
                    <a:pt x="748507" y="669850"/>
                  </a:lnTo>
                  <a:close/>
                  <a:moveTo>
                    <a:pt x="922461" y="669660"/>
                  </a:moveTo>
                  <a:lnTo>
                    <a:pt x="913687" y="682705"/>
                  </a:lnTo>
                  <a:lnTo>
                    <a:pt x="908241" y="690804"/>
                  </a:lnTo>
                  <a:lnTo>
                    <a:pt x="910034" y="694373"/>
                  </a:lnTo>
                  <a:lnTo>
                    <a:pt x="907042" y="692586"/>
                  </a:lnTo>
                  <a:lnTo>
                    <a:pt x="894849" y="710717"/>
                  </a:lnTo>
                  <a:cubicBezTo>
                    <a:pt x="894849" y="710717"/>
                    <a:pt x="894849" y="710717"/>
                    <a:pt x="894849" y="697090"/>
                  </a:cubicBezTo>
                  <a:lnTo>
                    <a:pt x="894849" y="685306"/>
                  </a:lnTo>
                  <a:lnTo>
                    <a:pt x="891542" y="683332"/>
                  </a:lnTo>
                  <a:lnTo>
                    <a:pt x="890776" y="684472"/>
                  </a:lnTo>
                  <a:cubicBezTo>
                    <a:pt x="888739" y="687500"/>
                    <a:pt x="885684" y="692043"/>
                    <a:pt x="881102" y="698857"/>
                  </a:cubicBezTo>
                  <a:lnTo>
                    <a:pt x="875238" y="707576"/>
                  </a:lnTo>
                  <a:lnTo>
                    <a:pt x="877490" y="710565"/>
                  </a:lnTo>
                  <a:lnTo>
                    <a:pt x="874936" y="708024"/>
                  </a:lnTo>
                  <a:lnTo>
                    <a:pt x="862263" y="726869"/>
                  </a:lnTo>
                  <a:cubicBezTo>
                    <a:pt x="862263" y="726869"/>
                    <a:pt x="862263" y="726869"/>
                    <a:pt x="862263" y="706427"/>
                  </a:cubicBezTo>
                  <a:lnTo>
                    <a:pt x="862263" y="695413"/>
                  </a:lnTo>
                  <a:lnTo>
                    <a:pt x="858837" y="692003"/>
                  </a:lnTo>
                  <a:lnTo>
                    <a:pt x="855390" y="705670"/>
                  </a:lnTo>
                  <a:lnTo>
                    <a:pt x="853359" y="713723"/>
                  </a:lnTo>
                  <a:lnTo>
                    <a:pt x="861219" y="726758"/>
                  </a:lnTo>
                  <a:cubicBezTo>
                    <a:pt x="861219" y="726758"/>
                    <a:pt x="859948" y="725746"/>
                    <a:pt x="857723" y="723975"/>
                  </a:cubicBezTo>
                  <a:lnTo>
                    <a:pt x="851936" y="719368"/>
                  </a:lnTo>
                  <a:lnTo>
                    <a:pt x="845971" y="743020"/>
                  </a:lnTo>
                  <a:cubicBezTo>
                    <a:pt x="845971" y="743020"/>
                    <a:pt x="845971" y="743020"/>
                    <a:pt x="839097" y="722578"/>
                  </a:cubicBezTo>
                  <a:lnTo>
                    <a:pt x="832930" y="704237"/>
                  </a:lnTo>
                  <a:lnTo>
                    <a:pt x="828190" y="700464"/>
                  </a:lnTo>
                  <a:lnTo>
                    <a:pt x="827641" y="702642"/>
                  </a:lnTo>
                  <a:cubicBezTo>
                    <a:pt x="825605" y="710717"/>
                    <a:pt x="821532" y="726869"/>
                    <a:pt x="813385" y="759171"/>
                  </a:cubicBezTo>
                  <a:cubicBezTo>
                    <a:pt x="813385" y="759171"/>
                    <a:pt x="813385" y="759171"/>
                    <a:pt x="806512" y="731916"/>
                  </a:cubicBezTo>
                  <a:lnTo>
                    <a:pt x="803543" y="720146"/>
                  </a:lnTo>
                  <a:lnTo>
                    <a:pt x="802233" y="719168"/>
                  </a:lnTo>
                  <a:lnTo>
                    <a:pt x="797092" y="715331"/>
                  </a:lnTo>
                  <a:lnTo>
                    <a:pt x="797092" y="728635"/>
                  </a:lnTo>
                  <a:cubicBezTo>
                    <a:pt x="797092" y="739991"/>
                    <a:pt x="797092" y="755133"/>
                    <a:pt x="797092" y="775322"/>
                  </a:cubicBezTo>
                  <a:cubicBezTo>
                    <a:pt x="797092" y="775322"/>
                    <a:pt x="797092" y="775322"/>
                    <a:pt x="764507" y="710717"/>
                  </a:cubicBezTo>
                  <a:lnTo>
                    <a:pt x="764507" y="712395"/>
                  </a:lnTo>
                  <a:lnTo>
                    <a:pt x="779859" y="742950"/>
                  </a:lnTo>
                  <a:cubicBezTo>
                    <a:pt x="779859" y="742950"/>
                    <a:pt x="776808" y="739914"/>
                    <a:pt x="772232" y="735360"/>
                  </a:cubicBezTo>
                  <a:lnTo>
                    <a:pt x="764507" y="727673"/>
                  </a:lnTo>
                  <a:lnTo>
                    <a:pt x="764507" y="751095"/>
                  </a:lnTo>
                  <a:cubicBezTo>
                    <a:pt x="764507" y="771284"/>
                    <a:pt x="764507" y="791473"/>
                    <a:pt x="764507" y="791473"/>
                  </a:cubicBezTo>
                  <a:cubicBezTo>
                    <a:pt x="764507" y="791473"/>
                    <a:pt x="764507" y="791473"/>
                    <a:pt x="750760" y="764218"/>
                  </a:cubicBezTo>
                  <a:lnTo>
                    <a:pt x="736370" y="735689"/>
                  </a:lnTo>
                  <a:lnTo>
                    <a:pt x="731921" y="732738"/>
                  </a:lnTo>
                  <a:lnTo>
                    <a:pt x="731921" y="739739"/>
                  </a:lnTo>
                  <a:cubicBezTo>
                    <a:pt x="731921" y="747562"/>
                    <a:pt x="731921" y="758161"/>
                    <a:pt x="731921" y="769265"/>
                  </a:cubicBezTo>
                  <a:lnTo>
                    <a:pt x="731921" y="791287"/>
                  </a:lnTo>
                  <a:lnTo>
                    <a:pt x="796528" y="792428"/>
                  </a:lnTo>
                  <a:lnTo>
                    <a:pt x="731921" y="795632"/>
                  </a:lnTo>
                  <a:lnTo>
                    <a:pt x="731921" y="797416"/>
                  </a:lnTo>
                  <a:lnTo>
                    <a:pt x="768401" y="799208"/>
                  </a:lnTo>
                  <a:lnTo>
                    <a:pt x="833665" y="806912"/>
                  </a:lnTo>
                  <a:lnTo>
                    <a:pt x="836728" y="801542"/>
                  </a:lnTo>
                  <a:lnTo>
                    <a:pt x="796528" y="792428"/>
                  </a:lnTo>
                  <a:lnTo>
                    <a:pt x="839688" y="796351"/>
                  </a:lnTo>
                  <a:lnTo>
                    <a:pt x="853877" y="771472"/>
                  </a:lnTo>
                  <a:cubicBezTo>
                    <a:pt x="878285" y="735078"/>
                    <a:pt x="902693" y="710815"/>
                    <a:pt x="927100" y="694639"/>
                  </a:cubicBezTo>
                  <a:lnTo>
                    <a:pt x="927434" y="694368"/>
                  </a:lnTo>
                  <a:lnTo>
                    <a:pt x="927434" y="692863"/>
                  </a:lnTo>
                  <a:cubicBezTo>
                    <a:pt x="927434" y="691160"/>
                    <a:pt x="927434" y="687753"/>
                    <a:pt x="927434" y="680939"/>
                  </a:cubicBezTo>
                  <a:lnTo>
                    <a:pt x="927434" y="673541"/>
                  </a:lnTo>
                  <a:close/>
                  <a:moveTo>
                    <a:pt x="726107" y="669567"/>
                  </a:moveTo>
                  <a:lnTo>
                    <a:pt x="721048" y="682216"/>
                  </a:lnTo>
                  <a:lnTo>
                    <a:pt x="720543" y="683477"/>
                  </a:lnTo>
                  <a:lnTo>
                    <a:pt x="738569" y="674519"/>
                  </a:lnTo>
                  <a:lnTo>
                    <a:pt x="735000" y="673101"/>
                  </a:lnTo>
                  <a:close/>
                  <a:moveTo>
                    <a:pt x="784328" y="665545"/>
                  </a:moveTo>
                  <a:lnTo>
                    <a:pt x="783437" y="669109"/>
                  </a:lnTo>
                  <a:lnTo>
                    <a:pt x="783927" y="670084"/>
                  </a:lnTo>
                  <a:lnTo>
                    <a:pt x="786834" y="675870"/>
                  </a:lnTo>
                  <a:lnTo>
                    <a:pt x="792856" y="673678"/>
                  </a:lnTo>
                  <a:lnTo>
                    <a:pt x="794122" y="673343"/>
                  </a:lnTo>
                  <a:lnTo>
                    <a:pt x="792572" y="672108"/>
                  </a:lnTo>
                  <a:close/>
                  <a:moveTo>
                    <a:pt x="455613" y="662385"/>
                  </a:moveTo>
                  <a:cubicBezTo>
                    <a:pt x="455613" y="662385"/>
                    <a:pt x="447477" y="674589"/>
                    <a:pt x="439341" y="686792"/>
                  </a:cubicBezTo>
                  <a:lnTo>
                    <a:pt x="428467" y="703103"/>
                  </a:lnTo>
                  <a:lnTo>
                    <a:pt x="472203" y="737651"/>
                  </a:lnTo>
                  <a:lnTo>
                    <a:pt x="494721" y="759237"/>
                  </a:lnTo>
                  <a:lnTo>
                    <a:pt x="501027" y="759237"/>
                  </a:lnTo>
                  <a:cubicBezTo>
                    <a:pt x="505609" y="759237"/>
                    <a:pt x="511719" y="759237"/>
                    <a:pt x="519865" y="759237"/>
                  </a:cubicBezTo>
                  <a:cubicBezTo>
                    <a:pt x="519865" y="759237"/>
                    <a:pt x="519865" y="759237"/>
                    <a:pt x="487280" y="743068"/>
                  </a:cubicBezTo>
                  <a:cubicBezTo>
                    <a:pt x="487280" y="743068"/>
                    <a:pt x="487280" y="743068"/>
                    <a:pt x="519865" y="726899"/>
                  </a:cubicBezTo>
                  <a:cubicBezTo>
                    <a:pt x="519865" y="726899"/>
                    <a:pt x="519865" y="726899"/>
                    <a:pt x="470987" y="726899"/>
                  </a:cubicBezTo>
                  <a:cubicBezTo>
                    <a:pt x="470987" y="726899"/>
                    <a:pt x="470987" y="726899"/>
                    <a:pt x="503572" y="710730"/>
                  </a:cubicBezTo>
                  <a:cubicBezTo>
                    <a:pt x="503572" y="710730"/>
                    <a:pt x="503572" y="710730"/>
                    <a:pt x="497463" y="710730"/>
                  </a:cubicBezTo>
                  <a:lnTo>
                    <a:pt x="488392" y="710730"/>
                  </a:lnTo>
                  <a:lnTo>
                    <a:pt x="488157" y="711200"/>
                  </a:lnTo>
                  <a:lnTo>
                    <a:pt x="488157" y="710730"/>
                  </a:lnTo>
                  <a:lnTo>
                    <a:pt x="482952" y="710730"/>
                  </a:lnTo>
                  <a:lnTo>
                    <a:pt x="455848" y="710730"/>
                  </a:lnTo>
                  <a:lnTo>
                    <a:pt x="455613" y="711200"/>
                  </a:lnTo>
                  <a:lnTo>
                    <a:pt x="455613" y="710730"/>
                  </a:lnTo>
                  <a:lnTo>
                    <a:pt x="454694" y="710730"/>
                  </a:lnTo>
                  <a:cubicBezTo>
                    <a:pt x="454694" y="710730"/>
                    <a:pt x="454694" y="710730"/>
                    <a:pt x="455458" y="710225"/>
                  </a:cubicBezTo>
                  <a:lnTo>
                    <a:pt x="455613" y="710122"/>
                  </a:lnTo>
                  <a:lnTo>
                    <a:pt x="455613" y="705098"/>
                  </a:lnTo>
                  <a:cubicBezTo>
                    <a:pt x="455613" y="702047"/>
                    <a:pt x="455613" y="697471"/>
                    <a:pt x="455613" y="690606"/>
                  </a:cubicBezTo>
                  <a:lnTo>
                    <a:pt x="455613" y="690291"/>
                  </a:lnTo>
                  <a:lnTo>
                    <a:pt x="438401" y="694561"/>
                  </a:lnTo>
                  <a:cubicBezTo>
                    <a:pt x="438401" y="694561"/>
                    <a:pt x="438401" y="694561"/>
                    <a:pt x="444511" y="690519"/>
                  </a:cubicBezTo>
                  <a:lnTo>
                    <a:pt x="455613" y="683174"/>
                  </a:lnTo>
                  <a:close/>
                  <a:moveTo>
                    <a:pt x="585258" y="662277"/>
                  </a:moveTo>
                  <a:cubicBezTo>
                    <a:pt x="585258" y="662277"/>
                    <a:pt x="585258" y="662277"/>
                    <a:pt x="589315" y="666318"/>
                  </a:cubicBezTo>
                  <a:lnTo>
                    <a:pt x="592705" y="669694"/>
                  </a:lnTo>
                  <a:lnTo>
                    <a:pt x="593942" y="662277"/>
                  </a:lnTo>
                  <a:close/>
                  <a:moveTo>
                    <a:pt x="480101" y="662223"/>
                  </a:moveTo>
                  <a:lnTo>
                    <a:pt x="476553" y="669320"/>
                  </a:lnTo>
                  <a:lnTo>
                    <a:pt x="487280" y="662223"/>
                  </a:lnTo>
                  <a:close/>
                  <a:moveTo>
                    <a:pt x="779859" y="661988"/>
                  </a:moveTo>
                  <a:cubicBezTo>
                    <a:pt x="779859" y="661988"/>
                    <a:pt x="779859" y="661988"/>
                    <a:pt x="780368" y="663000"/>
                  </a:cubicBezTo>
                  <a:lnTo>
                    <a:pt x="781050" y="664358"/>
                  </a:lnTo>
                  <a:lnTo>
                    <a:pt x="781050" y="662936"/>
                  </a:lnTo>
                  <a:close/>
                  <a:moveTo>
                    <a:pt x="545804" y="660164"/>
                  </a:moveTo>
                  <a:lnTo>
                    <a:pt x="544022" y="666923"/>
                  </a:lnTo>
                  <a:lnTo>
                    <a:pt x="552979" y="662517"/>
                  </a:lnTo>
                  <a:close/>
                  <a:moveTo>
                    <a:pt x="758262" y="659146"/>
                  </a:moveTo>
                  <a:lnTo>
                    <a:pt x="754545" y="666579"/>
                  </a:lnTo>
                  <a:lnTo>
                    <a:pt x="763884" y="661938"/>
                  </a:lnTo>
                  <a:close/>
                  <a:moveTo>
                    <a:pt x="690785" y="655532"/>
                  </a:moveTo>
                  <a:lnTo>
                    <a:pt x="685311" y="664656"/>
                  </a:lnTo>
                  <a:lnTo>
                    <a:pt x="686947" y="666282"/>
                  </a:lnTo>
                  <a:lnTo>
                    <a:pt x="709688" y="688871"/>
                  </a:lnTo>
                  <a:lnTo>
                    <a:pt x="715963" y="685753"/>
                  </a:lnTo>
                  <a:lnTo>
                    <a:pt x="715963" y="684758"/>
                  </a:lnTo>
                  <a:lnTo>
                    <a:pt x="715963" y="665536"/>
                  </a:lnTo>
                  <a:lnTo>
                    <a:pt x="699445" y="658973"/>
                  </a:lnTo>
                  <a:close/>
                  <a:moveTo>
                    <a:pt x="839808" y="652443"/>
                  </a:moveTo>
                  <a:lnTo>
                    <a:pt x="836316" y="655934"/>
                  </a:lnTo>
                  <a:lnTo>
                    <a:pt x="840237" y="661136"/>
                  </a:lnTo>
                  <a:lnTo>
                    <a:pt x="848194" y="659030"/>
                  </a:lnTo>
                  <a:lnTo>
                    <a:pt x="850233" y="658667"/>
                  </a:lnTo>
                  <a:lnTo>
                    <a:pt x="841387" y="653386"/>
                  </a:lnTo>
                  <a:close/>
                  <a:moveTo>
                    <a:pt x="818737" y="652098"/>
                  </a:moveTo>
                  <a:lnTo>
                    <a:pt x="817588" y="654396"/>
                  </a:lnTo>
                  <a:lnTo>
                    <a:pt x="818505" y="655916"/>
                  </a:lnTo>
                  <a:lnTo>
                    <a:pt x="824210" y="665378"/>
                  </a:lnTo>
                  <a:lnTo>
                    <a:pt x="830428" y="663732"/>
                  </a:lnTo>
                  <a:lnTo>
                    <a:pt x="822573" y="655916"/>
                  </a:lnTo>
                  <a:close/>
                  <a:moveTo>
                    <a:pt x="518201" y="651111"/>
                  </a:moveTo>
                  <a:lnTo>
                    <a:pt x="515615" y="656283"/>
                  </a:lnTo>
                  <a:lnTo>
                    <a:pt x="509425" y="668664"/>
                  </a:lnTo>
                  <a:lnTo>
                    <a:pt x="518219" y="687487"/>
                  </a:lnTo>
                  <a:lnTo>
                    <a:pt x="520623" y="694648"/>
                  </a:lnTo>
                  <a:lnTo>
                    <a:pt x="520700" y="694623"/>
                  </a:lnTo>
                  <a:lnTo>
                    <a:pt x="520700" y="683741"/>
                  </a:lnTo>
                  <a:lnTo>
                    <a:pt x="520700" y="678657"/>
                  </a:lnTo>
                  <a:lnTo>
                    <a:pt x="520171" y="678657"/>
                  </a:lnTo>
                  <a:lnTo>
                    <a:pt x="520700" y="678396"/>
                  </a:lnTo>
                  <a:lnTo>
                    <a:pt x="520700" y="651931"/>
                  </a:lnTo>
                  <a:close/>
                  <a:moveTo>
                    <a:pt x="734914" y="647550"/>
                  </a:moveTo>
                  <a:lnTo>
                    <a:pt x="732235" y="654249"/>
                  </a:lnTo>
                  <a:lnTo>
                    <a:pt x="729793" y="660352"/>
                  </a:lnTo>
                  <a:lnTo>
                    <a:pt x="742226" y="672702"/>
                  </a:lnTo>
                  <a:lnTo>
                    <a:pt x="748507" y="669580"/>
                  </a:lnTo>
                  <a:lnTo>
                    <a:pt x="748507" y="654301"/>
                  </a:lnTo>
                  <a:close/>
                  <a:moveTo>
                    <a:pt x="1154602" y="646510"/>
                  </a:moveTo>
                  <a:cubicBezTo>
                    <a:pt x="1154602" y="646510"/>
                    <a:pt x="1154602" y="646510"/>
                    <a:pt x="1154602" y="660072"/>
                  </a:cubicBezTo>
                  <a:lnTo>
                    <a:pt x="1154602" y="673990"/>
                  </a:lnTo>
                  <a:lnTo>
                    <a:pt x="1170115" y="677139"/>
                  </a:lnTo>
                  <a:lnTo>
                    <a:pt x="1168849" y="674639"/>
                  </a:lnTo>
                  <a:cubicBezTo>
                    <a:pt x="1166813" y="670620"/>
                    <a:pt x="1162743" y="662584"/>
                    <a:pt x="1154602" y="646510"/>
                  </a:cubicBezTo>
                  <a:close/>
                  <a:moveTo>
                    <a:pt x="1089474" y="646510"/>
                  </a:moveTo>
                  <a:cubicBezTo>
                    <a:pt x="1089474" y="646510"/>
                    <a:pt x="1089474" y="646510"/>
                    <a:pt x="1096343" y="660072"/>
                  </a:cubicBezTo>
                  <a:lnTo>
                    <a:pt x="1097661" y="662675"/>
                  </a:lnTo>
                  <a:lnTo>
                    <a:pt x="1105191" y="662026"/>
                  </a:lnTo>
                  <a:close/>
                  <a:moveTo>
                    <a:pt x="1056909" y="646510"/>
                  </a:moveTo>
                  <a:cubicBezTo>
                    <a:pt x="1056909" y="646510"/>
                    <a:pt x="1056909" y="646510"/>
                    <a:pt x="1063778" y="660072"/>
                  </a:cubicBezTo>
                  <a:lnTo>
                    <a:pt x="1065056" y="662594"/>
                  </a:lnTo>
                  <a:lnTo>
                    <a:pt x="1083295" y="663876"/>
                  </a:lnTo>
                  <a:close/>
                  <a:moveTo>
                    <a:pt x="926844" y="646330"/>
                  </a:moveTo>
                  <a:lnTo>
                    <a:pt x="926735" y="646367"/>
                  </a:lnTo>
                  <a:lnTo>
                    <a:pt x="922387" y="647816"/>
                  </a:lnTo>
                  <a:lnTo>
                    <a:pt x="926178" y="647432"/>
                  </a:lnTo>
                  <a:lnTo>
                    <a:pt x="927062" y="646548"/>
                  </a:lnTo>
                  <a:close/>
                  <a:moveTo>
                    <a:pt x="667136" y="646135"/>
                  </a:moveTo>
                  <a:lnTo>
                    <a:pt x="666980" y="646447"/>
                  </a:lnTo>
                  <a:lnTo>
                    <a:pt x="667116" y="646582"/>
                  </a:lnTo>
                  <a:cubicBezTo>
                    <a:pt x="667879" y="647340"/>
                    <a:pt x="669404" y="648855"/>
                    <a:pt x="672455" y="651886"/>
                  </a:cubicBezTo>
                  <a:lnTo>
                    <a:pt x="675209" y="654621"/>
                  </a:lnTo>
                  <a:lnTo>
                    <a:pt x="676186" y="649732"/>
                  </a:lnTo>
                  <a:lnTo>
                    <a:pt x="669849" y="647213"/>
                  </a:lnTo>
                  <a:close/>
                  <a:moveTo>
                    <a:pt x="622584" y="646113"/>
                  </a:moveTo>
                  <a:lnTo>
                    <a:pt x="618340" y="657097"/>
                  </a:lnTo>
                  <a:lnTo>
                    <a:pt x="633941" y="662277"/>
                  </a:lnTo>
                  <a:cubicBezTo>
                    <a:pt x="633941" y="662277"/>
                    <a:pt x="633941" y="662277"/>
                    <a:pt x="627856" y="662277"/>
                  </a:cubicBezTo>
                  <a:lnTo>
                    <a:pt x="616339" y="662277"/>
                  </a:lnTo>
                  <a:lnTo>
                    <a:pt x="616298" y="662385"/>
                  </a:lnTo>
                  <a:lnTo>
                    <a:pt x="606331" y="683266"/>
                  </a:lnTo>
                  <a:lnTo>
                    <a:pt x="617714" y="694604"/>
                  </a:lnTo>
                  <a:cubicBezTo>
                    <a:pt x="617714" y="694604"/>
                    <a:pt x="617714" y="694604"/>
                    <a:pt x="604022" y="694604"/>
                  </a:cubicBezTo>
                  <a:lnTo>
                    <a:pt x="600920" y="694604"/>
                  </a:lnTo>
                  <a:lnTo>
                    <a:pt x="600280" y="695945"/>
                  </a:lnTo>
                  <a:lnTo>
                    <a:pt x="597099" y="700501"/>
                  </a:lnTo>
                  <a:lnTo>
                    <a:pt x="598950" y="701423"/>
                  </a:lnTo>
                  <a:lnTo>
                    <a:pt x="608837" y="706347"/>
                  </a:lnTo>
                  <a:lnTo>
                    <a:pt x="617537" y="696336"/>
                  </a:lnTo>
                  <a:lnTo>
                    <a:pt x="624044" y="689604"/>
                  </a:lnTo>
                  <a:lnTo>
                    <a:pt x="624661" y="688891"/>
                  </a:lnTo>
                  <a:lnTo>
                    <a:pt x="624424" y="689210"/>
                  </a:lnTo>
                  <a:lnTo>
                    <a:pt x="634603" y="678677"/>
                  </a:lnTo>
                  <a:lnTo>
                    <a:pt x="634603" y="677413"/>
                  </a:lnTo>
                  <a:lnTo>
                    <a:pt x="624661" y="688891"/>
                  </a:lnTo>
                  <a:lnTo>
                    <a:pt x="634603" y="675502"/>
                  </a:lnTo>
                  <a:lnTo>
                    <a:pt x="634603" y="670012"/>
                  </a:lnTo>
                  <a:lnTo>
                    <a:pt x="634603" y="646113"/>
                  </a:lnTo>
                  <a:close/>
                  <a:moveTo>
                    <a:pt x="585788" y="646113"/>
                  </a:moveTo>
                  <a:lnTo>
                    <a:pt x="585712" y="646264"/>
                  </a:lnTo>
                  <a:lnTo>
                    <a:pt x="586019" y="646366"/>
                  </a:lnTo>
                  <a:cubicBezTo>
                    <a:pt x="586780" y="646618"/>
                    <a:pt x="588301" y="647123"/>
                    <a:pt x="591344" y="648134"/>
                  </a:cubicBezTo>
                  <a:lnTo>
                    <a:pt x="596039" y="649693"/>
                  </a:lnTo>
                  <a:lnTo>
                    <a:pt x="596636" y="646113"/>
                  </a:lnTo>
                  <a:lnTo>
                    <a:pt x="595401" y="646113"/>
                  </a:lnTo>
                  <a:close/>
                  <a:moveTo>
                    <a:pt x="520700" y="646113"/>
                  </a:moveTo>
                  <a:lnTo>
                    <a:pt x="520568" y="646378"/>
                  </a:lnTo>
                  <a:lnTo>
                    <a:pt x="520700" y="646378"/>
                  </a:lnTo>
                  <a:close/>
                  <a:moveTo>
                    <a:pt x="828675" y="645795"/>
                  </a:moveTo>
                  <a:cubicBezTo>
                    <a:pt x="828675" y="645795"/>
                    <a:pt x="828675" y="645795"/>
                    <a:pt x="829438" y="646807"/>
                  </a:cubicBezTo>
                  <a:lnTo>
                    <a:pt x="829866" y="647376"/>
                  </a:lnTo>
                  <a:lnTo>
                    <a:pt x="829866" y="646506"/>
                  </a:lnTo>
                  <a:close/>
                  <a:moveTo>
                    <a:pt x="795673" y="645485"/>
                  </a:moveTo>
                  <a:lnTo>
                    <a:pt x="788402" y="649248"/>
                  </a:lnTo>
                  <a:lnTo>
                    <a:pt x="788273" y="649764"/>
                  </a:lnTo>
                  <a:lnTo>
                    <a:pt x="796131" y="645795"/>
                  </a:lnTo>
                  <a:lnTo>
                    <a:pt x="796290" y="645730"/>
                  </a:lnTo>
                  <a:close/>
                  <a:moveTo>
                    <a:pt x="549721" y="645309"/>
                  </a:moveTo>
                  <a:lnTo>
                    <a:pt x="549439" y="646378"/>
                  </a:lnTo>
                  <a:lnTo>
                    <a:pt x="552979" y="646378"/>
                  </a:lnTo>
                  <a:close/>
                  <a:moveTo>
                    <a:pt x="789915" y="643197"/>
                  </a:moveTo>
                  <a:lnTo>
                    <a:pt x="788819" y="647581"/>
                  </a:lnTo>
                  <a:lnTo>
                    <a:pt x="793770" y="644729"/>
                  </a:lnTo>
                  <a:lnTo>
                    <a:pt x="793032" y="644435"/>
                  </a:lnTo>
                  <a:close/>
                  <a:moveTo>
                    <a:pt x="806500" y="641102"/>
                  </a:moveTo>
                  <a:lnTo>
                    <a:pt x="800596" y="642936"/>
                  </a:lnTo>
                  <a:lnTo>
                    <a:pt x="795908" y="645363"/>
                  </a:lnTo>
                  <a:lnTo>
                    <a:pt x="796362" y="645701"/>
                  </a:lnTo>
                  <a:lnTo>
                    <a:pt x="806629" y="641489"/>
                  </a:lnTo>
                  <a:close/>
                  <a:moveTo>
                    <a:pt x="886474" y="638320"/>
                  </a:moveTo>
                  <a:lnTo>
                    <a:pt x="883410" y="641384"/>
                  </a:lnTo>
                  <a:lnTo>
                    <a:pt x="886303" y="647142"/>
                  </a:lnTo>
                  <a:lnTo>
                    <a:pt x="889360" y="641027"/>
                  </a:lnTo>
                  <a:lnTo>
                    <a:pt x="887660" y="639470"/>
                  </a:lnTo>
                  <a:close/>
                  <a:moveTo>
                    <a:pt x="770161" y="635348"/>
                  </a:moveTo>
                  <a:lnTo>
                    <a:pt x="764779" y="646113"/>
                  </a:lnTo>
                  <a:lnTo>
                    <a:pt x="759211" y="657247"/>
                  </a:lnTo>
                  <a:lnTo>
                    <a:pt x="763917" y="661922"/>
                  </a:lnTo>
                  <a:lnTo>
                    <a:pt x="763984" y="661889"/>
                  </a:lnTo>
                  <a:lnTo>
                    <a:pt x="763918" y="661923"/>
                  </a:lnTo>
                  <a:lnTo>
                    <a:pt x="763984" y="661988"/>
                  </a:lnTo>
                  <a:lnTo>
                    <a:pt x="763886" y="661939"/>
                  </a:lnTo>
                  <a:lnTo>
                    <a:pt x="754445" y="666779"/>
                  </a:lnTo>
                  <a:lnTo>
                    <a:pt x="754397" y="666875"/>
                  </a:lnTo>
                  <a:lnTo>
                    <a:pt x="781050" y="653413"/>
                  </a:lnTo>
                  <a:lnTo>
                    <a:pt x="781050" y="653054"/>
                  </a:lnTo>
                  <a:lnTo>
                    <a:pt x="763984" y="661889"/>
                  </a:lnTo>
                  <a:lnTo>
                    <a:pt x="781050" y="652057"/>
                  </a:lnTo>
                  <a:lnTo>
                    <a:pt x="781050" y="651198"/>
                  </a:lnTo>
                  <a:lnTo>
                    <a:pt x="781050" y="639675"/>
                  </a:lnTo>
                  <a:lnTo>
                    <a:pt x="774296" y="636991"/>
                  </a:lnTo>
                  <a:close/>
                  <a:moveTo>
                    <a:pt x="678321" y="634106"/>
                  </a:moveTo>
                  <a:lnTo>
                    <a:pt x="668513" y="643380"/>
                  </a:lnTo>
                  <a:lnTo>
                    <a:pt x="668001" y="644405"/>
                  </a:lnTo>
                  <a:close/>
                  <a:moveTo>
                    <a:pt x="1123472" y="632561"/>
                  </a:moveTo>
                  <a:lnTo>
                    <a:pt x="1122038" y="632803"/>
                  </a:lnTo>
                  <a:lnTo>
                    <a:pt x="1122038" y="632980"/>
                  </a:lnTo>
                  <a:cubicBezTo>
                    <a:pt x="1122038" y="635522"/>
                    <a:pt x="1122038" y="640608"/>
                    <a:pt x="1122038" y="650780"/>
                  </a:cubicBezTo>
                  <a:lnTo>
                    <a:pt x="1122038" y="666028"/>
                  </a:lnTo>
                  <a:lnTo>
                    <a:pt x="1150868" y="673128"/>
                  </a:lnTo>
                  <a:lnTo>
                    <a:pt x="1150531" y="672630"/>
                  </a:lnTo>
                  <a:cubicBezTo>
                    <a:pt x="1148496" y="669616"/>
                    <a:pt x="1145443" y="665095"/>
                    <a:pt x="1140864" y="658314"/>
                  </a:cubicBezTo>
                  <a:close/>
                  <a:moveTo>
                    <a:pt x="704606" y="632497"/>
                  </a:moveTo>
                  <a:lnTo>
                    <a:pt x="703540" y="634273"/>
                  </a:lnTo>
                  <a:lnTo>
                    <a:pt x="707585" y="638291"/>
                  </a:lnTo>
                  <a:lnTo>
                    <a:pt x="715963" y="646614"/>
                  </a:lnTo>
                  <a:lnTo>
                    <a:pt x="715963" y="638137"/>
                  </a:lnTo>
                  <a:lnTo>
                    <a:pt x="704903" y="632644"/>
                  </a:lnTo>
                  <a:close/>
                  <a:moveTo>
                    <a:pt x="1236012" y="630437"/>
                  </a:moveTo>
                  <a:cubicBezTo>
                    <a:pt x="1236012" y="630437"/>
                    <a:pt x="1236012" y="630437"/>
                    <a:pt x="1236012" y="657561"/>
                  </a:cubicBezTo>
                  <a:lnTo>
                    <a:pt x="1236012" y="693471"/>
                  </a:lnTo>
                  <a:lnTo>
                    <a:pt x="1262992" y="701048"/>
                  </a:lnTo>
                  <a:lnTo>
                    <a:pt x="1264909" y="701753"/>
                  </a:lnTo>
                  <a:lnTo>
                    <a:pt x="1263488" y="698247"/>
                  </a:lnTo>
                  <a:cubicBezTo>
                    <a:pt x="1254329" y="675643"/>
                    <a:pt x="1236012" y="630437"/>
                    <a:pt x="1236012" y="630437"/>
                  </a:cubicBezTo>
                  <a:close/>
                  <a:moveTo>
                    <a:pt x="1203448" y="630437"/>
                  </a:moveTo>
                  <a:cubicBezTo>
                    <a:pt x="1203448" y="630437"/>
                    <a:pt x="1203448" y="630437"/>
                    <a:pt x="1203448" y="657561"/>
                  </a:cubicBezTo>
                  <a:lnTo>
                    <a:pt x="1203448" y="684327"/>
                  </a:lnTo>
                  <a:lnTo>
                    <a:pt x="1235268" y="693263"/>
                  </a:lnTo>
                  <a:lnTo>
                    <a:pt x="1230924" y="684685"/>
                  </a:lnTo>
                  <a:cubicBezTo>
                    <a:pt x="1221765" y="666602"/>
                    <a:pt x="1203448" y="630437"/>
                    <a:pt x="1203448" y="630437"/>
                  </a:cubicBezTo>
                  <a:close/>
                  <a:moveTo>
                    <a:pt x="1187166" y="630437"/>
                  </a:moveTo>
                  <a:cubicBezTo>
                    <a:pt x="1187166" y="630437"/>
                    <a:pt x="1187166" y="630437"/>
                    <a:pt x="1180297" y="650780"/>
                  </a:cubicBezTo>
                  <a:lnTo>
                    <a:pt x="1171314" y="677382"/>
                  </a:lnTo>
                  <a:lnTo>
                    <a:pt x="1198007" y="682799"/>
                  </a:lnTo>
                  <a:lnTo>
                    <a:pt x="1200611" y="683531"/>
                  </a:lnTo>
                  <a:lnTo>
                    <a:pt x="1196579" y="667607"/>
                  </a:lnTo>
                  <a:cubicBezTo>
                    <a:pt x="1194289" y="658565"/>
                    <a:pt x="1191236" y="646510"/>
                    <a:pt x="1187166" y="630437"/>
                  </a:cubicBezTo>
                  <a:close/>
                  <a:moveTo>
                    <a:pt x="743960" y="624937"/>
                  </a:moveTo>
                  <a:lnTo>
                    <a:pt x="743422" y="626281"/>
                  </a:lnTo>
                  <a:lnTo>
                    <a:pt x="739047" y="637217"/>
                  </a:lnTo>
                  <a:lnTo>
                    <a:pt x="748507" y="646614"/>
                  </a:lnTo>
                  <a:lnTo>
                    <a:pt x="748507" y="626744"/>
                  </a:lnTo>
                  <a:lnTo>
                    <a:pt x="748261" y="626646"/>
                  </a:lnTo>
                  <a:close/>
                  <a:moveTo>
                    <a:pt x="634529" y="613786"/>
                  </a:moveTo>
                  <a:lnTo>
                    <a:pt x="633173" y="617764"/>
                  </a:lnTo>
                  <a:cubicBezTo>
                    <a:pt x="632251" y="620434"/>
                    <a:pt x="630917" y="624247"/>
                    <a:pt x="629264" y="628824"/>
                  </a:cubicBezTo>
                  <a:lnTo>
                    <a:pt x="628216" y="631536"/>
                  </a:lnTo>
                  <a:lnTo>
                    <a:pt x="634603" y="635777"/>
                  </a:lnTo>
                  <a:lnTo>
                    <a:pt x="634603" y="613786"/>
                  </a:lnTo>
                  <a:close/>
                  <a:moveTo>
                    <a:pt x="601951" y="613786"/>
                  </a:moveTo>
                  <a:lnTo>
                    <a:pt x="601835" y="614018"/>
                  </a:lnTo>
                  <a:lnTo>
                    <a:pt x="601970" y="614107"/>
                  </a:lnTo>
                  <a:lnTo>
                    <a:pt x="602024" y="613786"/>
                  </a:lnTo>
                  <a:close/>
                  <a:moveTo>
                    <a:pt x="715845" y="613766"/>
                  </a:moveTo>
                  <a:lnTo>
                    <a:pt x="715693" y="614018"/>
                  </a:lnTo>
                  <a:lnTo>
                    <a:pt x="715963" y="614286"/>
                  </a:lnTo>
                  <a:lnTo>
                    <a:pt x="715963" y="613813"/>
                  </a:lnTo>
                  <a:close/>
                  <a:moveTo>
                    <a:pt x="942628" y="613611"/>
                  </a:moveTo>
                  <a:lnTo>
                    <a:pt x="942755" y="614114"/>
                  </a:lnTo>
                  <a:lnTo>
                    <a:pt x="943109" y="613938"/>
                  </a:lnTo>
                  <a:lnTo>
                    <a:pt x="942780" y="613611"/>
                  </a:lnTo>
                  <a:lnTo>
                    <a:pt x="942752" y="613611"/>
                  </a:lnTo>
                  <a:close/>
                  <a:moveTo>
                    <a:pt x="797322" y="613569"/>
                  </a:moveTo>
                  <a:cubicBezTo>
                    <a:pt x="797322" y="613569"/>
                    <a:pt x="797322" y="613569"/>
                    <a:pt x="790458" y="641028"/>
                  </a:cubicBezTo>
                  <a:lnTo>
                    <a:pt x="790400" y="641259"/>
                  </a:lnTo>
                  <a:lnTo>
                    <a:pt x="794496" y="644311"/>
                  </a:lnTo>
                  <a:lnTo>
                    <a:pt x="805463" y="637992"/>
                  </a:lnTo>
                  <a:close/>
                  <a:moveTo>
                    <a:pt x="781050" y="613569"/>
                  </a:moveTo>
                  <a:cubicBezTo>
                    <a:pt x="781050" y="613569"/>
                    <a:pt x="779016" y="617637"/>
                    <a:pt x="775965" y="623739"/>
                  </a:cubicBezTo>
                  <a:lnTo>
                    <a:pt x="773500" y="628669"/>
                  </a:lnTo>
                  <a:lnTo>
                    <a:pt x="781050" y="634294"/>
                  </a:lnTo>
                  <a:close/>
                  <a:moveTo>
                    <a:pt x="683419" y="613569"/>
                  </a:moveTo>
                  <a:cubicBezTo>
                    <a:pt x="683419" y="613569"/>
                    <a:pt x="680368" y="619671"/>
                    <a:pt x="675791" y="628824"/>
                  </a:cubicBezTo>
                  <a:lnTo>
                    <a:pt x="668841" y="642724"/>
                  </a:lnTo>
                  <a:lnTo>
                    <a:pt x="679563" y="632847"/>
                  </a:lnTo>
                  <a:close/>
                  <a:moveTo>
                    <a:pt x="1032922" y="609379"/>
                  </a:moveTo>
                  <a:lnTo>
                    <a:pt x="1031807" y="609934"/>
                  </a:lnTo>
                  <a:lnTo>
                    <a:pt x="1030919" y="611112"/>
                  </a:lnTo>
                  <a:lnTo>
                    <a:pt x="1031112" y="611496"/>
                  </a:lnTo>
                  <a:close/>
                  <a:moveTo>
                    <a:pt x="1040210" y="597218"/>
                  </a:moveTo>
                  <a:lnTo>
                    <a:pt x="1040400" y="597312"/>
                  </a:lnTo>
                  <a:lnTo>
                    <a:pt x="1043239" y="597312"/>
                  </a:lnTo>
                  <a:lnTo>
                    <a:pt x="1043320" y="597218"/>
                  </a:lnTo>
                  <a:close/>
                  <a:moveTo>
                    <a:pt x="610016" y="581459"/>
                  </a:moveTo>
                  <a:lnTo>
                    <a:pt x="608355" y="584880"/>
                  </a:lnTo>
                  <a:lnTo>
                    <a:pt x="609600" y="585500"/>
                  </a:lnTo>
                  <a:lnTo>
                    <a:pt x="622939" y="592143"/>
                  </a:lnTo>
                  <a:lnTo>
                    <a:pt x="680680" y="581459"/>
                  </a:lnTo>
                  <a:lnTo>
                    <a:pt x="668045" y="581459"/>
                  </a:lnTo>
                  <a:cubicBezTo>
                    <a:pt x="650930" y="581459"/>
                    <a:pt x="630392" y="581459"/>
                    <a:pt x="616699" y="581459"/>
                  </a:cubicBezTo>
                  <a:close/>
                  <a:moveTo>
                    <a:pt x="763984" y="581170"/>
                  </a:moveTo>
                  <a:cubicBezTo>
                    <a:pt x="763984" y="581170"/>
                    <a:pt x="763984" y="581170"/>
                    <a:pt x="770086" y="585211"/>
                  </a:cubicBezTo>
                  <a:lnTo>
                    <a:pt x="771486" y="586138"/>
                  </a:lnTo>
                  <a:lnTo>
                    <a:pt x="795797" y="589070"/>
                  </a:lnTo>
                  <a:lnTo>
                    <a:pt x="774154" y="583695"/>
                  </a:lnTo>
                  <a:cubicBezTo>
                    <a:pt x="768052" y="582180"/>
                    <a:pt x="763984" y="581170"/>
                    <a:pt x="763984" y="581170"/>
                  </a:cubicBezTo>
                  <a:close/>
                  <a:moveTo>
                    <a:pt x="979550" y="569625"/>
                  </a:moveTo>
                  <a:lnTo>
                    <a:pt x="979998" y="571068"/>
                  </a:lnTo>
                  <a:lnTo>
                    <a:pt x="982680" y="585229"/>
                  </a:lnTo>
                  <a:lnTo>
                    <a:pt x="985154" y="586462"/>
                  </a:lnTo>
                  <a:lnTo>
                    <a:pt x="989139" y="586216"/>
                  </a:lnTo>
                  <a:lnTo>
                    <a:pt x="990118" y="580154"/>
                  </a:lnTo>
                  <a:close/>
                  <a:moveTo>
                    <a:pt x="821505" y="565383"/>
                  </a:moveTo>
                  <a:lnTo>
                    <a:pt x="811891" y="571734"/>
                  </a:lnTo>
                  <a:lnTo>
                    <a:pt x="826698" y="593797"/>
                  </a:lnTo>
                  <a:lnTo>
                    <a:pt x="830832" y="594614"/>
                  </a:lnTo>
                  <a:lnTo>
                    <a:pt x="836731" y="577076"/>
                  </a:lnTo>
                  <a:lnTo>
                    <a:pt x="837173" y="575759"/>
                  </a:lnTo>
                  <a:close/>
                  <a:moveTo>
                    <a:pt x="878682" y="565234"/>
                  </a:moveTo>
                  <a:cubicBezTo>
                    <a:pt x="878682" y="565234"/>
                    <a:pt x="878682" y="565234"/>
                    <a:pt x="858088" y="578840"/>
                  </a:cubicBezTo>
                  <a:lnTo>
                    <a:pt x="833434" y="595128"/>
                  </a:lnTo>
                  <a:lnTo>
                    <a:pt x="866653" y="601691"/>
                  </a:lnTo>
                  <a:lnTo>
                    <a:pt x="884689" y="606587"/>
                  </a:lnTo>
                  <a:lnTo>
                    <a:pt x="894159" y="603263"/>
                  </a:lnTo>
                  <a:lnTo>
                    <a:pt x="903028" y="601547"/>
                  </a:lnTo>
                  <a:lnTo>
                    <a:pt x="911225" y="597485"/>
                  </a:lnTo>
                  <a:cubicBezTo>
                    <a:pt x="911225" y="597485"/>
                    <a:pt x="911225" y="597485"/>
                    <a:pt x="862410" y="597485"/>
                  </a:cubicBezTo>
                  <a:cubicBezTo>
                    <a:pt x="862410" y="597485"/>
                    <a:pt x="862410" y="597485"/>
                    <a:pt x="878682" y="565234"/>
                  </a:cubicBezTo>
                  <a:close/>
                  <a:moveTo>
                    <a:pt x="1057170" y="564974"/>
                  </a:moveTo>
                  <a:cubicBezTo>
                    <a:pt x="1057170" y="564974"/>
                    <a:pt x="1057170" y="564974"/>
                    <a:pt x="1059200" y="566995"/>
                  </a:cubicBezTo>
                  <a:lnTo>
                    <a:pt x="1066548" y="574308"/>
                  </a:lnTo>
                  <a:lnTo>
                    <a:pt x="1079348" y="564974"/>
                  </a:lnTo>
                  <a:close/>
                  <a:moveTo>
                    <a:pt x="797097" y="549220"/>
                  </a:moveTo>
                  <a:lnTo>
                    <a:pt x="796860" y="549337"/>
                  </a:lnTo>
                  <a:lnTo>
                    <a:pt x="797036" y="549600"/>
                  </a:lnTo>
                  <a:cubicBezTo>
                    <a:pt x="797545" y="550358"/>
                    <a:pt x="798562" y="551873"/>
                    <a:pt x="800596" y="554904"/>
                  </a:cubicBezTo>
                  <a:lnTo>
                    <a:pt x="807849" y="565711"/>
                  </a:lnTo>
                  <a:lnTo>
                    <a:pt x="811052" y="560951"/>
                  </a:lnTo>
                  <a:lnTo>
                    <a:pt x="812210" y="559228"/>
                  </a:lnTo>
                  <a:lnTo>
                    <a:pt x="804155" y="553894"/>
                  </a:lnTo>
                  <a:close/>
                  <a:moveTo>
                    <a:pt x="846026" y="549182"/>
                  </a:moveTo>
                  <a:lnTo>
                    <a:pt x="845375" y="549612"/>
                  </a:lnTo>
                  <a:cubicBezTo>
                    <a:pt x="844612" y="550116"/>
                    <a:pt x="843087" y="551124"/>
                    <a:pt x="840036" y="553140"/>
                  </a:cubicBezTo>
                  <a:lnTo>
                    <a:pt x="830680" y="559321"/>
                  </a:lnTo>
                  <a:lnTo>
                    <a:pt x="838689" y="571254"/>
                  </a:lnTo>
                  <a:lnTo>
                    <a:pt x="846101" y="549219"/>
                  </a:lnTo>
                  <a:close/>
                  <a:moveTo>
                    <a:pt x="1042828" y="542542"/>
                  </a:moveTo>
                  <a:lnTo>
                    <a:pt x="1036944" y="546443"/>
                  </a:lnTo>
                  <a:lnTo>
                    <a:pt x="1023873" y="555109"/>
                  </a:lnTo>
                  <a:lnTo>
                    <a:pt x="1023936" y="565112"/>
                  </a:lnTo>
                  <a:lnTo>
                    <a:pt x="1031924" y="565112"/>
                  </a:lnTo>
                  <a:lnTo>
                    <a:pt x="1033094" y="563245"/>
                  </a:lnTo>
                  <a:close/>
                  <a:moveTo>
                    <a:pt x="821629" y="537064"/>
                  </a:moveTo>
                  <a:lnTo>
                    <a:pt x="817212" y="539253"/>
                  </a:lnTo>
                  <a:lnTo>
                    <a:pt x="821425" y="545530"/>
                  </a:lnTo>
                  <a:lnTo>
                    <a:pt x="825745" y="539109"/>
                  </a:lnTo>
                  <a:lnTo>
                    <a:pt x="822970" y="537730"/>
                  </a:lnTo>
                  <a:close/>
                  <a:moveTo>
                    <a:pt x="1073415" y="532636"/>
                  </a:moveTo>
                  <a:cubicBezTo>
                    <a:pt x="1073415" y="532636"/>
                    <a:pt x="1073415" y="532636"/>
                    <a:pt x="1087122" y="546279"/>
                  </a:cubicBezTo>
                  <a:lnTo>
                    <a:pt x="1093415" y="552541"/>
                  </a:lnTo>
                  <a:lnTo>
                    <a:pt x="1105758" y="543366"/>
                  </a:lnTo>
                  <a:lnTo>
                    <a:pt x="1101591" y="541984"/>
                  </a:lnTo>
                  <a:cubicBezTo>
                    <a:pt x="1094737" y="539710"/>
                    <a:pt x="1085599" y="536678"/>
                    <a:pt x="1073415" y="532636"/>
                  </a:cubicBezTo>
                  <a:close/>
                  <a:moveTo>
                    <a:pt x="1057054" y="522201"/>
                  </a:moveTo>
                  <a:lnTo>
                    <a:pt x="1053180" y="523485"/>
                  </a:lnTo>
                  <a:cubicBezTo>
                    <a:pt x="1046330" y="525756"/>
                    <a:pt x="1037198" y="528783"/>
                    <a:pt x="1025021" y="532820"/>
                  </a:cubicBezTo>
                  <a:cubicBezTo>
                    <a:pt x="1025021" y="532820"/>
                    <a:pt x="1025021" y="532820"/>
                    <a:pt x="1038720" y="532820"/>
                  </a:cubicBezTo>
                  <a:lnTo>
                    <a:pt x="1049526" y="532820"/>
                  </a:lnTo>
                  <a:close/>
                  <a:moveTo>
                    <a:pt x="968423" y="520127"/>
                  </a:moveTo>
                  <a:lnTo>
                    <a:pt x="969536" y="523049"/>
                  </a:lnTo>
                  <a:lnTo>
                    <a:pt x="973737" y="550914"/>
                  </a:lnTo>
                  <a:lnTo>
                    <a:pt x="978253" y="565451"/>
                  </a:lnTo>
                  <a:lnTo>
                    <a:pt x="979409" y="565451"/>
                  </a:lnTo>
                  <a:cubicBezTo>
                    <a:pt x="981433" y="565451"/>
                    <a:pt x="984469" y="565451"/>
                    <a:pt x="989023" y="565451"/>
                  </a:cubicBezTo>
                  <a:lnTo>
                    <a:pt x="992494" y="565451"/>
                  </a:lnTo>
                  <a:lnTo>
                    <a:pt x="992549" y="565112"/>
                  </a:lnTo>
                  <a:lnTo>
                    <a:pt x="994095" y="551851"/>
                  </a:lnTo>
                  <a:lnTo>
                    <a:pt x="994083" y="551839"/>
                  </a:lnTo>
                  <a:cubicBezTo>
                    <a:pt x="989529" y="547302"/>
                    <a:pt x="983457" y="541252"/>
                    <a:pt x="975360" y="533186"/>
                  </a:cubicBezTo>
                  <a:cubicBezTo>
                    <a:pt x="975360" y="533186"/>
                    <a:pt x="975360" y="533186"/>
                    <a:pt x="989023" y="533186"/>
                  </a:cubicBezTo>
                  <a:lnTo>
                    <a:pt x="996271" y="533186"/>
                  </a:lnTo>
                  <a:lnTo>
                    <a:pt x="996699" y="529518"/>
                  </a:lnTo>
                  <a:lnTo>
                    <a:pt x="987252" y="526380"/>
                  </a:lnTo>
                  <a:close/>
                  <a:moveTo>
                    <a:pt x="717902" y="519030"/>
                  </a:moveTo>
                  <a:lnTo>
                    <a:pt x="716095" y="519330"/>
                  </a:lnTo>
                  <a:cubicBezTo>
                    <a:pt x="706967" y="520845"/>
                    <a:pt x="694796" y="522865"/>
                    <a:pt x="682625" y="524886"/>
                  </a:cubicBezTo>
                  <a:lnTo>
                    <a:pt x="660633" y="528537"/>
                  </a:lnTo>
                  <a:lnTo>
                    <a:pt x="650875" y="532983"/>
                  </a:lnTo>
                  <a:cubicBezTo>
                    <a:pt x="650875" y="532983"/>
                    <a:pt x="650875" y="532983"/>
                    <a:pt x="651892" y="531723"/>
                  </a:cubicBezTo>
                  <a:lnTo>
                    <a:pt x="653510" y="529719"/>
                  </a:lnTo>
                  <a:lnTo>
                    <a:pt x="649155" y="530442"/>
                  </a:lnTo>
                  <a:cubicBezTo>
                    <a:pt x="640027" y="531957"/>
                    <a:pt x="633941" y="532968"/>
                    <a:pt x="633941" y="532968"/>
                  </a:cubicBezTo>
                  <a:cubicBezTo>
                    <a:pt x="633941" y="532968"/>
                    <a:pt x="633941" y="532968"/>
                    <a:pt x="688298" y="543796"/>
                  </a:cubicBezTo>
                  <a:lnTo>
                    <a:pt x="701335" y="546393"/>
                  </a:lnTo>
                  <a:lnTo>
                    <a:pt x="705793" y="539030"/>
                  </a:lnTo>
                  <a:close/>
                  <a:moveTo>
                    <a:pt x="1089661" y="516467"/>
                  </a:moveTo>
                  <a:cubicBezTo>
                    <a:pt x="1089661" y="516467"/>
                    <a:pt x="1089661" y="516467"/>
                    <a:pt x="1103368" y="530110"/>
                  </a:cubicBezTo>
                  <a:lnTo>
                    <a:pt x="1112015" y="538716"/>
                  </a:lnTo>
                  <a:lnTo>
                    <a:pt x="1125811" y="528461"/>
                  </a:lnTo>
                  <a:lnTo>
                    <a:pt x="1117837" y="525815"/>
                  </a:lnTo>
                  <a:cubicBezTo>
                    <a:pt x="1110983" y="523541"/>
                    <a:pt x="1101845" y="520509"/>
                    <a:pt x="1089661" y="516467"/>
                  </a:cubicBezTo>
                  <a:close/>
                  <a:moveTo>
                    <a:pt x="764778" y="500731"/>
                  </a:moveTo>
                  <a:cubicBezTo>
                    <a:pt x="764778" y="500731"/>
                    <a:pt x="728167" y="527943"/>
                    <a:pt x="709861" y="541549"/>
                  </a:cubicBezTo>
                  <a:lnTo>
                    <a:pt x="702919" y="546709"/>
                  </a:lnTo>
                  <a:lnTo>
                    <a:pt x="715080" y="549131"/>
                  </a:lnTo>
                  <a:cubicBezTo>
                    <a:pt x="715080" y="549131"/>
                    <a:pt x="640534" y="561507"/>
                    <a:pt x="621897" y="564600"/>
                  </a:cubicBezTo>
                  <a:lnTo>
                    <a:pt x="617877" y="565268"/>
                  </a:lnTo>
                  <a:lnTo>
                    <a:pt x="617851" y="565322"/>
                  </a:lnTo>
                  <a:lnTo>
                    <a:pt x="618982" y="565547"/>
                  </a:lnTo>
                  <a:cubicBezTo>
                    <a:pt x="622785" y="566305"/>
                    <a:pt x="637999" y="569336"/>
                    <a:pt x="698853" y="581459"/>
                  </a:cubicBezTo>
                  <a:lnTo>
                    <a:pt x="693734" y="581459"/>
                  </a:lnTo>
                  <a:lnTo>
                    <a:pt x="725022" y="582725"/>
                  </a:lnTo>
                  <a:lnTo>
                    <a:pt x="725735" y="581928"/>
                  </a:lnTo>
                  <a:cubicBezTo>
                    <a:pt x="742007" y="566522"/>
                    <a:pt x="760313" y="551873"/>
                    <a:pt x="780653" y="538740"/>
                  </a:cubicBezTo>
                  <a:lnTo>
                    <a:pt x="802931" y="527424"/>
                  </a:lnTo>
                  <a:lnTo>
                    <a:pt x="813594" y="516857"/>
                  </a:lnTo>
                  <a:cubicBezTo>
                    <a:pt x="813594" y="516857"/>
                    <a:pt x="732235" y="565234"/>
                    <a:pt x="732235" y="565234"/>
                  </a:cubicBezTo>
                  <a:cubicBezTo>
                    <a:pt x="732235" y="565234"/>
                    <a:pt x="732235" y="565234"/>
                    <a:pt x="764778" y="500731"/>
                  </a:cubicBezTo>
                  <a:close/>
                  <a:moveTo>
                    <a:pt x="878305" y="500559"/>
                  </a:moveTo>
                  <a:lnTo>
                    <a:pt x="881955" y="502372"/>
                  </a:lnTo>
                  <a:cubicBezTo>
                    <a:pt x="886023" y="504393"/>
                    <a:pt x="894159" y="508434"/>
                    <a:pt x="910431" y="516515"/>
                  </a:cubicBezTo>
                  <a:cubicBezTo>
                    <a:pt x="910431" y="516515"/>
                    <a:pt x="861615" y="516515"/>
                    <a:pt x="861615" y="516515"/>
                  </a:cubicBezTo>
                  <a:cubicBezTo>
                    <a:pt x="861615" y="516515"/>
                    <a:pt x="861615" y="516515"/>
                    <a:pt x="894159" y="532679"/>
                  </a:cubicBezTo>
                  <a:cubicBezTo>
                    <a:pt x="894159" y="532679"/>
                    <a:pt x="891108" y="532679"/>
                    <a:pt x="886532" y="532679"/>
                  </a:cubicBezTo>
                  <a:lnTo>
                    <a:pt x="872024" y="532679"/>
                  </a:lnTo>
                  <a:lnTo>
                    <a:pt x="881538" y="540705"/>
                  </a:lnTo>
                  <a:lnTo>
                    <a:pt x="887072" y="544825"/>
                  </a:lnTo>
                  <a:cubicBezTo>
                    <a:pt x="902072" y="557171"/>
                    <a:pt x="915293" y="569265"/>
                    <a:pt x="927497" y="581360"/>
                  </a:cubicBezTo>
                  <a:lnTo>
                    <a:pt x="938836" y="594621"/>
                  </a:lnTo>
                  <a:lnTo>
                    <a:pt x="956734" y="591159"/>
                  </a:lnTo>
                  <a:lnTo>
                    <a:pt x="963602" y="589456"/>
                  </a:lnTo>
                  <a:lnTo>
                    <a:pt x="955283" y="583950"/>
                  </a:lnTo>
                  <a:cubicBezTo>
                    <a:pt x="948411" y="579401"/>
                    <a:pt x="939248" y="573336"/>
                    <a:pt x="927031" y="565250"/>
                  </a:cubicBezTo>
                  <a:cubicBezTo>
                    <a:pt x="927031" y="565250"/>
                    <a:pt x="927031" y="565250"/>
                    <a:pt x="959610" y="565250"/>
                  </a:cubicBezTo>
                  <a:cubicBezTo>
                    <a:pt x="959610" y="565250"/>
                    <a:pt x="959610" y="565250"/>
                    <a:pt x="910742" y="549077"/>
                  </a:cubicBezTo>
                  <a:cubicBezTo>
                    <a:pt x="910742" y="549077"/>
                    <a:pt x="910742" y="549077"/>
                    <a:pt x="959610" y="532905"/>
                  </a:cubicBezTo>
                  <a:cubicBezTo>
                    <a:pt x="959610" y="532905"/>
                    <a:pt x="959610" y="532905"/>
                    <a:pt x="894453" y="532905"/>
                  </a:cubicBezTo>
                  <a:cubicBezTo>
                    <a:pt x="894453" y="532905"/>
                    <a:pt x="894453" y="532905"/>
                    <a:pt x="943320" y="500559"/>
                  </a:cubicBezTo>
                  <a:cubicBezTo>
                    <a:pt x="943320" y="500559"/>
                    <a:pt x="943320" y="500559"/>
                    <a:pt x="915832" y="500559"/>
                  </a:cubicBezTo>
                  <a:close/>
                  <a:moveTo>
                    <a:pt x="877887" y="500352"/>
                  </a:moveTo>
                  <a:lnTo>
                    <a:pt x="878248" y="500531"/>
                  </a:lnTo>
                  <a:lnTo>
                    <a:pt x="878790" y="500352"/>
                  </a:lnTo>
                  <a:close/>
                  <a:moveTo>
                    <a:pt x="1105906" y="500298"/>
                  </a:moveTo>
                  <a:cubicBezTo>
                    <a:pt x="1105906" y="500298"/>
                    <a:pt x="1105906" y="500298"/>
                    <a:pt x="1119613" y="513941"/>
                  </a:cubicBezTo>
                  <a:lnTo>
                    <a:pt x="1130615" y="524890"/>
                  </a:lnTo>
                  <a:lnTo>
                    <a:pt x="1149205" y="511072"/>
                  </a:lnTo>
                  <a:lnTo>
                    <a:pt x="1138397" y="508383"/>
                  </a:lnTo>
                  <a:cubicBezTo>
                    <a:pt x="1122152" y="504340"/>
                    <a:pt x="1105906" y="500298"/>
                    <a:pt x="1105906" y="500298"/>
                  </a:cubicBezTo>
                  <a:close/>
                  <a:moveTo>
                    <a:pt x="677713" y="499737"/>
                  </a:moveTo>
                  <a:lnTo>
                    <a:pt x="665383" y="500388"/>
                  </a:lnTo>
                  <a:cubicBezTo>
                    <a:pt x="656255" y="500640"/>
                    <a:pt x="650169" y="500640"/>
                    <a:pt x="650169" y="500640"/>
                  </a:cubicBezTo>
                  <a:cubicBezTo>
                    <a:pt x="650169" y="500640"/>
                    <a:pt x="650169" y="500640"/>
                    <a:pt x="660312" y="502661"/>
                  </a:cubicBezTo>
                  <a:lnTo>
                    <a:pt x="673269" y="505242"/>
                  </a:lnTo>
                  <a:close/>
                  <a:moveTo>
                    <a:pt x="1178143" y="495824"/>
                  </a:moveTo>
                  <a:lnTo>
                    <a:pt x="1171925" y="500644"/>
                  </a:lnTo>
                  <a:lnTo>
                    <a:pt x="1179111" y="496306"/>
                  </a:lnTo>
                  <a:close/>
                  <a:moveTo>
                    <a:pt x="733401" y="493429"/>
                  </a:moveTo>
                  <a:lnTo>
                    <a:pt x="732322" y="493821"/>
                  </a:lnTo>
                  <a:lnTo>
                    <a:pt x="710953" y="496885"/>
                  </a:lnTo>
                  <a:lnTo>
                    <a:pt x="705793" y="500731"/>
                  </a:lnTo>
                  <a:lnTo>
                    <a:pt x="693237" y="509220"/>
                  </a:lnTo>
                  <a:lnTo>
                    <a:pt x="704526" y="511469"/>
                  </a:lnTo>
                  <a:lnTo>
                    <a:pt x="720547" y="514660"/>
                  </a:lnTo>
                  <a:close/>
                  <a:moveTo>
                    <a:pt x="1083788" y="485917"/>
                  </a:moveTo>
                  <a:lnTo>
                    <a:pt x="1081846" y="486400"/>
                  </a:lnTo>
                  <a:cubicBezTo>
                    <a:pt x="1077787" y="487409"/>
                    <a:pt x="1071699" y="488923"/>
                    <a:pt x="1062566" y="491193"/>
                  </a:cubicBezTo>
                  <a:lnTo>
                    <a:pt x="1025721" y="500354"/>
                  </a:lnTo>
                  <a:lnTo>
                    <a:pt x="1025670" y="500743"/>
                  </a:lnTo>
                  <a:lnTo>
                    <a:pt x="1027589" y="501379"/>
                  </a:lnTo>
                  <a:cubicBezTo>
                    <a:pt x="1030158" y="502231"/>
                    <a:pt x="1035295" y="503934"/>
                    <a:pt x="1045569" y="507339"/>
                  </a:cubicBezTo>
                  <a:lnTo>
                    <a:pt x="1063399" y="513250"/>
                  </a:lnTo>
                  <a:lnTo>
                    <a:pt x="1072255" y="500757"/>
                  </a:lnTo>
                  <a:lnTo>
                    <a:pt x="1072338" y="500625"/>
                  </a:lnTo>
                  <a:lnTo>
                    <a:pt x="1072460" y="500468"/>
                  </a:lnTo>
                  <a:lnTo>
                    <a:pt x="1075446" y="496256"/>
                  </a:lnTo>
                  <a:lnTo>
                    <a:pt x="1077341" y="494198"/>
                  </a:lnTo>
                  <a:close/>
                  <a:moveTo>
                    <a:pt x="532119" y="473290"/>
                  </a:moveTo>
                  <a:lnTo>
                    <a:pt x="530870" y="474527"/>
                  </a:lnTo>
                  <a:lnTo>
                    <a:pt x="529393" y="475991"/>
                  </a:lnTo>
                  <a:lnTo>
                    <a:pt x="535294" y="489773"/>
                  </a:lnTo>
                  <a:lnTo>
                    <a:pt x="537604" y="499688"/>
                  </a:lnTo>
                  <a:lnTo>
                    <a:pt x="537735" y="499472"/>
                  </a:lnTo>
                  <a:lnTo>
                    <a:pt x="540543" y="494834"/>
                  </a:lnTo>
                  <a:lnTo>
                    <a:pt x="536752" y="482771"/>
                  </a:lnTo>
                  <a:close/>
                  <a:moveTo>
                    <a:pt x="949441" y="470267"/>
                  </a:moveTo>
                  <a:lnTo>
                    <a:pt x="966346" y="514670"/>
                  </a:lnTo>
                  <a:lnTo>
                    <a:pt x="979662" y="510248"/>
                  </a:lnTo>
                  <a:lnTo>
                    <a:pt x="1001516" y="502990"/>
                  </a:lnTo>
                  <a:lnTo>
                    <a:pt x="1002613" y="499217"/>
                  </a:lnTo>
                  <a:lnTo>
                    <a:pt x="1001674" y="498905"/>
                  </a:lnTo>
                  <a:cubicBezTo>
                    <a:pt x="995601" y="496888"/>
                    <a:pt x="983457" y="492855"/>
                    <a:pt x="959168" y="484789"/>
                  </a:cubicBezTo>
                  <a:cubicBezTo>
                    <a:pt x="959168" y="484789"/>
                    <a:pt x="959168" y="484789"/>
                    <a:pt x="979662" y="484789"/>
                  </a:cubicBezTo>
                  <a:lnTo>
                    <a:pt x="1006808" y="484789"/>
                  </a:lnTo>
                  <a:lnTo>
                    <a:pt x="1006872" y="484571"/>
                  </a:lnTo>
                  <a:lnTo>
                    <a:pt x="1006734" y="484537"/>
                  </a:lnTo>
                  <a:cubicBezTo>
                    <a:pt x="1004710" y="484033"/>
                    <a:pt x="998637" y="482520"/>
                    <a:pt x="980421" y="477983"/>
                  </a:cubicBezTo>
                  <a:close/>
                  <a:moveTo>
                    <a:pt x="748507" y="468480"/>
                  </a:moveTo>
                  <a:cubicBezTo>
                    <a:pt x="748507" y="468480"/>
                    <a:pt x="743422" y="472511"/>
                    <a:pt x="735540" y="478558"/>
                  </a:cubicBezTo>
                  <a:lnTo>
                    <a:pt x="732592" y="480756"/>
                  </a:lnTo>
                  <a:lnTo>
                    <a:pt x="739963" y="482591"/>
                  </a:lnTo>
                  <a:close/>
                  <a:moveTo>
                    <a:pt x="691807" y="468313"/>
                  </a:moveTo>
                  <a:lnTo>
                    <a:pt x="689294" y="469974"/>
                  </a:lnTo>
                  <a:lnTo>
                    <a:pt x="690739" y="470334"/>
                  </a:lnTo>
                  <a:lnTo>
                    <a:pt x="699656" y="472554"/>
                  </a:lnTo>
                  <a:lnTo>
                    <a:pt x="703080" y="468313"/>
                  </a:lnTo>
                  <a:lnTo>
                    <a:pt x="695303" y="468313"/>
                  </a:lnTo>
                  <a:close/>
                  <a:moveTo>
                    <a:pt x="1122152" y="467960"/>
                  </a:moveTo>
                  <a:cubicBezTo>
                    <a:pt x="1122152" y="467960"/>
                    <a:pt x="1122152" y="467960"/>
                    <a:pt x="1142712" y="488424"/>
                  </a:cubicBezTo>
                  <a:lnTo>
                    <a:pt x="1158515" y="504152"/>
                  </a:lnTo>
                  <a:lnTo>
                    <a:pt x="1162046" y="501527"/>
                  </a:lnTo>
                  <a:lnTo>
                    <a:pt x="1175209" y="494364"/>
                  </a:lnTo>
                  <a:lnTo>
                    <a:pt x="1154643" y="484129"/>
                  </a:lnTo>
                  <a:cubicBezTo>
                    <a:pt x="1138397" y="476045"/>
                    <a:pt x="1122152" y="467960"/>
                    <a:pt x="1122152" y="467960"/>
                  </a:cubicBezTo>
                  <a:close/>
                  <a:moveTo>
                    <a:pt x="1229281" y="465774"/>
                  </a:moveTo>
                  <a:lnTo>
                    <a:pt x="1181855" y="493293"/>
                  </a:lnTo>
                  <a:lnTo>
                    <a:pt x="1182557" y="494225"/>
                  </a:lnTo>
                  <a:lnTo>
                    <a:pt x="1214767" y="474779"/>
                  </a:lnTo>
                  <a:lnTo>
                    <a:pt x="1232507" y="466845"/>
                  </a:lnTo>
                  <a:lnTo>
                    <a:pt x="1231681" y="466571"/>
                  </a:lnTo>
                  <a:close/>
                  <a:moveTo>
                    <a:pt x="499978" y="451460"/>
                  </a:moveTo>
                  <a:lnTo>
                    <a:pt x="494877" y="455618"/>
                  </a:lnTo>
                  <a:lnTo>
                    <a:pt x="503767" y="452702"/>
                  </a:lnTo>
                  <a:close/>
                  <a:moveTo>
                    <a:pt x="515335" y="438944"/>
                  </a:moveTo>
                  <a:lnTo>
                    <a:pt x="513996" y="440035"/>
                  </a:lnTo>
                  <a:lnTo>
                    <a:pt x="526708" y="469722"/>
                  </a:lnTo>
                  <a:lnTo>
                    <a:pt x="528367" y="465612"/>
                  </a:lnTo>
                  <a:close/>
                  <a:moveTo>
                    <a:pt x="1140094" y="436185"/>
                  </a:moveTo>
                  <a:lnTo>
                    <a:pt x="1139404" y="436958"/>
                  </a:lnTo>
                  <a:lnTo>
                    <a:pt x="1144489" y="443707"/>
                  </a:lnTo>
                  <a:cubicBezTo>
                    <a:pt x="1147535" y="447749"/>
                    <a:pt x="1152104" y="453812"/>
                    <a:pt x="1158958" y="462907"/>
                  </a:cubicBezTo>
                  <a:lnTo>
                    <a:pt x="1180494" y="491487"/>
                  </a:lnTo>
                  <a:lnTo>
                    <a:pt x="1228324" y="465457"/>
                  </a:lnTo>
                  <a:lnTo>
                    <a:pt x="1220640" y="462907"/>
                  </a:lnTo>
                  <a:cubicBezTo>
                    <a:pt x="1197795" y="455328"/>
                    <a:pt x="1155912" y="441433"/>
                    <a:pt x="1142586" y="437012"/>
                  </a:cubicBezTo>
                  <a:close/>
                  <a:moveTo>
                    <a:pt x="585788" y="420103"/>
                  </a:moveTo>
                  <a:cubicBezTo>
                    <a:pt x="585788" y="420103"/>
                    <a:pt x="569516" y="436229"/>
                    <a:pt x="553244" y="452354"/>
                  </a:cubicBezTo>
                  <a:lnTo>
                    <a:pt x="536760" y="468691"/>
                  </a:lnTo>
                  <a:lnTo>
                    <a:pt x="540798" y="494412"/>
                  </a:lnTo>
                  <a:lnTo>
                    <a:pt x="543074" y="490653"/>
                  </a:lnTo>
                  <a:cubicBezTo>
                    <a:pt x="549176" y="480574"/>
                    <a:pt x="561380" y="460417"/>
                    <a:pt x="585788" y="420103"/>
                  </a:cubicBezTo>
                  <a:close/>
                  <a:moveTo>
                    <a:pt x="1170888" y="419453"/>
                  </a:moveTo>
                  <a:cubicBezTo>
                    <a:pt x="1170888" y="419453"/>
                    <a:pt x="1170888" y="419453"/>
                    <a:pt x="1198302" y="439917"/>
                  </a:cubicBezTo>
                  <a:lnTo>
                    <a:pt x="1230749" y="464138"/>
                  </a:lnTo>
                  <a:lnTo>
                    <a:pt x="1252538" y="452279"/>
                  </a:lnTo>
                  <a:lnTo>
                    <a:pt x="1231340" y="464579"/>
                  </a:lnTo>
                  <a:lnTo>
                    <a:pt x="1233675" y="466322"/>
                  </a:lnTo>
                  <a:lnTo>
                    <a:pt x="1267099" y="451373"/>
                  </a:lnTo>
                  <a:lnTo>
                    <a:pt x="1264172" y="450402"/>
                  </a:lnTo>
                  <a:lnTo>
                    <a:pt x="1260094" y="449048"/>
                  </a:lnTo>
                  <a:lnTo>
                    <a:pt x="1252538" y="452279"/>
                  </a:lnTo>
                  <a:lnTo>
                    <a:pt x="1259324" y="448793"/>
                  </a:lnTo>
                  <a:lnTo>
                    <a:pt x="1253131" y="446738"/>
                  </a:lnTo>
                  <a:cubicBezTo>
                    <a:pt x="1225717" y="437643"/>
                    <a:pt x="1170888" y="419453"/>
                    <a:pt x="1170888" y="419453"/>
                  </a:cubicBezTo>
                  <a:close/>
                  <a:moveTo>
                    <a:pt x="553244" y="403977"/>
                  </a:moveTo>
                  <a:cubicBezTo>
                    <a:pt x="553244" y="403977"/>
                    <a:pt x="536972" y="420103"/>
                    <a:pt x="518666" y="436229"/>
                  </a:cubicBezTo>
                  <a:lnTo>
                    <a:pt x="518027" y="436749"/>
                  </a:lnTo>
                  <a:lnTo>
                    <a:pt x="531058" y="458944"/>
                  </a:lnTo>
                  <a:lnTo>
                    <a:pt x="534430" y="450590"/>
                  </a:lnTo>
                  <a:cubicBezTo>
                    <a:pt x="539006" y="439252"/>
                    <a:pt x="545108" y="424134"/>
                    <a:pt x="553244" y="403977"/>
                  </a:cubicBezTo>
                  <a:close/>
                  <a:moveTo>
                    <a:pt x="484270" y="402835"/>
                  </a:moveTo>
                  <a:lnTo>
                    <a:pt x="482320" y="404284"/>
                  </a:lnTo>
                  <a:lnTo>
                    <a:pt x="487362" y="404284"/>
                  </a:lnTo>
                  <a:close/>
                  <a:moveTo>
                    <a:pt x="489752" y="398760"/>
                  </a:moveTo>
                  <a:lnTo>
                    <a:pt x="489547" y="398912"/>
                  </a:lnTo>
                  <a:lnTo>
                    <a:pt x="495953" y="408849"/>
                  </a:lnTo>
                  <a:lnTo>
                    <a:pt x="496554" y="407359"/>
                  </a:lnTo>
                  <a:close/>
                  <a:moveTo>
                    <a:pt x="504428" y="387851"/>
                  </a:moveTo>
                  <a:cubicBezTo>
                    <a:pt x="504428" y="387851"/>
                    <a:pt x="500360" y="390875"/>
                    <a:pt x="494258" y="395410"/>
                  </a:cubicBezTo>
                  <a:lnTo>
                    <a:pt x="491209" y="397677"/>
                  </a:lnTo>
                  <a:lnTo>
                    <a:pt x="497185" y="405797"/>
                  </a:lnTo>
                  <a:close/>
                  <a:moveTo>
                    <a:pt x="439341" y="387851"/>
                  </a:moveTo>
                  <a:lnTo>
                    <a:pt x="438160" y="388144"/>
                  </a:lnTo>
                  <a:lnTo>
                    <a:pt x="439046" y="388144"/>
                  </a:lnTo>
                  <a:close/>
                  <a:moveTo>
                    <a:pt x="242888" y="387350"/>
                  </a:moveTo>
                  <a:cubicBezTo>
                    <a:pt x="242888" y="387350"/>
                    <a:pt x="242888" y="387350"/>
                    <a:pt x="259181" y="387350"/>
                  </a:cubicBezTo>
                  <a:lnTo>
                    <a:pt x="272388" y="396652"/>
                  </a:lnTo>
                  <a:lnTo>
                    <a:pt x="271506" y="395940"/>
                  </a:lnTo>
                  <a:cubicBezTo>
                    <a:pt x="264407" y="390382"/>
                    <a:pt x="260350" y="387350"/>
                    <a:pt x="260350" y="387350"/>
                  </a:cubicBezTo>
                  <a:cubicBezTo>
                    <a:pt x="373944" y="452026"/>
                    <a:pt x="438855" y="532871"/>
                    <a:pt x="471311" y="597547"/>
                  </a:cubicBezTo>
                  <a:cubicBezTo>
                    <a:pt x="438855" y="549040"/>
                    <a:pt x="406400" y="516702"/>
                    <a:pt x="390172" y="500533"/>
                  </a:cubicBezTo>
                  <a:lnTo>
                    <a:pt x="380762" y="491656"/>
                  </a:lnTo>
                  <a:lnTo>
                    <a:pt x="389778" y="501038"/>
                  </a:lnTo>
                  <a:cubicBezTo>
                    <a:pt x="405816" y="519734"/>
                    <a:pt x="422109" y="540956"/>
                    <a:pt x="438401" y="565209"/>
                  </a:cubicBezTo>
                  <a:cubicBezTo>
                    <a:pt x="438401" y="565209"/>
                    <a:pt x="340644" y="581378"/>
                    <a:pt x="340644" y="581378"/>
                  </a:cubicBezTo>
                  <a:cubicBezTo>
                    <a:pt x="340644" y="581378"/>
                    <a:pt x="340644" y="581378"/>
                    <a:pt x="422108" y="549040"/>
                  </a:cubicBezTo>
                  <a:cubicBezTo>
                    <a:pt x="422108" y="549040"/>
                    <a:pt x="324352" y="549040"/>
                    <a:pt x="324352" y="549040"/>
                  </a:cubicBezTo>
                  <a:cubicBezTo>
                    <a:pt x="324352" y="549040"/>
                    <a:pt x="324352" y="549040"/>
                    <a:pt x="389523" y="516702"/>
                  </a:cubicBezTo>
                  <a:cubicBezTo>
                    <a:pt x="389523" y="516702"/>
                    <a:pt x="324352" y="532871"/>
                    <a:pt x="324352" y="532871"/>
                  </a:cubicBezTo>
                  <a:cubicBezTo>
                    <a:pt x="324352" y="532871"/>
                    <a:pt x="324352" y="532871"/>
                    <a:pt x="373230" y="500533"/>
                  </a:cubicBezTo>
                  <a:cubicBezTo>
                    <a:pt x="373230" y="500533"/>
                    <a:pt x="308059" y="516702"/>
                    <a:pt x="308059" y="516702"/>
                  </a:cubicBezTo>
                  <a:cubicBezTo>
                    <a:pt x="308059" y="516702"/>
                    <a:pt x="308059" y="516702"/>
                    <a:pt x="328679" y="496238"/>
                  </a:cubicBezTo>
                  <a:lnTo>
                    <a:pt x="356428" y="468700"/>
                  </a:lnTo>
                  <a:lnTo>
                    <a:pt x="356110" y="468400"/>
                  </a:lnTo>
                  <a:lnTo>
                    <a:pt x="346754" y="470722"/>
                  </a:lnTo>
                  <a:cubicBezTo>
                    <a:pt x="328425" y="475269"/>
                    <a:pt x="291766" y="484364"/>
                    <a:pt x="291766" y="484364"/>
                  </a:cubicBezTo>
                  <a:cubicBezTo>
                    <a:pt x="291766" y="484364"/>
                    <a:pt x="291766" y="484364"/>
                    <a:pt x="324352" y="452026"/>
                  </a:cubicBezTo>
                  <a:cubicBezTo>
                    <a:pt x="324352" y="452026"/>
                    <a:pt x="275473" y="452026"/>
                    <a:pt x="275473" y="452026"/>
                  </a:cubicBezTo>
                  <a:cubicBezTo>
                    <a:pt x="275473" y="452026"/>
                    <a:pt x="275473" y="452026"/>
                    <a:pt x="308059" y="435857"/>
                  </a:cubicBezTo>
                  <a:cubicBezTo>
                    <a:pt x="308059" y="435857"/>
                    <a:pt x="305004" y="435857"/>
                    <a:pt x="300422" y="435857"/>
                  </a:cubicBezTo>
                  <a:lnTo>
                    <a:pt x="291766" y="435857"/>
                  </a:lnTo>
                  <a:cubicBezTo>
                    <a:pt x="291766" y="435857"/>
                    <a:pt x="259181" y="419688"/>
                    <a:pt x="259181" y="419688"/>
                  </a:cubicBezTo>
                  <a:cubicBezTo>
                    <a:pt x="259181" y="419688"/>
                    <a:pt x="259181" y="419688"/>
                    <a:pt x="275473" y="403519"/>
                  </a:cubicBezTo>
                  <a:cubicBezTo>
                    <a:pt x="275473" y="403519"/>
                    <a:pt x="275473" y="403519"/>
                    <a:pt x="242888" y="387350"/>
                  </a:cubicBezTo>
                  <a:close/>
                  <a:moveTo>
                    <a:pt x="795911" y="371178"/>
                  </a:moveTo>
                  <a:lnTo>
                    <a:pt x="796219" y="371331"/>
                  </a:lnTo>
                  <a:cubicBezTo>
                    <a:pt x="796219" y="371331"/>
                    <a:pt x="747536" y="387495"/>
                    <a:pt x="747536" y="387495"/>
                  </a:cubicBezTo>
                  <a:cubicBezTo>
                    <a:pt x="747536" y="387495"/>
                    <a:pt x="747536" y="387495"/>
                    <a:pt x="779991" y="403659"/>
                  </a:cubicBezTo>
                  <a:cubicBezTo>
                    <a:pt x="779991" y="403659"/>
                    <a:pt x="715080" y="403659"/>
                    <a:pt x="715080" y="403659"/>
                  </a:cubicBezTo>
                  <a:cubicBezTo>
                    <a:pt x="715080" y="403659"/>
                    <a:pt x="715080" y="403659"/>
                    <a:pt x="779991" y="435986"/>
                  </a:cubicBezTo>
                  <a:cubicBezTo>
                    <a:pt x="779991" y="435986"/>
                    <a:pt x="759707" y="435986"/>
                    <a:pt x="739422" y="435986"/>
                  </a:cubicBezTo>
                  <a:lnTo>
                    <a:pt x="730978" y="435986"/>
                  </a:lnTo>
                  <a:lnTo>
                    <a:pt x="731838" y="436404"/>
                  </a:lnTo>
                  <a:cubicBezTo>
                    <a:pt x="754212" y="448489"/>
                    <a:pt x="775060" y="461077"/>
                    <a:pt x="794415" y="473855"/>
                  </a:cubicBezTo>
                  <a:lnTo>
                    <a:pt x="841576" y="507794"/>
                  </a:lnTo>
                  <a:lnTo>
                    <a:pt x="847774" y="504645"/>
                  </a:lnTo>
                  <a:lnTo>
                    <a:pt x="859743" y="501559"/>
                  </a:lnTo>
                  <a:lnTo>
                    <a:pt x="884498" y="490502"/>
                  </a:lnTo>
                  <a:lnTo>
                    <a:pt x="901692" y="487930"/>
                  </a:lnTo>
                  <a:lnTo>
                    <a:pt x="905417" y="489780"/>
                  </a:lnTo>
                  <a:lnTo>
                    <a:pt x="908385" y="489015"/>
                  </a:lnTo>
                  <a:lnTo>
                    <a:pt x="905607" y="489874"/>
                  </a:lnTo>
                  <a:lnTo>
                    <a:pt x="907544" y="490836"/>
                  </a:lnTo>
                  <a:lnTo>
                    <a:pt x="927031" y="484387"/>
                  </a:lnTo>
                  <a:lnTo>
                    <a:pt x="926330" y="484387"/>
                  </a:lnTo>
                  <a:lnTo>
                    <a:pt x="908385" y="489015"/>
                  </a:lnTo>
                  <a:lnTo>
                    <a:pt x="913370" y="487471"/>
                  </a:lnTo>
                  <a:cubicBezTo>
                    <a:pt x="917693" y="486335"/>
                    <a:pt x="921125" y="485514"/>
                    <a:pt x="923477" y="484977"/>
                  </a:cubicBezTo>
                  <a:lnTo>
                    <a:pt x="926189" y="484387"/>
                  </a:lnTo>
                  <a:lnTo>
                    <a:pt x="926013" y="484387"/>
                  </a:lnTo>
                  <a:lnTo>
                    <a:pt x="925376" y="484387"/>
                  </a:lnTo>
                  <a:lnTo>
                    <a:pt x="901692" y="487930"/>
                  </a:lnTo>
                  <a:lnTo>
                    <a:pt x="898227" y="486209"/>
                  </a:lnTo>
                  <a:lnTo>
                    <a:pt x="894559" y="484387"/>
                  </a:lnTo>
                  <a:lnTo>
                    <a:pt x="861875" y="484387"/>
                  </a:lnTo>
                  <a:cubicBezTo>
                    <a:pt x="861875" y="484387"/>
                    <a:pt x="861875" y="484387"/>
                    <a:pt x="927031" y="452041"/>
                  </a:cubicBezTo>
                  <a:cubicBezTo>
                    <a:pt x="927031" y="452041"/>
                    <a:pt x="845586" y="468214"/>
                    <a:pt x="845586" y="468214"/>
                  </a:cubicBezTo>
                  <a:cubicBezTo>
                    <a:pt x="845586" y="468214"/>
                    <a:pt x="845586" y="468214"/>
                    <a:pt x="894453" y="435869"/>
                  </a:cubicBezTo>
                  <a:cubicBezTo>
                    <a:pt x="894453" y="435869"/>
                    <a:pt x="829296" y="435869"/>
                    <a:pt x="829296" y="435869"/>
                  </a:cubicBezTo>
                  <a:cubicBezTo>
                    <a:pt x="829296" y="435869"/>
                    <a:pt x="829296" y="435869"/>
                    <a:pt x="894453" y="403523"/>
                  </a:cubicBezTo>
                  <a:cubicBezTo>
                    <a:pt x="894453" y="403523"/>
                    <a:pt x="796718" y="403523"/>
                    <a:pt x="796718" y="403523"/>
                  </a:cubicBezTo>
                  <a:cubicBezTo>
                    <a:pt x="796718" y="403523"/>
                    <a:pt x="796718" y="403523"/>
                    <a:pt x="878164" y="371178"/>
                  </a:cubicBezTo>
                  <a:cubicBezTo>
                    <a:pt x="878164" y="371178"/>
                    <a:pt x="849658" y="371178"/>
                    <a:pt x="821152" y="371178"/>
                  </a:cubicBezTo>
                  <a:close/>
                  <a:moveTo>
                    <a:pt x="1240357" y="341051"/>
                  </a:moveTo>
                  <a:lnTo>
                    <a:pt x="1220187" y="356713"/>
                  </a:lnTo>
                  <a:lnTo>
                    <a:pt x="1201740" y="374473"/>
                  </a:lnTo>
                  <a:close/>
                  <a:moveTo>
                    <a:pt x="438150" y="339725"/>
                  </a:moveTo>
                  <a:lnTo>
                    <a:pt x="453555" y="354882"/>
                  </a:lnTo>
                  <a:lnTo>
                    <a:pt x="440200" y="341743"/>
                  </a:lnTo>
                  <a:cubicBezTo>
                    <a:pt x="438150" y="339725"/>
                    <a:pt x="438150" y="339725"/>
                    <a:pt x="438150" y="339725"/>
                  </a:cubicBezTo>
                  <a:close/>
                  <a:moveTo>
                    <a:pt x="829296" y="306487"/>
                  </a:moveTo>
                  <a:cubicBezTo>
                    <a:pt x="829296" y="306487"/>
                    <a:pt x="823188" y="307498"/>
                    <a:pt x="814025" y="309014"/>
                  </a:cubicBezTo>
                  <a:lnTo>
                    <a:pt x="809318" y="309793"/>
                  </a:lnTo>
                  <a:lnTo>
                    <a:pt x="796219" y="322840"/>
                  </a:lnTo>
                  <a:cubicBezTo>
                    <a:pt x="796219" y="322840"/>
                    <a:pt x="796219" y="322840"/>
                    <a:pt x="798248" y="322840"/>
                  </a:cubicBezTo>
                  <a:lnTo>
                    <a:pt x="801845" y="322840"/>
                  </a:lnTo>
                  <a:lnTo>
                    <a:pt x="802413" y="322502"/>
                  </a:lnTo>
                  <a:cubicBezTo>
                    <a:pt x="810207" y="317859"/>
                    <a:pt x="819116" y="312552"/>
                    <a:pt x="829296" y="306487"/>
                  </a:cubicBezTo>
                  <a:close/>
                  <a:moveTo>
                    <a:pt x="1301030" y="0"/>
                  </a:moveTo>
                  <a:lnTo>
                    <a:pt x="1301751" y="0"/>
                  </a:lnTo>
                  <a:lnTo>
                    <a:pt x="1305089" y="0"/>
                  </a:lnTo>
                  <a:cubicBezTo>
                    <a:pt x="1309148" y="0"/>
                    <a:pt x="1317265" y="0"/>
                    <a:pt x="1333501" y="0"/>
                  </a:cubicBezTo>
                  <a:cubicBezTo>
                    <a:pt x="1333501" y="0"/>
                    <a:pt x="1333501" y="0"/>
                    <a:pt x="1284794" y="32292"/>
                  </a:cubicBezTo>
                  <a:cubicBezTo>
                    <a:pt x="1284794" y="32292"/>
                    <a:pt x="1284794" y="32292"/>
                    <a:pt x="1317265" y="32292"/>
                  </a:cubicBezTo>
                  <a:cubicBezTo>
                    <a:pt x="1317265" y="32292"/>
                    <a:pt x="1268558" y="64584"/>
                    <a:pt x="1268558" y="64584"/>
                  </a:cubicBezTo>
                  <a:cubicBezTo>
                    <a:pt x="1268558" y="64584"/>
                    <a:pt x="1268558" y="64584"/>
                    <a:pt x="1317265" y="64584"/>
                  </a:cubicBezTo>
                  <a:cubicBezTo>
                    <a:pt x="1317265" y="64584"/>
                    <a:pt x="1252322" y="80730"/>
                    <a:pt x="1252322" y="80730"/>
                  </a:cubicBezTo>
                  <a:cubicBezTo>
                    <a:pt x="1252322" y="80730"/>
                    <a:pt x="1252322" y="80730"/>
                    <a:pt x="1301030" y="96876"/>
                  </a:cubicBezTo>
                  <a:cubicBezTo>
                    <a:pt x="1301030" y="96876"/>
                    <a:pt x="1236086" y="113022"/>
                    <a:pt x="1236086" y="113022"/>
                  </a:cubicBezTo>
                  <a:cubicBezTo>
                    <a:pt x="1236086" y="113022"/>
                    <a:pt x="1236086" y="113022"/>
                    <a:pt x="1284794" y="145314"/>
                  </a:cubicBezTo>
                  <a:cubicBezTo>
                    <a:pt x="1284794" y="145314"/>
                    <a:pt x="1203615" y="145314"/>
                    <a:pt x="1203615" y="145314"/>
                  </a:cubicBezTo>
                  <a:cubicBezTo>
                    <a:pt x="1203615" y="145314"/>
                    <a:pt x="1203615" y="145314"/>
                    <a:pt x="1268558" y="177606"/>
                  </a:cubicBezTo>
                  <a:cubicBezTo>
                    <a:pt x="1268558" y="177606"/>
                    <a:pt x="1187379" y="177606"/>
                    <a:pt x="1187379" y="177606"/>
                  </a:cubicBezTo>
                  <a:cubicBezTo>
                    <a:pt x="1187379" y="177606"/>
                    <a:pt x="1187379" y="177606"/>
                    <a:pt x="1252322" y="209899"/>
                  </a:cubicBezTo>
                  <a:cubicBezTo>
                    <a:pt x="1252322" y="209899"/>
                    <a:pt x="1154907" y="209899"/>
                    <a:pt x="1154907" y="209899"/>
                  </a:cubicBezTo>
                  <a:cubicBezTo>
                    <a:pt x="1154907" y="209899"/>
                    <a:pt x="1154907" y="209899"/>
                    <a:pt x="1236086" y="242191"/>
                  </a:cubicBezTo>
                  <a:cubicBezTo>
                    <a:pt x="1236086" y="242191"/>
                    <a:pt x="1122436" y="258337"/>
                    <a:pt x="1122436" y="258337"/>
                  </a:cubicBezTo>
                  <a:cubicBezTo>
                    <a:pt x="1122436" y="258337"/>
                    <a:pt x="1122436" y="258337"/>
                    <a:pt x="1219851" y="274483"/>
                  </a:cubicBezTo>
                  <a:cubicBezTo>
                    <a:pt x="1219851" y="274483"/>
                    <a:pt x="1106200" y="290629"/>
                    <a:pt x="1106200" y="290629"/>
                  </a:cubicBezTo>
                  <a:cubicBezTo>
                    <a:pt x="1106200" y="290629"/>
                    <a:pt x="1106200" y="290629"/>
                    <a:pt x="1203615" y="306775"/>
                  </a:cubicBezTo>
                  <a:cubicBezTo>
                    <a:pt x="1203615" y="322921"/>
                    <a:pt x="1089964" y="322921"/>
                    <a:pt x="1089964" y="322921"/>
                  </a:cubicBezTo>
                  <a:cubicBezTo>
                    <a:pt x="1089964" y="322921"/>
                    <a:pt x="1089964" y="322921"/>
                    <a:pt x="1171143" y="355213"/>
                  </a:cubicBezTo>
                  <a:cubicBezTo>
                    <a:pt x="1171143" y="355213"/>
                    <a:pt x="1084129" y="367575"/>
                    <a:pt x="1062376" y="370665"/>
                  </a:cubicBezTo>
                  <a:lnTo>
                    <a:pt x="1060252" y="370967"/>
                  </a:lnTo>
                  <a:lnTo>
                    <a:pt x="1059881" y="371834"/>
                  </a:lnTo>
                  <a:lnTo>
                    <a:pt x="1067640" y="373377"/>
                  </a:lnTo>
                  <a:cubicBezTo>
                    <a:pt x="1077787" y="375396"/>
                    <a:pt x="1098082" y="379432"/>
                    <a:pt x="1138671" y="387505"/>
                  </a:cubicBezTo>
                  <a:cubicBezTo>
                    <a:pt x="1138671" y="403651"/>
                    <a:pt x="1057492" y="403651"/>
                    <a:pt x="1057492" y="403651"/>
                  </a:cubicBezTo>
                  <a:cubicBezTo>
                    <a:pt x="1057492" y="403651"/>
                    <a:pt x="1057492" y="403651"/>
                    <a:pt x="1122436" y="419797"/>
                  </a:cubicBezTo>
                  <a:cubicBezTo>
                    <a:pt x="1122436" y="419797"/>
                    <a:pt x="1041257" y="435943"/>
                    <a:pt x="1041257" y="435943"/>
                  </a:cubicBezTo>
                  <a:cubicBezTo>
                    <a:pt x="1041257" y="435943"/>
                    <a:pt x="1041257" y="435943"/>
                    <a:pt x="1106200" y="452090"/>
                  </a:cubicBezTo>
                  <a:cubicBezTo>
                    <a:pt x="1106200" y="452090"/>
                    <a:pt x="1106200" y="452090"/>
                    <a:pt x="1041257" y="468236"/>
                  </a:cubicBezTo>
                  <a:cubicBezTo>
                    <a:pt x="1041257" y="468236"/>
                    <a:pt x="1041257" y="468236"/>
                    <a:pt x="1061805" y="475047"/>
                  </a:cubicBezTo>
                  <a:lnTo>
                    <a:pt x="1086005" y="483069"/>
                  </a:lnTo>
                  <a:lnTo>
                    <a:pt x="1110126" y="452086"/>
                  </a:lnTo>
                  <a:cubicBezTo>
                    <a:pt x="1123907" y="435738"/>
                    <a:pt x="1138896" y="419327"/>
                    <a:pt x="1155154" y="403169"/>
                  </a:cubicBezTo>
                  <a:cubicBezTo>
                    <a:pt x="1203928" y="354693"/>
                    <a:pt x="1270993" y="297128"/>
                    <a:pt x="1356349" y="257742"/>
                  </a:cubicBezTo>
                  <a:lnTo>
                    <a:pt x="1401363" y="241835"/>
                  </a:lnTo>
                  <a:lnTo>
                    <a:pt x="1401878" y="241594"/>
                  </a:lnTo>
                  <a:cubicBezTo>
                    <a:pt x="1419646" y="234520"/>
                    <a:pt x="1434876" y="229467"/>
                    <a:pt x="1447060" y="225425"/>
                  </a:cubicBezTo>
                  <a:lnTo>
                    <a:pt x="1447801" y="225425"/>
                  </a:lnTo>
                  <a:lnTo>
                    <a:pt x="1451122" y="225425"/>
                  </a:lnTo>
                  <a:cubicBezTo>
                    <a:pt x="1455183" y="225425"/>
                    <a:pt x="1463306" y="225425"/>
                    <a:pt x="1479551" y="225425"/>
                  </a:cubicBezTo>
                  <a:cubicBezTo>
                    <a:pt x="1479551" y="225425"/>
                    <a:pt x="1479551" y="225425"/>
                    <a:pt x="1463306" y="241594"/>
                  </a:cubicBezTo>
                  <a:cubicBezTo>
                    <a:pt x="1463306" y="241594"/>
                    <a:pt x="1463306" y="241594"/>
                    <a:pt x="1430815" y="241594"/>
                  </a:cubicBezTo>
                  <a:cubicBezTo>
                    <a:pt x="1430815" y="241594"/>
                    <a:pt x="1430815" y="241594"/>
                    <a:pt x="1463306" y="257763"/>
                  </a:cubicBezTo>
                  <a:cubicBezTo>
                    <a:pt x="1447060" y="257763"/>
                    <a:pt x="1398324" y="257763"/>
                    <a:pt x="1398324" y="257763"/>
                  </a:cubicBezTo>
                  <a:cubicBezTo>
                    <a:pt x="1398324" y="257763"/>
                    <a:pt x="1398324" y="257763"/>
                    <a:pt x="1430815" y="273932"/>
                  </a:cubicBezTo>
                  <a:cubicBezTo>
                    <a:pt x="1430815" y="273932"/>
                    <a:pt x="1382079" y="273932"/>
                    <a:pt x="1382079" y="273932"/>
                  </a:cubicBezTo>
                  <a:cubicBezTo>
                    <a:pt x="1382079" y="273932"/>
                    <a:pt x="1382079" y="273932"/>
                    <a:pt x="1414570" y="306270"/>
                  </a:cubicBezTo>
                  <a:cubicBezTo>
                    <a:pt x="1414570" y="306270"/>
                    <a:pt x="1349588" y="290101"/>
                    <a:pt x="1349588" y="290101"/>
                  </a:cubicBezTo>
                  <a:cubicBezTo>
                    <a:pt x="1349588" y="290101"/>
                    <a:pt x="1349588" y="290101"/>
                    <a:pt x="1382079" y="322439"/>
                  </a:cubicBezTo>
                  <a:cubicBezTo>
                    <a:pt x="1382079" y="322439"/>
                    <a:pt x="1317097" y="306270"/>
                    <a:pt x="1317097" y="306270"/>
                  </a:cubicBezTo>
                  <a:cubicBezTo>
                    <a:pt x="1317097" y="306270"/>
                    <a:pt x="1317097" y="306270"/>
                    <a:pt x="1365833" y="354777"/>
                  </a:cubicBezTo>
                  <a:cubicBezTo>
                    <a:pt x="1365833" y="354777"/>
                    <a:pt x="1300851" y="322439"/>
                    <a:pt x="1300851" y="322439"/>
                  </a:cubicBezTo>
                  <a:cubicBezTo>
                    <a:pt x="1300851" y="322439"/>
                    <a:pt x="1300851" y="322439"/>
                    <a:pt x="1333342" y="387115"/>
                  </a:cubicBezTo>
                  <a:cubicBezTo>
                    <a:pt x="1333342" y="387115"/>
                    <a:pt x="1268361" y="338608"/>
                    <a:pt x="1268361" y="338608"/>
                  </a:cubicBezTo>
                  <a:cubicBezTo>
                    <a:pt x="1268361" y="338608"/>
                    <a:pt x="1268361" y="338608"/>
                    <a:pt x="1317097" y="403284"/>
                  </a:cubicBezTo>
                  <a:cubicBezTo>
                    <a:pt x="1317097" y="403284"/>
                    <a:pt x="1219624" y="370946"/>
                    <a:pt x="1219624" y="370946"/>
                  </a:cubicBezTo>
                  <a:cubicBezTo>
                    <a:pt x="1219624" y="370946"/>
                    <a:pt x="1219624" y="370946"/>
                    <a:pt x="1284606" y="419453"/>
                  </a:cubicBezTo>
                  <a:cubicBezTo>
                    <a:pt x="1284606" y="419453"/>
                    <a:pt x="1203379" y="387115"/>
                    <a:pt x="1203379" y="387115"/>
                  </a:cubicBezTo>
                  <a:cubicBezTo>
                    <a:pt x="1203379" y="387115"/>
                    <a:pt x="1203379" y="387115"/>
                    <a:pt x="1230793" y="414400"/>
                  </a:cubicBezTo>
                  <a:lnTo>
                    <a:pt x="1263297" y="446752"/>
                  </a:lnTo>
                  <a:lnTo>
                    <a:pt x="1304846" y="425407"/>
                  </a:lnTo>
                  <a:cubicBezTo>
                    <a:pt x="1363374" y="399172"/>
                    <a:pt x="1439601" y="375805"/>
                    <a:pt x="1524838" y="363908"/>
                  </a:cubicBezTo>
                  <a:lnTo>
                    <a:pt x="1573964" y="360456"/>
                  </a:lnTo>
                  <a:lnTo>
                    <a:pt x="1582409" y="359128"/>
                  </a:lnTo>
                  <a:cubicBezTo>
                    <a:pt x="1606055" y="356608"/>
                    <a:pt x="1626394" y="355600"/>
                    <a:pt x="1642666" y="355600"/>
                  </a:cubicBezTo>
                  <a:lnTo>
                    <a:pt x="1642693" y="355626"/>
                  </a:lnTo>
                  <a:lnTo>
                    <a:pt x="1643063" y="355600"/>
                  </a:lnTo>
                  <a:lnTo>
                    <a:pt x="1642716" y="355650"/>
                  </a:lnTo>
                  <a:lnTo>
                    <a:pt x="1644700" y="357616"/>
                  </a:lnTo>
                  <a:cubicBezTo>
                    <a:pt x="1646734" y="359632"/>
                    <a:pt x="1650802" y="363663"/>
                    <a:pt x="1658938" y="371726"/>
                  </a:cubicBezTo>
                  <a:cubicBezTo>
                    <a:pt x="1658938" y="371726"/>
                    <a:pt x="1658938" y="371726"/>
                    <a:pt x="1610123" y="371726"/>
                  </a:cubicBezTo>
                  <a:cubicBezTo>
                    <a:pt x="1610123" y="371726"/>
                    <a:pt x="1610123" y="371726"/>
                    <a:pt x="1642666" y="387851"/>
                  </a:cubicBezTo>
                  <a:cubicBezTo>
                    <a:pt x="1626394" y="387851"/>
                    <a:pt x="1577579" y="387851"/>
                    <a:pt x="1577579" y="387851"/>
                  </a:cubicBezTo>
                  <a:cubicBezTo>
                    <a:pt x="1577579" y="387851"/>
                    <a:pt x="1577579" y="387851"/>
                    <a:pt x="1610123" y="403977"/>
                  </a:cubicBezTo>
                  <a:cubicBezTo>
                    <a:pt x="1610123" y="403977"/>
                    <a:pt x="1545035" y="387851"/>
                    <a:pt x="1545035" y="387851"/>
                  </a:cubicBezTo>
                  <a:cubicBezTo>
                    <a:pt x="1545035" y="387851"/>
                    <a:pt x="1545035" y="387851"/>
                    <a:pt x="1577579" y="420103"/>
                  </a:cubicBezTo>
                  <a:cubicBezTo>
                    <a:pt x="1577579" y="420103"/>
                    <a:pt x="1512491" y="387851"/>
                    <a:pt x="1512491" y="387851"/>
                  </a:cubicBezTo>
                  <a:cubicBezTo>
                    <a:pt x="1512491" y="387851"/>
                    <a:pt x="1512491" y="387851"/>
                    <a:pt x="1545035" y="452354"/>
                  </a:cubicBezTo>
                  <a:cubicBezTo>
                    <a:pt x="1545035" y="452354"/>
                    <a:pt x="1479948" y="387851"/>
                    <a:pt x="1479948" y="387851"/>
                  </a:cubicBezTo>
                  <a:cubicBezTo>
                    <a:pt x="1479948" y="387851"/>
                    <a:pt x="1479948" y="387851"/>
                    <a:pt x="1512491" y="468480"/>
                  </a:cubicBezTo>
                  <a:cubicBezTo>
                    <a:pt x="1496219" y="468480"/>
                    <a:pt x="1431132" y="403977"/>
                    <a:pt x="1431132" y="403977"/>
                  </a:cubicBezTo>
                  <a:cubicBezTo>
                    <a:pt x="1431132" y="403977"/>
                    <a:pt x="1431132" y="403977"/>
                    <a:pt x="1463676" y="484606"/>
                  </a:cubicBezTo>
                  <a:cubicBezTo>
                    <a:pt x="1463676" y="484606"/>
                    <a:pt x="1398588" y="420103"/>
                    <a:pt x="1398588" y="420103"/>
                  </a:cubicBezTo>
                  <a:cubicBezTo>
                    <a:pt x="1398588" y="420103"/>
                    <a:pt x="1398588" y="420103"/>
                    <a:pt x="1447404" y="500731"/>
                  </a:cubicBezTo>
                  <a:cubicBezTo>
                    <a:pt x="1447404" y="500731"/>
                    <a:pt x="1349773" y="420103"/>
                    <a:pt x="1349773" y="420103"/>
                  </a:cubicBezTo>
                  <a:cubicBezTo>
                    <a:pt x="1349773" y="420103"/>
                    <a:pt x="1349773" y="420103"/>
                    <a:pt x="1398588" y="516857"/>
                  </a:cubicBezTo>
                  <a:cubicBezTo>
                    <a:pt x="1398588" y="516857"/>
                    <a:pt x="1300957" y="436229"/>
                    <a:pt x="1300957" y="436229"/>
                  </a:cubicBezTo>
                  <a:cubicBezTo>
                    <a:pt x="1337569" y="420103"/>
                    <a:pt x="1373164" y="407001"/>
                    <a:pt x="1406978" y="396418"/>
                  </a:cubicBezTo>
                  <a:lnTo>
                    <a:pt x="1453957" y="384252"/>
                  </a:lnTo>
                  <a:lnTo>
                    <a:pt x="1431529" y="387826"/>
                  </a:lnTo>
                  <a:cubicBezTo>
                    <a:pt x="1398985" y="395883"/>
                    <a:pt x="1370509" y="403940"/>
                    <a:pt x="1342033" y="414010"/>
                  </a:cubicBezTo>
                  <a:lnTo>
                    <a:pt x="1263949" y="447400"/>
                  </a:lnTo>
                  <a:lnTo>
                    <a:pt x="1267679" y="451113"/>
                  </a:lnTo>
                  <a:lnTo>
                    <a:pt x="1300957" y="436229"/>
                  </a:lnTo>
                  <a:cubicBezTo>
                    <a:pt x="1300957" y="436229"/>
                    <a:pt x="1300957" y="436229"/>
                    <a:pt x="1366044" y="532983"/>
                  </a:cubicBezTo>
                  <a:cubicBezTo>
                    <a:pt x="1366044" y="532983"/>
                    <a:pt x="1268413" y="468480"/>
                    <a:pt x="1268413" y="468480"/>
                  </a:cubicBezTo>
                  <a:cubicBezTo>
                    <a:pt x="1268413" y="468480"/>
                    <a:pt x="1268413" y="468480"/>
                    <a:pt x="1333501" y="549108"/>
                  </a:cubicBezTo>
                  <a:cubicBezTo>
                    <a:pt x="1317229" y="549108"/>
                    <a:pt x="1235869" y="468480"/>
                    <a:pt x="1235869" y="468480"/>
                  </a:cubicBezTo>
                  <a:cubicBezTo>
                    <a:pt x="1235869" y="468480"/>
                    <a:pt x="1235869" y="468480"/>
                    <a:pt x="1284685" y="549108"/>
                  </a:cubicBezTo>
                  <a:cubicBezTo>
                    <a:pt x="1284685" y="549108"/>
                    <a:pt x="1219598" y="500731"/>
                    <a:pt x="1219598" y="500731"/>
                  </a:cubicBezTo>
                  <a:cubicBezTo>
                    <a:pt x="1219598" y="500731"/>
                    <a:pt x="1219598" y="500731"/>
                    <a:pt x="1252141" y="565234"/>
                  </a:cubicBezTo>
                  <a:cubicBezTo>
                    <a:pt x="1252141" y="565234"/>
                    <a:pt x="1170782" y="516857"/>
                    <a:pt x="1170782" y="516857"/>
                  </a:cubicBezTo>
                  <a:cubicBezTo>
                    <a:pt x="1170782" y="516857"/>
                    <a:pt x="1170782" y="516857"/>
                    <a:pt x="1219598" y="581360"/>
                  </a:cubicBezTo>
                  <a:cubicBezTo>
                    <a:pt x="1219598" y="581360"/>
                    <a:pt x="1219598" y="581360"/>
                    <a:pt x="1154510" y="532983"/>
                  </a:cubicBezTo>
                  <a:cubicBezTo>
                    <a:pt x="1154510" y="532983"/>
                    <a:pt x="1154510" y="532983"/>
                    <a:pt x="1187054" y="581360"/>
                  </a:cubicBezTo>
                  <a:cubicBezTo>
                    <a:pt x="1187054" y="581360"/>
                    <a:pt x="1187054" y="581360"/>
                    <a:pt x="1138238" y="549108"/>
                  </a:cubicBezTo>
                  <a:cubicBezTo>
                    <a:pt x="1138238" y="549108"/>
                    <a:pt x="1138238" y="549108"/>
                    <a:pt x="1154510" y="597485"/>
                  </a:cubicBezTo>
                  <a:cubicBezTo>
                    <a:pt x="1154510" y="597485"/>
                    <a:pt x="1154510" y="597485"/>
                    <a:pt x="1105694" y="565234"/>
                  </a:cubicBezTo>
                  <a:cubicBezTo>
                    <a:pt x="1105694" y="565234"/>
                    <a:pt x="1105694" y="565234"/>
                    <a:pt x="1121966" y="613611"/>
                  </a:cubicBezTo>
                  <a:cubicBezTo>
                    <a:pt x="1121966" y="613611"/>
                    <a:pt x="1121966" y="613611"/>
                    <a:pt x="1073151" y="597485"/>
                  </a:cubicBezTo>
                  <a:cubicBezTo>
                    <a:pt x="1073151" y="597485"/>
                    <a:pt x="1073151" y="597485"/>
                    <a:pt x="1105694" y="613611"/>
                  </a:cubicBezTo>
                  <a:cubicBezTo>
                    <a:pt x="1105694" y="613611"/>
                    <a:pt x="1105694" y="613611"/>
                    <a:pt x="1078236" y="620414"/>
                  </a:cubicBezTo>
                  <a:lnTo>
                    <a:pt x="1040906" y="629663"/>
                  </a:lnTo>
                  <a:lnTo>
                    <a:pt x="1040794" y="629737"/>
                  </a:lnTo>
                  <a:lnTo>
                    <a:pt x="1044675" y="629737"/>
                  </a:lnTo>
                  <a:cubicBezTo>
                    <a:pt x="1048743" y="629737"/>
                    <a:pt x="1056879" y="629737"/>
                    <a:pt x="1073151" y="629737"/>
                  </a:cubicBezTo>
                  <a:cubicBezTo>
                    <a:pt x="1073151" y="629737"/>
                    <a:pt x="1069083" y="631752"/>
                    <a:pt x="1062981" y="634776"/>
                  </a:cubicBezTo>
                  <a:lnTo>
                    <a:pt x="1049986" y="641215"/>
                  </a:lnTo>
                  <a:lnTo>
                    <a:pt x="1079650" y="632644"/>
                  </a:lnTo>
                  <a:lnTo>
                    <a:pt x="1088681" y="630670"/>
                  </a:lnTo>
                  <a:lnTo>
                    <a:pt x="1089474" y="630437"/>
                  </a:lnTo>
                  <a:lnTo>
                    <a:pt x="1096577" y="628943"/>
                  </a:lnTo>
                  <a:lnTo>
                    <a:pt x="1124874" y="622755"/>
                  </a:lnTo>
                  <a:lnTo>
                    <a:pt x="1128308" y="622270"/>
                  </a:lnTo>
                  <a:lnTo>
                    <a:pt x="1132468" y="621395"/>
                  </a:lnTo>
                  <a:lnTo>
                    <a:pt x="1135724" y="621222"/>
                  </a:lnTo>
                  <a:lnTo>
                    <a:pt x="1177535" y="615315"/>
                  </a:lnTo>
                  <a:cubicBezTo>
                    <a:pt x="1214909" y="611548"/>
                    <a:pt x="1256606" y="610543"/>
                    <a:pt x="1301354" y="614562"/>
                  </a:cubicBezTo>
                  <a:cubicBezTo>
                    <a:pt x="1374577" y="614562"/>
                    <a:pt x="1466107" y="632644"/>
                    <a:pt x="1555348" y="675591"/>
                  </a:cubicBezTo>
                  <a:lnTo>
                    <a:pt x="1625176" y="716577"/>
                  </a:lnTo>
                  <a:lnTo>
                    <a:pt x="1643063" y="726878"/>
                  </a:lnTo>
                  <a:lnTo>
                    <a:pt x="1643063" y="727076"/>
                  </a:lnTo>
                  <a:lnTo>
                    <a:pt x="1643063" y="728887"/>
                  </a:lnTo>
                  <a:cubicBezTo>
                    <a:pt x="1643063" y="730896"/>
                    <a:pt x="1643063" y="734914"/>
                    <a:pt x="1643063" y="742951"/>
                  </a:cubicBezTo>
                  <a:cubicBezTo>
                    <a:pt x="1643063" y="742951"/>
                    <a:pt x="1643063" y="742951"/>
                    <a:pt x="1610499" y="710804"/>
                  </a:cubicBezTo>
                  <a:cubicBezTo>
                    <a:pt x="1610499" y="710804"/>
                    <a:pt x="1610499" y="710804"/>
                    <a:pt x="1626781" y="742951"/>
                  </a:cubicBezTo>
                  <a:cubicBezTo>
                    <a:pt x="1610499" y="742951"/>
                    <a:pt x="1577935" y="710804"/>
                    <a:pt x="1577935" y="710804"/>
                  </a:cubicBezTo>
                  <a:cubicBezTo>
                    <a:pt x="1577935" y="710804"/>
                    <a:pt x="1577935" y="710804"/>
                    <a:pt x="1577935" y="742951"/>
                  </a:cubicBezTo>
                  <a:cubicBezTo>
                    <a:pt x="1577935" y="742951"/>
                    <a:pt x="1561653" y="710804"/>
                    <a:pt x="1561653" y="710804"/>
                  </a:cubicBezTo>
                  <a:cubicBezTo>
                    <a:pt x="1561653" y="710804"/>
                    <a:pt x="1561653" y="710804"/>
                    <a:pt x="1561653" y="742951"/>
                  </a:cubicBezTo>
                  <a:cubicBezTo>
                    <a:pt x="1561653" y="742951"/>
                    <a:pt x="1529089" y="694731"/>
                    <a:pt x="1529089" y="694731"/>
                  </a:cubicBezTo>
                  <a:cubicBezTo>
                    <a:pt x="1529089" y="694731"/>
                    <a:pt x="1529089" y="694731"/>
                    <a:pt x="1512807" y="742951"/>
                  </a:cubicBezTo>
                  <a:cubicBezTo>
                    <a:pt x="1512807" y="742951"/>
                    <a:pt x="1496525" y="678657"/>
                    <a:pt x="1496525" y="678657"/>
                  </a:cubicBezTo>
                  <a:cubicBezTo>
                    <a:pt x="1496525" y="678657"/>
                    <a:pt x="1496525" y="678657"/>
                    <a:pt x="1480243" y="742951"/>
                  </a:cubicBezTo>
                  <a:cubicBezTo>
                    <a:pt x="1480243" y="742951"/>
                    <a:pt x="1471084" y="697744"/>
                    <a:pt x="1466505" y="675141"/>
                  </a:cubicBezTo>
                  <a:lnTo>
                    <a:pt x="1463996" y="662760"/>
                  </a:lnTo>
                  <a:lnTo>
                    <a:pt x="1463929" y="662740"/>
                  </a:lnTo>
                  <a:lnTo>
                    <a:pt x="1463706" y="663839"/>
                  </a:lnTo>
                  <a:cubicBezTo>
                    <a:pt x="1462943" y="667607"/>
                    <a:pt x="1459890" y="682676"/>
                    <a:pt x="1447679" y="742951"/>
                  </a:cubicBezTo>
                  <a:cubicBezTo>
                    <a:pt x="1447679" y="742951"/>
                    <a:pt x="1431397" y="662584"/>
                    <a:pt x="1431397" y="662584"/>
                  </a:cubicBezTo>
                  <a:cubicBezTo>
                    <a:pt x="1431397" y="662584"/>
                    <a:pt x="1431397" y="662584"/>
                    <a:pt x="1415115" y="742951"/>
                  </a:cubicBezTo>
                  <a:cubicBezTo>
                    <a:pt x="1415115" y="742951"/>
                    <a:pt x="1382550" y="646510"/>
                    <a:pt x="1382550" y="646510"/>
                  </a:cubicBezTo>
                  <a:cubicBezTo>
                    <a:pt x="1382550" y="646510"/>
                    <a:pt x="1382550" y="646510"/>
                    <a:pt x="1382550" y="726878"/>
                  </a:cubicBezTo>
                  <a:cubicBezTo>
                    <a:pt x="1382550" y="726878"/>
                    <a:pt x="1364233" y="672630"/>
                    <a:pt x="1355074" y="645506"/>
                  </a:cubicBezTo>
                  <a:lnTo>
                    <a:pt x="1352018" y="636455"/>
                  </a:lnTo>
                  <a:lnTo>
                    <a:pt x="1349986" y="636221"/>
                  </a:lnTo>
                  <a:lnTo>
                    <a:pt x="1349986" y="642492"/>
                  </a:lnTo>
                  <a:cubicBezTo>
                    <a:pt x="1349986" y="654547"/>
                    <a:pt x="1349986" y="678657"/>
                    <a:pt x="1349986" y="726878"/>
                  </a:cubicBezTo>
                  <a:cubicBezTo>
                    <a:pt x="1349986" y="726878"/>
                    <a:pt x="1312589" y="653040"/>
                    <a:pt x="1303239" y="634581"/>
                  </a:cubicBezTo>
                  <a:lnTo>
                    <a:pt x="1301236" y="630625"/>
                  </a:lnTo>
                  <a:lnTo>
                    <a:pt x="1301140" y="630617"/>
                  </a:lnTo>
                  <a:lnTo>
                    <a:pt x="1301140" y="631692"/>
                  </a:lnTo>
                  <a:cubicBezTo>
                    <a:pt x="1301140" y="635460"/>
                    <a:pt x="1301140" y="650529"/>
                    <a:pt x="1301140" y="710804"/>
                  </a:cubicBezTo>
                  <a:cubicBezTo>
                    <a:pt x="1301140" y="710804"/>
                    <a:pt x="1268576" y="630437"/>
                    <a:pt x="1268576" y="630437"/>
                  </a:cubicBezTo>
                  <a:cubicBezTo>
                    <a:pt x="1268576" y="630437"/>
                    <a:pt x="1268576" y="630437"/>
                    <a:pt x="1268576" y="664342"/>
                  </a:cubicBezTo>
                  <a:lnTo>
                    <a:pt x="1268576" y="703103"/>
                  </a:lnTo>
                  <a:lnTo>
                    <a:pt x="1333694" y="727076"/>
                  </a:lnTo>
                  <a:cubicBezTo>
                    <a:pt x="1382481" y="751364"/>
                    <a:pt x="1443464" y="783749"/>
                    <a:pt x="1502415" y="824231"/>
                  </a:cubicBezTo>
                  <a:lnTo>
                    <a:pt x="1565817" y="873981"/>
                  </a:lnTo>
                  <a:lnTo>
                    <a:pt x="1569109" y="876338"/>
                  </a:lnTo>
                  <a:lnTo>
                    <a:pt x="1570759" y="877859"/>
                  </a:lnTo>
                  <a:lnTo>
                    <a:pt x="1587537" y="891025"/>
                  </a:lnTo>
                  <a:lnTo>
                    <a:pt x="1600052" y="904861"/>
                  </a:lnTo>
                  <a:lnTo>
                    <a:pt x="1624502" y="927398"/>
                  </a:lnTo>
                  <a:cubicBezTo>
                    <a:pt x="1639240" y="943070"/>
                    <a:pt x="1650420" y="957225"/>
                    <a:pt x="1658551" y="969358"/>
                  </a:cubicBezTo>
                  <a:lnTo>
                    <a:pt x="1658751" y="969757"/>
                  </a:lnTo>
                  <a:lnTo>
                    <a:pt x="1658938" y="969963"/>
                  </a:lnTo>
                  <a:lnTo>
                    <a:pt x="1658779" y="969811"/>
                  </a:lnTo>
                  <a:lnTo>
                    <a:pt x="1660584" y="973403"/>
                  </a:lnTo>
                  <a:cubicBezTo>
                    <a:pt x="1662617" y="977447"/>
                    <a:pt x="1666682" y="985536"/>
                    <a:pt x="1674813" y="1001713"/>
                  </a:cubicBezTo>
                  <a:cubicBezTo>
                    <a:pt x="1674813" y="1001713"/>
                    <a:pt x="1674813" y="1001713"/>
                    <a:pt x="1661092" y="981239"/>
                  </a:cubicBezTo>
                  <a:lnTo>
                    <a:pt x="1644346" y="956251"/>
                  </a:lnTo>
                  <a:lnTo>
                    <a:pt x="1642289" y="954423"/>
                  </a:lnTo>
                  <a:lnTo>
                    <a:pt x="1642289" y="959247"/>
                  </a:lnTo>
                  <a:cubicBezTo>
                    <a:pt x="1642289" y="965314"/>
                    <a:pt x="1642289" y="977447"/>
                    <a:pt x="1642289" y="1001713"/>
                  </a:cubicBezTo>
                  <a:cubicBezTo>
                    <a:pt x="1642289" y="1001713"/>
                    <a:pt x="1609764" y="937004"/>
                    <a:pt x="1609764" y="937004"/>
                  </a:cubicBezTo>
                  <a:cubicBezTo>
                    <a:pt x="1609764" y="937004"/>
                    <a:pt x="1609764" y="937004"/>
                    <a:pt x="1609764" y="985536"/>
                  </a:cubicBezTo>
                  <a:cubicBezTo>
                    <a:pt x="1609764" y="985536"/>
                    <a:pt x="1593502" y="937004"/>
                    <a:pt x="1593502" y="937004"/>
                  </a:cubicBezTo>
                  <a:cubicBezTo>
                    <a:pt x="1593502" y="937004"/>
                    <a:pt x="1593502" y="937004"/>
                    <a:pt x="1577240" y="969358"/>
                  </a:cubicBezTo>
                  <a:cubicBezTo>
                    <a:pt x="1577240" y="969358"/>
                    <a:pt x="1560978" y="904649"/>
                    <a:pt x="1560978" y="904649"/>
                  </a:cubicBezTo>
                  <a:cubicBezTo>
                    <a:pt x="1560978" y="904649"/>
                    <a:pt x="1560978" y="904649"/>
                    <a:pt x="1528453" y="953181"/>
                  </a:cubicBezTo>
                  <a:cubicBezTo>
                    <a:pt x="1528453" y="953181"/>
                    <a:pt x="1528453" y="872294"/>
                    <a:pt x="1528453" y="872294"/>
                  </a:cubicBezTo>
                  <a:cubicBezTo>
                    <a:pt x="1528453" y="872294"/>
                    <a:pt x="1528453" y="872294"/>
                    <a:pt x="1495929" y="937004"/>
                  </a:cubicBezTo>
                  <a:cubicBezTo>
                    <a:pt x="1495929" y="937004"/>
                    <a:pt x="1495929" y="856117"/>
                    <a:pt x="1495929" y="856117"/>
                  </a:cubicBezTo>
                  <a:cubicBezTo>
                    <a:pt x="1495929" y="856117"/>
                    <a:pt x="1495929" y="856117"/>
                    <a:pt x="1463405" y="920826"/>
                  </a:cubicBezTo>
                  <a:cubicBezTo>
                    <a:pt x="1463405" y="920826"/>
                    <a:pt x="1463405" y="823762"/>
                    <a:pt x="1463405" y="823762"/>
                  </a:cubicBezTo>
                  <a:cubicBezTo>
                    <a:pt x="1463405" y="823762"/>
                    <a:pt x="1463405" y="823762"/>
                    <a:pt x="1430880" y="904649"/>
                  </a:cubicBezTo>
                  <a:cubicBezTo>
                    <a:pt x="1430880" y="904649"/>
                    <a:pt x="1414618" y="791407"/>
                    <a:pt x="1414618" y="791407"/>
                  </a:cubicBezTo>
                  <a:cubicBezTo>
                    <a:pt x="1414618" y="791407"/>
                    <a:pt x="1414618" y="791407"/>
                    <a:pt x="1398356" y="888471"/>
                  </a:cubicBezTo>
                  <a:cubicBezTo>
                    <a:pt x="1382094" y="888471"/>
                    <a:pt x="1382094" y="775230"/>
                    <a:pt x="1382094" y="775230"/>
                  </a:cubicBezTo>
                  <a:cubicBezTo>
                    <a:pt x="1382094" y="775230"/>
                    <a:pt x="1382094" y="775230"/>
                    <a:pt x="1349569" y="872294"/>
                  </a:cubicBezTo>
                  <a:cubicBezTo>
                    <a:pt x="1349569" y="872294"/>
                    <a:pt x="1349569" y="759052"/>
                    <a:pt x="1349569" y="759052"/>
                  </a:cubicBezTo>
                  <a:cubicBezTo>
                    <a:pt x="1349569" y="759052"/>
                    <a:pt x="1349569" y="759052"/>
                    <a:pt x="1317045" y="839939"/>
                  </a:cubicBezTo>
                  <a:cubicBezTo>
                    <a:pt x="1317045" y="839939"/>
                    <a:pt x="1300783" y="742875"/>
                    <a:pt x="1300783" y="742875"/>
                  </a:cubicBezTo>
                  <a:cubicBezTo>
                    <a:pt x="1300783" y="742875"/>
                    <a:pt x="1300783" y="742875"/>
                    <a:pt x="1268258" y="823762"/>
                  </a:cubicBezTo>
                  <a:cubicBezTo>
                    <a:pt x="1268258" y="823762"/>
                    <a:pt x="1268258" y="726698"/>
                    <a:pt x="1268258" y="726698"/>
                  </a:cubicBezTo>
                  <a:cubicBezTo>
                    <a:pt x="1268258" y="726698"/>
                    <a:pt x="1268258" y="726698"/>
                    <a:pt x="1251996" y="791407"/>
                  </a:cubicBezTo>
                  <a:cubicBezTo>
                    <a:pt x="1251996" y="791407"/>
                    <a:pt x="1235734" y="710520"/>
                    <a:pt x="1235734" y="710520"/>
                  </a:cubicBezTo>
                  <a:cubicBezTo>
                    <a:pt x="1235734" y="710520"/>
                    <a:pt x="1235734" y="710520"/>
                    <a:pt x="1219472" y="775230"/>
                  </a:cubicBezTo>
                  <a:cubicBezTo>
                    <a:pt x="1219472" y="775230"/>
                    <a:pt x="1219472" y="775230"/>
                    <a:pt x="1203210" y="710520"/>
                  </a:cubicBezTo>
                  <a:cubicBezTo>
                    <a:pt x="1203210" y="710520"/>
                    <a:pt x="1203210" y="710520"/>
                    <a:pt x="1186947" y="759052"/>
                  </a:cubicBezTo>
                  <a:cubicBezTo>
                    <a:pt x="1186947" y="759052"/>
                    <a:pt x="1186947" y="759052"/>
                    <a:pt x="1170685" y="710520"/>
                  </a:cubicBezTo>
                  <a:cubicBezTo>
                    <a:pt x="1170685" y="710520"/>
                    <a:pt x="1170685" y="710520"/>
                    <a:pt x="1154423" y="742875"/>
                  </a:cubicBezTo>
                  <a:cubicBezTo>
                    <a:pt x="1154423" y="742875"/>
                    <a:pt x="1154423" y="742875"/>
                    <a:pt x="1138161" y="694343"/>
                  </a:cubicBezTo>
                  <a:cubicBezTo>
                    <a:pt x="1138161" y="694343"/>
                    <a:pt x="1138161" y="694343"/>
                    <a:pt x="1138161" y="726698"/>
                  </a:cubicBezTo>
                  <a:cubicBezTo>
                    <a:pt x="1138161" y="726698"/>
                    <a:pt x="1138161" y="726698"/>
                    <a:pt x="1124439" y="706223"/>
                  </a:cubicBezTo>
                  <a:lnTo>
                    <a:pt x="1105750" y="678336"/>
                  </a:lnTo>
                  <a:lnTo>
                    <a:pt x="1105636" y="678321"/>
                  </a:lnTo>
                  <a:lnTo>
                    <a:pt x="1105636" y="678421"/>
                  </a:lnTo>
                  <a:lnTo>
                    <a:pt x="1105756" y="678657"/>
                  </a:lnTo>
                  <a:lnTo>
                    <a:pt x="1105636" y="678579"/>
                  </a:lnTo>
                  <a:lnTo>
                    <a:pt x="1105636" y="678924"/>
                  </a:lnTo>
                  <a:cubicBezTo>
                    <a:pt x="1105636" y="681199"/>
                    <a:pt x="1105636" y="690299"/>
                    <a:pt x="1105636" y="726698"/>
                  </a:cubicBezTo>
                  <a:cubicBezTo>
                    <a:pt x="1105636" y="726698"/>
                    <a:pt x="1105636" y="726698"/>
                    <a:pt x="1073112" y="678166"/>
                  </a:cubicBezTo>
                  <a:lnTo>
                    <a:pt x="1073112" y="678501"/>
                  </a:lnTo>
                  <a:lnTo>
                    <a:pt x="1073191" y="678657"/>
                  </a:lnTo>
                  <a:lnTo>
                    <a:pt x="1073112" y="678638"/>
                  </a:lnTo>
                  <a:lnTo>
                    <a:pt x="1073112" y="679872"/>
                  </a:lnTo>
                  <a:cubicBezTo>
                    <a:pt x="1073112" y="681578"/>
                    <a:pt x="1073112" y="684991"/>
                    <a:pt x="1073112" y="691815"/>
                  </a:cubicBezTo>
                  <a:lnTo>
                    <a:pt x="1073112" y="699186"/>
                  </a:lnTo>
                  <a:lnTo>
                    <a:pt x="1091683" y="714585"/>
                  </a:lnTo>
                  <a:cubicBezTo>
                    <a:pt x="1130433" y="750998"/>
                    <a:pt x="1179381" y="807641"/>
                    <a:pt x="1220171" y="888560"/>
                  </a:cubicBezTo>
                  <a:cubicBezTo>
                    <a:pt x="1236487" y="929019"/>
                    <a:pt x="1256882" y="981616"/>
                    <a:pt x="1271159" y="1042305"/>
                  </a:cubicBezTo>
                  <a:lnTo>
                    <a:pt x="1279423" y="1093638"/>
                  </a:lnTo>
                  <a:lnTo>
                    <a:pt x="1285409" y="1120892"/>
                  </a:lnTo>
                  <a:cubicBezTo>
                    <a:pt x="1289495" y="1146179"/>
                    <a:pt x="1291538" y="1168937"/>
                    <a:pt x="1291538" y="1189420"/>
                  </a:cubicBezTo>
                  <a:lnTo>
                    <a:pt x="1285443" y="1243994"/>
                  </a:lnTo>
                  <a:lnTo>
                    <a:pt x="1285435" y="1244601"/>
                  </a:lnTo>
                  <a:lnTo>
                    <a:pt x="1285432" y="1244093"/>
                  </a:lnTo>
                  <a:lnTo>
                    <a:pt x="1285409" y="1244292"/>
                  </a:lnTo>
                  <a:cubicBezTo>
                    <a:pt x="1285409" y="1244292"/>
                    <a:pt x="1285409" y="1244292"/>
                    <a:pt x="1285409" y="1260476"/>
                  </a:cubicBezTo>
                  <a:cubicBezTo>
                    <a:pt x="1285409" y="1260476"/>
                    <a:pt x="1285409" y="1260476"/>
                    <a:pt x="1269067" y="1260476"/>
                  </a:cubicBezTo>
                  <a:cubicBezTo>
                    <a:pt x="1269067" y="1260476"/>
                    <a:pt x="1269067" y="1260476"/>
                    <a:pt x="1275962" y="1239994"/>
                  </a:cubicBezTo>
                  <a:lnTo>
                    <a:pt x="1284626" y="1214251"/>
                  </a:lnTo>
                  <a:lnTo>
                    <a:pt x="1284597" y="1213534"/>
                  </a:lnTo>
                  <a:lnTo>
                    <a:pt x="1283367" y="1215971"/>
                  </a:lnTo>
                  <a:cubicBezTo>
                    <a:pt x="1281324" y="1220017"/>
                    <a:pt x="1277238" y="1228109"/>
                    <a:pt x="1269067" y="1244292"/>
                  </a:cubicBezTo>
                  <a:cubicBezTo>
                    <a:pt x="1269067" y="1244292"/>
                    <a:pt x="1269067" y="1195741"/>
                    <a:pt x="1269067" y="1195741"/>
                  </a:cubicBezTo>
                  <a:cubicBezTo>
                    <a:pt x="1269067" y="1195741"/>
                    <a:pt x="1269067" y="1195741"/>
                    <a:pt x="1252725" y="1211925"/>
                  </a:cubicBezTo>
                  <a:cubicBezTo>
                    <a:pt x="1252725" y="1211925"/>
                    <a:pt x="1269067" y="1163374"/>
                    <a:pt x="1269067" y="1163374"/>
                  </a:cubicBezTo>
                  <a:cubicBezTo>
                    <a:pt x="1269067" y="1163374"/>
                    <a:pt x="1269067" y="1163374"/>
                    <a:pt x="1236383" y="1195741"/>
                  </a:cubicBezTo>
                  <a:cubicBezTo>
                    <a:pt x="1236383" y="1195741"/>
                    <a:pt x="1269067" y="1131007"/>
                    <a:pt x="1269067" y="1131007"/>
                  </a:cubicBezTo>
                  <a:cubicBezTo>
                    <a:pt x="1269067" y="1131007"/>
                    <a:pt x="1269067" y="1131007"/>
                    <a:pt x="1220042" y="1163374"/>
                  </a:cubicBezTo>
                  <a:cubicBezTo>
                    <a:pt x="1203700" y="1163374"/>
                    <a:pt x="1269067" y="1098639"/>
                    <a:pt x="1269067" y="1098639"/>
                  </a:cubicBezTo>
                  <a:cubicBezTo>
                    <a:pt x="1269067" y="1098639"/>
                    <a:pt x="1269067" y="1098639"/>
                    <a:pt x="1187358" y="1131007"/>
                  </a:cubicBezTo>
                  <a:cubicBezTo>
                    <a:pt x="1187358" y="1131007"/>
                    <a:pt x="1252725" y="1066272"/>
                    <a:pt x="1252725" y="1066272"/>
                  </a:cubicBezTo>
                  <a:cubicBezTo>
                    <a:pt x="1252725" y="1066272"/>
                    <a:pt x="1252725" y="1066272"/>
                    <a:pt x="1171016" y="1098639"/>
                  </a:cubicBezTo>
                  <a:cubicBezTo>
                    <a:pt x="1171016" y="1098639"/>
                    <a:pt x="1236383" y="1017721"/>
                    <a:pt x="1236383" y="1017721"/>
                  </a:cubicBezTo>
                  <a:cubicBezTo>
                    <a:pt x="1236383" y="1017721"/>
                    <a:pt x="1236383" y="1017721"/>
                    <a:pt x="1171016" y="1066272"/>
                  </a:cubicBezTo>
                  <a:cubicBezTo>
                    <a:pt x="1171016" y="1066272"/>
                    <a:pt x="1236383" y="985353"/>
                    <a:pt x="1236383" y="985353"/>
                  </a:cubicBezTo>
                  <a:cubicBezTo>
                    <a:pt x="1236383" y="985353"/>
                    <a:pt x="1236383" y="985353"/>
                    <a:pt x="1154674" y="1033904"/>
                  </a:cubicBezTo>
                  <a:cubicBezTo>
                    <a:pt x="1154674" y="1033904"/>
                    <a:pt x="1220042" y="952986"/>
                    <a:pt x="1220042" y="952986"/>
                  </a:cubicBezTo>
                  <a:cubicBezTo>
                    <a:pt x="1220042" y="952986"/>
                    <a:pt x="1220042" y="952986"/>
                    <a:pt x="1138332" y="1001537"/>
                  </a:cubicBezTo>
                  <a:cubicBezTo>
                    <a:pt x="1138332" y="1001537"/>
                    <a:pt x="1203700" y="920619"/>
                    <a:pt x="1203700" y="920619"/>
                  </a:cubicBezTo>
                  <a:cubicBezTo>
                    <a:pt x="1203700" y="920619"/>
                    <a:pt x="1203700" y="920619"/>
                    <a:pt x="1121990" y="969170"/>
                  </a:cubicBezTo>
                  <a:cubicBezTo>
                    <a:pt x="1121990" y="952986"/>
                    <a:pt x="1187358" y="888251"/>
                    <a:pt x="1187358" y="888251"/>
                  </a:cubicBezTo>
                  <a:cubicBezTo>
                    <a:pt x="1187358" y="888251"/>
                    <a:pt x="1187358" y="888251"/>
                    <a:pt x="1121990" y="920619"/>
                  </a:cubicBezTo>
                  <a:cubicBezTo>
                    <a:pt x="1121990" y="920619"/>
                    <a:pt x="1171016" y="855884"/>
                    <a:pt x="1171016" y="855884"/>
                  </a:cubicBezTo>
                  <a:cubicBezTo>
                    <a:pt x="1171016" y="855884"/>
                    <a:pt x="1171016" y="855884"/>
                    <a:pt x="1105648" y="888251"/>
                  </a:cubicBezTo>
                  <a:cubicBezTo>
                    <a:pt x="1105648" y="888251"/>
                    <a:pt x="1154674" y="823516"/>
                    <a:pt x="1154674" y="823516"/>
                  </a:cubicBezTo>
                  <a:cubicBezTo>
                    <a:pt x="1154674" y="823516"/>
                    <a:pt x="1154674" y="823516"/>
                    <a:pt x="1089306" y="855884"/>
                  </a:cubicBezTo>
                  <a:cubicBezTo>
                    <a:pt x="1089306" y="855884"/>
                    <a:pt x="1089306" y="855884"/>
                    <a:pt x="1138332" y="807333"/>
                  </a:cubicBezTo>
                  <a:cubicBezTo>
                    <a:pt x="1138332" y="807333"/>
                    <a:pt x="1138332" y="807333"/>
                    <a:pt x="1089306" y="823516"/>
                  </a:cubicBezTo>
                  <a:cubicBezTo>
                    <a:pt x="1089306" y="823516"/>
                    <a:pt x="1089306" y="823516"/>
                    <a:pt x="1121990" y="791149"/>
                  </a:cubicBezTo>
                  <a:cubicBezTo>
                    <a:pt x="1121990" y="791149"/>
                    <a:pt x="1121990" y="791149"/>
                    <a:pt x="1072964" y="807333"/>
                  </a:cubicBezTo>
                  <a:cubicBezTo>
                    <a:pt x="1072964" y="807333"/>
                    <a:pt x="1072964" y="807333"/>
                    <a:pt x="1105648" y="758782"/>
                  </a:cubicBezTo>
                  <a:cubicBezTo>
                    <a:pt x="1105648" y="758782"/>
                    <a:pt x="1105648" y="758782"/>
                    <a:pt x="1072964" y="791149"/>
                  </a:cubicBezTo>
                  <a:cubicBezTo>
                    <a:pt x="1072964" y="791149"/>
                    <a:pt x="1072964" y="791149"/>
                    <a:pt x="1072964" y="726414"/>
                  </a:cubicBezTo>
                  <a:cubicBezTo>
                    <a:pt x="1072964" y="726414"/>
                    <a:pt x="1072964" y="726414"/>
                    <a:pt x="1056622" y="758782"/>
                  </a:cubicBezTo>
                  <a:cubicBezTo>
                    <a:pt x="1056622" y="758782"/>
                    <a:pt x="1056622" y="758782"/>
                    <a:pt x="1056622" y="710231"/>
                  </a:cubicBezTo>
                  <a:cubicBezTo>
                    <a:pt x="1056622" y="710231"/>
                    <a:pt x="1056622" y="710231"/>
                    <a:pt x="1040280" y="742598"/>
                  </a:cubicBezTo>
                  <a:cubicBezTo>
                    <a:pt x="1040280" y="742598"/>
                    <a:pt x="1037982" y="733495"/>
                    <a:pt x="1035109" y="722115"/>
                  </a:cubicBezTo>
                  <a:lnTo>
                    <a:pt x="1027019" y="690065"/>
                  </a:lnTo>
                  <a:lnTo>
                    <a:pt x="1008571" y="678491"/>
                  </a:lnTo>
                  <a:lnTo>
                    <a:pt x="1008530" y="679775"/>
                  </a:lnTo>
                  <a:cubicBezTo>
                    <a:pt x="1008344" y="685509"/>
                    <a:pt x="1007601" y="708446"/>
                    <a:pt x="1004630" y="800195"/>
                  </a:cubicBezTo>
                  <a:lnTo>
                    <a:pt x="1003186" y="844781"/>
                  </a:lnTo>
                  <a:lnTo>
                    <a:pt x="1013073" y="848787"/>
                  </a:lnTo>
                  <a:lnTo>
                    <a:pt x="1039483" y="858080"/>
                  </a:lnTo>
                  <a:cubicBezTo>
                    <a:pt x="1053457" y="863615"/>
                    <a:pt x="1064635" y="868647"/>
                    <a:pt x="1072765" y="872672"/>
                  </a:cubicBezTo>
                  <a:lnTo>
                    <a:pt x="1072947" y="873032"/>
                  </a:lnTo>
                  <a:lnTo>
                    <a:pt x="1073150" y="873126"/>
                  </a:lnTo>
                  <a:lnTo>
                    <a:pt x="1072954" y="873047"/>
                  </a:lnTo>
                  <a:lnTo>
                    <a:pt x="1074798" y="876698"/>
                  </a:lnTo>
                  <a:cubicBezTo>
                    <a:pt x="1076830" y="880723"/>
                    <a:pt x="1080895" y="888774"/>
                    <a:pt x="1089025" y="904876"/>
                  </a:cubicBezTo>
                  <a:cubicBezTo>
                    <a:pt x="1089025" y="904876"/>
                    <a:pt x="1072765" y="904876"/>
                    <a:pt x="1072765" y="904876"/>
                  </a:cubicBezTo>
                  <a:cubicBezTo>
                    <a:pt x="1072765" y="904876"/>
                    <a:pt x="1072765" y="904876"/>
                    <a:pt x="1056506" y="872672"/>
                  </a:cubicBezTo>
                  <a:cubicBezTo>
                    <a:pt x="1056506" y="872672"/>
                    <a:pt x="1056506" y="872672"/>
                    <a:pt x="1056506" y="904876"/>
                  </a:cubicBezTo>
                  <a:cubicBezTo>
                    <a:pt x="1056506" y="904876"/>
                    <a:pt x="1023986" y="872672"/>
                    <a:pt x="1023986" y="872672"/>
                  </a:cubicBezTo>
                  <a:cubicBezTo>
                    <a:pt x="1023986" y="872672"/>
                    <a:pt x="1023986" y="872672"/>
                    <a:pt x="1023986" y="904876"/>
                  </a:cubicBezTo>
                  <a:cubicBezTo>
                    <a:pt x="1023986" y="904876"/>
                    <a:pt x="1007726" y="872672"/>
                    <a:pt x="1007726" y="872672"/>
                  </a:cubicBezTo>
                  <a:cubicBezTo>
                    <a:pt x="1007726" y="872672"/>
                    <a:pt x="1007726" y="872672"/>
                    <a:pt x="1007726" y="904876"/>
                  </a:cubicBezTo>
                  <a:cubicBezTo>
                    <a:pt x="1007726" y="904876"/>
                    <a:pt x="1006710" y="901857"/>
                    <a:pt x="1005186" y="897328"/>
                  </a:cubicBezTo>
                  <a:lnTo>
                    <a:pt x="1001809" y="887297"/>
                  </a:lnTo>
                  <a:lnTo>
                    <a:pt x="1001746" y="889253"/>
                  </a:lnTo>
                  <a:cubicBezTo>
                    <a:pt x="1001175" y="906869"/>
                    <a:pt x="1000557" y="925953"/>
                    <a:pt x="999888" y="946627"/>
                  </a:cubicBezTo>
                  <a:lnTo>
                    <a:pt x="998470" y="990417"/>
                  </a:lnTo>
                  <a:lnTo>
                    <a:pt x="1032370" y="1015964"/>
                  </a:lnTo>
                  <a:lnTo>
                    <a:pt x="1042214" y="1027556"/>
                  </a:lnTo>
                  <a:lnTo>
                    <a:pt x="1066228" y="1050120"/>
                  </a:lnTo>
                  <a:cubicBezTo>
                    <a:pt x="1077949" y="1062981"/>
                    <a:pt x="1086103" y="1074077"/>
                    <a:pt x="1090180" y="1082147"/>
                  </a:cubicBezTo>
                  <a:cubicBezTo>
                    <a:pt x="1090180" y="1082147"/>
                    <a:pt x="1090180" y="1082147"/>
                    <a:pt x="1106488" y="1114426"/>
                  </a:cubicBezTo>
                  <a:cubicBezTo>
                    <a:pt x="1106488" y="1114426"/>
                    <a:pt x="1106488" y="1114426"/>
                    <a:pt x="1092728" y="1093999"/>
                  </a:cubicBezTo>
                  <a:lnTo>
                    <a:pt x="1077955" y="1072068"/>
                  </a:lnTo>
                  <a:lnTo>
                    <a:pt x="1073872" y="1068289"/>
                  </a:lnTo>
                  <a:lnTo>
                    <a:pt x="1073872" y="1070042"/>
                  </a:lnTo>
                  <a:cubicBezTo>
                    <a:pt x="1073872" y="1074077"/>
                    <a:pt x="1073872" y="1082147"/>
                    <a:pt x="1073872" y="1098287"/>
                  </a:cubicBezTo>
                  <a:cubicBezTo>
                    <a:pt x="1073872" y="1098287"/>
                    <a:pt x="1057564" y="1066007"/>
                    <a:pt x="1057564" y="1066007"/>
                  </a:cubicBezTo>
                  <a:cubicBezTo>
                    <a:pt x="1057564" y="1066007"/>
                    <a:pt x="1057564" y="1066007"/>
                    <a:pt x="1041256" y="1098287"/>
                  </a:cubicBezTo>
                  <a:cubicBezTo>
                    <a:pt x="1041256" y="1098287"/>
                    <a:pt x="1041256" y="1049868"/>
                    <a:pt x="1041256" y="1049868"/>
                  </a:cubicBezTo>
                  <a:cubicBezTo>
                    <a:pt x="1041256" y="1049868"/>
                    <a:pt x="1041256" y="1049868"/>
                    <a:pt x="1024948" y="1082147"/>
                  </a:cubicBezTo>
                  <a:cubicBezTo>
                    <a:pt x="1024948" y="1082147"/>
                    <a:pt x="1008640" y="1017588"/>
                    <a:pt x="1008640" y="1017588"/>
                  </a:cubicBezTo>
                  <a:cubicBezTo>
                    <a:pt x="1008640" y="1017588"/>
                    <a:pt x="1008640" y="1017588"/>
                    <a:pt x="1001760" y="1038015"/>
                  </a:cubicBezTo>
                  <a:lnTo>
                    <a:pt x="996414" y="1053889"/>
                  </a:lnTo>
                  <a:lnTo>
                    <a:pt x="995221" y="1090734"/>
                  </a:lnTo>
                  <a:cubicBezTo>
                    <a:pt x="994329" y="1118259"/>
                    <a:pt x="993378" y="1147619"/>
                    <a:pt x="992364" y="1178936"/>
                  </a:cubicBezTo>
                  <a:cubicBezTo>
                    <a:pt x="976136" y="1243590"/>
                    <a:pt x="976136" y="1324409"/>
                    <a:pt x="992364" y="1405227"/>
                  </a:cubicBezTo>
                  <a:cubicBezTo>
                    <a:pt x="992364" y="1405227"/>
                    <a:pt x="992364" y="1405227"/>
                    <a:pt x="1035850" y="1751735"/>
                  </a:cubicBezTo>
                  <a:lnTo>
                    <a:pt x="1044326" y="1819281"/>
                  </a:lnTo>
                  <a:lnTo>
                    <a:pt x="1112266" y="1842407"/>
                  </a:lnTo>
                  <a:cubicBezTo>
                    <a:pt x="1211896" y="1882662"/>
                    <a:pt x="1285094" y="1939018"/>
                    <a:pt x="1317626" y="2003425"/>
                  </a:cubicBezTo>
                  <a:cubicBezTo>
                    <a:pt x="1317626" y="2003425"/>
                    <a:pt x="1317626" y="2003425"/>
                    <a:pt x="195263" y="2003425"/>
                  </a:cubicBezTo>
                  <a:cubicBezTo>
                    <a:pt x="225762" y="1922916"/>
                    <a:pt x="326154" y="1854987"/>
                    <a:pt x="464671" y="1815361"/>
                  </a:cubicBezTo>
                  <a:lnTo>
                    <a:pt x="516010" y="1803469"/>
                  </a:lnTo>
                  <a:lnTo>
                    <a:pt x="512358" y="1756275"/>
                  </a:lnTo>
                  <a:cubicBezTo>
                    <a:pt x="507591" y="1694662"/>
                    <a:pt x="499964" y="1596081"/>
                    <a:pt x="487760" y="1438351"/>
                  </a:cubicBezTo>
                  <a:cubicBezTo>
                    <a:pt x="471488" y="1373642"/>
                    <a:pt x="471488" y="1308932"/>
                    <a:pt x="487760" y="1244223"/>
                  </a:cubicBezTo>
                  <a:cubicBezTo>
                    <a:pt x="487760" y="1244223"/>
                    <a:pt x="487760" y="1244223"/>
                    <a:pt x="509561" y="973283"/>
                  </a:cubicBezTo>
                  <a:lnTo>
                    <a:pt x="514154" y="916215"/>
                  </a:lnTo>
                  <a:lnTo>
                    <a:pt x="512168" y="912935"/>
                  </a:lnTo>
                  <a:lnTo>
                    <a:pt x="506339" y="907133"/>
                  </a:lnTo>
                  <a:lnTo>
                    <a:pt x="490798" y="891664"/>
                  </a:lnTo>
                  <a:lnTo>
                    <a:pt x="492954" y="904488"/>
                  </a:lnTo>
                  <a:lnTo>
                    <a:pt x="494431" y="908898"/>
                  </a:lnTo>
                  <a:cubicBezTo>
                    <a:pt x="496711" y="915707"/>
                    <a:pt x="499751" y="924786"/>
                    <a:pt x="503805" y="936890"/>
                  </a:cubicBezTo>
                  <a:cubicBezTo>
                    <a:pt x="503805" y="936890"/>
                    <a:pt x="503805" y="936890"/>
                    <a:pt x="499751" y="934873"/>
                  </a:cubicBezTo>
                  <a:lnTo>
                    <a:pt x="497908" y="933955"/>
                  </a:lnTo>
                  <a:lnTo>
                    <a:pt x="500574" y="949814"/>
                  </a:lnTo>
                  <a:lnTo>
                    <a:pt x="503805" y="953030"/>
                  </a:lnTo>
                  <a:cubicBezTo>
                    <a:pt x="503805" y="953030"/>
                    <a:pt x="503805" y="953030"/>
                    <a:pt x="503045" y="952778"/>
                  </a:cubicBezTo>
                  <a:lnTo>
                    <a:pt x="500956" y="952085"/>
                  </a:lnTo>
                  <a:lnTo>
                    <a:pt x="501277" y="953993"/>
                  </a:lnTo>
                  <a:cubicBezTo>
                    <a:pt x="502804" y="963078"/>
                    <a:pt x="503823" y="969135"/>
                    <a:pt x="503823" y="969135"/>
                  </a:cubicBezTo>
                  <a:cubicBezTo>
                    <a:pt x="503823" y="969135"/>
                    <a:pt x="503823" y="969135"/>
                    <a:pt x="499750" y="961059"/>
                  </a:cubicBezTo>
                  <a:lnTo>
                    <a:pt x="494071" y="949800"/>
                  </a:lnTo>
                  <a:lnTo>
                    <a:pt x="483283" y="946221"/>
                  </a:lnTo>
                  <a:lnTo>
                    <a:pt x="464109" y="939860"/>
                  </a:lnTo>
                  <a:lnTo>
                    <a:pt x="463112" y="944806"/>
                  </a:lnTo>
                  <a:lnTo>
                    <a:pt x="468841" y="950508"/>
                  </a:lnTo>
                  <a:cubicBezTo>
                    <a:pt x="473401" y="955047"/>
                    <a:pt x="479482" y="961100"/>
                    <a:pt x="487590" y="969170"/>
                  </a:cubicBezTo>
                  <a:cubicBezTo>
                    <a:pt x="487590" y="969170"/>
                    <a:pt x="487590" y="969170"/>
                    <a:pt x="473908" y="962361"/>
                  </a:cubicBezTo>
                  <a:lnTo>
                    <a:pt x="460878" y="955876"/>
                  </a:lnTo>
                  <a:lnTo>
                    <a:pt x="459995" y="960250"/>
                  </a:lnTo>
                  <a:lnTo>
                    <a:pt x="460227" y="960595"/>
                  </a:lnTo>
                  <a:cubicBezTo>
                    <a:pt x="469348" y="974213"/>
                    <a:pt x="487590" y="1001449"/>
                    <a:pt x="487590" y="1001449"/>
                  </a:cubicBezTo>
                  <a:cubicBezTo>
                    <a:pt x="487590" y="1001449"/>
                    <a:pt x="487590" y="1001449"/>
                    <a:pt x="467067" y="987831"/>
                  </a:cubicBezTo>
                  <a:lnTo>
                    <a:pt x="455923" y="980436"/>
                  </a:lnTo>
                  <a:lnTo>
                    <a:pt x="454944" y="985286"/>
                  </a:lnTo>
                  <a:cubicBezTo>
                    <a:pt x="454944" y="985286"/>
                    <a:pt x="454944" y="985286"/>
                    <a:pt x="452908" y="979229"/>
                  </a:cubicBezTo>
                  <a:lnTo>
                    <a:pt x="452564" y="978207"/>
                  </a:lnTo>
                  <a:lnTo>
                    <a:pt x="438944" y="969170"/>
                  </a:lnTo>
                  <a:cubicBezTo>
                    <a:pt x="438944" y="969170"/>
                    <a:pt x="471375" y="1017588"/>
                    <a:pt x="471375" y="1017588"/>
                  </a:cubicBezTo>
                  <a:cubicBezTo>
                    <a:pt x="471375" y="1017588"/>
                    <a:pt x="471375" y="1017588"/>
                    <a:pt x="450852" y="1003971"/>
                  </a:cubicBezTo>
                  <a:lnTo>
                    <a:pt x="431784" y="991317"/>
                  </a:lnTo>
                  <a:lnTo>
                    <a:pt x="431778" y="991343"/>
                  </a:lnTo>
                  <a:lnTo>
                    <a:pt x="429198" y="994108"/>
                  </a:lnTo>
                  <a:lnTo>
                    <a:pt x="430330" y="995649"/>
                  </a:lnTo>
                  <a:cubicBezTo>
                    <a:pt x="444012" y="1014562"/>
                    <a:pt x="471375" y="1053903"/>
                    <a:pt x="471375" y="1066007"/>
                  </a:cubicBezTo>
                  <a:cubicBezTo>
                    <a:pt x="471375" y="1066007"/>
                    <a:pt x="471375" y="1066007"/>
                    <a:pt x="406514" y="1017588"/>
                  </a:cubicBezTo>
                  <a:cubicBezTo>
                    <a:pt x="406514" y="1017588"/>
                    <a:pt x="455159" y="1082147"/>
                    <a:pt x="455159" y="1098286"/>
                  </a:cubicBezTo>
                  <a:cubicBezTo>
                    <a:pt x="455159" y="1098286"/>
                    <a:pt x="455159" y="1098286"/>
                    <a:pt x="390299" y="1033728"/>
                  </a:cubicBezTo>
                  <a:cubicBezTo>
                    <a:pt x="390299" y="1033728"/>
                    <a:pt x="455159" y="1114426"/>
                    <a:pt x="455159" y="1114426"/>
                  </a:cubicBezTo>
                  <a:cubicBezTo>
                    <a:pt x="455159" y="1114426"/>
                    <a:pt x="455159" y="1114426"/>
                    <a:pt x="374083" y="1066007"/>
                  </a:cubicBezTo>
                  <a:cubicBezTo>
                    <a:pt x="374083" y="1066007"/>
                    <a:pt x="438944" y="1146705"/>
                    <a:pt x="438944" y="1146705"/>
                  </a:cubicBezTo>
                  <a:cubicBezTo>
                    <a:pt x="438944" y="1146705"/>
                    <a:pt x="438944" y="1146705"/>
                    <a:pt x="374083" y="1098286"/>
                  </a:cubicBezTo>
                  <a:cubicBezTo>
                    <a:pt x="374083" y="1098286"/>
                    <a:pt x="422729" y="1162845"/>
                    <a:pt x="422729" y="1162845"/>
                  </a:cubicBezTo>
                  <a:cubicBezTo>
                    <a:pt x="422729" y="1162845"/>
                    <a:pt x="422729" y="1162845"/>
                    <a:pt x="374083" y="1130566"/>
                  </a:cubicBezTo>
                  <a:cubicBezTo>
                    <a:pt x="374083" y="1130566"/>
                    <a:pt x="422729" y="1195124"/>
                    <a:pt x="422729" y="1195124"/>
                  </a:cubicBezTo>
                  <a:cubicBezTo>
                    <a:pt x="422729" y="1195124"/>
                    <a:pt x="422729" y="1195124"/>
                    <a:pt x="357868" y="1162845"/>
                  </a:cubicBezTo>
                  <a:cubicBezTo>
                    <a:pt x="357868" y="1162845"/>
                    <a:pt x="406514" y="1211264"/>
                    <a:pt x="406514" y="1211264"/>
                  </a:cubicBezTo>
                  <a:cubicBezTo>
                    <a:pt x="406514" y="1211264"/>
                    <a:pt x="406514" y="1211264"/>
                    <a:pt x="357868" y="1195124"/>
                  </a:cubicBezTo>
                  <a:cubicBezTo>
                    <a:pt x="357868" y="1195124"/>
                    <a:pt x="390299" y="1243543"/>
                    <a:pt x="390299" y="1243543"/>
                  </a:cubicBezTo>
                  <a:cubicBezTo>
                    <a:pt x="390299" y="1243543"/>
                    <a:pt x="390299" y="1243543"/>
                    <a:pt x="357868" y="1227403"/>
                  </a:cubicBezTo>
                  <a:cubicBezTo>
                    <a:pt x="357868" y="1227403"/>
                    <a:pt x="374083" y="1259682"/>
                    <a:pt x="374083" y="1259682"/>
                  </a:cubicBezTo>
                  <a:cubicBezTo>
                    <a:pt x="374083" y="1259682"/>
                    <a:pt x="374083" y="1259682"/>
                    <a:pt x="357868" y="1243543"/>
                  </a:cubicBezTo>
                  <a:cubicBezTo>
                    <a:pt x="357868" y="1243543"/>
                    <a:pt x="357868" y="1291962"/>
                    <a:pt x="357868" y="1291962"/>
                  </a:cubicBezTo>
                  <a:cubicBezTo>
                    <a:pt x="357868" y="1291962"/>
                    <a:pt x="357868" y="1291962"/>
                    <a:pt x="351027" y="1278344"/>
                  </a:cubicBezTo>
                  <a:lnTo>
                    <a:pt x="342132" y="1260636"/>
                  </a:lnTo>
                  <a:lnTo>
                    <a:pt x="342109" y="1261044"/>
                  </a:lnTo>
                  <a:lnTo>
                    <a:pt x="343680" y="1265735"/>
                  </a:lnTo>
                  <a:cubicBezTo>
                    <a:pt x="345707" y="1271787"/>
                    <a:pt x="349761" y="1283892"/>
                    <a:pt x="357868" y="1308101"/>
                  </a:cubicBezTo>
                  <a:cubicBezTo>
                    <a:pt x="357868" y="1308101"/>
                    <a:pt x="341653" y="1308101"/>
                    <a:pt x="341653" y="1308101"/>
                  </a:cubicBezTo>
                  <a:cubicBezTo>
                    <a:pt x="341653" y="1308101"/>
                    <a:pt x="341653" y="1308101"/>
                    <a:pt x="341653" y="1275822"/>
                  </a:cubicBezTo>
                  <a:lnTo>
                    <a:pt x="341643" y="1275768"/>
                  </a:lnTo>
                  <a:lnTo>
                    <a:pt x="341630" y="1276351"/>
                  </a:lnTo>
                  <a:lnTo>
                    <a:pt x="341589" y="1275464"/>
                  </a:lnTo>
                  <a:lnTo>
                    <a:pt x="335319" y="1240264"/>
                  </a:lnTo>
                  <a:lnTo>
                    <a:pt x="338219" y="1203083"/>
                  </a:lnTo>
                  <a:lnTo>
                    <a:pt x="337835" y="1194851"/>
                  </a:lnTo>
                  <a:cubicBezTo>
                    <a:pt x="340365" y="1142872"/>
                    <a:pt x="352004" y="1095940"/>
                    <a:pt x="366678" y="1056072"/>
                  </a:cubicBezTo>
                  <a:lnTo>
                    <a:pt x="370669" y="1046871"/>
                  </a:lnTo>
                  <a:lnTo>
                    <a:pt x="374083" y="1033728"/>
                  </a:lnTo>
                  <a:lnTo>
                    <a:pt x="387919" y="1007100"/>
                  </a:lnTo>
                  <a:lnTo>
                    <a:pt x="390208" y="1001823"/>
                  </a:lnTo>
                  <a:lnTo>
                    <a:pt x="389315" y="1004413"/>
                  </a:lnTo>
                  <a:lnTo>
                    <a:pt x="391632" y="999954"/>
                  </a:lnTo>
                  <a:lnTo>
                    <a:pt x="390208" y="1001823"/>
                  </a:lnTo>
                  <a:lnTo>
                    <a:pt x="392989" y="997343"/>
                  </a:lnTo>
                  <a:lnTo>
                    <a:pt x="394558" y="994322"/>
                  </a:lnTo>
                  <a:lnTo>
                    <a:pt x="389773" y="1001437"/>
                  </a:lnTo>
                  <a:cubicBezTo>
                    <a:pt x="389773" y="1001437"/>
                    <a:pt x="389773" y="1001437"/>
                    <a:pt x="389773" y="969135"/>
                  </a:cubicBezTo>
                  <a:cubicBezTo>
                    <a:pt x="389773" y="969135"/>
                    <a:pt x="389773" y="969135"/>
                    <a:pt x="373481" y="1017588"/>
                  </a:cubicBezTo>
                  <a:cubicBezTo>
                    <a:pt x="373481" y="1017588"/>
                    <a:pt x="373481" y="1017588"/>
                    <a:pt x="357188" y="1017588"/>
                  </a:cubicBezTo>
                  <a:cubicBezTo>
                    <a:pt x="357188" y="1017588"/>
                    <a:pt x="357188" y="1017588"/>
                    <a:pt x="364061" y="1003961"/>
                  </a:cubicBezTo>
                  <a:lnTo>
                    <a:pt x="373412" y="985423"/>
                  </a:lnTo>
                  <a:lnTo>
                    <a:pt x="373063" y="985838"/>
                  </a:lnTo>
                  <a:lnTo>
                    <a:pt x="373505" y="985251"/>
                  </a:lnTo>
                  <a:lnTo>
                    <a:pt x="404794" y="940871"/>
                  </a:lnTo>
                  <a:lnTo>
                    <a:pt x="423746" y="918603"/>
                  </a:lnTo>
                  <a:lnTo>
                    <a:pt x="439507" y="897696"/>
                  </a:lnTo>
                  <a:lnTo>
                    <a:pt x="450885" y="886718"/>
                  </a:lnTo>
                  <a:lnTo>
                    <a:pt x="452908" y="884342"/>
                  </a:lnTo>
                  <a:lnTo>
                    <a:pt x="453577" y="883739"/>
                  </a:lnTo>
                  <a:lnTo>
                    <a:pt x="448281" y="868007"/>
                  </a:lnTo>
                  <a:lnTo>
                    <a:pt x="439108" y="840755"/>
                  </a:lnTo>
                  <a:lnTo>
                    <a:pt x="439016" y="840847"/>
                  </a:lnTo>
                  <a:lnTo>
                    <a:pt x="439016" y="840482"/>
                  </a:lnTo>
                  <a:lnTo>
                    <a:pt x="438867" y="840039"/>
                  </a:lnTo>
                  <a:cubicBezTo>
                    <a:pt x="438867" y="840039"/>
                    <a:pt x="438867" y="840039"/>
                    <a:pt x="422582" y="888416"/>
                  </a:cubicBezTo>
                  <a:cubicBezTo>
                    <a:pt x="422582" y="888416"/>
                    <a:pt x="422582" y="888416"/>
                    <a:pt x="406297" y="856164"/>
                  </a:cubicBezTo>
                  <a:cubicBezTo>
                    <a:pt x="406297" y="856164"/>
                    <a:pt x="406297" y="856164"/>
                    <a:pt x="406297" y="904542"/>
                  </a:cubicBezTo>
                  <a:cubicBezTo>
                    <a:pt x="406297" y="904542"/>
                    <a:pt x="406297" y="904542"/>
                    <a:pt x="390013" y="856164"/>
                  </a:cubicBezTo>
                  <a:cubicBezTo>
                    <a:pt x="390013" y="856164"/>
                    <a:pt x="390013" y="856164"/>
                    <a:pt x="390013" y="920667"/>
                  </a:cubicBezTo>
                  <a:cubicBezTo>
                    <a:pt x="390013" y="920667"/>
                    <a:pt x="390013" y="920667"/>
                    <a:pt x="373728" y="872290"/>
                  </a:cubicBezTo>
                  <a:cubicBezTo>
                    <a:pt x="373728" y="872290"/>
                    <a:pt x="357443" y="936793"/>
                    <a:pt x="357443" y="936793"/>
                  </a:cubicBezTo>
                  <a:cubicBezTo>
                    <a:pt x="357443" y="936793"/>
                    <a:pt x="357443" y="936793"/>
                    <a:pt x="341159" y="888416"/>
                  </a:cubicBezTo>
                  <a:cubicBezTo>
                    <a:pt x="341159" y="888416"/>
                    <a:pt x="341159" y="952919"/>
                    <a:pt x="341159" y="952919"/>
                  </a:cubicBezTo>
                  <a:cubicBezTo>
                    <a:pt x="341159" y="952919"/>
                    <a:pt x="341159" y="952919"/>
                    <a:pt x="308589" y="888416"/>
                  </a:cubicBezTo>
                  <a:cubicBezTo>
                    <a:pt x="308589" y="888416"/>
                    <a:pt x="308589" y="985170"/>
                    <a:pt x="308589" y="985170"/>
                  </a:cubicBezTo>
                  <a:cubicBezTo>
                    <a:pt x="308589" y="985170"/>
                    <a:pt x="308589" y="985170"/>
                    <a:pt x="276020" y="904542"/>
                  </a:cubicBezTo>
                  <a:cubicBezTo>
                    <a:pt x="276020" y="904542"/>
                    <a:pt x="276020" y="1001296"/>
                    <a:pt x="276020" y="1001296"/>
                  </a:cubicBezTo>
                  <a:cubicBezTo>
                    <a:pt x="276020" y="1001296"/>
                    <a:pt x="276020" y="1001296"/>
                    <a:pt x="243451" y="920667"/>
                  </a:cubicBezTo>
                  <a:cubicBezTo>
                    <a:pt x="267878" y="904541"/>
                    <a:pt x="291287" y="891439"/>
                    <a:pt x="313424" y="880605"/>
                  </a:cubicBezTo>
                  <a:lnTo>
                    <a:pt x="364618" y="858879"/>
                  </a:lnTo>
                  <a:lnTo>
                    <a:pt x="335306" y="868711"/>
                  </a:lnTo>
                  <a:lnTo>
                    <a:pt x="387567" y="844604"/>
                  </a:lnTo>
                  <a:lnTo>
                    <a:pt x="422756" y="836843"/>
                  </a:lnTo>
                  <a:lnTo>
                    <a:pt x="422756" y="834795"/>
                  </a:lnTo>
                  <a:cubicBezTo>
                    <a:pt x="422756" y="828742"/>
                    <a:pt x="422756" y="816637"/>
                    <a:pt x="422756" y="792428"/>
                  </a:cubicBezTo>
                  <a:cubicBezTo>
                    <a:pt x="422756" y="792428"/>
                    <a:pt x="422756" y="792428"/>
                    <a:pt x="390236" y="840847"/>
                  </a:cubicBezTo>
                  <a:cubicBezTo>
                    <a:pt x="390236" y="840847"/>
                    <a:pt x="390236" y="840847"/>
                    <a:pt x="390236" y="792428"/>
                  </a:cubicBezTo>
                  <a:cubicBezTo>
                    <a:pt x="390236" y="792428"/>
                    <a:pt x="390236" y="792428"/>
                    <a:pt x="373976" y="840847"/>
                  </a:cubicBezTo>
                  <a:cubicBezTo>
                    <a:pt x="373976" y="840847"/>
                    <a:pt x="373976" y="840847"/>
                    <a:pt x="373976" y="792428"/>
                  </a:cubicBezTo>
                  <a:cubicBezTo>
                    <a:pt x="373976" y="792428"/>
                    <a:pt x="341457" y="840847"/>
                    <a:pt x="341457" y="840847"/>
                  </a:cubicBezTo>
                  <a:cubicBezTo>
                    <a:pt x="341457" y="840847"/>
                    <a:pt x="341457" y="840847"/>
                    <a:pt x="341457" y="792428"/>
                  </a:cubicBezTo>
                  <a:cubicBezTo>
                    <a:pt x="341457" y="792428"/>
                    <a:pt x="325197" y="856986"/>
                    <a:pt x="325197" y="856986"/>
                  </a:cubicBezTo>
                  <a:cubicBezTo>
                    <a:pt x="325197" y="856986"/>
                    <a:pt x="325197" y="856986"/>
                    <a:pt x="325197" y="792428"/>
                  </a:cubicBezTo>
                  <a:cubicBezTo>
                    <a:pt x="325197" y="792428"/>
                    <a:pt x="292677" y="856986"/>
                    <a:pt x="292677" y="856986"/>
                  </a:cubicBezTo>
                  <a:cubicBezTo>
                    <a:pt x="292677" y="856986"/>
                    <a:pt x="292677" y="856986"/>
                    <a:pt x="292677" y="792428"/>
                  </a:cubicBezTo>
                  <a:cubicBezTo>
                    <a:pt x="292677" y="792428"/>
                    <a:pt x="260157" y="873126"/>
                    <a:pt x="260157" y="873126"/>
                  </a:cubicBezTo>
                  <a:cubicBezTo>
                    <a:pt x="260157" y="873126"/>
                    <a:pt x="260157" y="873126"/>
                    <a:pt x="260157" y="792428"/>
                  </a:cubicBezTo>
                  <a:cubicBezTo>
                    <a:pt x="260157" y="792428"/>
                    <a:pt x="227638" y="873126"/>
                    <a:pt x="227638" y="873126"/>
                  </a:cubicBezTo>
                  <a:cubicBezTo>
                    <a:pt x="227638" y="873126"/>
                    <a:pt x="227638" y="873126"/>
                    <a:pt x="227638" y="792428"/>
                  </a:cubicBezTo>
                  <a:cubicBezTo>
                    <a:pt x="227638" y="792428"/>
                    <a:pt x="195118" y="873126"/>
                    <a:pt x="195118" y="873126"/>
                  </a:cubicBezTo>
                  <a:cubicBezTo>
                    <a:pt x="195118" y="873126"/>
                    <a:pt x="195118" y="873126"/>
                    <a:pt x="195118" y="808567"/>
                  </a:cubicBezTo>
                  <a:cubicBezTo>
                    <a:pt x="195118" y="808567"/>
                    <a:pt x="178858" y="873126"/>
                    <a:pt x="178858" y="873126"/>
                  </a:cubicBezTo>
                  <a:cubicBezTo>
                    <a:pt x="178858" y="873126"/>
                    <a:pt x="178858" y="873126"/>
                    <a:pt x="162598" y="808567"/>
                  </a:cubicBezTo>
                  <a:cubicBezTo>
                    <a:pt x="162598" y="808567"/>
                    <a:pt x="146338" y="873126"/>
                    <a:pt x="146338" y="873126"/>
                  </a:cubicBezTo>
                  <a:cubicBezTo>
                    <a:pt x="146338" y="873126"/>
                    <a:pt x="146338" y="873126"/>
                    <a:pt x="130079" y="824707"/>
                  </a:cubicBezTo>
                  <a:cubicBezTo>
                    <a:pt x="130079" y="824707"/>
                    <a:pt x="113819" y="873126"/>
                    <a:pt x="113819" y="873126"/>
                  </a:cubicBezTo>
                  <a:cubicBezTo>
                    <a:pt x="113819" y="873126"/>
                    <a:pt x="113819" y="873126"/>
                    <a:pt x="113819" y="824707"/>
                  </a:cubicBezTo>
                  <a:cubicBezTo>
                    <a:pt x="113819" y="824707"/>
                    <a:pt x="81299" y="873126"/>
                    <a:pt x="81299" y="873126"/>
                  </a:cubicBezTo>
                  <a:cubicBezTo>
                    <a:pt x="81299" y="873126"/>
                    <a:pt x="81299" y="873126"/>
                    <a:pt x="81299" y="840847"/>
                  </a:cubicBezTo>
                  <a:cubicBezTo>
                    <a:pt x="81299" y="840847"/>
                    <a:pt x="65039" y="873126"/>
                    <a:pt x="65039" y="873126"/>
                  </a:cubicBezTo>
                  <a:cubicBezTo>
                    <a:pt x="65039" y="873126"/>
                    <a:pt x="65039" y="873126"/>
                    <a:pt x="65039" y="840847"/>
                  </a:cubicBezTo>
                  <a:cubicBezTo>
                    <a:pt x="65039" y="840847"/>
                    <a:pt x="46747" y="859004"/>
                    <a:pt x="37601" y="868083"/>
                  </a:cubicBezTo>
                  <a:lnTo>
                    <a:pt x="36280" y="869393"/>
                  </a:lnTo>
                  <a:lnTo>
                    <a:pt x="48779" y="856986"/>
                  </a:lnTo>
                  <a:cubicBezTo>
                    <a:pt x="48779" y="856986"/>
                    <a:pt x="48779" y="856986"/>
                    <a:pt x="16260" y="873126"/>
                  </a:cubicBezTo>
                  <a:cubicBezTo>
                    <a:pt x="16260" y="873126"/>
                    <a:pt x="0" y="873126"/>
                    <a:pt x="0" y="873126"/>
                  </a:cubicBezTo>
                  <a:cubicBezTo>
                    <a:pt x="0" y="873126"/>
                    <a:pt x="0" y="873126"/>
                    <a:pt x="16260" y="856986"/>
                  </a:cubicBezTo>
                  <a:lnTo>
                    <a:pt x="24715" y="852241"/>
                  </a:lnTo>
                  <a:lnTo>
                    <a:pt x="19495" y="854245"/>
                  </a:lnTo>
                  <a:cubicBezTo>
                    <a:pt x="17145" y="855159"/>
                    <a:pt x="15875" y="855663"/>
                    <a:pt x="15875" y="855663"/>
                  </a:cubicBezTo>
                  <a:cubicBezTo>
                    <a:pt x="89044" y="807244"/>
                    <a:pt x="171360" y="786061"/>
                    <a:pt x="242242" y="778495"/>
                  </a:cubicBezTo>
                  <a:lnTo>
                    <a:pt x="250836" y="778038"/>
                  </a:lnTo>
                  <a:lnTo>
                    <a:pt x="260157" y="776288"/>
                  </a:lnTo>
                  <a:lnTo>
                    <a:pt x="282928" y="776329"/>
                  </a:lnTo>
                  <a:lnTo>
                    <a:pt x="283792" y="776283"/>
                  </a:lnTo>
                  <a:lnTo>
                    <a:pt x="283489" y="776330"/>
                  </a:lnTo>
                  <a:lnTo>
                    <a:pt x="307428" y="776373"/>
                  </a:lnTo>
                  <a:lnTo>
                    <a:pt x="298210" y="775516"/>
                  </a:lnTo>
                  <a:lnTo>
                    <a:pt x="308552" y="774965"/>
                  </a:lnTo>
                  <a:cubicBezTo>
                    <a:pt x="345137" y="770930"/>
                    <a:pt x="378673" y="771939"/>
                    <a:pt x="408398" y="775721"/>
                  </a:cubicBezTo>
                  <a:lnTo>
                    <a:pt x="443023" y="783548"/>
                  </a:lnTo>
                  <a:lnTo>
                    <a:pt x="445875" y="777866"/>
                  </a:lnTo>
                  <a:cubicBezTo>
                    <a:pt x="448162" y="773311"/>
                    <a:pt x="451211" y="767239"/>
                    <a:pt x="455276" y="759143"/>
                  </a:cubicBezTo>
                  <a:cubicBezTo>
                    <a:pt x="455276" y="759143"/>
                    <a:pt x="455276" y="759143"/>
                    <a:pt x="422756" y="775336"/>
                  </a:cubicBezTo>
                  <a:cubicBezTo>
                    <a:pt x="422756" y="775336"/>
                    <a:pt x="422756" y="775336"/>
                    <a:pt x="439016" y="742950"/>
                  </a:cubicBezTo>
                  <a:cubicBezTo>
                    <a:pt x="439016" y="742950"/>
                    <a:pt x="439016" y="742950"/>
                    <a:pt x="390236" y="759143"/>
                  </a:cubicBezTo>
                  <a:cubicBezTo>
                    <a:pt x="390236" y="759143"/>
                    <a:pt x="390236" y="759143"/>
                    <a:pt x="422756" y="726758"/>
                  </a:cubicBezTo>
                  <a:cubicBezTo>
                    <a:pt x="422756" y="726758"/>
                    <a:pt x="422756" y="726758"/>
                    <a:pt x="373976" y="759143"/>
                  </a:cubicBezTo>
                  <a:cubicBezTo>
                    <a:pt x="373976" y="759143"/>
                    <a:pt x="373976" y="759143"/>
                    <a:pt x="390236" y="710565"/>
                  </a:cubicBezTo>
                  <a:cubicBezTo>
                    <a:pt x="390236" y="710565"/>
                    <a:pt x="341457" y="742950"/>
                    <a:pt x="341457" y="742950"/>
                  </a:cubicBezTo>
                  <a:cubicBezTo>
                    <a:pt x="341457" y="742950"/>
                    <a:pt x="341457" y="742950"/>
                    <a:pt x="355176" y="722457"/>
                  </a:cubicBezTo>
                  <a:lnTo>
                    <a:pt x="372290" y="696892"/>
                  </a:lnTo>
                  <a:lnTo>
                    <a:pt x="363067" y="706115"/>
                  </a:lnTo>
                  <a:cubicBezTo>
                    <a:pt x="360016" y="709166"/>
                    <a:pt x="357982" y="711200"/>
                    <a:pt x="357982" y="711200"/>
                  </a:cubicBezTo>
                  <a:cubicBezTo>
                    <a:pt x="357982" y="711200"/>
                    <a:pt x="357982" y="711200"/>
                    <a:pt x="360016" y="707132"/>
                  </a:cubicBezTo>
                  <a:lnTo>
                    <a:pt x="361877" y="703410"/>
                  </a:lnTo>
                  <a:lnTo>
                    <a:pt x="341457" y="718662"/>
                  </a:lnTo>
                  <a:cubicBezTo>
                    <a:pt x="325197" y="730806"/>
                    <a:pt x="308937" y="742950"/>
                    <a:pt x="308937" y="742950"/>
                  </a:cubicBezTo>
                  <a:cubicBezTo>
                    <a:pt x="308937" y="742950"/>
                    <a:pt x="308937" y="742950"/>
                    <a:pt x="329516" y="715626"/>
                  </a:cubicBezTo>
                  <a:lnTo>
                    <a:pt x="340321" y="701278"/>
                  </a:lnTo>
                  <a:lnTo>
                    <a:pt x="325438" y="711200"/>
                  </a:lnTo>
                  <a:cubicBezTo>
                    <a:pt x="325438" y="711200"/>
                    <a:pt x="325438" y="711200"/>
                    <a:pt x="341710" y="694928"/>
                  </a:cubicBezTo>
                  <a:lnTo>
                    <a:pt x="347762" y="691398"/>
                  </a:lnTo>
                  <a:lnTo>
                    <a:pt x="357716" y="678180"/>
                  </a:lnTo>
                  <a:cubicBezTo>
                    <a:pt x="357716" y="678180"/>
                    <a:pt x="276417" y="726758"/>
                    <a:pt x="276417" y="726758"/>
                  </a:cubicBezTo>
                  <a:cubicBezTo>
                    <a:pt x="276417" y="726758"/>
                    <a:pt x="276417" y="726758"/>
                    <a:pt x="325197" y="661988"/>
                  </a:cubicBezTo>
                  <a:cubicBezTo>
                    <a:pt x="325197" y="661988"/>
                    <a:pt x="243897" y="710565"/>
                    <a:pt x="243897" y="710565"/>
                  </a:cubicBezTo>
                  <a:cubicBezTo>
                    <a:pt x="243897" y="710565"/>
                    <a:pt x="243897" y="710565"/>
                    <a:pt x="292677" y="645795"/>
                  </a:cubicBezTo>
                  <a:cubicBezTo>
                    <a:pt x="292677" y="645795"/>
                    <a:pt x="211378" y="710565"/>
                    <a:pt x="211378" y="710565"/>
                  </a:cubicBezTo>
                  <a:cubicBezTo>
                    <a:pt x="211378" y="710565"/>
                    <a:pt x="211378" y="710565"/>
                    <a:pt x="260157" y="629603"/>
                  </a:cubicBezTo>
                  <a:cubicBezTo>
                    <a:pt x="260157" y="629603"/>
                    <a:pt x="178858" y="694373"/>
                    <a:pt x="178858" y="694373"/>
                  </a:cubicBezTo>
                  <a:cubicBezTo>
                    <a:pt x="178858" y="694373"/>
                    <a:pt x="178858" y="694373"/>
                    <a:pt x="227638" y="629603"/>
                  </a:cubicBezTo>
                  <a:cubicBezTo>
                    <a:pt x="227638" y="629603"/>
                    <a:pt x="162598" y="678180"/>
                    <a:pt x="162598" y="678180"/>
                  </a:cubicBezTo>
                  <a:cubicBezTo>
                    <a:pt x="162598" y="678180"/>
                    <a:pt x="162598" y="678180"/>
                    <a:pt x="176317" y="650855"/>
                  </a:cubicBezTo>
                  <a:lnTo>
                    <a:pt x="194973" y="613699"/>
                  </a:lnTo>
                  <a:lnTo>
                    <a:pt x="194775" y="613666"/>
                  </a:lnTo>
                  <a:lnTo>
                    <a:pt x="184955" y="621000"/>
                  </a:lnTo>
                  <a:cubicBezTo>
                    <a:pt x="166663" y="634663"/>
                    <a:pt x="130079" y="661988"/>
                    <a:pt x="130079" y="661988"/>
                  </a:cubicBezTo>
                  <a:cubicBezTo>
                    <a:pt x="130079" y="661988"/>
                    <a:pt x="130079" y="661988"/>
                    <a:pt x="162598" y="613410"/>
                  </a:cubicBezTo>
                  <a:cubicBezTo>
                    <a:pt x="162598" y="613410"/>
                    <a:pt x="97559" y="645795"/>
                    <a:pt x="97559" y="645795"/>
                  </a:cubicBezTo>
                  <a:cubicBezTo>
                    <a:pt x="97559" y="645795"/>
                    <a:pt x="97559" y="645795"/>
                    <a:pt x="130079" y="597218"/>
                  </a:cubicBezTo>
                  <a:cubicBezTo>
                    <a:pt x="130079" y="597218"/>
                    <a:pt x="81299" y="629603"/>
                    <a:pt x="81299" y="629603"/>
                  </a:cubicBezTo>
                  <a:cubicBezTo>
                    <a:pt x="81299" y="629603"/>
                    <a:pt x="81299" y="629603"/>
                    <a:pt x="97559" y="597218"/>
                  </a:cubicBezTo>
                  <a:cubicBezTo>
                    <a:pt x="97559" y="597218"/>
                    <a:pt x="48779" y="629603"/>
                    <a:pt x="48779" y="613410"/>
                  </a:cubicBezTo>
                  <a:cubicBezTo>
                    <a:pt x="48779" y="613410"/>
                    <a:pt x="48779" y="613410"/>
                    <a:pt x="81299" y="597218"/>
                  </a:cubicBezTo>
                  <a:cubicBezTo>
                    <a:pt x="81299" y="597218"/>
                    <a:pt x="32519" y="613410"/>
                    <a:pt x="32519" y="597218"/>
                  </a:cubicBezTo>
                  <a:cubicBezTo>
                    <a:pt x="32519" y="597218"/>
                    <a:pt x="32519" y="597218"/>
                    <a:pt x="34552" y="595194"/>
                  </a:cubicBezTo>
                  <a:lnTo>
                    <a:pt x="47793" y="582008"/>
                  </a:lnTo>
                  <a:lnTo>
                    <a:pt x="46262" y="581861"/>
                  </a:lnTo>
                  <a:lnTo>
                    <a:pt x="42682" y="583049"/>
                  </a:lnTo>
                  <a:cubicBezTo>
                    <a:pt x="36584" y="585073"/>
                    <a:pt x="24390" y="589121"/>
                    <a:pt x="0" y="597218"/>
                  </a:cubicBezTo>
                  <a:cubicBezTo>
                    <a:pt x="0" y="597218"/>
                    <a:pt x="0" y="597218"/>
                    <a:pt x="13719" y="590386"/>
                  </a:cubicBezTo>
                  <a:lnTo>
                    <a:pt x="31949" y="581309"/>
                  </a:lnTo>
                  <a:lnTo>
                    <a:pt x="31750" y="581305"/>
                  </a:lnTo>
                  <a:lnTo>
                    <a:pt x="31962" y="581302"/>
                  </a:lnTo>
                  <a:lnTo>
                    <a:pt x="32519" y="581025"/>
                  </a:lnTo>
                  <a:lnTo>
                    <a:pt x="41351" y="581173"/>
                  </a:lnTo>
                  <a:lnTo>
                    <a:pt x="48634" y="581073"/>
                  </a:lnTo>
                  <a:lnTo>
                    <a:pt x="48779" y="581025"/>
                  </a:lnTo>
                  <a:lnTo>
                    <a:pt x="48732" y="581072"/>
                  </a:lnTo>
                  <a:lnTo>
                    <a:pt x="123533" y="580043"/>
                  </a:lnTo>
                  <a:cubicBezTo>
                    <a:pt x="209723" y="588373"/>
                    <a:pt x="279896" y="621693"/>
                    <a:pt x="340915" y="645926"/>
                  </a:cubicBezTo>
                  <a:lnTo>
                    <a:pt x="381758" y="671567"/>
                  </a:lnTo>
                  <a:lnTo>
                    <a:pt x="387474" y="668232"/>
                  </a:lnTo>
                  <a:lnTo>
                    <a:pt x="400031" y="662701"/>
                  </a:lnTo>
                  <a:lnTo>
                    <a:pt x="429993" y="646054"/>
                  </a:lnTo>
                  <a:lnTo>
                    <a:pt x="415999" y="646054"/>
                  </a:lnTo>
                  <a:cubicBezTo>
                    <a:pt x="409889" y="646054"/>
                    <a:pt x="405816" y="646054"/>
                    <a:pt x="405816" y="646054"/>
                  </a:cubicBezTo>
                  <a:cubicBezTo>
                    <a:pt x="405816" y="646054"/>
                    <a:pt x="405816" y="646054"/>
                    <a:pt x="470987" y="613716"/>
                  </a:cubicBezTo>
                  <a:cubicBezTo>
                    <a:pt x="470987" y="613716"/>
                    <a:pt x="389523" y="629885"/>
                    <a:pt x="389523" y="629885"/>
                  </a:cubicBezTo>
                  <a:cubicBezTo>
                    <a:pt x="389523" y="629885"/>
                    <a:pt x="389523" y="629885"/>
                    <a:pt x="454694" y="597547"/>
                  </a:cubicBezTo>
                  <a:cubicBezTo>
                    <a:pt x="454694" y="597547"/>
                    <a:pt x="373230" y="597547"/>
                    <a:pt x="356937" y="597547"/>
                  </a:cubicBezTo>
                  <a:cubicBezTo>
                    <a:pt x="356937" y="597547"/>
                    <a:pt x="356937" y="597547"/>
                    <a:pt x="438401" y="565209"/>
                  </a:cubicBezTo>
                  <a:cubicBezTo>
                    <a:pt x="454694" y="585420"/>
                    <a:pt x="468950" y="604621"/>
                    <a:pt x="481170" y="622811"/>
                  </a:cubicBezTo>
                  <a:lnTo>
                    <a:pt x="483411" y="626593"/>
                  </a:lnTo>
                  <a:lnTo>
                    <a:pt x="471311" y="597547"/>
                  </a:lnTo>
                  <a:lnTo>
                    <a:pt x="487664" y="626162"/>
                  </a:lnTo>
                  <a:lnTo>
                    <a:pt x="524371" y="613682"/>
                  </a:lnTo>
                  <a:lnTo>
                    <a:pt x="544480" y="609198"/>
                  </a:lnTo>
                  <a:lnTo>
                    <a:pt x="508060" y="602031"/>
                  </a:lnTo>
                  <a:cubicBezTo>
                    <a:pt x="496193" y="599696"/>
                    <a:pt x="487362" y="597959"/>
                    <a:pt x="487362" y="597959"/>
                  </a:cubicBezTo>
                  <a:cubicBezTo>
                    <a:pt x="487362" y="597959"/>
                    <a:pt x="487362" y="597959"/>
                    <a:pt x="552979" y="597959"/>
                  </a:cubicBezTo>
                  <a:cubicBezTo>
                    <a:pt x="552979" y="597959"/>
                    <a:pt x="470958" y="565680"/>
                    <a:pt x="470958" y="565680"/>
                  </a:cubicBezTo>
                  <a:cubicBezTo>
                    <a:pt x="470958" y="565680"/>
                    <a:pt x="470958" y="565680"/>
                    <a:pt x="552979" y="565680"/>
                  </a:cubicBezTo>
                  <a:lnTo>
                    <a:pt x="564352" y="604767"/>
                  </a:lnTo>
                  <a:lnTo>
                    <a:pt x="569909" y="603527"/>
                  </a:lnTo>
                  <a:lnTo>
                    <a:pt x="569207" y="597831"/>
                  </a:lnTo>
                  <a:lnTo>
                    <a:pt x="570243" y="603453"/>
                  </a:lnTo>
                  <a:lnTo>
                    <a:pt x="588363" y="599412"/>
                  </a:lnTo>
                  <a:lnTo>
                    <a:pt x="601662" y="565151"/>
                  </a:lnTo>
                  <a:lnTo>
                    <a:pt x="629328" y="509592"/>
                  </a:lnTo>
                  <a:lnTo>
                    <a:pt x="622527" y="514085"/>
                  </a:lnTo>
                  <a:cubicBezTo>
                    <a:pt x="619857" y="515849"/>
                    <a:pt x="618332" y="516857"/>
                    <a:pt x="618332" y="516857"/>
                  </a:cubicBezTo>
                  <a:cubicBezTo>
                    <a:pt x="618332" y="516857"/>
                    <a:pt x="618332" y="516857"/>
                    <a:pt x="626468" y="506778"/>
                  </a:cubicBezTo>
                  <a:lnTo>
                    <a:pt x="637589" y="493001"/>
                  </a:lnTo>
                  <a:lnTo>
                    <a:pt x="652003" y="464055"/>
                  </a:lnTo>
                  <a:lnTo>
                    <a:pt x="656864" y="457313"/>
                  </a:lnTo>
                  <a:lnTo>
                    <a:pt x="634603" y="474527"/>
                  </a:lnTo>
                  <a:cubicBezTo>
                    <a:pt x="610196" y="492668"/>
                    <a:pt x="585788" y="508794"/>
                    <a:pt x="585788" y="500731"/>
                  </a:cubicBezTo>
                  <a:cubicBezTo>
                    <a:pt x="585788" y="500731"/>
                    <a:pt x="585788" y="500731"/>
                    <a:pt x="634603" y="420103"/>
                  </a:cubicBezTo>
                  <a:cubicBezTo>
                    <a:pt x="634603" y="420103"/>
                    <a:pt x="579686" y="465456"/>
                    <a:pt x="552227" y="488133"/>
                  </a:cubicBezTo>
                  <a:lnTo>
                    <a:pt x="541278" y="497175"/>
                  </a:lnTo>
                  <a:lnTo>
                    <a:pt x="556022" y="544086"/>
                  </a:lnTo>
                  <a:cubicBezTo>
                    <a:pt x="561093" y="563515"/>
                    <a:pt x="565150" y="581682"/>
                    <a:pt x="569207" y="597831"/>
                  </a:cubicBezTo>
                  <a:cubicBezTo>
                    <a:pt x="561093" y="573608"/>
                    <a:pt x="552979" y="553422"/>
                    <a:pt x="546894" y="533236"/>
                  </a:cubicBezTo>
                  <a:lnTo>
                    <a:pt x="541237" y="497209"/>
                  </a:lnTo>
                  <a:lnTo>
                    <a:pt x="541167" y="497267"/>
                  </a:lnTo>
                  <a:lnTo>
                    <a:pt x="537706" y="500126"/>
                  </a:lnTo>
                  <a:lnTo>
                    <a:pt x="552979" y="565680"/>
                  </a:lnTo>
                  <a:cubicBezTo>
                    <a:pt x="552979" y="565680"/>
                    <a:pt x="470958" y="533400"/>
                    <a:pt x="470958" y="533400"/>
                  </a:cubicBezTo>
                  <a:cubicBezTo>
                    <a:pt x="470958" y="533400"/>
                    <a:pt x="470958" y="533400"/>
                    <a:pt x="536575" y="533400"/>
                  </a:cubicBezTo>
                  <a:cubicBezTo>
                    <a:pt x="536575" y="533400"/>
                    <a:pt x="470958" y="517261"/>
                    <a:pt x="470958" y="517261"/>
                  </a:cubicBezTo>
                  <a:cubicBezTo>
                    <a:pt x="470958" y="517261"/>
                    <a:pt x="470958" y="517261"/>
                    <a:pt x="520171" y="501121"/>
                  </a:cubicBezTo>
                  <a:cubicBezTo>
                    <a:pt x="520171" y="501121"/>
                    <a:pt x="454554" y="484982"/>
                    <a:pt x="454554" y="484982"/>
                  </a:cubicBezTo>
                  <a:cubicBezTo>
                    <a:pt x="454554" y="484982"/>
                    <a:pt x="454554" y="484982"/>
                    <a:pt x="520171" y="484982"/>
                  </a:cubicBezTo>
                  <a:cubicBezTo>
                    <a:pt x="520171" y="484982"/>
                    <a:pt x="454554" y="468842"/>
                    <a:pt x="454554" y="468842"/>
                  </a:cubicBezTo>
                  <a:cubicBezTo>
                    <a:pt x="454554" y="468842"/>
                    <a:pt x="454554" y="468842"/>
                    <a:pt x="460705" y="466824"/>
                  </a:cubicBezTo>
                  <a:lnTo>
                    <a:pt x="474360" y="462346"/>
                  </a:lnTo>
                  <a:lnTo>
                    <a:pt x="475953" y="458401"/>
                  </a:lnTo>
                  <a:lnTo>
                    <a:pt x="481235" y="445313"/>
                  </a:lnTo>
                  <a:lnTo>
                    <a:pt x="479160" y="444633"/>
                  </a:lnTo>
                  <a:cubicBezTo>
                    <a:pt x="466857" y="440598"/>
                    <a:pt x="454554" y="436563"/>
                    <a:pt x="454554" y="436563"/>
                  </a:cubicBezTo>
                  <a:cubicBezTo>
                    <a:pt x="454554" y="436563"/>
                    <a:pt x="454554" y="436563"/>
                    <a:pt x="475315" y="429754"/>
                  </a:cubicBezTo>
                  <a:lnTo>
                    <a:pt x="489377" y="425142"/>
                  </a:lnTo>
                  <a:lnTo>
                    <a:pt x="492741" y="416807"/>
                  </a:lnTo>
                  <a:lnTo>
                    <a:pt x="473819" y="410602"/>
                  </a:lnTo>
                  <a:lnTo>
                    <a:pt x="471885" y="412040"/>
                  </a:lnTo>
                  <a:cubicBezTo>
                    <a:pt x="455613" y="424134"/>
                    <a:pt x="439341" y="436229"/>
                    <a:pt x="439341" y="436229"/>
                  </a:cubicBezTo>
                  <a:cubicBezTo>
                    <a:pt x="439341" y="436229"/>
                    <a:pt x="439341" y="436229"/>
                    <a:pt x="453070" y="415820"/>
                  </a:cubicBezTo>
                  <a:lnTo>
                    <a:pt x="459696" y="405970"/>
                  </a:lnTo>
                  <a:lnTo>
                    <a:pt x="459095" y="405773"/>
                  </a:lnTo>
                  <a:cubicBezTo>
                    <a:pt x="456284" y="404851"/>
                    <a:pt x="454554" y="404284"/>
                    <a:pt x="454554" y="404284"/>
                  </a:cubicBezTo>
                  <a:cubicBezTo>
                    <a:pt x="454554" y="404284"/>
                    <a:pt x="454554" y="404284"/>
                    <a:pt x="458655" y="404284"/>
                  </a:cubicBezTo>
                  <a:lnTo>
                    <a:pt x="460831" y="404284"/>
                  </a:lnTo>
                  <a:lnTo>
                    <a:pt x="466657" y="395623"/>
                  </a:lnTo>
                  <a:lnTo>
                    <a:pt x="459820" y="393830"/>
                  </a:lnTo>
                  <a:lnTo>
                    <a:pt x="439341" y="403977"/>
                  </a:lnTo>
                  <a:cubicBezTo>
                    <a:pt x="423069" y="412040"/>
                    <a:pt x="406797" y="420103"/>
                    <a:pt x="406797" y="420103"/>
                  </a:cubicBezTo>
                  <a:cubicBezTo>
                    <a:pt x="406797" y="420103"/>
                    <a:pt x="406797" y="420103"/>
                    <a:pt x="420527" y="406497"/>
                  </a:cubicBezTo>
                  <a:lnTo>
                    <a:pt x="438858" y="388330"/>
                  </a:lnTo>
                  <a:lnTo>
                    <a:pt x="438155" y="388145"/>
                  </a:lnTo>
                  <a:lnTo>
                    <a:pt x="429171" y="390371"/>
                  </a:lnTo>
                  <a:cubicBezTo>
                    <a:pt x="410865" y="394906"/>
                    <a:pt x="374253" y="403977"/>
                    <a:pt x="374253" y="403977"/>
                  </a:cubicBezTo>
                  <a:cubicBezTo>
                    <a:pt x="374253" y="403977"/>
                    <a:pt x="374253" y="403977"/>
                    <a:pt x="406797" y="371726"/>
                  </a:cubicBezTo>
                  <a:cubicBezTo>
                    <a:pt x="406797" y="371726"/>
                    <a:pt x="357982" y="387851"/>
                    <a:pt x="341710" y="387851"/>
                  </a:cubicBezTo>
                  <a:cubicBezTo>
                    <a:pt x="341710" y="387851"/>
                    <a:pt x="341710" y="387851"/>
                    <a:pt x="355439" y="374245"/>
                  </a:cubicBezTo>
                  <a:lnTo>
                    <a:pt x="372832" y="357009"/>
                  </a:lnTo>
                  <a:lnTo>
                    <a:pt x="370392" y="356876"/>
                  </a:lnTo>
                  <a:lnTo>
                    <a:pt x="368151" y="357616"/>
                  </a:lnTo>
                  <a:cubicBezTo>
                    <a:pt x="362049" y="359632"/>
                    <a:pt x="349846" y="363663"/>
                    <a:pt x="325438" y="371726"/>
                  </a:cubicBezTo>
                  <a:cubicBezTo>
                    <a:pt x="325438" y="371726"/>
                    <a:pt x="325438" y="371726"/>
                    <a:pt x="327472" y="369710"/>
                  </a:cubicBezTo>
                  <a:lnTo>
                    <a:pt x="341467" y="355840"/>
                  </a:lnTo>
                  <a:lnTo>
                    <a:pt x="341313" y="355838"/>
                  </a:lnTo>
                  <a:lnTo>
                    <a:pt x="341471" y="355837"/>
                  </a:lnTo>
                  <a:lnTo>
                    <a:pt x="341710" y="355600"/>
                  </a:lnTo>
                  <a:lnTo>
                    <a:pt x="351015" y="355756"/>
                  </a:lnTo>
                  <a:lnTo>
                    <a:pt x="453555" y="354882"/>
                  </a:lnTo>
                  <a:lnTo>
                    <a:pt x="459538" y="354831"/>
                  </a:lnTo>
                  <a:cubicBezTo>
                    <a:pt x="535304" y="360874"/>
                    <a:pt x="603951" y="379001"/>
                    <a:pt x="659377" y="401157"/>
                  </a:cubicBezTo>
                  <a:lnTo>
                    <a:pt x="687491" y="414832"/>
                  </a:lnTo>
                  <a:lnTo>
                    <a:pt x="729803" y="356143"/>
                  </a:lnTo>
                  <a:lnTo>
                    <a:pt x="770665" y="316190"/>
                  </a:lnTo>
                  <a:lnTo>
                    <a:pt x="746833" y="320133"/>
                  </a:lnTo>
                  <a:cubicBezTo>
                    <a:pt x="737670" y="321649"/>
                    <a:pt x="731562" y="322660"/>
                    <a:pt x="731562" y="322660"/>
                  </a:cubicBezTo>
                  <a:cubicBezTo>
                    <a:pt x="731562" y="322660"/>
                    <a:pt x="731562" y="322660"/>
                    <a:pt x="796718" y="274142"/>
                  </a:cubicBezTo>
                  <a:cubicBezTo>
                    <a:pt x="796718" y="274142"/>
                    <a:pt x="715273" y="290315"/>
                    <a:pt x="715273" y="290315"/>
                  </a:cubicBezTo>
                  <a:cubicBezTo>
                    <a:pt x="715273" y="290315"/>
                    <a:pt x="715273" y="290315"/>
                    <a:pt x="780429" y="257969"/>
                  </a:cubicBezTo>
                  <a:cubicBezTo>
                    <a:pt x="780429" y="257969"/>
                    <a:pt x="698983" y="274142"/>
                    <a:pt x="698983" y="274142"/>
                  </a:cubicBezTo>
                  <a:cubicBezTo>
                    <a:pt x="698983" y="274142"/>
                    <a:pt x="698983" y="274142"/>
                    <a:pt x="747851" y="225624"/>
                  </a:cubicBezTo>
                  <a:cubicBezTo>
                    <a:pt x="747851" y="225624"/>
                    <a:pt x="666405" y="241797"/>
                    <a:pt x="666405" y="241797"/>
                  </a:cubicBezTo>
                  <a:cubicBezTo>
                    <a:pt x="666405" y="241797"/>
                    <a:pt x="666405" y="241797"/>
                    <a:pt x="731562" y="209451"/>
                  </a:cubicBezTo>
                  <a:cubicBezTo>
                    <a:pt x="731562" y="209451"/>
                    <a:pt x="650116" y="209451"/>
                    <a:pt x="650116" y="209451"/>
                  </a:cubicBezTo>
                  <a:cubicBezTo>
                    <a:pt x="650116" y="209451"/>
                    <a:pt x="650116" y="209451"/>
                    <a:pt x="698983" y="177106"/>
                  </a:cubicBezTo>
                  <a:cubicBezTo>
                    <a:pt x="698983" y="177106"/>
                    <a:pt x="650116" y="177106"/>
                    <a:pt x="650116" y="177106"/>
                  </a:cubicBezTo>
                  <a:cubicBezTo>
                    <a:pt x="650116" y="177106"/>
                    <a:pt x="650116" y="177106"/>
                    <a:pt x="682694" y="160933"/>
                  </a:cubicBezTo>
                  <a:cubicBezTo>
                    <a:pt x="682694" y="160933"/>
                    <a:pt x="633827" y="144761"/>
                    <a:pt x="633827" y="144761"/>
                  </a:cubicBezTo>
                  <a:cubicBezTo>
                    <a:pt x="633827" y="144761"/>
                    <a:pt x="633827" y="144761"/>
                    <a:pt x="666405" y="144761"/>
                  </a:cubicBezTo>
                  <a:cubicBezTo>
                    <a:pt x="666405" y="144761"/>
                    <a:pt x="666405" y="144761"/>
                    <a:pt x="617538" y="128588"/>
                  </a:cubicBezTo>
                  <a:cubicBezTo>
                    <a:pt x="617538" y="128588"/>
                    <a:pt x="617538" y="128588"/>
                    <a:pt x="650116" y="128588"/>
                  </a:cubicBezTo>
                  <a:lnTo>
                    <a:pt x="652046" y="129488"/>
                  </a:lnTo>
                  <a:lnTo>
                    <a:pt x="650875" y="128588"/>
                  </a:lnTo>
                  <a:lnTo>
                    <a:pt x="652539" y="129718"/>
                  </a:lnTo>
                  <a:lnTo>
                    <a:pt x="680825" y="142909"/>
                  </a:lnTo>
                  <a:cubicBezTo>
                    <a:pt x="703302" y="156010"/>
                    <a:pt x="729502" y="176360"/>
                    <a:pt x="757706" y="204812"/>
                  </a:cubicBezTo>
                  <a:lnTo>
                    <a:pt x="771496" y="220269"/>
                  </a:lnTo>
                  <a:lnTo>
                    <a:pt x="797152" y="243754"/>
                  </a:lnTo>
                  <a:cubicBezTo>
                    <a:pt x="837784" y="286184"/>
                    <a:pt x="870290" y="330634"/>
                    <a:pt x="894670" y="371043"/>
                  </a:cubicBezTo>
                  <a:cubicBezTo>
                    <a:pt x="878417" y="346797"/>
                    <a:pt x="862164" y="322552"/>
                    <a:pt x="843879" y="300327"/>
                  </a:cubicBezTo>
                  <a:lnTo>
                    <a:pt x="816105" y="274487"/>
                  </a:lnTo>
                  <a:lnTo>
                    <a:pt x="827504" y="290513"/>
                  </a:lnTo>
                  <a:lnTo>
                    <a:pt x="828675" y="290513"/>
                  </a:lnTo>
                  <a:lnTo>
                    <a:pt x="827990" y="291196"/>
                  </a:lnTo>
                  <a:lnTo>
                    <a:pt x="861875" y="338833"/>
                  </a:lnTo>
                  <a:cubicBezTo>
                    <a:pt x="861875" y="338833"/>
                    <a:pt x="854748" y="339843"/>
                    <a:pt x="844059" y="341360"/>
                  </a:cubicBezTo>
                  <a:lnTo>
                    <a:pt x="806153" y="346736"/>
                  </a:lnTo>
                  <a:lnTo>
                    <a:pt x="804840" y="348349"/>
                  </a:lnTo>
                  <a:cubicBezTo>
                    <a:pt x="791148" y="355168"/>
                    <a:pt x="763764" y="355168"/>
                    <a:pt x="763764" y="355168"/>
                  </a:cubicBezTo>
                  <a:cubicBezTo>
                    <a:pt x="763764" y="355168"/>
                    <a:pt x="763764" y="355168"/>
                    <a:pt x="777456" y="361987"/>
                  </a:cubicBezTo>
                  <a:lnTo>
                    <a:pt x="783227" y="364861"/>
                  </a:lnTo>
                  <a:lnTo>
                    <a:pt x="805372" y="357532"/>
                  </a:lnTo>
                  <a:cubicBezTo>
                    <a:pt x="819116" y="352984"/>
                    <a:pt x="837441" y="346919"/>
                    <a:pt x="861875" y="338833"/>
                  </a:cubicBezTo>
                  <a:cubicBezTo>
                    <a:pt x="882236" y="363092"/>
                    <a:pt x="899543" y="386340"/>
                    <a:pt x="914051" y="408325"/>
                  </a:cubicBezTo>
                  <a:lnTo>
                    <a:pt x="915303" y="410515"/>
                  </a:lnTo>
                  <a:lnTo>
                    <a:pt x="894670" y="371043"/>
                  </a:lnTo>
                  <a:cubicBezTo>
                    <a:pt x="906859" y="389227"/>
                    <a:pt x="917526" y="407411"/>
                    <a:pt x="926858" y="425311"/>
                  </a:cubicBezTo>
                  <a:lnTo>
                    <a:pt x="939686" y="453186"/>
                  </a:lnTo>
                  <a:lnTo>
                    <a:pt x="947835" y="467446"/>
                  </a:lnTo>
                  <a:lnTo>
                    <a:pt x="951072" y="466640"/>
                  </a:lnTo>
                  <a:cubicBezTo>
                    <a:pt x="959168" y="464623"/>
                    <a:pt x="975360" y="460590"/>
                    <a:pt x="1007746" y="452524"/>
                  </a:cubicBezTo>
                  <a:cubicBezTo>
                    <a:pt x="1007746" y="452524"/>
                    <a:pt x="942975" y="436392"/>
                    <a:pt x="942975" y="436392"/>
                  </a:cubicBezTo>
                  <a:cubicBezTo>
                    <a:pt x="942975" y="436392"/>
                    <a:pt x="942975" y="436392"/>
                    <a:pt x="1007746" y="420259"/>
                  </a:cubicBezTo>
                  <a:cubicBezTo>
                    <a:pt x="1007746" y="420259"/>
                    <a:pt x="926783" y="404127"/>
                    <a:pt x="926783" y="404127"/>
                  </a:cubicBezTo>
                  <a:cubicBezTo>
                    <a:pt x="926783" y="404127"/>
                    <a:pt x="926783" y="404127"/>
                    <a:pt x="1007746" y="404127"/>
                  </a:cubicBezTo>
                  <a:cubicBezTo>
                    <a:pt x="1007746" y="404127"/>
                    <a:pt x="910590" y="371862"/>
                    <a:pt x="910590" y="371862"/>
                  </a:cubicBezTo>
                  <a:cubicBezTo>
                    <a:pt x="910590" y="371862"/>
                    <a:pt x="910590" y="371862"/>
                    <a:pt x="991553" y="371862"/>
                  </a:cubicBezTo>
                  <a:cubicBezTo>
                    <a:pt x="991553" y="371862"/>
                    <a:pt x="910590" y="339597"/>
                    <a:pt x="910590" y="339597"/>
                  </a:cubicBezTo>
                  <a:cubicBezTo>
                    <a:pt x="910590" y="339597"/>
                    <a:pt x="910590" y="339597"/>
                    <a:pt x="991553" y="323464"/>
                  </a:cubicBezTo>
                  <a:cubicBezTo>
                    <a:pt x="991553" y="323464"/>
                    <a:pt x="894398" y="307332"/>
                    <a:pt x="894398" y="307332"/>
                  </a:cubicBezTo>
                  <a:cubicBezTo>
                    <a:pt x="894398" y="307332"/>
                    <a:pt x="894398" y="307332"/>
                    <a:pt x="991553" y="291200"/>
                  </a:cubicBezTo>
                  <a:cubicBezTo>
                    <a:pt x="991553" y="291200"/>
                    <a:pt x="894398" y="275067"/>
                    <a:pt x="894398" y="275067"/>
                  </a:cubicBezTo>
                  <a:cubicBezTo>
                    <a:pt x="894398" y="275067"/>
                    <a:pt x="894398" y="275067"/>
                    <a:pt x="959168" y="258935"/>
                  </a:cubicBezTo>
                  <a:cubicBezTo>
                    <a:pt x="959168" y="258935"/>
                    <a:pt x="878205" y="242802"/>
                    <a:pt x="878205" y="242802"/>
                  </a:cubicBezTo>
                  <a:cubicBezTo>
                    <a:pt x="878205" y="242802"/>
                    <a:pt x="878205" y="242802"/>
                    <a:pt x="959168" y="226670"/>
                  </a:cubicBezTo>
                  <a:cubicBezTo>
                    <a:pt x="959168" y="226670"/>
                    <a:pt x="878205" y="210537"/>
                    <a:pt x="878205" y="210537"/>
                  </a:cubicBezTo>
                  <a:cubicBezTo>
                    <a:pt x="878205" y="210537"/>
                    <a:pt x="878205" y="210537"/>
                    <a:pt x="942975" y="194405"/>
                  </a:cubicBezTo>
                  <a:cubicBezTo>
                    <a:pt x="942975" y="194405"/>
                    <a:pt x="878205" y="178272"/>
                    <a:pt x="878205" y="178272"/>
                  </a:cubicBezTo>
                  <a:cubicBezTo>
                    <a:pt x="878205" y="178272"/>
                    <a:pt x="878205" y="178272"/>
                    <a:pt x="926783" y="162140"/>
                  </a:cubicBezTo>
                  <a:cubicBezTo>
                    <a:pt x="926783" y="162140"/>
                    <a:pt x="862013" y="146007"/>
                    <a:pt x="862013" y="146007"/>
                  </a:cubicBezTo>
                  <a:cubicBezTo>
                    <a:pt x="862013" y="146007"/>
                    <a:pt x="862013" y="146007"/>
                    <a:pt x="910590" y="146007"/>
                  </a:cubicBezTo>
                  <a:cubicBezTo>
                    <a:pt x="910590" y="146007"/>
                    <a:pt x="862013" y="113743"/>
                    <a:pt x="862013" y="113743"/>
                  </a:cubicBezTo>
                  <a:cubicBezTo>
                    <a:pt x="862013" y="113743"/>
                    <a:pt x="862013" y="113743"/>
                    <a:pt x="894398" y="113743"/>
                  </a:cubicBezTo>
                  <a:cubicBezTo>
                    <a:pt x="894398" y="113743"/>
                    <a:pt x="862013" y="81478"/>
                    <a:pt x="862013" y="81478"/>
                  </a:cubicBezTo>
                  <a:cubicBezTo>
                    <a:pt x="862013" y="81478"/>
                    <a:pt x="862013" y="81478"/>
                    <a:pt x="894398" y="97610"/>
                  </a:cubicBezTo>
                  <a:cubicBezTo>
                    <a:pt x="894398" y="97610"/>
                    <a:pt x="894398" y="97610"/>
                    <a:pt x="862013" y="65345"/>
                  </a:cubicBezTo>
                  <a:cubicBezTo>
                    <a:pt x="862013" y="65345"/>
                    <a:pt x="862013" y="65345"/>
                    <a:pt x="862013" y="49213"/>
                  </a:cubicBezTo>
                  <a:cubicBezTo>
                    <a:pt x="862013" y="49213"/>
                    <a:pt x="862013" y="49213"/>
                    <a:pt x="878205" y="65345"/>
                  </a:cubicBezTo>
                  <a:lnTo>
                    <a:pt x="878880" y="66324"/>
                  </a:lnTo>
                  <a:lnTo>
                    <a:pt x="939972" y="142473"/>
                  </a:lnTo>
                  <a:cubicBezTo>
                    <a:pt x="991326" y="223387"/>
                    <a:pt x="1012786" y="311108"/>
                    <a:pt x="1025050" y="371604"/>
                  </a:cubicBezTo>
                  <a:lnTo>
                    <a:pt x="1025826" y="423806"/>
                  </a:lnTo>
                  <a:lnTo>
                    <a:pt x="1031517" y="404467"/>
                  </a:lnTo>
                  <a:cubicBezTo>
                    <a:pt x="1038858" y="383063"/>
                    <a:pt x="1047503" y="361124"/>
                    <a:pt x="1057673" y="338932"/>
                  </a:cubicBezTo>
                  <a:lnTo>
                    <a:pt x="1088688" y="277405"/>
                  </a:lnTo>
                  <a:lnTo>
                    <a:pt x="1089964" y="274483"/>
                  </a:lnTo>
                  <a:lnTo>
                    <a:pt x="1091020" y="272779"/>
                  </a:lnTo>
                  <a:lnTo>
                    <a:pt x="1098098" y="258738"/>
                  </a:lnTo>
                  <a:cubicBezTo>
                    <a:pt x="1128100" y="201240"/>
                    <a:pt x="1165220" y="137691"/>
                    <a:pt x="1215561" y="80193"/>
                  </a:cubicBezTo>
                  <a:lnTo>
                    <a:pt x="1293402" y="7769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30000"/>
                </a:lnSpc>
              </a:pPr>
              <a:endParaRPr lang="zh-CN" altLang="en-US" dirty="0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1" name="ValueShape">
              <a:extLst>
                <a:ext uri="{FF2B5EF4-FFF2-40B4-BE49-F238E27FC236}">
                  <a16:creationId xmlns:a16="http://schemas.microsoft.com/office/drawing/2014/main" id="{9E3279AF-CEC1-4271-A539-0A915A48BE7F}"/>
                </a:ext>
              </a:extLst>
            </p:cNvPr>
            <p:cNvSpPr/>
            <p:nvPr/>
          </p:nvSpPr>
          <p:spPr bwMode="auto">
            <a:xfrm>
              <a:off x="852687" y="4746815"/>
              <a:ext cx="10415270" cy="300927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rgbClr val="E6E6E6"/>
                </a:gs>
                <a:gs pos="56000">
                  <a:schemeClr val="accent1">
                    <a:lumMod val="60000"/>
                    <a:lumOff val="40000"/>
                  </a:schemeClr>
                </a:gs>
                <a:gs pos="56100">
                  <a:srgbClr val="E6E6E6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l"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2" name="ExtraShape1">
              <a:extLst>
                <a:ext uri="{FF2B5EF4-FFF2-40B4-BE49-F238E27FC236}">
                  <a16:creationId xmlns:a16="http://schemas.microsoft.com/office/drawing/2014/main" id="{E87D4DFC-B3A7-4F53-8B75-6B6C6712ADD0}"/>
                </a:ext>
              </a:extLst>
            </p:cNvPr>
            <p:cNvSpPr/>
            <p:nvPr/>
          </p:nvSpPr>
          <p:spPr bwMode="auto">
            <a:xfrm>
              <a:off x="4709292" y="4207788"/>
              <a:ext cx="2903505" cy="831477"/>
            </a:xfrm>
            <a:custGeom>
              <a:avLst/>
              <a:gdLst>
                <a:gd name="T0" fmla="*/ 324 w 335"/>
                <a:gd name="T1" fmla="*/ 2 h 96"/>
                <a:gd name="T2" fmla="*/ 48 w 335"/>
                <a:gd name="T3" fmla="*/ 58 h 96"/>
                <a:gd name="T4" fmla="*/ 21 w 335"/>
                <a:gd name="T5" fmla="*/ 71 h 96"/>
                <a:gd name="T6" fmla="*/ 5 w 335"/>
                <a:gd name="T7" fmla="*/ 85 h 96"/>
                <a:gd name="T8" fmla="*/ 11 w 335"/>
                <a:gd name="T9" fmla="*/ 95 h 96"/>
                <a:gd name="T10" fmla="*/ 286 w 335"/>
                <a:gd name="T11" fmla="*/ 38 h 96"/>
                <a:gd name="T12" fmla="*/ 313 w 335"/>
                <a:gd name="T13" fmla="*/ 25 h 96"/>
                <a:gd name="T14" fmla="*/ 330 w 335"/>
                <a:gd name="T15" fmla="*/ 11 h 96"/>
                <a:gd name="T16" fmla="*/ 324 w 335"/>
                <a:gd name="T17" fmla="*/ 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5" h="96">
                  <a:moveTo>
                    <a:pt x="324" y="2"/>
                  </a:moveTo>
                  <a:cubicBezTo>
                    <a:pt x="48" y="58"/>
                    <a:pt x="48" y="58"/>
                    <a:pt x="48" y="58"/>
                  </a:cubicBezTo>
                  <a:cubicBezTo>
                    <a:pt x="38" y="61"/>
                    <a:pt x="28" y="65"/>
                    <a:pt x="21" y="71"/>
                  </a:cubicBezTo>
                  <a:cubicBezTo>
                    <a:pt x="5" y="85"/>
                    <a:pt x="5" y="85"/>
                    <a:pt x="5" y="85"/>
                  </a:cubicBezTo>
                  <a:cubicBezTo>
                    <a:pt x="0" y="90"/>
                    <a:pt x="4" y="96"/>
                    <a:pt x="11" y="95"/>
                  </a:cubicBezTo>
                  <a:cubicBezTo>
                    <a:pt x="286" y="38"/>
                    <a:pt x="286" y="38"/>
                    <a:pt x="286" y="38"/>
                  </a:cubicBezTo>
                  <a:cubicBezTo>
                    <a:pt x="297" y="36"/>
                    <a:pt x="306" y="31"/>
                    <a:pt x="313" y="25"/>
                  </a:cubicBezTo>
                  <a:cubicBezTo>
                    <a:pt x="330" y="11"/>
                    <a:pt x="330" y="11"/>
                    <a:pt x="330" y="11"/>
                  </a:cubicBezTo>
                  <a:cubicBezTo>
                    <a:pt x="335" y="7"/>
                    <a:pt x="331" y="0"/>
                    <a:pt x="324" y="2"/>
                  </a:cubicBez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3" name="ExtraShape2">
              <a:extLst>
                <a:ext uri="{FF2B5EF4-FFF2-40B4-BE49-F238E27FC236}">
                  <a16:creationId xmlns:a16="http://schemas.microsoft.com/office/drawing/2014/main" id="{33D161D5-06BD-4A65-AADC-4E2DE7F71D65}"/>
                </a:ext>
              </a:extLst>
            </p:cNvPr>
            <p:cNvSpPr/>
            <p:nvPr/>
          </p:nvSpPr>
          <p:spPr bwMode="auto">
            <a:xfrm>
              <a:off x="4735931" y="4415181"/>
              <a:ext cx="2703724" cy="624083"/>
            </a:xfrm>
            <a:custGeom>
              <a:avLst/>
              <a:gdLst>
                <a:gd name="T0" fmla="*/ 0 w 312"/>
                <a:gd name="T1" fmla="*/ 66 h 72"/>
                <a:gd name="T2" fmla="*/ 8 w 312"/>
                <a:gd name="T3" fmla="*/ 71 h 72"/>
                <a:gd name="T4" fmla="*/ 283 w 312"/>
                <a:gd name="T5" fmla="*/ 14 h 72"/>
                <a:gd name="T6" fmla="*/ 310 w 312"/>
                <a:gd name="T7" fmla="*/ 1 h 72"/>
                <a:gd name="T8" fmla="*/ 312 w 312"/>
                <a:gd name="T9" fmla="*/ 0 h 72"/>
                <a:gd name="T10" fmla="*/ 299 w 312"/>
                <a:gd name="T11" fmla="*/ 4 h 72"/>
                <a:gd name="T12" fmla="*/ 0 w 312"/>
                <a:gd name="T13" fmla="*/ 6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72">
                  <a:moveTo>
                    <a:pt x="0" y="66"/>
                  </a:moveTo>
                  <a:cubicBezTo>
                    <a:pt x="0" y="69"/>
                    <a:pt x="3" y="72"/>
                    <a:pt x="8" y="71"/>
                  </a:cubicBezTo>
                  <a:cubicBezTo>
                    <a:pt x="283" y="14"/>
                    <a:pt x="283" y="14"/>
                    <a:pt x="283" y="14"/>
                  </a:cubicBezTo>
                  <a:cubicBezTo>
                    <a:pt x="294" y="12"/>
                    <a:pt x="303" y="7"/>
                    <a:pt x="310" y="1"/>
                  </a:cubicBezTo>
                  <a:cubicBezTo>
                    <a:pt x="312" y="0"/>
                    <a:pt x="312" y="0"/>
                    <a:pt x="312" y="0"/>
                  </a:cubicBezTo>
                  <a:cubicBezTo>
                    <a:pt x="307" y="2"/>
                    <a:pt x="303" y="3"/>
                    <a:pt x="299" y="4"/>
                  </a:cubicBezTo>
                  <a:lnTo>
                    <a:pt x="0" y="66"/>
                  </a:ln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4" name="ExtraShape1">
              <a:extLst>
                <a:ext uri="{FF2B5EF4-FFF2-40B4-BE49-F238E27FC236}">
                  <a16:creationId xmlns:a16="http://schemas.microsoft.com/office/drawing/2014/main" id="{6C79EA70-BF22-4879-84E6-B5AE49508BE1}"/>
                </a:ext>
              </a:extLst>
            </p:cNvPr>
            <p:cNvSpPr/>
            <p:nvPr/>
          </p:nvSpPr>
          <p:spPr bwMode="auto">
            <a:xfrm>
              <a:off x="5548391" y="3730210"/>
              <a:ext cx="1172048" cy="1014135"/>
            </a:xfrm>
            <a:custGeom>
              <a:avLst/>
              <a:gdLst>
                <a:gd name="connsiteX0" fmla="*/ 594392 w 977891"/>
                <a:gd name="connsiteY0" fmla="*/ 0 h 846138"/>
                <a:gd name="connsiteX1" fmla="*/ 810909 w 977891"/>
                <a:gd name="connsiteY1" fmla="*/ 231422 h 846138"/>
                <a:gd name="connsiteX2" fmla="*/ 825344 w 977891"/>
                <a:gd name="connsiteY2" fmla="*/ 274814 h 846138"/>
                <a:gd name="connsiteX3" fmla="*/ 835014 w 977891"/>
                <a:gd name="connsiteY3" fmla="*/ 502521 h 846138"/>
                <a:gd name="connsiteX4" fmla="*/ 836583 w 977891"/>
                <a:gd name="connsiteY4" fmla="*/ 539468 h 846138"/>
                <a:gd name="connsiteX5" fmla="*/ 890945 w 977891"/>
                <a:gd name="connsiteY5" fmla="*/ 535820 h 846138"/>
                <a:gd name="connsiteX6" fmla="*/ 977891 w 977891"/>
                <a:gd name="connsiteY6" fmla="*/ 600454 h 846138"/>
                <a:gd name="connsiteX7" fmla="*/ 977891 w 977891"/>
                <a:gd name="connsiteY7" fmla="*/ 614817 h 846138"/>
                <a:gd name="connsiteX8" fmla="*/ 709807 w 977891"/>
                <a:gd name="connsiteY8" fmla="*/ 679451 h 846138"/>
                <a:gd name="connsiteX9" fmla="*/ 695316 w 977891"/>
                <a:gd name="connsiteY9" fmla="*/ 621999 h 846138"/>
                <a:gd name="connsiteX10" fmla="*/ 695425 w 977891"/>
                <a:gd name="connsiteY10" fmla="*/ 621889 h 846138"/>
                <a:gd name="connsiteX11" fmla="*/ 694869 w 977891"/>
                <a:gd name="connsiteY11" fmla="*/ 617766 h 846138"/>
                <a:gd name="connsiteX12" fmla="*/ 659347 w 977891"/>
                <a:gd name="connsiteY12" fmla="*/ 354365 h 846138"/>
                <a:gd name="connsiteX13" fmla="*/ 608826 w 977891"/>
                <a:gd name="connsiteY13" fmla="*/ 282046 h 846138"/>
                <a:gd name="connsiteX14" fmla="*/ 392309 w 977891"/>
                <a:gd name="connsiteY14" fmla="*/ 180798 h 846138"/>
                <a:gd name="connsiteX15" fmla="*/ 385092 w 977891"/>
                <a:gd name="connsiteY15" fmla="*/ 180798 h 846138"/>
                <a:gd name="connsiteX16" fmla="*/ 247964 w 977891"/>
                <a:gd name="connsiteY16" fmla="*/ 383293 h 846138"/>
                <a:gd name="connsiteX17" fmla="*/ 233530 w 977891"/>
                <a:gd name="connsiteY17" fmla="*/ 441148 h 846138"/>
                <a:gd name="connsiteX18" fmla="*/ 257705 w 977891"/>
                <a:gd name="connsiteY18" fmla="*/ 654322 h 846138"/>
                <a:gd name="connsiteX19" fmla="*/ 268660 w 977891"/>
                <a:gd name="connsiteY19" fmla="*/ 750924 h 846138"/>
                <a:gd name="connsiteX20" fmla="*/ 276216 w 977891"/>
                <a:gd name="connsiteY20" fmla="*/ 781195 h 846138"/>
                <a:gd name="connsiteX21" fmla="*/ 9638 w 977891"/>
                <a:gd name="connsiteY21" fmla="*/ 846138 h 846138"/>
                <a:gd name="connsiteX22" fmla="*/ 2434 w 977891"/>
                <a:gd name="connsiteY22" fmla="*/ 831706 h 846138"/>
                <a:gd name="connsiteX23" fmla="*/ 45662 w 977891"/>
                <a:gd name="connsiteY23" fmla="*/ 730684 h 846138"/>
                <a:gd name="connsiteX24" fmla="*/ 105777 w 977891"/>
                <a:gd name="connsiteY24" fmla="*/ 708247 h 846138"/>
                <a:gd name="connsiteX25" fmla="*/ 116127 w 977891"/>
                <a:gd name="connsiteY25" fmla="*/ 707274 h 846138"/>
                <a:gd name="connsiteX26" fmla="*/ 114868 w 977891"/>
                <a:gd name="connsiteY26" fmla="*/ 701598 h 846138"/>
                <a:gd name="connsiteX27" fmla="*/ 60316 w 977891"/>
                <a:gd name="connsiteY27" fmla="*/ 455612 h 846138"/>
                <a:gd name="connsiteX28" fmla="*/ 60316 w 977891"/>
                <a:gd name="connsiteY28" fmla="*/ 412221 h 846138"/>
                <a:gd name="connsiteX29" fmla="*/ 161357 w 977891"/>
                <a:gd name="connsiteY29" fmla="*/ 36160 h 846138"/>
                <a:gd name="connsiteX30" fmla="*/ 594392 w 977891"/>
                <a:gd name="connsiteY30" fmla="*/ 0 h 846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977891" h="846138">
                  <a:moveTo>
                    <a:pt x="594392" y="0"/>
                  </a:moveTo>
                  <a:cubicBezTo>
                    <a:pt x="594392" y="0"/>
                    <a:pt x="594392" y="0"/>
                    <a:pt x="810909" y="231422"/>
                  </a:cubicBezTo>
                  <a:cubicBezTo>
                    <a:pt x="810909" y="245886"/>
                    <a:pt x="818126" y="260350"/>
                    <a:pt x="825344" y="274814"/>
                  </a:cubicBezTo>
                  <a:cubicBezTo>
                    <a:pt x="825344" y="274814"/>
                    <a:pt x="825344" y="274814"/>
                    <a:pt x="835014" y="502521"/>
                  </a:cubicBezTo>
                  <a:lnTo>
                    <a:pt x="836583" y="539468"/>
                  </a:lnTo>
                  <a:lnTo>
                    <a:pt x="890945" y="535820"/>
                  </a:lnTo>
                  <a:cubicBezTo>
                    <a:pt x="941663" y="543001"/>
                    <a:pt x="970646" y="571728"/>
                    <a:pt x="977891" y="600454"/>
                  </a:cubicBezTo>
                  <a:cubicBezTo>
                    <a:pt x="977891" y="607635"/>
                    <a:pt x="977891" y="614817"/>
                    <a:pt x="977891" y="614817"/>
                  </a:cubicBezTo>
                  <a:cubicBezTo>
                    <a:pt x="977891" y="614817"/>
                    <a:pt x="977891" y="614817"/>
                    <a:pt x="709807" y="679451"/>
                  </a:cubicBezTo>
                  <a:cubicBezTo>
                    <a:pt x="709807" y="679451"/>
                    <a:pt x="709807" y="679451"/>
                    <a:pt x="695316" y="621999"/>
                  </a:cubicBezTo>
                  <a:lnTo>
                    <a:pt x="695425" y="621889"/>
                  </a:lnTo>
                  <a:lnTo>
                    <a:pt x="694869" y="617766"/>
                  </a:lnTo>
                  <a:cubicBezTo>
                    <a:pt x="693178" y="605224"/>
                    <a:pt x="686411" y="555052"/>
                    <a:pt x="659347" y="354365"/>
                  </a:cubicBezTo>
                  <a:cubicBezTo>
                    <a:pt x="652130" y="325437"/>
                    <a:pt x="637695" y="296510"/>
                    <a:pt x="608826" y="282046"/>
                  </a:cubicBezTo>
                  <a:cubicBezTo>
                    <a:pt x="543871" y="245886"/>
                    <a:pt x="406744" y="173567"/>
                    <a:pt x="392309" y="180798"/>
                  </a:cubicBezTo>
                  <a:cubicBezTo>
                    <a:pt x="392309" y="180798"/>
                    <a:pt x="392309" y="180798"/>
                    <a:pt x="385092" y="180798"/>
                  </a:cubicBezTo>
                  <a:cubicBezTo>
                    <a:pt x="370657" y="188030"/>
                    <a:pt x="284050" y="318205"/>
                    <a:pt x="247964" y="383293"/>
                  </a:cubicBezTo>
                  <a:cubicBezTo>
                    <a:pt x="233530" y="397757"/>
                    <a:pt x="233530" y="419453"/>
                    <a:pt x="233530" y="441148"/>
                  </a:cubicBezTo>
                  <a:cubicBezTo>
                    <a:pt x="233530" y="441148"/>
                    <a:pt x="233530" y="441148"/>
                    <a:pt x="257705" y="654322"/>
                  </a:cubicBezTo>
                  <a:lnTo>
                    <a:pt x="268660" y="750924"/>
                  </a:lnTo>
                  <a:lnTo>
                    <a:pt x="276216" y="781195"/>
                  </a:lnTo>
                  <a:cubicBezTo>
                    <a:pt x="276216" y="781195"/>
                    <a:pt x="276216" y="781195"/>
                    <a:pt x="9638" y="846138"/>
                  </a:cubicBezTo>
                  <a:cubicBezTo>
                    <a:pt x="2434" y="838922"/>
                    <a:pt x="2434" y="838922"/>
                    <a:pt x="2434" y="831706"/>
                  </a:cubicBezTo>
                  <a:cubicBezTo>
                    <a:pt x="-4771" y="802843"/>
                    <a:pt x="2434" y="759547"/>
                    <a:pt x="45662" y="730684"/>
                  </a:cubicBezTo>
                  <a:cubicBezTo>
                    <a:pt x="65476" y="719860"/>
                    <a:pt x="85739" y="712644"/>
                    <a:pt x="105777" y="708247"/>
                  </a:cubicBezTo>
                  <a:lnTo>
                    <a:pt x="116127" y="707274"/>
                  </a:lnTo>
                  <a:lnTo>
                    <a:pt x="114868" y="701598"/>
                  </a:lnTo>
                  <a:cubicBezTo>
                    <a:pt x="104296" y="653926"/>
                    <a:pt x="87380" y="577652"/>
                    <a:pt x="60316" y="455612"/>
                  </a:cubicBezTo>
                  <a:cubicBezTo>
                    <a:pt x="60316" y="441148"/>
                    <a:pt x="60316" y="426685"/>
                    <a:pt x="60316" y="412221"/>
                  </a:cubicBezTo>
                  <a:cubicBezTo>
                    <a:pt x="60316" y="412221"/>
                    <a:pt x="60316" y="412221"/>
                    <a:pt x="161357" y="36160"/>
                  </a:cubicBezTo>
                  <a:cubicBezTo>
                    <a:pt x="161357" y="36160"/>
                    <a:pt x="161357" y="36160"/>
                    <a:pt x="594392" y="0"/>
                  </a:cubicBezTo>
                  <a:close/>
                </a:path>
              </a:pathLst>
            </a:custGeom>
            <a:solidFill>
              <a:srgbClr val="FBCDB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5" name="ExtraShape2">
              <a:extLst>
                <a:ext uri="{FF2B5EF4-FFF2-40B4-BE49-F238E27FC236}">
                  <a16:creationId xmlns:a16="http://schemas.microsoft.com/office/drawing/2014/main" id="{1A1BF59B-48C0-46C3-8887-DFA487BFEF10}"/>
                </a:ext>
              </a:extLst>
            </p:cNvPr>
            <p:cNvSpPr/>
            <p:nvPr/>
          </p:nvSpPr>
          <p:spPr bwMode="auto">
            <a:xfrm>
              <a:off x="5620681" y="3730212"/>
              <a:ext cx="917098" cy="538462"/>
            </a:xfrm>
            <a:custGeom>
              <a:avLst/>
              <a:gdLst>
                <a:gd name="T0" fmla="*/ 104 w 106"/>
                <a:gd name="T1" fmla="*/ 32 h 62"/>
                <a:gd name="T2" fmla="*/ 74 w 106"/>
                <a:gd name="T3" fmla="*/ 0 h 62"/>
                <a:gd name="T4" fmla="*/ 14 w 106"/>
                <a:gd name="T5" fmla="*/ 5 h 62"/>
                <a:gd name="T6" fmla="*/ 0 w 106"/>
                <a:gd name="T7" fmla="*/ 57 h 62"/>
                <a:gd name="T8" fmla="*/ 0 w 106"/>
                <a:gd name="T9" fmla="*/ 62 h 62"/>
                <a:gd name="T10" fmla="*/ 16 w 106"/>
                <a:gd name="T11" fmla="*/ 59 h 62"/>
                <a:gd name="T12" fmla="*/ 24 w 106"/>
                <a:gd name="T13" fmla="*/ 60 h 62"/>
                <a:gd name="T14" fmla="*/ 26 w 106"/>
                <a:gd name="T15" fmla="*/ 53 h 62"/>
                <a:gd name="T16" fmla="*/ 45 w 106"/>
                <a:gd name="T17" fmla="*/ 25 h 62"/>
                <a:gd name="T18" fmla="*/ 46 w 106"/>
                <a:gd name="T19" fmla="*/ 25 h 62"/>
                <a:gd name="T20" fmla="*/ 76 w 106"/>
                <a:gd name="T21" fmla="*/ 39 h 62"/>
                <a:gd name="T22" fmla="*/ 83 w 106"/>
                <a:gd name="T23" fmla="*/ 49 h 62"/>
                <a:gd name="T24" fmla="*/ 83 w 106"/>
                <a:gd name="T25" fmla="*/ 51 h 62"/>
                <a:gd name="T26" fmla="*/ 106 w 106"/>
                <a:gd name="T27" fmla="*/ 40 h 62"/>
                <a:gd name="T28" fmla="*/ 106 w 106"/>
                <a:gd name="T29" fmla="*/ 38 h 62"/>
                <a:gd name="T30" fmla="*/ 104 w 106"/>
                <a:gd name="T31" fmla="*/ 3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6" h="62">
                  <a:moveTo>
                    <a:pt x="104" y="32"/>
                  </a:moveTo>
                  <a:cubicBezTo>
                    <a:pt x="74" y="0"/>
                    <a:pt x="74" y="0"/>
                    <a:pt x="74" y="0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58"/>
                    <a:pt x="0" y="60"/>
                    <a:pt x="0" y="62"/>
                  </a:cubicBezTo>
                  <a:cubicBezTo>
                    <a:pt x="5" y="60"/>
                    <a:pt x="11" y="59"/>
                    <a:pt x="16" y="59"/>
                  </a:cubicBezTo>
                  <a:cubicBezTo>
                    <a:pt x="19" y="59"/>
                    <a:pt x="21" y="60"/>
                    <a:pt x="24" y="60"/>
                  </a:cubicBezTo>
                  <a:cubicBezTo>
                    <a:pt x="24" y="57"/>
                    <a:pt x="24" y="55"/>
                    <a:pt x="26" y="53"/>
                  </a:cubicBezTo>
                  <a:cubicBezTo>
                    <a:pt x="31" y="44"/>
                    <a:pt x="43" y="26"/>
                    <a:pt x="45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8" y="24"/>
                    <a:pt x="67" y="34"/>
                    <a:pt x="76" y="39"/>
                  </a:cubicBezTo>
                  <a:cubicBezTo>
                    <a:pt x="80" y="41"/>
                    <a:pt x="82" y="45"/>
                    <a:pt x="83" y="49"/>
                  </a:cubicBezTo>
                  <a:cubicBezTo>
                    <a:pt x="83" y="51"/>
                    <a:pt x="83" y="51"/>
                    <a:pt x="83" y="51"/>
                  </a:cubicBezTo>
                  <a:cubicBezTo>
                    <a:pt x="90" y="46"/>
                    <a:pt x="98" y="42"/>
                    <a:pt x="106" y="40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5" y="36"/>
                    <a:pt x="104" y="34"/>
                    <a:pt x="104" y="3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6" name="ExtraShape3">
              <a:extLst>
                <a:ext uri="{FF2B5EF4-FFF2-40B4-BE49-F238E27FC236}">
                  <a16:creationId xmlns:a16="http://schemas.microsoft.com/office/drawing/2014/main" id="{8C363A36-0B12-4BF4-9B8C-796F8E5FFBBD}"/>
                </a:ext>
              </a:extLst>
            </p:cNvPr>
            <p:cNvSpPr/>
            <p:nvPr/>
          </p:nvSpPr>
          <p:spPr bwMode="auto">
            <a:xfrm>
              <a:off x="5108856" y="2950109"/>
              <a:ext cx="1984506" cy="884752"/>
            </a:xfrm>
            <a:custGeom>
              <a:avLst/>
              <a:gdLst>
                <a:gd name="T0" fmla="*/ 198 w 229"/>
                <a:gd name="T1" fmla="*/ 11 h 102"/>
                <a:gd name="T2" fmla="*/ 164 w 229"/>
                <a:gd name="T3" fmla="*/ 22 h 102"/>
                <a:gd name="T4" fmla="*/ 156 w 229"/>
                <a:gd name="T5" fmla="*/ 23 h 102"/>
                <a:gd name="T6" fmla="*/ 131 w 229"/>
                <a:gd name="T7" fmla="*/ 16 h 102"/>
                <a:gd name="T8" fmla="*/ 114 w 229"/>
                <a:gd name="T9" fmla="*/ 17 h 102"/>
                <a:gd name="T10" fmla="*/ 111 w 229"/>
                <a:gd name="T11" fmla="*/ 14 h 102"/>
                <a:gd name="T12" fmla="*/ 111 w 229"/>
                <a:gd name="T13" fmla="*/ 0 h 102"/>
                <a:gd name="T14" fmla="*/ 92 w 229"/>
                <a:gd name="T15" fmla="*/ 0 h 102"/>
                <a:gd name="T16" fmla="*/ 92 w 229"/>
                <a:gd name="T17" fmla="*/ 16 h 102"/>
                <a:gd name="T18" fmla="*/ 90 w 229"/>
                <a:gd name="T19" fmla="*/ 18 h 102"/>
                <a:gd name="T20" fmla="*/ 75 w 229"/>
                <a:gd name="T21" fmla="*/ 22 h 102"/>
                <a:gd name="T22" fmla="*/ 65 w 229"/>
                <a:gd name="T23" fmla="*/ 31 h 102"/>
                <a:gd name="T24" fmla="*/ 61 w 229"/>
                <a:gd name="T25" fmla="*/ 39 h 102"/>
                <a:gd name="T26" fmla="*/ 51 w 229"/>
                <a:gd name="T27" fmla="*/ 56 h 102"/>
                <a:gd name="T28" fmla="*/ 46 w 229"/>
                <a:gd name="T29" fmla="*/ 59 h 102"/>
                <a:gd name="T30" fmla="*/ 14 w 229"/>
                <a:gd name="T31" fmla="*/ 75 h 102"/>
                <a:gd name="T32" fmla="*/ 3 w 229"/>
                <a:gd name="T33" fmla="*/ 92 h 102"/>
                <a:gd name="T34" fmla="*/ 19 w 229"/>
                <a:gd name="T35" fmla="*/ 98 h 102"/>
                <a:gd name="T36" fmla="*/ 56 w 229"/>
                <a:gd name="T37" fmla="*/ 78 h 102"/>
                <a:gd name="T38" fmla="*/ 72 w 229"/>
                <a:gd name="T39" fmla="*/ 59 h 102"/>
                <a:gd name="T40" fmla="*/ 73 w 229"/>
                <a:gd name="T41" fmla="*/ 59 h 102"/>
                <a:gd name="T42" fmla="*/ 72 w 229"/>
                <a:gd name="T43" fmla="*/ 101 h 102"/>
                <a:gd name="T44" fmla="*/ 135 w 229"/>
                <a:gd name="T45" fmla="*/ 93 h 102"/>
                <a:gd name="T46" fmla="*/ 133 w 229"/>
                <a:gd name="T47" fmla="*/ 50 h 102"/>
                <a:gd name="T48" fmla="*/ 138 w 229"/>
                <a:gd name="T49" fmla="*/ 45 h 102"/>
                <a:gd name="T50" fmla="*/ 160 w 229"/>
                <a:gd name="T51" fmla="*/ 46 h 102"/>
                <a:gd name="T52" fmla="*/ 164 w 229"/>
                <a:gd name="T53" fmla="*/ 45 h 102"/>
                <a:gd name="T54" fmla="*/ 210 w 229"/>
                <a:gd name="T55" fmla="*/ 30 h 102"/>
                <a:gd name="T56" fmla="*/ 221 w 229"/>
                <a:gd name="T57" fmla="*/ 13 h 102"/>
                <a:gd name="T58" fmla="*/ 198 w 229"/>
                <a:gd name="T59" fmla="*/ 11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29" h="102">
                  <a:moveTo>
                    <a:pt x="198" y="11"/>
                  </a:moveTo>
                  <a:cubicBezTo>
                    <a:pt x="164" y="22"/>
                    <a:pt x="164" y="22"/>
                    <a:pt x="164" y="22"/>
                  </a:cubicBezTo>
                  <a:cubicBezTo>
                    <a:pt x="161" y="23"/>
                    <a:pt x="159" y="23"/>
                    <a:pt x="156" y="23"/>
                  </a:cubicBezTo>
                  <a:cubicBezTo>
                    <a:pt x="148" y="23"/>
                    <a:pt x="139" y="18"/>
                    <a:pt x="131" y="16"/>
                  </a:cubicBezTo>
                  <a:cubicBezTo>
                    <a:pt x="128" y="16"/>
                    <a:pt x="118" y="17"/>
                    <a:pt x="114" y="17"/>
                  </a:cubicBezTo>
                  <a:cubicBezTo>
                    <a:pt x="112" y="17"/>
                    <a:pt x="111" y="16"/>
                    <a:pt x="111" y="14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6"/>
                    <a:pt x="92" y="16"/>
                    <a:pt x="92" y="16"/>
                  </a:cubicBezTo>
                  <a:cubicBezTo>
                    <a:pt x="92" y="17"/>
                    <a:pt x="91" y="18"/>
                    <a:pt x="90" y="18"/>
                  </a:cubicBezTo>
                  <a:cubicBezTo>
                    <a:pt x="85" y="19"/>
                    <a:pt x="80" y="21"/>
                    <a:pt x="75" y="22"/>
                  </a:cubicBezTo>
                  <a:cubicBezTo>
                    <a:pt x="71" y="24"/>
                    <a:pt x="67" y="27"/>
                    <a:pt x="65" y="31"/>
                  </a:cubicBezTo>
                  <a:cubicBezTo>
                    <a:pt x="64" y="33"/>
                    <a:pt x="63" y="35"/>
                    <a:pt x="61" y="39"/>
                  </a:cubicBezTo>
                  <a:cubicBezTo>
                    <a:pt x="57" y="47"/>
                    <a:pt x="56" y="50"/>
                    <a:pt x="51" y="56"/>
                  </a:cubicBezTo>
                  <a:cubicBezTo>
                    <a:pt x="49" y="58"/>
                    <a:pt x="49" y="58"/>
                    <a:pt x="46" y="59"/>
                  </a:cubicBezTo>
                  <a:cubicBezTo>
                    <a:pt x="14" y="75"/>
                    <a:pt x="14" y="75"/>
                    <a:pt x="14" y="75"/>
                  </a:cubicBezTo>
                  <a:cubicBezTo>
                    <a:pt x="14" y="75"/>
                    <a:pt x="0" y="82"/>
                    <a:pt x="3" y="92"/>
                  </a:cubicBezTo>
                  <a:cubicBezTo>
                    <a:pt x="6" y="102"/>
                    <a:pt x="16" y="99"/>
                    <a:pt x="19" y="98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64" y="75"/>
                    <a:pt x="69" y="64"/>
                    <a:pt x="72" y="59"/>
                  </a:cubicBezTo>
                  <a:cubicBezTo>
                    <a:pt x="72" y="58"/>
                    <a:pt x="73" y="58"/>
                    <a:pt x="73" y="59"/>
                  </a:cubicBezTo>
                  <a:cubicBezTo>
                    <a:pt x="73" y="74"/>
                    <a:pt x="72" y="101"/>
                    <a:pt x="72" y="101"/>
                  </a:cubicBezTo>
                  <a:cubicBezTo>
                    <a:pt x="135" y="93"/>
                    <a:pt x="135" y="93"/>
                    <a:pt x="135" y="93"/>
                  </a:cubicBezTo>
                  <a:cubicBezTo>
                    <a:pt x="133" y="50"/>
                    <a:pt x="133" y="50"/>
                    <a:pt x="133" y="50"/>
                  </a:cubicBezTo>
                  <a:cubicBezTo>
                    <a:pt x="133" y="47"/>
                    <a:pt x="135" y="45"/>
                    <a:pt x="138" y="45"/>
                  </a:cubicBezTo>
                  <a:cubicBezTo>
                    <a:pt x="145" y="45"/>
                    <a:pt x="156" y="46"/>
                    <a:pt x="160" y="46"/>
                  </a:cubicBezTo>
                  <a:cubicBezTo>
                    <a:pt x="162" y="45"/>
                    <a:pt x="163" y="45"/>
                    <a:pt x="164" y="45"/>
                  </a:cubicBezTo>
                  <a:cubicBezTo>
                    <a:pt x="210" y="30"/>
                    <a:pt x="210" y="30"/>
                    <a:pt x="210" y="30"/>
                  </a:cubicBezTo>
                  <a:cubicBezTo>
                    <a:pt x="210" y="30"/>
                    <a:pt x="229" y="26"/>
                    <a:pt x="221" y="13"/>
                  </a:cubicBezTo>
                  <a:cubicBezTo>
                    <a:pt x="216" y="5"/>
                    <a:pt x="205" y="9"/>
                    <a:pt x="198" y="11"/>
                  </a:cubicBezTo>
                  <a:close/>
                </a:path>
              </a:pathLst>
            </a:custGeom>
            <a:solidFill>
              <a:srgbClr val="FBCDB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7" name="ExtraShape4">
              <a:extLst>
                <a:ext uri="{FF2B5EF4-FFF2-40B4-BE49-F238E27FC236}">
                  <a16:creationId xmlns:a16="http://schemas.microsoft.com/office/drawing/2014/main" id="{145A6761-C01A-4AC4-80B6-DA68C8F7B7BB}"/>
                </a:ext>
              </a:extLst>
            </p:cNvPr>
            <p:cNvSpPr/>
            <p:nvPr/>
          </p:nvSpPr>
          <p:spPr bwMode="auto">
            <a:xfrm>
              <a:off x="5272488" y="3800611"/>
              <a:ext cx="9513" cy="0"/>
            </a:xfrm>
            <a:custGeom>
              <a:avLst/>
              <a:gdLst>
                <a:gd name="T0" fmla="*/ 0 w 1"/>
                <a:gd name="T1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FCC0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8" name="ExtraShape5">
              <a:extLst>
                <a:ext uri="{FF2B5EF4-FFF2-40B4-BE49-F238E27FC236}">
                  <a16:creationId xmlns:a16="http://schemas.microsoft.com/office/drawing/2014/main" id="{B8723FDF-DA0D-4E40-BA3B-DB6C3CDB6613}"/>
                </a:ext>
              </a:extLst>
            </p:cNvPr>
            <p:cNvSpPr/>
            <p:nvPr/>
          </p:nvSpPr>
          <p:spPr bwMode="auto">
            <a:xfrm>
              <a:off x="5264879" y="3800610"/>
              <a:ext cx="7611" cy="7611"/>
            </a:xfrm>
            <a:custGeom>
              <a:avLst/>
              <a:gdLst>
                <a:gd name="T0" fmla="*/ 0 w 1"/>
                <a:gd name="T1" fmla="*/ 1 h 1"/>
                <a:gd name="T2" fmla="*/ 1 w 1"/>
                <a:gd name="T3" fmla="*/ 0 h 1"/>
                <a:gd name="T4" fmla="*/ 1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CC0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9" name="ExtraShape6">
              <a:extLst>
                <a:ext uri="{FF2B5EF4-FFF2-40B4-BE49-F238E27FC236}">
                  <a16:creationId xmlns:a16="http://schemas.microsoft.com/office/drawing/2014/main" id="{2B7E824F-9D0C-419D-8B21-B78DE2C3C541}"/>
                </a:ext>
              </a:extLst>
            </p:cNvPr>
            <p:cNvSpPr/>
            <p:nvPr/>
          </p:nvSpPr>
          <p:spPr bwMode="auto">
            <a:xfrm>
              <a:off x="5767189" y="2430675"/>
              <a:ext cx="450937" cy="614570"/>
            </a:xfrm>
            <a:custGeom>
              <a:avLst/>
              <a:gdLst>
                <a:gd name="T0" fmla="*/ 28 w 52"/>
                <a:gd name="T1" fmla="*/ 0 h 71"/>
                <a:gd name="T2" fmla="*/ 0 w 52"/>
                <a:gd name="T3" fmla="*/ 35 h 71"/>
                <a:gd name="T4" fmla="*/ 5 w 52"/>
                <a:gd name="T5" fmla="*/ 49 h 71"/>
                <a:gd name="T6" fmla="*/ 26 w 52"/>
                <a:gd name="T7" fmla="*/ 71 h 71"/>
                <a:gd name="T8" fmla="*/ 51 w 52"/>
                <a:gd name="T9" fmla="*/ 36 h 71"/>
                <a:gd name="T10" fmla="*/ 28 w 52"/>
                <a:gd name="T11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71">
                  <a:moveTo>
                    <a:pt x="28" y="0"/>
                  </a:moveTo>
                  <a:cubicBezTo>
                    <a:pt x="15" y="0"/>
                    <a:pt x="1" y="15"/>
                    <a:pt x="0" y="35"/>
                  </a:cubicBezTo>
                  <a:cubicBezTo>
                    <a:pt x="0" y="40"/>
                    <a:pt x="3" y="45"/>
                    <a:pt x="5" y="49"/>
                  </a:cubicBezTo>
                  <a:cubicBezTo>
                    <a:pt x="8" y="62"/>
                    <a:pt x="17" y="70"/>
                    <a:pt x="26" y="71"/>
                  </a:cubicBezTo>
                  <a:cubicBezTo>
                    <a:pt x="39" y="71"/>
                    <a:pt x="50" y="56"/>
                    <a:pt x="51" y="36"/>
                  </a:cubicBezTo>
                  <a:cubicBezTo>
                    <a:pt x="52" y="17"/>
                    <a:pt x="41" y="1"/>
                    <a:pt x="28" y="0"/>
                  </a:cubicBezTo>
                  <a:close/>
                </a:path>
              </a:pathLst>
            </a:custGeom>
            <a:solidFill>
              <a:srgbClr val="FBCDB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0" name="ExtraShape7">
              <a:extLst>
                <a:ext uri="{FF2B5EF4-FFF2-40B4-BE49-F238E27FC236}">
                  <a16:creationId xmlns:a16="http://schemas.microsoft.com/office/drawing/2014/main" id="{93791B81-15CA-43F6-A29C-6AE5401DBABB}"/>
                </a:ext>
              </a:extLst>
            </p:cNvPr>
            <p:cNvSpPr/>
            <p:nvPr/>
          </p:nvSpPr>
          <p:spPr bwMode="auto">
            <a:xfrm>
              <a:off x="5620688" y="2343150"/>
              <a:ext cx="743952" cy="528948"/>
            </a:xfrm>
            <a:custGeom>
              <a:avLst/>
              <a:gdLst>
                <a:gd name="T0" fmla="*/ 51 w 86"/>
                <a:gd name="T1" fmla="*/ 11 h 61"/>
                <a:gd name="T2" fmla="*/ 23 w 86"/>
                <a:gd name="T3" fmla="*/ 18 h 61"/>
                <a:gd name="T4" fmla="*/ 20 w 86"/>
                <a:gd name="T5" fmla="*/ 61 h 61"/>
                <a:gd name="T6" fmla="*/ 23 w 86"/>
                <a:gd name="T7" fmla="*/ 58 h 61"/>
                <a:gd name="T8" fmla="*/ 24 w 86"/>
                <a:gd name="T9" fmla="*/ 47 h 61"/>
                <a:gd name="T10" fmla="*/ 28 w 86"/>
                <a:gd name="T11" fmla="*/ 50 h 61"/>
                <a:gd name="T12" fmla="*/ 33 w 86"/>
                <a:gd name="T13" fmla="*/ 36 h 61"/>
                <a:gd name="T14" fmla="*/ 75 w 86"/>
                <a:gd name="T15" fmla="*/ 12 h 61"/>
                <a:gd name="T16" fmla="*/ 51 w 86"/>
                <a:gd name="T17" fmla="*/ 1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6" h="61">
                  <a:moveTo>
                    <a:pt x="51" y="11"/>
                  </a:moveTo>
                  <a:cubicBezTo>
                    <a:pt x="31" y="0"/>
                    <a:pt x="23" y="18"/>
                    <a:pt x="23" y="18"/>
                  </a:cubicBezTo>
                  <a:cubicBezTo>
                    <a:pt x="0" y="26"/>
                    <a:pt x="20" y="61"/>
                    <a:pt x="20" y="61"/>
                  </a:cubicBezTo>
                  <a:cubicBezTo>
                    <a:pt x="21" y="60"/>
                    <a:pt x="22" y="60"/>
                    <a:pt x="23" y="58"/>
                  </a:cubicBezTo>
                  <a:cubicBezTo>
                    <a:pt x="18" y="56"/>
                    <a:pt x="17" y="47"/>
                    <a:pt x="24" y="47"/>
                  </a:cubicBezTo>
                  <a:cubicBezTo>
                    <a:pt x="25" y="47"/>
                    <a:pt x="27" y="48"/>
                    <a:pt x="28" y="50"/>
                  </a:cubicBezTo>
                  <a:cubicBezTo>
                    <a:pt x="30" y="44"/>
                    <a:pt x="33" y="36"/>
                    <a:pt x="33" y="36"/>
                  </a:cubicBezTo>
                  <a:cubicBezTo>
                    <a:pt x="86" y="54"/>
                    <a:pt x="75" y="12"/>
                    <a:pt x="75" y="12"/>
                  </a:cubicBezTo>
                  <a:cubicBezTo>
                    <a:pt x="66" y="15"/>
                    <a:pt x="61" y="16"/>
                    <a:pt x="51" y="11"/>
                  </a:cubicBezTo>
                  <a:close/>
                </a:path>
              </a:pathLst>
            </a:custGeom>
            <a:solidFill>
              <a:srgbClr val="2D36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1" name="ValueText">
              <a:extLst>
                <a:ext uri="{FF2B5EF4-FFF2-40B4-BE49-F238E27FC236}">
                  <a16:creationId xmlns:a16="http://schemas.microsoft.com/office/drawing/2014/main" id="{785A095E-5B09-4751-ADBD-ADB0DC76E77C}"/>
                </a:ext>
              </a:extLst>
            </p:cNvPr>
            <p:cNvSpPr txBox="1"/>
            <p:nvPr/>
          </p:nvSpPr>
          <p:spPr>
            <a:xfrm>
              <a:off x="3370143" y="2807755"/>
              <a:ext cx="1428069" cy="107105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tIns="90000" bIns="90000" anchor="ctr" anchorCtr="0">
              <a:prstTxWarp prst="textPlain">
                <a:avLst/>
              </a:prstTxWarp>
              <a:noAutofit/>
            </a:bodyPr>
            <a:lstStyle/>
            <a:p>
              <a:pPr>
                <a:lnSpc>
                  <a:spcPct val="130000"/>
                </a:lnSpc>
              </a:pPr>
              <a:r>
                <a:rPr lang="en-US" altLang="zh-CN" sz="700" dirty="0">
                  <a:solidFill>
                    <a:schemeClr val="accent1">
                      <a:lumMod val="60000"/>
                      <a:lumOff val="40000"/>
                    </a:schemeClr>
                  </a:solidFill>
                  <a:latin typeface=""/>
                  <a:ea typeface="微软雅黑" panose="020B0503020204020204" pitchFamily="34" charset="-122"/>
                  <a:sym typeface=""/>
                </a:rPr>
                <a:t>95%</a:t>
              </a:r>
              <a:endParaRPr lang="en-US" sz="700" dirty="0">
                <a:solidFill>
                  <a:schemeClr val="accent1">
                    <a:lumMod val="60000"/>
                    <a:lumOff val="40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2" name="CustomText">
              <a:extLst>
                <a:ext uri="{FF2B5EF4-FFF2-40B4-BE49-F238E27FC236}">
                  <a16:creationId xmlns:a16="http://schemas.microsoft.com/office/drawing/2014/main" id="{058DD5C2-A00A-4988-B593-D4C728D9CFD9}"/>
                </a:ext>
              </a:extLst>
            </p:cNvPr>
            <p:cNvSpPr/>
            <p:nvPr/>
          </p:nvSpPr>
          <p:spPr>
            <a:xfrm>
              <a:off x="809744" y="4030078"/>
              <a:ext cx="1612232" cy="355419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70000" lnSpcReduction="20000"/>
            </a:bodyPr>
            <a:lstStyle/>
            <a:p>
              <a:pPr marL="0" marR="0" lvl="0" indent="0" defTabSz="914400" rtl="0" eaLnBrk="1" fontAlgn="auto" latinLnBrk="0" hangingPunct="1">
                <a:lnSpc>
                  <a:spcPct val="150000"/>
                </a:lnSpc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000" b="1" kern="1200" cap="none" normalizeH="0" baseline="0" noProof="0" dirty="0">
                  <a:solidFill>
                    <a:schemeClr val="tx2">
                      <a:lumMod val="75000"/>
                    </a:schemeClr>
                  </a:solidFill>
                  <a:effectLst/>
                  <a:uLnTx/>
                  <a:uFillTx/>
                  <a:latin typeface=""/>
                  <a:ea typeface="微软雅黑" panose="020B0503020204020204" pitchFamily="34" charset="-122"/>
                  <a:sym typeface=""/>
                </a:rPr>
                <a:t>品类结构准确度</a:t>
              </a:r>
              <a:endParaRPr kumimoji="0" lang="en-US" altLang="zh-CN" sz="2000" b="1" kern="1200" cap="none" normalizeH="0" baseline="0" noProof="0" dirty="0"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3" name="CustomText1">
              <a:extLst>
                <a:ext uri="{FF2B5EF4-FFF2-40B4-BE49-F238E27FC236}">
                  <a16:creationId xmlns:a16="http://schemas.microsoft.com/office/drawing/2014/main" id="{137F174A-9ADB-49B9-B8B4-546EA49143F8}"/>
                </a:ext>
              </a:extLst>
            </p:cNvPr>
            <p:cNvSpPr/>
            <p:nvPr/>
          </p:nvSpPr>
          <p:spPr>
            <a:xfrm>
              <a:off x="809743" y="4309823"/>
              <a:ext cx="1612232" cy="264775"/>
            </a:xfrm>
            <a:prstGeom prst="rect">
              <a:avLst/>
            </a:prstGeom>
            <a:noFill/>
          </p:spPr>
          <p:txBody>
            <a:bodyPr wrap="none" lIns="90000" tIns="46800" rIns="90000" bIns="46800">
              <a:normAutofit fontScale="70000" lnSpcReduction="20000"/>
            </a:bodyPr>
            <a:lstStyle/>
            <a:p>
              <a:pPr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CN" sz="1200" dirty="0">
                  <a:solidFill>
                    <a:schemeClr val="tx2">
                      <a:lumMod val="75000"/>
                    </a:schemeClr>
                  </a:solidFill>
                  <a:latin typeface=""/>
                  <a:ea typeface="微软雅黑" panose="020B0503020204020204" pitchFamily="34" charset="-122"/>
                  <a:sym typeface=""/>
                </a:rPr>
                <a:t>= 1-</a:t>
              </a:r>
              <a:r>
                <a:rPr lang="zh-CN" altLang="en-US" sz="1200" dirty="0">
                  <a:solidFill>
                    <a:schemeClr val="tx2">
                      <a:lumMod val="75000"/>
                    </a:schemeClr>
                  </a:solidFill>
                  <a:latin typeface=""/>
                  <a:ea typeface="微软雅黑" panose="020B0503020204020204" pitchFamily="34" charset="-122"/>
                  <a:sym typeface=""/>
                </a:rPr>
                <a:t>平均方差</a:t>
              </a:r>
              <a:endParaRPr lang="en-US" altLang="zh-CN" sz="1200" dirty="0">
                <a:solidFill>
                  <a:schemeClr val="tx2">
                    <a:lumMod val="7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  <a:p>
              <a:pPr marL="0" marR="0" lvl="0" indent="0" defTabSz="914400" rtl="0" eaLnBrk="1" fontAlgn="auto" latinLnBrk="0" hangingPunct="1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200" u="none" kern="1200" cap="none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4" name="CustomText1">
              <a:extLst>
                <a:ext uri="{FF2B5EF4-FFF2-40B4-BE49-F238E27FC236}">
                  <a16:creationId xmlns:a16="http://schemas.microsoft.com/office/drawing/2014/main" id="{39439269-E08F-4836-AB94-AC20A224E2E7}"/>
                </a:ext>
              </a:extLst>
            </p:cNvPr>
            <p:cNvSpPr/>
            <p:nvPr/>
          </p:nvSpPr>
          <p:spPr>
            <a:xfrm>
              <a:off x="2421976" y="4137942"/>
              <a:ext cx="2558674" cy="363260"/>
            </a:xfrm>
            <a:prstGeom prst="rect">
              <a:avLst/>
            </a:prstGeom>
            <a:noFill/>
          </p:spPr>
          <p:txBody>
            <a:bodyPr wrap="none" lIns="0" tIns="0" rIns="0" bIns="0">
              <a:noAutofit/>
            </a:bodyPr>
            <a:lstStyle/>
            <a:p>
              <a:pPr marL="285750" indent="-285750">
                <a:lnSpc>
                  <a:spcPct val="130000"/>
                </a:lnSpc>
                <a:buFont typeface="Wingdings" panose="05000000000000000000" pitchFamily="2" charset="2"/>
                <a:buChar char="p"/>
                <a:defRPr/>
              </a:pPr>
              <a:r>
                <a:rPr lang="zh-CN" altLang="en-US" sz="1000" dirty="0">
                  <a:solidFill>
                    <a:schemeClr val="tx2">
                      <a:lumMod val="75000"/>
                    </a:schemeClr>
                  </a:solidFill>
                  <a:latin typeface=""/>
                  <a:ea typeface="微软雅黑" panose="020B0503020204020204" pitchFamily="34" charset="-122"/>
                  <a:sym typeface=""/>
                </a:rPr>
                <a:t>计算每个品类预测结构与真实结构的方差</a:t>
              </a:r>
              <a:endParaRPr lang="en-US" altLang="zh-CN" sz="1000" dirty="0">
                <a:solidFill>
                  <a:schemeClr val="tx2">
                    <a:lumMod val="7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  <a:p>
              <a:pPr marL="285750" indent="-285750">
                <a:lnSpc>
                  <a:spcPct val="130000"/>
                </a:lnSpc>
                <a:buFont typeface="Wingdings" panose="05000000000000000000" pitchFamily="2" charset="2"/>
                <a:buChar char="p"/>
                <a:defRPr/>
              </a:pPr>
              <a:r>
                <a:rPr lang="zh-CN" altLang="en-US" sz="1000" dirty="0">
                  <a:solidFill>
                    <a:schemeClr val="tx2">
                      <a:lumMod val="75000"/>
                    </a:schemeClr>
                  </a:solidFill>
                  <a:latin typeface=""/>
                  <a:ea typeface="微软雅黑" panose="020B0503020204020204" pitchFamily="34" charset="-122"/>
                  <a:sym typeface=""/>
                </a:rPr>
                <a:t>计算所有品类的平均方差</a:t>
              </a:r>
              <a:endParaRPr lang="en-US" altLang="zh-CN" sz="1000" dirty="0">
                <a:solidFill>
                  <a:schemeClr val="tx2">
                    <a:lumMod val="7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5" name="ExtraShape1">
              <a:extLst>
                <a:ext uri="{FF2B5EF4-FFF2-40B4-BE49-F238E27FC236}">
                  <a16:creationId xmlns:a16="http://schemas.microsoft.com/office/drawing/2014/main" id="{6784FA7D-347A-4FBF-84DC-1DA25D169B7A}"/>
                </a:ext>
              </a:extLst>
            </p:cNvPr>
            <p:cNvSpPr/>
            <p:nvPr/>
          </p:nvSpPr>
          <p:spPr bwMode="auto">
            <a:xfrm>
              <a:off x="11119367" y="3985252"/>
              <a:ext cx="262890" cy="1062490"/>
            </a:xfrm>
            <a:custGeom>
              <a:avLst/>
              <a:gdLst>
                <a:gd name="connsiteX0" fmla="*/ 97155 w 194310"/>
                <a:gd name="connsiteY0" fmla="*/ 0 h 785319"/>
                <a:gd name="connsiteX1" fmla="*/ 194310 w 194310"/>
                <a:gd name="connsiteY1" fmla="*/ 97155 h 785319"/>
                <a:gd name="connsiteX2" fmla="*/ 134972 w 194310"/>
                <a:gd name="connsiteY2" fmla="*/ 186675 h 785319"/>
                <a:gd name="connsiteX3" fmla="*/ 120015 w 194310"/>
                <a:gd name="connsiteY3" fmla="*/ 189695 h 785319"/>
                <a:gd name="connsiteX4" fmla="*/ 120015 w 194310"/>
                <a:gd name="connsiteY4" fmla="*/ 785319 h 785319"/>
                <a:gd name="connsiteX5" fmla="*/ 74296 w 194310"/>
                <a:gd name="connsiteY5" fmla="*/ 785319 h 785319"/>
                <a:gd name="connsiteX6" fmla="*/ 74296 w 194310"/>
                <a:gd name="connsiteY6" fmla="*/ 189695 h 785319"/>
                <a:gd name="connsiteX7" fmla="*/ 59338 w 194310"/>
                <a:gd name="connsiteY7" fmla="*/ 186675 h 785319"/>
                <a:gd name="connsiteX8" fmla="*/ 0 w 194310"/>
                <a:gd name="connsiteY8" fmla="*/ 97155 h 785319"/>
                <a:gd name="connsiteX9" fmla="*/ 97155 w 194310"/>
                <a:gd name="connsiteY9" fmla="*/ 0 h 785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4310" h="785319">
                  <a:moveTo>
                    <a:pt x="97155" y="0"/>
                  </a:moveTo>
                  <a:cubicBezTo>
                    <a:pt x="150812" y="0"/>
                    <a:pt x="194310" y="43498"/>
                    <a:pt x="194310" y="97155"/>
                  </a:cubicBezTo>
                  <a:cubicBezTo>
                    <a:pt x="194310" y="137398"/>
                    <a:pt x="169843" y="171926"/>
                    <a:pt x="134972" y="186675"/>
                  </a:cubicBezTo>
                  <a:lnTo>
                    <a:pt x="120015" y="189695"/>
                  </a:lnTo>
                  <a:lnTo>
                    <a:pt x="120015" y="785319"/>
                  </a:lnTo>
                  <a:lnTo>
                    <a:pt x="74296" y="785319"/>
                  </a:lnTo>
                  <a:lnTo>
                    <a:pt x="74296" y="189695"/>
                  </a:lnTo>
                  <a:lnTo>
                    <a:pt x="59338" y="186675"/>
                  </a:lnTo>
                  <a:cubicBezTo>
                    <a:pt x="24468" y="171926"/>
                    <a:pt x="0" y="137398"/>
                    <a:pt x="0" y="97155"/>
                  </a:cubicBezTo>
                  <a:cubicBezTo>
                    <a:pt x="0" y="43498"/>
                    <a:pt x="43498" y="0"/>
                    <a:pt x="97155" y="0"/>
                  </a:cubicBez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l"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cxnSp>
          <p:nvCxnSpPr>
            <p:cNvPr id="26" name="ExtraShape2">
              <a:extLst>
                <a:ext uri="{FF2B5EF4-FFF2-40B4-BE49-F238E27FC236}">
                  <a16:creationId xmlns:a16="http://schemas.microsoft.com/office/drawing/2014/main" id="{FBD0827E-AAAE-4F09-B864-6B2656C2E0B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421976" y="4065270"/>
              <a:ext cx="2558674" cy="0"/>
            </a:xfrm>
            <a:prstGeom prst="line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标题 5">
            <a:extLst>
              <a:ext uri="{FF2B5EF4-FFF2-40B4-BE49-F238E27FC236}">
                <a16:creationId xmlns:a16="http://schemas.microsoft.com/office/drawing/2014/main" id="{D8664149-F7E4-41FE-BAF1-F24544EE4B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r>
              <a:rPr lang="zh-CN" altLang="en-US" dirty="0">
                <a:latin typeface=""/>
                <a:ea typeface="微软雅黑" panose="020B0503020204020204" pitchFamily="34" charset="-122"/>
                <a:sym typeface=""/>
              </a:rPr>
              <a:t>整体结构准确率</a:t>
            </a:r>
          </a:p>
        </p:txBody>
      </p:sp>
      <p:sp>
        <p:nvSpPr>
          <p:cNvPr id="27" name="ValueText">
            <a:extLst>
              <a:ext uri="{FF2B5EF4-FFF2-40B4-BE49-F238E27FC236}">
                <a16:creationId xmlns:a16="http://schemas.microsoft.com/office/drawing/2014/main" id="{EFB5A395-6ED7-49BA-879F-7D897C88C9A9}"/>
              </a:ext>
            </a:extLst>
          </p:cNvPr>
          <p:cNvSpPr txBox="1"/>
          <p:nvPr/>
        </p:nvSpPr>
        <p:spPr>
          <a:xfrm>
            <a:off x="8986061" y="2688104"/>
            <a:ext cx="2275475" cy="1312968"/>
          </a:xfrm>
          <a:prstGeom prst="rect">
            <a:avLst/>
          </a:prstGeom>
          <a:noFill/>
          <a:ln>
            <a:noFill/>
          </a:ln>
        </p:spPr>
        <p:txBody>
          <a:bodyPr wrap="square" tIns="90000" bIns="90000" anchor="ctr" anchorCtr="0">
            <a:prstTxWarp prst="textPlain">
              <a:avLst/>
            </a:prstTxWarp>
            <a:noAutofit/>
          </a:bodyPr>
          <a:lstStyle/>
          <a:p>
            <a:pPr>
              <a:lnSpc>
                <a:spcPct val="130000"/>
              </a:lnSpc>
            </a:pPr>
            <a:r>
              <a:rPr lang="zh-CN" altLang="en-US" sz="2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"/>
                <a:ea typeface="微软雅黑" panose="020B0503020204020204" pitchFamily="34" charset="-122"/>
                <a:sym typeface=""/>
              </a:rPr>
              <a:t></a:t>
            </a:r>
            <a:r>
              <a:rPr lang="zh-CN" altLang="en-US" sz="2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"/>
                <a:ea typeface="微软雅黑" panose="020B0503020204020204" pitchFamily="34" charset="-122"/>
                <a:sym typeface="Wingdings" panose="05000000000000000000" pitchFamily="2" charset="2"/>
              </a:rPr>
              <a:t></a:t>
            </a:r>
            <a:r>
              <a:rPr lang="en-US" altLang="zh-CN" sz="3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"/>
                <a:ea typeface="微软雅黑" panose="020B0503020204020204" pitchFamily="34" charset="-122"/>
                <a:sym typeface=""/>
              </a:rPr>
              <a:t>3%</a:t>
            </a:r>
            <a:endParaRPr lang="en-US" sz="300" b="1" dirty="0">
              <a:solidFill>
                <a:schemeClr val="accent1">
                  <a:lumMod val="60000"/>
                  <a:lumOff val="40000"/>
                </a:schemeClr>
              </a:solidFill>
              <a:latin typeface=""/>
              <a:ea typeface="微软雅黑" panose="020B0503020204020204" pitchFamily="34" charset="-122"/>
              <a:sym typeface=""/>
            </a:endParaRPr>
          </a:p>
        </p:txBody>
      </p:sp>
      <p:cxnSp>
        <p:nvCxnSpPr>
          <p:cNvPr id="28" name="ExtraShape2">
            <a:extLst>
              <a:ext uri="{FF2B5EF4-FFF2-40B4-BE49-F238E27FC236}">
                <a16:creationId xmlns:a16="http://schemas.microsoft.com/office/drawing/2014/main" id="{A8E3890C-291A-4309-BDB6-F7A29976BD70}"/>
              </a:ext>
            </a:extLst>
          </p:cNvPr>
          <p:cNvCxnSpPr>
            <a:cxnSpLocks/>
          </p:cNvCxnSpPr>
          <p:nvPr/>
        </p:nvCxnSpPr>
        <p:spPr>
          <a:xfrm flipH="1">
            <a:off x="8610599" y="4287507"/>
            <a:ext cx="2650938" cy="0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ustomText">
            <a:extLst>
              <a:ext uri="{FF2B5EF4-FFF2-40B4-BE49-F238E27FC236}">
                <a16:creationId xmlns:a16="http://schemas.microsoft.com/office/drawing/2014/main" id="{10F424E1-D117-45F3-916E-DF802837AD8C}"/>
              </a:ext>
            </a:extLst>
          </p:cNvPr>
          <p:cNvSpPr/>
          <p:nvPr/>
        </p:nvSpPr>
        <p:spPr>
          <a:xfrm>
            <a:off x="8445090" y="4317191"/>
            <a:ext cx="1670368" cy="355419"/>
          </a:xfrm>
          <a:prstGeom prst="rect">
            <a:avLst/>
          </a:prstGeom>
          <a:noFill/>
        </p:spPr>
        <p:txBody>
          <a:bodyPr wrap="square" lIns="90000" tIns="46800" rIns="90000" bIns="46800" anchor="ctr">
            <a:normAutofit fontScale="62500" lnSpcReduction="20000"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buClrTx/>
              <a:buSzTx/>
              <a:buFontTx/>
              <a:buNone/>
              <a:tabLst/>
              <a:defRPr/>
            </a:pPr>
            <a:r>
              <a:rPr kumimoji="0" lang="zh-CN" altLang="en-US" sz="2000" b="1" kern="1200" cap="none" normalizeH="0" baseline="0" noProof="0" dirty="0"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"/>
                <a:ea typeface="微软雅黑" panose="020B0503020204020204" pitchFamily="34" charset="-122"/>
                <a:sym typeface=""/>
              </a:rPr>
              <a:t>结构误差率</a:t>
            </a:r>
            <a:endParaRPr kumimoji="0" lang="en-US" altLang="zh-CN" sz="2000" b="1" kern="1200" cap="none" normalizeH="0" baseline="0" noProof="0" dirty="0"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"/>
              <a:ea typeface="微软雅黑" panose="020B0503020204020204" pitchFamily="34" charset="-122"/>
              <a:sym typeface="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buClrTx/>
              <a:buSzTx/>
              <a:buFontTx/>
              <a:buNone/>
              <a:tabLst/>
              <a:defRPr/>
            </a:pPr>
            <a:endParaRPr kumimoji="0" lang="en-US" altLang="zh-CN" sz="2000" b="1" kern="1200" cap="none" normalizeH="0" baseline="0" noProof="0" dirty="0"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"/>
              <a:ea typeface="微软雅黑" panose="020B0503020204020204" pitchFamily="34" charset="-122"/>
              <a:sym typeface=""/>
            </a:endParaRPr>
          </a:p>
        </p:txBody>
      </p:sp>
      <p:sp>
        <p:nvSpPr>
          <p:cNvPr id="30" name="CustomText1">
            <a:extLst>
              <a:ext uri="{FF2B5EF4-FFF2-40B4-BE49-F238E27FC236}">
                <a16:creationId xmlns:a16="http://schemas.microsoft.com/office/drawing/2014/main" id="{530860BE-B227-4AC6-94CF-BEB5A74A20E3}"/>
              </a:ext>
            </a:extLst>
          </p:cNvPr>
          <p:cNvSpPr/>
          <p:nvPr/>
        </p:nvSpPr>
        <p:spPr>
          <a:xfrm>
            <a:off x="8463214" y="4520081"/>
            <a:ext cx="2650938" cy="36326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/>
          <a:p>
            <a:pPr marL="285750" indent="-285750">
              <a:lnSpc>
                <a:spcPct val="130000"/>
              </a:lnSpc>
              <a:buFont typeface="Wingdings" panose="05000000000000000000" pitchFamily="2" charset="2"/>
              <a:buChar char="p"/>
              <a:defRPr/>
            </a:pPr>
            <a:r>
              <a:rPr lang="zh-CN" altLang="en-US" sz="1000" dirty="0">
                <a:solidFill>
                  <a:schemeClr val="tx2">
                    <a:lumMod val="75000"/>
                  </a:schemeClr>
                </a:solidFill>
                <a:latin typeface=""/>
                <a:ea typeface="微软雅黑" panose="020B0503020204020204" pitchFamily="34" charset="-122"/>
                <a:sym typeface=""/>
              </a:rPr>
              <a:t>计算品类预测结构与真实结构的平均差值</a:t>
            </a:r>
            <a:endParaRPr lang="en-US" altLang="zh-CN" sz="1000" dirty="0">
              <a:solidFill>
                <a:schemeClr val="tx2">
                  <a:lumMod val="75000"/>
                </a:schemeClr>
              </a:solidFill>
              <a:latin typeface=""/>
              <a:ea typeface="微软雅黑" panose="020B0503020204020204" pitchFamily="34" charset="-122"/>
              <a:sym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27717997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595366" y="2311578"/>
            <a:ext cx="5419185" cy="895350"/>
          </a:xfrm>
        </p:spPr>
        <p:txBody>
          <a:bodyPr/>
          <a:lstStyle/>
          <a:p>
            <a:pPr>
              <a:lnSpc>
                <a:spcPct val="130000"/>
              </a:lnSpc>
            </a:pPr>
            <a:r>
              <a:rPr lang="zh-CN" altLang="en-US" dirty="0">
                <a:solidFill>
                  <a:schemeClr val="accent3"/>
                </a:solidFill>
                <a:latin typeface=""/>
                <a:ea typeface="微软雅黑" panose="020B0503020204020204" pitchFamily="34" charset="-122"/>
                <a:sym typeface=""/>
              </a:rPr>
              <a:t>模型效果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2595366" y="3206928"/>
            <a:ext cx="5419185" cy="1015623"/>
          </a:xfrm>
        </p:spPr>
        <p:txBody>
          <a:bodyPr/>
          <a:lstStyle/>
          <a:p>
            <a:pPr lvl="0">
              <a:lnSpc>
                <a:spcPct val="130000"/>
              </a:lnSpc>
              <a:spcBef>
                <a:spcPts val="0"/>
              </a:spcBef>
            </a:pPr>
            <a:r>
              <a:rPr lang="zh-CN" altLang="en-US" dirty="0">
                <a:solidFill>
                  <a:schemeClr val="accent3"/>
                </a:solidFill>
                <a:latin typeface=""/>
                <a:ea typeface="微软雅黑" panose="020B0503020204020204" pitchFamily="34" charset="-122"/>
                <a:sym typeface=""/>
              </a:rPr>
              <a:t>模型中男</a:t>
            </a:r>
            <a:r>
              <a:rPr lang="en-US" altLang="zh-CN" dirty="0">
                <a:solidFill>
                  <a:schemeClr val="accent3"/>
                </a:solidFill>
                <a:latin typeface=""/>
                <a:ea typeface="微软雅黑" panose="020B0503020204020204" pitchFamily="34" charset="-122"/>
                <a:sym typeface=""/>
              </a:rPr>
              <a:t>T</a:t>
            </a:r>
            <a:r>
              <a:rPr lang="zh-CN" altLang="en-US" dirty="0">
                <a:solidFill>
                  <a:schemeClr val="accent3"/>
                </a:solidFill>
                <a:latin typeface=""/>
                <a:ea typeface="微软雅黑" panose="020B0503020204020204" pitchFamily="34" charset="-122"/>
                <a:sym typeface=""/>
              </a:rPr>
              <a:t>品类计算效果</a:t>
            </a:r>
            <a:endParaRPr lang="en-US" altLang="zh-CN" dirty="0">
              <a:solidFill>
                <a:schemeClr val="accent3"/>
              </a:solidFill>
              <a:latin typeface=""/>
              <a:ea typeface="微软雅黑" panose="020B0503020204020204" pitchFamily="34" charset="-122"/>
              <a:sym typeface=""/>
            </a:endParaRP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zh-CN" altLang="en-US" dirty="0">
                <a:latin typeface=""/>
                <a:ea typeface="微软雅黑" panose="020B0503020204020204" pitchFamily="34" charset="-122"/>
                <a:sym typeface=""/>
              </a:rPr>
              <a:t>模型中男</a:t>
            </a:r>
            <a:r>
              <a:rPr lang="en-US" altLang="zh-CN" dirty="0">
                <a:latin typeface=""/>
                <a:ea typeface="微软雅黑" panose="020B0503020204020204" pitchFamily="34" charset="-122"/>
                <a:sym typeface=""/>
              </a:rPr>
              <a:t>T</a:t>
            </a:r>
            <a:r>
              <a:rPr lang="zh-CN" altLang="en-US" dirty="0">
                <a:latin typeface=""/>
                <a:ea typeface="微软雅黑" panose="020B0503020204020204" pitchFamily="34" charset="-122"/>
                <a:sym typeface=""/>
              </a:rPr>
              <a:t>品类计算效果</a:t>
            </a:r>
            <a:endParaRPr lang="en-US" altLang="zh-CN" dirty="0">
              <a:latin typeface=""/>
              <a:ea typeface="微软雅黑" panose="020B0503020204020204" pitchFamily="34" charset="-122"/>
              <a:sym typeface=""/>
            </a:endParaRPr>
          </a:p>
          <a:p>
            <a:pPr lvl="0">
              <a:lnSpc>
                <a:spcPct val="130000"/>
              </a:lnSpc>
              <a:spcBef>
                <a:spcPts val="0"/>
              </a:spcBef>
            </a:pPr>
            <a:endParaRPr lang="zh-CN" altLang="en-US" dirty="0">
              <a:solidFill>
                <a:schemeClr val="accent3"/>
              </a:solidFill>
              <a:latin typeface=""/>
              <a:ea typeface="微软雅黑" panose="020B0503020204020204" pitchFamily="34" charset="-122"/>
              <a:sym typeface="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362392" y="2819389"/>
            <a:ext cx="1029774" cy="89535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zh-CN" spc="100" dirty="0">
                <a:solidFill>
                  <a:schemeClr val="accent3"/>
                </a:solidFill>
                <a:latin typeface="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/03</a:t>
            </a:r>
            <a:endParaRPr lang="zh-CN" altLang="en-US" spc="100" dirty="0">
              <a:solidFill>
                <a:schemeClr val="accent3"/>
              </a:solidFill>
              <a:latin typeface="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27814150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图片 12">
            <a:extLst>
              <a:ext uri="{FF2B5EF4-FFF2-40B4-BE49-F238E27FC236}">
                <a16:creationId xmlns:a16="http://schemas.microsoft.com/office/drawing/2014/main" id="{6D9A0578-BA68-4E5E-A3AB-8FDFFB92DB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2765" y="1722352"/>
            <a:ext cx="11404879" cy="3824459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r>
              <a:rPr lang="en-US" altLang="zh-CN" dirty="0">
                <a:latin typeface=""/>
                <a:ea typeface="微软雅黑" panose="020B0503020204020204" pitchFamily="34" charset="-122"/>
                <a:sym typeface=""/>
              </a:rPr>
              <a:t>20</a:t>
            </a:r>
            <a:r>
              <a:rPr lang="zh-CN" altLang="en-US" dirty="0">
                <a:latin typeface=""/>
                <a:ea typeface="微软雅黑" panose="020B0503020204020204" pitchFamily="34" charset="-122"/>
                <a:sym typeface=""/>
              </a:rPr>
              <a:t>秋品类结构变化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fld id="{5DD3DB80-B894-403A-B48E-6FDC1A72010E}" type="slidenum">
              <a:rPr lang="zh-CN" altLang="en-US" smtClean="0">
                <a:latin typeface=""/>
                <a:ea typeface="微软雅黑" panose="020B0503020204020204" pitchFamily="34" charset="-122"/>
                <a:sym typeface=""/>
              </a:rPr>
              <a:pPr>
                <a:lnSpc>
                  <a:spcPct val="130000"/>
                </a:lnSpc>
              </a:pPr>
              <a:t>18</a:t>
            </a:fld>
            <a:endParaRPr lang="zh-CN" altLang="en-US">
              <a:latin typeface=""/>
              <a:ea typeface="微软雅黑" panose="020B0503020204020204" pitchFamily="34" charset="-122"/>
              <a:sym typeface="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5EBF3EBD-92A7-4731-B402-C35590535996}"/>
              </a:ext>
            </a:extLst>
          </p:cNvPr>
          <p:cNvSpPr/>
          <p:nvPr/>
        </p:nvSpPr>
        <p:spPr>
          <a:xfrm>
            <a:off x="7822084" y="2398839"/>
            <a:ext cx="640567" cy="2467270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3CAAE32A-2977-472C-ACBF-C6D17560CF93}"/>
              </a:ext>
            </a:extLst>
          </p:cNvPr>
          <p:cNvSpPr/>
          <p:nvPr/>
        </p:nvSpPr>
        <p:spPr>
          <a:xfrm>
            <a:off x="8994913" y="2032280"/>
            <a:ext cx="488744" cy="2947224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8FAA7FD-0A0A-49F8-9EC5-47E95A268DC4}"/>
              </a:ext>
            </a:extLst>
          </p:cNvPr>
          <p:cNvSpPr/>
          <p:nvPr/>
        </p:nvSpPr>
        <p:spPr>
          <a:xfrm>
            <a:off x="11200708" y="3130826"/>
            <a:ext cx="488744" cy="1735283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EDAB7546-26C6-4022-9049-6C6D4E8F329E}"/>
              </a:ext>
            </a:extLst>
          </p:cNvPr>
          <p:cNvSpPr/>
          <p:nvPr/>
        </p:nvSpPr>
        <p:spPr>
          <a:xfrm>
            <a:off x="1928190" y="3786809"/>
            <a:ext cx="904461" cy="1192696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0CC8EA5D-5354-4B6A-BC52-B7F0C083DDFD}"/>
              </a:ext>
            </a:extLst>
          </p:cNvPr>
          <p:cNvSpPr/>
          <p:nvPr/>
        </p:nvSpPr>
        <p:spPr>
          <a:xfrm>
            <a:off x="4671391" y="3998467"/>
            <a:ext cx="1560444" cy="1192696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8406870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r>
              <a:rPr lang="en-US" altLang="zh-CN" dirty="0">
                <a:latin typeface=""/>
                <a:ea typeface="微软雅黑" panose="020B0503020204020204" pitchFamily="34" charset="-122"/>
                <a:sym typeface=""/>
              </a:rPr>
              <a:t>20</a:t>
            </a:r>
            <a:r>
              <a:rPr lang="zh-CN" altLang="en-US" dirty="0">
                <a:latin typeface=""/>
                <a:ea typeface="微软雅黑" panose="020B0503020204020204" pitchFamily="34" charset="-122"/>
                <a:sym typeface=""/>
              </a:rPr>
              <a:t>秋结构变化原因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fld id="{5DD3DB80-B894-403A-B48E-6FDC1A72010E}" type="slidenum">
              <a:rPr lang="zh-CN" altLang="en-US" smtClean="0">
                <a:latin typeface=""/>
                <a:ea typeface="微软雅黑" panose="020B0503020204020204" pitchFamily="34" charset="-122"/>
                <a:sym typeface=""/>
              </a:rPr>
              <a:pPr>
                <a:lnSpc>
                  <a:spcPct val="130000"/>
                </a:lnSpc>
              </a:pPr>
              <a:t>19</a:t>
            </a:fld>
            <a:endParaRPr lang="zh-CN" altLang="en-US">
              <a:latin typeface=""/>
              <a:ea typeface="微软雅黑" panose="020B0503020204020204" pitchFamily="34" charset="-122"/>
              <a:sym typeface=""/>
            </a:endParaRPr>
          </a:p>
        </p:txBody>
      </p:sp>
      <p:pic>
        <p:nvPicPr>
          <p:cNvPr id="14" name="图片 13">
            <a:extLst>
              <a:ext uri="{FF2B5EF4-FFF2-40B4-BE49-F238E27FC236}">
                <a16:creationId xmlns:a16="http://schemas.microsoft.com/office/drawing/2014/main" id="{16FDB440-EFA0-4824-B2C5-AB59F1A200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23" y="1443730"/>
            <a:ext cx="10991962" cy="1985270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C4C6C8BF-9107-4EA7-A883-BAE5160DD2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923" y="4028263"/>
            <a:ext cx="10850564" cy="1985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2589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8C3F7EB-0A8A-4C59-A7AA-264EA05992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r>
              <a:rPr lang="zh-CN" altLang="en-US" dirty="0">
                <a:latin typeface=""/>
                <a:ea typeface="微软雅黑" panose="020B0503020204020204" pitchFamily="34" charset="-122"/>
                <a:sym typeface=""/>
              </a:rPr>
              <a:t>重点结论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08453DD-CB1B-4CAF-B2F3-4D131D171A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fld id="{5DD3DB80-B894-403A-B48E-6FDC1A72010E}" type="slidenum">
              <a:rPr lang="zh-CN" altLang="en-US" smtClean="0">
                <a:latin typeface=""/>
                <a:ea typeface="微软雅黑" panose="020B0503020204020204" pitchFamily="34" charset="-122"/>
                <a:sym typeface=""/>
              </a:rPr>
              <a:pPr>
                <a:lnSpc>
                  <a:spcPct val="130000"/>
                </a:lnSpc>
              </a:pPr>
              <a:t>2</a:t>
            </a:fld>
            <a:endParaRPr lang="zh-CN" altLang="en-US">
              <a:latin typeface=""/>
              <a:ea typeface="微软雅黑" panose="020B0503020204020204" pitchFamily="34" charset="-122"/>
              <a:sym typeface=""/>
            </a:endParaRPr>
          </a:p>
        </p:txBody>
      </p:sp>
      <p:grpSp>
        <p:nvGrpSpPr>
          <p:cNvPr id="5" name="282189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80C4BBC1-A317-4343-A0F6-D7EC197DF18D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66750" y="1203024"/>
            <a:ext cx="10852150" cy="5539984"/>
            <a:chOff x="666750" y="1203024"/>
            <a:chExt cx="10852150" cy="5539984"/>
          </a:xfrm>
        </p:grpSpPr>
        <p:sp>
          <p:nvSpPr>
            <p:cNvPr id="6" name="iṥḻiďe">
              <a:extLst>
                <a:ext uri="{FF2B5EF4-FFF2-40B4-BE49-F238E27FC236}">
                  <a16:creationId xmlns:a16="http://schemas.microsoft.com/office/drawing/2014/main" id="{3E5CB9AC-6241-4E9D-93AB-DE7ED8D4F32C}"/>
                </a:ext>
              </a:extLst>
            </p:cNvPr>
            <p:cNvSpPr/>
            <p:nvPr/>
          </p:nvSpPr>
          <p:spPr bwMode="auto">
            <a:xfrm>
              <a:off x="3691301" y="2119033"/>
              <a:ext cx="2168561" cy="2343160"/>
            </a:xfrm>
            <a:custGeom>
              <a:avLst/>
              <a:gdLst>
                <a:gd name="T0" fmla="*/ 144 w 471"/>
                <a:gd name="T1" fmla="*/ 462 h 509"/>
                <a:gd name="T2" fmla="*/ 144 w 471"/>
                <a:gd name="T3" fmla="*/ 407 h 509"/>
                <a:gd name="T4" fmla="*/ 144 w 471"/>
                <a:gd name="T5" fmla="*/ 403 h 509"/>
                <a:gd name="T6" fmla="*/ 227 w 471"/>
                <a:gd name="T7" fmla="*/ 323 h 509"/>
                <a:gd name="T8" fmla="*/ 423 w 471"/>
                <a:gd name="T9" fmla="*/ 323 h 509"/>
                <a:gd name="T10" fmla="*/ 471 w 471"/>
                <a:gd name="T11" fmla="*/ 275 h 509"/>
                <a:gd name="T12" fmla="*/ 471 w 471"/>
                <a:gd name="T13" fmla="*/ 49 h 509"/>
                <a:gd name="T14" fmla="*/ 423 w 471"/>
                <a:gd name="T15" fmla="*/ 1 h 509"/>
                <a:gd name="T16" fmla="*/ 192 w 471"/>
                <a:gd name="T17" fmla="*/ 0 h 509"/>
                <a:gd name="T18" fmla="*/ 144 w 471"/>
                <a:gd name="T19" fmla="*/ 48 h 509"/>
                <a:gd name="T20" fmla="*/ 144 w 471"/>
                <a:gd name="T21" fmla="*/ 275 h 509"/>
                <a:gd name="T22" fmla="*/ 144 w 471"/>
                <a:gd name="T23" fmla="*/ 281 h 509"/>
                <a:gd name="T24" fmla="*/ 89 w 471"/>
                <a:gd name="T25" fmla="*/ 359 h 509"/>
                <a:gd name="T26" fmla="*/ 48 w 471"/>
                <a:gd name="T27" fmla="*/ 359 h 509"/>
                <a:gd name="T28" fmla="*/ 0 w 471"/>
                <a:gd name="T29" fmla="*/ 407 h 509"/>
                <a:gd name="T30" fmla="*/ 0 w 471"/>
                <a:gd name="T31" fmla="*/ 461 h 509"/>
                <a:gd name="T32" fmla="*/ 48 w 471"/>
                <a:gd name="T33" fmla="*/ 509 h 509"/>
                <a:gd name="T34" fmla="*/ 96 w 471"/>
                <a:gd name="T35" fmla="*/ 509 h 509"/>
                <a:gd name="T36" fmla="*/ 144 w 471"/>
                <a:gd name="T37" fmla="*/ 462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71" h="509">
                  <a:moveTo>
                    <a:pt x="144" y="462"/>
                  </a:moveTo>
                  <a:cubicBezTo>
                    <a:pt x="144" y="407"/>
                    <a:pt x="144" y="407"/>
                    <a:pt x="144" y="407"/>
                  </a:cubicBezTo>
                  <a:cubicBezTo>
                    <a:pt x="144" y="406"/>
                    <a:pt x="144" y="405"/>
                    <a:pt x="144" y="403"/>
                  </a:cubicBezTo>
                  <a:cubicBezTo>
                    <a:pt x="143" y="390"/>
                    <a:pt x="148" y="338"/>
                    <a:pt x="227" y="323"/>
                  </a:cubicBezTo>
                  <a:cubicBezTo>
                    <a:pt x="423" y="323"/>
                    <a:pt x="423" y="323"/>
                    <a:pt x="423" y="323"/>
                  </a:cubicBezTo>
                  <a:cubicBezTo>
                    <a:pt x="449" y="323"/>
                    <a:pt x="471" y="302"/>
                    <a:pt x="471" y="275"/>
                  </a:cubicBezTo>
                  <a:cubicBezTo>
                    <a:pt x="471" y="49"/>
                    <a:pt x="471" y="49"/>
                    <a:pt x="471" y="49"/>
                  </a:cubicBezTo>
                  <a:cubicBezTo>
                    <a:pt x="471" y="22"/>
                    <a:pt x="450" y="1"/>
                    <a:pt x="423" y="1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166" y="0"/>
                    <a:pt x="144" y="22"/>
                    <a:pt x="144" y="48"/>
                  </a:cubicBezTo>
                  <a:cubicBezTo>
                    <a:pt x="144" y="275"/>
                    <a:pt x="144" y="275"/>
                    <a:pt x="144" y="275"/>
                  </a:cubicBezTo>
                  <a:cubicBezTo>
                    <a:pt x="144" y="277"/>
                    <a:pt x="144" y="279"/>
                    <a:pt x="144" y="281"/>
                  </a:cubicBezTo>
                  <a:cubicBezTo>
                    <a:pt x="142" y="308"/>
                    <a:pt x="131" y="346"/>
                    <a:pt x="89" y="359"/>
                  </a:cubicBezTo>
                  <a:cubicBezTo>
                    <a:pt x="48" y="359"/>
                    <a:pt x="48" y="359"/>
                    <a:pt x="48" y="359"/>
                  </a:cubicBezTo>
                  <a:cubicBezTo>
                    <a:pt x="21" y="359"/>
                    <a:pt x="0" y="380"/>
                    <a:pt x="0" y="407"/>
                  </a:cubicBezTo>
                  <a:cubicBezTo>
                    <a:pt x="0" y="461"/>
                    <a:pt x="0" y="461"/>
                    <a:pt x="0" y="461"/>
                  </a:cubicBezTo>
                  <a:cubicBezTo>
                    <a:pt x="0" y="488"/>
                    <a:pt x="21" y="509"/>
                    <a:pt x="48" y="509"/>
                  </a:cubicBezTo>
                  <a:cubicBezTo>
                    <a:pt x="96" y="509"/>
                    <a:pt x="96" y="509"/>
                    <a:pt x="96" y="509"/>
                  </a:cubicBezTo>
                  <a:cubicBezTo>
                    <a:pt x="122" y="509"/>
                    <a:pt x="144" y="488"/>
                    <a:pt x="144" y="46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>
                <a:lnSpc>
                  <a:spcPct val="130000"/>
                </a:lnSpc>
              </a:pPr>
              <a:endParaRPr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7" name="îṩ1íḋè">
              <a:extLst>
                <a:ext uri="{FF2B5EF4-FFF2-40B4-BE49-F238E27FC236}">
                  <a16:creationId xmlns:a16="http://schemas.microsoft.com/office/drawing/2014/main" id="{4A09AF52-1F4D-4F4E-B4E2-624AF8747A10}"/>
                </a:ext>
              </a:extLst>
            </p:cNvPr>
            <p:cNvSpPr/>
            <p:nvPr/>
          </p:nvSpPr>
          <p:spPr bwMode="auto">
            <a:xfrm>
              <a:off x="3849293" y="3909687"/>
              <a:ext cx="309501" cy="384328"/>
            </a:xfrm>
            <a:custGeom>
              <a:avLst/>
              <a:gdLst>
                <a:gd name="T0" fmla="*/ 381 w 400"/>
                <a:gd name="T1" fmla="*/ 124 h 498"/>
                <a:gd name="T2" fmla="*/ 381 w 400"/>
                <a:gd name="T3" fmla="*/ 124 h 498"/>
                <a:gd name="T4" fmla="*/ 231 w 400"/>
                <a:gd name="T5" fmla="*/ 9 h 498"/>
                <a:gd name="T6" fmla="*/ 115 w 400"/>
                <a:gd name="T7" fmla="*/ 151 h 498"/>
                <a:gd name="T8" fmla="*/ 133 w 400"/>
                <a:gd name="T9" fmla="*/ 213 h 498"/>
                <a:gd name="T10" fmla="*/ 9 w 400"/>
                <a:gd name="T11" fmla="*/ 407 h 498"/>
                <a:gd name="T12" fmla="*/ 0 w 400"/>
                <a:gd name="T13" fmla="*/ 434 h 498"/>
                <a:gd name="T14" fmla="*/ 9 w 400"/>
                <a:gd name="T15" fmla="*/ 478 h 498"/>
                <a:gd name="T16" fmla="*/ 27 w 400"/>
                <a:gd name="T17" fmla="*/ 497 h 498"/>
                <a:gd name="T18" fmla="*/ 62 w 400"/>
                <a:gd name="T19" fmla="*/ 487 h 498"/>
                <a:gd name="T20" fmla="*/ 89 w 400"/>
                <a:gd name="T21" fmla="*/ 470 h 498"/>
                <a:gd name="T22" fmla="*/ 142 w 400"/>
                <a:gd name="T23" fmla="*/ 390 h 498"/>
                <a:gd name="T24" fmla="*/ 142 w 400"/>
                <a:gd name="T25" fmla="*/ 390 h 498"/>
                <a:gd name="T26" fmla="*/ 177 w 400"/>
                <a:gd name="T27" fmla="*/ 381 h 498"/>
                <a:gd name="T28" fmla="*/ 231 w 400"/>
                <a:gd name="T29" fmla="*/ 284 h 498"/>
                <a:gd name="T30" fmla="*/ 293 w 400"/>
                <a:gd name="T31" fmla="*/ 284 h 498"/>
                <a:gd name="T32" fmla="*/ 381 w 400"/>
                <a:gd name="T33" fmla="*/ 124 h 498"/>
                <a:gd name="T34" fmla="*/ 319 w 400"/>
                <a:gd name="T35" fmla="*/ 159 h 498"/>
                <a:gd name="T36" fmla="*/ 319 w 400"/>
                <a:gd name="T37" fmla="*/ 159 h 498"/>
                <a:gd name="T38" fmla="*/ 256 w 400"/>
                <a:gd name="T39" fmla="*/ 142 h 498"/>
                <a:gd name="T40" fmla="*/ 221 w 400"/>
                <a:gd name="T41" fmla="*/ 80 h 498"/>
                <a:gd name="T42" fmla="*/ 310 w 400"/>
                <a:gd name="T43" fmla="*/ 71 h 498"/>
                <a:gd name="T44" fmla="*/ 319 w 400"/>
                <a:gd name="T45" fmla="*/ 159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00" h="498">
                  <a:moveTo>
                    <a:pt x="381" y="124"/>
                  </a:moveTo>
                  <a:lnTo>
                    <a:pt x="381" y="124"/>
                  </a:lnTo>
                  <a:cubicBezTo>
                    <a:pt x="372" y="44"/>
                    <a:pt x="301" y="0"/>
                    <a:pt x="231" y="9"/>
                  </a:cubicBezTo>
                  <a:cubicBezTo>
                    <a:pt x="159" y="27"/>
                    <a:pt x="106" y="80"/>
                    <a:pt x="115" y="151"/>
                  </a:cubicBezTo>
                  <a:cubicBezTo>
                    <a:pt x="115" y="168"/>
                    <a:pt x="124" y="195"/>
                    <a:pt x="133" y="213"/>
                  </a:cubicBezTo>
                  <a:cubicBezTo>
                    <a:pt x="9" y="407"/>
                    <a:pt x="9" y="407"/>
                    <a:pt x="9" y="407"/>
                  </a:cubicBezTo>
                  <a:cubicBezTo>
                    <a:pt x="0" y="407"/>
                    <a:pt x="0" y="425"/>
                    <a:pt x="0" y="434"/>
                  </a:cubicBezTo>
                  <a:cubicBezTo>
                    <a:pt x="9" y="478"/>
                    <a:pt x="9" y="478"/>
                    <a:pt x="9" y="478"/>
                  </a:cubicBezTo>
                  <a:cubicBezTo>
                    <a:pt x="9" y="487"/>
                    <a:pt x="18" y="497"/>
                    <a:pt x="27" y="497"/>
                  </a:cubicBezTo>
                  <a:cubicBezTo>
                    <a:pt x="62" y="487"/>
                    <a:pt x="62" y="487"/>
                    <a:pt x="62" y="487"/>
                  </a:cubicBezTo>
                  <a:cubicBezTo>
                    <a:pt x="71" y="487"/>
                    <a:pt x="80" y="478"/>
                    <a:pt x="89" y="470"/>
                  </a:cubicBezTo>
                  <a:cubicBezTo>
                    <a:pt x="142" y="390"/>
                    <a:pt x="142" y="390"/>
                    <a:pt x="142" y="390"/>
                  </a:cubicBezTo>
                  <a:lnTo>
                    <a:pt x="142" y="390"/>
                  </a:lnTo>
                  <a:cubicBezTo>
                    <a:pt x="177" y="381"/>
                    <a:pt x="177" y="381"/>
                    <a:pt x="177" y="381"/>
                  </a:cubicBezTo>
                  <a:cubicBezTo>
                    <a:pt x="231" y="284"/>
                    <a:pt x="231" y="284"/>
                    <a:pt x="231" y="284"/>
                  </a:cubicBezTo>
                  <a:cubicBezTo>
                    <a:pt x="248" y="293"/>
                    <a:pt x="284" y="284"/>
                    <a:pt x="293" y="284"/>
                  </a:cubicBezTo>
                  <a:cubicBezTo>
                    <a:pt x="363" y="275"/>
                    <a:pt x="399" y="195"/>
                    <a:pt x="381" y="124"/>
                  </a:cubicBezTo>
                  <a:close/>
                  <a:moveTo>
                    <a:pt x="319" y="159"/>
                  </a:moveTo>
                  <a:lnTo>
                    <a:pt x="319" y="159"/>
                  </a:lnTo>
                  <a:cubicBezTo>
                    <a:pt x="301" y="187"/>
                    <a:pt x="284" y="168"/>
                    <a:pt x="256" y="142"/>
                  </a:cubicBezTo>
                  <a:cubicBezTo>
                    <a:pt x="231" y="124"/>
                    <a:pt x="203" y="115"/>
                    <a:pt x="221" y="80"/>
                  </a:cubicBezTo>
                  <a:cubicBezTo>
                    <a:pt x="240" y="53"/>
                    <a:pt x="284" y="44"/>
                    <a:pt x="310" y="71"/>
                  </a:cubicBezTo>
                  <a:cubicBezTo>
                    <a:pt x="337" y="89"/>
                    <a:pt x="346" y="133"/>
                    <a:pt x="319" y="15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6="http://schemas.microsoft.com/office/drawing/2014/main" xmlns:ma14="http://schemas.microsoft.com/office/mac/drawingml/2011/main" xmlns:p14="http://schemas.microsoft.com/office/powerpoint/2010/main" xmlns:a14="http://schemas.microsoft.com/office/drawing/2010/main" xmlns:lc="http://schemas.openxmlformats.org/drawingml/2006/lockedCanvas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6="http://schemas.microsoft.com/office/drawing/2014/main" xmlns:ma14="http://schemas.microsoft.com/office/mac/drawingml/2011/main" xmlns:p14="http://schemas.microsoft.com/office/powerpoint/2010/main" xmlns:a14="http://schemas.microsoft.com/office/drawing/2010/main" xmlns:lc="http://schemas.openxmlformats.org/drawingml/2006/lockedCanvas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>
                <a:lnSpc>
                  <a:spcPct val="130000"/>
                </a:lnSpc>
              </a:pPr>
              <a:endParaRPr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8" name="iṧḷïḑe">
              <a:extLst>
                <a:ext uri="{FF2B5EF4-FFF2-40B4-BE49-F238E27FC236}">
                  <a16:creationId xmlns:a16="http://schemas.microsoft.com/office/drawing/2014/main" id="{007E5CA6-3EC5-40C6-9E5F-1951C481A9BE}"/>
                </a:ext>
              </a:extLst>
            </p:cNvPr>
            <p:cNvSpPr/>
            <p:nvPr/>
          </p:nvSpPr>
          <p:spPr bwMode="auto">
            <a:xfrm>
              <a:off x="4626287" y="3849833"/>
              <a:ext cx="2346955" cy="2163501"/>
            </a:xfrm>
            <a:custGeom>
              <a:avLst/>
              <a:gdLst>
                <a:gd name="T0" fmla="*/ 462 w 510"/>
                <a:gd name="T1" fmla="*/ 326 h 470"/>
                <a:gd name="T2" fmla="*/ 407 w 510"/>
                <a:gd name="T3" fmla="*/ 326 h 470"/>
                <a:gd name="T4" fmla="*/ 404 w 510"/>
                <a:gd name="T5" fmla="*/ 327 h 470"/>
                <a:gd name="T6" fmla="*/ 323 w 510"/>
                <a:gd name="T7" fmla="*/ 244 h 470"/>
                <a:gd name="T8" fmla="*/ 323 w 510"/>
                <a:gd name="T9" fmla="*/ 48 h 470"/>
                <a:gd name="T10" fmla="*/ 275 w 510"/>
                <a:gd name="T11" fmla="*/ 0 h 470"/>
                <a:gd name="T12" fmla="*/ 48 w 510"/>
                <a:gd name="T13" fmla="*/ 0 h 470"/>
                <a:gd name="T14" fmla="*/ 0 w 510"/>
                <a:gd name="T15" fmla="*/ 48 h 470"/>
                <a:gd name="T16" fmla="*/ 0 w 510"/>
                <a:gd name="T17" fmla="*/ 278 h 470"/>
                <a:gd name="T18" fmla="*/ 48 w 510"/>
                <a:gd name="T19" fmla="*/ 326 h 470"/>
                <a:gd name="T20" fmla="*/ 275 w 510"/>
                <a:gd name="T21" fmla="*/ 326 h 470"/>
                <a:gd name="T22" fmla="*/ 281 w 510"/>
                <a:gd name="T23" fmla="*/ 326 h 470"/>
                <a:gd name="T24" fmla="*/ 359 w 510"/>
                <a:gd name="T25" fmla="*/ 381 h 470"/>
                <a:gd name="T26" fmla="*/ 359 w 510"/>
                <a:gd name="T27" fmla="*/ 422 h 470"/>
                <a:gd name="T28" fmla="*/ 407 w 510"/>
                <a:gd name="T29" fmla="*/ 470 h 470"/>
                <a:gd name="T30" fmla="*/ 462 w 510"/>
                <a:gd name="T31" fmla="*/ 470 h 470"/>
                <a:gd name="T32" fmla="*/ 510 w 510"/>
                <a:gd name="T33" fmla="*/ 422 h 470"/>
                <a:gd name="T34" fmla="*/ 510 w 510"/>
                <a:gd name="T35" fmla="*/ 374 h 470"/>
                <a:gd name="T36" fmla="*/ 462 w 510"/>
                <a:gd name="T37" fmla="*/ 326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0" h="470">
                  <a:moveTo>
                    <a:pt x="462" y="326"/>
                  </a:moveTo>
                  <a:cubicBezTo>
                    <a:pt x="407" y="326"/>
                    <a:pt x="407" y="326"/>
                    <a:pt x="407" y="326"/>
                  </a:cubicBezTo>
                  <a:cubicBezTo>
                    <a:pt x="406" y="326"/>
                    <a:pt x="405" y="326"/>
                    <a:pt x="404" y="327"/>
                  </a:cubicBezTo>
                  <a:cubicBezTo>
                    <a:pt x="390" y="327"/>
                    <a:pt x="338" y="322"/>
                    <a:pt x="323" y="244"/>
                  </a:cubicBezTo>
                  <a:cubicBezTo>
                    <a:pt x="323" y="48"/>
                    <a:pt x="323" y="48"/>
                    <a:pt x="323" y="48"/>
                  </a:cubicBezTo>
                  <a:cubicBezTo>
                    <a:pt x="323" y="21"/>
                    <a:pt x="302" y="0"/>
                    <a:pt x="275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2" y="0"/>
                    <a:pt x="0" y="21"/>
                    <a:pt x="0" y="48"/>
                  </a:cubicBezTo>
                  <a:cubicBezTo>
                    <a:pt x="0" y="278"/>
                    <a:pt x="0" y="278"/>
                    <a:pt x="0" y="278"/>
                  </a:cubicBezTo>
                  <a:cubicBezTo>
                    <a:pt x="0" y="305"/>
                    <a:pt x="22" y="326"/>
                    <a:pt x="48" y="326"/>
                  </a:cubicBezTo>
                  <a:cubicBezTo>
                    <a:pt x="275" y="326"/>
                    <a:pt x="275" y="326"/>
                    <a:pt x="275" y="326"/>
                  </a:cubicBezTo>
                  <a:cubicBezTo>
                    <a:pt x="277" y="326"/>
                    <a:pt x="279" y="326"/>
                    <a:pt x="281" y="326"/>
                  </a:cubicBezTo>
                  <a:cubicBezTo>
                    <a:pt x="309" y="328"/>
                    <a:pt x="346" y="339"/>
                    <a:pt x="359" y="381"/>
                  </a:cubicBezTo>
                  <a:cubicBezTo>
                    <a:pt x="359" y="422"/>
                    <a:pt x="359" y="422"/>
                    <a:pt x="359" y="422"/>
                  </a:cubicBezTo>
                  <a:cubicBezTo>
                    <a:pt x="359" y="449"/>
                    <a:pt x="380" y="470"/>
                    <a:pt x="407" y="470"/>
                  </a:cubicBezTo>
                  <a:cubicBezTo>
                    <a:pt x="462" y="470"/>
                    <a:pt x="462" y="470"/>
                    <a:pt x="462" y="470"/>
                  </a:cubicBezTo>
                  <a:cubicBezTo>
                    <a:pt x="488" y="470"/>
                    <a:pt x="510" y="449"/>
                    <a:pt x="510" y="422"/>
                  </a:cubicBezTo>
                  <a:cubicBezTo>
                    <a:pt x="510" y="374"/>
                    <a:pt x="510" y="374"/>
                    <a:pt x="510" y="374"/>
                  </a:cubicBezTo>
                  <a:cubicBezTo>
                    <a:pt x="510" y="348"/>
                    <a:pt x="488" y="326"/>
                    <a:pt x="462" y="32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>
                <a:lnSpc>
                  <a:spcPct val="130000"/>
                </a:lnSpc>
              </a:pPr>
              <a:endParaRPr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9" name="íslíḑé">
              <a:extLst>
                <a:ext uri="{FF2B5EF4-FFF2-40B4-BE49-F238E27FC236}">
                  <a16:creationId xmlns:a16="http://schemas.microsoft.com/office/drawing/2014/main" id="{F4CAEEC8-80DC-49D1-93B5-9EC7A22D2441}"/>
                </a:ext>
              </a:extLst>
            </p:cNvPr>
            <p:cNvSpPr/>
            <p:nvPr/>
          </p:nvSpPr>
          <p:spPr bwMode="auto">
            <a:xfrm>
              <a:off x="6413150" y="5549984"/>
              <a:ext cx="446454" cy="288419"/>
            </a:xfrm>
            <a:custGeom>
              <a:avLst/>
              <a:gdLst>
                <a:gd name="T0" fmla="*/ 381 w 498"/>
                <a:gd name="T1" fmla="*/ 89 h 320"/>
                <a:gd name="T2" fmla="*/ 381 w 498"/>
                <a:gd name="T3" fmla="*/ 89 h 320"/>
                <a:gd name="T4" fmla="*/ 355 w 498"/>
                <a:gd name="T5" fmla="*/ 89 h 320"/>
                <a:gd name="T6" fmla="*/ 231 w 498"/>
                <a:gd name="T7" fmla="*/ 0 h 320"/>
                <a:gd name="T8" fmla="*/ 98 w 498"/>
                <a:gd name="T9" fmla="*/ 134 h 320"/>
                <a:gd name="T10" fmla="*/ 98 w 498"/>
                <a:gd name="T11" fmla="*/ 150 h 320"/>
                <a:gd name="T12" fmla="*/ 89 w 498"/>
                <a:gd name="T13" fmla="*/ 150 h 320"/>
                <a:gd name="T14" fmla="*/ 0 w 498"/>
                <a:gd name="T15" fmla="*/ 240 h 320"/>
                <a:gd name="T16" fmla="*/ 89 w 498"/>
                <a:gd name="T17" fmla="*/ 319 h 320"/>
                <a:gd name="T18" fmla="*/ 381 w 498"/>
                <a:gd name="T19" fmla="*/ 319 h 320"/>
                <a:gd name="T20" fmla="*/ 497 w 498"/>
                <a:gd name="T21" fmla="*/ 204 h 320"/>
                <a:gd name="T22" fmla="*/ 381 w 498"/>
                <a:gd name="T23" fmla="*/ 89 h 320"/>
                <a:gd name="T24" fmla="*/ 284 w 498"/>
                <a:gd name="T25" fmla="*/ 195 h 320"/>
                <a:gd name="T26" fmla="*/ 284 w 498"/>
                <a:gd name="T27" fmla="*/ 195 h 320"/>
                <a:gd name="T28" fmla="*/ 213 w 498"/>
                <a:gd name="T29" fmla="*/ 275 h 320"/>
                <a:gd name="T30" fmla="*/ 195 w 498"/>
                <a:gd name="T31" fmla="*/ 275 h 320"/>
                <a:gd name="T32" fmla="*/ 195 w 498"/>
                <a:gd name="T33" fmla="*/ 266 h 320"/>
                <a:gd name="T34" fmla="*/ 195 w 498"/>
                <a:gd name="T35" fmla="*/ 257 h 320"/>
                <a:gd name="T36" fmla="*/ 222 w 498"/>
                <a:gd name="T37" fmla="*/ 204 h 320"/>
                <a:gd name="T38" fmla="*/ 204 w 498"/>
                <a:gd name="T39" fmla="*/ 195 h 320"/>
                <a:gd name="T40" fmla="*/ 204 w 498"/>
                <a:gd name="T41" fmla="*/ 195 h 320"/>
                <a:gd name="T42" fmla="*/ 186 w 498"/>
                <a:gd name="T43" fmla="*/ 178 h 320"/>
                <a:gd name="T44" fmla="*/ 195 w 498"/>
                <a:gd name="T45" fmla="*/ 160 h 320"/>
                <a:gd name="T46" fmla="*/ 258 w 498"/>
                <a:gd name="T47" fmla="*/ 89 h 320"/>
                <a:gd name="T48" fmla="*/ 275 w 498"/>
                <a:gd name="T49" fmla="*/ 80 h 320"/>
                <a:gd name="T50" fmla="*/ 284 w 498"/>
                <a:gd name="T51" fmla="*/ 89 h 320"/>
                <a:gd name="T52" fmla="*/ 275 w 498"/>
                <a:gd name="T53" fmla="*/ 106 h 320"/>
                <a:gd name="T54" fmla="*/ 249 w 498"/>
                <a:gd name="T55" fmla="*/ 160 h 320"/>
                <a:gd name="T56" fmla="*/ 275 w 498"/>
                <a:gd name="T57" fmla="*/ 169 h 320"/>
                <a:gd name="T58" fmla="*/ 275 w 498"/>
                <a:gd name="T59" fmla="*/ 169 h 320"/>
                <a:gd name="T60" fmla="*/ 293 w 498"/>
                <a:gd name="T61" fmla="*/ 187 h 320"/>
                <a:gd name="T62" fmla="*/ 284 w 498"/>
                <a:gd name="T63" fmla="*/ 195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98" h="320">
                  <a:moveTo>
                    <a:pt x="381" y="89"/>
                  </a:moveTo>
                  <a:lnTo>
                    <a:pt x="381" y="89"/>
                  </a:lnTo>
                  <a:cubicBezTo>
                    <a:pt x="372" y="89"/>
                    <a:pt x="364" y="89"/>
                    <a:pt x="355" y="89"/>
                  </a:cubicBezTo>
                  <a:cubicBezTo>
                    <a:pt x="337" y="36"/>
                    <a:pt x="293" y="0"/>
                    <a:pt x="231" y="0"/>
                  </a:cubicBezTo>
                  <a:cubicBezTo>
                    <a:pt x="160" y="0"/>
                    <a:pt x="98" y="62"/>
                    <a:pt x="98" y="134"/>
                  </a:cubicBezTo>
                  <a:cubicBezTo>
                    <a:pt x="98" y="134"/>
                    <a:pt x="98" y="142"/>
                    <a:pt x="98" y="150"/>
                  </a:cubicBezTo>
                  <a:cubicBezTo>
                    <a:pt x="98" y="150"/>
                    <a:pt x="98" y="150"/>
                    <a:pt x="89" y="150"/>
                  </a:cubicBezTo>
                  <a:cubicBezTo>
                    <a:pt x="45" y="150"/>
                    <a:pt x="0" y="187"/>
                    <a:pt x="0" y="240"/>
                  </a:cubicBezTo>
                  <a:cubicBezTo>
                    <a:pt x="0" y="284"/>
                    <a:pt x="45" y="319"/>
                    <a:pt x="89" y="319"/>
                  </a:cubicBezTo>
                  <a:cubicBezTo>
                    <a:pt x="381" y="319"/>
                    <a:pt x="381" y="319"/>
                    <a:pt x="381" y="319"/>
                  </a:cubicBezTo>
                  <a:cubicBezTo>
                    <a:pt x="443" y="319"/>
                    <a:pt x="497" y="275"/>
                    <a:pt x="497" y="204"/>
                  </a:cubicBezTo>
                  <a:cubicBezTo>
                    <a:pt x="497" y="142"/>
                    <a:pt x="443" y="89"/>
                    <a:pt x="381" y="89"/>
                  </a:cubicBezTo>
                  <a:close/>
                  <a:moveTo>
                    <a:pt x="284" y="195"/>
                  </a:moveTo>
                  <a:lnTo>
                    <a:pt x="284" y="195"/>
                  </a:lnTo>
                  <a:cubicBezTo>
                    <a:pt x="266" y="213"/>
                    <a:pt x="222" y="266"/>
                    <a:pt x="213" y="275"/>
                  </a:cubicBezTo>
                  <a:cubicBezTo>
                    <a:pt x="213" y="275"/>
                    <a:pt x="204" y="284"/>
                    <a:pt x="195" y="275"/>
                  </a:cubicBezTo>
                  <a:cubicBezTo>
                    <a:pt x="195" y="275"/>
                    <a:pt x="195" y="275"/>
                    <a:pt x="195" y="266"/>
                  </a:cubicBezTo>
                  <a:lnTo>
                    <a:pt x="195" y="257"/>
                  </a:lnTo>
                  <a:cubicBezTo>
                    <a:pt x="222" y="204"/>
                    <a:pt x="222" y="204"/>
                    <a:pt x="222" y="204"/>
                  </a:cubicBezTo>
                  <a:cubicBezTo>
                    <a:pt x="222" y="195"/>
                    <a:pt x="213" y="195"/>
                    <a:pt x="204" y="195"/>
                  </a:cubicBezTo>
                  <a:lnTo>
                    <a:pt x="204" y="195"/>
                  </a:lnTo>
                  <a:cubicBezTo>
                    <a:pt x="195" y="187"/>
                    <a:pt x="186" y="187"/>
                    <a:pt x="186" y="178"/>
                  </a:cubicBezTo>
                  <a:cubicBezTo>
                    <a:pt x="186" y="169"/>
                    <a:pt x="186" y="169"/>
                    <a:pt x="195" y="160"/>
                  </a:cubicBezTo>
                  <a:cubicBezTo>
                    <a:pt x="204" y="142"/>
                    <a:pt x="258" y="89"/>
                    <a:pt x="258" y="89"/>
                  </a:cubicBezTo>
                  <a:cubicBezTo>
                    <a:pt x="266" y="80"/>
                    <a:pt x="266" y="80"/>
                    <a:pt x="275" y="80"/>
                  </a:cubicBezTo>
                  <a:cubicBezTo>
                    <a:pt x="275" y="89"/>
                    <a:pt x="284" y="89"/>
                    <a:pt x="284" y="89"/>
                  </a:cubicBezTo>
                  <a:cubicBezTo>
                    <a:pt x="284" y="97"/>
                    <a:pt x="275" y="97"/>
                    <a:pt x="275" y="106"/>
                  </a:cubicBezTo>
                  <a:cubicBezTo>
                    <a:pt x="249" y="160"/>
                    <a:pt x="249" y="160"/>
                    <a:pt x="249" y="160"/>
                  </a:cubicBezTo>
                  <a:cubicBezTo>
                    <a:pt x="258" y="160"/>
                    <a:pt x="266" y="169"/>
                    <a:pt x="275" y="169"/>
                  </a:cubicBezTo>
                  <a:lnTo>
                    <a:pt x="275" y="169"/>
                  </a:lnTo>
                  <a:cubicBezTo>
                    <a:pt x="284" y="169"/>
                    <a:pt x="293" y="178"/>
                    <a:pt x="293" y="187"/>
                  </a:cubicBezTo>
                  <a:lnTo>
                    <a:pt x="284" y="19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6="http://schemas.microsoft.com/office/drawing/2014/main" xmlns:ma14="http://schemas.microsoft.com/office/mac/drawingml/2011/main" xmlns:p14="http://schemas.microsoft.com/office/powerpoint/2010/main" xmlns:a14="http://schemas.microsoft.com/office/drawing/2010/main" xmlns:lc="http://schemas.openxmlformats.org/drawingml/2006/lockedCanvas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6="http://schemas.microsoft.com/office/drawing/2014/main" xmlns:ma14="http://schemas.microsoft.com/office/mac/drawingml/2011/main" xmlns:p14="http://schemas.microsoft.com/office/powerpoint/2010/main" xmlns:a14="http://schemas.microsoft.com/office/drawing/2010/main" xmlns:lc="http://schemas.openxmlformats.org/drawingml/2006/lockedCanvas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>
                <a:lnSpc>
                  <a:spcPct val="130000"/>
                </a:lnSpc>
              </a:pPr>
              <a:endParaRPr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0" name="išḻîďé">
              <a:extLst>
                <a:ext uri="{FF2B5EF4-FFF2-40B4-BE49-F238E27FC236}">
                  <a16:creationId xmlns:a16="http://schemas.microsoft.com/office/drawing/2014/main" id="{86AE96F3-F441-47AB-942B-BF8EC9F3AEB8}"/>
                </a:ext>
              </a:extLst>
            </p:cNvPr>
            <p:cNvSpPr/>
            <p:nvPr/>
          </p:nvSpPr>
          <p:spPr bwMode="auto">
            <a:xfrm>
              <a:off x="5261419" y="1203024"/>
              <a:ext cx="2343160" cy="2168562"/>
            </a:xfrm>
            <a:custGeom>
              <a:avLst/>
              <a:gdLst>
                <a:gd name="T0" fmla="*/ 48 w 509"/>
                <a:gd name="T1" fmla="*/ 144 h 471"/>
                <a:gd name="T2" fmla="*/ 102 w 509"/>
                <a:gd name="T3" fmla="*/ 144 h 471"/>
                <a:gd name="T4" fmla="*/ 106 w 509"/>
                <a:gd name="T5" fmla="*/ 144 h 471"/>
                <a:gd name="T6" fmla="*/ 186 w 509"/>
                <a:gd name="T7" fmla="*/ 227 h 471"/>
                <a:gd name="T8" fmla="*/ 186 w 509"/>
                <a:gd name="T9" fmla="*/ 423 h 471"/>
                <a:gd name="T10" fmla="*/ 234 w 509"/>
                <a:gd name="T11" fmla="*/ 471 h 471"/>
                <a:gd name="T12" fmla="*/ 461 w 509"/>
                <a:gd name="T13" fmla="*/ 471 h 471"/>
                <a:gd name="T14" fmla="*/ 509 w 509"/>
                <a:gd name="T15" fmla="*/ 423 h 471"/>
                <a:gd name="T16" fmla="*/ 509 w 509"/>
                <a:gd name="T17" fmla="*/ 192 h 471"/>
                <a:gd name="T18" fmla="*/ 461 w 509"/>
                <a:gd name="T19" fmla="*/ 144 h 471"/>
                <a:gd name="T20" fmla="*/ 234 w 509"/>
                <a:gd name="T21" fmla="*/ 144 h 471"/>
                <a:gd name="T22" fmla="*/ 228 w 509"/>
                <a:gd name="T23" fmla="*/ 144 h 471"/>
                <a:gd name="T24" fmla="*/ 151 w 509"/>
                <a:gd name="T25" fmla="*/ 89 h 471"/>
                <a:gd name="T26" fmla="*/ 151 w 509"/>
                <a:gd name="T27" fmla="*/ 48 h 471"/>
                <a:gd name="T28" fmla="*/ 103 w 509"/>
                <a:gd name="T29" fmla="*/ 0 h 471"/>
                <a:gd name="T30" fmla="*/ 48 w 509"/>
                <a:gd name="T31" fmla="*/ 0 h 471"/>
                <a:gd name="T32" fmla="*/ 0 w 509"/>
                <a:gd name="T33" fmla="*/ 48 h 471"/>
                <a:gd name="T34" fmla="*/ 0 w 509"/>
                <a:gd name="T35" fmla="*/ 96 h 471"/>
                <a:gd name="T36" fmla="*/ 48 w 509"/>
                <a:gd name="T37" fmla="*/ 144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09" h="471">
                  <a:moveTo>
                    <a:pt x="48" y="144"/>
                  </a:moveTo>
                  <a:cubicBezTo>
                    <a:pt x="102" y="144"/>
                    <a:pt x="102" y="144"/>
                    <a:pt x="102" y="144"/>
                  </a:cubicBezTo>
                  <a:cubicBezTo>
                    <a:pt x="104" y="144"/>
                    <a:pt x="105" y="144"/>
                    <a:pt x="106" y="144"/>
                  </a:cubicBezTo>
                  <a:cubicBezTo>
                    <a:pt x="120" y="143"/>
                    <a:pt x="171" y="148"/>
                    <a:pt x="186" y="227"/>
                  </a:cubicBezTo>
                  <a:cubicBezTo>
                    <a:pt x="186" y="423"/>
                    <a:pt x="186" y="423"/>
                    <a:pt x="186" y="423"/>
                  </a:cubicBezTo>
                  <a:cubicBezTo>
                    <a:pt x="186" y="449"/>
                    <a:pt x="207" y="471"/>
                    <a:pt x="234" y="471"/>
                  </a:cubicBezTo>
                  <a:cubicBezTo>
                    <a:pt x="461" y="471"/>
                    <a:pt x="461" y="471"/>
                    <a:pt x="461" y="471"/>
                  </a:cubicBezTo>
                  <a:cubicBezTo>
                    <a:pt x="487" y="471"/>
                    <a:pt x="509" y="450"/>
                    <a:pt x="509" y="423"/>
                  </a:cubicBezTo>
                  <a:cubicBezTo>
                    <a:pt x="509" y="192"/>
                    <a:pt x="509" y="192"/>
                    <a:pt x="509" y="192"/>
                  </a:cubicBezTo>
                  <a:cubicBezTo>
                    <a:pt x="509" y="166"/>
                    <a:pt x="488" y="144"/>
                    <a:pt x="461" y="144"/>
                  </a:cubicBezTo>
                  <a:cubicBezTo>
                    <a:pt x="234" y="144"/>
                    <a:pt x="234" y="144"/>
                    <a:pt x="234" y="144"/>
                  </a:cubicBezTo>
                  <a:cubicBezTo>
                    <a:pt x="232" y="144"/>
                    <a:pt x="230" y="144"/>
                    <a:pt x="228" y="144"/>
                  </a:cubicBezTo>
                  <a:cubicBezTo>
                    <a:pt x="201" y="142"/>
                    <a:pt x="164" y="131"/>
                    <a:pt x="151" y="89"/>
                  </a:cubicBezTo>
                  <a:cubicBezTo>
                    <a:pt x="151" y="48"/>
                    <a:pt x="151" y="48"/>
                    <a:pt x="151" y="48"/>
                  </a:cubicBezTo>
                  <a:cubicBezTo>
                    <a:pt x="151" y="21"/>
                    <a:pt x="129" y="0"/>
                    <a:pt x="103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2" y="0"/>
                    <a:pt x="0" y="21"/>
                    <a:pt x="0" y="48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22"/>
                    <a:pt x="21" y="144"/>
                    <a:pt x="48" y="14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>
                <a:lnSpc>
                  <a:spcPct val="130000"/>
                </a:lnSpc>
              </a:pPr>
              <a:endParaRPr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1" name="îṩḻïdê">
              <a:extLst>
                <a:ext uri="{FF2B5EF4-FFF2-40B4-BE49-F238E27FC236}">
                  <a16:creationId xmlns:a16="http://schemas.microsoft.com/office/drawing/2014/main" id="{19441826-1375-4D28-9D93-4801FE2F1B8E}"/>
                </a:ext>
              </a:extLst>
            </p:cNvPr>
            <p:cNvSpPr/>
            <p:nvPr/>
          </p:nvSpPr>
          <p:spPr bwMode="auto">
            <a:xfrm>
              <a:off x="5444631" y="1337780"/>
              <a:ext cx="285947" cy="388320"/>
            </a:xfrm>
            <a:custGeom>
              <a:avLst/>
              <a:gdLst>
                <a:gd name="T0" fmla="*/ 346 w 355"/>
                <a:gd name="T1" fmla="*/ 132 h 487"/>
                <a:gd name="T2" fmla="*/ 346 w 355"/>
                <a:gd name="T3" fmla="*/ 132 h 487"/>
                <a:gd name="T4" fmla="*/ 116 w 355"/>
                <a:gd name="T5" fmla="*/ 17 h 487"/>
                <a:gd name="T6" fmla="*/ 9 w 355"/>
                <a:gd name="T7" fmla="*/ 53 h 487"/>
                <a:gd name="T8" fmla="*/ 0 w 355"/>
                <a:gd name="T9" fmla="*/ 79 h 487"/>
                <a:gd name="T10" fmla="*/ 9 w 355"/>
                <a:gd name="T11" fmla="*/ 345 h 487"/>
                <a:gd name="T12" fmla="*/ 18 w 355"/>
                <a:gd name="T13" fmla="*/ 363 h 487"/>
                <a:gd name="T14" fmla="*/ 222 w 355"/>
                <a:gd name="T15" fmla="*/ 486 h 487"/>
                <a:gd name="T16" fmla="*/ 231 w 355"/>
                <a:gd name="T17" fmla="*/ 486 h 487"/>
                <a:gd name="T18" fmla="*/ 240 w 355"/>
                <a:gd name="T19" fmla="*/ 486 h 487"/>
                <a:gd name="T20" fmla="*/ 248 w 355"/>
                <a:gd name="T21" fmla="*/ 478 h 487"/>
                <a:gd name="T22" fmla="*/ 248 w 355"/>
                <a:gd name="T23" fmla="*/ 203 h 487"/>
                <a:gd name="T24" fmla="*/ 240 w 355"/>
                <a:gd name="T25" fmla="*/ 185 h 487"/>
                <a:gd name="T26" fmla="*/ 44 w 355"/>
                <a:gd name="T27" fmla="*/ 70 h 487"/>
                <a:gd name="T28" fmla="*/ 71 w 355"/>
                <a:gd name="T29" fmla="*/ 53 h 487"/>
                <a:gd name="T30" fmla="*/ 107 w 355"/>
                <a:gd name="T31" fmla="*/ 44 h 487"/>
                <a:gd name="T32" fmla="*/ 301 w 355"/>
                <a:gd name="T33" fmla="*/ 150 h 487"/>
                <a:gd name="T34" fmla="*/ 310 w 355"/>
                <a:gd name="T35" fmla="*/ 159 h 487"/>
                <a:gd name="T36" fmla="*/ 310 w 355"/>
                <a:gd name="T37" fmla="*/ 425 h 487"/>
                <a:gd name="T38" fmla="*/ 328 w 355"/>
                <a:gd name="T39" fmla="*/ 442 h 487"/>
                <a:gd name="T40" fmla="*/ 354 w 355"/>
                <a:gd name="T41" fmla="*/ 425 h 487"/>
                <a:gd name="T42" fmla="*/ 354 w 355"/>
                <a:gd name="T43" fmla="*/ 141 h 487"/>
                <a:gd name="T44" fmla="*/ 346 w 355"/>
                <a:gd name="T45" fmla="*/ 132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55" h="487">
                  <a:moveTo>
                    <a:pt x="346" y="132"/>
                  </a:moveTo>
                  <a:lnTo>
                    <a:pt x="346" y="132"/>
                  </a:lnTo>
                  <a:cubicBezTo>
                    <a:pt x="116" y="17"/>
                    <a:pt x="116" y="17"/>
                    <a:pt x="116" y="17"/>
                  </a:cubicBezTo>
                  <a:cubicBezTo>
                    <a:pt x="89" y="0"/>
                    <a:pt x="27" y="25"/>
                    <a:pt x="9" y="53"/>
                  </a:cubicBezTo>
                  <a:cubicBezTo>
                    <a:pt x="0" y="70"/>
                    <a:pt x="0" y="79"/>
                    <a:pt x="0" y="79"/>
                  </a:cubicBezTo>
                  <a:cubicBezTo>
                    <a:pt x="9" y="345"/>
                    <a:pt x="9" y="345"/>
                    <a:pt x="9" y="345"/>
                  </a:cubicBezTo>
                  <a:cubicBezTo>
                    <a:pt x="9" y="345"/>
                    <a:pt x="18" y="354"/>
                    <a:pt x="18" y="363"/>
                  </a:cubicBezTo>
                  <a:cubicBezTo>
                    <a:pt x="36" y="363"/>
                    <a:pt x="222" y="486"/>
                    <a:pt x="222" y="486"/>
                  </a:cubicBezTo>
                  <a:cubicBezTo>
                    <a:pt x="231" y="486"/>
                    <a:pt x="231" y="486"/>
                    <a:pt x="231" y="486"/>
                  </a:cubicBezTo>
                  <a:cubicBezTo>
                    <a:pt x="240" y="486"/>
                    <a:pt x="240" y="486"/>
                    <a:pt x="240" y="486"/>
                  </a:cubicBezTo>
                  <a:cubicBezTo>
                    <a:pt x="248" y="486"/>
                    <a:pt x="248" y="478"/>
                    <a:pt x="248" y="478"/>
                  </a:cubicBezTo>
                  <a:cubicBezTo>
                    <a:pt x="248" y="203"/>
                    <a:pt x="248" y="203"/>
                    <a:pt x="248" y="203"/>
                  </a:cubicBezTo>
                  <a:cubicBezTo>
                    <a:pt x="248" y="194"/>
                    <a:pt x="248" y="194"/>
                    <a:pt x="240" y="185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53" y="61"/>
                    <a:pt x="71" y="53"/>
                  </a:cubicBezTo>
                  <a:cubicBezTo>
                    <a:pt x="89" y="44"/>
                    <a:pt x="97" y="44"/>
                    <a:pt x="107" y="44"/>
                  </a:cubicBezTo>
                  <a:cubicBezTo>
                    <a:pt x="107" y="44"/>
                    <a:pt x="293" y="150"/>
                    <a:pt x="301" y="150"/>
                  </a:cubicBezTo>
                  <a:cubicBezTo>
                    <a:pt x="310" y="159"/>
                    <a:pt x="310" y="159"/>
                    <a:pt x="310" y="159"/>
                  </a:cubicBezTo>
                  <a:cubicBezTo>
                    <a:pt x="310" y="168"/>
                    <a:pt x="310" y="425"/>
                    <a:pt x="310" y="425"/>
                  </a:cubicBezTo>
                  <a:cubicBezTo>
                    <a:pt x="310" y="433"/>
                    <a:pt x="319" y="442"/>
                    <a:pt x="328" y="442"/>
                  </a:cubicBezTo>
                  <a:cubicBezTo>
                    <a:pt x="337" y="442"/>
                    <a:pt x="354" y="433"/>
                    <a:pt x="354" y="425"/>
                  </a:cubicBezTo>
                  <a:cubicBezTo>
                    <a:pt x="354" y="141"/>
                    <a:pt x="354" y="141"/>
                    <a:pt x="354" y="141"/>
                  </a:cubicBezTo>
                  <a:lnTo>
                    <a:pt x="346" y="132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6="http://schemas.microsoft.com/office/drawing/2014/main" xmlns:ma14="http://schemas.microsoft.com/office/mac/drawingml/2011/main" xmlns:p14="http://schemas.microsoft.com/office/powerpoint/2010/main" xmlns:a14="http://schemas.microsoft.com/office/drawing/2010/main" xmlns:lc="http://schemas.openxmlformats.org/drawingml/2006/lockedCanvas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6="http://schemas.microsoft.com/office/drawing/2014/main" xmlns:ma14="http://schemas.microsoft.com/office/mac/drawingml/2011/main" xmlns:p14="http://schemas.microsoft.com/office/powerpoint/2010/main" xmlns:a14="http://schemas.microsoft.com/office/drawing/2010/main" xmlns:lc="http://schemas.openxmlformats.org/drawingml/2006/lockedCanvas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>
                <a:lnSpc>
                  <a:spcPct val="130000"/>
                </a:lnSpc>
              </a:pPr>
              <a:endParaRPr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2" name="iṥḻíḑe">
              <a:extLst>
                <a:ext uri="{FF2B5EF4-FFF2-40B4-BE49-F238E27FC236}">
                  <a16:creationId xmlns:a16="http://schemas.microsoft.com/office/drawing/2014/main" id="{99F0F6BF-87FB-4967-889D-5F8BD5956491}"/>
                </a:ext>
              </a:extLst>
            </p:cNvPr>
            <p:cNvSpPr/>
            <p:nvPr/>
          </p:nvSpPr>
          <p:spPr bwMode="auto">
            <a:xfrm>
              <a:off x="6384701" y="2717863"/>
              <a:ext cx="2158440" cy="2383647"/>
            </a:xfrm>
            <a:custGeom>
              <a:avLst/>
              <a:gdLst>
                <a:gd name="T0" fmla="*/ 323 w 469"/>
                <a:gd name="T1" fmla="*/ 51 h 518"/>
                <a:gd name="T2" fmla="*/ 325 w 469"/>
                <a:gd name="T3" fmla="*/ 105 h 518"/>
                <a:gd name="T4" fmla="*/ 325 w 469"/>
                <a:gd name="T5" fmla="*/ 109 h 518"/>
                <a:gd name="T6" fmla="*/ 244 w 469"/>
                <a:gd name="T7" fmla="*/ 191 h 518"/>
                <a:gd name="T8" fmla="*/ 48 w 469"/>
                <a:gd name="T9" fmla="*/ 195 h 518"/>
                <a:gd name="T10" fmla="*/ 1 w 469"/>
                <a:gd name="T11" fmla="*/ 244 h 518"/>
                <a:gd name="T12" fmla="*/ 5 w 469"/>
                <a:gd name="T13" fmla="*/ 470 h 518"/>
                <a:gd name="T14" fmla="*/ 54 w 469"/>
                <a:gd name="T15" fmla="*/ 517 h 518"/>
                <a:gd name="T16" fmla="*/ 285 w 469"/>
                <a:gd name="T17" fmla="*/ 513 h 518"/>
                <a:gd name="T18" fmla="*/ 332 w 469"/>
                <a:gd name="T19" fmla="*/ 464 h 518"/>
                <a:gd name="T20" fmla="*/ 327 w 469"/>
                <a:gd name="T21" fmla="*/ 237 h 518"/>
                <a:gd name="T22" fmla="*/ 327 w 469"/>
                <a:gd name="T23" fmla="*/ 231 h 518"/>
                <a:gd name="T24" fmla="*/ 380 w 469"/>
                <a:gd name="T25" fmla="*/ 152 h 518"/>
                <a:gd name="T26" fmla="*/ 422 w 469"/>
                <a:gd name="T27" fmla="*/ 151 h 518"/>
                <a:gd name="T28" fmla="*/ 469 w 469"/>
                <a:gd name="T29" fmla="*/ 102 h 518"/>
                <a:gd name="T30" fmla="*/ 467 w 469"/>
                <a:gd name="T31" fmla="*/ 48 h 518"/>
                <a:gd name="T32" fmla="*/ 418 w 469"/>
                <a:gd name="T33" fmla="*/ 1 h 518"/>
                <a:gd name="T34" fmla="*/ 370 w 469"/>
                <a:gd name="T35" fmla="*/ 2 h 518"/>
                <a:gd name="T36" fmla="*/ 323 w 469"/>
                <a:gd name="T37" fmla="*/ 51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9" h="518">
                  <a:moveTo>
                    <a:pt x="323" y="51"/>
                  </a:moveTo>
                  <a:cubicBezTo>
                    <a:pt x="325" y="105"/>
                    <a:pt x="325" y="105"/>
                    <a:pt x="325" y="105"/>
                  </a:cubicBezTo>
                  <a:cubicBezTo>
                    <a:pt x="325" y="106"/>
                    <a:pt x="325" y="107"/>
                    <a:pt x="325" y="109"/>
                  </a:cubicBezTo>
                  <a:cubicBezTo>
                    <a:pt x="325" y="122"/>
                    <a:pt x="322" y="174"/>
                    <a:pt x="244" y="191"/>
                  </a:cubicBezTo>
                  <a:cubicBezTo>
                    <a:pt x="48" y="195"/>
                    <a:pt x="48" y="195"/>
                    <a:pt x="48" y="195"/>
                  </a:cubicBezTo>
                  <a:cubicBezTo>
                    <a:pt x="21" y="195"/>
                    <a:pt x="0" y="217"/>
                    <a:pt x="1" y="244"/>
                  </a:cubicBezTo>
                  <a:cubicBezTo>
                    <a:pt x="5" y="470"/>
                    <a:pt x="5" y="470"/>
                    <a:pt x="5" y="470"/>
                  </a:cubicBezTo>
                  <a:cubicBezTo>
                    <a:pt x="6" y="497"/>
                    <a:pt x="28" y="518"/>
                    <a:pt x="54" y="517"/>
                  </a:cubicBezTo>
                  <a:cubicBezTo>
                    <a:pt x="285" y="513"/>
                    <a:pt x="285" y="513"/>
                    <a:pt x="285" y="513"/>
                  </a:cubicBezTo>
                  <a:cubicBezTo>
                    <a:pt x="311" y="512"/>
                    <a:pt x="332" y="490"/>
                    <a:pt x="332" y="464"/>
                  </a:cubicBezTo>
                  <a:cubicBezTo>
                    <a:pt x="327" y="237"/>
                    <a:pt x="327" y="237"/>
                    <a:pt x="327" y="237"/>
                  </a:cubicBezTo>
                  <a:cubicBezTo>
                    <a:pt x="327" y="235"/>
                    <a:pt x="327" y="233"/>
                    <a:pt x="327" y="231"/>
                  </a:cubicBezTo>
                  <a:cubicBezTo>
                    <a:pt x="329" y="204"/>
                    <a:pt x="339" y="166"/>
                    <a:pt x="380" y="152"/>
                  </a:cubicBezTo>
                  <a:cubicBezTo>
                    <a:pt x="422" y="151"/>
                    <a:pt x="422" y="151"/>
                    <a:pt x="422" y="151"/>
                  </a:cubicBezTo>
                  <a:cubicBezTo>
                    <a:pt x="448" y="151"/>
                    <a:pt x="469" y="129"/>
                    <a:pt x="469" y="102"/>
                  </a:cubicBezTo>
                  <a:cubicBezTo>
                    <a:pt x="467" y="48"/>
                    <a:pt x="467" y="48"/>
                    <a:pt x="467" y="48"/>
                  </a:cubicBezTo>
                  <a:cubicBezTo>
                    <a:pt x="467" y="21"/>
                    <a:pt x="445" y="0"/>
                    <a:pt x="418" y="1"/>
                  </a:cubicBezTo>
                  <a:cubicBezTo>
                    <a:pt x="370" y="2"/>
                    <a:pt x="370" y="2"/>
                    <a:pt x="370" y="2"/>
                  </a:cubicBezTo>
                  <a:cubicBezTo>
                    <a:pt x="344" y="2"/>
                    <a:pt x="323" y="24"/>
                    <a:pt x="323" y="5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>
                <a:lnSpc>
                  <a:spcPct val="130000"/>
                </a:lnSpc>
              </a:pPr>
              <a:endParaRPr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3" name="iṧ1ïḋê">
              <a:extLst>
                <a:ext uri="{FF2B5EF4-FFF2-40B4-BE49-F238E27FC236}">
                  <a16:creationId xmlns:a16="http://schemas.microsoft.com/office/drawing/2014/main" id="{5D99356D-AA44-4348-BB86-22C6DCD7D56E}"/>
                </a:ext>
              </a:extLst>
            </p:cNvPr>
            <p:cNvSpPr/>
            <p:nvPr/>
          </p:nvSpPr>
          <p:spPr bwMode="auto">
            <a:xfrm>
              <a:off x="8004913" y="2909121"/>
              <a:ext cx="453775" cy="381491"/>
            </a:xfrm>
            <a:custGeom>
              <a:avLst/>
              <a:gdLst>
                <a:gd name="T0" fmla="*/ 124 w 498"/>
                <a:gd name="T1" fmla="*/ 81 h 418"/>
                <a:gd name="T2" fmla="*/ 124 w 498"/>
                <a:gd name="T3" fmla="*/ 81 h 418"/>
                <a:gd name="T4" fmla="*/ 36 w 498"/>
                <a:gd name="T5" fmla="*/ 258 h 418"/>
                <a:gd name="T6" fmla="*/ 346 w 498"/>
                <a:gd name="T7" fmla="*/ 116 h 418"/>
                <a:gd name="T8" fmla="*/ 9 w 498"/>
                <a:gd name="T9" fmla="*/ 382 h 418"/>
                <a:gd name="T10" fmla="*/ 44 w 498"/>
                <a:gd name="T11" fmla="*/ 400 h 418"/>
                <a:gd name="T12" fmla="*/ 97 w 498"/>
                <a:gd name="T13" fmla="*/ 311 h 418"/>
                <a:gd name="T14" fmla="*/ 293 w 498"/>
                <a:gd name="T15" fmla="*/ 311 h 418"/>
                <a:gd name="T16" fmla="*/ 469 w 498"/>
                <a:gd name="T17" fmla="*/ 72 h 418"/>
                <a:gd name="T18" fmla="*/ 124 w 498"/>
                <a:gd name="T19" fmla="*/ 81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8" h="418">
                  <a:moveTo>
                    <a:pt x="124" y="81"/>
                  </a:moveTo>
                  <a:lnTo>
                    <a:pt x="124" y="81"/>
                  </a:lnTo>
                  <a:cubicBezTo>
                    <a:pt x="27" y="134"/>
                    <a:pt x="36" y="222"/>
                    <a:pt x="36" y="258"/>
                  </a:cubicBezTo>
                  <a:cubicBezTo>
                    <a:pt x="159" y="107"/>
                    <a:pt x="346" y="116"/>
                    <a:pt x="346" y="116"/>
                  </a:cubicBezTo>
                  <a:cubicBezTo>
                    <a:pt x="346" y="116"/>
                    <a:pt x="80" y="204"/>
                    <a:pt x="9" y="382"/>
                  </a:cubicBezTo>
                  <a:cubicBezTo>
                    <a:pt x="0" y="400"/>
                    <a:pt x="36" y="417"/>
                    <a:pt x="44" y="400"/>
                  </a:cubicBezTo>
                  <a:cubicBezTo>
                    <a:pt x="62" y="355"/>
                    <a:pt x="97" y="311"/>
                    <a:pt x="97" y="311"/>
                  </a:cubicBezTo>
                  <a:cubicBezTo>
                    <a:pt x="151" y="329"/>
                    <a:pt x="230" y="355"/>
                    <a:pt x="293" y="311"/>
                  </a:cubicBezTo>
                  <a:cubicBezTo>
                    <a:pt x="363" y="258"/>
                    <a:pt x="363" y="134"/>
                    <a:pt x="469" y="72"/>
                  </a:cubicBezTo>
                  <a:cubicBezTo>
                    <a:pt x="497" y="63"/>
                    <a:pt x="249" y="0"/>
                    <a:pt x="124" y="81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6="http://schemas.microsoft.com/office/drawing/2014/main" xmlns:ma14="http://schemas.microsoft.com/office/mac/drawingml/2011/main" xmlns:p14="http://schemas.microsoft.com/office/powerpoint/2010/main" xmlns:a14="http://schemas.microsoft.com/office/drawing/2010/main" xmlns:lc="http://schemas.openxmlformats.org/drawingml/2006/lockedCanvas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6="http://schemas.microsoft.com/office/drawing/2014/main" xmlns:ma14="http://schemas.microsoft.com/office/mac/drawingml/2011/main" xmlns:p14="http://schemas.microsoft.com/office/powerpoint/2010/main" xmlns:a14="http://schemas.microsoft.com/office/drawing/2010/main" xmlns:lc="http://schemas.openxmlformats.org/drawingml/2006/lockedCanvas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>
                <a:lnSpc>
                  <a:spcPct val="130000"/>
                </a:lnSpc>
              </a:pPr>
              <a:endParaRPr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4" name="íšļiḍè">
              <a:extLst>
                <a:ext uri="{FF2B5EF4-FFF2-40B4-BE49-F238E27FC236}">
                  <a16:creationId xmlns:a16="http://schemas.microsoft.com/office/drawing/2014/main" id="{3B0DBE5A-45E2-4CCC-A9D6-317089943447}"/>
                </a:ext>
              </a:extLst>
            </p:cNvPr>
            <p:cNvSpPr/>
            <p:nvPr/>
          </p:nvSpPr>
          <p:spPr>
            <a:xfrm>
              <a:off x="4350471" y="2642109"/>
              <a:ext cx="1513010" cy="44413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a16="http://schemas.microsoft.com/office/drawing/2014/main" xmlns:a14="http://schemas.microsoft.com/office/drawing/2010/main" xmlns:ma14="http://schemas.microsoft.com/office/mac/drawingml/2011/main" xmlns:p14="http://schemas.microsoft.com/office/powerpoint/2010/main" xmlns:lc="http://schemas.openxmlformats.org/drawingml/2006/lockedCanvas" xmlns="" val="1"/>
              </a:ext>
            </a:extLst>
          </p:spPr>
          <p:txBody>
            <a:bodyPr wrap="none" lIns="91440" tIns="45720" rIns="91440" bIns="45720" anchor="ctr">
              <a:normAutofit fontScale="62500" lnSpcReduction="20000"/>
            </a:bodyPr>
            <a:lstStyle/>
            <a:p>
              <a:pPr algn="ctr">
                <a:lnSpc>
                  <a:spcPct val="150000"/>
                </a:lnSpc>
              </a:pPr>
              <a:r>
                <a:rPr lang="zh-CN" altLang="en-US" sz="2800" b="1" dirty="0">
                  <a:latin typeface=""/>
                  <a:ea typeface="微软雅黑" panose="020B0503020204020204" pitchFamily="34" charset="-122"/>
                  <a:sym typeface=""/>
                </a:rPr>
                <a:t>整体</a:t>
              </a:r>
              <a:endParaRPr lang="en-US" altLang="zh-CN" sz="2800" b="1" dirty="0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5" name="ïŝḻíde">
              <a:extLst>
                <a:ext uri="{FF2B5EF4-FFF2-40B4-BE49-F238E27FC236}">
                  <a16:creationId xmlns:a16="http://schemas.microsoft.com/office/drawing/2014/main" id="{9F15AAA4-D693-48C8-A830-289D461ADDEC}"/>
                </a:ext>
              </a:extLst>
            </p:cNvPr>
            <p:cNvSpPr/>
            <p:nvPr/>
          </p:nvSpPr>
          <p:spPr>
            <a:xfrm>
              <a:off x="4626287" y="4399848"/>
              <a:ext cx="1482188" cy="44413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a16="http://schemas.microsoft.com/office/drawing/2014/main" xmlns:a14="http://schemas.microsoft.com/office/drawing/2010/main" xmlns:ma14="http://schemas.microsoft.com/office/mac/drawingml/2011/main" xmlns:p14="http://schemas.microsoft.com/office/powerpoint/2010/main" xmlns:lc="http://schemas.openxmlformats.org/drawingml/2006/lockedCanvas" xmlns="" val="1"/>
              </a:ext>
            </a:extLst>
          </p:spPr>
          <p:txBody>
            <a:bodyPr wrap="none" lIns="91440" tIns="45720" rIns="91440" bIns="45720" anchor="ctr">
              <a:normAutofit/>
            </a:bodyPr>
            <a:lstStyle/>
            <a:p>
              <a:pPr algn="ctr">
                <a:lnSpc>
                  <a:spcPct val="130000"/>
                </a:lnSpc>
              </a:pPr>
              <a:r>
                <a:rPr lang="zh-CN" altLang="en-US" sz="1400" b="1" dirty="0">
                  <a:latin typeface=""/>
                  <a:ea typeface="微软雅黑" panose="020B0503020204020204" pitchFamily="34" charset="-122"/>
                  <a:sym typeface=""/>
                </a:rPr>
                <a:t>份额增加</a:t>
              </a:r>
              <a:endParaRPr lang="en-US" altLang="zh-CN" sz="1400" b="1" dirty="0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6" name="iSļíďé">
              <a:extLst>
                <a:ext uri="{FF2B5EF4-FFF2-40B4-BE49-F238E27FC236}">
                  <a16:creationId xmlns:a16="http://schemas.microsoft.com/office/drawing/2014/main" id="{0BA52935-311E-4E6F-A763-BDADFDB2E423}"/>
                </a:ext>
              </a:extLst>
            </p:cNvPr>
            <p:cNvSpPr/>
            <p:nvPr/>
          </p:nvSpPr>
          <p:spPr>
            <a:xfrm>
              <a:off x="6384701" y="4124945"/>
              <a:ext cx="1482188" cy="44413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a16="http://schemas.microsoft.com/office/drawing/2014/main" xmlns:a14="http://schemas.microsoft.com/office/drawing/2010/main" xmlns:ma14="http://schemas.microsoft.com/office/mac/drawingml/2011/main" xmlns:p14="http://schemas.microsoft.com/office/powerpoint/2010/main" xmlns:lc="http://schemas.openxmlformats.org/drawingml/2006/lockedCanvas" xmlns="" val="1"/>
              </a:ext>
            </a:extLst>
          </p:spPr>
          <p:txBody>
            <a:bodyPr wrap="none" lIns="91440" tIns="45720" rIns="91440" bIns="45720" anchor="ctr">
              <a:normAutofit/>
            </a:bodyPr>
            <a:lstStyle/>
            <a:p>
              <a:pPr algn="ctr">
                <a:lnSpc>
                  <a:spcPct val="130000"/>
                </a:lnSpc>
              </a:pPr>
              <a:r>
                <a:rPr lang="zh-CN" altLang="en-US" sz="1400" b="1" dirty="0">
                  <a:latin typeface=""/>
                  <a:ea typeface="微软雅黑" panose="020B0503020204020204" pitchFamily="34" charset="-122"/>
                  <a:sym typeface=""/>
                </a:rPr>
                <a:t>份额减少</a:t>
              </a:r>
              <a:endParaRPr lang="en-US" altLang="zh-CN" sz="1400" b="1" dirty="0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7" name="í$ḷïḑe">
              <a:extLst>
                <a:ext uri="{FF2B5EF4-FFF2-40B4-BE49-F238E27FC236}">
                  <a16:creationId xmlns:a16="http://schemas.microsoft.com/office/drawing/2014/main" id="{36F7B339-A93C-4F47-A6A5-1D1A02F39D54}"/>
                </a:ext>
              </a:extLst>
            </p:cNvPr>
            <p:cNvSpPr/>
            <p:nvPr/>
          </p:nvSpPr>
          <p:spPr>
            <a:xfrm>
              <a:off x="6108474" y="2430829"/>
              <a:ext cx="1469714" cy="44413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a16="http://schemas.microsoft.com/office/drawing/2014/main" xmlns:a14="http://schemas.microsoft.com/office/drawing/2010/main" xmlns:ma14="http://schemas.microsoft.com/office/mac/drawingml/2011/main" xmlns:p14="http://schemas.microsoft.com/office/powerpoint/2010/main" xmlns:lc="http://schemas.openxmlformats.org/drawingml/2006/lockedCanvas" xmlns="" val="1"/>
              </a:ext>
            </a:extLst>
          </p:spPr>
          <p:txBody>
            <a:bodyPr wrap="none" lIns="91440" tIns="45720" rIns="91440" bIns="45720" anchor="ctr">
              <a:normAutofit fontScale="77500" lnSpcReduction="20000"/>
            </a:bodyPr>
            <a:lstStyle/>
            <a:p>
              <a:pPr algn="ctr">
                <a:lnSpc>
                  <a:spcPct val="150000"/>
                </a:lnSpc>
              </a:pPr>
              <a:r>
                <a:rPr lang="zh-CN" altLang="en-US" sz="2400" b="1" dirty="0">
                  <a:latin typeface=""/>
                  <a:ea typeface="微软雅黑" panose="020B0503020204020204" pitchFamily="34" charset="-122"/>
                  <a:sym typeface=""/>
                </a:rPr>
                <a:t>男女装</a:t>
              </a:r>
              <a:endParaRPr lang="en-US" altLang="zh-CN" sz="2400" b="1" dirty="0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8" name="iSļiḋê">
              <a:extLst>
                <a:ext uri="{FF2B5EF4-FFF2-40B4-BE49-F238E27FC236}">
                  <a16:creationId xmlns:a16="http://schemas.microsoft.com/office/drawing/2014/main" id="{D7439D79-54F6-4FFB-AD05-B8D4E8DAF330}"/>
                </a:ext>
              </a:extLst>
            </p:cNvPr>
            <p:cNvSpPr txBox="1"/>
            <p:nvPr/>
          </p:nvSpPr>
          <p:spPr bwMode="auto">
            <a:xfrm>
              <a:off x="7984038" y="1668699"/>
              <a:ext cx="3534862" cy="1122126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/>
            <a:p>
              <a:pPr>
                <a:lnSpc>
                  <a:spcPct val="140000"/>
                </a:lnSpc>
              </a:pPr>
              <a:r>
                <a:rPr lang="zh-CN" altLang="en-US" sz="1300" dirty="0">
                  <a:latin typeface=""/>
                  <a:ea typeface="微软雅黑" panose="020B0503020204020204" pitchFamily="34" charset="-122"/>
                  <a:sym typeface=""/>
                </a:rPr>
                <a:t>份额变化（除女</a:t>
              </a:r>
              <a:r>
                <a:rPr lang="en-US" altLang="zh-CN" sz="1300" dirty="0">
                  <a:latin typeface=""/>
                  <a:ea typeface="微软雅黑" panose="020B0503020204020204" pitchFamily="34" charset="-122"/>
                  <a:sym typeface=""/>
                </a:rPr>
                <a:t>-</a:t>
              </a:r>
              <a:r>
                <a:rPr lang="zh-CN" altLang="en-US" sz="1300" dirty="0">
                  <a:latin typeface=""/>
                  <a:ea typeface="微软雅黑" panose="020B0503020204020204" pitchFamily="34" charset="-122"/>
                  <a:sym typeface=""/>
                </a:rPr>
                <a:t>打底裤外）主要受业态影响因素较多；主要影响秋装品类为：毛衫，休闲长裤，长</a:t>
              </a:r>
              <a:r>
                <a:rPr lang="en-US" altLang="zh-CN" sz="1300" dirty="0">
                  <a:latin typeface=""/>
                  <a:ea typeface="微软雅黑" panose="020B0503020204020204" pitchFamily="34" charset="-122"/>
                  <a:sym typeface=""/>
                </a:rPr>
                <a:t>T</a:t>
              </a:r>
              <a:r>
                <a:rPr lang="zh-CN" altLang="en-US" sz="1300" dirty="0">
                  <a:latin typeface=""/>
                  <a:ea typeface="微软雅黑" panose="020B0503020204020204" pitchFamily="34" charset="-122"/>
                  <a:sym typeface=""/>
                </a:rPr>
                <a:t>，长衬衫；</a:t>
              </a:r>
              <a:endParaRPr lang="en-US" altLang="zh-CN" sz="1100" dirty="0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9" name="í$ļiḍe">
              <a:extLst>
                <a:ext uri="{FF2B5EF4-FFF2-40B4-BE49-F238E27FC236}">
                  <a16:creationId xmlns:a16="http://schemas.microsoft.com/office/drawing/2014/main" id="{D5955243-07C2-4905-9B92-A83C7AE5BEDF}"/>
                </a:ext>
              </a:extLst>
            </p:cNvPr>
            <p:cNvSpPr txBox="1"/>
            <p:nvPr/>
          </p:nvSpPr>
          <p:spPr bwMode="auto">
            <a:xfrm>
              <a:off x="7984038" y="3909687"/>
              <a:ext cx="3534862" cy="1852938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/>
            <a:p>
              <a:pPr>
                <a:lnSpc>
                  <a:spcPct val="130000"/>
                </a:lnSpc>
              </a:pPr>
              <a:r>
                <a:rPr lang="zh-CN" altLang="en-US" sz="1300" dirty="0">
                  <a:latin typeface=""/>
                  <a:ea typeface="微软雅黑" panose="020B0503020204020204" pitchFamily="34" charset="-122"/>
                  <a:sym typeface=""/>
                </a:rPr>
                <a:t>份额减少部分</a:t>
              </a:r>
              <a:r>
                <a:rPr lang="en-US" altLang="zh-CN" sz="1300" dirty="0">
                  <a:latin typeface=""/>
                  <a:ea typeface="微软雅黑" panose="020B0503020204020204" pitchFamily="34" charset="-122"/>
                  <a:sym typeface=""/>
                </a:rPr>
                <a:t>,</a:t>
              </a:r>
              <a:r>
                <a:rPr lang="zh-CN" altLang="en-US" sz="1300" dirty="0">
                  <a:latin typeface=""/>
                  <a:ea typeface="微软雅黑" panose="020B0503020204020204" pitchFamily="34" charset="-122"/>
                  <a:sym typeface=""/>
                </a:rPr>
                <a:t>男衬，男长</a:t>
              </a:r>
              <a:r>
                <a:rPr lang="en-US" altLang="zh-CN" sz="1300" dirty="0">
                  <a:latin typeface=""/>
                  <a:ea typeface="微软雅黑" panose="020B0503020204020204" pitchFamily="34" charset="-122"/>
                  <a:sym typeface=""/>
                </a:rPr>
                <a:t>T</a:t>
              </a:r>
              <a:r>
                <a:rPr lang="zh-CN" altLang="en-US" sz="1300" dirty="0">
                  <a:latin typeface=""/>
                  <a:ea typeface="微软雅黑" panose="020B0503020204020204" pitchFamily="34" charset="-122"/>
                  <a:sym typeface=""/>
                </a:rPr>
                <a:t>，男毛衫份额减少；</a:t>
              </a:r>
              <a:endParaRPr lang="en-US" altLang="zh-CN" sz="1300" dirty="0">
                <a:latin typeface=""/>
                <a:ea typeface="微软雅黑" panose="020B0503020204020204" pitchFamily="34" charset="-122"/>
                <a:sym typeface=""/>
              </a:endParaRPr>
            </a:p>
            <a:p>
              <a:pPr>
                <a:lnSpc>
                  <a:spcPct val="130000"/>
                </a:lnSpc>
              </a:pPr>
              <a:r>
                <a:rPr lang="zh-CN" altLang="en-US" sz="1300" dirty="0">
                  <a:latin typeface=""/>
                  <a:ea typeface="微软雅黑" panose="020B0503020204020204" pitchFamily="34" charset="-122"/>
                  <a:sym typeface=""/>
                </a:rPr>
                <a:t>女衬，女</a:t>
              </a:r>
              <a:r>
                <a:rPr lang="en-US" altLang="zh-CN" sz="1300" dirty="0">
                  <a:latin typeface=""/>
                  <a:ea typeface="微软雅黑" panose="020B0503020204020204" pitchFamily="34" charset="-122"/>
                  <a:sym typeface=""/>
                </a:rPr>
                <a:t>T,</a:t>
              </a:r>
              <a:r>
                <a:rPr lang="zh-CN" altLang="en-US" sz="1300" dirty="0">
                  <a:latin typeface=""/>
                  <a:ea typeface="微软雅黑" panose="020B0503020204020204" pitchFamily="34" charset="-122"/>
                  <a:sym typeface=""/>
                </a:rPr>
                <a:t>女毛衫份额减少；</a:t>
              </a:r>
              <a:endParaRPr lang="en-US" altLang="zh-CN" sz="1100" dirty="0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0" name="iṣ1îďè">
              <a:extLst>
                <a:ext uri="{FF2B5EF4-FFF2-40B4-BE49-F238E27FC236}">
                  <a16:creationId xmlns:a16="http://schemas.microsoft.com/office/drawing/2014/main" id="{89A69D4F-04EF-42F8-9B7D-6CE7B2592B15}"/>
                </a:ext>
              </a:extLst>
            </p:cNvPr>
            <p:cNvSpPr txBox="1"/>
            <p:nvPr/>
          </p:nvSpPr>
          <p:spPr bwMode="auto">
            <a:xfrm>
              <a:off x="666750" y="2430829"/>
              <a:ext cx="3514120" cy="900668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/>
            <a:p>
              <a:pPr>
                <a:lnSpc>
                  <a:spcPct val="130000"/>
                </a:lnSpc>
              </a:pPr>
              <a:r>
                <a:rPr lang="zh-CN" altLang="en-US" sz="1300" dirty="0">
                  <a:latin typeface=""/>
                  <a:ea typeface="微软雅黑" panose="020B0503020204020204" pitchFamily="34" charset="-122"/>
                  <a:sym typeface=""/>
                </a:rPr>
                <a:t>      品类流行趋势对渠道的影响作用不同；主要表现为：业态这一渠道划分上；</a:t>
              </a:r>
              <a:endParaRPr lang="en-US" altLang="zh-CN" sz="1300" dirty="0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1" name="iṧľïdé">
              <a:extLst>
                <a:ext uri="{FF2B5EF4-FFF2-40B4-BE49-F238E27FC236}">
                  <a16:creationId xmlns:a16="http://schemas.microsoft.com/office/drawing/2014/main" id="{9838BC99-D614-4ADE-B2D5-F27BBB03E3CF}"/>
                </a:ext>
              </a:extLst>
            </p:cNvPr>
            <p:cNvSpPr txBox="1"/>
            <p:nvPr/>
          </p:nvSpPr>
          <p:spPr bwMode="auto">
            <a:xfrm>
              <a:off x="666750" y="4399848"/>
              <a:ext cx="3514120" cy="2343160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300" dirty="0">
                  <a:latin typeface=""/>
                  <a:ea typeface="微软雅黑" panose="020B0503020204020204" pitchFamily="34" charset="-122"/>
                  <a:sym typeface=""/>
                </a:rPr>
                <a:t>     份额增加部分</a:t>
              </a:r>
              <a:r>
                <a:rPr lang="zh-CN" altLang="en-US" sz="1300">
                  <a:latin typeface=""/>
                  <a:ea typeface="微软雅黑" panose="020B0503020204020204" pitchFamily="34" charset="-122"/>
                  <a:sym typeface=""/>
                </a:rPr>
                <a:t>，男便服，男茄</a:t>
              </a:r>
              <a:r>
                <a:rPr lang="zh-CN" altLang="en-US" sz="1300" dirty="0">
                  <a:latin typeface=""/>
                  <a:ea typeface="微软雅黑" panose="020B0503020204020204" pitchFamily="34" charset="-122"/>
                  <a:sym typeface=""/>
                </a:rPr>
                <a:t>克，男休闲长裤份额增加</a:t>
              </a:r>
              <a:r>
                <a:rPr lang="en-US" altLang="zh-CN" sz="1300" dirty="0">
                  <a:latin typeface=""/>
                  <a:ea typeface="微软雅黑" panose="020B0503020204020204" pitchFamily="34" charset="-122"/>
                  <a:sym typeface=""/>
                </a:rPr>
                <a:t> </a:t>
              </a:r>
              <a:r>
                <a:rPr lang="zh-CN" altLang="en-US" sz="1300" dirty="0">
                  <a:latin typeface=""/>
                  <a:ea typeface="微软雅黑" panose="020B0503020204020204" pitchFamily="34" charset="-122"/>
                  <a:sym typeface=""/>
                </a:rPr>
                <a:t>；女裙，女休闲长裤，女风衣，女打底裤份额增加；</a:t>
              </a:r>
              <a:endParaRPr lang="en-US" altLang="zh-CN" sz="1300" dirty="0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6553496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7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"/>
              <a:ea typeface="微软雅黑" panose="020B0503020204020204" pitchFamily="34" charset="-122"/>
              <a:cs typeface="+mj-cs"/>
              <a:sym typeface="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304801" y="736758"/>
            <a:ext cx="5270038" cy="2692242"/>
          </a:xfrm>
          <a:noFill/>
        </p:spPr>
        <p:txBody>
          <a:bodyPr>
            <a:normAutofit/>
          </a:bodyPr>
          <a:lstStyle/>
          <a:p>
            <a:pPr algn="l">
              <a:lnSpc>
                <a:spcPct val="130000"/>
              </a:lnSpc>
            </a:pPr>
            <a:r>
              <a:rPr lang="en-US" altLang="zh-CN" sz="4800" dirty="0">
                <a:latin typeface=""/>
                <a:ea typeface="微软雅黑" panose="020B0503020204020204" pitchFamily="34" charset="-122"/>
                <a:sym typeface=""/>
              </a:rPr>
              <a:t>20</a:t>
            </a:r>
            <a:r>
              <a:rPr lang="zh-CN" altLang="en-US" sz="4800" dirty="0">
                <a:latin typeface=""/>
                <a:ea typeface="微软雅黑" panose="020B0503020204020204" pitchFamily="34" charset="-122"/>
                <a:sym typeface=""/>
              </a:rPr>
              <a:t>秋品类结构预估</a:t>
            </a: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432587" y="3782902"/>
            <a:ext cx="3320263" cy="483287"/>
          </a:xfrm>
        </p:spPr>
        <p:txBody>
          <a:bodyPr>
            <a:normAutofit/>
          </a:bodyPr>
          <a:lstStyle/>
          <a:p>
            <a:pPr algn="l">
              <a:lnSpc>
                <a:spcPct val="130000"/>
              </a:lnSpc>
              <a:spcBef>
                <a:spcPts val="0"/>
              </a:spcBef>
            </a:pPr>
            <a:r>
              <a:rPr lang="en-US" altLang="zh-CN" sz="1400" dirty="0">
                <a:latin typeface=""/>
                <a:ea typeface="微软雅黑" panose="020B0503020204020204" pitchFamily="34" charset="-122"/>
                <a:sym typeface=""/>
              </a:rPr>
              <a:t>2019.07.22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432587" y="3004306"/>
            <a:ext cx="5844995" cy="577093"/>
          </a:xfrm>
        </p:spPr>
        <p:txBody>
          <a:bodyPr/>
          <a:lstStyle/>
          <a:p>
            <a:pPr algn="l">
              <a:lnSpc>
                <a:spcPct val="130000"/>
              </a:lnSpc>
              <a:spcBef>
                <a:spcPts val="0"/>
              </a:spcBef>
            </a:pPr>
            <a:r>
              <a:rPr lang="zh-CN" altLang="en-US" b="1" u="none" dirty="0">
                <a:solidFill>
                  <a:schemeClr val="bg1"/>
                </a:solidFill>
                <a:latin typeface=""/>
                <a:ea typeface="微软雅黑" panose="020B0503020204020204" pitchFamily="34" charset="-122"/>
                <a:sym typeface=""/>
              </a:rPr>
              <a:t>基于渠道变更的影响因素          </a:t>
            </a:r>
            <a:endParaRPr lang="en-US" altLang="zh-CN" b="1" u="none" dirty="0">
              <a:solidFill>
                <a:schemeClr val="bg1"/>
              </a:solidFill>
              <a:latin typeface=""/>
              <a:ea typeface="微软雅黑" panose="020B0503020204020204" pitchFamily="34" charset="-122"/>
              <a:sym typeface=""/>
            </a:endParaRPr>
          </a:p>
          <a:p>
            <a:pPr algn="l">
              <a:lnSpc>
                <a:spcPct val="130000"/>
              </a:lnSpc>
              <a:spcBef>
                <a:spcPts val="0"/>
              </a:spcBef>
            </a:pPr>
            <a:r>
              <a:rPr lang="zh-CN" altLang="en-US" b="1" u="none" dirty="0">
                <a:latin typeface=""/>
                <a:ea typeface="微软雅黑" panose="020B0503020204020204" pitchFamily="34" charset="-122"/>
                <a:sym typeface=""/>
              </a:rPr>
              <a:t>大数据项目组    张欢欢</a:t>
            </a:r>
            <a:endParaRPr lang="en-US" altLang="zh-CN" b="1" u="none" dirty="0">
              <a:solidFill>
                <a:schemeClr val="bg1"/>
              </a:solidFill>
              <a:latin typeface=""/>
              <a:ea typeface="微软雅黑" panose="020B0503020204020204" pitchFamily="34" charset="-122"/>
              <a:sym typeface="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3518687" y="5394305"/>
            <a:ext cx="5844996" cy="296392"/>
          </a:xfrm>
        </p:spPr>
        <p:txBody>
          <a:bodyPr/>
          <a:lstStyle/>
          <a:p>
            <a:pPr algn="l">
              <a:lnSpc>
                <a:spcPct val="130000"/>
              </a:lnSpc>
              <a:spcBef>
                <a:spcPts val="0"/>
              </a:spcBef>
            </a:pPr>
            <a:r>
              <a:rPr lang="en-US" altLang="zh-CN" u="none" dirty="0">
                <a:solidFill>
                  <a:schemeClr val="bg1"/>
                </a:solidFill>
                <a:latin typeface=""/>
                <a:ea typeface="微软雅黑" panose="020B0503020204020204" pitchFamily="34" charset="-122"/>
                <a:sym typeface=""/>
              </a:rPr>
              <a:t>www.</a:t>
            </a:r>
            <a:r>
              <a:rPr lang="en-US" altLang="zh-CN" u="none" dirty="0">
                <a:latin typeface=""/>
                <a:ea typeface="微软雅黑" panose="020B0503020204020204" pitchFamily="34" charset="-122"/>
                <a:sym typeface=""/>
              </a:rPr>
              <a:t>semir</a:t>
            </a:r>
            <a:r>
              <a:rPr lang="en-US" altLang="zh-CN" u="none" dirty="0">
                <a:solidFill>
                  <a:schemeClr val="bg1"/>
                </a:solidFill>
                <a:latin typeface=""/>
                <a:ea typeface="微软雅黑" panose="020B0503020204020204" pitchFamily="34" charset="-122"/>
                <a:sym typeface=""/>
              </a:rPr>
              <a:t>.pro</a:t>
            </a:r>
            <a:endParaRPr lang="en-US" altLang="en-US" u="none" dirty="0">
              <a:solidFill>
                <a:schemeClr val="bg1"/>
              </a:solidFill>
              <a:latin typeface=""/>
              <a:ea typeface="微软雅黑" panose="020B0503020204020204" pitchFamily="34" charset="-122"/>
              <a:sym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56461736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9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"/>
              <a:ea typeface="微软雅黑" panose="020B0503020204020204" pitchFamily="34" charset="-122"/>
              <a:cs typeface="+mj-cs"/>
              <a:sym typeface="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>
          <a:xfrm>
            <a:off x="7199839" y="4252822"/>
            <a:ext cx="3808347" cy="310871"/>
          </a:xfrm>
        </p:spPr>
        <p:txBody>
          <a:bodyPr>
            <a:noAutofit/>
          </a:bodyPr>
          <a:lstStyle/>
          <a:p>
            <a:pPr algn="r">
              <a:lnSpc>
                <a:spcPct val="130000"/>
              </a:lnSpc>
              <a:spcBef>
                <a:spcPts val="0"/>
              </a:spcBef>
            </a:pPr>
            <a:r>
              <a:rPr lang="en-US" altLang="zh-CN" sz="1800" dirty="0">
                <a:solidFill>
                  <a:schemeClr val="accent3"/>
                </a:solidFill>
                <a:latin typeface=""/>
                <a:ea typeface="微软雅黑" panose="020B0503020204020204" pitchFamily="34" charset="-122"/>
                <a:sym typeface=""/>
              </a:rPr>
              <a:t>www.</a:t>
            </a:r>
            <a:r>
              <a:rPr lang="en-US" altLang="zh-CN" sz="1800" dirty="0">
                <a:latin typeface=""/>
                <a:ea typeface="微软雅黑" panose="020B0503020204020204" pitchFamily="34" charset="-122"/>
                <a:sym typeface=""/>
              </a:rPr>
              <a:t>semir</a:t>
            </a:r>
            <a:r>
              <a:rPr lang="en-US" altLang="zh-CN" sz="1800" dirty="0">
                <a:solidFill>
                  <a:schemeClr val="accent3"/>
                </a:solidFill>
                <a:latin typeface=""/>
                <a:ea typeface="微软雅黑" panose="020B0503020204020204" pitchFamily="34" charset="-122"/>
                <a:sym typeface=""/>
              </a:rPr>
              <a:t>.pro</a:t>
            </a:r>
            <a:endParaRPr lang="en-US" altLang="en-US" sz="1800" dirty="0">
              <a:solidFill>
                <a:schemeClr val="accent3"/>
              </a:solidFill>
              <a:latin typeface=""/>
              <a:ea typeface="微软雅黑" panose="020B0503020204020204" pitchFamily="34" charset="-122"/>
              <a:sym typeface=""/>
            </a:endParaRPr>
          </a:p>
        </p:txBody>
      </p:sp>
      <p:sp>
        <p:nvSpPr>
          <p:cNvPr id="11" name="标题 10">
            <a:extLst>
              <a:ext uri="{FF2B5EF4-FFF2-40B4-BE49-F238E27FC236}">
                <a16:creationId xmlns:a16="http://schemas.microsoft.com/office/drawing/2014/main" id="{70A5D87E-BB0B-4979-8BE2-20719E440B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39898" y="1308699"/>
            <a:ext cx="5068288" cy="2140857"/>
          </a:xfrm>
        </p:spPr>
        <p:txBody>
          <a:bodyPr>
            <a:normAutofit fontScale="90000"/>
          </a:bodyPr>
          <a:lstStyle/>
          <a:p>
            <a:pPr algn="r">
              <a:lnSpc>
                <a:spcPct val="130000"/>
              </a:lnSpc>
            </a:pPr>
            <a:r>
              <a:rPr lang="en-US" altLang="zh-CN" sz="8000" dirty="0">
                <a:solidFill>
                  <a:schemeClr val="accent3"/>
                </a:solidFill>
                <a:latin typeface=""/>
                <a:ea typeface="微软雅黑" panose="020B0503020204020204" pitchFamily="34" charset="-122"/>
                <a:sym typeface=""/>
              </a:rPr>
              <a:t>Thanks</a:t>
            </a:r>
            <a:r>
              <a:rPr lang="en-US" altLang="zh-CN" dirty="0">
                <a:solidFill>
                  <a:schemeClr val="accent3"/>
                </a:solidFill>
                <a:latin typeface=""/>
                <a:ea typeface="微软雅黑" panose="020B0503020204020204" pitchFamily="34" charset="-122"/>
                <a:sym typeface=""/>
              </a:rPr>
              <a:t> </a:t>
            </a:r>
            <a:br>
              <a:rPr lang="en-US" altLang="zh-CN" dirty="0">
                <a:solidFill>
                  <a:schemeClr val="accent3"/>
                </a:solidFill>
                <a:latin typeface=""/>
                <a:ea typeface="微软雅黑" panose="020B0503020204020204" pitchFamily="34" charset="-122"/>
                <a:sym typeface=""/>
              </a:rPr>
            </a:br>
            <a:endParaRPr lang="zh-CN" altLang="en-US" b="0" dirty="0">
              <a:solidFill>
                <a:schemeClr val="accent3"/>
              </a:solidFill>
              <a:latin typeface=""/>
              <a:ea typeface="微软雅黑" panose="020B0503020204020204" pitchFamily="34" charset="-122"/>
              <a:sym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r>
              <a:rPr lang="zh-CN" altLang="en-US" dirty="0">
                <a:latin typeface=""/>
                <a:ea typeface="微软雅黑" panose="020B0503020204020204" pitchFamily="34" charset="-122"/>
                <a:sym typeface=""/>
              </a:rPr>
              <a:t>影响因素变化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fld id="{5DD3DB80-B894-403A-B48E-6FDC1A72010E}" type="slidenum">
              <a:rPr lang="zh-CN" altLang="en-US" smtClean="0">
                <a:latin typeface=""/>
                <a:ea typeface="微软雅黑" panose="020B0503020204020204" pitchFamily="34" charset="-122"/>
                <a:sym typeface=""/>
              </a:rPr>
              <a:pPr>
                <a:lnSpc>
                  <a:spcPct val="130000"/>
                </a:lnSpc>
              </a:pPr>
              <a:t>22</a:t>
            </a:fld>
            <a:endParaRPr lang="zh-CN" altLang="en-US">
              <a:latin typeface=""/>
              <a:ea typeface="微软雅黑" panose="020B0503020204020204" pitchFamily="34" charset="-122"/>
              <a:sym typeface=""/>
            </a:endParaRPr>
          </a:p>
        </p:txBody>
      </p:sp>
      <p:grpSp>
        <p:nvGrpSpPr>
          <p:cNvPr id="9" name="44e5106d-e551-42dc-be5a-1f8da4653f86" descr="9BYAAB+LCAAAAAAABADlmMGO2jAQht/FbW9oFWIDITcCpUVVu6uC2kPFwU0McZs4KDEruivefW2Igw2Bek8tQVxgPOP5//HoO/AM3vI/KwJ8ME1xzkcUL3OcTjhJQQtMIuCzdZK0QEBZRNnyQ56tVwXwfzxXZfrJd8rjbzhZE1nLKKc42f/0T/JV2mfKaLpOyzTnzhEhvNFCbWcfpFGUED1twjjJH6sObRnbfZ/yXDQYZ3mKuWj47GzfgfII+Kh352xlcUQ2oqgFZntZSk8pTw6g1qc8kDYfsoLTjB0qHrCYGxGSasweFR1ShSyScxriZJDQJUsJk4qDjPNMzv9jltOnjHHzWPgjPIzF+SdCVuUAp/RJNFzgpCBqDDFekS+ikXK3C7RF2VeSYE4fjQwj1gbbyleVJMdxnNYybp5X0zxMR3gVqo0hb1tnBzQjG/66kcoKfZ51j3/OzE6OvECXXkqo0z2vUV7t/TBLsvzve6/STs7vFwsakllMUqJyZpTxAYuE6EgtfZDTZcwZKYoycP/zFwm5VuZ3ZNa6iMWdb8bjYAi7qA+UPWdbt/yqoe3yH+XbvNOuRH8o4bcgfBCGYsyl8r2hXfzEp5J/6SnNpQxw+Ft/WCXaeNl98MJG/jOr7qu29pK5i2v7n+O64+m4dm8O164Nrl07XLsGrt3rxbXbJFz3DFzDdq/njWpx7TYS166Oa7fJuLY1d8247nV0XMObwzW0wTW0wzU0cA2vF9ewSbj2DFyPukPPC2pxDRuJa6jjGjYZ17bmrhnXXl/HNbo5XCMbXCM7XCMD1+h6cY2ahOv+Ea6778/8GYIaiWuk4xo1Gde25ubi8wKF2MCJ9BYAAA==">
            <a:extLst>
              <a:ext uri="{FF2B5EF4-FFF2-40B4-BE49-F238E27FC236}">
                <a16:creationId xmlns:a16="http://schemas.microsoft.com/office/drawing/2014/main" id="{4EC40521-A829-413D-9486-39A28FC87B67}"/>
              </a:ext>
            </a:extLst>
          </p:cNvPr>
          <p:cNvGrpSpPr>
            <a:grpSpLocks noChangeAspect="1"/>
          </p:cNvGrpSpPr>
          <p:nvPr/>
        </p:nvGrpSpPr>
        <p:grpSpPr>
          <a:xfrm>
            <a:off x="669924" y="1285692"/>
            <a:ext cx="5494902" cy="4542539"/>
            <a:chOff x="3261032" y="1080112"/>
            <a:chExt cx="5669936" cy="4000488"/>
          </a:xfrm>
        </p:grpSpPr>
        <p:sp>
          <p:nvSpPr>
            <p:cNvPr id="10" name="ExtraShape1">
              <a:extLst>
                <a:ext uri="{FF2B5EF4-FFF2-40B4-BE49-F238E27FC236}">
                  <a16:creationId xmlns:a16="http://schemas.microsoft.com/office/drawing/2014/main" id="{AD15EE27-6A0E-4C80-8F2B-A501EC09BC3B}"/>
                </a:ext>
              </a:extLst>
            </p:cNvPr>
            <p:cNvSpPr/>
            <p:nvPr/>
          </p:nvSpPr>
          <p:spPr bwMode="auto">
            <a:xfrm flipH="1">
              <a:off x="3547750" y="4793882"/>
              <a:ext cx="426201" cy="286718"/>
            </a:xfrm>
            <a:custGeom>
              <a:avLst/>
              <a:gdLst>
                <a:gd name="T0" fmla="*/ 121 w 121"/>
                <a:gd name="T1" fmla="*/ 42 h 82"/>
                <a:gd name="T2" fmla="*/ 43 w 121"/>
                <a:gd name="T3" fmla="*/ 82 h 82"/>
                <a:gd name="T4" fmla="*/ 35 w 121"/>
                <a:gd name="T5" fmla="*/ 43 h 82"/>
                <a:gd name="T6" fmla="*/ 46 w 121"/>
                <a:gd name="T7" fmla="*/ 42 h 82"/>
                <a:gd name="T8" fmla="*/ 64 w 121"/>
                <a:gd name="T9" fmla="*/ 26 h 82"/>
                <a:gd name="T10" fmla="*/ 81 w 121"/>
                <a:gd name="T11" fmla="*/ 11 h 82"/>
                <a:gd name="T12" fmla="*/ 86 w 121"/>
                <a:gd name="T13" fmla="*/ 1 h 82"/>
                <a:gd name="T14" fmla="*/ 114 w 121"/>
                <a:gd name="T15" fmla="*/ 0 h 82"/>
                <a:gd name="T16" fmla="*/ 117 w 121"/>
                <a:gd name="T17" fmla="*/ 27 h 82"/>
                <a:gd name="T18" fmla="*/ 117 w 121"/>
                <a:gd name="T19" fmla="*/ 33 h 82"/>
                <a:gd name="T20" fmla="*/ 121 w 121"/>
                <a:gd name="T21" fmla="*/ 4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1" h="82">
                  <a:moveTo>
                    <a:pt x="121" y="42"/>
                  </a:moveTo>
                  <a:cubicBezTo>
                    <a:pt x="102" y="66"/>
                    <a:pt x="73" y="81"/>
                    <a:pt x="43" y="82"/>
                  </a:cubicBezTo>
                  <a:cubicBezTo>
                    <a:pt x="0" y="82"/>
                    <a:pt x="21" y="43"/>
                    <a:pt x="35" y="43"/>
                  </a:cubicBezTo>
                  <a:cubicBezTo>
                    <a:pt x="39" y="43"/>
                    <a:pt x="43" y="42"/>
                    <a:pt x="46" y="42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81" y="11"/>
                    <a:pt x="81" y="11"/>
                    <a:pt x="81" y="11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86" y="1"/>
                    <a:pt x="110" y="7"/>
                    <a:pt x="114" y="0"/>
                  </a:cubicBezTo>
                  <a:cubicBezTo>
                    <a:pt x="117" y="27"/>
                    <a:pt x="117" y="27"/>
                    <a:pt x="117" y="27"/>
                  </a:cubicBezTo>
                  <a:cubicBezTo>
                    <a:pt x="117" y="33"/>
                    <a:pt x="117" y="33"/>
                    <a:pt x="117" y="33"/>
                  </a:cubicBezTo>
                  <a:cubicBezTo>
                    <a:pt x="119" y="35"/>
                    <a:pt x="120" y="38"/>
                    <a:pt x="121" y="42"/>
                  </a:cubicBez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1" name="ExtraShape2">
              <a:extLst>
                <a:ext uri="{FF2B5EF4-FFF2-40B4-BE49-F238E27FC236}">
                  <a16:creationId xmlns:a16="http://schemas.microsoft.com/office/drawing/2014/main" id="{C40336B1-9B84-4677-B2E1-EB777CB48192}"/>
                </a:ext>
              </a:extLst>
            </p:cNvPr>
            <p:cNvSpPr/>
            <p:nvPr/>
          </p:nvSpPr>
          <p:spPr bwMode="auto">
            <a:xfrm flipH="1">
              <a:off x="3913896" y="4786133"/>
              <a:ext cx="441700" cy="246036"/>
            </a:xfrm>
            <a:custGeom>
              <a:avLst/>
              <a:gdLst>
                <a:gd name="T0" fmla="*/ 126 w 126"/>
                <a:gd name="T1" fmla="*/ 42 h 70"/>
                <a:gd name="T2" fmla="*/ 42 w 126"/>
                <a:gd name="T3" fmla="*/ 70 h 70"/>
                <a:gd name="T4" fmla="*/ 34 w 126"/>
                <a:gd name="T5" fmla="*/ 30 h 70"/>
                <a:gd name="T6" fmla="*/ 48 w 126"/>
                <a:gd name="T7" fmla="*/ 30 h 70"/>
                <a:gd name="T8" fmla="*/ 56 w 126"/>
                <a:gd name="T9" fmla="*/ 26 h 70"/>
                <a:gd name="T10" fmla="*/ 86 w 126"/>
                <a:gd name="T11" fmla="*/ 11 h 70"/>
                <a:gd name="T12" fmla="*/ 91 w 126"/>
                <a:gd name="T13" fmla="*/ 1 h 70"/>
                <a:gd name="T14" fmla="*/ 119 w 126"/>
                <a:gd name="T15" fmla="*/ 0 h 70"/>
                <a:gd name="T16" fmla="*/ 122 w 126"/>
                <a:gd name="T17" fmla="*/ 27 h 70"/>
                <a:gd name="T18" fmla="*/ 122 w 126"/>
                <a:gd name="T19" fmla="*/ 32 h 70"/>
                <a:gd name="T20" fmla="*/ 126 w 126"/>
                <a:gd name="T21" fmla="*/ 4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6" h="70">
                  <a:moveTo>
                    <a:pt x="126" y="42"/>
                  </a:moveTo>
                  <a:cubicBezTo>
                    <a:pt x="126" y="46"/>
                    <a:pt x="83" y="70"/>
                    <a:pt x="42" y="70"/>
                  </a:cubicBezTo>
                  <a:cubicBezTo>
                    <a:pt x="0" y="70"/>
                    <a:pt x="20" y="30"/>
                    <a:pt x="34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86" y="11"/>
                    <a:pt x="86" y="11"/>
                    <a:pt x="86" y="11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91" y="1"/>
                    <a:pt x="115" y="6"/>
                    <a:pt x="119" y="0"/>
                  </a:cubicBezTo>
                  <a:cubicBezTo>
                    <a:pt x="122" y="27"/>
                    <a:pt x="122" y="27"/>
                    <a:pt x="122" y="27"/>
                  </a:cubicBezTo>
                  <a:cubicBezTo>
                    <a:pt x="122" y="32"/>
                    <a:pt x="122" y="32"/>
                    <a:pt x="122" y="32"/>
                  </a:cubicBezTo>
                  <a:cubicBezTo>
                    <a:pt x="124" y="35"/>
                    <a:pt x="125" y="38"/>
                    <a:pt x="126" y="42"/>
                  </a:cubicBez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2" name="ExtraShape3">
              <a:extLst>
                <a:ext uri="{FF2B5EF4-FFF2-40B4-BE49-F238E27FC236}">
                  <a16:creationId xmlns:a16="http://schemas.microsoft.com/office/drawing/2014/main" id="{5AEFF0BB-A3CC-4694-AAC3-C53E04B0FFEB}"/>
                </a:ext>
              </a:extLst>
            </p:cNvPr>
            <p:cNvSpPr/>
            <p:nvPr/>
          </p:nvSpPr>
          <p:spPr bwMode="auto">
            <a:xfrm flipH="1">
              <a:off x="3917771" y="4877183"/>
              <a:ext cx="441700" cy="154982"/>
            </a:xfrm>
            <a:custGeom>
              <a:avLst/>
              <a:gdLst>
                <a:gd name="T0" fmla="*/ 124 w 126"/>
                <a:gd name="T1" fmla="*/ 6 h 44"/>
                <a:gd name="T2" fmla="*/ 126 w 126"/>
                <a:gd name="T3" fmla="*/ 16 h 44"/>
                <a:gd name="T4" fmla="*/ 42 w 126"/>
                <a:gd name="T5" fmla="*/ 44 h 44"/>
                <a:gd name="T6" fmla="*/ 34 w 126"/>
                <a:gd name="T7" fmla="*/ 4 h 44"/>
                <a:gd name="T8" fmla="*/ 48 w 126"/>
                <a:gd name="T9" fmla="*/ 4 h 44"/>
                <a:gd name="T10" fmla="*/ 56 w 126"/>
                <a:gd name="T11" fmla="*/ 0 h 44"/>
                <a:gd name="T12" fmla="*/ 123 w 126"/>
                <a:gd name="T13" fmla="*/ 1 h 44"/>
                <a:gd name="T14" fmla="*/ 124 w 126"/>
                <a:gd name="T15" fmla="*/ 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6" h="44">
                  <a:moveTo>
                    <a:pt x="124" y="6"/>
                  </a:moveTo>
                  <a:cubicBezTo>
                    <a:pt x="125" y="9"/>
                    <a:pt x="126" y="12"/>
                    <a:pt x="126" y="16"/>
                  </a:cubicBezTo>
                  <a:cubicBezTo>
                    <a:pt x="126" y="20"/>
                    <a:pt x="83" y="44"/>
                    <a:pt x="42" y="44"/>
                  </a:cubicBezTo>
                  <a:cubicBezTo>
                    <a:pt x="0" y="44"/>
                    <a:pt x="20" y="4"/>
                    <a:pt x="34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123" y="1"/>
                    <a:pt x="123" y="1"/>
                    <a:pt x="123" y="1"/>
                  </a:cubicBezTo>
                  <a:lnTo>
                    <a:pt x="124" y="6"/>
                  </a:ln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3" name="ExtraShape4">
              <a:extLst>
                <a:ext uri="{FF2B5EF4-FFF2-40B4-BE49-F238E27FC236}">
                  <a16:creationId xmlns:a16="http://schemas.microsoft.com/office/drawing/2014/main" id="{167754B9-6A1B-424D-9AD7-BF6082CAA786}"/>
                </a:ext>
              </a:extLst>
            </p:cNvPr>
            <p:cNvSpPr/>
            <p:nvPr/>
          </p:nvSpPr>
          <p:spPr bwMode="auto">
            <a:xfrm flipH="1">
              <a:off x="4090189" y="4877183"/>
              <a:ext cx="191791" cy="108488"/>
            </a:xfrm>
            <a:custGeom>
              <a:avLst/>
              <a:gdLst>
                <a:gd name="T0" fmla="*/ 43 w 55"/>
                <a:gd name="T1" fmla="*/ 29 h 31"/>
                <a:gd name="T2" fmla="*/ 12 w 55"/>
                <a:gd name="T3" fmla="*/ 29 h 31"/>
                <a:gd name="T4" fmla="*/ 0 w 55"/>
                <a:gd name="T5" fmla="*/ 16 h 31"/>
                <a:gd name="T6" fmla="*/ 28 w 55"/>
                <a:gd name="T7" fmla="*/ 6 h 31"/>
                <a:gd name="T8" fmla="*/ 55 w 55"/>
                <a:gd name="T9" fmla="*/ 23 h 31"/>
                <a:gd name="T10" fmla="*/ 43 w 55"/>
                <a:gd name="T11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5" h="31">
                  <a:moveTo>
                    <a:pt x="43" y="29"/>
                  </a:moveTo>
                  <a:cubicBezTo>
                    <a:pt x="33" y="31"/>
                    <a:pt x="22" y="31"/>
                    <a:pt x="12" y="29"/>
                  </a:cubicBezTo>
                  <a:cubicBezTo>
                    <a:pt x="3" y="24"/>
                    <a:pt x="0" y="20"/>
                    <a:pt x="0" y="16"/>
                  </a:cubicBezTo>
                  <a:cubicBezTo>
                    <a:pt x="0" y="12"/>
                    <a:pt x="6" y="0"/>
                    <a:pt x="28" y="6"/>
                  </a:cubicBezTo>
                  <a:cubicBezTo>
                    <a:pt x="51" y="11"/>
                    <a:pt x="55" y="23"/>
                    <a:pt x="55" y="23"/>
                  </a:cubicBezTo>
                  <a:lnTo>
                    <a:pt x="43" y="29"/>
                  </a:ln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4" name="ExtraShape5">
              <a:extLst>
                <a:ext uri="{FF2B5EF4-FFF2-40B4-BE49-F238E27FC236}">
                  <a16:creationId xmlns:a16="http://schemas.microsoft.com/office/drawing/2014/main" id="{20B81D85-6BB4-4A4B-8A0E-CBF1A24A0AB1}"/>
                </a:ext>
              </a:extLst>
            </p:cNvPr>
            <p:cNvSpPr/>
            <p:nvPr/>
          </p:nvSpPr>
          <p:spPr bwMode="auto">
            <a:xfrm flipH="1">
              <a:off x="3547750" y="4884933"/>
              <a:ext cx="426201" cy="195666"/>
            </a:xfrm>
            <a:custGeom>
              <a:avLst/>
              <a:gdLst>
                <a:gd name="T0" fmla="*/ 121 w 121"/>
                <a:gd name="T1" fmla="*/ 16 h 56"/>
                <a:gd name="T2" fmla="*/ 43 w 121"/>
                <a:gd name="T3" fmla="*/ 56 h 56"/>
                <a:gd name="T4" fmla="*/ 35 w 121"/>
                <a:gd name="T5" fmla="*/ 17 h 56"/>
                <a:gd name="T6" fmla="*/ 46 w 121"/>
                <a:gd name="T7" fmla="*/ 16 h 56"/>
                <a:gd name="T8" fmla="*/ 64 w 121"/>
                <a:gd name="T9" fmla="*/ 0 h 56"/>
                <a:gd name="T10" fmla="*/ 117 w 121"/>
                <a:gd name="T11" fmla="*/ 1 h 56"/>
                <a:gd name="T12" fmla="*/ 117 w 121"/>
                <a:gd name="T13" fmla="*/ 7 h 56"/>
                <a:gd name="T14" fmla="*/ 121 w 121"/>
                <a:gd name="T15" fmla="*/ 1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1" h="56">
                  <a:moveTo>
                    <a:pt x="121" y="16"/>
                  </a:moveTo>
                  <a:cubicBezTo>
                    <a:pt x="102" y="40"/>
                    <a:pt x="73" y="55"/>
                    <a:pt x="43" y="56"/>
                  </a:cubicBezTo>
                  <a:cubicBezTo>
                    <a:pt x="0" y="56"/>
                    <a:pt x="21" y="17"/>
                    <a:pt x="35" y="17"/>
                  </a:cubicBezTo>
                  <a:cubicBezTo>
                    <a:pt x="39" y="17"/>
                    <a:pt x="43" y="16"/>
                    <a:pt x="46" y="16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7" y="7"/>
                    <a:pt x="117" y="7"/>
                    <a:pt x="117" y="7"/>
                  </a:cubicBezTo>
                  <a:cubicBezTo>
                    <a:pt x="119" y="9"/>
                    <a:pt x="120" y="12"/>
                    <a:pt x="121" y="16"/>
                  </a:cubicBez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5" name="ExtraShape6">
              <a:extLst>
                <a:ext uri="{FF2B5EF4-FFF2-40B4-BE49-F238E27FC236}">
                  <a16:creationId xmlns:a16="http://schemas.microsoft.com/office/drawing/2014/main" id="{AB9BC497-7EFD-4D0F-BDBF-BB2FD63A3991}"/>
                </a:ext>
              </a:extLst>
            </p:cNvPr>
            <p:cNvSpPr/>
            <p:nvPr/>
          </p:nvSpPr>
          <p:spPr bwMode="auto">
            <a:xfrm flipH="1">
              <a:off x="3698857" y="4923679"/>
              <a:ext cx="193728" cy="108488"/>
            </a:xfrm>
            <a:custGeom>
              <a:avLst/>
              <a:gdLst>
                <a:gd name="T0" fmla="*/ 43 w 55"/>
                <a:gd name="T1" fmla="*/ 28 h 31"/>
                <a:gd name="T2" fmla="*/ 12 w 55"/>
                <a:gd name="T3" fmla="*/ 28 h 31"/>
                <a:gd name="T4" fmla="*/ 0 w 55"/>
                <a:gd name="T5" fmla="*/ 15 h 31"/>
                <a:gd name="T6" fmla="*/ 28 w 55"/>
                <a:gd name="T7" fmla="*/ 5 h 31"/>
                <a:gd name="T8" fmla="*/ 55 w 55"/>
                <a:gd name="T9" fmla="*/ 22 h 31"/>
                <a:gd name="T10" fmla="*/ 43 w 55"/>
                <a:gd name="T11" fmla="*/ 2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5" h="31">
                  <a:moveTo>
                    <a:pt x="43" y="28"/>
                  </a:moveTo>
                  <a:cubicBezTo>
                    <a:pt x="33" y="31"/>
                    <a:pt x="22" y="31"/>
                    <a:pt x="12" y="28"/>
                  </a:cubicBezTo>
                  <a:cubicBezTo>
                    <a:pt x="3" y="23"/>
                    <a:pt x="0" y="19"/>
                    <a:pt x="0" y="15"/>
                  </a:cubicBezTo>
                  <a:cubicBezTo>
                    <a:pt x="1" y="11"/>
                    <a:pt x="6" y="0"/>
                    <a:pt x="28" y="5"/>
                  </a:cubicBezTo>
                  <a:cubicBezTo>
                    <a:pt x="51" y="11"/>
                    <a:pt x="55" y="22"/>
                    <a:pt x="55" y="22"/>
                  </a:cubicBezTo>
                  <a:lnTo>
                    <a:pt x="43" y="28"/>
                  </a:ln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6" name="ExtraShape7">
              <a:extLst>
                <a:ext uri="{FF2B5EF4-FFF2-40B4-BE49-F238E27FC236}">
                  <a16:creationId xmlns:a16="http://schemas.microsoft.com/office/drawing/2014/main" id="{17D2E80A-BC55-4ECA-92A1-5D0ED1C657C4}"/>
                </a:ext>
              </a:extLst>
            </p:cNvPr>
            <p:cNvSpPr/>
            <p:nvPr/>
          </p:nvSpPr>
          <p:spPr bwMode="auto">
            <a:xfrm flipH="1">
              <a:off x="3495442" y="3307986"/>
              <a:ext cx="724543" cy="1542075"/>
            </a:xfrm>
            <a:custGeom>
              <a:avLst/>
              <a:gdLst>
                <a:gd name="T0" fmla="*/ 0 w 206"/>
                <a:gd name="T1" fmla="*/ 2 h 439"/>
                <a:gd name="T2" fmla="*/ 42 w 206"/>
                <a:gd name="T3" fmla="*/ 421 h 439"/>
                <a:gd name="T4" fmla="*/ 83 w 206"/>
                <a:gd name="T5" fmla="*/ 421 h 439"/>
                <a:gd name="T6" fmla="*/ 100 w 206"/>
                <a:gd name="T7" fmla="*/ 91 h 439"/>
                <a:gd name="T8" fmla="*/ 150 w 206"/>
                <a:gd name="T9" fmla="*/ 424 h 439"/>
                <a:gd name="T10" fmla="*/ 187 w 206"/>
                <a:gd name="T11" fmla="*/ 422 h 439"/>
                <a:gd name="T12" fmla="*/ 206 w 206"/>
                <a:gd name="T13" fmla="*/ 0 h 439"/>
                <a:gd name="T14" fmla="*/ 0 w 206"/>
                <a:gd name="T15" fmla="*/ 2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6" h="439">
                  <a:moveTo>
                    <a:pt x="0" y="2"/>
                  </a:moveTo>
                  <a:cubicBezTo>
                    <a:pt x="42" y="421"/>
                    <a:pt x="42" y="421"/>
                    <a:pt x="42" y="421"/>
                  </a:cubicBezTo>
                  <a:cubicBezTo>
                    <a:pt x="42" y="421"/>
                    <a:pt x="70" y="431"/>
                    <a:pt x="83" y="421"/>
                  </a:cubicBezTo>
                  <a:cubicBezTo>
                    <a:pt x="100" y="91"/>
                    <a:pt x="100" y="91"/>
                    <a:pt x="100" y="91"/>
                  </a:cubicBezTo>
                  <a:cubicBezTo>
                    <a:pt x="150" y="424"/>
                    <a:pt x="150" y="424"/>
                    <a:pt x="150" y="424"/>
                  </a:cubicBezTo>
                  <a:cubicBezTo>
                    <a:pt x="150" y="424"/>
                    <a:pt x="173" y="439"/>
                    <a:pt x="187" y="422"/>
                  </a:cubicBezTo>
                  <a:cubicBezTo>
                    <a:pt x="206" y="0"/>
                    <a:pt x="206" y="0"/>
                    <a:pt x="206" y="0"/>
                  </a:cubicBezTo>
                  <a:cubicBezTo>
                    <a:pt x="206" y="0"/>
                    <a:pt x="58" y="30"/>
                    <a:pt x="0" y="2"/>
                  </a:cubicBezTo>
                  <a:close/>
                </a:path>
              </a:pathLst>
            </a:custGeom>
            <a:solidFill>
              <a:srgbClr val="4C5D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 dirty="0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7" name="ExtraShape8">
              <a:extLst>
                <a:ext uri="{FF2B5EF4-FFF2-40B4-BE49-F238E27FC236}">
                  <a16:creationId xmlns:a16="http://schemas.microsoft.com/office/drawing/2014/main" id="{B425E79A-93E2-4F27-87BB-32F76339CE20}"/>
                </a:ext>
              </a:extLst>
            </p:cNvPr>
            <p:cNvSpPr/>
            <p:nvPr/>
          </p:nvSpPr>
          <p:spPr bwMode="auto">
            <a:xfrm flipH="1">
              <a:off x="3261032" y="1926706"/>
              <a:ext cx="958955" cy="1518829"/>
            </a:xfrm>
            <a:custGeom>
              <a:avLst/>
              <a:gdLst>
                <a:gd name="T0" fmla="*/ 148 w 273"/>
                <a:gd name="T1" fmla="*/ 0 h 433"/>
                <a:gd name="T2" fmla="*/ 166 w 273"/>
                <a:gd name="T3" fmla="*/ 11 h 433"/>
                <a:gd name="T4" fmla="*/ 214 w 273"/>
                <a:gd name="T5" fmla="*/ 29 h 433"/>
                <a:gd name="T6" fmla="*/ 248 w 273"/>
                <a:gd name="T7" fmla="*/ 92 h 433"/>
                <a:gd name="T8" fmla="*/ 272 w 273"/>
                <a:gd name="T9" fmla="*/ 209 h 433"/>
                <a:gd name="T10" fmla="*/ 240 w 273"/>
                <a:gd name="T11" fmla="*/ 251 h 433"/>
                <a:gd name="T12" fmla="*/ 205 w 273"/>
                <a:gd name="T13" fmla="*/ 268 h 433"/>
                <a:gd name="T14" fmla="*/ 206 w 273"/>
                <a:gd name="T15" fmla="*/ 393 h 433"/>
                <a:gd name="T16" fmla="*/ 0 w 273"/>
                <a:gd name="T17" fmla="*/ 395 h 433"/>
                <a:gd name="T18" fmla="*/ 6 w 273"/>
                <a:gd name="T19" fmla="*/ 227 h 433"/>
                <a:gd name="T20" fmla="*/ 30 w 273"/>
                <a:gd name="T21" fmla="*/ 43 h 433"/>
                <a:gd name="T22" fmla="*/ 99 w 273"/>
                <a:gd name="T23" fmla="*/ 11 h 433"/>
                <a:gd name="T24" fmla="*/ 148 w 273"/>
                <a:gd name="T25" fmla="*/ 0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3" h="433">
                  <a:moveTo>
                    <a:pt x="148" y="0"/>
                  </a:moveTo>
                  <a:cubicBezTo>
                    <a:pt x="154" y="4"/>
                    <a:pt x="160" y="8"/>
                    <a:pt x="166" y="11"/>
                  </a:cubicBezTo>
                  <a:cubicBezTo>
                    <a:pt x="181" y="20"/>
                    <a:pt x="197" y="26"/>
                    <a:pt x="214" y="29"/>
                  </a:cubicBezTo>
                  <a:cubicBezTo>
                    <a:pt x="236" y="31"/>
                    <a:pt x="245" y="73"/>
                    <a:pt x="248" y="92"/>
                  </a:cubicBezTo>
                  <a:cubicBezTo>
                    <a:pt x="251" y="112"/>
                    <a:pt x="272" y="209"/>
                    <a:pt x="272" y="209"/>
                  </a:cubicBezTo>
                  <a:cubicBezTo>
                    <a:pt x="273" y="229"/>
                    <a:pt x="260" y="247"/>
                    <a:pt x="240" y="251"/>
                  </a:cubicBezTo>
                  <a:cubicBezTo>
                    <a:pt x="204" y="263"/>
                    <a:pt x="205" y="268"/>
                    <a:pt x="205" y="268"/>
                  </a:cubicBezTo>
                  <a:cubicBezTo>
                    <a:pt x="206" y="393"/>
                    <a:pt x="206" y="393"/>
                    <a:pt x="206" y="393"/>
                  </a:cubicBezTo>
                  <a:cubicBezTo>
                    <a:pt x="206" y="393"/>
                    <a:pt x="44" y="433"/>
                    <a:pt x="0" y="395"/>
                  </a:cubicBezTo>
                  <a:cubicBezTo>
                    <a:pt x="6" y="227"/>
                    <a:pt x="6" y="227"/>
                    <a:pt x="6" y="227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99" y="11"/>
                    <a:pt x="99" y="11"/>
                    <a:pt x="99" y="11"/>
                  </a:cubicBezTo>
                  <a:lnTo>
                    <a:pt x="148" y="0"/>
                  </a:lnTo>
                  <a:close/>
                </a:path>
              </a:pathLst>
            </a:custGeom>
            <a:solidFill>
              <a:srgbClr val="597E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8" name="ExtraShape9">
              <a:extLst>
                <a:ext uri="{FF2B5EF4-FFF2-40B4-BE49-F238E27FC236}">
                  <a16:creationId xmlns:a16="http://schemas.microsoft.com/office/drawing/2014/main" id="{54BE75AC-2CCC-474C-89FB-55FBDD558ADB}"/>
                </a:ext>
              </a:extLst>
            </p:cNvPr>
            <p:cNvSpPr/>
            <p:nvPr/>
          </p:nvSpPr>
          <p:spPr bwMode="auto">
            <a:xfrm flipH="1">
              <a:off x="3265565" y="1926423"/>
              <a:ext cx="958955" cy="1518829"/>
            </a:xfrm>
            <a:custGeom>
              <a:avLst/>
              <a:gdLst>
                <a:gd name="T0" fmla="*/ 148 w 273"/>
                <a:gd name="T1" fmla="*/ 0 h 433"/>
                <a:gd name="T2" fmla="*/ 166 w 273"/>
                <a:gd name="T3" fmla="*/ 11 h 433"/>
                <a:gd name="T4" fmla="*/ 214 w 273"/>
                <a:gd name="T5" fmla="*/ 29 h 433"/>
                <a:gd name="T6" fmla="*/ 248 w 273"/>
                <a:gd name="T7" fmla="*/ 92 h 433"/>
                <a:gd name="T8" fmla="*/ 272 w 273"/>
                <a:gd name="T9" fmla="*/ 209 h 433"/>
                <a:gd name="T10" fmla="*/ 240 w 273"/>
                <a:gd name="T11" fmla="*/ 251 h 433"/>
                <a:gd name="T12" fmla="*/ 205 w 273"/>
                <a:gd name="T13" fmla="*/ 268 h 433"/>
                <a:gd name="T14" fmla="*/ 206 w 273"/>
                <a:gd name="T15" fmla="*/ 393 h 433"/>
                <a:gd name="T16" fmla="*/ 0 w 273"/>
                <a:gd name="T17" fmla="*/ 395 h 433"/>
                <a:gd name="T18" fmla="*/ 6 w 273"/>
                <a:gd name="T19" fmla="*/ 227 h 433"/>
                <a:gd name="T20" fmla="*/ 30 w 273"/>
                <a:gd name="T21" fmla="*/ 43 h 433"/>
                <a:gd name="T22" fmla="*/ 99 w 273"/>
                <a:gd name="T23" fmla="*/ 11 h 433"/>
                <a:gd name="T24" fmla="*/ 148 w 273"/>
                <a:gd name="T25" fmla="*/ 0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3" h="433">
                  <a:moveTo>
                    <a:pt x="148" y="0"/>
                  </a:moveTo>
                  <a:cubicBezTo>
                    <a:pt x="154" y="4"/>
                    <a:pt x="160" y="8"/>
                    <a:pt x="166" y="11"/>
                  </a:cubicBezTo>
                  <a:cubicBezTo>
                    <a:pt x="181" y="20"/>
                    <a:pt x="197" y="26"/>
                    <a:pt x="214" y="29"/>
                  </a:cubicBezTo>
                  <a:cubicBezTo>
                    <a:pt x="236" y="31"/>
                    <a:pt x="245" y="73"/>
                    <a:pt x="248" y="92"/>
                  </a:cubicBezTo>
                  <a:cubicBezTo>
                    <a:pt x="251" y="112"/>
                    <a:pt x="272" y="209"/>
                    <a:pt x="272" y="209"/>
                  </a:cubicBezTo>
                  <a:cubicBezTo>
                    <a:pt x="273" y="229"/>
                    <a:pt x="260" y="247"/>
                    <a:pt x="240" y="251"/>
                  </a:cubicBezTo>
                  <a:cubicBezTo>
                    <a:pt x="204" y="263"/>
                    <a:pt x="205" y="268"/>
                    <a:pt x="205" y="268"/>
                  </a:cubicBezTo>
                  <a:cubicBezTo>
                    <a:pt x="206" y="393"/>
                    <a:pt x="206" y="393"/>
                    <a:pt x="206" y="393"/>
                  </a:cubicBezTo>
                  <a:cubicBezTo>
                    <a:pt x="206" y="393"/>
                    <a:pt x="44" y="433"/>
                    <a:pt x="0" y="395"/>
                  </a:cubicBezTo>
                  <a:cubicBezTo>
                    <a:pt x="6" y="227"/>
                    <a:pt x="6" y="227"/>
                    <a:pt x="6" y="227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99" y="11"/>
                    <a:pt x="99" y="11"/>
                    <a:pt x="99" y="11"/>
                  </a:cubicBezTo>
                  <a:lnTo>
                    <a:pt x="148" y="0"/>
                  </a:lnTo>
                  <a:close/>
                </a:path>
              </a:pathLst>
            </a:custGeom>
            <a:gradFill>
              <a:gsLst>
                <a:gs pos="0">
                  <a:srgbClr val="3D5773"/>
                </a:gs>
                <a:gs pos="100000">
                  <a:srgbClr val="54789E">
                    <a:alpha val="0"/>
                  </a:srgbClr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9" name="ExtraShape10">
              <a:extLst>
                <a:ext uri="{FF2B5EF4-FFF2-40B4-BE49-F238E27FC236}">
                  <a16:creationId xmlns:a16="http://schemas.microsoft.com/office/drawing/2014/main" id="{FE90EA31-D134-452B-9EA1-1E11B8FB5E9C}"/>
                </a:ext>
              </a:extLst>
            </p:cNvPr>
            <p:cNvSpPr/>
            <p:nvPr/>
          </p:nvSpPr>
          <p:spPr bwMode="auto">
            <a:xfrm flipH="1">
              <a:off x="3677548" y="1913143"/>
              <a:ext cx="348710" cy="282843"/>
            </a:xfrm>
            <a:custGeom>
              <a:avLst/>
              <a:gdLst>
                <a:gd name="T0" fmla="*/ 93 w 99"/>
                <a:gd name="T1" fmla="*/ 0 h 81"/>
                <a:gd name="T2" fmla="*/ 37 w 99"/>
                <a:gd name="T3" fmla="*/ 21 h 81"/>
                <a:gd name="T4" fmla="*/ 35 w 99"/>
                <a:gd name="T5" fmla="*/ 20 h 81"/>
                <a:gd name="T6" fmla="*/ 51 w 99"/>
                <a:gd name="T7" fmla="*/ 74 h 81"/>
                <a:gd name="T8" fmla="*/ 99 w 99"/>
                <a:gd name="T9" fmla="*/ 8 h 81"/>
                <a:gd name="T10" fmla="*/ 93 w 99"/>
                <a:gd name="T11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" h="81">
                  <a:moveTo>
                    <a:pt x="93" y="0"/>
                  </a:moveTo>
                  <a:cubicBezTo>
                    <a:pt x="84" y="21"/>
                    <a:pt x="58" y="31"/>
                    <a:pt x="37" y="21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35" y="20"/>
                    <a:pt x="0" y="81"/>
                    <a:pt x="51" y="74"/>
                  </a:cubicBezTo>
                  <a:cubicBezTo>
                    <a:pt x="77" y="70"/>
                    <a:pt x="95" y="27"/>
                    <a:pt x="99" y="8"/>
                  </a:cubicBezTo>
                  <a:lnTo>
                    <a:pt x="93" y="0"/>
                  </a:ln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0" name="ExtraShape11">
              <a:extLst>
                <a:ext uri="{FF2B5EF4-FFF2-40B4-BE49-F238E27FC236}">
                  <a16:creationId xmlns:a16="http://schemas.microsoft.com/office/drawing/2014/main" id="{EECBFDF4-A95E-4650-B3C8-9F64CFB6D4E9}"/>
                </a:ext>
              </a:extLst>
            </p:cNvPr>
            <p:cNvSpPr/>
            <p:nvPr/>
          </p:nvSpPr>
          <p:spPr bwMode="auto">
            <a:xfrm flipH="1">
              <a:off x="3507066" y="2319973"/>
              <a:ext cx="480446" cy="455261"/>
            </a:xfrm>
            <a:custGeom>
              <a:avLst/>
              <a:gdLst>
                <a:gd name="T0" fmla="*/ 94 w 137"/>
                <a:gd name="T1" fmla="*/ 94 h 130"/>
                <a:gd name="T2" fmla="*/ 132 w 137"/>
                <a:gd name="T3" fmla="*/ 82 h 130"/>
                <a:gd name="T4" fmla="*/ 126 w 137"/>
                <a:gd name="T5" fmla="*/ 0 h 130"/>
                <a:gd name="T6" fmla="*/ 40 w 137"/>
                <a:gd name="T7" fmla="*/ 94 h 130"/>
                <a:gd name="T8" fmla="*/ 68 w 137"/>
                <a:gd name="T9" fmla="*/ 130 h 130"/>
                <a:gd name="T10" fmla="*/ 94 w 137"/>
                <a:gd name="T11" fmla="*/ 9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7" h="130">
                  <a:moveTo>
                    <a:pt x="94" y="94"/>
                  </a:moveTo>
                  <a:cubicBezTo>
                    <a:pt x="107" y="91"/>
                    <a:pt x="120" y="87"/>
                    <a:pt x="132" y="82"/>
                  </a:cubicBezTo>
                  <a:cubicBezTo>
                    <a:pt x="137" y="79"/>
                    <a:pt x="126" y="0"/>
                    <a:pt x="126" y="0"/>
                  </a:cubicBezTo>
                  <a:cubicBezTo>
                    <a:pt x="126" y="0"/>
                    <a:pt x="122" y="64"/>
                    <a:pt x="40" y="94"/>
                  </a:cubicBezTo>
                  <a:cubicBezTo>
                    <a:pt x="0" y="109"/>
                    <a:pt x="68" y="130"/>
                    <a:pt x="68" y="130"/>
                  </a:cubicBezTo>
                  <a:lnTo>
                    <a:pt x="94" y="94"/>
                  </a:lnTo>
                  <a:close/>
                </a:path>
              </a:pathLst>
            </a:custGeom>
            <a:solidFill>
              <a:srgbClr val="000405">
                <a:alpha val="1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1" name="ExtraShape12">
              <a:extLst>
                <a:ext uri="{FF2B5EF4-FFF2-40B4-BE49-F238E27FC236}">
                  <a16:creationId xmlns:a16="http://schemas.microsoft.com/office/drawing/2014/main" id="{272A8F70-30DD-4800-9D3F-A1C071844FB5}"/>
                </a:ext>
              </a:extLst>
            </p:cNvPr>
            <p:cNvSpPr/>
            <p:nvPr/>
          </p:nvSpPr>
          <p:spPr bwMode="auto">
            <a:xfrm flipH="1">
              <a:off x="3499317" y="2631876"/>
              <a:ext cx="703234" cy="579248"/>
            </a:xfrm>
            <a:custGeom>
              <a:avLst/>
              <a:gdLst>
                <a:gd name="T0" fmla="*/ 147 w 200"/>
                <a:gd name="T1" fmla="*/ 57 h 165"/>
                <a:gd name="T2" fmla="*/ 200 w 200"/>
                <a:gd name="T3" fmla="*/ 68 h 165"/>
                <a:gd name="T4" fmla="*/ 200 w 200"/>
                <a:gd name="T5" fmla="*/ 165 h 165"/>
                <a:gd name="T6" fmla="*/ 87 w 200"/>
                <a:gd name="T7" fmla="*/ 80 h 165"/>
                <a:gd name="T8" fmla="*/ 0 w 200"/>
                <a:gd name="T9" fmla="*/ 66 h 165"/>
                <a:gd name="T10" fmla="*/ 0 w 200"/>
                <a:gd name="T11" fmla="*/ 40 h 165"/>
                <a:gd name="T12" fmla="*/ 132 w 200"/>
                <a:gd name="T13" fmla="*/ 24 h 165"/>
                <a:gd name="T14" fmla="*/ 147 w 200"/>
                <a:gd name="T15" fmla="*/ 57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0" h="165">
                  <a:moveTo>
                    <a:pt x="147" y="57"/>
                  </a:moveTo>
                  <a:cubicBezTo>
                    <a:pt x="147" y="57"/>
                    <a:pt x="191" y="74"/>
                    <a:pt x="200" y="68"/>
                  </a:cubicBezTo>
                  <a:cubicBezTo>
                    <a:pt x="200" y="165"/>
                    <a:pt x="200" y="165"/>
                    <a:pt x="200" y="165"/>
                  </a:cubicBezTo>
                  <a:cubicBezTo>
                    <a:pt x="200" y="165"/>
                    <a:pt x="87" y="92"/>
                    <a:pt x="87" y="80"/>
                  </a:cubicBezTo>
                  <a:cubicBezTo>
                    <a:pt x="87" y="69"/>
                    <a:pt x="0" y="66"/>
                    <a:pt x="0" y="66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32" y="24"/>
                    <a:pt x="160" y="0"/>
                    <a:pt x="147" y="57"/>
                  </a:cubicBezTo>
                  <a:close/>
                </a:path>
              </a:pathLst>
            </a:custGeom>
            <a:solidFill>
              <a:srgbClr val="000405">
                <a:alpha val="1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2" name="ExtraShape13">
              <a:extLst>
                <a:ext uri="{FF2B5EF4-FFF2-40B4-BE49-F238E27FC236}">
                  <a16:creationId xmlns:a16="http://schemas.microsoft.com/office/drawing/2014/main" id="{E7D19EC8-5E1A-40F2-80E8-1EC36E33A5BB}"/>
                </a:ext>
              </a:extLst>
            </p:cNvPr>
            <p:cNvSpPr/>
            <p:nvPr/>
          </p:nvSpPr>
          <p:spPr bwMode="auto">
            <a:xfrm flipH="1">
              <a:off x="3660111" y="2641562"/>
              <a:ext cx="56182" cy="220851"/>
            </a:xfrm>
            <a:custGeom>
              <a:avLst/>
              <a:gdLst>
                <a:gd name="T0" fmla="*/ 16 w 16"/>
                <a:gd name="T1" fmla="*/ 0 h 63"/>
                <a:gd name="T2" fmla="*/ 10 w 16"/>
                <a:gd name="T3" fmla="*/ 52 h 63"/>
                <a:gd name="T4" fmla="*/ 0 w 16"/>
                <a:gd name="T5" fmla="*/ 24 h 63"/>
                <a:gd name="T6" fmla="*/ 16 w 16"/>
                <a:gd name="T7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63">
                  <a:moveTo>
                    <a:pt x="16" y="0"/>
                  </a:moveTo>
                  <a:cubicBezTo>
                    <a:pt x="16" y="0"/>
                    <a:pt x="16" y="40"/>
                    <a:pt x="10" y="52"/>
                  </a:cubicBezTo>
                  <a:cubicBezTo>
                    <a:pt x="4" y="63"/>
                    <a:pt x="0" y="24"/>
                    <a:pt x="0" y="24"/>
                  </a:cubicBezTo>
                  <a:lnTo>
                    <a:pt x="16" y="0"/>
                  </a:lnTo>
                  <a:close/>
                </a:path>
              </a:pathLst>
            </a:custGeom>
            <a:solidFill>
              <a:srgbClr val="033B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3" name="ExtraShape14">
              <a:extLst>
                <a:ext uri="{FF2B5EF4-FFF2-40B4-BE49-F238E27FC236}">
                  <a16:creationId xmlns:a16="http://schemas.microsoft.com/office/drawing/2014/main" id="{8A77B69F-8A27-4692-8316-BFC9A66411F1}"/>
                </a:ext>
              </a:extLst>
            </p:cNvPr>
            <p:cNvSpPr/>
            <p:nvPr/>
          </p:nvSpPr>
          <p:spPr bwMode="auto">
            <a:xfrm flipH="1">
              <a:off x="3689171" y="1740727"/>
              <a:ext cx="246036" cy="406830"/>
            </a:xfrm>
            <a:custGeom>
              <a:avLst/>
              <a:gdLst>
                <a:gd name="T0" fmla="*/ 70 w 70"/>
                <a:gd name="T1" fmla="*/ 0 h 116"/>
                <a:gd name="T2" fmla="*/ 69 w 70"/>
                <a:gd name="T3" fmla="*/ 21 h 116"/>
                <a:gd name="T4" fmla="*/ 67 w 70"/>
                <a:gd name="T5" fmla="*/ 53 h 116"/>
                <a:gd name="T6" fmla="*/ 47 w 70"/>
                <a:gd name="T7" fmla="*/ 97 h 116"/>
                <a:gd name="T8" fmla="*/ 22 w 70"/>
                <a:gd name="T9" fmla="*/ 114 h 116"/>
                <a:gd name="T10" fmla="*/ 5 w 70"/>
                <a:gd name="T11" fmla="*/ 106 h 116"/>
                <a:gd name="T12" fmla="*/ 5 w 70"/>
                <a:gd name="T13" fmla="*/ 98 h 116"/>
                <a:gd name="T14" fmla="*/ 10 w 70"/>
                <a:gd name="T15" fmla="*/ 75 h 116"/>
                <a:gd name="T16" fmla="*/ 10 w 70"/>
                <a:gd name="T17" fmla="*/ 66 h 116"/>
                <a:gd name="T18" fmla="*/ 8 w 70"/>
                <a:gd name="T19" fmla="*/ 50 h 116"/>
                <a:gd name="T20" fmla="*/ 69 w 70"/>
                <a:gd name="T21" fmla="*/ 1 h 116"/>
                <a:gd name="T22" fmla="*/ 70 w 70"/>
                <a:gd name="T23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0" h="116">
                  <a:moveTo>
                    <a:pt x="70" y="0"/>
                  </a:moveTo>
                  <a:cubicBezTo>
                    <a:pt x="70" y="0"/>
                    <a:pt x="70" y="9"/>
                    <a:pt x="69" y="21"/>
                  </a:cubicBezTo>
                  <a:cubicBezTo>
                    <a:pt x="68" y="31"/>
                    <a:pt x="68" y="43"/>
                    <a:pt x="67" y="53"/>
                  </a:cubicBezTo>
                  <a:cubicBezTo>
                    <a:pt x="66" y="70"/>
                    <a:pt x="59" y="85"/>
                    <a:pt x="47" y="97"/>
                  </a:cubicBezTo>
                  <a:cubicBezTo>
                    <a:pt x="40" y="104"/>
                    <a:pt x="31" y="110"/>
                    <a:pt x="22" y="114"/>
                  </a:cubicBezTo>
                  <a:cubicBezTo>
                    <a:pt x="15" y="116"/>
                    <a:pt x="8" y="113"/>
                    <a:pt x="5" y="106"/>
                  </a:cubicBezTo>
                  <a:cubicBezTo>
                    <a:pt x="5" y="103"/>
                    <a:pt x="4" y="101"/>
                    <a:pt x="5" y="98"/>
                  </a:cubicBezTo>
                  <a:cubicBezTo>
                    <a:pt x="8" y="91"/>
                    <a:pt x="9" y="83"/>
                    <a:pt x="10" y="75"/>
                  </a:cubicBezTo>
                  <a:cubicBezTo>
                    <a:pt x="10" y="72"/>
                    <a:pt x="10" y="69"/>
                    <a:pt x="10" y="66"/>
                  </a:cubicBezTo>
                  <a:cubicBezTo>
                    <a:pt x="10" y="61"/>
                    <a:pt x="9" y="55"/>
                    <a:pt x="8" y="50"/>
                  </a:cubicBezTo>
                  <a:cubicBezTo>
                    <a:pt x="0" y="31"/>
                    <a:pt x="62" y="4"/>
                    <a:pt x="69" y="1"/>
                  </a:cubicBezTo>
                  <a:lnTo>
                    <a:pt x="70" y="0"/>
                  </a:lnTo>
                  <a:close/>
                </a:path>
              </a:pathLst>
            </a:custGeom>
            <a:solidFill>
              <a:srgbClr val="FFD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4" name="ExtraShape15">
              <a:extLst>
                <a:ext uri="{FF2B5EF4-FFF2-40B4-BE49-F238E27FC236}">
                  <a16:creationId xmlns:a16="http://schemas.microsoft.com/office/drawing/2014/main" id="{02571BE4-6D24-4566-90BF-D8809AD156B9}"/>
                </a:ext>
              </a:extLst>
            </p:cNvPr>
            <p:cNvSpPr/>
            <p:nvPr/>
          </p:nvSpPr>
          <p:spPr bwMode="auto">
            <a:xfrm flipH="1">
              <a:off x="3693045" y="1744602"/>
              <a:ext cx="242161" cy="259595"/>
            </a:xfrm>
            <a:custGeom>
              <a:avLst/>
              <a:gdLst>
                <a:gd name="T0" fmla="*/ 69 w 69"/>
                <a:gd name="T1" fmla="*/ 0 h 74"/>
                <a:gd name="T2" fmla="*/ 52 w 69"/>
                <a:gd name="T3" fmla="*/ 44 h 74"/>
                <a:gd name="T4" fmla="*/ 10 w 69"/>
                <a:gd name="T5" fmla="*/ 74 h 74"/>
                <a:gd name="T6" fmla="*/ 10 w 69"/>
                <a:gd name="T7" fmla="*/ 65 h 74"/>
                <a:gd name="T8" fmla="*/ 8 w 69"/>
                <a:gd name="T9" fmla="*/ 49 h 74"/>
                <a:gd name="T10" fmla="*/ 69 w 69"/>
                <a:gd name="T11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74">
                  <a:moveTo>
                    <a:pt x="69" y="0"/>
                  </a:moveTo>
                  <a:cubicBezTo>
                    <a:pt x="66" y="9"/>
                    <a:pt x="65" y="26"/>
                    <a:pt x="52" y="44"/>
                  </a:cubicBezTo>
                  <a:cubicBezTo>
                    <a:pt x="46" y="52"/>
                    <a:pt x="29" y="70"/>
                    <a:pt x="10" y="74"/>
                  </a:cubicBezTo>
                  <a:cubicBezTo>
                    <a:pt x="10" y="71"/>
                    <a:pt x="10" y="68"/>
                    <a:pt x="10" y="65"/>
                  </a:cubicBezTo>
                  <a:cubicBezTo>
                    <a:pt x="10" y="60"/>
                    <a:pt x="9" y="54"/>
                    <a:pt x="8" y="49"/>
                  </a:cubicBezTo>
                  <a:cubicBezTo>
                    <a:pt x="0" y="30"/>
                    <a:pt x="62" y="3"/>
                    <a:pt x="69" y="0"/>
                  </a:cubicBezTo>
                  <a:close/>
                </a:path>
              </a:pathLst>
            </a:custGeom>
            <a:solidFill>
              <a:srgbClr val="FFC89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5" name="ExtraShape16">
              <a:extLst>
                <a:ext uri="{FF2B5EF4-FFF2-40B4-BE49-F238E27FC236}">
                  <a16:creationId xmlns:a16="http://schemas.microsoft.com/office/drawing/2014/main" id="{74AB5BA3-54E4-4619-8E9D-CD1500FACA49}"/>
                </a:ext>
              </a:extLst>
            </p:cNvPr>
            <p:cNvSpPr/>
            <p:nvPr/>
          </p:nvSpPr>
          <p:spPr bwMode="auto">
            <a:xfrm flipH="1">
              <a:off x="3601991" y="1318399"/>
              <a:ext cx="528879" cy="674174"/>
            </a:xfrm>
            <a:custGeom>
              <a:avLst/>
              <a:gdLst>
                <a:gd name="T0" fmla="*/ 65 w 151"/>
                <a:gd name="T1" fmla="*/ 1 h 192"/>
                <a:gd name="T2" fmla="*/ 1 w 151"/>
                <a:gd name="T3" fmla="*/ 71 h 192"/>
                <a:gd name="T4" fmla="*/ 1 w 151"/>
                <a:gd name="T5" fmla="*/ 71 h 192"/>
                <a:gd name="T6" fmla="*/ 2 w 151"/>
                <a:gd name="T7" fmla="*/ 76 h 192"/>
                <a:gd name="T8" fmla="*/ 23 w 151"/>
                <a:gd name="T9" fmla="*/ 155 h 192"/>
                <a:gd name="T10" fmla="*/ 109 w 151"/>
                <a:gd name="T11" fmla="*/ 146 h 192"/>
                <a:gd name="T12" fmla="*/ 137 w 151"/>
                <a:gd name="T13" fmla="*/ 42 h 192"/>
                <a:gd name="T14" fmla="*/ 65 w 151"/>
                <a:gd name="T15" fmla="*/ 1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1" h="192">
                  <a:moveTo>
                    <a:pt x="65" y="1"/>
                  </a:moveTo>
                  <a:cubicBezTo>
                    <a:pt x="28" y="3"/>
                    <a:pt x="0" y="34"/>
                    <a:pt x="1" y="71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1" y="73"/>
                    <a:pt x="2" y="75"/>
                    <a:pt x="2" y="76"/>
                  </a:cubicBezTo>
                  <a:cubicBezTo>
                    <a:pt x="4" y="104"/>
                    <a:pt x="11" y="130"/>
                    <a:pt x="23" y="155"/>
                  </a:cubicBezTo>
                  <a:cubicBezTo>
                    <a:pt x="45" y="192"/>
                    <a:pt x="100" y="161"/>
                    <a:pt x="109" y="146"/>
                  </a:cubicBezTo>
                  <a:cubicBezTo>
                    <a:pt x="117" y="131"/>
                    <a:pt x="151" y="61"/>
                    <a:pt x="137" y="42"/>
                  </a:cubicBezTo>
                  <a:cubicBezTo>
                    <a:pt x="128" y="29"/>
                    <a:pt x="101" y="0"/>
                    <a:pt x="65" y="1"/>
                  </a:cubicBezTo>
                  <a:close/>
                </a:path>
              </a:pathLst>
            </a:custGeom>
            <a:solidFill>
              <a:srgbClr val="FFD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6" name="ExtraShape17">
              <a:extLst>
                <a:ext uri="{FF2B5EF4-FFF2-40B4-BE49-F238E27FC236}">
                  <a16:creationId xmlns:a16="http://schemas.microsoft.com/office/drawing/2014/main" id="{EA693227-630C-4BCE-ACE3-B9FF66882FF3}"/>
                </a:ext>
              </a:extLst>
            </p:cNvPr>
            <p:cNvSpPr/>
            <p:nvPr/>
          </p:nvSpPr>
          <p:spPr bwMode="auto">
            <a:xfrm flipH="1">
              <a:off x="3551623" y="1080112"/>
              <a:ext cx="695485" cy="699360"/>
            </a:xfrm>
            <a:custGeom>
              <a:avLst/>
              <a:gdLst>
                <a:gd name="T0" fmla="*/ 40 w 198"/>
                <a:gd name="T1" fmla="*/ 43 h 199"/>
                <a:gd name="T2" fmla="*/ 51 w 198"/>
                <a:gd name="T3" fmla="*/ 49 h 199"/>
                <a:gd name="T4" fmla="*/ 16 w 198"/>
                <a:gd name="T5" fmla="*/ 65 h 199"/>
                <a:gd name="T6" fmla="*/ 0 w 198"/>
                <a:gd name="T7" fmla="*/ 104 h 199"/>
                <a:gd name="T8" fmla="*/ 19 w 198"/>
                <a:gd name="T9" fmla="*/ 95 h 199"/>
                <a:gd name="T10" fmla="*/ 54 w 198"/>
                <a:gd name="T11" fmla="*/ 121 h 199"/>
                <a:gd name="T12" fmla="*/ 129 w 198"/>
                <a:gd name="T13" fmla="*/ 124 h 199"/>
                <a:gd name="T14" fmla="*/ 117 w 198"/>
                <a:gd name="T15" fmla="*/ 107 h 199"/>
                <a:gd name="T16" fmla="*/ 143 w 198"/>
                <a:gd name="T17" fmla="*/ 124 h 199"/>
                <a:gd name="T18" fmla="*/ 151 w 198"/>
                <a:gd name="T19" fmla="*/ 165 h 199"/>
                <a:gd name="T20" fmla="*/ 164 w 198"/>
                <a:gd name="T21" fmla="*/ 147 h 199"/>
                <a:gd name="T22" fmla="*/ 155 w 198"/>
                <a:gd name="T23" fmla="*/ 178 h 199"/>
                <a:gd name="T24" fmla="*/ 151 w 198"/>
                <a:gd name="T25" fmla="*/ 198 h 199"/>
                <a:gd name="T26" fmla="*/ 174 w 198"/>
                <a:gd name="T27" fmla="*/ 173 h 199"/>
                <a:gd name="T28" fmla="*/ 184 w 198"/>
                <a:gd name="T29" fmla="*/ 87 h 199"/>
                <a:gd name="T30" fmla="*/ 193 w 198"/>
                <a:gd name="T31" fmla="*/ 86 h 199"/>
                <a:gd name="T32" fmla="*/ 175 w 198"/>
                <a:gd name="T33" fmla="*/ 79 h 199"/>
                <a:gd name="T34" fmla="*/ 40 w 198"/>
                <a:gd name="T35" fmla="*/ 43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8" h="199">
                  <a:moveTo>
                    <a:pt x="40" y="43"/>
                  </a:moveTo>
                  <a:cubicBezTo>
                    <a:pt x="51" y="49"/>
                    <a:pt x="51" y="49"/>
                    <a:pt x="51" y="49"/>
                  </a:cubicBezTo>
                  <a:cubicBezTo>
                    <a:pt x="37" y="49"/>
                    <a:pt x="24" y="55"/>
                    <a:pt x="16" y="65"/>
                  </a:cubicBezTo>
                  <a:cubicBezTo>
                    <a:pt x="6" y="76"/>
                    <a:pt x="0" y="90"/>
                    <a:pt x="0" y="104"/>
                  </a:cubicBezTo>
                  <a:cubicBezTo>
                    <a:pt x="19" y="95"/>
                    <a:pt x="19" y="95"/>
                    <a:pt x="19" y="95"/>
                  </a:cubicBezTo>
                  <a:cubicBezTo>
                    <a:pt x="19" y="95"/>
                    <a:pt x="17" y="119"/>
                    <a:pt x="54" y="121"/>
                  </a:cubicBezTo>
                  <a:cubicBezTo>
                    <a:pt x="90" y="123"/>
                    <a:pt x="129" y="124"/>
                    <a:pt x="129" y="124"/>
                  </a:cubicBezTo>
                  <a:cubicBezTo>
                    <a:pt x="117" y="107"/>
                    <a:pt x="117" y="107"/>
                    <a:pt x="117" y="107"/>
                  </a:cubicBezTo>
                  <a:cubicBezTo>
                    <a:pt x="117" y="107"/>
                    <a:pt x="140" y="116"/>
                    <a:pt x="143" y="124"/>
                  </a:cubicBezTo>
                  <a:cubicBezTo>
                    <a:pt x="147" y="138"/>
                    <a:pt x="150" y="151"/>
                    <a:pt x="151" y="165"/>
                  </a:cubicBezTo>
                  <a:cubicBezTo>
                    <a:pt x="151" y="165"/>
                    <a:pt x="160" y="142"/>
                    <a:pt x="164" y="147"/>
                  </a:cubicBezTo>
                  <a:cubicBezTo>
                    <a:pt x="167" y="152"/>
                    <a:pt x="160" y="173"/>
                    <a:pt x="155" y="178"/>
                  </a:cubicBezTo>
                  <a:cubicBezTo>
                    <a:pt x="150" y="183"/>
                    <a:pt x="151" y="197"/>
                    <a:pt x="151" y="198"/>
                  </a:cubicBezTo>
                  <a:cubicBezTo>
                    <a:pt x="150" y="199"/>
                    <a:pt x="173" y="180"/>
                    <a:pt x="174" y="173"/>
                  </a:cubicBezTo>
                  <a:cubicBezTo>
                    <a:pt x="176" y="167"/>
                    <a:pt x="198" y="100"/>
                    <a:pt x="184" y="87"/>
                  </a:cubicBezTo>
                  <a:cubicBezTo>
                    <a:pt x="193" y="86"/>
                    <a:pt x="193" y="86"/>
                    <a:pt x="193" y="86"/>
                  </a:cubicBezTo>
                  <a:cubicBezTo>
                    <a:pt x="187" y="82"/>
                    <a:pt x="181" y="80"/>
                    <a:pt x="175" y="79"/>
                  </a:cubicBezTo>
                  <a:cubicBezTo>
                    <a:pt x="175" y="79"/>
                    <a:pt x="115" y="0"/>
                    <a:pt x="40" y="43"/>
                  </a:cubicBez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7" name="ExtraShape18">
              <a:extLst>
                <a:ext uri="{FF2B5EF4-FFF2-40B4-BE49-F238E27FC236}">
                  <a16:creationId xmlns:a16="http://schemas.microsoft.com/office/drawing/2014/main" id="{BA8F4852-725C-4439-8E4B-28F32376702C}"/>
                </a:ext>
              </a:extLst>
            </p:cNvPr>
            <p:cNvSpPr/>
            <p:nvPr/>
          </p:nvSpPr>
          <p:spPr bwMode="auto">
            <a:xfrm flipH="1">
              <a:off x="4113435" y="2081688"/>
              <a:ext cx="408767" cy="784600"/>
            </a:xfrm>
            <a:custGeom>
              <a:avLst/>
              <a:gdLst>
                <a:gd name="T0" fmla="*/ 116 w 116"/>
                <a:gd name="T1" fmla="*/ 0 h 224"/>
                <a:gd name="T2" fmla="*/ 84 w 116"/>
                <a:gd name="T3" fmla="*/ 68 h 224"/>
                <a:gd name="T4" fmla="*/ 65 w 116"/>
                <a:gd name="T5" fmla="*/ 174 h 224"/>
                <a:gd name="T6" fmla="*/ 0 w 116"/>
                <a:gd name="T7" fmla="*/ 177 h 224"/>
                <a:gd name="T8" fmla="*/ 32 w 116"/>
                <a:gd name="T9" fmla="*/ 201 h 224"/>
                <a:gd name="T10" fmla="*/ 72 w 116"/>
                <a:gd name="T11" fmla="*/ 219 h 224"/>
                <a:gd name="T12" fmla="*/ 93 w 116"/>
                <a:gd name="T13" fmla="*/ 224 h 224"/>
                <a:gd name="T14" fmla="*/ 116 w 116"/>
                <a:gd name="T15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6" h="224">
                  <a:moveTo>
                    <a:pt x="116" y="0"/>
                  </a:moveTo>
                  <a:cubicBezTo>
                    <a:pt x="116" y="0"/>
                    <a:pt x="88" y="12"/>
                    <a:pt x="84" y="68"/>
                  </a:cubicBezTo>
                  <a:cubicBezTo>
                    <a:pt x="81" y="104"/>
                    <a:pt x="75" y="139"/>
                    <a:pt x="65" y="174"/>
                  </a:cubicBezTo>
                  <a:cubicBezTo>
                    <a:pt x="43" y="176"/>
                    <a:pt x="22" y="177"/>
                    <a:pt x="0" y="177"/>
                  </a:cubicBezTo>
                  <a:cubicBezTo>
                    <a:pt x="32" y="201"/>
                    <a:pt x="32" y="201"/>
                    <a:pt x="32" y="201"/>
                  </a:cubicBezTo>
                  <a:cubicBezTo>
                    <a:pt x="43" y="210"/>
                    <a:pt x="57" y="216"/>
                    <a:pt x="72" y="219"/>
                  </a:cubicBezTo>
                  <a:cubicBezTo>
                    <a:pt x="93" y="224"/>
                    <a:pt x="93" y="224"/>
                    <a:pt x="93" y="224"/>
                  </a:cubicBezTo>
                  <a:lnTo>
                    <a:pt x="116" y="0"/>
                  </a:lnTo>
                  <a:close/>
                </a:path>
              </a:pathLst>
            </a:custGeom>
            <a:solidFill>
              <a:srgbClr val="5478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8" name="ExtraShape19">
              <a:extLst>
                <a:ext uri="{FF2B5EF4-FFF2-40B4-BE49-F238E27FC236}">
                  <a16:creationId xmlns:a16="http://schemas.microsoft.com/office/drawing/2014/main" id="{A0465154-2519-4681-8618-782594968940}"/>
                </a:ext>
              </a:extLst>
            </p:cNvPr>
            <p:cNvSpPr/>
            <p:nvPr/>
          </p:nvSpPr>
          <p:spPr bwMode="auto">
            <a:xfrm flipH="1">
              <a:off x="3745351" y="2203735"/>
              <a:ext cx="993827" cy="588934"/>
            </a:xfrm>
            <a:custGeom>
              <a:avLst/>
              <a:gdLst>
                <a:gd name="T0" fmla="*/ 283 w 283"/>
                <a:gd name="T1" fmla="*/ 156 h 168"/>
                <a:gd name="T2" fmla="*/ 283 w 283"/>
                <a:gd name="T3" fmla="*/ 157 h 168"/>
                <a:gd name="T4" fmla="*/ 271 w 283"/>
                <a:gd name="T5" fmla="*/ 167 h 168"/>
                <a:gd name="T6" fmla="*/ 59 w 283"/>
                <a:gd name="T7" fmla="*/ 155 h 168"/>
                <a:gd name="T8" fmla="*/ 54 w 283"/>
                <a:gd name="T9" fmla="*/ 154 h 168"/>
                <a:gd name="T10" fmla="*/ 48 w 283"/>
                <a:gd name="T11" fmla="*/ 148 h 168"/>
                <a:gd name="T12" fmla="*/ 2 w 283"/>
                <a:gd name="T13" fmla="*/ 16 h 168"/>
                <a:gd name="T14" fmla="*/ 3 w 283"/>
                <a:gd name="T15" fmla="*/ 5 h 168"/>
                <a:gd name="T16" fmla="*/ 13 w 283"/>
                <a:gd name="T17" fmla="*/ 0 h 168"/>
                <a:gd name="T18" fmla="*/ 160 w 283"/>
                <a:gd name="T19" fmla="*/ 3 h 168"/>
                <a:gd name="T20" fmla="*/ 171 w 283"/>
                <a:gd name="T21" fmla="*/ 11 h 168"/>
                <a:gd name="T22" fmla="*/ 203 w 283"/>
                <a:gd name="T23" fmla="*/ 127 h 168"/>
                <a:gd name="T24" fmla="*/ 213 w 283"/>
                <a:gd name="T25" fmla="*/ 135 h 168"/>
                <a:gd name="T26" fmla="*/ 273 w 283"/>
                <a:gd name="T27" fmla="*/ 144 h 168"/>
                <a:gd name="T28" fmla="*/ 283 w 283"/>
                <a:gd name="T29" fmla="*/ 156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3" h="168">
                  <a:moveTo>
                    <a:pt x="283" y="156"/>
                  </a:moveTo>
                  <a:cubicBezTo>
                    <a:pt x="283" y="156"/>
                    <a:pt x="283" y="157"/>
                    <a:pt x="283" y="157"/>
                  </a:cubicBezTo>
                  <a:cubicBezTo>
                    <a:pt x="282" y="163"/>
                    <a:pt x="277" y="168"/>
                    <a:pt x="271" y="167"/>
                  </a:cubicBezTo>
                  <a:cubicBezTo>
                    <a:pt x="59" y="155"/>
                    <a:pt x="59" y="155"/>
                    <a:pt x="59" y="155"/>
                  </a:cubicBezTo>
                  <a:cubicBezTo>
                    <a:pt x="57" y="155"/>
                    <a:pt x="56" y="155"/>
                    <a:pt x="54" y="154"/>
                  </a:cubicBezTo>
                  <a:cubicBezTo>
                    <a:pt x="51" y="153"/>
                    <a:pt x="49" y="151"/>
                    <a:pt x="48" y="148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0" y="12"/>
                    <a:pt x="1" y="8"/>
                    <a:pt x="3" y="5"/>
                  </a:cubicBezTo>
                  <a:cubicBezTo>
                    <a:pt x="5" y="2"/>
                    <a:pt x="9" y="0"/>
                    <a:pt x="13" y="0"/>
                  </a:cubicBezTo>
                  <a:cubicBezTo>
                    <a:pt x="160" y="3"/>
                    <a:pt x="160" y="3"/>
                    <a:pt x="160" y="3"/>
                  </a:cubicBezTo>
                  <a:cubicBezTo>
                    <a:pt x="165" y="3"/>
                    <a:pt x="170" y="6"/>
                    <a:pt x="171" y="11"/>
                  </a:cubicBezTo>
                  <a:cubicBezTo>
                    <a:pt x="203" y="127"/>
                    <a:pt x="203" y="127"/>
                    <a:pt x="203" y="127"/>
                  </a:cubicBezTo>
                  <a:cubicBezTo>
                    <a:pt x="204" y="132"/>
                    <a:pt x="208" y="135"/>
                    <a:pt x="213" y="135"/>
                  </a:cubicBezTo>
                  <a:cubicBezTo>
                    <a:pt x="273" y="144"/>
                    <a:pt x="273" y="144"/>
                    <a:pt x="273" y="144"/>
                  </a:cubicBezTo>
                  <a:cubicBezTo>
                    <a:pt x="279" y="145"/>
                    <a:pt x="283" y="150"/>
                    <a:pt x="283" y="156"/>
                  </a:cubicBezTo>
                  <a:close/>
                </a:path>
              </a:pathLst>
            </a:custGeom>
            <a:gradFill>
              <a:gsLst>
                <a:gs pos="0">
                  <a:srgbClr val="476484"/>
                </a:gs>
                <a:gs pos="100000">
                  <a:srgbClr val="7694B6"/>
                </a:gs>
              </a:gsLst>
              <a:lin ang="0" scaled="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9" name="ExtraShape20">
              <a:extLst>
                <a:ext uri="{FF2B5EF4-FFF2-40B4-BE49-F238E27FC236}">
                  <a16:creationId xmlns:a16="http://schemas.microsoft.com/office/drawing/2014/main" id="{66D64FCF-F60F-451B-8234-777645AB0D47}"/>
                </a:ext>
              </a:extLst>
            </p:cNvPr>
            <p:cNvSpPr/>
            <p:nvPr/>
          </p:nvSpPr>
          <p:spPr bwMode="auto">
            <a:xfrm flipH="1">
              <a:off x="3654299" y="2589255"/>
              <a:ext cx="346775" cy="141422"/>
            </a:xfrm>
            <a:custGeom>
              <a:avLst/>
              <a:gdLst>
                <a:gd name="T0" fmla="*/ 96 w 99"/>
                <a:gd name="T1" fmla="*/ 39 h 40"/>
                <a:gd name="T2" fmla="*/ 85 w 99"/>
                <a:gd name="T3" fmla="*/ 39 h 40"/>
                <a:gd name="T4" fmla="*/ 75 w 99"/>
                <a:gd name="T5" fmla="*/ 36 h 40"/>
                <a:gd name="T6" fmla="*/ 45 w 99"/>
                <a:gd name="T7" fmla="*/ 24 h 40"/>
                <a:gd name="T8" fmla="*/ 13 w 99"/>
                <a:gd name="T9" fmla="*/ 26 h 40"/>
                <a:gd name="T10" fmla="*/ 4 w 99"/>
                <a:gd name="T11" fmla="*/ 24 h 40"/>
                <a:gd name="T12" fmla="*/ 0 w 99"/>
                <a:gd name="T13" fmla="*/ 19 h 40"/>
                <a:gd name="T14" fmla="*/ 42 w 99"/>
                <a:gd name="T15" fmla="*/ 0 h 40"/>
                <a:gd name="T16" fmla="*/ 84 w 99"/>
                <a:gd name="T17" fmla="*/ 8 h 40"/>
                <a:gd name="T18" fmla="*/ 93 w 99"/>
                <a:gd name="T19" fmla="*/ 14 h 40"/>
                <a:gd name="T20" fmla="*/ 94 w 99"/>
                <a:gd name="T21" fmla="*/ 14 h 40"/>
                <a:gd name="T22" fmla="*/ 99 w 99"/>
                <a:gd name="T23" fmla="*/ 17 h 40"/>
                <a:gd name="T24" fmla="*/ 96 w 99"/>
                <a:gd name="T25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9" h="40">
                  <a:moveTo>
                    <a:pt x="96" y="39"/>
                  </a:moveTo>
                  <a:cubicBezTo>
                    <a:pt x="93" y="40"/>
                    <a:pt x="89" y="40"/>
                    <a:pt x="85" y="39"/>
                  </a:cubicBezTo>
                  <a:cubicBezTo>
                    <a:pt x="82" y="39"/>
                    <a:pt x="79" y="37"/>
                    <a:pt x="75" y="36"/>
                  </a:cubicBezTo>
                  <a:cubicBezTo>
                    <a:pt x="70" y="33"/>
                    <a:pt x="57" y="21"/>
                    <a:pt x="45" y="24"/>
                  </a:cubicBezTo>
                  <a:cubicBezTo>
                    <a:pt x="35" y="27"/>
                    <a:pt x="24" y="27"/>
                    <a:pt x="13" y="26"/>
                  </a:cubicBezTo>
                  <a:cubicBezTo>
                    <a:pt x="9" y="25"/>
                    <a:pt x="9" y="24"/>
                    <a:pt x="4" y="24"/>
                  </a:cubicBezTo>
                  <a:cubicBezTo>
                    <a:pt x="0" y="25"/>
                    <a:pt x="0" y="19"/>
                    <a:pt x="0" y="19"/>
                  </a:cubicBezTo>
                  <a:cubicBezTo>
                    <a:pt x="13" y="11"/>
                    <a:pt x="27" y="4"/>
                    <a:pt x="42" y="0"/>
                  </a:cubicBezTo>
                  <a:cubicBezTo>
                    <a:pt x="56" y="0"/>
                    <a:pt x="70" y="3"/>
                    <a:pt x="84" y="8"/>
                  </a:cubicBezTo>
                  <a:cubicBezTo>
                    <a:pt x="93" y="14"/>
                    <a:pt x="93" y="14"/>
                    <a:pt x="93" y="14"/>
                  </a:cubicBezTo>
                  <a:cubicBezTo>
                    <a:pt x="94" y="14"/>
                    <a:pt x="94" y="14"/>
                    <a:pt x="94" y="14"/>
                  </a:cubicBezTo>
                  <a:cubicBezTo>
                    <a:pt x="99" y="17"/>
                    <a:pt x="99" y="17"/>
                    <a:pt x="99" y="17"/>
                  </a:cubicBezTo>
                  <a:cubicBezTo>
                    <a:pt x="99" y="17"/>
                    <a:pt x="99" y="37"/>
                    <a:pt x="96" y="39"/>
                  </a:cubicBezTo>
                  <a:close/>
                </a:path>
              </a:pathLst>
            </a:custGeom>
            <a:solidFill>
              <a:srgbClr val="FFD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0" name="ExtraShape21">
              <a:extLst>
                <a:ext uri="{FF2B5EF4-FFF2-40B4-BE49-F238E27FC236}">
                  <a16:creationId xmlns:a16="http://schemas.microsoft.com/office/drawing/2014/main" id="{39001E85-4569-45F4-AFCD-435D959209F3}"/>
                </a:ext>
              </a:extLst>
            </p:cNvPr>
            <p:cNvSpPr/>
            <p:nvPr/>
          </p:nvSpPr>
          <p:spPr bwMode="auto">
            <a:xfrm flipH="1">
              <a:off x="3815095" y="2550510"/>
              <a:ext cx="81366" cy="42621"/>
            </a:xfrm>
            <a:custGeom>
              <a:avLst/>
              <a:gdLst>
                <a:gd name="T0" fmla="*/ 23 w 23"/>
                <a:gd name="T1" fmla="*/ 11 h 12"/>
                <a:gd name="T2" fmla="*/ 3 w 23"/>
                <a:gd name="T3" fmla="*/ 0 h 12"/>
                <a:gd name="T4" fmla="*/ 2 w 23"/>
                <a:gd name="T5" fmla="*/ 8 h 12"/>
                <a:gd name="T6" fmla="*/ 6 w 23"/>
                <a:gd name="T7" fmla="*/ 12 h 12"/>
                <a:gd name="T8" fmla="*/ 23 w 23"/>
                <a:gd name="T9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2">
                  <a:moveTo>
                    <a:pt x="23" y="11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0" y="6"/>
                    <a:pt x="2" y="8"/>
                  </a:cubicBezTo>
                  <a:cubicBezTo>
                    <a:pt x="3" y="10"/>
                    <a:pt x="4" y="11"/>
                    <a:pt x="6" y="12"/>
                  </a:cubicBezTo>
                  <a:cubicBezTo>
                    <a:pt x="11" y="11"/>
                    <a:pt x="17" y="10"/>
                    <a:pt x="23" y="11"/>
                  </a:cubicBezTo>
                  <a:close/>
                </a:path>
              </a:pathLst>
            </a:custGeom>
            <a:solidFill>
              <a:srgbClr val="FFD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1" name="ExtraShape22">
              <a:extLst>
                <a:ext uri="{FF2B5EF4-FFF2-40B4-BE49-F238E27FC236}">
                  <a16:creationId xmlns:a16="http://schemas.microsoft.com/office/drawing/2014/main" id="{D55A7361-65A9-4EB1-A4FA-F119983CD127}"/>
                </a:ext>
              </a:extLst>
            </p:cNvPr>
            <p:cNvSpPr/>
            <p:nvPr/>
          </p:nvSpPr>
          <p:spPr bwMode="auto">
            <a:xfrm flipH="1">
              <a:off x="3983638" y="2761672"/>
              <a:ext cx="358397" cy="91052"/>
            </a:xfrm>
            <a:custGeom>
              <a:avLst/>
              <a:gdLst>
                <a:gd name="T0" fmla="*/ 0 w 102"/>
                <a:gd name="T1" fmla="*/ 0 h 26"/>
                <a:gd name="T2" fmla="*/ 30 w 102"/>
                <a:gd name="T3" fmla="*/ 20 h 26"/>
                <a:gd name="T4" fmla="*/ 89 w 102"/>
                <a:gd name="T5" fmla="*/ 12 h 26"/>
                <a:gd name="T6" fmla="*/ 99 w 102"/>
                <a:gd name="T7" fmla="*/ 6 h 26"/>
                <a:gd name="T8" fmla="*/ 36 w 102"/>
                <a:gd name="T9" fmla="*/ 2 h 26"/>
                <a:gd name="T10" fmla="*/ 0 w 102"/>
                <a:gd name="T1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26">
                  <a:moveTo>
                    <a:pt x="0" y="0"/>
                  </a:moveTo>
                  <a:cubicBezTo>
                    <a:pt x="8" y="9"/>
                    <a:pt x="18" y="16"/>
                    <a:pt x="30" y="20"/>
                  </a:cubicBezTo>
                  <a:cubicBezTo>
                    <a:pt x="51" y="26"/>
                    <a:pt x="89" y="12"/>
                    <a:pt x="89" y="12"/>
                  </a:cubicBezTo>
                  <a:cubicBezTo>
                    <a:pt x="89" y="12"/>
                    <a:pt x="102" y="7"/>
                    <a:pt x="99" y="6"/>
                  </a:cubicBezTo>
                  <a:cubicBezTo>
                    <a:pt x="97" y="4"/>
                    <a:pt x="36" y="2"/>
                    <a:pt x="36" y="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D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2" name="ExtraShape23">
              <a:extLst>
                <a:ext uri="{FF2B5EF4-FFF2-40B4-BE49-F238E27FC236}">
                  <a16:creationId xmlns:a16="http://schemas.microsoft.com/office/drawing/2014/main" id="{B276BE39-5BB5-4675-9220-146E149EC2FF}"/>
                </a:ext>
              </a:extLst>
            </p:cNvPr>
            <p:cNvSpPr/>
            <p:nvPr/>
          </p:nvSpPr>
          <p:spPr bwMode="auto">
            <a:xfrm flipH="1">
              <a:off x="3923583" y="4824878"/>
              <a:ext cx="263470" cy="154982"/>
            </a:xfrm>
            <a:custGeom>
              <a:avLst/>
              <a:gdLst>
                <a:gd name="T0" fmla="*/ 0 w 75"/>
                <a:gd name="T1" fmla="*/ 19 h 44"/>
                <a:gd name="T2" fmla="*/ 15 w 75"/>
                <a:gd name="T3" fmla="*/ 38 h 44"/>
                <a:gd name="T4" fmla="*/ 16 w 75"/>
                <a:gd name="T5" fmla="*/ 44 h 44"/>
                <a:gd name="T6" fmla="*/ 75 w 75"/>
                <a:gd name="T7" fmla="*/ 21 h 44"/>
                <a:gd name="T8" fmla="*/ 73 w 75"/>
                <a:gd name="T9" fmla="*/ 3 h 44"/>
                <a:gd name="T10" fmla="*/ 48 w 75"/>
                <a:gd name="T11" fmla="*/ 12 h 44"/>
                <a:gd name="T12" fmla="*/ 38 w 75"/>
                <a:gd name="T13" fmla="*/ 0 h 44"/>
                <a:gd name="T14" fmla="*/ 0 w 75"/>
                <a:gd name="T15" fmla="*/ 19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44">
                  <a:moveTo>
                    <a:pt x="0" y="19"/>
                  </a:moveTo>
                  <a:cubicBezTo>
                    <a:pt x="0" y="19"/>
                    <a:pt x="14" y="26"/>
                    <a:pt x="15" y="38"/>
                  </a:cubicBezTo>
                  <a:cubicBezTo>
                    <a:pt x="16" y="44"/>
                    <a:pt x="16" y="44"/>
                    <a:pt x="16" y="44"/>
                  </a:cubicBezTo>
                  <a:cubicBezTo>
                    <a:pt x="16" y="44"/>
                    <a:pt x="69" y="33"/>
                    <a:pt x="75" y="21"/>
                  </a:cubicBezTo>
                  <a:cubicBezTo>
                    <a:pt x="73" y="3"/>
                    <a:pt x="73" y="3"/>
                    <a:pt x="73" y="3"/>
                  </a:cubicBezTo>
                  <a:cubicBezTo>
                    <a:pt x="66" y="10"/>
                    <a:pt x="57" y="13"/>
                    <a:pt x="48" y="12"/>
                  </a:cubicBezTo>
                  <a:cubicBezTo>
                    <a:pt x="36" y="8"/>
                    <a:pt x="38" y="0"/>
                    <a:pt x="38" y="0"/>
                  </a:cubicBezTo>
                  <a:lnTo>
                    <a:pt x="0" y="19"/>
                  </a:lnTo>
                  <a:close/>
                </a:path>
              </a:pathLst>
            </a:custGeom>
            <a:solidFill>
              <a:srgbClr val="686D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3" name="ExtraShape24">
              <a:extLst>
                <a:ext uri="{FF2B5EF4-FFF2-40B4-BE49-F238E27FC236}">
                  <a16:creationId xmlns:a16="http://schemas.microsoft.com/office/drawing/2014/main" id="{CDBA759F-CC1E-4D4A-9CF7-333E44ECE73B}"/>
                </a:ext>
              </a:extLst>
            </p:cNvPr>
            <p:cNvSpPr/>
            <p:nvPr/>
          </p:nvSpPr>
          <p:spPr bwMode="auto">
            <a:xfrm flipH="1">
              <a:off x="3559372" y="4832627"/>
              <a:ext cx="249911" cy="191791"/>
            </a:xfrm>
            <a:custGeom>
              <a:avLst/>
              <a:gdLst>
                <a:gd name="T0" fmla="*/ 4 w 71"/>
                <a:gd name="T1" fmla="*/ 33 h 55"/>
                <a:gd name="T2" fmla="*/ 0 w 71"/>
                <a:gd name="T3" fmla="*/ 31 h 55"/>
                <a:gd name="T4" fmla="*/ 34 w 71"/>
                <a:gd name="T5" fmla="*/ 0 h 55"/>
                <a:gd name="T6" fmla="*/ 68 w 71"/>
                <a:gd name="T7" fmla="*/ 3 h 55"/>
                <a:gd name="T8" fmla="*/ 71 w 71"/>
                <a:gd name="T9" fmla="*/ 21 h 55"/>
                <a:gd name="T10" fmla="*/ 16 w 71"/>
                <a:gd name="T11" fmla="*/ 55 h 55"/>
                <a:gd name="T12" fmla="*/ 4 w 71"/>
                <a:gd name="T13" fmla="*/ 3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55">
                  <a:moveTo>
                    <a:pt x="4" y="33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4" y="0"/>
                    <a:pt x="42" y="18"/>
                    <a:pt x="68" y="3"/>
                  </a:cubicBezTo>
                  <a:cubicBezTo>
                    <a:pt x="71" y="21"/>
                    <a:pt x="71" y="21"/>
                    <a:pt x="71" y="21"/>
                  </a:cubicBezTo>
                  <a:cubicBezTo>
                    <a:pt x="56" y="37"/>
                    <a:pt x="37" y="49"/>
                    <a:pt x="16" y="55"/>
                  </a:cubicBezTo>
                  <a:cubicBezTo>
                    <a:pt x="15" y="46"/>
                    <a:pt x="11" y="38"/>
                    <a:pt x="4" y="33"/>
                  </a:cubicBezTo>
                  <a:close/>
                </a:path>
              </a:pathLst>
            </a:custGeom>
            <a:solidFill>
              <a:srgbClr val="686D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4" name="ExtraShape25">
              <a:extLst>
                <a:ext uri="{FF2B5EF4-FFF2-40B4-BE49-F238E27FC236}">
                  <a16:creationId xmlns:a16="http://schemas.microsoft.com/office/drawing/2014/main" id="{67EC537F-9FC4-429A-91FF-AAAC881D3890}"/>
                </a:ext>
              </a:extLst>
            </p:cNvPr>
            <p:cNvSpPr/>
            <p:nvPr/>
          </p:nvSpPr>
          <p:spPr bwMode="auto">
            <a:xfrm flipH="1">
              <a:off x="3923583" y="4824878"/>
              <a:ext cx="263470" cy="154982"/>
            </a:xfrm>
            <a:custGeom>
              <a:avLst/>
              <a:gdLst>
                <a:gd name="T0" fmla="*/ 0 w 75"/>
                <a:gd name="T1" fmla="*/ 19 h 44"/>
                <a:gd name="T2" fmla="*/ 15 w 75"/>
                <a:gd name="T3" fmla="*/ 38 h 44"/>
                <a:gd name="T4" fmla="*/ 16 w 75"/>
                <a:gd name="T5" fmla="*/ 44 h 44"/>
                <a:gd name="T6" fmla="*/ 75 w 75"/>
                <a:gd name="T7" fmla="*/ 21 h 44"/>
                <a:gd name="T8" fmla="*/ 73 w 75"/>
                <a:gd name="T9" fmla="*/ 3 h 44"/>
                <a:gd name="T10" fmla="*/ 48 w 75"/>
                <a:gd name="T11" fmla="*/ 12 h 44"/>
                <a:gd name="T12" fmla="*/ 38 w 75"/>
                <a:gd name="T13" fmla="*/ 0 h 44"/>
                <a:gd name="T14" fmla="*/ 0 w 75"/>
                <a:gd name="T15" fmla="*/ 19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44">
                  <a:moveTo>
                    <a:pt x="0" y="19"/>
                  </a:moveTo>
                  <a:cubicBezTo>
                    <a:pt x="0" y="19"/>
                    <a:pt x="14" y="26"/>
                    <a:pt x="15" y="38"/>
                  </a:cubicBezTo>
                  <a:cubicBezTo>
                    <a:pt x="16" y="44"/>
                    <a:pt x="16" y="44"/>
                    <a:pt x="16" y="44"/>
                  </a:cubicBezTo>
                  <a:cubicBezTo>
                    <a:pt x="16" y="44"/>
                    <a:pt x="69" y="33"/>
                    <a:pt x="75" y="21"/>
                  </a:cubicBezTo>
                  <a:cubicBezTo>
                    <a:pt x="73" y="3"/>
                    <a:pt x="73" y="3"/>
                    <a:pt x="73" y="3"/>
                  </a:cubicBezTo>
                  <a:cubicBezTo>
                    <a:pt x="66" y="10"/>
                    <a:pt x="57" y="13"/>
                    <a:pt x="48" y="12"/>
                  </a:cubicBezTo>
                  <a:cubicBezTo>
                    <a:pt x="36" y="8"/>
                    <a:pt x="38" y="0"/>
                    <a:pt x="38" y="0"/>
                  </a:cubicBezTo>
                  <a:lnTo>
                    <a:pt x="0" y="19"/>
                  </a:lnTo>
                  <a:close/>
                </a:path>
              </a:pathLst>
            </a:custGeom>
            <a:solidFill>
              <a:srgbClr val="4C5D8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5" name="ExtraShape26">
              <a:extLst>
                <a:ext uri="{FF2B5EF4-FFF2-40B4-BE49-F238E27FC236}">
                  <a16:creationId xmlns:a16="http://schemas.microsoft.com/office/drawing/2014/main" id="{DAC009B9-8E81-4E01-BBCC-B8A08FE7F883}"/>
                </a:ext>
              </a:extLst>
            </p:cNvPr>
            <p:cNvSpPr/>
            <p:nvPr/>
          </p:nvSpPr>
          <p:spPr bwMode="auto">
            <a:xfrm flipH="1">
              <a:off x="3559372" y="4832627"/>
              <a:ext cx="249911" cy="191791"/>
            </a:xfrm>
            <a:custGeom>
              <a:avLst/>
              <a:gdLst>
                <a:gd name="T0" fmla="*/ 4 w 71"/>
                <a:gd name="T1" fmla="*/ 33 h 55"/>
                <a:gd name="T2" fmla="*/ 0 w 71"/>
                <a:gd name="T3" fmla="*/ 31 h 55"/>
                <a:gd name="T4" fmla="*/ 34 w 71"/>
                <a:gd name="T5" fmla="*/ 0 h 55"/>
                <a:gd name="T6" fmla="*/ 68 w 71"/>
                <a:gd name="T7" fmla="*/ 3 h 55"/>
                <a:gd name="T8" fmla="*/ 71 w 71"/>
                <a:gd name="T9" fmla="*/ 21 h 55"/>
                <a:gd name="T10" fmla="*/ 16 w 71"/>
                <a:gd name="T11" fmla="*/ 55 h 55"/>
                <a:gd name="T12" fmla="*/ 4 w 71"/>
                <a:gd name="T13" fmla="*/ 3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55">
                  <a:moveTo>
                    <a:pt x="4" y="33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4" y="0"/>
                    <a:pt x="42" y="18"/>
                    <a:pt x="68" y="3"/>
                  </a:cubicBezTo>
                  <a:cubicBezTo>
                    <a:pt x="71" y="21"/>
                    <a:pt x="71" y="21"/>
                    <a:pt x="71" y="21"/>
                  </a:cubicBezTo>
                  <a:cubicBezTo>
                    <a:pt x="56" y="37"/>
                    <a:pt x="37" y="49"/>
                    <a:pt x="16" y="55"/>
                  </a:cubicBezTo>
                  <a:cubicBezTo>
                    <a:pt x="15" y="46"/>
                    <a:pt x="11" y="38"/>
                    <a:pt x="4" y="33"/>
                  </a:cubicBezTo>
                  <a:close/>
                </a:path>
              </a:pathLst>
            </a:custGeom>
            <a:solidFill>
              <a:srgbClr val="4C5D8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6" name="ExtraShape27">
              <a:extLst>
                <a:ext uri="{FF2B5EF4-FFF2-40B4-BE49-F238E27FC236}">
                  <a16:creationId xmlns:a16="http://schemas.microsoft.com/office/drawing/2014/main" id="{07360CB5-C709-4A55-AEAB-2B1C6BC4F6E3}"/>
                </a:ext>
              </a:extLst>
            </p:cNvPr>
            <p:cNvSpPr/>
            <p:nvPr/>
          </p:nvSpPr>
          <p:spPr bwMode="auto">
            <a:xfrm flipH="1">
              <a:off x="4008819" y="2246356"/>
              <a:ext cx="722608" cy="525004"/>
            </a:xfrm>
            <a:custGeom>
              <a:avLst/>
              <a:gdLst>
                <a:gd name="T0" fmla="*/ 206 w 206"/>
                <a:gd name="T1" fmla="*/ 150 h 150"/>
                <a:gd name="T2" fmla="*/ 126 w 206"/>
                <a:gd name="T3" fmla="*/ 145 h 150"/>
                <a:gd name="T4" fmla="*/ 51 w 206"/>
                <a:gd name="T5" fmla="*/ 141 h 150"/>
                <a:gd name="T6" fmla="*/ 46 w 206"/>
                <a:gd name="T7" fmla="*/ 136 h 150"/>
                <a:gd name="T8" fmla="*/ 41 w 206"/>
                <a:gd name="T9" fmla="*/ 122 h 150"/>
                <a:gd name="T10" fmla="*/ 25 w 206"/>
                <a:gd name="T11" fmla="*/ 75 h 150"/>
                <a:gd name="T12" fmla="*/ 0 w 206"/>
                <a:gd name="T13" fmla="*/ 4 h 150"/>
                <a:gd name="T14" fmla="*/ 2 w 206"/>
                <a:gd name="T15" fmla="*/ 0 h 150"/>
                <a:gd name="T16" fmla="*/ 75 w 206"/>
                <a:gd name="T17" fmla="*/ 1 h 150"/>
                <a:gd name="T18" fmla="*/ 153 w 206"/>
                <a:gd name="T19" fmla="*/ 2 h 150"/>
                <a:gd name="T20" fmla="*/ 161 w 206"/>
                <a:gd name="T21" fmla="*/ 10 h 150"/>
                <a:gd name="T22" fmla="*/ 193 w 206"/>
                <a:gd name="T23" fmla="*/ 135 h 150"/>
                <a:gd name="T24" fmla="*/ 206 w 206"/>
                <a:gd name="T25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6" h="150">
                  <a:moveTo>
                    <a:pt x="206" y="150"/>
                  </a:moveTo>
                  <a:cubicBezTo>
                    <a:pt x="126" y="145"/>
                    <a:pt x="126" y="145"/>
                    <a:pt x="126" y="145"/>
                  </a:cubicBezTo>
                  <a:cubicBezTo>
                    <a:pt x="51" y="141"/>
                    <a:pt x="51" y="141"/>
                    <a:pt x="51" y="141"/>
                  </a:cubicBezTo>
                  <a:cubicBezTo>
                    <a:pt x="49" y="140"/>
                    <a:pt x="47" y="138"/>
                    <a:pt x="46" y="136"/>
                  </a:cubicBezTo>
                  <a:cubicBezTo>
                    <a:pt x="41" y="122"/>
                    <a:pt x="41" y="122"/>
                    <a:pt x="41" y="122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1"/>
                    <a:pt x="2" y="0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153" y="2"/>
                    <a:pt x="153" y="2"/>
                    <a:pt x="153" y="2"/>
                  </a:cubicBezTo>
                  <a:cubicBezTo>
                    <a:pt x="157" y="2"/>
                    <a:pt x="161" y="6"/>
                    <a:pt x="161" y="10"/>
                  </a:cubicBezTo>
                  <a:cubicBezTo>
                    <a:pt x="162" y="17"/>
                    <a:pt x="193" y="135"/>
                    <a:pt x="193" y="135"/>
                  </a:cubicBezTo>
                  <a:cubicBezTo>
                    <a:pt x="195" y="141"/>
                    <a:pt x="200" y="147"/>
                    <a:pt x="206" y="150"/>
                  </a:cubicBezTo>
                  <a:close/>
                </a:path>
              </a:pathLst>
            </a:custGeom>
            <a:gradFill>
              <a:gsLst>
                <a:gs pos="0">
                  <a:srgbClr val="476484"/>
                </a:gs>
                <a:gs pos="100000">
                  <a:srgbClr val="8FA8C3"/>
                </a:gs>
              </a:gsLst>
              <a:lin ang="0" scaled="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7" name="ExtraShape28">
              <a:extLst>
                <a:ext uri="{FF2B5EF4-FFF2-40B4-BE49-F238E27FC236}">
                  <a16:creationId xmlns:a16="http://schemas.microsoft.com/office/drawing/2014/main" id="{3645B307-5B91-4FC1-8704-EF41704DCDDA}"/>
                </a:ext>
              </a:extLst>
            </p:cNvPr>
            <p:cNvSpPr/>
            <p:nvPr/>
          </p:nvSpPr>
          <p:spPr bwMode="auto">
            <a:xfrm flipH="1">
              <a:off x="3758912" y="2688056"/>
              <a:ext cx="249911" cy="91052"/>
            </a:xfrm>
            <a:custGeom>
              <a:avLst/>
              <a:gdLst>
                <a:gd name="T0" fmla="*/ 0 w 71"/>
                <a:gd name="T1" fmla="*/ 0 h 26"/>
                <a:gd name="T2" fmla="*/ 0 w 71"/>
                <a:gd name="T3" fmla="*/ 24 h 26"/>
                <a:gd name="T4" fmla="*/ 64 w 71"/>
                <a:gd name="T5" fmla="*/ 26 h 26"/>
                <a:gd name="T6" fmla="*/ 70 w 71"/>
                <a:gd name="T7" fmla="*/ 19 h 26"/>
                <a:gd name="T8" fmla="*/ 64 w 71"/>
                <a:gd name="T9" fmla="*/ 9 h 26"/>
                <a:gd name="T10" fmla="*/ 3 w 71"/>
                <a:gd name="T11" fmla="*/ 1 h 26"/>
                <a:gd name="T12" fmla="*/ 0 w 71"/>
                <a:gd name="T13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26">
                  <a:moveTo>
                    <a:pt x="0" y="0"/>
                  </a:moveTo>
                  <a:cubicBezTo>
                    <a:pt x="0" y="0"/>
                    <a:pt x="10" y="22"/>
                    <a:pt x="0" y="24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64" y="26"/>
                    <a:pt x="71" y="25"/>
                    <a:pt x="70" y="19"/>
                  </a:cubicBezTo>
                  <a:cubicBezTo>
                    <a:pt x="69" y="15"/>
                    <a:pt x="67" y="12"/>
                    <a:pt x="64" y="9"/>
                  </a:cubicBezTo>
                  <a:cubicBezTo>
                    <a:pt x="3" y="1"/>
                    <a:pt x="3" y="1"/>
                    <a:pt x="3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405">
                <a:alpha val="1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8" name="ExtraShape29">
              <a:extLst>
                <a:ext uri="{FF2B5EF4-FFF2-40B4-BE49-F238E27FC236}">
                  <a16:creationId xmlns:a16="http://schemas.microsoft.com/office/drawing/2014/main" id="{6C99D95E-8838-4B93-987B-808B44A24E2D}"/>
                </a:ext>
              </a:extLst>
            </p:cNvPr>
            <p:cNvSpPr/>
            <p:nvPr/>
          </p:nvSpPr>
          <p:spPr bwMode="auto">
            <a:xfrm flipH="1">
              <a:off x="4001074" y="2713241"/>
              <a:ext cx="25185" cy="44558"/>
            </a:xfrm>
            <a:custGeom>
              <a:avLst/>
              <a:gdLst>
                <a:gd name="T0" fmla="*/ 4 w 7"/>
                <a:gd name="T1" fmla="*/ 12 h 13"/>
                <a:gd name="T2" fmla="*/ 6 w 7"/>
                <a:gd name="T3" fmla="*/ 6 h 13"/>
                <a:gd name="T4" fmla="*/ 2 w 7"/>
                <a:gd name="T5" fmla="*/ 0 h 13"/>
                <a:gd name="T6" fmla="*/ 0 w 7"/>
                <a:gd name="T7" fmla="*/ 7 h 13"/>
                <a:gd name="T8" fmla="*/ 4 w 7"/>
                <a:gd name="T9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3">
                  <a:moveTo>
                    <a:pt x="4" y="12"/>
                  </a:moveTo>
                  <a:cubicBezTo>
                    <a:pt x="6" y="12"/>
                    <a:pt x="7" y="9"/>
                    <a:pt x="6" y="6"/>
                  </a:cubicBezTo>
                  <a:cubicBezTo>
                    <a:pt x="5" y="2"/>
                    <a:pt x="3" y="0"/>
                    <a:pt x="2" y="0"/>
                  </a:cubicBezTo>
                  <a:cubicBezTo>
                    <a:pt x="0" y="1"/>
                    <a:pt x="0" y="4"/>
                    <a:pt x="0" y="7"/>
                  </a:cubicBezTo>
                  <a:cubicBezTo>
                    <a:pt x="1" y="10"/>
                    <a:pt x="3" y="13"/>
                    <a:pt x="4" y="12"/>
                  </a:cubicBezTo>
                  <a:close/>
                </a:path>
              </a:pathLst>
            </a:custGeom>
            <a:solidFill>
              <a:srgbClr val="C7FD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9" name="ExtraShape30">
              <a:extLst>
                <a:ext uri="{FF2B5EF4-FFF2-40B4-BE49-F238E27FC236}">
                  <a16:creationId xmlns:a16="http://schemas.microsoft.com/office/drawing/2014/main" id="{4F419A28-417D-40AF-8EEA-164A2754C2D4}"/>
                </a:ext>
              </a:extLst>
            </p:cNvPr>
            <p:cNvSpPr/>
            <p:nvPr/>
          </p:nvSpPr>
          <p:spPr bwMode="auto">
            <a:xfrm flipH="1">
              <a:off x="4053381" y="2680307"/>
              <a:ext cx="526940" cy="91052"/>
            </a:xfrm>
            <a:custGeom>
              <a:avLst/>
              <a:gdLst>
                <a:gd name="T0" fmla="*/ 150 w 150"/>
                <a:gd name="T1" fmla="*/ 26 h 26"/>
                <a:gd name="T2" fmla="*/ 85 w 150"/>
                <a:gd name="T3" fmla="*/ 23 h 26"/>
                <a:gd name="T4" fmla="*/ 10 w 150"/>
                <a:gd name="T5" fmla="*/ 19 h 26"/>
                <a:gd name="T6" fmla="*/ 5 w 150"/>
                <a:gd name="T7" fmla="*/ 13 h 26"/>
                <a:gd name="T8" fmla="*/ 0 w 150"/>
                <a:gd name="T9" fmla="*/ 0 h 26"/>
                <a:gd name="T10" fmla="*/ 139 w 150"/>
                <a:gd name="T11" fmla="*/ 3 h 26"/>
                <a:gd name="T12" fmla="*/ 150 w 150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26">
                  <a:moveTo>
                    <a:pt x="150" y="26"/>
                  </a:moveTo>
                  <a:cubicBezTo>
                    <a:pt x="85" y="23"/>
                    <a:pt x="85" y="23"/>
                    <a:pt x="85" y="23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8" y="18"/>
                    <a:pt x="6" y="16"/>
                    <a:pt x="5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39" y="3"/>
                    <a:pt x="139" y="3"/>
                    <a:pt x="139" y="3"/>
                  </a:cubicBezTo>
                  <a:cubicBezTo>
                    <a:pt x="141" y="11"/>
                    <a:pt x="145" y="19"/>
                    <a:pt x="150" y="26"/>
                  </a:cubicBezTo>
                  <a:close/>
                </a:path>
              </a:pathLst>
            </a:custGeom>
            <a:solidFill>
              <a:srgbClr val="3D5773">
                <a:alpha val="39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0" name="ExtraShape31">
              <a:extLst>
                <a:ext uri="{FF2B5EF4-FFF2-40B4-BE49-F238E27FC236}">
                  <a16:creationId xmlns:a16="http://schemas.microsoft.com/office/drawing/2014/main" id="{58735A07-D6E7-4540-AF34-1777E709F6C0}"/>
                </a:ext>
              </a:extLst>
            </p:cNvPr>
            <p:cNvSpPr/>
            <p:nvPr/>
          </p:nvSpPr>
          <p:spPr bwMode="auto">
            <a:xfrm flipH="1">
              <a:off x="3867400" y="3389351"/>
              <a:ext cx="77491" cy="238287"/>
            </a:xfrm>
            <a:custGeom>
              <a:avLst/>
              <a:gdLst>
                <a:gd name="T0" fmla="*/ 0 w 22"/>
                <a:gd name="T1" fmla="*/ 0 h 68"/>
                <a:gd name="T2" fmla="*/ 22 w 22"/>
                <a:gd name="T3" fmla="*/ 68 h 68"/>
                <a:gd name="T4" fmla="*/ 18 w 22"/>
                <a:gd name="T5" fmla="*/ 1 h 68"/>
                <a:gd name="T6" fmla="*/ 0 w 22"/>
                <a:gd name="T7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68">
                  <a:moveTo>
                    <a:pt x="0" y="0"/>
                  </a:moveTo>
                  <a:cubicBezTo>
                    <a:pt x="0" y="0"/>
                    <a:pt x="7" y="56"/>
                    <a:pt x="22" y="68"/>
                  </a:cubicBezTo>
                  <a:cubicBezTo>
                    <a:pt x="18" y="1"/>
                    <a:pt x="18" y="1"/>
                    <a:pt x="18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1" name="ExtraShape32">
              <a:extLst>
                <a:ext uri="{FF2B5EF4-FFF2-40B4-BE49-F238E27FC236}">
                  <a16:creationId xmlns:a16="http://schemas.microsoft.com/office/drawing/2014/main" id="{81539255-684E-42AA-A82B-71F5A3416805}"/>
                </a:ext>
              </a:extLst>
            </p:cNvPr>
            <p:cNvSpPr/>
            <p:nvPr/>
          </p:nvSpPr>
          <p:spPr bwMode="auto">
            <a:xfrm flipH="1">
              <a:off x="3495444" y="3306050"/>
              <a:ext cx="98801" cy="1487832"/>
            </a:xfrm>
            <a:custGeom>
              <a:avLst/>
              <a:gdLst>
                <a:gd name="T0" fmla="*/ 0 w 51"/>
                <a:gd name="T1" fmla="*/ 11 h 768"/>
                <a:gd name="T2" fmla="*/ 13 w 51"/>
                <a:gd name="T3" fmla="*/ 768 h 768"/>
                <a:gd name="T4" fmla="*/ 51 w 51"/>
                <a:gd name="T5" fmla="*/ 0 h 768"/>
                <a:gd name="T6" fmla="*/ 0 w 51"/>
                <a:gd name="T7" fmla="*/ 11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" h="768">
                  <a:moveTo>
                    <a:pt x="0" y="11"/>
                  </a:moveTo>
                  <a:lnTo>
                    <a:pt x="13" y="768"/>
                  </a:lnTo>
                  <a:lnTo>
                    <a:pt x="51" y="0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2" name="ExtraShape33">
              <a:extLst>
                <a:ext uri="{FF2B5EF4-FFF2-40B4-BE49-F238E27FC236}">
                  <a16:creationId xmlns:a16="http://schemas.microsoft.com/office/drawing/2014/main" id="{E0712B4F-02C7-44D4-A12B-56B551F56603}"/>
                </a:ext>
              </a:extLst>
            </p:cNvPr>
            <p:cNvSpPr/>
            <p:nvPr/>
          </p:nvSpPr>
          <p:spPr bwMode="auto">
            <a:xfrm flipH="1">
              <a:off x="3654299" y="2639625"/>
              <a:ext cx="48433" cy="91052"/>
            </a:xfrm>
            <a:custGeom>
              <a:avLst/>
              <a:gdLst>
                <a:gd name="T0" fmla="*/ 11 w 14"/>
                <a:gd name="T1" fmla="*/ 25 h 26"/>
                <a:gd name="T2" fmla="*/ 0 w 14"/>
                <a:gd name="T3" fmla="*/ 25 h 26"/>
                <a:gd name="T4" fmla="*/ 8 w 14"/>
                <a:gd name="T5" fmla="*/ 0 h 26"/>
                <a:gd name="T6" fmla="*/ 9 w 14"/>
                <a:gd name="T7" fmla="*/ 0 h 26"/>
                <a:gd name="T8" fmla="*/ 14 w 14"/>
                <a:gd name="T9" fmla="*/ 3 h 26"/>
                <a:gd name="T10" fmla="*/ 11 w 14"/>
                <a:gd name="T11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26">
                  <a:moveTo>
                    <a:pt x="11" y="25"/>
                  </a:moveTo>
                  <a:cubicBezTo>
                    <a:pt x="8" y="26"/>
                    <a:pt x="4" y="26"/>
                    <a:pt x="0" y="25"/>
                  </a:cubicBezTo>
                  <a:cubicBezTo>
                    <a:pt x="10" y="23"/>
                    <a:pt x="8" y="0"/>
                    <a:pt x="8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23"/>
                    <a:pt x="11" y="25"/>
                  </a:cubicBezTo>
                  <a:close/>
                </a:path>
              </a:pathLst>
            </a:custGeom>
            <a:solidFill>
              <a:srgbClr val="FFD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3" name="ExtraShape34">
              <a:extLst>
                <a:ext uri="{FF2B5EF4-FFF2-40B4-BE49-F238E27FC236}">
                  <a16:creationId xmlns:a16="http://schemas.microsoft.com/office/drawing/2014/main" id="{65A20479-A067-472C-B521-56576B5EB31C}"/>
                </a:ext>
              </a:extLst>
            </p:cNvPr>
            <p:cNvSpPr/>
            <p:nvPr/>
          </p:nvSpPr>
          <p:spPr bwMode="auto">
            <a:xfrm flipH="1">
              <a:off x="3865465" y="3492029"/>
              <a:ext cx="100739" cy="1303790"/>
            </a:xfrm>
            <a:custGeom>
              <a:avLst/>
              <a:gdLst>
                <a:gd name="T0" fmla="*/ 11 w 29"/>
                <a:gd name="T1" fmla="*/ 0 h 372"/>
                <a:gd name="T2" fmla="*/ 0 w 29"/>
                <a:gd name="T3" fmla="*/ 372 h 372"/>
                <a:gd name="T4" fmla="*/ 11 w 29"/>
                <a:gd name="T5" fmla="*/ 369 h 372"/>
                <a:gd name="T6" fmla="*/ 29 w 29"/>
                <a:gd name="T7" fmla="*/ 39 h 372"/>
                <a:gd name="T8" fmla="*/ 11 w 29"/>
                <a:gd name="T9" fmla="*/ 0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372">
                  <a:moveTo>
                    <a:pt x="11" y="0"/>
                  </a:moveTo>
                  <a:cubicBezTo>
                    <a:pt x="0" y="372"/>
                    <a:pt x="0" y="372"/>
                    <a:pt x="0" y="372"/>
                  </a:cubicBezTo>
                  <a:cubicBezTo>
                    <a:pt x="4" y="372"/>
                    <a:pt x="8" y="371"/>
                    <a:pt x="11" y="369"/>
                  </a:cubicBezTo>
                  <a:cubicBezTo>
                    <a:pt x="29" y="39"/>
                    <a:pt x="29" y="39"/>
                    <a:pt x="29" y="39"/>
                  </a:cubicBezTo>
                  <a:lnTo>
                    <a:pt x="11" y="0"/>
                  </a:ln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4" name="ExtraShape35">
              <a:extLst>
                <a:ext uri="{FF2B5EF4-FFF2-40B4-BE49-F238E27FC236}">
                  <a16:creationId xmlns:a16="http://schemas.microsoft.com/office/drawing/2014/main" id="{9FAF37A8-CD46-426A-A256-A4BA172BCC5B}"/>
                </a:ext>
              </a:extLst>
            </p:cNvPr>
            <p:cNvSpPr/>
            <p:nvPr/>
          </p:nvSpPr>
          <p:spPr bwMode="auto">
            <a:xfrm flipH="1">
              <a:off x="4467959" y="2246356"/>
              <a:ext cx="263470" cy="280906"/>
            </a:xfrm>
            <a:custGeom>
              <a:avLst/>
              <a:gdLst>
                <a:gd name="T0" fmla="*/ 75 w 75"/>
                <a:gd name="T1" fmla="*/ 1 h 80"/>
                <a:gd name="T2" fmla="*/ 73 w 75"/>
                <a:gd name="T3" fmla="*/ 7 h 80"/>
                <a:gd name="T4" fmla="*/ 30 w 75"/>
                <a:gd name="T5" fmla="*/ 80 h 80"/>
                <a:gd name="T6" fmla="*/ 25 w 75"/>
                <a:gd name="T7" fmla="*/ 75 h 80"/>
                <a:gd name="T8" fmla="*/ 0 w 75"/>
                <a:gd name="T9" fmla="*/ 4 h 80"/>
                <a:gd name="T10" fmla="*/ 2 w 75"/>
                <a:gd name="T11" fmla="*/ 0 h 80"/>
                <a:gd name="T12" fmla="*/ 75 w 75"/>
                <a:gd name="T13" fmla="*/ 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80">
                  <a:moveTo>
                    <a:pt x="75" y="1"/>
                  </a:moveTo>
                  <a:cubicBezTo>
                    <a:pt x="73" y="7"/>
                    <a:pt x="73" y="7"/>
                    <a:pt x="73" y="7"/>
                  </a:cubicBezTo>
                  <a:cubicBezTo>
                    <a:pt x="30" y="80"/>
                    <a:pt x="30" y="80"/>
                    <a:pt x="30" y="80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1" y="1"/>
                    <a:pt x="2" y="0"/>
                  </a:cubicBezTo>
                  <a:lnTo>
                    <a:pt x="75" y="1"/>
                  </a:lnTo>
                  <a:close/>
                </a:path>
              </a:pathLst>
            </a:custGeom>
            <a:solidFill>
              <a:srgbClr val="FFFFFF">
                <a:alpha val="24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5" name="ExtraShape1">
              <a:extLst>
                <a:ext uri="{FF2B5EF4-FFF2-40B4-BE49-F238E27FC236}">
                  <a16:creationId xmlns:a16="http://schemas.microsoft.com/office/drawing/2014/main" id="{C679D493-A266-4436-B060-AEF182461575}"/>
                </a:ext>
              </a:extLst>
            </p:cNvPr>
            <p:cNvSpPr/>
            <p:nvPr/>
          </p:nvSpPr>
          <p:spPr bwMode="auto">
            <a:xfrm>
              <a:off x="5012688" y="4186481"/>
              <a:ext cx="3918280" cy="2449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6" name="ExtraShape2">
              <a:extLst>
                <a:ext uri="{FF2B5EF4-FFF2-40B4-BE49-F238E27FC236}">
                  <a16:creationId xmlns:a16="http://schemas.microsoft.com/office/drawing/2014/main" id="{417AF82E-C182-4B67-A11C-E24AF621B6D8}"/>
                </a:ext>
              </a:extLst>
            </p:cNvPr>
            <p:cNvSpPr/>
            <p:nvPr/>
          </p:nvSpPr>
          <p:spPr bwMode="auto">
            <a:xfrm>
              <a:off x="5012688" y="3679203"/>
              <a:ext cx="3918280" cy="2449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7" name="ExtraShape3">
              <a:extLst>
                <a:ext uri="{FF2B5EF4-FFF2-40B4-BE49-F238E27FC236}">
                  <a16:creationId xmlns:a16="http://schemas.microsoft.com/office/drawing/2014/main" id="{5F732505-47C7-432B-93B5-F4534A3DED87}"/>
                </a:ext>
              </a:extLst>
            </p:cNvPr>
            <p:cNvSpPr/>
            <p:nvPr/>
          </p:nvSpPr>
          <p:spPr bwMode="auto">
            <a:xfrm>
              <a:off x="5012688" y="3164928"/>
              <a:ext cx="3918280" cy="2798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8" name="ExtraShape4">
              <a:extLst>
                <a:ext uri="{FF2B5EF4-FFF2-40B4-BE49-F238E27FC236}">
                  <a16:creationId xmlns:a16="http://schemas.microsoft.com/office/drawing/2014/main" id="{635DF46D-206F-49AD-9E17-D0AF0F168E07}"/>
                </a:ext>
              </a:extLst>
            </p:cNvPr>
            <p:cNvSpPr/>
            <p:nvPr/>
          </p:nvSpPr>
          <p:spPr bwMode="auto">
            <a:xfrm>
              <a:off x="5012688" y="2657652"/>
              <a:ext cx="3918280" cy="2798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9" name="ExtraShape5">
              <a:extLst>
                <a:ext uri="{FF2B5EF4-FFF2-40B4-BE49-F238E27FC236}">
                  <a16:creationId xmlns:a16="http://schemas.microsoft.com/office/drawing/2014/main" id="{24D8E60B-79D2-4BE5-B6DB-147CC33DB5CA}"/>
                </a:ext>
              </a:extLst>
            </p:cNvPr>
            <p:cNvSpPr/>
            <p:nvPr/>
          </p:nvSpPr>
          <p:spPr bwMode="auto">
            <a:xfrm>
              <a:off x="5012688" y="2146875"/>
              <a:ext cx="3918280" cy="2449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50" name="ExtraShape6">
              <a:extLst>
                <a:ext uri="{FF2B5EF4-FFF2-40B4-BE49-F238E27FC236}">
                  <a16:creationId xmlns:a16="http://schemas.microsoft.com/office/drawing/2014/main" id="{D01B7356-4559-45A0-BAE0-E174A226A3FD}"/>
                </a:ext>
              </a:extLst>
            </p:cNvPr>
            <p:cNvSpPr/>
            <p:nvPr/>
          </p:nvSpPr>
          <p:spPr bwMode="auto">
            <a:xfrm>
              <a:off x="4911230" y="1734056"/>
              <a:ext cx="4019735" cy="3015675"/>
            </a:xfrm>
            <a:custGeom>
              <a:avLst/>
              <a:gdLst>
                <a:gd name="T0" fmla="*/ 22 w 1149"/>
                <a:gd name="T1" fmla="*/ 0 h 862"/>
                <a:gd name="T2" fmla="*/ 0 w 1149"/>
                <a:gd name="T3" fmla="*/ 0 h 862"/>
                <a:gd name="T4" fmla="*/ 0 w 1149"/>
                <a:gd name="T5" fmla="*/ 862 h 862"/>
                <a:gd name="T6" fmla="*/ 1149 w 1149"/>
                <a:gd name="T7" fmla="*/ 862 h 862"/>
                <a:gd name="T8" fmla="*/ 1149 w 1149"/>
                <a:gd name="T9" fmla="*/ 840 h 862"/>
                <a:gd name="T10" fmla="*/ 22 w 1149"/>
                <a:gd name="T11" fmla="*/ 840 h 862"/>
                <a:gd name="T12" fmla="*/ 22 w 1149"/>
                <a:gd name="T13" fmla="*/ 0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49" h="862">
                  <a:moveTo>
                    <a:pt x="22" y="0"/>
                  </a:moveTo>
                  <a:lnTo>
                    <a:pt x="0" y="0"/>
                  </a:lnTo>
                  <a:lnTo>
                    <a:pt x="0" y="862"/>
                  </a:lnTo>
                  <a:lnTo>
                    <a:pt x="1149" y="862"/>
                  </a:lnTo>
                  <a:lnTo>
                    <a:pt x="1149" y="840"/>
                  </a:lnTo>
                  <a:lnTo>
                    <a:pt x="22" y="840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51" name="RelativeShape1">
              <a:extLst>
                <a:ext uri="{FF2B5EF4-FFF2-40B4-BE49-F238E27FC236}">
                  <a16:creationId xmlns:a16="http://schemas.microsoft.com/office/drawing/2014/main" id="{F225F76E-5E26-460A-8009-70CD960311CD}"/>
                </a:ext>
              </a:extLst>
            </p:cNvPr>
            <p:cNvSpPr/>
            <p:nvPr/>
          </p:nvSpPr>
          <p:spPr>
            <a:xfrm>
              <a:off x="5394018" y="1589858"/>
              <a:ext cx="430313" cy="308110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52" name="ValueShape1">
              <a:extLst>
                <a:ext uri="{FF2B5EF4-FFF2-40B4-BE49-F238E27FC236}">
                  <a16:creationId xmlns:a16="http://schemas.microsoft.com/office/drawing/2014/main" id="{EAAE2314-E66C-4D58-8DEE-893C379CA3C8}"/>
                </a:ext>
              </a:extLst>
            </p:cNvPr>
            <p:cNvSpPr/>
            <p:nvPr/>
          </p:nvSpPr>
          <p:spPr>
            <a:xfrm>
              <a:off x="6213359" y="3214549"/>
              <a:ext cx="430313" cy="1448118"/>
            </a:xfrm>
            <a:prstGeom prst="rect">
              <a:avLst/>
            </a:prstGeom>
            <a:solidFill>
              <a:schemeClr val="accent1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53" name="RelativeShape2">
              <a:extLst>
                <a:ext uri="{FF2B5EF4-FFF2-40B4-BE49-F238E27FC236}">
                  <a16:creationId xmlns:a16="http://schemas.microsoft.com/office/drawing/2014/main" id="{03384D5D-9161-4054-AF18-C7908DDA984C}"/>
                </a:ext>
              </a:extLst>
            </p:cNvPr>
            <p:cNvSpPr/>
            <p:nvPr/>
          </p:nvSpPr>
          <p:spPr>
            <a:xfrm>
              <a:off x="6223151" y="1589858"/>
              <a:ext cx="430313" cy="308110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54" name="ValueShape2">
              <a:extLst>
                <a:ext uri="{FF2B5EF4-FFF2-40B4-BE49-F238E27FC236}">
                  <a16:creationId xmlns:a16="http://schemas.microsoft.com/office/drawing/2014/main" id="{61A6988A-7947-4BC9-8CBF-00AAB5E43EC8}"/>
                </a:ext>
              </a:extLst>
            </p:cNvPr>
            <p:cNvSpPr/>
            <p:nvPr/>
          </p:nvSpPr>
          <p:spPr>
            <a:xfrm>
              <a:off x="5423252" y="2883921"/>
              <a:ext cx="430313" cy="1787040"/>
            </a:xfrm>
            <a:prstGeom prst="rect">
              <a:avLst/>
            </a:prstGeom>
            <a:solidFill>
              <a:schemeClr val="accent3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zh-CN" altLang="en-US" dirty="0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55" name="RelativeShape3">
              <a:extLst>
                <a:ext uri="{FF2B5EF4-FFF2-40B4-BE49-F238E27FC236}">
                  <a16:creationId xmlns:a16="http://schemas.microsoft.com/office/drawing/2014/main" id="{38A0E697-25E3-4BF3-AC53-4DF2C29C6B5C}"/>
                </a:ext>
              </a:extLst>
            </p:cNvPr>
            <p:cNvSpPr/>
            <p:nvPr/>
          </p:nvSpPr>
          <p:spPr>
            <a:xfrm>
              <a:off x="7052284" y="1589858"/>
              <a:ext cx="430313" cy="308110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56" name="ValueShape3">
              <a:extLst>
                <a:ext uri="{FF2B5EF4-FFF2-40B4-BE49-F238E27FC236}">
                  <a16:creationId xmlns:a16="http://schemas.microsoft.com/office/drawing/2014/main" id="{B2EDC070-B1B9-4103-BCB9-B30DF666B4B0}"/>
                </a:ext>
              </a:extLst>
            </p:cNvPr>
            <p:cNvSpPr/>
            <p:nvPr/>
          </p:nvSpPr>
          <p:spPr>
            <a:xfrm>
              <a:off x="7052284" y="2360134"/>
              <a:ext cx="430313" cy="2310827"/>
            </a:xfrm>
            <a:prstGeom prst="rect">
              <a:avLst/>
            </a:prstGeom>
            <a:solidFill>
              <a:schemeClr val="accent4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57" name="RelativeShape4">
              <a:extLst>
                <a:ext uri="{FF2B5EF4-FFF2-40B4-BE49-F238E27FC236}">
                  <a16:creationId xmlns:a16="http://schemas.microsoft.com/office/drawing/2014/main" id="{33176789-E9F3-4BC0-9AC1-42E6230A7792}"/>
                </a:ext>
              </a:extLst>
            </p:cNvPr>
            <p:cNvSpPr/>
            <p:nvPr/>
          </p:nvSpPr>
          <p:spPr>
            <a:xfrm>
              <a:off x="7881417" y="1589858"/>
              <a:ext cx="430313" cy="308110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58" name="ValueShape4">
              <a:extLst>
                <a:ext uri="{FF2B5EF4-FFF2-40B4-BE49-F238E27FC236}">
                  <a16:creationId xmlns:a16="http://schemas.microsoft.com/office/drawing/2014/main" id="{25B7125C-1157-4F6E-B297-3F1126135E47}"/>
                </a:ext>
              </a:extLst>
            </p:cNvPr>
            <p:cNvSpPr/>
            <p:nvPr/>
          </p:nvSpPr>
          <p:spPr>
            <a:xfrm>
              <a:off x="7881417" y="1589858"/>
              <a:ext cx="430313" cy="3081103"/>
            </a:xfrm>
            <a:prstGeom prst="rect">
              <a:avLst/>
            </a:prstGeom>
            <a:solidFill>
              <a:schemeClr val="accent5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zh-CN" altLang="en-US" dirty="0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</p:grpSp>
      <p:sp>
        <p:nvSpPr>
          <p:cNvPr id="82" name="文本框 81">
            <a:extLst>
              <a:ext uri="{FF2B5EF4-FFF2-40B4-BE49-F238E27FC236}">
                <a16:creationId xmlns:a16="http://schemas.microsoft.com/office/drawing/2014/main" id="{BCBC0D4A-3EC6-4647-95EF-F0E9AAA5AF70}"/>
              </a:ext>
            </a:extLst>
          </p:cNvPr>
          <p:cNvSpPr txBox="1"/>
          <p:nvPr/>
        </p:nvSpPr>
        <p:spPr>
          <a:xfrm>
            <a:off x="7318101" y="3154401"/>
            <a:ext cx="3616326" cy="1627048"/>
          </a:xfrm>
          <a:prstGeom prst="rect">
            <a:avLst/>
          </a:prstGeom>
          <a:noFill/>
          <a:ln w="38100"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zh-CN" sz="1300" dirty="0">
                <a:latin typeface=""/>
                <a:ea typeface="微软雅黑" panose="020B0503020204020204" pitchFamily="34" charset="-122"/>
                <a:sym typeface=""/>
              </a:rPr>
              <a:t>1.</a:t>
            </a:r>
            <a:r>
              <a:rPr lang="zh-CN" altLang="en-US" sz="1300" dirty="0">
                <a:latin typeface=""/>
                <a:ea typeface="微软雅黑" panose="020B0503020204020204" pitchFamily="34" charset="-122"/>
                <a:sym typeface=""/>
              </a:rPr>
              <a:t>加权移动平均法确定变化趋势；</a:t>
            </a:r>
            <a:endParaRPr lang="en-US" altLang="zh-CN" sz="1300" dirty="0">
              <a:latin typeface=""/>
              <a:ea typeface="微软雅黑" panose="020B0503020204020204" pitchFamily="34" charset="-122"/>
              <a:sym typeface=""/>
            </a:endParaRPr>
          </a:p>
          <a:p>
            <a:pPr>
              <a:lnSpc>
                <a:spcPct val="130000"/>
              </a:lnSpc>
            </a:pPr>
            <a:endParaRPr lang="en-US" altLang="zh-CN" sz="1300" dirty="0">
              <a:latin typeface=""/>
              <a:ea typeface="微软雅黑" panose="020B0503020204020204" pitchFamily="34" charset="-122"/>
              <a:sym typeface=""/>
            </a:endParaRPr>
          </a:p>
          <a:p>
            <a:pPr>
              <a:lnSpc>
                <a:spcPct val="130000"/>
              </a:lnSpc>
            </a:pPr>
            <a:r>
              <a:rPr lang="en-US" altLang="zh-CN" sz="1300" dirty="0">
                <a:latin typeface=""/>
                <a:ea typeface="微软雅黑" panose="020B0503020204020204" pitchFamily="34" charset="-122"/>
                <a:sym typeface=""/>
              </a:rPr>
              <a:t>2. </a:t>
            </a:r>
            <a:r>
              <a:rPr lang="zh-CN" altLang="en-US" sz="1300" dirty="0">
                <a:latin typeface=""/>
                <a:ea typeface="微软雅黑" panose="020B0503020204020204" pitchFamily="34" charset="-122"/>
                <a:sym typeface=""/>
              </a:rPr>
              <a:t>使用变化的变化作为自变量；</a:t>
            </a:r>
            <a:endParaRPr lang="en-US" altLang="zh-CN" sz="1300" dirty="0">
              <a:latin typeface=""/>
              <a:ea typeface="微软雅黑" panose="020B0503020204020204" pitchFamily="34" charset="-122"/>
              <a:sym typeface=""/>
            </a:endParaRPr>
          </a:p>
          <a:p>
            <a:pPr>
              <a:lnSpc>
                <a:spcPct val="130000"/>
              </a:lnSpc>
            </a:pPr>
            <a:endParaRPr lang="en-US" altLang="zh-CN" sz="1300" dirty="0">
              <a:latin typeface=""/>
              <a:ea typeface="微软雅黑" panose="020B0503020204020204" pitchFamily="34" charset="-122"/>
              <a:sym typeface=""/>
            </a:endParaRPr>
          </a:p>
          <a:p>
            <a:pPr>
              <a:lnSpc>
                <a:spcPct val="130000"/>
              </a:lnSpc>
            </a:pPr>
            <a:r>
              <a:rPr lang="en-US" altLang="zh-CN" sz="1300" dirty="0">
                <a:latin typeface=""/>
                <a:ea typeface="微软雅黑" panose="020B0503020204020204" pitchFamily="34" charset="-122"/>
                <a:sym typeface=""/>
              </a:rPr>
              <a:t>3. </a:t>
            </a:r>
            <a:r>
              <a:rPr lang="zh-CN" altLang="en-US" sz="1300" dirty="0">
                <a:latin typeface=""/>
                <a:ea typeface="微软雅黑" panose="020B0503020204020204" pitchFamily="34" charset="-122"/>
                <a:sym typeface=""/>
              </a:rPr>
              <a:t>使用迭代法对不同的移动权重进行计算，以确定最终的最优权重；</a:t>
            </a:r>
          </a:p>
        </p:txBody>
      </p:sp>
      <p:sp>
        <p:nvSpPr>
          <p:cNvPr id="83" name="文本框 82">
            <a:extLst>
              <a:ext uri="{FF2B5EF4-FFF2-40B4-BE49-F238E27FC236}">
                <a16:creationId xmlns:a16="http://schemas.microsoft.com/office/drawing/2014/main" id="{FCE5574E-7151-4319-9844-871FDEF0AA31}"/>
              </a:ext>
            </a:extLst>
          </p:cNvPr>
          <p:cNvSpPr txBox="1"/>
          <p:nvPr/>
        </p:nvSpPr>
        <p:spPr>
          <a:xfrm>
            <a:off x="7061660" y="1430257"/>
            <a:ext cx="3540126" cy="416909"/>
          </a:xfrm>
          <a:prstGeom prst="rect">
            <a:avLst/>
          </a:prstGeom>
          <a:solidFill>
            <a:schemeClr val="accent2">
              <a:lumMod val="75000"/>
            </a:schemeClr>
          </a:solidFill>
          <a:ln w="38100"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b="1" dirty="0">
                <a:solidFill>
                  <a:schemeClr val="bg1"/>
                </a:solidFill>
                <a:latin typeface=""/>
                <a:ea typeface="微软雅黑" panose="020B0503020204020204" pitchFamily="34" charset="-122"/>
                <a:sym typeface=""/>
              </a:rPr>
              <a:t>对变化进行分段建模预估</a:t>
            </a:r>
          </a:p>
        </p:txBody>
      </p:sp>
      <p:sp>
        <p:nvSpPr>
          <p:cNvPr id="65" name="文本框 64">
            <a:extLst>
              <a:ext uri="{FF2B5EF4-FFF2-40B4-BE49-F238E27FC236}">
                <a16:creationId xmlns:a16="http://schemas.microsoft.com/office/drawing/2014/main" id="{33085BAC-90F8-40C4-98B1-FC5B45AD95BB}"/>
              </a:ext>
            </a:extLst>
          </p:cNvPr>
          <p:cNvSpPr txBox="1"/>
          <p:nvPr/>
        </p:nvSpPr>
        <p:spPr>
          <a:xfrm>
            <a:off x="7725908" y="599034"/>
            <a:ext cx="41075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影响因素变化的预估方法</a:t>
            </a:r>
          </a:p>
        </p:txBody>
      </p:sp>
    </p:spTree>
    <p:extLst>
      <p:ext uri="{BB962C8B-B14F-4D97-AF65-F5344CB8AC3E}">
        <p14:creationId xmlns:p14="http://schemas.microsoft.com/office/powerpoint/2010/main" val="12537430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2" grpId="0"/>
      <p:bldP spid="83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3BA44EA-D033-4F43-AD80-17CD17AF29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r>
              <a:rPr lang="zh-CN" altLang="en-US" dirty="0">
                <a:latin typeface=""/>
                <a:ea typeface="微软雅黑" panose="020B0503020204020204" pitchFamily="34" charset="-122"/>
                <a:sym typeface=""/>
              </a:rPr>
              <a:t>提纲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A65BF26-C07A-4A79-8120-42572B95A5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fld id="{5DD3DB80-B894-403A-B48E-6FDC1A72010E}" type="slidenum">
              <a:rPr lang="zh-CN" altLang="en-US" smtClean="0">
                <a:latin typeface=""/>
                <a:ea typeface="微软雅黑" panose="020B0503020204020204" pitchFamily="34" charset="-122"/>
                <a:sym typeface=""/>
              </a:rPr>
              <a:pPr>
                <a:lnSpc>
                  <a:spcPct val="130000"/>
                </a:lnSpc>
              </a:pPr>
              <a:t>3</a:t>
            </a:fld>
            <a:endParaRPr lang="zh-CN" altLang="en-US">
              <a:latin typeface=""/>
              <a:ea typeface="微软雅黑" panose="020B0503020204020204" pitchFamily="34" charset="-122"/>
              <a:sym typeface=""/>
            </a:endParaRPr>
          </a:p>
        </p:txBody>
      </p:sp>
      <p:grpSp>
        <p:nvGrpSpPr>
          <p:cNvPr id="5" name="414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228C6938-9560-4F53-A4A1-866F1A769FB9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1200545" y="1564351"/>
            <a:ext cx="8673259" cy="4140460"/>
            <a:chOff x="1143395" y="1520788"/>
            <a:chExt cx="8673259" cy="4140460"/>
          </a:xfrm>
        </p:grpSpPr>
        <p:sp>
          <p:nvSpPr>
            <p:cNvPr id="6" name="ïšľíḋè">
              <a:extLst>
                <a:ext uri="{FF2B5EF4-FFF2-40B4-BE49-F238E27FC236}">
                  <a16:creationId xmlns:a16="http://schemas.microsoft.com/office/drawing/2014/main" id="{048C632D-65C1-4048-903C-63D48589C72D}"/>
                </a:ext>
              </a:extLst>
            </p:cNvPr>
            <p:cNvSpPr/>
            <p:nvPr/>
          </p:nvSpPr>
          <p:spPr bwMode="auto">
            <a:xfrm>
              <a:off x="1991544" y="1520788"/>
              <a:ext cx="2088232" cy="4140460"/>
            </a:xfrm>
            <a:prstGeom prst="rect">
              <a:avLst/>
            </a:prstGeom>
            <a:noFill/>
            <a:ln w="76200">
              <a:solidFill>
                <a:schemeClr val="accent4">
                  <a:lumMod val="75000"/>
                </a:schemeClr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>
                <a:lnSpc>
                  <a:spcPct val="130000"/>
                </a:lnSpc>
              </a:pPr>
              <a:endParaRPr>
                <a:solidFill>
                  <a:schemeClr val="accent3">
                    <a:lumMod val="7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7" name="isľiḍé">
              <a:extLst>
                <a:ext uri="{FF2B5EF4-FFF2-40B4-BE49-F238E27FC236}">
                  <a16:creationId xmlns:a16="http://schemas.microsoft.com/office/drawing/2014/main" id="{49B3396A-A817-4AA1-A9F1-CF570E8957E9}"/>
                </a:ext>
              </a:extLst>
            </p:cNvPr>
            <p:cNvSpPr/>
            <p:nvPr/>
          </p:nvSpPr>
          <p:spPr>
            <a:xfrm>
              <a:off x="3255630" y="2564904"/>
              <a:ext cx="1648291" cy="104411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normAutofit lnSpcReduction="10000"/>
            </a:bodyPr>
            <a:lstStyle/>
            <a:p>
              <a:pPr algn="r">
                <a:lnSpc>
                  <a:spcPct val="130000"/>
                </a:lnSpc>
              </a:pPr>
              <a:r>
                <a:rPr lang="zh-CN" altLang="en-US" sz="5400" b="1" spc="300" dirty="0">
                  <a:solidFill>
                    <a:schemeClr val="accent3">
                      <a:lumMod val="75000"/>
                    </a:schemeClr>
                  </a:solidFill>
                  <a:latin typeface=""/>
                  <a:ea typeface="微软雅黑" panose="020B0503020204020204" pitchFamily="34" charset="-122"/>
                  <a:sym typeface=""/>
                </a:rPr>
                <a:t>目录</a:t>
              </a:r>
            </a:p>
          </p:txBody>
        </p:sp>
        <p:sp>
          <p:nvSpPr>
            <p:cNvPr id="8" name="îŝľïḑè">
              <a:extLst>
                <a:ext uri="{FF2B5EF4-FFF2-40B4-BE49-F238E27FC236}">
                  <a16:creationId xmlns:a16="http://schemas.microsoft.com/office/drawing/2014/main" id="{12DE7312-4D86-4C5B-AD69-6CD0F1F2C3A9}"/>
                </a:ext>
              </a:extLst>
            </p:cNvPr>
            <p:cNvSpPr/>
            <p:nvPr/>
          </p:nvSpPr>
          <p:spPr>
            <a:xfrm>
              <a:off x="1143395" y="1880828"/>
              <a:ext cx="1696298" cy="400110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normAutofit fontScale="85000" lnSpcReduction="10000"/>
            </a:bodyPr>
            <a:lstStyle/>
            <a:p>
              <a:pPr>
                <a:lnSpc>
                  <a:spcPct val="140000"/>
                </a:lnSpc>
              </a:pPr>
              <a:r>
                <a:rPr lang="en-US" altLang="zh-CN" sz="2000" b="1" spc="300">
                  <a:solidFill>
                    <a:schemeClr val="accent3">
                      <a:lumMod val="75000"/>
                    </a:schemeClr>
                  </a:solidFill>
                  <a:latin typeface=""/>
                  <a:ea typeface="微软雅黑" panose="020B0503020204020204" pitchFamily="34" charset="-122"/>
                  <a:sym typeface=""/>
                </a:rPr>
                <a:t>CONTENT</a:t>
              </a:r>
            </a:p>
          </p:txBody>
        </p:sp>
        <p:sp>
          <p:nvSpPr>
            <p:cNvPr id="9" name="íṥḷiďè">
              <a:extLst>
                <a:ext uri="{FF2B5EF4-FFF2-40B4-BE49-F238E27FC236}">
                  <a16:creationId xmlns:a16="http://schemas.microsoft.com/office/drawing/2014/main" id="{EB5F206A-579A-4DC1-9D2C-357BCECA8447}"/>
                </a:ext>
              </a:extLst>
            </p:cNvPr>
            <p:cNvSpPr/>
            <p:nvPr/>
          </p:nvSpPr>
          <p:spPr bwMode="auto">
            <a:xfrm>
              <a:off x="3737737" y="3537012"/>
              <a:ext cx="684076" cy="72008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anchor="ctr"/>
            <a:lstStyle/>
            <a:p>
              <a:pPr algn="ctr">
                <a:lnSpc>
                  <a:spcPct val="130000"/>
                </a:lnSpc>
              </a:pPr>
              <a:endParaRPr>
                <a:solidFill>
                  <a:schemeClr val="accent3">
                    <a:lumMod val="7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grpSp>
          <p:nvGrpSpPr>
            <p:cNvPr id="10" name="ïṧ1ïḓè">
              <a:extLst>
                <a:ext uri="{FF2B5EF4-FFF2-40B4-BE49-F238E27FC236}">
                  <a16:creationId xmlns:a16="http://schemas.microsoft.com/office/drawing/2014/main" id="{26E6FE64-31CF-413F-9FE9-A10362B91614}"/>
                </a:ext>
              </a:extLst>
            </p:cNvPr>
            <p:cNvGrpSpPr/>
            <p:nvPr/>
          </p:nvGrpSpPr>
          <p:grpSpPr>
            <a:xfrm>
              <a:off x="5386028" y="1561321"/>
              <a:ext cx="4430626" cy="707886"/>
              <a:chOff x="1598315" y="1418185"/>
              <a:chExt cx="4430626" cy="707886"/>
            </a:xfrm>
          </p:grpSpPr>
          <p:sp>
            <p:nvSpPr>
              <p:cNvPr id="26" name="íšlîḓe">
                <a:extLst>
                  <a:ext uri="{FF2B5EF4-FFF2-40B4-BE49-F238E27FC236}">
                    <a16:creationId xmlns:a16="http://schemas.microsoft.com/office/drawing/2014/main" id="{93DD5318-B1B4-45E2-9B6D-368BC62B2BDB}"/>
                  </a:ext>
                </a:extLst>
              </p:cNvPr>
              <p:cNvSpPr txBox="1"/>
              <p:nvPr/>
            </p:nvSpPr>
            <p:spPr>
              <a:xfrm>
                <a:off x="1598315" y="1418185"/>
                <a:ext cx="655949" cy="707886"/>
              </a:xfrm>
              <a:prstGeom prst="rect">
                <a:avLst/>
              </a:prstGeom>
              <a:noFill/>
            </p:spPr>
            <p:txBody>
              <a:bodyPr wrap="none" anchor="ctr">
                <a:normAutofit fontScale="92500" lnSpcReduction="20000"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altLang="zh-CN" sz="4000" dirty="0">
                    <a:solidFill>
                      <a:schemeClr val="accent3">
                        <a:lumMod val="75000"/>
                      </a:schemeClr>
                    </a:solidFill>
                    <a:latin typeface=""/>
                    <a:ea typeface="微软雅黑" panose="020B0503020204020204" pitchFamily="34" charset="-122"/>
                    <a:sym typeface=""/>
                  </a:rPr>
                  <a:t>01</a:t>
                </a:r>
              </a:p>
            </p:txBody>
          </p:sp>
          <p:sp>
            <p:nvSpPr>
              <p:cNvPr id="28" name="îŝ1iḓê">
                <a:extLst>
                  <a:ext uri="{FF2B5EF4-FFF2-40B4-BE49-F238E27FC236}">
                    <a16:creationId xmlns:a16="http://schemas.microsoft.com/office/drawing/2014/main" id="{CCB9E521-D2A2-43AA-A7AF-6216067B8C1C}"/>
                  </a:ext>
                </a:extLst>
              </p:cNvPr>
              <p:cNvSpPr txBox="1"/>
              <p:nvPr/>
            </p:nvSpPr>
            <p:spPr>
              <a:xfrm>
                <a:off x="2066367" y="1596663"/>
                <a:ext cx="3962574" cy="452152"/>
              </a:xfrm>
              <a:prstGeom prst="rect">
                <a:avLst/>
              </a:prstGeom>
              <a:noFill/>
            </p:spPr>
            <p:txBody>
              <a:bodyPr wrap="none" lIns="360000" tIns="0" rIns="0" bIns="0" anchor="b" anchorCtr="0">
                <a:normAutofit fontScale="92500" lnSpcReduction="20000"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zh-CN" altLang="en-US" sz="2800" b="1" dirty="0">
                    <a:solidFill>
                      <a:schemeClr val="accent3">
                        <a:lumMod val="75000"/>
                      </a:schemeClr>
                    </a:solidFill>
                    <a:latin typeface=""/>
                    <a:ea typeface="微软雅黑" panose="020B0503020204020204" pitchFamily="34" charset="-122"/>
                    <a:sym typeface=""/>
                  </a:rPr>
                  <a:t>项目背景分析</a:t>
                </a:r>
              </a:p>
            </p:txBody>
          </p:sp>
        </p:grpSp>
        <p:grpSp>
          <p:nvGrpSpPr>
            <p:cNvPr id="11" name="íṩļïḋe">
              <a:extLst>
                <a:ext uri="{FF2B5EF4-FFF2-40B4-BE49-F238E27FC236}">
                  <a16:creationId xmlns:a16="http://schemas.microsoft.com/office/drawing/2014/main" id="{05AA6996-36A6-4D50-B17C-EE84EA8CE302}"/>
                </a:ext>
              </a:extLst>
            </p:cNvPr>
            <p:cNvGrpSpPr/>
            <p:nvPr/>
          </p:nvGrpSpPr>
          <p:grpSpPr>
            <a:xfrm>
              <a:off x="5386028" y="2678490"/>
              <a:ext cx="4430626" cy="707886"/>
              <a:chOff x="1598315" y="2786337"/>
              <a:chExt cx="4430626" cy="707886"/>
            </a:xfrm>
          </p:grpSpPr>
          <p:sp>
            <p:nvSpPr>
              <p:cNvPr id="22" name="išļíḓè">
                <a:extLst>
                  <a:ext uri="{FF2B5EF4-FFF2-40B4-BE49-F238E27FC236}">
                    <a16:creationId xmlns:a16="http://schemas.microsoft.com/office/drawing/2014/main" id="{FAB4DC82-302A-4EE7-9B58-31228137B0E2}"/>
                  </a:ext>
                </a:extLst>
              </p:cNvPr>
              <p:cNvSpPr txBox="1"/>
              <p:nvPr/>
            </p:nvSpPr>
            <p:spPr>
              <a:xfrm>
                <a:off x="1598315" y="2786337"/>
                <a:ext cx="718466" cy="707886"/>
              </a:xfrm>
              <a:prstGeom prst="rect">
                <a:avLst/>
              </a:prstGeom>
              <a:noFill/>
            </p:spPr>
            <p:txBody>
              <a:bodyPr wrap="none" anchor="ctr">
                <a:normAutofit fontScale="92500" lnSpcReduction="20000"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altLang="zh-CN" sz="4000">
                    <a:solidFill>
                      <a:schemeClr val="accent3">
                        <a:lumMod val="75000"/>
                      </a:schemeClr>
                    </a:solidFill>
                    <a:latin typeface=""/>
                    <a:ea typeface="微软雅黑" panose="020B0503020204020204" pitchFamily="34" charset="-122"/>
                    <a:sym typeface=""/>
                  </a:rPr>
                  <a:t>02</a:t>
                </a:r>
              </a:p>
            </p:txBody>
          </p:sp>
          <p:sp>
            <p:nvSpPr>
              <p:cNvPr id="24" name="îšlîďè">
                <a:extLst>
                  <a:ext uri="{FF2B5EF4-FFF2-40B4-BE49-F238E27FC236}">
                    <a16:creationId xmlns:a16="http://schemas.microsoft.com/office/drawing/2014/main" id="{74CBFB78-67DB-42D6-B1D9-17BEFD62157F}"/>
                  </a:ext>
                </a:extLst>
              </p:cNvPr>
              <p:cNvSpPr txBox="1"/>
              <p:nvPr/>
            </p:nvSpPr>
            <p:spPr>
              <a:xfrm>
                <a:off x="2066367" y="3086390"/>
                <a:ext cx="3962574" cy="242864"/>
              </a:xfrm>
              <a:prstGeom prst="rect">
                <a:avLst/>
              </a:prstGeom>
              <a:noFill/>
            </p:spPr>
            <p:txBody>
              <a:bodyPr wrap="none" lIns="360000" tIns="0" rIns="0" bIns="0" anchor="b" anchorCtr="0">
                <a:no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zh-CN" altLang="en-US" sz="2800" b="1" dirty="0">
                    <a:solidFill>
                      <a:schemeClr val="accent3">
                        <a:lumMod val="75000"/>
                      </a:schemeClr>
                    </a:solidFill>
                    <a:latin typeface=""/>
                    <a:ea typeface="微软雅黑" panose="020B0503020204020204" pitchFamily="34" charset="-122"/>
                    <a:sym typeface=""/>
                  </a:rPr>
                  <a:t>模型原理</a:t>
                </a:r>
              </a:p>
            </p:txBody>
          </p:sp>
        </p:grpSp>
        <p:grpSp>
          <p:nvGrpSpPr>
            <p:cNvPr id="12" name="iSlïḑê">
              <a:extLst>
                <a:ext uri="{FF2B5EF4-FFF2-40B4-BE49-F238E27FC236}">
                  <a16:creationId xmlns:a16="http://schemas.microsoft.com/office/drawing/2014/main" id="{C2C8B67B-F1F9-4843-8AB9-D43AE49DC4C8}"/>
                </a:ext>
              </a:extLst>
            </p:cNvPr>
            <p:cNvGrpSpPr/>
            <p:nvPr/>
          </p:nvGrpSpPr>
          <p:grpSpPr>
            <a:xfrm>
              <a:off x="5386028" y="3795659"/>
              <a:ext cx="4430626" cy="707886"/>
              <a:chOff x="1598315" y="4154489"/>
              <a:chExt cx="4430626" cy="707886"/>
            </a:xfrm>
          </p:grpSpPr>
          <p:sp>
            <p:nvSpPr>
              <p:cNvPr id="18" name="iṥlíḓé">
                <a:extLst>
                  <a:ext uri="{FF2B5EF4-FFF2-40B4-BE49-F238E27FC236}">
                    <a16:creationId xmlns:a16="http://schemas.microsoft.com/office/drawing/2014/main" id="{08CE644E-6293-4600-8461-4AB23C0D1BE6}"/>
                  </a:ext>
                </a:extLst>
              </p:cNvPr>
              <p:cNvSpPr txBox="1"/>
              <p:nvPr/>
            </p:nvSpPr>
            <p:spPr>
              <a:xfrm>
                <a:off x="1598315" y="4154489"/>
                <a:ext cx="732893" cy="707886"/>
              </a:xfrm>
              <a:prstGeom prst="rect">
                <a:avLst/>
              </a:prstGeom>
              <a:noFill/>
            </p:spPr>
            <p:txBody>
              <a:bodyPr wrap="none" anchor="ctr">
                <a:normAutofit fontScale="92500" lnSpcReduction="20000"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altLang="zh-CN" sz="4000">
                    <a:solidFill>
                      <a:schemeClr val="accent3">
                        <a:lumMod val="75000"/>
                      </a:schemeClr>
                    </a:solidFill>
                    <a:latin typeface=""/>
                    <a:ea typeface="微软雅黑" panose="020B0503020204020204" pitchFamily="34" charset="-122"/>
                    <a:sym typeface=""/>
                  </a:rPr>
                  <a:t>03</a:t>
                </a:r>
              </a:p>
            </p:txBody>
          </p:sp>
          <p:sp>
            <p:nvSpPr>
              <p:cNvPr id="20" name="îṩḻîḋê">
                <a:extLst>
                  <a:ext uri="{FF2B5EF4-FFF2-40B4-BE49-F238E27FC236}">
                    <a16:creationId xmlns:a16="http://schemas.microsoft.com/office/drawing/2014/main" id="{F51D569D-098E-45EC-BC9D-371AA97A31BA}"/>
                  </a:ext>
                </a:extLst>
              </p:cNvPr>
              <p:cNvSpPr txBox="1"/>
              <p:nvPr/>
            </p:nvSpPr>
            <p:spPr>
              <a:xfrm>
                <a:off x="2066367" y="4472283"/>
                <a:ext cx="3962574" cy="242864"/>
              </a:xfrm>
              <a:prstGeom prst="rect">
                <a:avLst/>
              </a:prstGeom>
              <a:noFill/>
            </p:spPr>
            <p:txBody>
              <a:bodyPr wrap="none" lIns="360000" tIns="0" rIns="0" bIns="0" anchor="b" anchorCtr="0">
                <a:no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zh-CN" altLang="en-US" sz="2800" b="1" dirty="0">
                    <a:solidFill>
                      <a:schemeClr val="accent3">
                        <a:lumMod val="75000"/>
                      </a:schemeClr>
                    </a:solidFill>
                    <a:latin typeface=""/>
                    <a:ea typeface="微软雅黑" panose="020B0503020204020204" pitchFamily="34" charset="-122"/>
                    <a:sym typeface=""/>
                  </a:rPr>
                  <a:t>模型结果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805513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595366" y="2311578"/>
            <a:ext cx="5419185" cy="895350"/>
          </a:xfrm>
        </p:spPr>
        <p:txBody>
          <a:bodyPr/>
          <a:lstStyle/>
          <a:p>
            <a:pPr>
              <a:lnSpc>
                <a:spcPct val="130000"/>
              </a:lnSpc>
            </a:pPr>
            <a:r>
              <a:rPr lang="zh-CN" altLang="en-US" dirty="0">
                <a:solidFill>
                  <a:schemeClr val="accent3"/>
                </a:solidFill>
                <a:latin typeface=""/>
                <a:ea typeface="微软雅黑" panose="020B0503020204020204" pitchFamily="34" charset="-122"/>
                <a:sym typeface=""/>
              </a:rPr>
              <a:t>项目背景分析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2595366" y="3206928"/>
            <a:ext cx="5419185" cy="1015623"/>
          </a:xfrm>
        </p:spPr>
        <p:txBody>
          <a:bodyPr/>
          <a:lstStyle/>
          <a:p>
            <a:pPr lvl="0">
              <a:lnSpc>
                <a:spcPct val="130000"/>
              </a:lnSpc>
              <a:spcBef>
                <a:spcPts val="0"/>
              </a:spcBef>
            </a:pPr>
            <a:r>
              <a:rPr lang="zh-CN" altLang="en-US" dirty="0">
                <a:solidFill>
                  <a:schemeClr val="accent3"/>
                </a:solidFill>
                <a:latin typeface=""/>
                <a:ea typeface="微软雅黑" panose="020B0503020204020204" pitchFamily="34" charset="-122"/>
                <a:sym typeface=""/>
              </a:rPr>
              <a:t>过往结构预测的难点</a:t>
            </a:r>
            <a:r>
              <a:rPr lang="zh-CN" altLang="en-US" dirty="0">
                <a:latin typeface=""/>
                <a:ea typeface="微软雅黑" panose="020B0503020204020204" pitchFamily="34" charset="-122"/>
                <a:sym typeface=""/>
              </a:rPr>
              <a:t>与痛点</a:t>
            </a:r>
            <a:endParaRPr lang="en-US" altLang="zh-CN" dirty="0">
              <a:latin typeface=""/>
              <a:ea typeface="微软雅黑" panose="020B0503020204020204" pitchFamily="34" charset="-122"/>
              <a:sym typeface=""/>
            </a:endParaRPr>
          </a:p>
          <a:p>
            <a:pPr lvl="0">
              <a:lnSpc>
                <a:spcPct val="130000"/>
              </a:lnSpc>
              <a:spcBef>
                <a:spcPts val="0"/>
              </a:spcBef>
            </a:pPr>
            <a:r>
              <a:rPr lang="zh-CN" altLang="en-US" dirty="0">
                <a:solidFill>
                  <a:schemeClr val="accent3"/>
                </a:solidFill>
                <a:latin typeface=""/>
                <a:ea typeface="微软雅黑" panose="020B0503020204020204" pitchFamily="34" charset="-122"/>
                <a:sym typeface=""/>
              </a:rPr>
              <a:t>现在结构预测的改善点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362392" y="2819389"/>
            <a:ext cx="1029774" cy="89535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zh-CN" spc="100" dirty="0">
                <a:solidFill>
                  <a:schemeClr val="accent3"/>
                </a:solidFill>
                <a:latin typeface=""/>
                <a:ea typeface="微软雅黑" panose="020B0503020204020204" pitchFamily="34" charset="-122"/>
                <a:cs typeface="Arial" panose="020B0604020202020204" pitchFamily="34" charset="0"/>
                <a:sym typeface=""/>
              </a:rPr>
              <a:t>/01</a:t>
            </a:r>
            <a:endParaRPr lang="zh-CN" altLang="en-US" spc="100" dirty="0">
              <a:solidFill>
                <a:schemeClr val="accent3"/>
              </a:solidFill>
              <a:latin typeface=""/>
              <a:ea typeface="微软雅黑" panose="020B0503020204020204" pitchFamily="34" charset="-122"/>
              <a:cs typeface="Arial" panose="020B0604020202020204" pitchFamily="34" charset="0"/>
              <a:sym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420FA98-E227-4102-B1E1-76DFBDE24D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r>
              <a:rPr lang="zh-CN" altLang="en-US" dirty="0">
                <a:latin typeface=""/>
                <a:ea typeface="微软雅黑" panose="020B0503020204020204" pitchFamily="34" charset="-122"/>
                <a:sym typeface=""/>
              </a:rPr>
              <a:t>项目背景介绍</a:t>
            </a:r>
            <a:r>
              <a:rPr lang="en-US" altLang="zh-CN" dirty="0">
                <a:latin typeface=""/>
                <a:ea typeface="微软雅黑" panose="020B0503020204020204" pitchFamily="34" charset="-122"/>
                <a:sym typeface=""/>
              </a:rPr>
              <a:t>——</a:t>
            </a:r>
            <a:r>
              <a:rPr lang="zh-CN" altLang="en-US" b="0" dirty="0">
                <a:latin typeface=""/>
                <a:ea typeface="微软雅黑" panose="020B0503020204020204" pitchFamily="34" charset="-122"/>
                <a:sym typeface=""/>
              </a:rPr>
              <a:t>结构预测</a:t>
            </a:r>
            <a:endParaRPr lang="zh-CN" altLang="en-US" dirty="0">
              <a:latin typeface=""/>
              <a:ea typeface="微软雅黑" panose="020B0503020204020204" pitchFamily="34" charset="-122"/>
              <a:sym typeface="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C4D6F7E-AA22-448A-81B1-B8975FCE6F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fld id="{5DD3DB80-B894-403A-B48E-6FDC1A72010E}" type="slidenum">
              <a:rPr lang="zh-CN" altLang="en-US" smtClean="0">
                <a:latin typeface=""/>
                <a:ea typeface="微软雅黑" panose="020B0503020204020204" pitchFamily="34" charset="-122"/>
                <a:sym typeface=""/>
              </a:rPr>
              <a:pPr>
                <a:lnSpc>
                  <a:spcPct val="130000"/>
                </a:lnSpc>
              </a:pPr>
              <a:t>5</a:t>
            </a:fld>
            <a:endParaRPr lang="zh-CN" altLang="en-US">
              <a:latin typeface=""/>
              <a:ea typeface="微软雅黑" panose="020B0503020204020204" pitchFamily="34" charset="-122"/>
              <a:sym typeface=""/>
            </a:endParaRPr>
          </a:p>
        </p:txBody>
      </p:sp>
      <p:grpSp>
        <p:nvGrpSpPr>
          <p:cNvPr id="5" name="27071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8775B231-CB00-4848-8AEB-C6A19DEB5C9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60400" y="1784425"/>
            <a:ext cx="10858500" cy="3695550"/>
            <a:chOff x="660400" y="1784425"/>
            <a:chExt cx="10858500" cy="3695550"/>
          </a:xfrm>
        </p:grpSpPr>
        <p:grpSp>
          <p:nvGrpSpPr>
            <p:cNvPr id="6" name="iṡḷiḍè">
              <a:extLst>
                <a:ext uri="{FF2B5EF4-FFF2-40B4-BE49-F238E27FC236}">
                  <a16:creationId xmlns:a16="http://schemas.microsoft.com/office/drawing/2014/main" id="{4731A8FB-621B-4BE5-9DD8-0BC643EBB6A6}"/>
                </a:ext>
              </a:extLst>
            </p:cNvPr>
            <p:cNvGrpSpPr/>
            <p:nvPr/>
          </p:nvGrpSpPr>
          <p:grpSpPr>
            <a:xfrm>
              <a:off x="4233916" y="2444202"/>
              <a:ext cx="783813" cy="2376000"/>
              <a:chOff x="4335060" y="2822299"/>
              <a:chExt cx="783813" cy="2376000"/>
            </a:xfrm>
          </p:grpSpPr>
          <p:sp>
            <p:nvSpPr>
              <p:cNvPr id="146" name="íS1iḋè">
                <a:extLst>
                  <a:ext uri="{FF2B5EF4-FFF2-40B4-BE49-F238E27FC236}">
                    <a16:creationId xmlns:a16="http://schemas.microsoft.com/office/drawing/2014/main" id="{7F216DD2-2D25-4839-AB7A-8D08075CBA64}"/>
                  </a:ext>
                </a:extLst>
              </p:cNvPr>
              <p:cNvSpPr/>
              <p:nvPr/>
            </p:nvSpPr>
            <p:spPr bwMode="auto">
              <a:xfrm>
                <a:off x="4767060" y="3974299"/>
                <a:ext cx="351813" cy="72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1905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rtlCol="0" anchor="ctr" anchorCtr="1" compatLnSpc="1">
                <a:prstTxWarp prst="textNoShape">
                  <a:avLst/>
                </a:prstTxWarp>
                <a:normAutofit fontScale="25000" lnSpcReduction="20000"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endParaRPr lang="en-US" dirty="0"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47" name="îṡḻíḓê">
                <a:extLst>
                  <a:ext uri="{FF2B5EF4-FFF2-40B4-BE49-F238E27FC236}">
                    <a16:creationId xmlns:a16="http://schemas.microsoft.com/office/drawing/2014/main" id="{CB5E9896-7E8A-4352-B418-47BFBDB68740}"/>
                  </a:ext>
                </a:extLst>
              </p:cNvPr>
              <p:cNvSpPr/>
              <p:nvPr/>
            </p:nvSpPr>
            <p:spPr bwMode="auto">
              <a:xfrm rot="5400000" flipH="1">
                <a:off x="3363060" y="3794299"/>
                <a:ext cx="2376000" cy="432000"/>
              </a:xfrm>
              <a:prstGeom prst="uturnArrow">
                <a:avLst>
                  <a:gd name="adj1" fmla="val 11666"/>
                  <a:gd name="adj2" fmla="val 25000"/>
                  <a:gd name="adj3" fmla="val 0"/>
                  <a:gd name="adj4" fmla="val 85000"/>
                  <a:gd name="adj5" fmla="val 100000"/>
                </a:avLst>
              </a:prstGeom>
              <a:solidFill>
                <a:schemeClr val="bg1">
                  <a:lumMod val="75000"/>
                </a:schemeClr>
              </a:solidFill>
              <a:ln w="1905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rtlCol="0" anchor="ctr" anchorCtr="1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</a:pPr>
                <a:endParaRPr lang="en-US" dirty="0"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</p:grpSp>
        <p:sp>
          <p:nvSpPr>
            <p:cNvPr id="7" name="ïṧḻiḋé">
              <a:extLst>
                <a:ext uri="{FF2B5EF4-FFF2-40B4-BE49-F238E27FC236}">
                  <a16:creationId xmlns:a16="http://schemas.microsoft.com/office/drawing/2014/main" id="{F422D938-D680-4874-8BFD-F45E7FD4BF32}"/>
                </a:ext>
              </a:extLst>
            </p:cNvPr>
            <p:cNvSpPr/>
            <p:nvPr/>
          </p:nvSpPr>
          <p:spPr bwMode="auto">
            <a:xfrm>
              <a:off x="3667284" y="2200717"/>
              <a:ext cx="558869" cy="558867"/>
            </a:xfrm>
            <a:prstGeom prst="ellipse">
              <a:avLst/>
            </a:prstGeom>
            <a:solidFill>
              <a:schemeClr val="accent1"/>
            </a:solidFill>
            <a:ln w="285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30000"/>
                </a:lnSpc>
              </a:pPr>
              <a:endParaRPr lang="en-US" dirty="0">
                <a:solidFill>
                  <a:schemeClr val="accent1">
                    <a:lumMod val="20000"/>
                    <a:lumOff val="80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8" name="îşḷiḋê">
              <a:extLst>
                <a:ext uri="{FF2B5EF4-FFF2-40B4-BE49-F238E27FC236}">
                  <a16:creationId xmlns:a16="http://schemas.microsoft.com/office/drawing/2014/main" id="{82B7BA2B-1D40-43A5-A3B9-970FB9508B2A}"/>
                </a:ext>
              </a:extLst>
            </p:cNvPr>
            <p:cNvSpPr/>
            <p:nvPr/>
          </p:nvSpPr>
          <p:spPr bwMode="auto">
            <a:xfrm>
              <a:off x="3667284" y="4504817"/>
              <a:ext cx="558869" cy="558867"/>
            </a:xfrm>
            <a:prstGeom prst="ellipse">
              <a:avLst/>
            </a:prstGeom>
            <a:solidFill>
              <a:schemeClr val="accent1"/>
            </a:solidFill>
            <a:ln w="285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30000"/>
                </a:lnSpc>
              </a:pPr>
              <a:endParaRPr lang="en-US" dirty="0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grpSp>
          <p:nvGrpSpPr>
            <p:cNvPr id="9" name="iślîď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0D8169B-8D5A-4524-BBE4-829A5258636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06806" y="2563005"/>
              <a:ext cx="2365689" cy="2138393"/>
              <a:chOff x="3587750" y="1155700"/>
              <a:chExt cx="5022851" cy="4540250"/>
            </a:xfrm>
          </p:grpSpPr>
          <p:sp>
            <p:nvSpPr>
              <p:cNvPr id="31" name="ïṣľîḑe">
                <a:extLst>
                  <a:ext uri="{FF2B5EF4-FFF2-40B4-BE49-F238E27FC236}">
                    <a16:creationId xmlns:a16="http://schemas.microsoft.com/office/drawing/2014/main" id="{55033006-5B51-4170-817C-D20C034E8584}"/>
                  </a:ext>
                </a:extLst>
              </p:cNvPr>
              <p:cNvSpPr/>
              <p:nvPr/>
            </p:nvSpPr>
            <p:spPr bwMode="auto">
              <a:xfrm>
                <a:off x="4256088" y="5286375"/>
                <a:ext cx="4354513" cy="409575"/>
              </a:xfrm>
              <a:prstGeom prst="ellipse">
                <a:avLst/>
              </a:prstGeom>
              <a:solidFill>
                <a:srgbClr val="E1EC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32" name="ísḷïďé">
                <a:extLst>
                  <a:ext uri="{FF2B5EF4-FFF2-40B4-BE49-F238E27FC236}">
                    <a16:creationId xmlns:a16="http://schemas.microsoft.com/office/drawing/2014/main" id="{51D7041E-E6E0-4FB7-8BC0-C00DE21737B1}"/>
                  </a:ext>
                </a:extLst>
              </p:cNvPr>
              <p:cNvSpPr/>
              <p:nvPr/>
            </p:nvSpPr>
            <p:spPr bwMode="auto">
              <a:xfrm>
                <a:off x="5437188" y="1217613"/>
                <a:ext cx="2144713" cy="2782888"/>
              </a:xfrm>
              <a:prstGeom prst="rect">
                <a:avLst/>
              </a:prstGeom>
              <a:solidFill>
                <a:srgbClr val="E1EC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33" name="iṩḷide">
                <a:extLst>
                  <a:ext uri="{FF2B5EF4-FFF2-40B4-BE49-F238E27FC236}">
                    <a16:creationId xmlns:a16="http://schemas.microsoft.com/office/drawing/2014/main" id="{6B2E80DD-7A34-4EE6-B826-CD35FC7E2F61}"/>
                  </a:ext>
                </a:extLst>
              </p:cNvPr>
              <p:cNvSpPr/>
              <p:nvPr/>
            </p:nvSpPr>
            <p:spPr bwMode="auto">
              <a:xfrm>
                <a:off x="5437188" y="1217613"/>
                <a:ext cx="2144713" cy="2782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34" name="íṣḻîḓé">
                <a:extLst>
                  <a:ext uri="{FF2B5EF4-FFF2-40B4-BE49-F238E27FC236}">
                    <a16:creationId xmlns:a16="http://schemas.microsoft.com/office/drawing/2014/main" id="{F018D1B9-3885-4416-93E4-84003F4462C3}"/>
                  </a:ext>
                </a:extLst>
              </p:cNvPr>
              <p:cNvSpPr/>
              <p:nvPr/>
            </p:nvSpPr>
            <p:spPr bwMode="auto">
              <a:xfrm>
                <a:off x="5548313" y="1357313"/>
                <a:ext cx="1922463" cy="250348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35" name="ïślidè">
                <a:extLst>
                  <a:ext uri="{FF2B5EF4-FFF2-40B4-BE49-F238E27FC236}">
                    <a16:creationId xmlns:a16="http://schemas.microsoft.com/office/drawing/2014/main" id="{98D15373-EE0C-4030-B6C3-12DB13C988A5}"/>
                  </a:ext>
                </a:extLst>
              </p:cNvPr>
              <p:cNvSpPr/>
              <p:nvPr/>
            </p:nvSpPr>
            <p:spPr bwMode="auto">
              <a:xfrm>
                <a:off x="5548313" y="1357313"/>
                <a:ext cx="1922463" cy="25034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36" name="îSḷíḋé">
                <a:extLst>
                  <a:ext uri="{FF2B5EF4-FFF2-40B4-BE49-F238E27FC236}">
                    <a16:creationId xmlns:a16="http://schemas.microsoft.com/office/drawing/2014/main" id="{756DCADF-4DF4-454E-BA74-1F8078219B03}"/>
                  </a:ext>
                </a:extLst>
              </p:cNvPr>
              <p:cNvSpPr/>
              <p:nvPr/>
            </p:nvSpPr>
            <p:spPr bwMode="auto">
              <a:xfrm>
                <a:off x="5376863" y="3946525"/>
                <a:ext cx="2265363" cy="109538"/>
              </a:xfrm>
              <a:custGeom>
                <a:avLst/>
                <a:gdLst>
                  <a:gd name="T0" fmla="*/ 360 w 370"/>
                  <a:gd name="T1" fmla="*/ 18 h 18"/>
                  <a:gd name="T2" fmla="*/ 9 w 370"/>
                  <a:gd name="T3" fmla="*/ 18 h 18"/>
                  <a:gd name="T4" fmla="*/ 0 w 370"/>
                  <a:gd name="T5" fmla="*/ 9 h 18"/>
                  <a:gd name="T6" fmla="*/ 9 w 370"/>
                  <a:gd name="T7" fmla="*/ 0 h 18"/>
                  <a:gd name="T8" fmla="*/ 360 w 370"/>
                  <a:gd name="T9" fmla="*/ 0 h 18"/>
                  <a:gd name="T10" fmla="*/ 370 w 370"/>
                  <a:gd name="T11" fmla="*/ 9 h 18"/>
                  <a:gd name="T12" fmla="*/ 360 w 370"/>
                  <a:gd name="T1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0" h="18">
                    <a:moveTo>
                      <a:pt x="360" y="18"/>
                    </a:moveTo>
                    <a:cubicBezTo>
                      <a:pt x="9" y="18"/>
                      <a:pt x="9" y="18"/>
                      <a:pt x="9" y="18"/>
                    </a:cubicBezTo>
                    <a:cubicBezTo>
                      <a:pt x="4" y="18"/>
                      <a:pt x="0" y="14"/>
                      <a:pt x="0" y="9"/>
                    </a:cubicBezTo>
                    <a:cubicBezTo>
                      <a:pt x="0" y="4"/>
                      <a:pt x="4" y="0"/>
                      <a:pt x="9" y="0"/>
                    </a:cubicBezTo>
                    <a:cubicBezTo>
                      <a:pt x="360" y="0"/>
                      <a:pt x="360" y="0"/>
                      <a:pt x="360" y="0"/>
                    </a:cubicBezTo>
                    <a:cubicBezTo>
                      <a:pt x="366" y="0"/>
                      <a:pt x="370" y="4"/>
                      <a:pt x="370" y="9"/>
                    </a:cubicBezTo>
                    <a:cubicBezTo>
                      <a:pt x="370" y="14"/>
                      <a:pt x="366" y="18"/>
                      <a:pt x="360" y="18"/>
                    </a:cubicBezTo>
                    <a:close/>
                  </a:path>
                </a:pathLst>
              </a:custGeom>
              <a:solidFill>
                <a:srgbClr val="544D7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37" name="ïSḷîďé">
                <a:extLst>
                  <a:ext uri="{FF2B5EF4-FFF2-40B4-BE49-F238E27FC236}">
                    <a16:creationId xmlns:a16="http://schemas.microsoft.com/office/drawing/2014/main" id="{ACA82105-35CF-4054-97B2-551955DE48ED}"/>
                  </a:ext>
                </a:extLst>
              </p:cNvPr>
              <p:cNvSpPr/>
              <p:nvPr/>
            </p:nvSpPr>
            <p:spPr bwMode="auto">
              <a:xfrm>
                <a:off x="6465888" y="4025900"/>
                <a:ext cx="85725" cy="1400175"/>
              </a:xfrm>
              <a:prstGeom prst="rect">
                <a:avLst/>
              </a:prstGeom>
              <a:solidFill>
                <a:srgbClr val="544D7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38" name="isḷídê">
                <a:extLst>
                  <a:ext uri="{FF2B5EF4-FFF2-40B4-BE49-F238E27FC236}">
                    <a16:creationId xmlns:a16="http://schemas.microsoft.com/office/drawing/2014/main" id="{6D1C55AC-B875-4D87-8B9D-D59AB8BB65C3}"/>
                  </a:ext>
                </a:extLst>
              </p:cNvPr>
              <p:cNvSpPr/>
              <p:nvPr/>
            </p:nvSpPr>
            <p:spPr bwMode="auto">
              <a:xfrm>
                <a:off x="6135688" y="5389563"/>
                <a:ext cx="741363" cy="141288"/>
              </a:xfrm>
              <a:prstGeom prst="ellipse">
                <a:avLst/>
              </a:prstGeom>
              <a:solidFill>
                <a:srgbClr val="544D7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39" name="ïṥḻîḓé">
                <a:extLst>
                  <a:ext uri="{FF2B5EF4-FFF2-40B4-BE49-F238E27FC236}">
                    <a16:creationId xmlns:a16="http://schemas.microsoft.com/office/drawing/2014/main" id="{A87554D3-3E7C-464D-BD5F-5452E4E7728A}"/>
                  </a:ext>
                </a:extLst>
              </p:cNvPr>
              <p:cNvSpPr/>
              <p:nvPr/>
            </p:nvSpPr>
            <p:spPr bwMode="auto">
              <a:xfrm>
                <a:off x="5822950" y="3040063"/>
                <a:ext cx="1371600" cy="49213"/>
              </a:xfrm>
              <a:prstGeom prst="rect">
                <a:avLst/>
              </a:prstGeom>
              <a:solidFill>
                <a:srgbClr val="E9F1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40" name="ïśḻîḑè">
                <a:extLst>
                  <a:ext uri="{FF2B5EF4-FFF2-40B4-BE49-F238E27FC236}">
                    <a16:creationId xmlns:a16="http://schemas.microsoft.com/office/drawing/2014/main" id="{91A67D96-A780-49F1-89B3-8C79ADCA47FF}"/>
                  </a:ext>
                </a:extLst>
              </p:cNvPr>
              <p:cNvSpPr/>
              <p:nvPr/>
            </p:nvSpPr>
            <p:spPr bwMode="auto">
              <a:xfrm>
                <a:off x="5822950" y="3040063"/>
                <a:ext cx="1371600" cy="492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41" name="ï$1ídê">
                <a:extLst>
                  <a:ext uri="{FF2B5EF4-FFF2-40B4-BE49-F238E27FC236}">
                    <a16:creationId xmlns:a16="http://schemas.microsoft.com/office/drawing/2014/main" id="{8B49F327-77F0-4DE8-8758-461CA39EC440}"/>
                  </a:ext>
                </a:extLst>
              </p:cNvPr>
              <p:cNvSpPr/>
              <p:nvPr/>
            </p:nvSpPr>
            <p:spPr bwMode="auto">
              <a:xfrm>
                <a:off x="5822950" y="3138488"/>
                <a:ext cx="1371600" cy="49213"/>
              </a:xfrm>
              <a:prstGeom prst="rect">
                <a:avLst/>
              </a:prstGeom>
              <a:solidFill>
                <a:srgbClr val="E9F1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42" name="ïṧliḋe">
                <a:extLst>
                  <a:ext uri="{FF2B5EF4-FFF2-40B4-BE49-F238E27FC236}">
                    <a16:creationId xmlns:a16="http://schemas.microsoft.com/office/drawing/2014/main" id="{1003A9D4-4748-4115-B97A-51BE4DE9EFFD}"/>
                  </a:ext>
                </a:extLst>
              </p:cNvPr>
              <p:cNvSpPr/>
              <p:nvPr/>
            </p:nvSpPr>
            <p:spPr bwMode="auto">
              <a:xfrm>
                <a:off x="5822950" y="3138488"/>
                <a:ext cx="1371600" cy="492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43" name="íŝḷíḑé">
                <a:extLst>
                  <a:ext uri="{FF2B5EF4-FFF2-40B4-BE49-F238E27FC236}">
                    <a16:creationId xmlns:a16="http://schemas.microsoft.com/office/drawing/2014/main" id="{8FEC40B7-E54A-4CD5-9409-3040C1E26E7E}"/>
                  </a:ext>
                </a:extLst>
              </p:cNvPr>
              <p:cNvSpPr/>
              <p:nvPr/>
            </p:nvSpPr>
            <p:spPr bwMode="auto">
              <a:xfrm>
                <a:off x="5822950" y="3235325"/>
                <a:ext cx="1371600" cy="49213"/>
              </a:xfrm>
              <a:prstGeom prst="rect">
                <a:avLst/>
              </a:prstGeom>
              <a:solidFill>
                <a:srgbClr val="E9F1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44" name="ïṣlíḋé">
                <a:extLst>
                  <a:ext uri="{FF2B5EF4-FFF2-40B4-BE49-F238E27FC236}">
                    <a16:creationId xmlns:a16="http://schemas.microsoft.com/office/drawing/2014/main" id="{D78C890F-E540-4618-8E7F-9EDDCE930B59}"/>
                  </a:ext>
                </a:extLst>
              </p:cNvPr>
              <p:cNvSpPr/>
              <p:nvPr/>
            </p:nvSpPr>
            <p:spPr bwMode="auto">
              <a:xfrm>
                <a:off x="5822950" y="3235325"/>
                <a:ext cx="1371600" cy="492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45" name="îşliḍe">
                <a:extLst>
                  <a:ext uri="{FF2B5EF4-FFF2-40B4-BE49-F238E27FC236}">
                    <a16:creationId xmlns:a16="http://schemas.microsoft.com/office/drawing/2014/main" id="{C3009EE7-6FEC-437F-8A56-9E751B4EF61F}"/>
                  </a:ext>
                </a:extLst>
              </p:cNvPr>
              <p:cNvSpPr/>
              <p:nvPr/>
            </p:nvSpPr>
            <p:spPr bwMode="auto">
              <a:xfrm>
                <a:off x="5822950" y="3333750"/>
                <a:ext cx="1371600" cy="49213"/>
              </a:xfrm>
              <a:prstGeom prst="rect">
                <a:avLst/>
              </a:prstGeom>
              <a:solidFill>
                <a:srgbClr val="E9F1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46" name="ïsľíḓé">
                <a:extLst>
                  <a:ext uri="{FF2B5EF4-FFF2-40B4-BE49-F238E27FC236}">
                    <a16:creationId xmlns:a16="http://schemas.microsoft.com/office/drawing/2014/main" id="{54D565EE-4197-43CC-8BA2-93A33898E296}"/>
                  </a:ext>
                </a:extLst>
              </p:cNvPr>
              <p:cNvSpPr/>
              <p:nvPr/>
            </p:nvSpPr>
            <p:spPr bwMode="auto">
              <a:xfrm>
                <a:off x="5822950" y="3333750"/>
                <a:ext cx="1371600" cy="492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47" name="îŝḻïḋè">
                <a:extLst>
                  <a:ext uri="{FF2B5EF4-FFF2-40B4-BE49-F238E27FC236}">
                    <a16:creationId xmlns:a16="http://schemas.microsoft.com/office/drawing/2014/main" id="{BC7E7C6B-6F7D-4A7F-BFB7-47CB74579EF8}"/>
                  </a:ext>
                </a:extLst>
              </p:cNvPr>
              <p:cNvSpPr/>
              <p:nvPr/>
            </p:nvSpPr>
            <p:spPr bwMode="auto">
              <a:xfrm>
                <a:off x="5822950" y="3432175"/>
                <a:ext cx="1371600" cy="49213"/>
              </a:xfrm>
              <a:prstGeom prst="rect">
                <a:avLst/>
              </a:prstGeom>
              <a:solidFill>
                <a:srgbClr val="E9F1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48" name="îŝľïḋe">
                <a:extLst>
                  <a:ext uri="{FF2B5EF4-FFF2-40B4-BE49-F238E27FC236}">
                    <a16:creationId xmlns:a16="http://schemas.microsoft.com/office/drawing/2014/main" id="{B7D87923-7E18-4C61-A84B-570B5022B24D}"/>
                  </a:ext>
                </a:extLst>
              </p:cNvPr>
              <p:cNvSpPr/>
              <p:nvPr/>
            </p:nvSpPr>
            <p:spPr bwMode="auto">
              <a:xfrm>
                <a:off x="5822950" y="3432175"/>
                <a:ext cx="1371600" cy="492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49" name="ïṣḷiḓe">
                <a:extLst>
                  <a:ext uri="{FF2B5EF4-FFF2-40B4-BE49-F238E27FC236}">
                    <a16:creationId xmlns:a16="http://schemas.microsoft.com/office/drawing/2014/main" id="{A6447C2E-665B-4A1E-9BD2-AD606B5B697E}"/>
                  </a:ext>
                </a:extLst>
              </p:cNvPr>
              <p:cNvSpPr/>
              <p:nvPr/>
            </p:nvSpPr>
            <p:spPr bwMode="auto">
              <a:xfrm>
                <a:off x="5822950" y="3529013"/>
                <a:ext cx="1371600" cy="49213"/>
              </a:xfrm>
              <a:prstGeom prst="rect">
                <a:avLst/>
              </a:prstGeom>
              <a:solidFill>
                <a:srgbClr val="E9F1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50" name="iṩḻíďe">
                <a:extLst>
                  <a:ext uri="{FF2B5EF4-FFF2-40B4-BE49-F238E27FC236}">
                    <a16:creationId xmlns:a16="http://schemas.microsoft.com/office/drawing/2014/main" id="{60E1CEDF-8139-4D18-A303-4965DE15960E}"/>
                  </a:ext>
                </a:extLst>
              </p:cNvPr>
              <p:cNvSpPr/>
              <p:nvPr/>
            </p:nvSpPr>
            <p:spPr bwMode="auto">
              <a:xfrm>
                <a:off x="5822950" y="3529013"/>
                <a:ext cx="1371600" cy="492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51" name="îšľiḍe">
                <a:extLst>
                  <a:ext uri="{FF2B5EF4-FFF2-40B4-BE49-F238E27FC236}">
                    <a16:creationId xmlns:a16="http://schemas.microsoft.com/office/drawing/2014/main" id="{CDB15E80-5A84-44FF-A566-18922B3B74A8}"/>
                  </a:ext>
                </a:extLst>
              </p:cNvPr>
              <p:cNvSpPr/>
              <p:nvPr/>
            </p:nvSpPr>
            <p:spPr bwMode="auto">
              <a:xfrm>
                <a:off x="5927725" y="1687513"/>
                <a:ext cx="1009650" cy="1003300"/>
              </a:xfrm>
              <a:prstGeom prst="ellipse">
                <a:avLst/>
              </a:prstGeom>
              <a:solidFill>
                <a:srgbClr val="E1EC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70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52" name="îSḻïḓê">
                <a:extLst>
                  <a:ext uri="{FF2B5EF4-FFF2-40B4-BE49-F238E27FC236}">
                    <a16:creationId xmlns:a16="http://schemas.microsoft.com/office/drawing/2014/main" id="{2B9FA08E-B1EE-4BA6-861D-348B663A875E}"/>
                  </a:ext>
                </a:extLst>
              </p:cNvPr>
              <p:cNvSpPr/>
              <p:nvPr/>
            </p:nvSpPr>
            <p:spPr bwMode="auto">
              <a:xfrm>
                <a:off x="6435725" y="1687513"/>
                <a:ext cx="465138" cy="501650"/>
              </a:xfrm>
              <a:custGeom>
                <a:avLst/>
                <a:gdLst>
                  <a:gd name="T0" fmla="*/ 0 w 293"/>
                  <a:gd name="T1" fmla="*/ 0 h 316"/>
                  <a:gd name="T2" fmla="*/ 0 w 293"/>
                  <a:gd name="T3" fmla="*/ 316 h 316"/>
                  <a:gd name="T4" fmla="*/ 293 w 293"/>
                  <a:gd name="T5" fmla="*/ 147 h 316"/>
                  <a:gd name="T6" fmla="*/ 243 w 293"/>
                  <a:gd name="T7" fmla="*/ 0 h 316"/>
                  <a:gd name="T8" fmla="*/ 0 w 293"/>
                  <a:gd name="T9" fmla="*/ 0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3" h="316">
                    <a:moveTo>
                      <a:pt x="0" y="0"/>
                    </a:moveTo>
                    <a:lnTo>
                      <a:pt x="0" y="316"/>
                    </a:lnTo>
                    <a:lnTo>
                      <a:pt x="293" y="147"/>
                    </a:lnTo>
                    <a:lnTo>
                      <a:pt x="243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40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53" name="îSlïḓé">
                <a:extLst>
                  <a:ext uri="{FF2B5EF4-FFF2-40B4-BE49-F238E27FC236}">
                    <a16:creationId xmlns:a16="http://schemas.microsoft.com/office/drawing/2014/main" id="{50E92F7B-158F-4321-BFDC-83C94FD4C18C}"/>
                  </a:ext>
                </a:extLst>
              </p:cNvPr>
              <p:cNvSpPr/>
              <p:nvPr/>
            </p:nvSpPr>
            <p:spPr bwMode="auto">
              <a:xfrm>
                <a:off x="6478588" y="1597025"/>
                <a:ext cx="441325" cy="501650"/>
              </a:xfrm>
              <a:custGeom>
                <a:avLst/>
                <a:gdLst>
                  <a:gd name="T0" fmla="*/ 72 w 72"/>
                  <a:gd name="T1" fmla="*/ 41 h 82"/>
                  <a:gd name="T2" fmla="*/ 0 w 72"/>
                  <a:gd name="T3" fmla="*/ 0 h 82"/>
                  <a:gd name="T4" fmla="*/ 0 w 72"/>
                  <a:gd name="T5" fmla="*/ 82 h 82"/>
                  <a:gd name="T6" fmla="*/ 72 w 72"/>
                  <a:gd name="T7" fmla="*/ 4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2" h="82">
                    <a:moveTo>
                      <a:pt x="72" y="41"/>
                    </a:moveTo>
                    <a:cubicBezTo>
                      <a:pt x="58" y="16"/>
                      <a:pt x="31" y="0"/>
                      <a:pt x="0" y="0"/>
                    </a:cubicBezTo>
                    <a:cubicBezTo>
                      <a:pt x="0" y="82"/>
                      <a:pt x="0" y="82"/>
                      <a:pt x="0" y="82"/>
                    </a:cubicBezTo>
                    <a:lnTo>
                      <a:pt x="72" y="41"/>
                    </a:lnTo>
                    <a:close/>
                  </a:path>
                </a:pathLst>
              </a:custGeom>
              <a:solidFill>
                <a:srgbClr val="CFD2E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40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54" name="iŝḷiḋé">
                <a:extLst>
                  <a:ext uri="{FF2B5EF4-FFF2-40B4-BE49-F238E27FC236}">
                    <a16:creationId xmlns:a16="http://schemas.microsoft.com/office/drawing/2014/main" id="{6B26B506-45AC-4526-B405-906F22064650}"/>
                  </a:ext>
                </a:extLst>
              </p:cNvPr>
              <p:cNvSpPr/>
              <p:nvPr/>
            </p:nvSpPr>
            <p:spPr bwMode="auto">
              <a:xfrm>
                <a:off x="5983288" y="2752725"/>
                <a:ext cx="128588" cy="122238"/>
              </a:xfrm>
              <a:prstGeom prst="rect">
                <a:avLst/>
              </a:prstGeom>
              <a:solidFill>
                <a:srgbClr val="E1EC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55" name="íṣľíḋè">
                <a:extLst>
                  <a:ext uri="{FF2B5EF4-FFF2-40B4-BE49-F238E27FC236}">
                    <a16:creationId xmlns:a16="http://schemas.microsoft.com/office/drawing/2014/main" id="{26838780-8B62-4650-9B4B-CA4D92E40365}"/>
                  </a:ext>
                </a:extLst>
              </p:cNvPr>
              <p:cNvSpPr/>
              <p:nvPr/>
            </p:nvSpPr>
            <p:spPr bwMode="auto">
              <a:xfrm>
                <a:off x="6154738" y="2808288"/>
                <a:ext cx="238125" cy="66675"/>
              </a:xfrm>
              <a:prstGeom prst="rect">
                <a:avLst/>
              </a:prstGeom>
              <a:solidFill>
                <a:srgbClr val="E9F1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56" name="ïsḷïḋè">
                <a:extLst>
                  <a:ext uri="{FF2B5EF4-FFF2-40B4-BE49-F238E27FC236}">
                    <a16:creationId xmlns:a16="http://schemas.microsoft.com/office/drawing/2014/main" id="{E953F1B2-4403-440E-B542-9F62542D4887}"/>
                  </a:ext>
                </a:extLst>
              </p:cNvPr>
              <p:cNvSpPr/>
              <p:nvPr/>
            </p:nvSpPr>
            <p:spPr bwMode="auto">
              <a:xfrm>
                <a:off x="6154738" y="2808288"/>
                <a:ext cx="238125" cy="666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57" name="ïṩlídè">
                <a:extLst>
                  <a:ext uri="{FF2B5EF4-FFF2-40B4-BE49-F238E27FC236}">
                    <a16:creationId xmlns:a16="http://schemas.microsoft.com/office/drawing/2014/main" id="{989243CA-06A6-44A3-A5BF-D78430513763}"/>
                  </a:ext>
                </a:extLst>
              </p:cNvPr>
              <p:cNvSpPr/>
              <p:nvPr/>
            </p:nvSpPr>
            <p:spPr bwMode="auto">
              <a:xfrm>
                <a:off x="6669088" y="2752725"/>
                <a:ext cx="122238" cy="122238"/>
              </a:xfrm>
              <a:prstGeom prst="rect">
                <a:avLst/>
              </a:prstGeom>
              <a:solidFill>
                <a:srgbClr val="CFD2E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58" name="işḻïḑé">
                <a:extLst>
                  <a:ext uri="{FF2B5EF4-FFF2-40B4-BE49-F238E27FC236}">
                    <a16:creationId xmlns:a16="http://schemas.microsoft.com/office/drawing/2014/main" id="{025AAE37-DF14-4C00-BE57-3EA5CFFEF449}"/>
                  </a:ext>
                </a:extLst>
              </p:cNvPr>
              <p:cNvSpPr/>
              <p:nvPr/>
            </p:nvSpPr>
            <p:spPr bwMode="auto">
              <a:xfrm>
                <a:off x="6840538" y="2808288"/>
                <a:ext cx="231775" cy="66675"/>
              </a:xfrm>
              <a:prstGeom prst="rect">
                <a:avLst/>
              </a:prstGeom>
              <a:solidFill>
                <a:srgbClr val="E9F1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59" name="ï$ḷiḋe">
                <a:extLst>
                  <a:ext uri="{FF2B5EF4-FFF2-40B4-BE49-F238E27FC236}">
                    <a16:creationId xmlns:a16="http://schemas.microsoft.com/office/drawing/2014/main" id="{CC167108-602B-4AAC-B2BD-94FD9CB009FE}"/>
                  </a:ext>
                </a:extLst>
              </p:cNvPr>
              <p:cNvSpPr/>
              <p:nvPr/>
            </p:nvSpPr>
            <p:spPr bwMode="auto">
              <a:xfrm>
                <a:off x="6840538" y="2808288"/>
                <a:ext cx="231775" cy="666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60" name="îṩļîḓê">
                <a:extLst>
                  <a:ext uri="{FF2B5EF4-FFF2-40B4-BE49-F238E27FC236}">
                    <a16:creationId xmlns:a16="http://schemas.microsoft.com/office/drawing/2014/main" id="{87FC4EBC-9DBD-401A-907C-7D426823BD8D}"/>
                  </a:ext>
                </a:extLst>
              </p:cNvPr>
              <p:cNvSpPr/>
              <p:nvPr/>
            </p:nvSpPr>
            <p:spPr bwMode="auto">
              <a:xfrm>
                <a:off x="5376863" y="1155700"/>
                <a:ext cx="2265363" cy="109538"/>
              </a:xfrm>
              <a:custGeom>
                <a:avLst/>
                <a:gdLst>
                  <a:gd name="T0" fmla="*/ 360 w 370"/>
                  <a:gd name="T1" fmla="*/ 18 h 18"/>
                  <a:gd name="T2" fmla="*/ 9 w 370"/>
                  <a:gd name="T3" fmla="*/ 18 h 18"/>
                  <a:gd name="T4" fmla="*/ 0 w 370"/>
                  <a:gd name="T5" fmla="*/ 9 h 18"/>
                  <a:gd name="T6" fmla="*/ 9 w 370"/>
                  <a:gd name="T7" fmla="*/ 0 h 18"/>
                  <a:gd name="T8" fmla="*/ 360 w 370"/>
                  <a:gd name="T9" fmla="*/ 0 h 18"/>
                  <a:gd name="T10" fmla="*/ 370 w 370"/>
                  <a:gd name="T11" fmla="*/ 9 h 18"/>
                  <a:gd name="T12" fmla="*/ 360 w 370"/>
                  <a:gd name="T1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0" h="18">
                    <a:moveTo>
                      <a:pt x="360" y="18"/>
                    </a:moveTo>
                    <a:cubicBezTo>
                      <a:pt x="9" y="18"/>
                      <a:pt x="9" y="18"/>
                      <a:pt x="9" y="18"/>
                    </a:cubicBezTo>
                    <a:cubicBezTo>
                      <a:pt x="4" y="18"/>
                      <a:pt x="0" y="14"/>
                      <a:pt x="0" y="9"/>
                    </a:cubicBezTo>
                    <a:cubicBezTo>
                      <a:pt x="0" y="4"/>
                      <a:pt x="4" y="0"/>
                      <a:pt x="9" y="0"/>
                    </a:cubicBezTo>
                    <a:cubicBezTo>
                      <a:pt x="360" y="0"/>
                      <a:pt x="360" y="0"/>
                      <a:pt x="360" y="0"/>
                    </a:cubicBezTo>
                    <a:cubicBezTo>
                      <a:pt x="366" y="0"/>
                      <a:pt x="370" y="4"/>
                      <a:pt x="370" y="9"/>
                    </a:cubicBezTo>
                    <a:cubicBezTo>
                      <a:pt x="370" y="14"/>
                      <a:pt x="366" y="18"/>
                      <a:pt x="360" y="18"/>
                    </a:cubicBezTo>
                    <a:close/>
                  </a:path>
                </a:pathLst>
              </a:custGeom>
              <a:solidFill>
                <a:srgbClr val="544D7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61" name="îṡḻîdé">
                <a:extLst>
                  <a:ext uri="{FF2B5EF4-FFF2-40B4-BE49-F238E27FC236}">
                    <a16:creationId xmlns:a16="http://schemas.microsoft.com/office/drawing/2014/main" id="{45AC29BB-5E38-4F18-B2CD-18AD7BAF2539}"/>
                  </a:ext>
                </a:extLst>
              </p:cNvPr>
              <p:cNvSpPr/>
              <p:nvPr/>
            </p:nvSpPr>
            <p:spPr bwMode="auto">
              <a:xfrm>
                <a:off x="5229225" y="2270125"/>
                <a:ext cx="882650" cy="763588"/>
              </a:xfrm>
              <a:custGeom>
                <a:avLst/>
                <a:gdLst>
                  <a:gd name="T0" fmla="*/ 17 w 144"/>
                  <a:gd name="T1" fmla="*/ 0 h 125"/>
                  <a:gd name="T2" fmla="*/ 70 w 144"/>
                  <a:gd name="T3" fmla="*/ 85 h 125"/>
                  <a:gd name="T4" fmla="*/ 144 w 144"/>
                  <a:gd name="T5" fmla="*/ 29 h 125"/>
                  <a:gd name="T6" fmla="*/ 143 w 144"/>
                  <a:gd name="T7" fmla="*/ 36 h 125"/>
                  <a:gd name="T8" fmla="*/ 67 w 144"/>
                  <a:gd name="T9" fmla="*/ 125 h 125"/>
                  <a:gd name="T10" fmla="*/ 0 w 144"/>
                  <a:gd name="T11" fmla="*/ 65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4" h="125">
                    <a:moveTo>
                      <a:pt x="17" y="0"/>
                    </a:moveTo>
                    <a:cubicBezTo>
                      <a:pt x="40" y="23"/>
                      <a:pt x="56" y="54"/>
                      <a:pt x="70" y="85"/>
                    </a:cubicBezTo>
                    <a:cubicBezTo>
                      <a:pt x="93" y="65"/>
                      <a:pt x="120" y="48"/>
                      <a:pt x="144" y="29"/>
                    </a:cubicBezTo>
                    <a:cubicBezTo>
                      <a:pt x="143" y="36"/>
                      <a:pt x="143" y="36"/>
                      <a:pt x="143" y="36"/>
                    </a:cubicBezTo>
                    <a:cubicBezTo>
                      <a:pt x="128" y="71"/>
                      <a:pt x="88" y="123"/>
                      <a:pt x="67" y="125"/>
                    </a:cubicBezTo>
                    <a:cubicBezTo>
                      <a:pt x="57" y="125"/>
                      <a:pt x="18" y="89"/>
                      <a:pt x="0" y="65"/>
                    </a:cubicBezTo>
                  </a:path>
                </a:pathLst>
              </a:custGeom>
              <a:solidFill>
                <a:srgbClr val="F9C4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8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62" name="išḷïdè">
                <a:extLst>
                  <a:ext uri="{FF2B5EF4-FFF2-40B4-BE49-F238E27FC236}">
                    <a16:creationId xmlns:a16="http://schemas.microsoft.com/office/drawing/2014/main" id="{B1B4CBC6-3A11-468B-A2C7-4C02AE46309B}"/>
                  </a:ext>
                </a:extLst>
              </p:cNvPr>
              <p:cNvSpPr/>
              <p:nvPr/>
            </p:nvSpPr>
            <p:spPr bwMode="auto">
              <a:xfrm>
                <a:off x="5259388" y="5408613"/>
                <a:ext cx="288925" cy="146050"/>
              </a:xfrm>
              <a:custGeom>
                <a:avLst/>
                <a:gdLst>
                  <a:gd name="T0" fmla="*/ 5 w 47"/>
                  <a:gd name="T1" fmla="*/ 0 h 24"/>
                  <a:gd name="T2" fmla="*/ 15 w 47"/>
                  <a:gd name="T3" fmla="*/ 0 h 24"/>
                  <a:gd name="T4" fmla="*/ 41 w 47"/>
                  <a:gd name="T5" fmla="*/ 15 h 24"/>
                  <a:gd name="T6" fmla="*/ 45 w 47"/>
                  <a:gd name="T7" fmla="*/ 22 h 24"/>
                  <a:gd name="T8" fmla="*/ 37 w 47"/>
                  <a:gd name="T9" fmla="*/ 24 h 24"/>
                  <a:gd name="T10" fmla="*/ 9 w 47"/>
                  <a:gd name="T11" fmla="*/ 21 h 24"/>
                  <a:gd name="T12" fmla="*/ 1 w 47"/>
                  <a:gd name="T13" fmla="*/ 15 h 24"/>
                  <a:gd name="T14" fmla="*/ 5 w 47"/>
                  <a:gd name="T1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7" h="24">
                    <a:moveTo>
                      <a:pt x="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15" y="5"/>
                      <a:pt x="33" y="10"/>
                      <a:pt x="41" y="15"/>
                    </a:cubicBezTo>
                    <a:cubicBezTo>
                      <a:pt x="43" y="16"/>
                      <a:pt x="47" y="19"/>
                      <a:pt x="45" y="22"/>
                    </a:cubicBezTo>
                    <a:cubicBezTo>
                      <a:pt x="43" y="23"/>
                      <a:pt x="40" y="24"/>
                      <a:pt x="37" y="24"/>
                    </a:cubicBezTo>
                    <a:cubicBezTo>
                      <a:pt x="28" y="24"/>
                      <a:pt x="18" y="24"/>
                      <a:pt x="9" y="21"/>
                    </a:cubicBezTo>
                    <a:cubicBezTo>
                      <a:pt x="6" y="20"/>
                      <a:pt x="2" y="18"/>
                      <a:pt x="1" y="15"/>
                    </a:cubicBezTo>
                    <a:cubicBezTo>
                      <a:pt x="0" y="10"/>
                      <a:pt x="5" y="8"/>
                      <a:pt x="5" y="0"/>
                    </a:cubicBezTo>
                    <a:close/>
                  </a:path>
                </a:pathLst>
              </a:custGeom>
              <a:solidFill>
                <a:srgbClr val="1B22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63" name="íšļídè">
                <a:extLst>
                  <a:ext uri="{FF2B5EF4-FFF2-40B4-BE49-F238E27FC236}">
                    <a16:creationId xmlns:a16="http://schemas.microsoft.com/office/drawing/2014/main" id="{D74F484C-E4E6-4395-81A3-5377D3FE8CBC}"/>
                  </a:ext>
                </a:extLst>
              </p:cNvPr>
              <p:cNvSpPr/>
              <p:nvPr/>
            </p:nvSpPr>
            <p:spPr bwMode="auto">
              <a:xfrm>
                <a:off x="4524375" y="5457825"/>
                <a:ext cx="288925" cy="146050"/>
              </a:xfrm>
              <a:custGeom>
                <a:avLst/>
                <a:gdLst>
                  <a:gd name="T0" fmla="*/ 5 w 47"/>
                  <a:gd name="T1" fmla="*/ 0 h 24"/>
                  <a:gd name="T2" fmla="*/ 15 w 47"/>
                  <a:gd name="T3" fmla="*/ 0 h 24"/>
                  <a:gd name="T4" fmla="*/ 40 w 47"/>
                  <a:gd name="T5" fmla="*/ 15 h 24"/>
                  <a:gd name="T6" fmla="*/ 44 w 47"/>
                  <a:gd name="T7" fmla="*/ 22 h 24"/>
                  <a:gd name="T8" fmla="*/ 37 w 47"/>
                  <a:gd name="T9" fmla="*/ 24 h 24"/>
                  <a:gd name="T10" fmla="*/ 9 w 47"/>
                  <a:gd name="T11" fmla="*/ 20 h 24"/>
                  <a:gd name="T12" fmla="*/ 1 w 47"/>
                  <a:gd name="T13" fmla="*/ 14 h 24"/>
                  <a:gd name="T14" fmla="*/ 5 w 47"/>
                  <a:gd name="T1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7" h="24">
                    <a:moveTo>
                      <a:pt x="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15" y="5"/>
                      <a:pt x="33" y="10"/>
                      <a:pt x="40" y="15"/>
                    </a:cubicBezTo>
                    <a:cubicBezTo>
                      <a:pt x="43" y="16"/>
                      <a:pt x="47" y="19"/>
                      <a:pt x="44" y="22"/>
                    </a:cubicBezTo>
                    <a:cubicBezTo>
                      <a:pt x="42" y="23"/>
                      <a:pt x="39" y="24"/>
                      <a:pt x="37" y="24"/>
                    </a:cubicBezTo>
                    <a:cubicBezTo>
                      <a:pt x="27" y="23"/>
                      <a:pt x="18" y="24"/>
                      <a:pt x="9" y="20"/>
                    </a:cubicBezTo>
                    <a:cubicBezTo>
                      <a:pt x="6" y="19"/>
                      <a:pt x="2" y="17"/>
                      <a:pt x="1" y="14"/>
                    </a:cubicBezTo>
                    <a:cubicBezTo>
                      <a:pt x="0" y="10"/>
                      <a:pt x="5" y="7"/>
                      <a:pt x="5" y="0"/>
                    </a:cubicBezTo>
                    <a:close/>
                  </a:path>
                </a:pathLst>
              </a:custGeom>
              <a:solidFill>
                <a:srgbClr val="1B22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64" name="ïṥ1îḑê">
                <a:extLst>
                  <a:ext uri="{FF2B5EF4-FFF2-40B4-BE49-F238E27FC236}">
                    <a16:creationId xmlns:a16="http://schemas.microsoft.com/office/drawing/2014/main" id="{87536F33-574A-4A40-8D63-5B3DD0BDBAE1}"/>
                  </a:ext>
                </a:extLst>
              </p:cNvPr>
              <p:cNvSpPr/>
              <p:nvPr/>
            </p:nvSpPr>
            <p:spPr bwMode="auto">
              <a:xfrm>
                <a:off x="4862513" y="3346450"/>
                <a:ext cx="593725" cy="2111375"/>
              </a:xfrm>
              <a:custGeom>
                <a:avLst/>
                <a:gdLst>
                  <a:gd name="T0" fmla="*/ 79 w 97"/>
                  <a:gd name="T1" fmla="*/ 12 h 345"/>
                  <a:gd name="T2" fmla="*/ 95 w 97"/>
                  <a:gd name="T3" fmla="*/ 167 h 345"/>
                  <a:gd name="T4" fmla="*/ 84 w 97"/>
                  <a:gd name="T5" fmla="*/ 341 h 345"/>
                  <a:gd name="T6" fmla="*/ 69 w 97"/>
                  <a:gd name="T7" fmla="*/ 342 h 345"/>
                  <a:gd name="T8" fmla="*/ 49 w 97"/>
                  <a:gd name="T9" fmla="*/ 209 h 345"/>
                  <a:gd name="T10" fmla="*/ 51 w 97"/>
                  <a:gd name="T11" fmla="*/ 186 h 345"/>
                  <a:gd name="T12" fmla="*/ 10 w 97"/>
                  <a:gd name="T13" fmla="*/ 0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" h="345">
                    <a:moveTo>
                      <a:pt x="79" y="12"/>
                    </a:moveTo>
                    <a:cubicBezTo>
                      <a:pt x="93" y="83"/>
                      <a:pt x="93" y="115"/>
                      <a:pt x="95" y="167"/>
                    </a:cubicBezTo>
                    <a:cubicBezTo>
                      <a:pt x="97" y="231"/>
                      <a:pt x="87" y="290"/>
                      <a:pt x="84" y="341"/>
                    </a:cubicBezTo>
                    <a:cubicBezTo>
                      <a:pt x="84" y="341"/>
                      <a:pt x="76" y="345"/>
                      <a:pt x="69" y="342"/>
                    </a:cubicBezTo>
                    <a:cubicBezTo>
                      <a:pt x="62" y="310"/>
                      <a:pt x="42" y="251"/>
                      <a:pt x="49" y="209"/>
                    </a:cubicBezTo>
                    <a:cubicBezTo>
                      <a:pt x="50" y="201"/>
                      <a:pt x="51" y="194"/>
                      <a:pt x="51" y="186"/>
                    </a:cubicBezTo>
                    <a:cubicBezTo>
                      <a:pt x="51" y="168"/>
                      <a:pt x="0" y="82"/>
                      <a:pt x="10" y="0"/>
                    </a:cubicBezTo>
                  </a:path>
                </a:pathLst>
              </a:custGeom>
              <a:solidFill>
                <a:srgbClr val="3E89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65" name="îṣḷîḋê">
                <a:extLst>
                  <a:ext uri="{FF2B5EF4-FFF2-40B4-BE49-F238E27FC236}">
                    <a16:creationId xmlns:a16="http://schemas.microsoft.com/office/drawing/2014/main" id="{6FB30534-89D3-4700-A84A-0FCEE8CB3A8C}"/>
                  </a:ext>
                </a:extLst>
              </p:cNvPr>
              <p:cNvSpPr/>
              <p:nvPr/>
            </p:nvSpPr>
            <p:spPr bwMode="auto">
              <a:xfrm>
                <a:off x="4464050" y="3273425"/>
                <a:ext cx="623888" cy="2227263"/>
              </a:xfrm>
              <a:custGeom>
                <a:avLst/>
                <a:gdLst>
                  <a:gd name="T0" fmla="*/ 98 w 102"/>
                  <a:gd name="T1" fmla="*/ 0 h 364"/>
                  <a:gd name="T2" fmla="*/ 72 w 102"/>
                  <a:gd name="T3" fmla="*/ 200 h 364"/>
                  <a:gd name="T4" fmla="*/ 29 w 102"/>
                  <a:gd name="T5" fmla="*/ 361 h 364"/>
                  <a:gd name="T6" fmla="*/ 14 w 102"/>
                  <a:gd name="T7" fmla="*/ 361 h 364"/>
                  <a:gd name="T8" fmla="*/ 18 w 102"/>
                  <a:gd name="T9" fmla="*/ 217 h 364"/>
                  <a:gd name="T10" fmla="*/ 24 w 102"/>
                  <a:gd name="T11" fmla="*/ 195 h 364"/>
                  <a:gd name="T12" fmla="*/ 4 w 102"/>
                  <a:gd name="T13" fmla="*/ 71 h 364"/>
                  <a:gd name="T14" fmla="*/ 29 w 102"/>
                  <a:gd name="T15" fmla="*/ 11 h 3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2" h="364">
                    <a:moveTo>
                      <a:pt x="98" y="0"/>
                    </a:moveTo>
                    <a:cubicBezTo>
                      <a:pt x="102" y="46"/>
                      <a:pt x="80" y="158"/>
                      <a:pt x="72" y="200"/>
                    </a:cubicBezTo>
                    <a:cubicBezTo>
                      <a:pt x="60" y="257"/>
                      <a:pt x="31" y="352"/>
                      <a:pt x="29" y="361"/>
                    </a:cubicBezTo>
                    <a:cubicBezTo>
                      <a:pt x="26" y="364"/>
                      <a:pt x="14" y="361"/>
                      <a:pt x="14" y="361"/>
                    </a:cubicBezTo>
                    <a:cubicBezTo>
                      <a:pt x="14" y="318"/>
                      <a:pt x="3" y="258"/>
                      <a:pt x="18" y="217"/>
                    </a:cubicBezTo>
                    <a:cubicBezTo>
                      <a:pt x="21" y="210"/>
                      <a:pt x="24" y="203"/>
                      <a:pt x="24" y="195"/>
                    </a:cubicBezTo>
                    <a:cubicBezTo>
                      <a:pt x="25" y="188"/>
                      <a:pt x="0" y="106"/>
                      <a:pt x="4" y="71"/>
                    </a:cubicBezTo>
                    <a:cubicBezTo>
                      <a:pt x="7" y="53"/>
                      <a:pt x="13" y="31"/>
                      <a:pt x="29" y="11"/>
                    </a:cubicBezTo>
                  </a:path>
                </a:pathLst>
              </a:custGeom>
              <a:solidFill>
                <a:srgbClr val="3E89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66" name="ï$ļíḑê">
                <a:extLst>
                  <a:ext uri="{FF2B5EF4-FFF2-40B4-BE49-F238E27FC236}">
                    <a16:creationId xmlns:a16="http://schemas.microsoft.com/office/drawing/2014/main" id="{A1C24CDE-A7E3-48EA-8917-C1FC5076BC66}"/>
                  </a:ext>
                </a:extLst>
              </p:cNvPr>
              <p:cNvSpPr/>
              <p:nvPr/>
            </p:nvSpPr>
            <p:spPr bwMode="auto">
              <a:xfrm>
                <a:off x="4579938" y="3498850"/>
                <a:ext cx="196850" cy="115888"/>
              </a:xfrm>
              <a:custGeom>
                <a:avLst/>
                <a:gdLst>
                  <a:gd name="T0" fmla="*/ 1 w 32"/>
                  <a:gd name="T1" fmla="*/ 14 h 19"/>
                  <a:gd name="T2" fmla="*/ 14 w 32"/>
                  <a:gd name="T3" fmla="*/ 17 h 19"/>
                  <a:gd name="T4" fmla="*/ 25 w 32"/>
                  <a:gd name="T5" fmla="*/ 17 h 19"/>
                  <a:gd name="T6" fmla="*/ 31 w 32"/>
                  <a:gd name="T7" fmla="*/ 2 h 19"/>
                  <a:gd name="T8" fmla="*/ 30 w 32"/>
                  <a:gd name="T9" fmla="*/ 1 h 19"/>
                  <a:gd name="T10" fmla="*/ 28 w 32"/>
                  <a:gd name="T11" fmla="*/ 9 h 19"/>
                  <a:gd name="T12" fmla="*/ 21 w 32"/>
                  <a:gd name="T13" fmla="*/ 15 h 19"/>
                  <a:gd name="T14" fmla="*/ 2 w 32"/>
                  <a:gd name="T15" fmla="*/ 12 h 19"/>
                  <a:gd name="T16" fmla="*/ 1 w 32"/>
                  <a:gd name="T17" fmla="*/ 14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2" h="19">
                    <a:moveTo>
                      <a:pt x="1" y="14"/>
                    </a:moveTo>
                    <a:cubicBezTo>
                      <a:pt x="5" y="16"/>
                      <a:pt x="10" y="16"/>
                      <a:pt x="14" y="17"/>
                    </a:cubicBezTo>
                    <a:cubicBezTo>
                      <a:pt x="17" y="17"/>
                      <a:pt x="22" y="19"/>
                      <a:pt x="25" y="17"/>
                    </a:cubicBezTo>
                    <a:cubicBezTo>
                      <a:pt x="30" y="15"/>
                      <a:pt x="32" y="6"/>
                      <a:pt x="31" y="2"/>
                    </a:cubicBezTo>
                    <a:cubicBezTo>
                      <a:pt x="31" y="1"/>
                      <a:pt x="30" y="0"/>
                      <a:pt x="30" y="1"/>
                    </a:cubicBezTo>
                    <a:cubicBezTo>
                      <a:pt x="29" y="4"/>
                      <a:pt x="28" y="6"/>
                      <a:pt x="28" y="9"/>
                    </a:cubicBezTo>
                    <a:cubicBezTo>
                      <a:pt x="26" y="13"/>
                      <a:pt x="25" y="15"/>
                      <a:pt x="21" y="15"/>
                    </a:cubicBezTo>
                    <a:cubicBezTo>
                      <a:pt x="14" y="15"/>
                      <a:pt x="8" y="14"/>
                      <a:pt x="2" y="12"/>
                    </a:cubicBezTo>
                    <a:cubicBezTo>
                      <a:pt x="1" y="12"/>
                      <a:pt x="0" y="14"/>
                      <a:pt x="1" y="14"/>
                    </a:cubicBezTo>
                    <a:close/>
                  </a:path>
                </a:pathLst>
              </a:custGeom>
              <a:solidFill>
                <a:srgbClr val="1979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67" name="íṥḷíḓé">
                <a:extLst>
                  <a:ext uri="{FF2B5EF4-FFF2-40B4-BE49-F238E27FC236}">
                    <a16:creationId xmlns:a16="http://schemas.microsoft.com/office/drawing/2014/main" id="{FDBC956D-7DBE-4118-AEA5-60E7F8D4BB0C}"/>
                  </a:ext>
                </a:extLst>
              </p:cNvPr>
              <p:cNvSpPr/>
              <p:nvPr/>
            </p:nvSpPr>
            <p:spPr bwMode="auto">
              <a:xfrm>
                <a:off x="4995863" y="3713163"/>
                <a:ext cx="49213" cy="269875"/>
              </a:xfrm>
              <a:custGeom>
                <a:avLst/>
                <a:gdLst>
                  <a:gd name="T0" fmla="*/ 7 w 8"/>
                  <a:gd name="T1" fmla="*/ 1 h 44"/>
                  <a:gd name="T2" fmla="*/ 3 w 8"/>
                  <a:gd name="T3" fmla="*/ 23 h 44"/>
                  <a:gd name="T4" fmla="*/ 1 w 8"/>
                  <a:gd name="T5" fmla="*/ 43 h 44"/>
                  <a:gd name="T6" fmla="*/ 3 w 8"/>
                  <a:gd name="T7" fmla="*/ 43 h 44"/>
                  <a:gd name="T8" fmla="*/ 6 w 8"/>
                  <a:gd name="T9" fmla="*/ 24 h 44"/>
                  <a:gd name="T10" fmla="*/ 8 w 8"/>
                  <a:gd name="T11" fmla="*/ 1 h 44"/>
                  <a:gd name="T12" fmla="*/ 7 w 8"/>
                  <a:gd name="T13" fmla="*/ 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44">
                    <a:moveTo>
                      <a:pt x="7" y="1"/>
                    </a:moveTo>
                    <a:cubicBezTo>
                      <a:pt x="5" y="8"/>
                      <a:pt x="4" y="16"/>
                      <a:pt x="3" y="23"/>
                    </a:cubicBezTo>
                    <a:cubicBezTo>
                      <a:pt x="2" y="29"/>
                      <a:pt x="0" y="38"/>
                      <a:pt x="1" y="43"/>
                    </a:cubicBezTo>
                    <a:cubicBezTo>
                      <a:pt x="1" y="44"/>
                      <a:pt x="2" y="44"/>
                      <a:pt x="3" y="43"/>
                    </a:cubicBezTo>
                    <a:cubicBezTo>
                      <a:pt x="5" y="38"/>
                      <a:pt x="5" y="29"/>
                      <a:pt x="6" y="24"/>
                    </a:cubicBezTo>
                    <a:cubicBezTo>
                      <a:pt x="6" y="16"/>
                      <a:pt x="7" y="8"/>
                      <a:pt x="8" y="1"/>
                    </a:cubicBezTo>
                    <a:cubicBezTo>
                      <a:pt x="8" y="0"/>
                      <a:pt x="7" y="0"/>
                      <a:pt x="7" y="1"/>
                    </a:cubicBezTo>
                    <a:close/>
                  </a:path>
                </a:pathLst>
              </a:custGeom>
              <a:solidFill>
                <a:srgbClr val="1979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68" name="ïSlíďè">
                <a:extLst>
                  <a:ext uri="{FF2B5EF4-FFF2-40B4-BE49-F238E27FC236}">
                    <a16:creationId xmlns:a16="http://schemas.microsoft.com/office/drawing/2014/main" id="{867DEC57-1658-45BF-9AC8-EFC035307CDC}"/>
                  </a:ext>
                </a:extLst>
              </p:cNvPr>
              <p:cNvSpPr/>
              <p:nvPr/>
            </p:nvSpPr>
            <p:spPr bwMode="auto">
              <a:xfrm>
                <a:off x="4476750" y="2171700"/>
                <a:ext cx="923925" cy="1400175"/>
              </a:xfrm>
              <a:custGeom>
                <a:avLst/>
                <a:gdLst>
                  <a:gd name="T0" fmla="*/ 38 w 151"/>
                  <a:gd name="T1" fmla="*/ 12 h 229"/>
                  <a:gd name="T2" fmla="*/ 60 w 151"/>
                  <a:gd name="T3" fmla="*/ 1 h 229"/>
                  <a:gd name="T4" fmla="*/ 98 w 151"/>
                  <a:gd name="T5" fmla="*/ 2 h 229"/>
                  <a:gd name="T6" fmla="*/ 104 w 151"/>
                  <a:gd name="T7" fmla="*/ 2 h 229"/>
                  <a:gd name="T8" fmla="*/ 112 w 151"/>
                  <a:gd name="T9" fmla="*/ 5 h 229"/>
                  <a:gd name="T10" fmla="*/ 134 w 151"/>
                  <a:gd name="T11" fmla="*/ 20 h 229"/>
                  <a:gd name="T12" fmla="*/ 143 w 151"/>
                  <a:gd name="T13" fmla="*/ 45 h 229"/>
                  <a:gd name="T14" fmla="*/ 145 w 151"/>
                  <a:gd name="T15" fmla="*/ 75 h 229"/>
                  <a:gd name="T16" fmla="*/ 148 w 151"/>
                  <a:gd name="T17" fmla="*/ 134 h 229"/>
                  <a:gd name="T18" fmla="*/ 145 w 151"/>
                  <a:gd name="T19" fmla="*/ 191 h 229"/>
                  <a:gd name="T20" fmla="*/ 145 w 151"/>
                  <a:gd name="T21" fmla="*/ 195 h 229"/>
                  <a:gd name="T22" fmla="*/ 148 w 151"/>
                  <a:gd name="T23" fmla="*/ 202 h 229"/>
                  <a:gd name="T24" fmla="*/ 130 w 151"/>
                  <a:gd name="T25" fmla="*/ 222 h 229"/>
                  <a:gd name="T26" fmla="*/ 97 w 151"/>
                  <a:gd name="T27" fmla="*/ 226 h 229"/>
                  <a:gd name="T28" fmla="*/ 92 w 151"/>
                  <a:gd name="T29" fmla="*/ 225 h 229"/>
                  <a:gd name="T30" fmla="*/ 85 w 151"/>
                  <a:gd name="T31" fmla="*/ 226 h 229"/>
                  <a:gd name="T32" fmla="*/ 20 w 151"/>
                  <a:gd name="T33" fmla="*/ 218 h 229"/>
                  <a:gd name="T34" fmla="*/ 7 w 151"/>
                  <a:gd name="T35" fmla="*/ 216 h 229"/>
                  <a:gd name="T36" fmla="*/ 3 w 151"/>
                  <a:gd name="T37" fmla="*/ 205 h 229"/>
                  <a:gd name="T38" fmla="*/ 5 w 151"/>
                  <a:gd name="T39" fmla="*/ 202 h 229"/>
                  <a:gd name="T40" fmla="*/ 5 w 151"/>
                  <a:gd name="T41" fmla="*/ 197 h 229"/>
                  <a:gd name="T42" fmla="*/ 3 w 151"/>
                  <a:gd name="T43" fmla="*/ 164 h 229"/>
                  <a:gd name="T44" fmla="*/ 1 w 151"/>
                  <a:gd name="T45" fmla="*/ 103 h 229"/>
                  <a:gd name="T46" fmla="*/ 2 w 151"/>
                  <a:gd name="T47" fmla="*/ 72 h 229"/>
                  <a:gd name="T48" fmla="*/ 3 w 151"/>
                  <a:gd name="T49" fmla="*/ 43 h 229"/>
                  <a:gd name="T50" fmla="*/ 15 w 151"/>
                  <a:gd name="T51" fmla="*/ 25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51" h="229">
                    <a:moveTo>
                      <a:pt x="38" y="12"/>
                    </a:moveTo>
                    <a:cubicBezTo>
                      <a:pt x="46" y="4"/>
                      <a:pt x="48" y="3"/>
                      <a:pt x="60" y="1"/>
                    </a:cubicBezTo>
                    <a:cubicBezTo>
                      <a:pt x="68" y="0"/>
                      <a:pt x="89" y="3"/>
                      <a:pt x="98" y="2"/>
                    </a:cubicBezTo>
                    <a:cubicBezTo>
                      <a:pt x="100" y="1"/>
                      <a:pt x="102" y="1"/>
                      <a:pt x="104" y="2"/>
                    </a:cubicBezTo>
                    <a:cubicBezTo>
                      <a:pt x="107" y="2"/>
                      <a:pt x="110" y="4"/>
                      <a:pt x="112" y="5"/>
                    </a:cubicBezTo>
                    <a:cubicBezTo>
                      <a:pt x="120" y="10"/>
                      <a:pt x="127" y="15"/>
                      <a:pt x="134" y="20"/>
                    </a:cubicBezTo>
                    <a:cubicBezTo>
                      <a:pt x="142" y="25"/>
                      <a:pt x="142" y="36"/>
                      <a:pt x="143" y="45"/>
                    </a:cubicBezTo>
                    <a:cubicBezTo>
                      <a:pt x="144" y="55"/>
                      <a:pt x="145" y="65"/>
                      <a:pt x="145" y="75"/>
                    </a:cubicBezTo>
                    <a:cubicBezTo>
                      <a:pt x="147" y="95"/>
                      <a:pt x="148" y="115"/>
                      <a:pt x="148" y="134"/>
                    </a:cubicBezTo>
                    <a:cubicBezTo>
                      <a:pt x="148" y="153"/>
                      <a:pt x="147" y="172"/>
                      <a:pt x="145" y="191"/>
                    </a:cubicBezTo>
                    <a:cubicBezTo>
                      <a:pt x="145" y="192"/>
                      <a:pt x="145" y="194"/>
                      <a:pt x="145" y="195"/>
                    </a:cubicBezTo>
                    <a:cubicBezTo>
                      <a:pt x="146" y="197"/>
                      <a:pt x="148" y="199"/>
                      <a:pt x="148" y="202"/>
                    </a:cubicBezTo>
                    <a:cubicBezTo>
                      <a:pt x="151" y="213"/>
                      <a:pt x="138" y="219"/>
                      <a:pt x="130" y="222"/>
                    </a:cubicBezTo>
                    <a:cubicBezTo>
                      <a:pt x="120" y="226"/>
                      <a:pt x="108" y="228"/>
                      <a:pt x="97" y="226"/>
                    </a:cubicBezTo>
                    <a:cubicBezTo>
                      <a:pt x="95" y="226"/>
                      <a:pt x="94" y="225"/>
                      <a:pt x="92" y="225"/>
                    </a:cubicBezTo>
                    <a:cubicBezTo>
                      <a:pt x="89" y="225"/>
                      <a:pt x="87" y="226"/>
                      <a:pt x="85" y="226"/>
                    </a:cubicBezTo>
                    <a:cubicBezTo>
                      <a:pt x="63" y="229"/>
                      <a:pt x="42" y="219"/>
                      <a:pt x="20" y="218"/>
                    </a:cubicBezTo>
                    <a:cubicBezTo>
                      <a:pt x="15" y="218"/>
                      <a:pt x="11" y="218"/>
                      <a:pt x="7" y="216"/>
                    </a:cubicBezTo>
                    <a:cubicBezTo>
                      <a:pt x="3" y="214"/>
                      <a:pt x="0" y="208"/>
                      <a:pt x="3" y="205"/>
                    </a:cubicBezTo>
                    <a:cubicBezTo>
                      <a:pt x="3" y="204"/>
                      <a:pt x="4" y="203"/>
                      <a:pt x="5" y="202"/>
                    </a:cubicBezTo>
                    <a:cubicBezTo>
                      <a:pt x="6" y="201"/>
                      <a:pt x="6" y="199"/>
                      <a:pt x="5" y="197"/>
                    </a:cubicBezTo>
                    <a:cubicBezTo>
                      <a:pt x="5" y="186"/>
                      <a:pt x="4" y="175"/>
                      <a:pt x="3" y="164"/>
                    </a:cubicBezTo>
                    <a:cubicBezTo>
                      <a:pt x="2" y="144"/>
                      <a:pt x="0" y="123"/>
                      <a:pt x="1" y="103"/>
                    </a:cubicBezTo>
                    <a:cubicBezTo>
                      <a:pt x="1" y="93"/>
                      <a:pt x="1" y="82"/>
                      <a:pt x="2" y="72"/>
                    </a:cubicBezTo>
                    <a:cubicBezTo>
                      <a:pt x="3" y="63"/>
                      <a:pt x="3" y="53"/>
                      <a:pt x="3" y="43"/>
                    </a:cubicBezTo>
                    <a:cubicBezTo>
                      <a:pt x="3" y="35"/>
                      <a:pt x="9" y="31"/>
                      <a:pt x="15" y="25"/>
                    </a:cubicBezTo>
                  </a:path>
                </a:pathLst>
              </a:custGeom>
              <a:solidFill>
                <a:srgbClr val="57C6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69" name="îsľíďè">
                <a:extLst>
                  <a:ext uri="{FF2B5EF4-FFF2-40B4-BE49-F238E27FC236}">
                    <a16:creationId xmlns:a16="http://schemas.microsoft.com/office/drawing/2014/main" id="{4D237F15-B3EF-4A43-93D4-59515CE9E59D}"/>
                  </a:ext>
                </a:extLst>
              </p:cNvPr>
              <p:cNvSpPr/>
              <p:nvPr/>
            </p:nvSpPr>
            <p:spPr bwMode="auto">
              <a:xfrm>
                <a:off x="3765550" y="2336800"/>
                <a:ext cx="930275" cy="733425"/>
              </a:xfrm>
              <a:custGeom>
                <a:avLst/>
                <a:gdLst>
                  <a:gd name="T0" fmla="*/ 116 w 152"/>
                  <a:gd name="T1" fmla="*/ 0 h 120"/>
                  <a:gd name="T2" fmla="*/ 65 w 152"/>
                  <a:gd name="T3" fmla="*/ 76 h 120"/>
                  <a:gd name="T4" fmla="*/ 19 w 152"/>
                  <a:gd name="T5" fmla="*/ 49 h 120"/>
                  <a:gd name="T6" fmla="*/ 0 w 152"/>
                  <a:gd name="T7" fmla="*/ 50 h 120"/>
                  <a:gd name="T8" fmla="*/ 74 w 152"/>
                  <a:gd name="T9" fmla="*/ 120 h 120"/>
                  <a:gd name="T10" fmla="*/ 152 w 152"/>
                  <a:gd name="T11" fmla="*/ 52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2" h="120">
                    <a:moveTo>
                      <a:pt x="116" y="0"/>
                    </a:moveTo>
                    <a:cubicBezTo>
                      <a:pt x="116" y="0"/>
                      <a:pt x="85" y="45"/>
                      <a:pt x="65" y="76"/>
                    </a:cubicBezTo>
                    <a:cubicBezTo>
                      <a:pt x="40" y="59"/>
                      <a:pt x="19" y="49"/>
                      <a:pt x="19" y="49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24" y="79"/>
                      <a:pt x="49" y="112"/>
                      <a:pt x="74" y="120"/>
                    </a:cubicBezTo>
                    <a:cubicBezTo>
                      <a:pt x="83" y="120"/>
                      <a:pt x="127" y="80"/>
                      <a:pt x="152" y="52"/>
                    </a:cubicBezTo>
                  </a:path>
                </a:pathLst>
              </a:custGeom>
              <a:solidFill>
                <a:srgbClr val="F9C4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85000" lnSpcReduction="20000"/>
              </a:bodyPr>
              <a:lstStyle/>
              <a:p>
                <a:pPr algn="ctr">
                  <a:lnSpc>
                    <a:spcPct val="14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70" name="îSḻïďè">
                <a:extLst>
                  <a:ext uri="{FF2B5EF4-FFF2-40B4-BE49-F238E27FC236}">
                    <a16:creationId xmlns:a16="http://schemas.microsoft.com/office/drawing/2014/main" id="{7AEA1F17-D4F0-4FFC-A125-835EC42A51C9}"/>
                  </a:ext>
                </a:extLst>
              </p:cNvPr>
              <p:cNvSpPr/>
              <p:nvPr/>
            </p:nvSpPr>
            <p:spPr bwMode="auto">
              <a:xfrm>
                <a:off x="4260850" y="2165350"/>
                <a:ext cx="563563" cy="709613"/>
              </a:xfrm>
              <a:custGeom>
                <a:avLst/>
                <a:gdLst>
                  <a:gd name="T0" fmla="*/ 81 w 92"/>
                  <a:gd name="T1" fmla="*/ 78 h 116"/>
                  <a:gd name="T2" fmla="*/ 41 w 92"/>
                  <a:gd name="T3" fmla="*/ 116 h 116"/>
                  <a:gd name="T4" fmla="*/ 0 w 92"/>
                  <a:gd name="T5" fmla="*/ 77 h 116"/>
                  <a:gd name="T6" fmla="*/ 45 w 92"/>
                  <a:gd name="T7" fmla="*/ 18 h 116"/>
                  <a:gd name="T8" fmla="*/ 92 w 92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" h="116">
                    <a:moveTo>
                      <a:pt x="81" y="78"/>
                    </a:moveTo>
                    <a:cubicBezTo>
                      <a:pt x="71" y="80"/>
                      <a:pt x="58" y="101"/>
                      <a:pt x="41" y="116"/>
                    </a:cubicBezTo>
                    <a:cubicBezTo>
                      <a:pt x="18" y="114"/>
                      <a:pt x="4" y="87"/>
                      <a:pt x="0" y="77"/>
                    </a:cubicBezTo>
                    <a:cubicBezTo>
                      <a:pt x="5" y="68"/>
                      <a:pt x="31" y="27"/>
                      <a:pt x="45" y="18"/>
                    </a:cubicBezTo>
                    <a:cubicBezTo>
                      <a:pt x="63" y="5"/>
                      <a:pt x="73" y="4"/>
                      <a:pt x="92" y="0"/>
                    </a:cubicBezTo>
                  </a:path>
                </a:pathLst>
              </a:custGeom>
              <a:solidFill>
                <a:srgbClr val="57C6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70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71" name="ïṡļiďê">
                <a:extLst>
                  <a:ext uri="{FF2B5EF4-FFF2-40B4-BE49-F238E27FC236}">
                    <a16:creationId xmlns:a16="http://schemas.microsoft.com/office/drawing/2014/main" id="{87CB4E77-6F9F-4AE4-A140-20D5F5A25B75}"/>
                  </a:ext>
                </a:extLst>
              </p:cNvPr>
              <p:cNvSpPr/>
              <p:nvPr/>
            </p:nvSpPr>
            <p:spPr bwMode="auto">
              <a:xfrm>
                <a:off x="5027613" y="2165350"/>
                <a:ext cx="544513" cy="636588"/>
              </a:xfrm>
              <a:custGeom>
                <a:avLst/>
                <a:gdLst>
                  <a:gd name="T0" fmla="*/ 0 w 89"/>
                  <a:gd name="T1" fmla="*/ 0 h 104"/>
                  <a:gd name="T2" fmla="*/ 55 w 89"/>
                  <a:gd name="T3" fmla="*/ 15 h 104"/>
                  <a:gd name="T4" fmla="*/ 89 w 89"/>
                  <a:gd name="T5" fmla="*/ 74 h 104"/>
                  <a:gd name="T6" fmla="*/ 49 w 89"/>
                  <a:gd name="T7" fmla="*/ 104 h 104"/>
                  <a:gd name="T8" fmla="*/ 28 w 89"/>
                  <a:gd name="T9" fmla="*/ 67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104">
                    <a:moveTo>
                      <a:pt x="0" y="0"/>
                    </a:moveTo>
                    <a:cubicBezTo>
                      <a:pt x="9" y="1"/>
                      <a:pt x="48" y="9"/>
                      <a:pt x="55" y="15"/>
                    </a:cubicBezTo>
                    <a:cubicBezTo>
                      <a:pt x="67" y="26"/>
                      <a:pt x="78" y="44"/>
                      <a:pt x="89" y="74"/>
                    </a:cubicBezTo>
                    <a:cubicBezTo>
                      <a:pt x="89" y="74"/>
                      <a:pt x="77" y="99"/>
                      <a:pt x="49" y="104"/>
                    </a:cubicBezTo>
                    <a:cubicBezTo>
                      <a:pt x="44" y="99"/>
                      <a:pt x="38" y="83"/>
                      <a:pt x="28" y="67"/>
                    </a:cubicBezTo>
                  </a:path>
                </a:pathLst>
              </a:custGeom>
              <a:solidFill>
                <a:srgbClr val="57C6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625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72" name="îšlïďé">
                <a:extLst>
                  <a:ext uri="{FF2B5EF4-FFF2-40B4-BE49-F238E27FC236}">
                    <a16:creationId xmlns:a16="http://schemas.microsoft.com/office/drawing/2014/main" id="{9DFDF15E-AFAC-49E7-B391-0CCCE9E67917}"/>
                  </a:ext>
                </a:extLst>
              </p:cNvPr>
              <p:cNvSpPr/>
              <p:nvPr/>
            </p:nvSpPr>
            <p:spPr bwMode="auto">
              <a:xfrm>
                <a:off x="4824413" y="1957388"/>
                <a:ext cx="263525" cy="306388"/>
              </a:xfrm>
              <a:custGeom>
                <a:avLst/>
                <a:gdLst>
                  <a:gd name="T0" fmla="*/ 5 w 43"/>
                  <a:gd name="T1" fmla="*/ 0 h 50"/>
                  <a:gd name="T2" fmla="*/ 0 w 43"/>
                  <a:gd name="T3" fmla="*/ 34 h 50"/>
                  <a:gd name="T4" fmla="*/ 11 w 43"/>
                  <a:gd name="T5" fmla="*/ 46 h 50"/>
                  <a:gd name="T6" fmla="*/ 41 w 43"/>
                  <a:gd name="T7" fmla="*/ 39 h 50"/>
                  <a:gd name="T8" fmla="*/ 40 w 43"/>
                  <a:gd name="T9" fmla="*/ 27 h 50"/>
                  <a:gd name="T10" fmla="*/ 35 w 43"/>
                  <a:gd name="T11" fmla="*/ 8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50">
                    <a:moveTo>
                      <a:pt x="5" y="0"/>
                    </a:moveTo>
                    <a:cubicBezTo>
                      <a:pt x="3" y="13"/>
                      <a:pt x="2" y="21"/>
                      <a:pt x="0" y="34"/>
                    </a:cubicBezTo>
                    <a:cubicBezTo>
                      <a:pt x="0" y="38"/>
                      <a:pt x="9" y="45"/>
                      <a:pt x="11" y="46"/>
                    </a:cubicBezTo>
                    <a:cubicBezTo>
                      <a:pt x="21" y="50"/>
                      <a:pt x="34" y="49"/>
                      <a:pt x="41" y="39"/>
                    </a:cubicBezTo>
                    <a:cubicBezTo>
                      <a:pt x="43" y="36"/>
                      <a:pt x="41" y="31"/>
                      <a:pt x="40" y="27"/>
                    </a:cubicBezTo>
                    <a:cubicBezTo>
                      <a:pt x="38" y="21"/>
                      <a:pt x="37" y="15"/>
                      <a:pt x="35" y="8"/>
                    </a:cubicBezTo>
                  </a:path>
                </a:pathLst>
              </a:custGeom>
              <a:solidFill>
                <a:srgbClr val="F4B5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73" name="íṩḻíḓè">
                <a:extLst>
                  <a:ext uri="{FF2B5EF4-FFF2-40B4-BE49-F238E27FC236}">
                    <a16:creationId xmlns:a16="http://schemas.microsoft.com/office/drawing/2014/main" id="{1F3A9CF1-2979-43FF-B6EB-C07C90090C0B}"/>
                  </a:ext>
                </a:extLst>
              </p:cNvPr>
              <p:cNvSpPr/>
              <p:nvPr/>
            </p:nvSpPr>
            <p:spPr bwMode="auto">
              <a:xfrm>
                <a:off x="5094288" y="1743075"/>
                <a:ext cx="92075" cy="250825"/>
              </a:xfrm>
              <a:custGeom>
                <a:avLst/>
                <a:gdLst>
                  <a:gd name="T0" fmla="*/ 3 w 15"/>
                  <a:gd name="T1" fmla="*/ 0 h 41"/>
                  <a:gd name="T2" fmla="*/ 12 w 15"/>
                  <a:gd name="T3" fmla="*/ 10 h 41"/>
                  <a:gd name="T4" fmla="*/ 12 w 15"/>
                  <a:gd name="T5" fmla="*/ 17 h 41"/>
                  <a:gd name="T6" fmla="*/ 12 w 15"/>
                  <a:gd name="T7" fmla="*/ 19 h 41"/>
                  <a:gd name="T8" fmla="*/ 14 w 15"/>
                  <a:gd name="T9" fmla="*/ 21 h 41"/>
                  <a:gd name="T10" fmla="*/ 15 w 15"/>
                  <a:gd name="T11" fmla="*/ 28 h 41"/>
                  <a:gd name="T12" fmla="*/ 14 w 15"/>
                  <a:gd name="T13" fmla="*/ 35 h 41"/>
                  <a:gd name="T14" fmla="*/ 9 w 15"/>
                  <a:gd name="T15" fmla="*/ 40 h 41"/>
                  <a:gd name="T16" fmla="*/ 6 w 15"/>
                  <a:gd name="T17" fmla="*/ 40 h 41"/>
                  <a:gd name="T18" fmla="*/ 4 w 15"/>
                  <a:gd name="T19" fmla="*/ 39 h 41"/>
                  <a:gd name="T20" fmla="*/ 0 w 15"/>
                  <a:gd name="T21" fmla="*/ 32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" h="41">
                    <a:moveTo>
                      <a:pt x="3" y="0"/>
                    </a:moveTo>
                    <a:cubicBezTo>
                      <a:pt x="7" y="2"/>
                      <a:pt x="11" y="5"/>
                      <a:pt x="12" y="10"/>
                    </a:cubicBezTo>
                    <a:cubicBezTo>
                      <a:pt x="12" y="13"/>
                      <a:pt x="12" y="15"/>
                      <a:pt x="12" y="17"/>
                    </a:cubicBezTo>
                    <a:cubicBezTo>
                      <a:pt x="12" y="18"/>
                      <a:pt x="12" y="19"/>
                      <a:pt x="12" y="19"/>
                    </a:cubicBezTo>
                    <a:cubicBezTo>
                      <a:pt x="13" y="20"/>
                      <a:pt x="13" y="21"/>
                      <a:pt x="14" y="21"/>
                    </a:cubicBezTo>
                    <a:cubicBezTo>
                      <a:pt x="15" y="23"/>
                      <a:pt x="15" y="25"/>
                      <a:pt x="15" y="28"/>
                    </a:cubicBezTo>
                    <a:cubicBezTo>
                      <a:pt x="15" y="30"/>
                      <a:pt x="15" y="32"/>
                      <a:pt x="14" y="35"/>
                    </a:cubicBezTo>
                    <a:cubicBezTo>
                      <a:pt x="13" y="37"/>
                      <a:pt x="11" y="39"/>
                      <a:pt x="9" y="40"/>
                    </a:cubicBezTo>
                    <a:cubicBezTo>
                      <a:pt x="8" y="40"/>
                      <a:pt x="7" y="41"/>
                      <a:pt x="6" y="40"/>
                    </a:cubicBezTo>
                    <a:cubicBezTo>
                      <a:pt x="5" y="40"/>
                      <a:pt x="5" y="39"/>
                      <a:pt x="4" y="39"/>
                    </a:cubicBezTo>
                    <a:cubicBezTo>
                      <a:pt x="3" y="37"/>
                      <a:pt x="1" y="35"/>
                      <a:pt x="0" y="32"/>
                    </a:cubicBezTo>
                  </a:path>
                </a:pathLst>
              </a:custGeom>
              <a:solidFill>
                <a:srgbClr val="FE7D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74" name="îśḷíde">
                <a:extLst>
                  <a:ext uri="{FF2B5EF4-FFF2-40B4-BE49-F238E27FC236}">
                    <a16:creationId xmlns:a16="http://schemas.microsoft.com/office/drawing/2014/main" id="{7F438D5A-11CA-447F-9815-EA56B0442365}"/>
                  </a:ext>
                </a:extLst>
              </p:cNvPr>
              <p:cNvSpPr/>
              <p:nvPr/>
            </p:nvSpPr>
            <p:spPr bwMode="auto">
              <a:xfrm>
                <a:off x="4781550" y="1693863"/>
                <a:ext cx="374650" cy="447675"/>
              </a:xfrm>
              <a:custGeom>
                <a:avLst/>
                <a:gdLst>
                  <a:gd name="T0" fmla="*/ 60 w 61"/>
                  <a:gd name="T1" fmla="*/ 44 h 73"/>
                  <a:gd name="T2" fmla="*/ 59 w 61"/>
                  <a:gd name="T3" fmla="*/ 22 h 73"/>
                  <a:gd name="T4" fmla="*/ 44 w 61"/>
                  <a:gd name="T5" fmla="*/ 3 h 73"/>
                  <a:gd name="T6" fmla="*/ 15 w 61"/>
                  <a:gd name="T7" fmla="*/ 7 h 73"/>
                  <a:gd name="T8" fmla="*/ 8 w 61"/>
                  <a:gd name="T9" fmla="*/ 49 h 73"/>
                  <a:gd name="T10" fmla="*/ 27 w 61"/>
                  <a:gd name="T11" fmla="*/ 70 h 73"/>
                  <a:gd name="T12" fmla="*/ 58 w 61"/>
                  <a:gd name="T13" fmla="*/ 66 h 73"/>
                  <a:gd name="T14" fmla="*/ 60 w 61"/>
                  <a:gd name="T15" fmla="*/ 4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1" h="73">
                    <a:moveTo>
                      <a:pt x="60" y="44"/>
                    </a:moveTo>
                    <a:cubicBezTo>
                      <a:pt x="59" y="36"/>
                      <a:pt x="60" y="29"/>
                      <a:pt x="59" y="22"/>
                    </a:cubicBezTo>
                    <a:cubicBezTo>
                      <a:pt x="57" y="13"/>
                      <a:pt x="53" y="5"/>
                      <a:pt x="44" y="3"/>
                    </a:cubicBezTo>
                    <a:cubicBezTo>
                      <a:pt x="34" y="0"/>
                      <a:pt x="23" y="1"/>
                      <a:pt x="15" y="7"/>
                    </a:cubicBezTo>
                    <a:cubicBezTo>
                      <a:pt x="1" y="16"/>
                      <a:pt x="0" y="36"/>
                      <a:pt x="8" y="49"/>
                    </a:cubicBezTo>
                    <a:cubicBezTo>
                      <a:pt x="17" y="63"/>
                      <a:pt x="22" y="68"/>
                      <a:pt x="27" y="70"/>
                    </a:cubicBezTo>
                    <a:cubicBezTo>
                      <a:pt x="34" y="73"/>
                      <a:pt x="54" y="70"/>
                      <a:pt x="58" y="66"/>
                    </a:cubicBezTo>
                    <a:cubicBezTo>
                      <a:pt x="60" y="62"/>
                      <a:pt x="61" y="48"/>
                      <a:pt x="60" y="44"/>
                    </a:cubicBezTo>
                    <a:close/>
                  </a:path>
                </a:pathLst>
              </a:custGeom>
              <a:solidFill>
                <a:srgbClr val="F9C4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325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75" name="íṡľíḓé">
                <a:extLst>
                  <a:ext uri="{FF2B5EF4-FFF2-40B4-BE49-F238E27FC236}">
                    <a16:creationId xmlns:a16="http://schemas.microsoft.com/office/drawing/2014/main" id="{671B59DB-0AE9-45AF-8B97-D85FA2070F9B}"/>
                  </a:ext>
                </a:extLst>
              </p:cNvPr>
              <p:cNvSpPr/>
              <p:nvPr/>
            </p:nvSpPr>
            <p:spPr bwMode="auto">
              <a:xfrm>
                <a:off x="4745038" y="1627188"/>
                <a:ext cx="447675" cy="396875"/>
              </a:xfrm>
              <a:custGeom>
                <a:avLst/>
                <a:gdLst>
                  <a:gd name="T0" fmla="*/ 71 w 73"/>
                  <a:gd name="T1" fmla="*/ 2 h 65"/>
                  <a:gd name="T2" fmla="*/ 71 w 73"/>
                  <a:gd name="T3" fmla="*/ 1 h 65"/>
                  <a:gd name="T4" fmla="*/ 70 w 73"/>
                  <a:gd name="T5" fmla="*/ 1 h 65"/>
                  <a:gd name="T6" fmla="*/ 39 w 73"/>
                  <a:gd name="T7" fmla="*/ 1 h 65"/>
                  <a:gd name="T8" fmla="*/ 25 w 73"/>
                  <a:gd name="T9" fmla="*/ 1 h 65"/>
                  <a:gd name="T10" fmla="*/ 21 w 73"/>
                  <a:gd name="T11" fmla="*/ 2 h 65"/>
                  <a:gd name="T12" fmla="*/ 16 w 73"/>
                  <a:gd name="T13" fmla="*/ 9 h 65"/>
                  <a:gd name="T14" fmla="*/ 3 w 73"/>
                  <a:gd name="T15" fmla="*/ 15 h 65"/>
                  <a:gd name="T16" fmla="*/ 1 w 73"/>
                  <a:gd name="T17" fmla="*/ 28 h 65"/>
                  <a:gd name="T18" fmla="*/ 2 w 73"/>
                  <a:gd name="T19" fmla="*/ 55 h 65"/>
                  <a:gd name="T20" fmla="*/ 4 w 73"/>
                  <a:gd name="T21" fmla="*/ 61 h 65"/>
                  <a:gd name="T22" fmla="*/ 16 w 73"/>
                  <a:gd name="T23" fmla="*/ 65 h 65"/>
                  <a:gd name="T24" fmla="*/ 17 w 73"/>
                  <a:gd name="T25" fmla="*/ 65 h 65"/>
                  <a:gd name="T26" fmla="*/ 18 w 73"/>
                  <a:gd name="T27" fmla="*/ 64 h 65"/>
                  <a:gd name="T28" fmla="*/ 18 w 73"/>
                  <a:gd name="T29" fmla="*/ 55 h 65"/>
                  <a:gd name="T30" fmla="*/ 19 w 73"/>
                  <a:gd name="T31" fmla="*/ 51 h 65"/>
                  <a:gd name="T32" fmla="*/ 22 w 73"/>
                  <a:gd name="T33" fmla="*/ 49 h 65"/>
                  <a:gd name="T34" fmla="*/ 24 w 73"/>
                  <a:gd name="T35" fmla="*/ 49 h 65"/>
                  <a:gd name="T36" fmla="*/ 25 w 73"/>
                  <a:gd name="T37" fmla="*/ 48 h 65"/>
                  <a:gd name="T38" fmla="*/ 26 w 73"/>
                  <a:gd name="T39" fmla="*/ 31 h 65"/>
                  <a:gd name="T40" fmla="*/ 38 w 73"/>
                  <a:gd name="T41" fmla="*/ 33 h 65"/>
                  <a:gd name="T42" fmla="*/ 51 w 73"/>
                  <a:gd name="T43" fmla="*/ 31 h 65"/>
                  <a:gd name="T44" fmla="*/ 66 w 73"/>
                  <a:gd name="T45" fmla="*/ 27 h 65"/>
                  <a:gd name="T46" fmla="*/ 72 w 73"/>
                  <a:gd name="T47" fmla="*/ 14 h 65"/>
                  <a:gd name="T48" fmla="*/ 71 w 73"/>
                  <a:gd name="T49" fmla="*/ 2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3" h="65">
                    <a:moveTo>
                      <a:pt x="71" y="2"/>
                    </a:moveTo>
                    <a:cubicBezTo>
                      <a:pt x="71" y="2"/>
                      <a:pt x="71" y="2"/>
                      <a:pt x="71" y="1"/>
                    </a:cubicBezTo>
                    <a:cubicBezTo>
                      <a:pt x="71" y="1"/>
                      <a:pt x="70" y="1"/>
                      <a:pt x="70" y="1"/>
                    </a:cubicBezTo>
                    <a:cubicBezTo>
                      <a:pt x="60" y="1"/>
                      <a:pt x="49" y="2"/>
                      <a:pt x="39" y="1"/>
                    </a:cubicBezTo>
                    <a:cubicBezTo>
                      <a:pt x="35" y="1"/>
                      <a:pt x="30" y="0"/>
                      <a:pt x="25" y="1"/>
                    </a:cubicBezTo>
                    <a:cubicBezTo>
                      <a:pt x="24" y="1"/>
                      <a:pt x="22" y="1"/>
                      <a:pt x="21" y="2"/>
                    </a:cubicBezTo>
                    <a:cubicBezTo>
                      <a:pt x="18" y="4"/>
                      <a:pt x="17" y="7"/>
                      <a:pt x="16" y="9"/>
                    </a:cubicBezTo>
                    <a:cubicBezTo>
                      <a:pt x="11" y="8"/>
                      <a:pt x="6" y="11"/>
                      <a:pt x="3" y="15"/>
                    </a:cubicBezTo>
                    <a:cubicBezTo>
                      <a:pt x="1" y="19"/>
                      <a:pt x="1" y="24"/>
                      <a:pt x="1" y="28"/>
                    </a:cubicBezTo>
                    <a:cubicBezTo>
                      <a:pt x="1" y="37"/>
                      <a:pt x="0" y="46"/>
                      <a:pt x="2" y="55"/>
                    </a:cubicBezTo>
                    <a:cubicBezTo>
                      <a:pt x="2" y="57"/>
                      <a:pt x="3" y="59"/>
                      <a:pt x="4" y="61"/>
                    </a:cubicBezTo>
                    <a:cubicBezTo>
                      <a:pt x="7" y="65"/>
                      <a:pt x="12" y="65"/>
                      <a:pt x="16" y="65"/>
                    </a:cubicBezTo>
                    <a:cubicBezTo>
                      <a:pt x="17" y="65"/>
                      <a:pt x="17" y="65"/>
                      <a:pt x="17" y="65"/>
                    </a:cubicBezTo>
                    <a:cubicBezTo>
                      <a:pt x="18" y="65"/>
                      <a:pt x="18" y="64"/>
                      <a:pt x="18" y="64"/>
                    </a:cubicBezTo>
                    <a:cubicBezTo>
                      <a:pt x="18" y="61"/>
                      <a:pt x="18" y="58"/>
                      <a:pt x="18" y="55"/>
                    </a:cubicBezTo>
                    <a:cubicBezTo>
                      <a:pt x="18" y="54"/>
                      <a:pt x="18" y="53"/>
                      <a:pt x="19" y="51"/>
                    </a:cubicBezTo>
                    <a:cubicBezTo>
                      <a:pt x="19" y="50"/>
                      <a:pt x="20" y="49"/>
                      <a:pt x="22" y="49"/>
                    </a:cubicBezTo>
                    <a:cubicBezTo>
                      <a:pt x="23" y="49"/>
                      <a:pt x="23" y="49"/>
                      <a:pt x="24" y="49"/>
                    </a:cubicBezTo>
                    <a:cubicBezTo>
                      <a:pt x="25" y="49"/>
                      <a:pt x="25" y="48"/>
                      <a:pt x="25" y="48"/>
                    </a:cubicBezTo>
                    <a:cubicBezTo>
                      <a:pt x="28" y="41"/>
                      <a:pt x="26" y="31"/>
                      <a:pt x="26" y="31"/>
                    </a:cubicBezTo>
                    <a:cubicBezTo>
                      <a:pt x="30" y="32"/>
                      <a:pt x="34" y="33"/>
                      <a:pt x="38" y="33"/>
                    </a:cubicBezTo>
                    <a:cubicBezTo>
                      <a:pt x="43" y="32"/>
                      <a:pt x="47" y="32"/>
                      <a:pt x="51" y="31"/>
                    </a:cubicBezTo>
                    <a:cubicBezTo>
                      <a:pt x="56" y="30"/>
                      <a:pt x="62" y="30"/>
                      <a:pt x="66" y="27"/>
                    </a:cubicBezTo>
                    <a:cubicBezTo>
                      <a:pt x="71" y="24"/>
                      <a:pt x="72" y="19"/>
                      <a:pt x="72" y="14"/>
                    </a:cubicBezTo>
                    <a:cubicBezTo>
                      <a:pt x="72" y="10"/>
                      <a:pt x="73" y="6"/>
                      <a:pt x="71" y="2"/>
                    </a:cubicBezTo>
                    <a:close/>
                  </a:path>
                </a:pathLst>
              </a:custGeom>
              <a:solidFill>
                <a:srgbClr val="FE7D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76" name="ïṩļíḑè">
                <a:extLst>
                  <a:ext uri="{FF2B5EF4-FFF2-40B4-BE49-F238E27FC236}">
                    <a16:creationId xmlns:a16="http://schemas.microsoft.com/office/drawing/2014/main" id="{6CED7952-8D6C-44C0-9451-98CCF13BF1F5}"/>
                  </a:ext>
                </a:extLst>
              </p:cNvPr>
              <p:cNvSpPr/>
              <p:nvPr/>
            </p:nvSpPr>
            <p:spPr bwMode="auto">
              <a:xfrm>
                <a:off x="5087938" y="1871663"/>
                <a:ext cx="42863" cy="49213"/>
              </a:xfrm>
              <a:custGeom>
                <a:avLst/>
                <a:gdLst>
                  <a:gd name="T0" fmla="*/ 4 w 7"/>
                  <a:gd name="T1" fmla="*/ 1 h 8"/>
                  <a:gd name="T2" fmla="*/ 0 w 7"/>
                  <a:gd name="T3" fmla="*/ 3 h 8"/>
                  <a:gd name="T4" fmla="*/ 3 w 7"/>
                  <a:gd name="T5" fmla="*/ 8 h 8"/>
                  <a:gd name="T6" fmla="*/ 4 w 7"/>
                  <a:gd name="T7" fmla="*/ 1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8">
                    <a:moveTo>
                      <a:pt x="4" y="1"/>
                    </a:moveTo>
                    <a:cubicBezTo>
                      <a:pt x="3" y="0"/>
                      <a:pt x="1" y="0"/>
                      <a:pt x="0" y="3"/>
                    </a:cubicBezTo>
                    <a:cubicBezTo>
                      <a:pt x="0" y="4"/>
                      <a:pt x="0" y="8"/>
                      <a:pt x="3" y="8"/>
                    </a:cubicBezTo>
                    <a:cubicBezTo>
                      <a:pt x="7" y="8"/>
                      <a:pt x="6" y="3"/>
                      <a:pt x="4" y="1"/>
                    </a:cubicBezTo>
                    <a:close/>
                  </a:path>
                </a:pathLst>
              </a:custGeom>
              <a:solidFill>
                <a:srgbClr val="8E516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77" name="ïş1íḑe">
                <a:extLst>
                  <a:ext uri="{FF2B5EF4-FFF2-40B4-BE49-F238E27FC236}">
                    <a16:creationId xmlns:a16="http://schemas.microsoft.com/office/drawing/2014/main" id="{A6186350-BA7A-4DDC-A49F-73AD8512B4AB}"/>
                  </a:ext>
                </a:extLst>
              </p:cNvPr>
              <p:cNvSpPr/>
              <p:nvPr/>
            </p:nvSpPr>
            <p:spPr bwMode="auto">
              <a:xfrm>
                <a:off x="5106988" y="1884363"/>
                <a:ext cx="17463" cy="23813"/>
              </a:xfrm>
              <a:custGeom>
                <a:avLst/>
                <a:gdLst>
                  <a:gd name="T0" fmla="*/ 1 w 3"/>
                  <a:gd name="T1" fmla="*/ 0 h 4"/>
                  <a:gd name="T2" fmla="*/ 0 w 3"/>
                  <a:gd name="T3" fmla="*/ 1 h 4"/>
                  <a:gd name="T4" fmla="*/ 1 w 3"/>
                  <a:gd name="T5" fmla="*/ 4 h 4"/>
                  <a:gd name="T6" fmla="*/ 1 w 3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4">
                    <a:moveTo>
                      <a:pt x="1" y="0"/>
                    </a:moveTo>
                    <a:cubicBezTo>
                      <a:pt x="1" y="0"/>
                      <a:pt x="0" y="0"/>
                      <a:pt x="0" y="1"/>
                    </a:cubicBezTo>
                    <a:cubicBezTo>
                      <a:pt x="0" y="2"/>
                      <a:pt x="0" y="4"/>
                      <a:pt x="1" y="4"/>
                    </a:cubicBezTo>
                    <a:cubicBezTo>
                      <a:pt x="3" y="4"/>
                      <a:pt x="2" y="1"/>
                      <a:pt x="1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78" name="iŝ1ïďè">
                <a:extLst>
                  <a:ext uri="{FF2B5EF4-FFF2-40B4-BE49-F238E27FC236}">
                    <a16:creationId xmlns:a16="http://schemas.microsoft.com/office/drawing/2014/main" id="{75B8F8D0-9AA9-4622-B0F8-AC838F7ADC72}"/>
                  </a:ext>
                </a:extLst>
              </p:cNvPr>
              <p:cNvSpPr/>
              <p:nvPr/>
            </p:nvSpPr>
            <p:spPr bwMode="auto">
              <a:xfrm>
                <a:off x="4941888" y="1890713"/>
                <a:ext cx="49213" cy="53975"/>
              </a:xfrm>
              <a:custGeom>
                <a:avLst/>
                <a:gdLst>
                  <a:gd name="T0" fmla="*/ 4 w 8"/>
                  <a:gd name="T1" fmla="*/ 2 h 9"/>
                  <a:gd name="T2" fmla="*/ 1 w 8"/>
                  <a:gd name="T3" fmla="*/ 3 h 9"/>
                  <a:gd name="T4" fmla="*/ 3 w 8"/>
                  <a:gd name="T5" fmla="*/ 9 h 9"/>
                  <a:gd name="T6" fmla="*/ 4 w 8"/>
                  <a:gd name="T7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9">
                    <a:moveTo>
                      <a:pt x="4" y="2"/>
                    </a:moveTo>
                    <a:cubicBezTo>
                      <a:pt x="3" y="0"/>
                      <a:pt x="1" y="0"/>
                      <a:pt x="1" y="3"/>
                    </a:cubicBezTo>
                    <a:cubicBezTo>
                      <a:pt x="0" y="6"/>
                      <a:pt x="0" y="9"/>
                      <a:pt x="3" y="9"/>
                    </a:cubicBezTo>
                    <a:cubicBezTo>
                      <a:pt x="8" y="9"/>
                      <a:pt x="6" y="4"/>
                      <a:pt x="4" y="2"/>
                    </a:cubicBezTo>
                    <a:close/>
                  </a:path>
                </a:pathLst>
              </a:custGeom>
              <a:solidFill>
                <a:srgbClr val="8E516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79" name="í$ľíḋé">
                <a:extLst>
                  <a:ext uri="{FF2B5EF4-FFF2-40B4-BE49-F238E27FC236}">
                    <a16:creationId xmlns:a16="http://schemas.microsoft.com/office/drawing/2014/main" id="{CA89D22D-E904-44B7-942B-DFDD8B952F3E}"/>
                  </a:ext>
                </a:extLst>
              </p:cNvPr>
              <p:cNvSpPr/>
              <p:nvPr/>
            </p:nvSpPr>
            <p:spPr bwMode="auto">
              <a:xfrm>
                <a:off x="4959350" y="1908175"/>
                <a:ext cx="19050" cy="25400"/>
              </a:xfrm>
              <a:custGeom>
                <a:avLst/>
                <a:gdLst>
                  <a:gd name="T0" fmla="*/ 2 w 3"/>
                  <a:gd name="T1" fmla="*/ 0 h 4"/>
                  <a:gd name="T2" fmla="*/ 0 w 3"/>
                  <a:gd name="T3" fmla="*/ 1 h 4"/>
                  <a:gd name="T4" fmla="*/ 1 w 3"/>
                  <a:gd name="T5" fmla="*/ 4 h 4"/>
                  <a:gd name="T6" fmla="*/ 2 w 3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4">
                    <a:moveTo>
                      <a:pt x="2" y="0"/>
                    </a:moveTo>
                    <a:cubicBezTo>
                      <a:pt x="1" y="0"/>
                      <a:pt x="1" y="0"/>
                      <a:pt x="0" y="1"/>
                    </a:cubicBezTo>
                    <a:cubicBezTo>
                      <a:pt x="0" y="2"/>
                      <a:pt x="0" y="4"/>
                      <a:pt x="1" y="4"/>
                    </a:cubicBezTo>
                    <a:cubicBezTo>
                      <a:pt x="3" y="4"/>
                      <a:pt x="3" y="1"/>
                      <a:pt x="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80" name="îṡlíḑé">
                <a:extLst>
                  <a:ext uri="{FF2B5EF4-FFF2-40B4-BE49-F238E27FC236}">
                    <a16:creationId xmlns:a16="http://schemas.microsoft.com/office/drawing/2014/main" id="{79262142-F730-4210-BC75-642FBF3682EF}"/>
                  </a:ext>
                </a:extLst>
              </p:cNvPr>
              <p:cNvSpPr/>
              <p:nvPr/>
            </p:nvSpPr>
            <p:spPr bwMode="auto">
              <a:xfrm>
                <a:off x="4905375" y="1847850"/>
                <a:ext cx="60325" cy="17463"/>
              </a:xfrm>
              <a:custGeom>
                <a:avLst/>
                <a:gdLst>
                  <a:gd name="T0" fmla="*/ 1 w 10"/>
                  <a:gd name="T1" fmla="*/ 2 h 3"/>
                  <a:gd name="T2" fmla="*/ 6 w 10"/>
                  <a:gd name="T3" fmla="*/ 2 h 3"/>
                  <a:gd name="T4" fmla="*/ 9 w 10"/>
                  <a:gd name="T5" fmla="*/ 3 h 3"/>
                  <a:gd name="T6" fmla="*/ 9 w 10"/>
                  <a:gd name="T7" fmla="*/ 1 h 3"/>
                  <a:gd name="T8" fmla="*/ 1 w 10"/>
                  <a:gd name="T9" fmla="*/ 0 h 3"/>
                  <a:gd name="T10" fmla="*/ 1 w 10"/>
                  <a:gd name="T11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3">
                    <a:moveTo>
                      <a:pt x="1" y="2"/>
                    </a:moveTo>
                    <a:cubicBezTo>
                      <a:pt x="3" y="2"/>
                      <a:pt x="4" y="2"/>
                      <a:pt x="6" y="2"/>
                    </a:cubicBezTo>
                    <a:cubicBezTo>
                      <a:pt x="7" y="2"/>
                      <a:pt x="8" y="3"/>
                      <a:pt x="9" y="3"/>
                    </a:cubicBezTo>
                    <a:cubicBezTo>
                      <a:pt x="10" y="3"/>
                      <a:pt x="10" y="2"/>
                      <a:pt x="9" y="1"/>
                    </a:cubicBezTo>
                    <a:cubicBezTo>
                      <a:pt x="7" y="0"/>
                      <a:pt x="4" y="0"/>
                      <a:pt x="1" y="0"/>
                    </a:cubicBezTo>
                    <a:cubicBezTo>
                      <a:pt x="0" y="1"/>
                      <a:pt x="1" y="2"/>
                      <a:pt x="1" y="2"/>
                    </a:cubicBezTo>
                    <a:close/>
                  </a:path>
                </a:pathLst>
              </a:custGeom>
              <a:solidFill>
                <a:srgbClr val="8E516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81" name="îś1îďè">
                <a:extLst>
                  <a:ext uri="{FF2B5EF4-FFF2-40B4-BE49-F238E27FC236}">
                    <a16:creationId xmlns:a16="http://schemas.microsoft.com/office/drawing/2014/main" id="{9AC53AF9-AD55-4596-8E74-531FE7401A83}"/>
                  </a:ext>
                </a:extLst>
              </p:cNvPr>
              <p:cNvSpPr/>
              <p:nvPr/>
            </p:nvSpPr>
            <p:spPr bwMode="auto">
              <a:xfrm>
                <a:off x="5076825" y="1809750"/>
                <a:ext cx="47625" cy="42863"/>
              </a:xfrm>
              <a:custGeom>
                <a:avLst/>
                <a:gdLst>
                  <a:gd name="T0" fmla="*/ 7 w 8"/>
                  <a:gd name="T1" fmla="*/ 2 h 7"/>
                  <a:gd name="T2" fmla="*/ 0 w 8"/>
                  <a:gd name="T3" fmla="*/ 6 h 7"/>
                  <a:gd name="T4" fmla="*/ 1 w 8"/>
                  <a:gd name="T5" fmla="*/ 7 h 7"/>
                  <a:gd name="T6" fmla="*/ 7 w 8"/>
                  <a:gd name="T7" fmla="*/ 3 h 7"/>
                  <a:gd name="T8" fmla="*/ 7 w 8"/>
                  <a:gd name="T9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7">
                    <a:moveTo>
                      <a:pt x="7" y="2"/>
                    </a:moveTo>
                    <a:cubicBezTo>
                      <a:pt x="4" y="0"/>
                      <a:pt x="1" y="3"/>
                      <a:pt x="0" y="6"/>
                    </a:cubicBezTo>
                    <a:cubicBezTo>
                      <a:pt x="0" y="7"/>
                      <a:pt x="1" y="7"/>
                      <a:pt x="1" y="7"/>
                    </a:cubicBezTo>
                    <a:cubicBezTo>
                      <a:pt x="3" y="6"/>
                      <a:pt x="4" y="3"/>
                      <a:pt x="7" y="3"/>
                    </a:cubicBezTo>
                    <a:cubicBezTo>
                      <a:pt x="8" y="3"/>
                      <a:pt x="8" y="2"/>
                      <a:pt x="7" y="2"/>
                    </a:cubicBezTo>
                    <a:close/>
                  </a:path>
                </a:pathLst>
              </a:custGeom>
              <a:solidFill>
                <a:srgbClr val="8E516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82" name="ïsḻíḍé">
                <a:extLst>
                  <a:ext uri="{FF2B5EF4-FFF2-40B4-BE49-F238E27FC236}">
                    <a16:creationId xmlns:a16="http://schemas.microsoft.com/office/drawing/2014/main" id="{FC660BC7-3CC8-4910-B3CE-E665651BCBDD}"/>
                  </a:ext>
                </a:extLst>
              </p:cNvPr>
              <p:cNvSpPr/>
              <p:nvPr/>
            </p:nvSpPr>
            <p:spPr bwMode="auto">
              <a:xfrm>
                <a:off x="5038725" y="1933575"/>
                <a:ext cx="49213" cy="60325"/>
              </a:xfrm>
              <a:custGeom>
                <a:avLst/>
                <a:gdLst>
                  <a:gd name="T0" fmla="*/ 4 w 8"/>
                  <a:gd name="T1" fmla="*/ 0 h 10"/>
                  <a:gd name="T2" fmla="*/ 6 w 8"/>
                  <a:gd name="T3" fmla="*/ 2 h 10"/>
                  <a:gd name="T4" fmla="*/ 7 w 8"/>
                  <a:gd name="T5" fmla="*/ 4 h 10"/>
                  <a:gd name="T6" fmla="*/ 8 w 8"/>
                  <a:gd name="T7" fmla="*/ 7 h 10"/>
                  <a:gd name="T8" fmla="*/ 7 w 8"/>
                  <a:gd name="T9" fmla="*/ 9 h 10"/>
                  <a:gd name="T10" fmla="*/ 5 w 8"/>
                  <a:gd name="T11" fmla="*/ 9 h 10"/>
                  <a:gd name="T12" fmla="*/ 2 w 8"/>
                  <a:gd name="T13" fmla="*/ 9 h 10"/>
                  <a:gd name="T14" fmla="*/ 0 w 8"/>
                  <a:gd name="T15" fmla="*/ 9 h 10"/>
                  <a:gd name="T16" fmla="*/ 2 w 8"/>
                  <a:gd name="T17" fmla="*/ 8 h 10"/>
                  <a:gd name="T18" fmla="*/ 5 w 8"/>
                  <a:gd name="T19" fmla="*/ 8 h 10"/>
                  <a:gd name="T20" fmla="*/ 6 w 8"/>
                  <a:gd name="T21" fmla="*/ 7 h 10"/>
                  <a:gd name="T22" fmla="*/ 6 w 8"/>
                  <a:gd name="T23" fmla="*/ 7 h 10"/>
                  <a:gd name="T24" fmla="*/ 6 w 8"/>
                  <a:gd name="T25" fmla="*/ 5 h 10"/>
                  <a:gd name="T26" fmla="*/ 5 w 8"/>
                  <a:gd name="T27" fmla="*/ 2 h 10"/>
                  <a:gd name="T28" fmla="*/ 4 w 8"/>
                  <a:gd name="T2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cubicBezTo>
                      <a:pt x="4" y="0"/>
                      <a:pt x="5" y="1"/>
                      <a:pt x="6" y="2"/>
                    </a:cubicBezTo>
                    <a:cubicBezTo>
                      <a:pt x="6" y="3"/>
                      <a:pt x="7" y="3"/>
                      <a:pt x="7" y="4"/>
                    </a:cubicBezTo>
                    <a:cubicBezTo>
                      <a:pt x="8" y="5"/>
                      <a:pt x="8" y="6"/>
                      <a:pt x="8" y="7"/>
                    </a:cubicBezTo>
                    <a:cubicBezTo>
                      <a:pt x="8" y="8"/>
                      <a:pt x="7" y="9"/>
                      <a:pt x="7" y="9"/>
                    </a:cubicBezTo>
                    <a:cubicBezTo>
                      <a:pt x="6" y="9"/>
                      <a:pt x="5" y="9"/>
                      <a:pt x="5" y="9"/>
                    </a:cubicBezTo>
                    <a:cubicBezTo>
                      <a:pt x="4" y="10"/>
                      <a:pt x="3" y="10"/>
                      <a:pt x="2" y="9"/>
                    </a:cubicBezTo>
                    <a:cubicBezTo>
                      <a:pt x="1" y="9"/>
                      <a:pt x="0" y="9"/>
                      <a:pt x="0" y="9"/>
                    </a:cubicBezTo>
                    <a:cubicBezTo>
                      <a:pt x="0" y="9"/>
                      <a:pt x="1" y="9"/>
                      <a:pt x="2" y="8"/>
                    </a:cubicBezTo>
                    <a:cubicBezTo>
                      <a:pt x="3" y="8"/>
                      <a:pt x="4" y="8"/>
                      <a:pt x="5" y="8"/>
                    </a:cubicBezTo>
                    <a:cubicBezTo>
                      <a:pt x="5" y="8"/>
                      <a:pt x="5" y="7"/>
                      <a:pt x="6" y="7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6" y="6"/>
                      <a:pt x="6" y="6"/>
                      <a:pt x="6" y="5"/>
                    </a:cubicBezTo>
                    <a:cubicBezTo>
                      <a:pt x="6" y="4"/>
                      <a:pt x="5" y="3"/>
                      <a:pt x="5" y="2"/>
                    </a:cubicBezTo>
                    <a:cubicBezTo>
                      <a:pt x="5" y="1"/>
                      <a:pt x="4" y="0"/>
                      <a:pt x="4" y="0"/>
                    </a:cubicBezTo>
                    <a:close/>
                  </a:path>
                </a:pathLst>
              </a:custGeom>
              <a:solidFill>
                <a:srgbClr val="E588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83" name="íṩļîḋè">
                <a:extLst>
                  <a:ext uri="{FF2B5EF4-FFF2-40B4-BE49-F238E27FC236}">
                    <a16:creationId xmlns:a16="http://schemas.microsoft.com/office/drawing/2014/main" id="{B22D596E-2603-4298-A9A3-C1CFAFF20EB2}"/>
                  </a:ext>
                </a:extLst>
              </p:cNvPr>
              <p:cNvSpPr/>
              <p:nvPr/>
            </p:nvSpPr>
            <p:spPr bwMode="auto">
              <a:xfrm>
                <a:off x="4819650" y="1920875"/>
                <a:ext cx="85725" cy="103188"/>
              </a:xfrm>
              <a:custGeom>
                <a:avLst/>
                <a:gdLst>
                  <a:gd name="T0" fmla="*/ 9 w 14"/>
                  <a:gd name="T1" fmla="*/ 2 h 17"/>
                  <a:gd name="T2" fmla="*/ 7 w 14"/>
                  <a:gd name="T3" fmla="*/ 0 h 17"/>
                  <a:gd name="T4" fmla="*/ 3 w 14"/>
                  <a:gd name="T5" fmla="*/ 0 h 17"/>
                  <a:gd name="T6" fmla="*/ 2 w 14"/>
                  <a:gd name="T7" fmla="*/ 2 h 17"/>
                  <a:gd name="T8" fmla="*/ 1 w 14"/>
                  <a:gd name="T9" fmla="*/ 11 h 17"/>
                  <a:gd name="T10" fmla="*/ 7 w 14"/>
                  <a:gd name="T11" fmla="*/ 16 h 17"/>
                  <a:gd name="T12" fmla="*/ 14 w 14"/>
                  <a:gd name="T13" fmla="*/ 13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17">
                    <a:moveTo>
                      <a:pt x="9" y="2"/>
                    </a:moveTo>
                    <a:cubicBezTo>
                      <a:pt x="9" y="1"/>
                      <a:pt x="8" y="1"/>
                      <a:pt x="7" y="0"/>
                    </a:cubicBezTo>
                    <a:cubicBezTo>
                      <a:pt x="6" y="0"/>
                      <a:pt x="4" y="0"/>
                      <a:pt x="3" y="0"/>
                    </a:cubicBezTo>
                    <a:cubicBezTo>
                      <a:pt x="3" y="1"/>
                      <a:pt x="2" y="2"/>
                      <a:pt x="2" y="2"/>
                    </a:cubicBezTo>
                    <a:cubicBezTo>
                      <a:pt x="1" y="5"/>
                      <a:pt x="0" y="8"/>
                      <a:pt x="1" y="11"/>
                    </a:cubicBezTo>
                    <a:cubicBezTo>
                      <a:pt x="2" y="13"/>
                      <a:pt x="5" y="15"/>
                      <a:pt x="7" y="16"/>
                    </a:cubicBezTo>
                    <a:cubicBezTo>
                      <a:pt x="10" y="17"/>
                      <a:pt x="13" y="15"/>
                      <a:pt x="14" y="13"/>
                    </a:cubicBezTo>
                  </a:path>
                </a:pathLst>
              </a:custGeom>
              <a:solidFill>
                <a:srgbClr val="F9C4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84" name="iṩľïďé">
                <a:extLst>
                  <a:ext uri="{FF2B5EF4-FFF2-40B4-BE49-F238E27FC236}">
                    <a16:creationId xmlns:a16="http://schemas.microsoft.com/office/drawing/2014/main" id="{4CC3137B-1754-4B30-8FA3-32B04DFC411B}"/>
                  </a:ext>
                </a:extLst>
              </p:cNvPr>
              <p:cNvSpPr/>
              <p:nvPr/>
            </p:nvSpPr>
            <p:spPr bwMode="auto">
              <a:xfrm>
                <a:off x="4813300" y="2103438"/>
                <a:ext cx="214313" cy="233363"/>
              </a:xfrm>
              <a:custGeom>
                <a:avLst/>
                <a:gdLst>
                  <a:gd name="T0" fmla="*/ 4 w 35"/>
                  <a:gd name="T1" fmla="*/ 0 h 38"/>
                  <a:gd name="T2" fmla="*/ 35 w 35"/>
                  <a:gd name="T3" fmla="*/ 22 h 38"/>
                  <a:gd name="T4" fmla="*/ 25 w 35"/>
                  <a:gd name="T5" fmla="*/ 38 h 38"/>
                  <a:gd name="T6" fmla="*/ 0 w 35"/>
                  <a:gd name="T7" fmla="*/ 1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5" h="38">
                    <a:moveTo>
                      <a:pt x="4" y="0"/>
                    </a:moveTo>
                    <a:cubicBezTo>
                      <a:pt x="12" y="7"/>
                      <a:pt x="25" y="19"/>
                      <a:pt x="35" y="22"/>
                    </a:cubicBezTo>
                    <a:cubicBezTo>
                      <a:pt x="29" y="24"/>
                      <a:pt x="25" y="33"/>
                      <a:pt x="25" y="38"/>
                    </a:cubicBezTo>
                    <a:cubicBezTo>
                      <a:pt x="16" y="33"/>
                      <a:pt x="6" y="20"/>
                      <a:pt x="0" y="1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 dirty="0"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85" name="iṥlïḑe">
                <a:extLst>
                  <a:ext uri="{FF2B5EF4-FFF2-40B4-BE49-F238E27FC236}">
                    <a16:creationId xmlns:a16="http://schemas.microsoft.com/office/drawing/2014/main" id="{14CC0C08-653F-44A2-86D2-D731A89EE769}"/>
                  </a:ext>
                </a:extLst>
              </p:cNvPr>
              <p:cNvSpPr/>
              <p:nvPr/>
            </p:nvSpPr>
            <p:spPr bwMode="auto">
              <a:xfrm>
                <a:off x="5027613" y="2135188"/>
                <a:ext cx="79375" cy="171450"/>
              </a:xfrm>
              <a:custGeom>
                <a:avLst/>
                <a:gdLst>
                  <a:gd name="T0" fmla="*/ 7 w 13"/>
                  <a:gd name="T1" fmla="*/ 0 h 28"/>
                  <a:gd name="T2" fmla="*/ 0 w 13"/>
                  <a:gd name="T3" fmla="*/ 17 h 28"/>
                  <a:gd name="T4" fmla="*/ 10 w 13"/>
                  <a:gd name="T5" fmla="*/ 28 h 28"/>
                  <a:gd name="T6" fmla="*/ 11 w 13"/>
                  <a:gd name="T7" fmla="*/ 5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8">
                    <a:moveTo>
                      <a:pt x="7" y="0"/>
                    </a:moveTo>
                    <a:cubicBezTo>
                      <a:pt x="7" y="5"/>
                      <a:pt x="3" y="13"/>
                      <a:pt x="0" y="17"/>
                    </a:cubicBezTo>
                    <a:cubicBezTo>
                      <a:pt x="7" y="17"/>
                      <a:pt x="11" y="27"/>
                      <a:pt x="10" y="28"/>
                    </a:cubicBezTo>
                    <a:cubicBezTo>
                      <a:pt x="10" y="28"/>
                      <a:pt x="13" y="16"/>
                      <a:pt x="11" y="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86" name="iṩlîḓè">
                <a:extLst>
                  <a:ext uri="{FF2B5EF4-FFF2-40B4-BE49-F238E27FC236}">
                    <a16:creationId xmlns:a16="http://schemas.microsoft.com/office/drawing/2014/main" id="{8F48B335-32FA-4A69-8DA1-393453F7FDCA}"/>
                  </a:ext>
                </a:extLst>
              </p:cNvPr>
              <p:cNvSpPr/>
              <p:nvPr/>
            </p:nvSpPr>
            <p:spPr bwMode="auto">
              <a:xfrm>
                <a:off x="5038725" y="2274888"/>
                <a:ext cx="61913" cy="1273175"/>
              </a:xfrm>
              <a:custGeom>
                <a:avLst/>
                <a:gdLst>
                  <a:gd name="T0" fmla="*/ 0 w 10"/>
                  <a:gd name="T1" fmla="*/ 0 h 208"/>
                  <a:gd name="T2" fmla="*/ 6 w 10"/>
                  <a:gd name="T3" fmla="*/ 109 h 208"/>
                  <a:gd name="T4" fmla="*/ 7 w 10"/>
                  <a:gd name="T5" fmla="*/ 161 h 208"/>
                  <a:gd name="T6" fmla="*/ 2 w 10"/>
                  <a:gd name="T7" fmla="*/ 207 h 208"/>
                  <a:gd name="T8" fmla="*/ 3 w 10"/>
                  <a:gd name="T9" fmla="*/ 208 h 208"/>
                  <a:gd name="T10" fmla="*/ 9 w 10"/>
                  <a:gd name="T11" fmla="*/ 171 h 208"/>
                  <a:gd name="T12" fmla="*/ 8 w 10"/>
                  <a:gd name="T13" fmla="*/ 116 h 208"/>
                  <a:gd name="T14" fmla="*/ 0 w 10"/>
                  <a:gd name="T15" fmla="*/ 0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208">
                    <a:moveTo>
                      <a:pt x="0" y="0"/>
                    </a:moveTo>
                    <a:cubicBezTo>
                      <a:pt x="2" y="36"/>
                      <a:pt x="4" y="73"/>
                      <a:pt x="6" y="109"/>
                    </a:cubicBezTo>
                    <a:cubicBezTo>
                      <a:pt x="6" y="126"/>
                      <a:pt x="7" y="144"/>
                      <a:pt x="7" y="161"/>
                    </a:cubicBezTo>
                    <a:cubicBezTo>
                      <a:pt x="8" y="175"/>
                      <a:pt x="10" y="194"/>
                      <a:pt x="2" y="207"/>
                    </a:cubicBezTo>
                    <a:cubicBezTo>
                      <a:pt x="2" y="208"/>
                      <a:pt x="3" y="208"/>
                      <a:pt x="3" y="208"/>
                    </a:cubicBezTo>
                    <a:cubicBezTo>
                      <a:pt x="10" y="198"/>
                      <a:pt x="9" y="183"/>
                      <a:pt x="9" y="171"/>
                    </a:cubicBezTo>
                    <a:cubicBezTo>
                      <a:pt x="9" y="153"/>
                      <a:pt x="8" y="134"/>
                      <a:pt x="8" y="116"/>
                    </a:cubicBezTo>
                    <a:cubicBezTo>
                      <a:pt x="6" y="77"/>
                      <a:pt x="3" y="38"/>
                      <a:pt x="0" y="0"/>
                    </a:cubicBezTo>
                    <a:close/>
                  </a:path>
                </a:pathLst>
              </a:custGeom>
              <a:solidFill>
                <a:srgbClr val="3BAC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87" name="ïṥḻîďê">
                <a:extLst>
                  <a:ext uri="{FF2B5EF4-FFF2-40B4-BE49-F238E27FC236}">
                    <a16:creationId xmlns:a16="http://schemas.microsoft.com/office/drawing/2014/main" id="{F05FDAF4-81D1-4C9A-AB24-4C67519FE5A7}"/>
                  </a:ext>
                </a:extLst>
              </p:cNvPr>
              <p:cNvSpPr/>
              <p:nvPr/>
            </p:nvSpPr>
            <p:spPr bwMode="auto">
              <a:xfrm>
                <a:off x="4995863" y="2312988"/>
                <a:ext cx="38100" cy="23813"/>
              </a:xfrm>
              <a:custGeom>
                <a:avLst/>
                <a:gdLst>
                  <a:gd name="T0" fmla="*/ 3 w 6"/>
                  <a:gd name="T1" fmla="*/ 4 h 4"/>
                  <a:gd name="T2" fmla="*/ 3 w 6"/>
                  <a:gd name="T3" fmla="*/ 0 h 4"/>
                  <a:gd name="T4" fmla="*/ 3 w 6"/>
                  <a:gd name="T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4">
                    <a:moveTo>
                      <a:pt x="3" y="4"/>
                    </a:moveTo>
                    <a:cubicBezTo>
                      <a:pt x="6" y="4"/>
                      <a:pt x="6" y="0"/>
                      <a:pt x="3" y="0"/>
                    </a:cubicBezTo>
                    <a:cubicBezTo>
                      <a:pt x="0" y="0"/>
                      <a:pt x="0" y="4"/>
                      <a:pt x="3" y="4"/>
                    </a:cubicBezTo>
                    <a:close/>
                  </a:path>
                </a:pathLst>
              </a:custGeom>
              <a:solidFill>
                <a:srgbClr val="3BAC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88" name="íşḷîďé">
                <a:extLst>
                  <a:ext uri="{FF2B5EF4-FFF2-40B4-BE49-F238E27FC236}">
                    <a16:creationId xmlns:a16="http://schemas.microsoft.com/office/drawing/2014/main" id="{DA534415-E424-4761-B33C-E0E7597983E4}"/>
                  </a:ext>
                </a:extLst>
              </p:cNvPr>
              <p:cNvSpPr/>
              <p:nvPr/>
            </p:nvSpPr>
            <p:spPr bwMode="auto">
              <a:xfrm>
                <a:off x="5008563" y="2532063"/>
                <a:ext cx="30163" cy="25400"/>
              </a:xfrm>
              <a:custGeom>
                <a:avLst/>
                <a:gdLst>
                  <a:gd name="T0" fmla="*/ 3 w 5"/>
                  <a:gd name="T1" fmla="*/ 4 h 4"/>
                  <a:gd name="T2" fmla="*/ 3 w 5"/>
                  <a:gd name="T3" fmla="*/ 0 h 4"/>
                  <a:gd name="T4" fmla="*/ 3 w 5"/>
                  <a:gd name="T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4">
                    <a:moveTo>
                      <a:pt x="3" y="4"/>
                    </a:moveTo>
                    <a:cubicBezTo>
                      <a:pt x="5" y="4"/>
                      <a:pt x="5" y="0"/>
                      <a:pt x="3" y="0"/>
                    </a:cubicBezTo>
                    <a:cubicBezTo>
                      <a:pt x="0" y="0"/>
                      <a:pt x="0" y="4"/>
                      <a:pt x="3" y="4"/>
                    </a:cubicBezTo>
                    <a:close/>
                  </a:path>
                </a:pathLst>
              </a:custGeom>
              <a:solidFill>
                <a:srgbClr val="3BAC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89" name="ïSlïḍe">
                <a:extLst>
                  <a:ext uri="{FF2B5EF4-FFF2-40B4-BE49-F238E27FC236}">
                    <a16:creationId xmlns:a16="http://schemas.microsoft.com/office/drawing/2014/main" id="{2D8B2062-8C25-41C2-803F-0B0D10E53F32}"/>
                  </a:ext>
                </a:extLst>
              </p:cNvPr>
              <p:cNvSpPr/>
              <p:nvPr/>
            </p:nvSpPr>
            <p:spPr bwMode="auto">
              <a:xfrm>
                <a:off x="5014913" y="2746375"/>
                <a:ext cx="36513" cy="30163"/>
              </a:xfrm>
              <a:custGeom>
                <a:avLst/>
                <a:gdLst>
                  <a:gd name="T0" fmla="*/ 3 w 6"/>
                  <a:gd name="T1" fmla="*/ 5 h 5"/>
                  <a:gd name="T2" fmla="*/ 3 w 6"/>
                  <a:gd name="T3" fmla="*/ 0 h 5"/>
                  <a:gd name="T4" fmla="*/ 3 w 6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5">
                    <a:moveTo>
                      <a:pt x="3" y="5"/>
                    </a:moveTo>
                    <a:cubicBezTo>
                      <a:pt x="6" y="5"/>
                      <a:pt x="6" y="0"/>
                      <a:pt x="3" y="0"/>
                    </a:cubicBezTo>
                    <a:cubicBezTo>
                      <a:pt x="0" y="0"/>
                      <a:pt x="0" y="5"/>
                      <a:pt x="3" y="5"/>
                    </a:cubicBezTo>
                    <a:close/>
                  </a:path>
                </a:pathLst>
              </a:custGeom>
              <a:solidFill>
                <a:srgbClr val="3BAC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90" name="iṥľîḑè">
                <a:extLst>
                  <a:ext uri="{FF2B5EF4-FFF2-40B4-BE49-F238E27FC236}">
                    <a16:creationId xmlns:a16="http://schemas.microsoft.com/office/drawing/2014/main" id="{17541134-D683-42BE-9D19-1604A0C87428}"/>
                  </a:ext>
                </a:extLst>
              </p:cNvPr>
              <p:cNvSpPr/>
              <p:nvPr/>
            </p:nvSpPr>
            <p:spPr bwMode="auto">
              <a:xfrm>
                <a:off x="5027613" y="2967038"/>
                <a:ext cx="36513" cy="30163"/>
              </a:xfrm>
              <a:custGeom>
                <a:avLst/>
                <a:gdLst>
                  <a:gd name="T0" fmla="*/ 3 w 6"/>
                  <a:gd name="T1" fmla="*/ 5 h 5"/>
                  <a:gd name="T2" fmla="*/ 3 w 6"/>
                  <a:gd name="T3" fmla="*/ 0 h 5"/>
                  <a:gd name="T4" fmla="*/ 3 w 6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5">
                    <a:moveTo>
                      <a:pt x="3" y="5"/>
                    </a:moveTo>
                    <a:cubicBezTo>
                      <a:pt x="6" y="5"/>
                      <a:pt x="6" y="0"/>
                      <a:pt x="3" y="0"/>
                    </a:cubicBezTo>
                    <a:cubicBezTo>
                      <a:pt x="0" y="0"/>
                      <a:pt x="0" y="5"/>
                      <a:pt x="3" y="5"/>
                    </a:cubicBezTo>
                    <a:close/>
                  </a:path>
                </a:pathLst>
              </a:custGeom>
              <a:solidFill>
                <a:srgbClr val="3BAC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91" name="işľïḍe">
                <a:extLst>
                  <a:ext uri="{FF2B5EF4-FFF2-40B4-BE49-F238E27FC236}">
                    <a16:creationId xmlns:a16="http://schemas.microsoft.com/office/drawing/2014/main" id="{AA145DB2-3CD7-44A3-B06B-D8CFDDDBE13E}"/>
                  </a:ext>
                </a:extLst>
              </p:cNvPr>
              <p:cNvSpPr/>
              <p:nvPr/>
            </p:nvSpPr>
            <p:spPr bwMode="auto">
              <a:xfrm>
                <a:off x="5038725" y="3187700"/>
                <a:ext cx="31750" cy="23813"/>
              </a:xfrm>
              <a:custGeom>
                <a:avLst/>
                <a:gdLst>
                  <a:gd name="T0" fmla="*/ 3 w 5"/>
                  <a:gd name="T1" fmla="*/ 4 h 4"/>
                  <a:gd name="T2" fmla="*/ 3 w 5"/>
                  <a:gd name="T3" fmla="*/ 0 h 4"/>
                  <a:gd name="T4" fmla="*/ 3 w 5"/>
                  <a:gd name="T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4">
                    <a:moveTo>
                      <a:pt x="3" y="4"/>
                    </a:moveTo>
                    <a:cubicBezTo>
                      <a:pt x="5" y="4"/>
                      <a:pt x="5" y="0"/>
                      <a:pt x="3" y="0"/>
                    </a:cubicBezTo>
                    <a:cubicBezTo>
                      <a:pt x="0" y="0"/>
                      <a:pt x="0" y="4"/>
                      <a:pt x="3" y="4"/>
                    </a:cubicBezTo>
                    <a:close/>
                  </a:path>
                </a:pathLst>
              </a:custGeom>
              <a:solidFill>
                <a:srgbClr val="3BAC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92" name="íšļíḓé">
                <a:extLst>
                  <a:ext uri="{FF2B5EF4-FFF2-40B4-BE49-F238E27FC236}">
                    <a16:creationId xmlns:a16="http://schemas.microsoft.com/office/drawing/2014/main" id="{47D2A95A-2410-444C-9AF4-BE5C7A3BD101}"/>
                  </a:ext>
                </a:extLst>
              </p:cNvPr>
              <p:cNvSpPr/>
              <p:nvPr/>
            </p:nvSpPr>
            <p:spPr bwMode="auto">
              <a:xfrm>
                <a:off x="5038725" y="3406775"/>
                <a:ext cx="31750" cy="25400"/>
              </a:xfrm>
              <a:custGeom>
                <a:avLst/>
                <a:gdLst>
                  <a:gd name="T0" fmla="*/ 3 w 5"/>
                  <a:gd name="T1" fmla="*/ 4 h 4"/>
                  <a:gd name="T2" fmla="*/ 3 w 5"/>
                  <a:gd name="T3" fmla="*/ 0 h 4"/>
                  <a:gd name="T4" fmla="*/ 3 w 5"/>
                  <a:gd name="T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4">
                    <a:moveTo>
                      <a:pt x="3" y="4"/>
                    </a:moveTo>
                    <a:cubicBezTo>
                      <a:pt x="5" y="4"/>
                      <a:pt x="5" y="0"/>
                      <a:pt x="3" y="0"/>
                    </a:cubicBezTo>
                    <a:cubicBezTo>
                      <a:pt x="0" y="0"/>
                      <a:pt x="0" y="4"/>
                      <a:pt x="3" y="4"/>
                    </a:cubicBezTo>
                    <a:close/>
                  </a:path>
                </a:pathLst>
              </a:custGeom>
              <a:solidFill>
                <a:srgbClr val="3BAC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93" name="îṡľîḑe">
                <a:extLst>
                  <a:ext uri="{FF2B5EF4-FFF2-40B4-BE49-F238E27FC236}">
                    <a16:creationId xmlns:a16="http://schemas.microsoft.com/office/drawing/2014/main" id="{06B081CE-376B-4BE7-9F45-ACAA27CC2E72}"/>
                  </a:ext>
                </a:extLst>
              </p:cNvPr>
              <p:cNvSpPr/>
              <p:nvPr/>
            </p:nvSpPr>
            <p:spPr bwMode="auto">
              <a:xfrm>
                <a:off x="4500563" y="2617788"/>
                <a:ext cx="214313" cy="250825"/>
              </a:xfrm>
              <a:custGeom>
                <a:avLst/>
                <a:gdLst>
                  <a:gd name="T0" fmla="*/ 34 w 35"/>
                  <a:gd name="T1" fmla="*/ 1 h 41"/>
                  <a:gd name="T2" fmla="*/ 1 w 35"/>
                  <a:gd name="T3" fmla="*/ 39 h 41"/>
                  <a:gd name="T4" fmla="*/ 1 w 35"/>
                  <a:gd name="T5" fmla="*/ 40 h 41"/>
                  <a:gd name="T6" fmla="*/ 23 w 35"/>
                  <a:gd name="T7" fmla="*/ 17 h 41"/>
                  <a:gd name="T8" fmla="*/ 35 w 35"/>
                  <a:gd name="T9" fmla="*/ 1 h 41"/>
                  <a:gd name="T10" fmla="*/ 34 w 35"/>
                  <a:gd name="T11" fmla="*/ 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41">
                    <a:moveTo>
                      <a:pt x="34" y="1"/>
                    </a:moveTo>
                    <a:cubicBezTo>
                      <a:pt x="23" y="14"/>
                      <a:pt x="11" y="26"/>
                      <a:pt x="1" y="39"/>
                    </a:cubicBezTo>
                    <a:cubicBezTo>
                      <a:pt x="0" y="40"/>
                      <a:pt x="1" y="41"/>
                      <a:pt x="1" y="40"/>
                    </a:cubicBezTo>
                    <a:cubicBezTo>
                      <a:pt x="10" y="34"/>
                      <a:pt x="17" y="25"/>
                      <a:pt x="23" y="17"/>
                    </a:cubicBezTo>
                    <a:cubicBezTo>
                      <a:pt x="27" y="12"/>
                      <a:pt x="31" y="7"/>
                      <a:pt x="35" y="1"/>
                    </a:cubicBezTo>
                    <a:cubicBezTo>
                      <a:pt x="35" y="1"/>
                      <a:pt x="34" y="0"/>
                      <a:pt x="34" y="1"/>
                    </a:cubicBezTo>
                    <a:close/>
                  </a:path>
                </a:pathLst>
              </a:custGeom>
              <a:solidFill>
                <a:srgbClr val="3BAC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94" name="ïṩļîďé">
                <a:extLst>
                  <a:ext uri="{FF2B5EF4-FFF2-40B4-BE49-F238E27FC236}">
                    <a16:creationId xmlns:a16="http://schemas.microsoft.com/office/drawing/2014/main" id="{55E9E0DF-0A50-47CD-92F8-46E13BC53E87}"/>
                  </a:ext>
                </a:extLst>
              </p:cNvPr>
              <p:cNvSpPr/>
              <p:nvPr/>
            </p:nvSpPr>
            <p:spPr bwMode="auto">
              <a:xfrm>
                <a:off x="5327650" y="2459038"/>
                <a:ext cx="42863" cy="274638"/>
              </a:xfrm>
              <a:custGeom>
                <a:avLst/>
                <a:gdLst>
                  <a:gd name="T0" fmla="*/ 0 w 7"/>
                  <a:gd name="T1" fmla="*/ 1 h 45"/>
                  <a:gd name="T2" fmla="*/ 6 w 7"/>
                  <a:gd name="T3" fmla="*/ 45 h 45"/>
                  <a:gd name="T4" fmla="*/ 7 w 7"/>
                  <a:gd name="T5" fmla="*/ 45 h 45"/>
                  <a:gd name="T6" fmla="*/ 0 w 7"/>
                  <a:gd name="T7" fmla="*/ 0 h 45"/>
                  <a:gd name="T8" fmla="*/ 0 w 7"/>
                  <a:gd name="T9" fmla="*/ 1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5">
                    <a:moveTo>
                      <a:pt x="0" y="1"/>
                    </a:moveTo>
                    <a:cubicBezTo>
                      <a:pt x="2" y="15"/>
                      <a:pt x="5" y="30"/>
                      <a:pt x="6" y="45"/>
                    </a:cubicBezTo>
                    <a:cubicBezTo>
                      <a:pt x="6" y="45"/>
                      <a:pt x="7" y="45"/>
                      <a:pt x="7" y="45"/>
                    </a:cubicBezTo>
                    <a:cubicBezTo>
                      <a:pt x="7" y="30"/>
                      <a:pt x="5" y="14"/>
                      <a:pt x="0" y="0"/>
                    </a:cubicBez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3BAC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95" name="ïś1iḍè">
                <a:extLst>
                  <a:ext uri="{FF2B5EF4-FFF2-40B4-BE49-F238E27FC236}">
                    <a16:creationId xmlns:a16="http://schemas.microsoft.com/office/drawing/2014/main" id="{B0B727CA-FD01-4F11-86DB-463D0ADB1F1E}"/>
                  </a:ext>
                </a:extLst>
              </p:cNvPr>
              <p:cNvSpPr/>
              <p:nvPr/>
            </p:nvSpPr>
            <p:spPr bwMode="auto">
              <a:xfrm>
                <a:off x="4995863" y="2019300"/>
                <a:ext cx="111125" cy="47625"/>
              </a:xfrm>
              <a:custGeom>
                <a:avLst/>
                <a:gdLst>
                  <a:gd name="T0" fmla="*/ 0 w 18"/>
                  <a:gd name="T1" fmla="*/ 2 h 8"/>
                  <a:gd name="T2" fmla="*/ 11 w 18"/>
                  <a:gd name="T3" fmla="*/ 7 h 8"/>
                  <a:gd name="T4" fmla="*/ 18 w 18"/>
                  <a:gd name="T5" fmla="*/ 0 h 8"/>
                  <a:gd name="T6" fmla="*/ 0 w 18"/>
                  <a:gd name="T7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8">
                    <a:moveTo>
                      <a:pt x="0" y="2"/>
                    </a:moveTo>
                    <a:cubicBezTo>
                      <a:pt x="1" y="7"/>
                      <a:pt x="8" y="8"/>
                      <a:pt x="11" y="7"/>
                    </a:cubicBezTo>
                    <a:cubicBezTo>
                      <a:pt x="13" y="7"/>
                      <a:pt x="18" y="4"/>
                      <a:pt x="18" y="0"/>
                    </a:cubicBez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E588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96" name="ïṩ1îḍe">
                <a:extLst>
                  <a:ext uri="{FF2B5EF4-FFF2-40B4-BE49-F238E27FC236}">
                    <a16:creationId xmlns:a16="http://schemas.microsoft.com/office/drawing/2014/main" id="{0817700A-E831-44DD-9E80-4F0F25895130}"/>
                  </a:ext>
                </a:extLst>
              </p:cNvPr>
              <p:cNvSpPr/>
              <p:nvPr/>
            </p:nvSpPr>
            <p:spPr bwMode="auto">
              <a:xfrm>
                <a:off x="4170363" y="2801938"/>
                <a:ext cx="90488" cy="73025"/>
              </a:xfrm>
              <a:custGeom>
                <a:avLst/>
                <a:gdLst>
                  <a:gd name="T0" fmla="*/ 0 w 15"/>
                  <a:gd name="T1" fmla="*/ 0 h 12"/>
                  <a:gd name="T2" fmla="*/ 7 w 15"/>
                  <a:gd name="T3" fmla="*/ 6 h 12"/>
                  <a:gd name="T4" fmla="*/ 14 w 15"/>
                  <a:gd name="T5" fmla="*/ 12 h 12"/>
                  <a:gd name="T6" fmla="*/ 15 w 15"/>
                  <a:gd name="T7" fmla="*/ 12 h 12"/>
                  <a:gd name="T8" fmla="*/ 10 w 15"/>
                  <a:gd name="T9" fmla="*/ 6 h 12"/>
                  <a:gd name="T10" fmla="*/ 0 w 15"/>
                  <a:gd name="T1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12">
                    <a:moveTo>
                      <a:pt x="0" y="0"/>
                    </a:moveTo>
                    <a:cubicBezTo>
                      <a:pt x="2" y="2"/>
                      <a:pt x="5" y="4"/>
                      <a:pt x="7" y="6"/>
                    </a:cubicBezTo>
                    <a:cubicBezTo>
                      <a:pt x="10" y="8"/>
                      <a:pt x="11" y="10"/>
                      <a:pt x="14" y="12"/>
                    </a:cubicBezTo>
                    <a:cubicBezTo>
                      <a:pt x="14" y="12"/>
                      <a:pt x="15" y="12"/>
                      <a:pt x="15" y="12"/>
                    </a:cubicBezTo>
                    <a:cubicBezTo>
                      <a:pt x="15" y="9"/>
                      <a:pt x="12" y="7"/>
                      <a:pt x="10" y="6"/>
                    </a:cubicBezTo>
                    <a:cubicBezTo>
                      <a:pt x="7" y="4"/>
                      <a:pt x="3" y="2"/>
                      <a:pt x="0" y="0"/>
                    </a:cubicBezTo>
                    <a:close/>
                  </a:path>
                </a:pathLst>
              </a:custGeom>
              <a:solidFill>
                <a:srgbClr val="E588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97" name="íṣļîḋe">
                <a:extLst>
                  <a:ext uri="{FF2B5EF4-FFF2-40B4-BE49-F238E27FC236}">
                    <a16:creationId xmlns:a16="http://schemas.microsoft.com/office/drawing/2014/main" id="{5C9A1ED6-5E39-428D-9F7C-BCB07E8738F7}"/>
                  </a:ext>
                </a:extLst>
              </p:cNvPr>
              <p:cNvSpPr/>
              <p:nvPr/>
            </p:nvSpPr>
            <p:spPr bwMode="auto">
              <a:xfrm>
                <a:off x="3587750" y="2439988"/>
                <a:ext cx="336550" cy="250825"/>
              </a:xfrm>
              <a:custGeom>
                <a:avLst/>
                <a:gdLst>
                  <a:gd name="T0" fmla="*/ 35 w 55"/>
                  <a:gd name="T1" fmla="*/ 41 h 41"/>
                  <a:gd name="T2" fmla="*/ 26 w 55"/>
                  <a:gd name="T3" fmla="*/ 30 h 41"/>
                  <a:gd name="T4" fmla="*/ 18 w 55"/>
                  <a:gd name="T5" fmla="*/ 25 h 41"/>
                  <a:gd name="T6" fmla="*/ 8 w 55"/>
                  <a:gd name="T7" fmla="*/ 20 h 41"/>
                  <a:gd name="T8" fmla="*/ 2 w 55"/>
                  <a:gd name="T9" fmla="*/ 12 h 41"/>
                  <a:gd name="T10" fmla="*/ 1 w 55"/>
                  <a:gd name="T11" fmla="*/ 2 h 41"/>
                  <a:gd name="T12" fmla="*/ 16 w 55"/>
                  <a:gd name="T13" fmla="*/ 10 h 41"/>
                  <a:gd name="T14" fmla="*/ 27 w 55"/>
                  <a:gd name="T15" fmla="*/ 11 h 41"/>
                  <a:gd name="T16" fmla="*/ 20 w 55"/>
                  <a:gd name="T17" fmla="*/ 6 h 41"/>
                  <a:gd name="T18" fmla="*/ 24 w 55"/>
                  <a:gd name="T19" fmla="*/ 6 h 41"/>
                  <a:gd name="T20" fmla="*/ 40 w 55"/>
                  <a:gd name="T21" fmla="*/ 15 h 41"/>
                  <a:gd name="T22" fmla="*/ 41 w 55"/>
                  <a:gd name="T23" fmla="*/ 22 h 41"/>
                  <a:gd name="T24" fmla="*/ 55 w 55"/>
                  <a:gd name="T25" fmla="*/ 35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5" h="41">
                    <a:moveTo>
                      <a:pt x="35" y="41"/>
                    </a:moveTo>
                    <a:cubicBezTo>
                      <a:pt x="32" y="37"/>
                      <a:pt x="30" y="33"/>
                      <a:pt x="26" y="30"/>
                    </a:cubicBezTo>
                    <a:cubicBezTo>
                      <a:pt x="24" y="28"/>
                      <a:pt x="21" y="26"/>
                      <a:pt x="18" y="25"/>
                    </a:cubicBezTo>
                    <a:cubicBezTo>
                      <a:pt x="15" y="23"/>
                      <a:pt x="12" y="22"/>
                      <a:pt x="8" y="20"/>
                    </a:cubicBezTo>
                    <a:cubicBezTo>
                      <a:pt x="5" y="18"/>
                      <a:pt x="3" y="16"/>
                      <a:pt x="2" y="12"/>
                    </a:cubicBezTo>
                    <a:cubicBezTo>
                      <a:pt x="1" y="7"/>
                      <a:pt x="0" y="4"/>
                      <a:pt x="1" y="2"/>
                    </a:cubicBezTo>
                    <a:cubicBezTo>
                      <a:pt x="6" y="0"/>
                      <a:pt x="15" y="9"/>
                      <a:pt x="16" y="10"/>
                    </a:cubicBezTo>
                    <a:cubicBezTo>
                      <a:pt x="17" y="10"/>
                      <a:pt x="23" y="12"/>
                      <a:pt x="27" y="11"/>
                    </a:cubicBezTo>
                    <a:cubicBezTo>
                      <a:pt x="27" y="10"/>
                      <a:pt x="21" y="10"/>
                      <a:pt x="20" y="6"/>
                    </a:cubicBezTo>
                    <a:cubicBezTo>
                      <a:pt x="20" y="5"/>
                      <a:pt x="23" y="5"/>
                      <a:pt x="24" y="6"/>
                    </a:cubicBezTo>
                    <a:cubicBezTo>
                      <a:pt x="30" y="7"/>
                      <a:pt x="37" y="8"/>
                      <a:pt x="40" y="15"/>
                    </a:cubicBezTo>
                    <a:cubicBezTo>
                      <a:pt x="40" y="17"/>
                      <a:pt x="40" y="20"/>
                      <a:pt x="41" y="22"/>
                    </a:cubicBezTo>
                    <a:cubicBezTo>
                      <a:pt x="42" y="28"/>
                      <a:pt x="50" y="32"/>
                      <a:pt x="55" y="35"/>
                    </a:cubicBezTo>
                  </a:path>
                </a:pathLst>
              </a:custGeom>
              <a:solidFill>
                <a:srgbClr val="F9C4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98" name="iŝľîḋe">
                <a:extLst>
                  <a:ext uri="{FF2B5EF4-FFF2-40B4-BE49-F238E27FC236}">
                    <a16:creationId xmlns:a16="http://schemas.microsoft.com/office/drawing/2014/main" id="{8E863955-77CF-4B80-A00F-E9A579043AA8}"/>
                  </a:ext>
                </a:extLst>
              </p:cNvPr>
              <p:cNvSpPr/>
              <p:nvPr/>
            </p:nvSpPr>
            <p:spPr bwMode="auto">
              <a:xfrm>
                <a:off x="5602288" y="2782888"/>
                <a:ext cx="61913" cy="85725"/>
              </a:xfrm>
              <a:custGeom>
                <a:avLst/>
                <a:gdLst>
                  <a:gd name="T0" fmla="*/ 9 w 10"/>
                  <a:gd name="T1" fmla="*/ 1 h 14"/>
                  <a:gd name="T2" fmla="*/ 0 w 10"/>
                  <a:gd name="T3" fmla="*/ 13 h 14"/>
                  <a:gd name="T4" fmla="*/ 1 w 10"/>
                  <a:gd name="T5" fmla="*/ 14 h 14"/>
                  <a:gd name="T6" fmla="*/ 4 w 10"/>
                  <a:gd name="T7" fmla="*/ 7 h 14"/>
                  <a:gd name="T8" fmla="*/ 9 w 10"/>
                  <a:gd name="T9" fmla="*/ 1 h 14"/>
                  <a:gd name="T10" fmla="*/ 9 w 10"/>
                  <a:gd name="T11" fmla="*/ 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14">
                    <a:moveTo>
                      <a:pt x="9" y="1"/>
                    </a:moveTo>
                    <a:cubicBezTo>
                      <a:pt x="5" y="4"/>
                      <a:pt x="1" y="8"/>
                      <a:pt x="0" y="13"/>
                    </a:cubicBezTo>
                    <a:cubicBezTo>
                      <a:pt x="0" y="14"/>
                      <a:pt x="0" y="14"/>
                      <a:pt x="1" y="14"/>
                    </a:cubicBezTo>
                    <a:cubicBezTo>
                      <a:pt x="2" y="12"/>
                      <a:pt x="3" y="9"/>
                      <a:pt x="4" y="7"/>
                    </a:cubicBezTo>
                    <a:cubicBezTo>
                      <a:pt x="6" y="5"/>
                      <a:pt x="8" y="3"/>
                      <a:pt x="9" y="1"/>
                    </a:cubicBezTo>
                    <a:cubicBezTo>
                      <a:pt x="10" y="1"/>
                      <a:pt x="9" y="0"/>
                      <a:pt x="9" y="1"/>
                    </a:cubicBezTo>
                    <a:close/>
                  </a:path>
                </a:pathLst>
              </a:custGeom>
              <a:solidFill>
                <a:srgbClr val="E588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99" name="îṣḻíḓe">
                <a:extLst>
                  <a:ext uri="{FF2B5EF4-FFF2-40B4-BE49-F238E27FC236}">
                    <a16:creationId xmlns:a16="http://schemas.microsoft.com/office/drawing/2014/main" id="{F7FA6C75-FBF4-4857-A6CA-2C7FCB34804A}"/>
                  </a:ext>
                </a:extLst>
              </p:cNvPr>
              <p:cNvSpPr/>
              <p:nvPr/>
            </p:nvSpPr>
            <p:spPr bwMode="auto">
              <a:xfrm>
                <a:off x="5951538" y="2343150"/>
                <a:ext cx="338138" cy="280988"/>
              </a:xfrm>
              <a:custGeom>
                <a:avLst/>
                <a:gdLst>
                  <a:gd name="T0" fmla="*/ 13 w 55"/>
                  <a:gd name="T1" fmla="*/ 46 h 46"/>
                  <a:gd name="T2" fmla="*/ 24 w 55"/>
                  <a:gd name="T3" fmla="*/ 31 h 46"/>
                  <a:gd name="T4" fmla="*/ 37 w 55"/>
                  <a:gd name="T5" fmla="*/ 25 h 46"/>
                  <a:gd name="T6" fmla="*/ 47 w 55"/>
                  <a:gd name="T7" fmla="*/ 20 h 46"/>
                  <a:gd name="T8" fmla="*/ 54 w 55"/>
                  <a:gd name="T9" fmla="*/ 12 h 46"/>
                  <a:gd name="T10" fmla="*/ 54 w 55"/>
                  <a:gd name="T11" fmla="*/ 2 h 46"/>
                  <a:gd name="T12" fmla="*/ 40 w 55"/>
                  <a:gd name="T13" fmla="*/ 10 h 46"/>
                  <a:gd name="T14" fmla="*/ 29 w 55"/>
                  <a:gd name="T15" fmla="*/ 11 h 46"/>
                  <a:gd name="T16" fmla="*/ 35 w 55"/>
                  <a:gd name="T17" fmla="*/ 6 h 46"/>
                  <a:gd name="T18" fmla="*/ 32 w 55"/>
                  <a:gd name="T19" fmla="*/ 5 h 46"/>
                  <a:gd name="T20" fmla="*/ 16 w 55"/>
                  <a:gd name="T21" fmla="*/ 15 h 46"/>
                  <a:gd name="T22" fmla="*/ 14 w 55"/>
                  <a:gd name="T23" fmla="*/ 22 h 46"/>
                  <a:gd name="T24" fmla="*/ 0 w 55"/>
                  <a:gd name="T25" fmla="*/ 3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5" h="46">
                    <a:moveTo>
                      <a:pt x="13" y="46"/>
                    </a:moveTo>
                    <a:cubicBezTo>
                      <a:pt x="16" y="43"/>
                      <a:pt x="21" y="34"/>
                      <a:pt x="24" y="31"/>
                    </a:cubicBezTo>
                    <a:cubicBezTo>
                      <a:pt x="26" y="29"/>
                      <a:pt x="35" y="26"/>
                      <a:pt x="37" y="25"/>
                    </a:cubicBezTo>
                    <a:cubicBezTo>
                      <a:pt x="41" y="23"/>
                      <a:pt x="44" y="22"/>
                      <a:pt x="47" y="20"/>
                    </a:cubicBezTo>
                    <a:cubicBezTo>
                      <a:pt x="51" y="18"/>
                      <a:pt x="52" y="16"/>
                      <a:pt x="54" y="12"/>
                    </a:cubicBezTo>
                    <a:cubicBezTo>
                      <a:pt x="55" y="7"/>
                      <a:pt x="55" y="4"/>
                      <a:pt x="54" y="2"/>
                    </a:cubicBezTo>
                    <a:cubicBezTo>
                      <a:pt x="50" y="0"/>
                      <a:pt x="41" y="9"/>
                      <a:pt x="40" y="10"/>
                    </a:cubicBezTo>
                    <a:cubicBezTo>
                      <a:pt x="39" y="10"/>
                      <a:pt x="33" y="12"/>
                      <a:pt x="29" y="11"/>
                    </a:cubicBezTo>
                    <a:cubicBezTo>
                      <a:pt x="28" y="10"/>
                      <a:pt x="35" y="9"/>
                      <a:pt x="35" y="6"/>
                    </a:cubicBezTo>
                    <a:cubicBezTo>
                      <a:pt x="36" y="5"/>
                      <a:pt x="33" y="5"/>
                      <a:pt x="32" y="5"/>
                    </a:cubicBezTo>
                    <a:cubicBezTo>
                      <a:pt x="25" y="7"/>
                      <a:pt x="18" y="8"/>
                      <a:pt x="16" y="15"/>
                    </a:cubicBezTo>
                    <a:cubicBezTo>
                      <a:pt x="16" y="17"/>
                      <a:pt x="14" y="20"/>
                      <a:pt x="14" y="22"/>
                    </a:cubicBezTo>
                    <a:cubicBezTo>
                      <a:pt x="12" y="28"/>
                      <a:pt x="5" y="33"/>
                      <a:pt x="0" y="36"/>
                    </a:cubicBezTo>
                  </a:path>
                </a:pathLst>
              </a:custGeom>
              <a:solidFill>
                <a:srgbClr val="F9C4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00" name="ïṣ1ïďe">
                <a:extLst>
                  <a:ext uri="{FF2B5EF4-FFF2-40B4-BE49-F238E27FC236}">
                    <a16:creationId xmlns:a16="http://schemas.microsoft.com/office/drawing/2014/main" id="{A492470B-AEA8-42C8-9C44-9B6D891EB724}"/>
                  </a:ext>
                </a:extLst>
              </p:cNvPr>
              <p:cNvSpPr/>
              <p:nvPr/>
            </p:nvSpPr>
            <p:spPr bwMode="auto">
              <a:xfrm>
                <a:off x="5156200" y="2532063"/>
                <a:ext cx="146050" cy="31750"/>
              </a:xfrm>
              <a:custGeom>
                <a:avLst/>
                <a:gdLst>
                  <a:gd name="T0" fmla="*/ 0 w 24"/>
                  <a:gd name="T1" fmla="*/ 2 h 5"/>
                  <a:gd name="T2" fmla="*/ 23 w 24"/>
                  <a:gd name="T3" fmla="*/ 0 h 5"/>
                  <a:gd name="T4" fmla="*/ 24 w 24"/>
                  <a:gd name="T5" fmla="*/ 4 h 5"/>
                  <a:gd name="T6" fmla="*/ 0 w 24"/>
                  <a:gd name="T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5">
                    <a:moveTo>
                      <a:pt x="0" y="2"/>
                    </a:moveTo>
                    <a:cubicBezTo>
                      <a:pt x="7" y="2"/>
                      <a:pt x="16" y="1"/>
                      <a:pt x="23" y="0"/>
                    </a:cubicBezTo>
                    <a:cubicBezTo>
                      <a:pt x="23" y="1"/>
                      <a:pt x="23" y="2"/>
                      <a:pt x="24" y="4"/>
                    </a:cubicBezTo>
                    <a:cubicBezTo>
                      <a:pt x="16" y="4"/>
                      <a:pt x="8" y="5"/>
                      <a:pt x="0" y="5"/>
                    </a:cubicBezTo>
                  </a:path>
                </a:pathLst>
              </a:custGeom>
              <a:solidFill>
                <a:srgbClr val="3BAC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01" name="ï$ļíḋè">
                <a:extLst>
                  <a:ext uri="{FF2B5EF4-FFF2-40B4-BE49-F238E27FC236}">
                    <a16:creationId xmlns:a16="http://schemas.microsoft.com/office/drawing/2014/main" id="{B294F735-0A43-4AD8-9148-44BA81E29892}"/>
                  </a:ext>
                </a:extLst>
              </p:cNvPr>
              <p:cNvSpPr/>
              <p:nvPr/>
            </p:nvSpPr>
            <p:spPr bwMode="auto">
              <a:xfrm>
                <a:off x="7477125" y="3927475"/>
                <a:ext cx="361950" cy="1573213"/>
              </a:xfrm>
              <a:custGeom>
                <a:avLst/>
                <a:gdLst>
                  <a:gd name="T0" fmla="*/ 49 w 59"/>
                  <a:gd name="T1" fmla="*/ 88 h 257"/>
                  <a:gd name="T2" fmla="*/ 59 w 59"/>
                  <a:gd name="T3" fmla="*/ 6 h 257"/>
                  <a:gd name="T4" fmla="*/ 0 w 59"/>
                  <a:gd name="T5" fmla="*/ 0 h 257"/>
                  <a:gd name="T6" fmla="*/ 4 w 59"/>
                  <a:gd name="T7" fmla="*/ 75 h 257"/>
                  <a:gd name="T8" fmla="*/ 30 w 59"/>
                  <a:gd name="T9" fmla="*/ 228 h 257"/>
                  <a:gd name="T10" fmla="*/ 30 w 59"/>
                  <a:gd name="T11" fmla="*/ 228 h 257"/>
                  <a:gd name="T12" fmla="*/ 29 w 59"/>
                  <a:gd name="T13" fmla="*/ 235 h 257"/>
                  <a:gd name="T14" fmla="*/ 19 w 59"/>
                  <a:gd name="T15" fmla="*/ 245 h 257"/>
                  <a:gd name="T16" fmla="*/ 8 w 59"/>
                  <a:gd name="T17" fmla="*/ 257 h 257"/>
                  <a:gd name="T18" fmla="*/ 40 w 59"/>
                  <a:gd name="T19" fmla="*/ 249 h 257"/>
                  <a:gd name="T20" fmla="*/ 47 w 59"/>
                  <a:gd name="T21" fmla="*/ 246 h 257"/>
                  <a:gd name="T22" fmla="*/ 47 w 59"/>
                  <a:gd name="T23" fmla="*/ 239 h 257"/>
                  <a:gd name="T24" fmla="*/ 43 w 59"/>
                  <a:gd name="T25" fmla="*/ 234 h 257"/>
                  <a:gd name="T26" fmla="*/ 44 w 59"/>
                  <a:gd name="T27" fmla="*/ 214 h 257"/>
                  <a:gd name="T28" fmla="*/ 47 w 59"/>
                  <a:gd name="T29" fmla="*/ 191 h 257"/>
                  <a:gd name="T30" fmla="*/ 52 w 59"/>
                  <a:gd name="T31" fmla="*/ 158 h 257"/>
                  <a:gd name="T32" fmla="*/ 52 w 59"/>
                  <a:gd name="T33" fmla="*/ 155 h 257"/>
                  <a:gd name="T34" fmla="*/ 49 w 59"/>
                  <a:gd name="T35" fmla="*/ 88 h 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9" h="257">
                    <a:moveTo>
                      <a:pt x="49" y="88"/>
                    </a:moveTo>
                    <a:cubicBezTo>
                      <a:pt x="50" y="73"/>
                      <a:pt x="57" y="36"/>
                      <a:pt x="59" y="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27"/>
                      <a:pt x="3" y="46"/>
                      <a:pt x="4" y="75"/>
                    </a:cubicBezTo>
                    <a:cubicBezTo>
                      <a:pt x="8" y="129"/>
                      <a:pt x="22" y="174"/>
                      <a:pt x="30" y="228"/>
                    </a:cubicBezTo>
                    <a:cubicBezTo>
                      <a:pt x="30" y="228"/>
                      <a:pt x="30" y="228"/>
                      <a:pt x="30" y="228"/>
                    </a:cubicBezTo>
                    <a:cubicBezTo>
                      <a:pt x="30" y="231"/>
                      <a:pt x="30" y="234"/>
                      <a:pt x="29" y="235"/>
                    </a:cubicBezTo>
                    <a:cubicBezTo>
                      <a:pt x="27" y="239"/>
                      <a:pt x="23" y="242"/>
                      <a:pt x="19" y="245"/>
                    </a:cubicBezTo>
                    <a:cubicBezTo>
                      <a:pt x="14" y="248"/>
                      <a:pt x="11" y="252"/>
                      <a:pt x="8" y="257"/>
                    </a:cubicBezTo>
                    <a:cubicBezTo>
                      <a:pt x="20" y="255"/>
                      <a:pt x="28" y="252"/>
                      <a:pt x="40" y="249"/>
                    </a:cubicBezTo>
                    <a:cubicBezTo>
                      <a:pt x="43" y="248"/>
                      <a:pt x="45" y="248"/>
                      <a:pt x="47" y="246"/>
                    </a:cubicBezTo>
                    <a:cubicBezTo>
                      <a:pt x="49" y="244"/>
                      <a:pt x="49" y="243"/>
                      <a:pt x="47" y="239"/>
                    </a:cubicBezTo>
                    <a:cubicBezTo>
                      <a:pt x="46" y="237"/>
                      <a:pt x="44" y="236"/>
                      <a:pt x="43" y="234"/>
                    </a:cubicBezTo>
                    <a:cubicBezTo>
                      <a:pt x="41" y="229"/>
                      <a:pt x="43" y="220"/>
                      <a:pt x="44" y="214"/>
                    </a:cubicBezTo>
                    <a:cubicBezTo>
                      <a:pt x="45" y="206"/>
                      <a:pt x="46" y="199"/>
                      <a:pt x="47" y="191"/>
                    </a:cubicBezTo>
                    <a:cubicBezTo>
                      <a:pt x="49" y="175"/>
                      <a:pt x="51" y="174"/>
                      <a:pt x="52" y="158"/>
                    </a:cubicBezTo>
                    <a:cubicBezTo>
                      <a:pt x="52" y="157"/>
                      <a:pt x="52" y="156"/>
                      <a:pt x="52" y="155"/>
                    </a:cubicBezTo>
                    <a:cubicBezTo>
                      <a:pt x="53" y="129"/>
                      <a:pt x="47" y="114"/>
                      <a:pt x="49" y="88"/>
                    </a:cubicBezTo>
                    <a:close/>
                  </a:path>
                </a:pathLst>
              </a:custGeom>
              <a:solidFill>
                <a:srgbClr val="F9C4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02" name="îSḻídê">
                <a:extLst>
                  <a:ext uri="{FF2B5EF4-FFF2-40B4-BE49-F238E27FC236}">
                    <a16:creationId xmlns:a16="http://schemas.microsoft.com/office/drawing/2014/main" id="{D4046D1D-E3C9-4F4A-8D10-D3FC91DD8F8C}"/>
                  </a:ext>
                </a:extLst>
              </p:cNvPr>
              <p:cNvSpPr/>
              <p:nvPr/>
            </p:nvSpPr>
            <p:spPr bwMode="auto">
              <a:xfrm>
                <a:off x="7496175" y="5389563"/>
                <a:ext cx="287338" cy="122238"/>
              </a:xfrm>
              <a:custGeom>
                <a:avLst/>
                <a:gdLst>
                  <a:gd name="T0" fmla="*/ 20 w 47"/>
                  <a:gd name="T1" fmla="*/ 2 h 20"/>
                  <a:gd name="T2" fmla="*/ 5 w 47"/>
                  <a:gd name="T3" fmla="*/ 11 h 20"/>
                  <a:gd name="T4" fmla="*/ 1 w 47"/>
                  <a:gd name="T5" fmla="*/ 14 h 20"/>
                  <a:gd name="T6" fmla="*/ 1 w 47"/>
                  <a:gd name="T7" fmla="*/ 18 h 20"/>
                  <a:gd name="T8" fmla="*/ 5 w 47"/>
                  <a:gd name="T9" fmla="*/ 20 h 20"/>
                  <a:gd name="T10" fmla="*/ 8 w 47"/>
                  <a:gd name="T11" fmla="*/ 20 h 20"/>
                  <a:gd name="T12" fmla="*/ 14 w 47"/>
                  <a:gd name="T13" fmla="*/ 19 h 20"/>
                  <a:gd name="T14" fmla="*/ 31 w 47"/>
                  <a:gd name="T15" fmla="*/ 16 h 20"/>
                  <a:gd name="T16" fmla="*/ 45 w 47"/>
                  <a:gd name="T17" fmla="*/ 12 h 20"/>
                  <a:gd name="T18" fmla="*/ 46 w 47"/>
                  <a:gd name="T19" fmla="*/ 10 h 20"/>
                  <a:gd name="T20" fmla="*/ 47 w 47"/>
                  <a:gd name="T21" fmla="*/ 9 h 20"/>
                  <a:gd name="T22" fmla="*/ 44 w 47"/>
                  <a:gd name="T23" fmla="*/ 0 h 20"/>
                  <a:gd name="T24" fmla="*/ 42 w 47"/>
                  <a:gd name="T25" fmla="*/ 2 h 20"/>
                  <a:gd name="T26" fmla="*/ 37 w 47"/>
                  <a:gd name="T27" fmla="*/ 4 h 20"/>
                  <a:gd name="T28" fmla="*/ 27 w 47"/>
                  <a:gd name="T29" fmla="*/ 5 h 20"/>
                  <a:gd name="T30" fmla="*/ 23 w 47"/>
                  <a:gd name="T31" fmla="*/ 5 h 20"/>
                  <a:gd name="T32" fmla="*/ 21 w 47"/>
                  <a:gd name="T33" fmla="*/ 3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7" h="20">
                    <a:moveTo>
                      <a:pt x="20" y="2"/>
                    </a:moveTo>
                    <a:cubicBezTo>
                      <a:pt x="15" y="6"/>
                      <a:pt x="10" y="9"/>
                      <a:pt x="5" y="11"/>
                    </a:cubicBezTo>
                    <a:cubicBezTo>
                      <a:pt x="4" y="12"/>
                      <a:pt x="2" y="13"/>
                      <a:pt x="1" y="14"/>
                    </a:cubicBezTo>
                    <a:cubicBezTo>
                      <a:pt x="0" y="15"/>
                      <a:pt x="0" y="17"/>
                      <a:pt x="1" y="18"/>
                    </a:cubicBezTo>
                    <a:cubicBezTo>
                      <a:pt x="2" y="19"/>
                      <a:pt x="3" y="19"/>
                      <a:pt x="5" y="20"/>
                    </a:cubicBezTo>
                    <a:cubicBezTo>
                      <a:pt x="6" y="20"/>
                      <a:pt x="7" y="20"/>
                      <a:pt x="8" y="20"/>
                    </a:cubicBezTo>
                    <a:cubicBezTo>
                      <a:pt x="10" y="20"/>
                      <a:pt x="12" y="19"/>
                      <a:pt x="14" y="19"/>
                    </a:cubicBezTo>
                    <a:cubicBezTo>
                      <a:pt x="20" y="18"/>
                      <a:pt x="25" y="17"/>
                      <a:pt x="31" y="16"/>
                    </a:cubicBezTo>
                    <a:cubicBezTo>
                      <a:pt x="36" y="15"/>
                      <a:pt x="41" y="14"/>
                      <a:pt x="45" y="12"/>
                    </a:cubicBezTo>
                    <a:cubicBezTo>
                      <a:pt x="45" y="11"/>
                      <a:pt x="46" y="11"/>
                      <a:pt x="46" y="10"/>
                    </a:cubicBezTo>
                    <a:cubicBezTo>
                      <a:pt x="47" y="10"/>
                      <a:pt x="47" y="9"/>
                      <a:pt x="47" y="9"/>
                    </a:cubicBezTo>
                    <a:cubicBezTo>
                      <a:pt x="47" y="7"/>
                      <a:pt x="46" y="1"/>
                      <a:pt x="44" y="0"/>
                    </a:cubicBezTo>
                    <a:cubicBezTo>
                      <a:pt x="44" y="0"/>
                      <a:pt x="42" y="1"/>
                      <a:pt x="42" y="2"/>
                    </a:cubicBezTo>
                    <a:cubicBezTo>
                      <a:pt x="40" y="3"/>
                      <a:pt x="38" y="3"/>
                      <a:pt x="37" y="4"/>
                    </a:cubicBezTo>
                    <a:cubicBezTo>
                      <a:pt x="34" y="4"/>
                      <a:pt x="30" y="5"/>
                      <a:pt x="27" y="5"/>
                    </a:cubicBezTo>
                    <a:cubicBezTo>
                      <a:pt x="26" y="5"/>
                      <a:pt x="25" y="5"/>
                      <a:pt x="23" y="5"/>
                    </a:cubicBezTo>
                    <a:cubicBezTo>
                      <a:pt x="23" y="4"/>
                      <a:pt x="22" y="4"/>
                      <a:pt x="21" y="3"/>
                    </a:cubicBezTo>
                  </a:path>
                </a:pathLst>
              </a:custGeom>
              <a:solidFill>
                <a:srgbClr val="FE7D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03" name="íSlîḍè">
                <a:extLst>
                  <a:ext uri="{FF2B5EF4-FFF2-40B4-BE49-F238E27FC236}">
                    <a16:creationId xmlns:a16="http://schemas.microsoft.com/office/drawing/2014/main" id="{8F71BCA2-12C8-4742-AD0B-3F9DDE6368DD}"/>
                  </a:ext>
                </a:extLst>
              </p:cNvPr>
              <p:cNvSpPr/>
              <p:nvPr/>
            </p:nvSpPr>
            <p:spPr bwMode="auto">
              <a:xfrm>
                <a:off x="7789863" y="3946525"/>
                <a:ext cx="403225" cy="1584325"/>
              </a:xfrm>
              <a:custGeom>
                <a:avLst/>
                <a:gdLst>
                  <a:gd name="T0" fmla="*/ 47 w 66"/>
                  <a:gd name="T1" fmla="*/ 90 h 259"/>
                  <a:gd name="T2" fmla="*/ 66 w 66"/>
                  <a:gd name="T3" fmla="*/ 12 h 259"/>
                  <a:gd name="T4" fmla="*/ 0 w 66"/>
                  <a:gd name="T5" fmla="*/ 0 h 259"/>
                  <a:gd name="T6" fmla="*/ 5 w 66"/>
                  <a:gd name="T7" fmla="*/ 77 h 259"/>
                  <a:gd name="T8" fmla="*/ 31 w 66"/>
                  <a:gd name="T9" fmla="*/ 231 h 259"/>
                  <a:gd name="T10" fmla="*/ 32 w 66"/>
                  <a:gd name="T11" fmla="*/ 231 h 259"/>
                  <a:gd name="T12" fmla="*/ 31 w 66"/>
                  <a:gd name="T13" fmla="*/ 237 h 259"/>
                  <a:gd name="T14" fmla="*/ 20 w 66"/>
                  <a:gd name="T15" fmla="*/ 247 h 259"/>
                  <a:gd name="T16" fmla="*/ 10 w 66"/>
                  <a:gd name="T17" fmla="*/ 259 h 259"/>
                  <a:gd name="T18" fmla="*/ 41 w 66"/>
                  <a:gd name="T19" fmla="*/ 251 h 259"/>
                  <a:gd name="T20" fmla="*/ 48 w 66"/>
                  <a:gd name="T21" fmla="*/ 248 h 259"/>
                  <a:gd name="T22" fmla="*/ 48 w 66"/>
                  <a:gd name="T23" fmla="*/ 241 h 259"/>
                  <a:gd name="T24" fmla="*/ 45 w 66"/>
                  <a:gd name="T25" fmla="*/ 236 h 259"/>
                  <a:gd name="T26" fmla="*/ 46 w 66"/>
                  <a:gd name="T27" fmla="*/ 217 h 259"/>
                  <a:gd name="T28" fmla="*/ 48 w 66"/>
                  <a:gd name="T29" fmla="*/ 193 h 259"/>
                  <a:gd name="T30" fmla="*/ 53 w 66"/>
                  <a:gd name="T31" fmla="*/ 161 h 259"/>
                  <a:gd name="T32" fmla="*/ 53 w 66"/>
                  <a:gd name="T33" fmla="*/ 158 h 259"/>
                  <a:gd name="T34" fmla="*/ 47 w 66"/>
                  <a:gd name="T35" fmla="*/ 90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6" h="259">
                    <a:moveTo>
                      <a:pt x="47" y="90"/>
                    </a:moveTo>
                    <a:cubicBezTo>
                      <a:pt x="48" y="75"/>
                      <a:pt x="63" y="41"/>
                      <a:pt x="66" y="1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28"/>
                      <a:pt x="4" y="49"/>
                      <a:pt x="5" y="77"/>
                    </a:cubicBezTo>
                    <a:cubicBezTo>
                      <a:pt x="7" y="131"/>
                      <a:pt x="24" y="177"/>
                      <a:pt x="31" y="231"/>
                    </a:cubicBezTo>
                    <a:cubicBezTo>
                      <a:pt x="32" y="231"/>
                      <a:pt x="32" y="231"/>
                      <a:pt x="32" y="231"/>
                    </a:cubicBezTo>
                    <a:cubicBezTo>
                      <a:pt x="32" y="234"/>
                      <a:pt x="31" y="236"/>
                      <a:pt x="31" y="237"/>
                    </a:cubicBezTo>
                    <a:cubicBezTo>
                      <a:pt x="29" y="242"/>
                      <a:pt x="24" y="244"/>
                      <a:pt x="20" y="247"/>
                    </a:cubicBezTo>
                    <a:cubicBezTo>
                      <a:pt x="16" y="251"/>
                      <a:pt x="12" y="255"/>
                      <a:pt x="10" y="259"/>
                    </a:cubicBezTo>
                    <a:cubicBezTo>
                      <a:pt x="22" y="257"/>
                      <a:pt x="30" y="255"/>
                      <a:pt x="41" y="251"/>
                    </a:cubicBezTo>
                    <a:cubicBezTo>
                      <a:pt x="44" y="251"/>
                      <a:pt x="46" y="250"/>
                      <a:pt x="48" y="248"/>
                    </a:cubicBezTo>
                    <a:cubicBezTo>
                      <a:pt x="50" y="246"/>
                      <a:pt x="50" y="246"/>
                      <a:pt x="48" y="241"/>
                    </a:cubicBezTo>
                    <a:cubicBezTo>
                      <a:pt x="47" y="240"/>
                      <a:pt x="45" y="238"/>
                      <a:pt x="45" y="236"/>
                    </a:cubicBezTo>
                    <a:cubicBezTo>
                      <a:pt x="42" y="231"/>
                      <a:pt x="45" y="222"/>
                      <a:pt x="46" y="217"/>
                    </a:cubicBezTo>
                    <a:cubicBezTo>
                      <a:pt x="47" y="209"/>
                      <a:pt x="48" y="201"/>
                      <a:pt x="48" y="193"/>
                    </a:cubicBezTo>
                    <a:cubicBezTo>
                      <a:pt x="50" y="177"/>
                      <a:pt x="52" y="177"/>
                      <a:pt x="53" y="161"/>
                    </a:cubicBezTo>
                    <a:cubicBezTo>
                      <a:pt x="53" y="160"/>
                      <a:pt x="53" y="159"/>
                      <a:pt x="53" y="158"/>
                    </a:cubicBezTo>
                    <a:cubicBezTo>
                      <a:pt x="54" y="132"/>
                      <a:pt x="45" y="116"/>
                      <a:pt x="47" y="90"/>
                    </a:cubicBezTo>
                    <a:close/>
                  </a:path>
                </a:pathLst>
              </a:custGeom>
              <a:solidFill>
                <a:srgbClr val="F9C4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04" name="iś1iḑé">
                <a:extLst>
                  <a:ext uri="{FF2B5EF4-FFF2-40B4-BE49-F238E27FC236}">
                    <a16:creationId xmlns:a16="http://schemas.microsoft.com/office/drawing/2014/main" id="{12C0807E-6E6F-4952-AC7A-4CE1F5C9C30E}"/>
                  </a:ext>
                </a:extLst>
              </p:cNvPr>
              <p:cNvSpPr/>
              <p:nvPr/>
            </p:nvSpPr>
            <p:spPr bwMode="auto">
              <a:xfrm>
                <a:off x="7813675" y="5419725"/>
                <a:ext cx="287338" cy="122238"/>
              </a:xfrm>
              <a:custGeom>
                <a:avLst/>
                <a:gdLst>
                  <a:gd name="T0" fmla="*/ 20 w 47"/>
                  <a:gd name="T1" fmla="*/ 3 h 20"/>
                  <a:gd name="T2" fmla="*/ 6 w 47"/>
                  <a:gd name="T3" fmla="*/ 12 h 20"/>
                  <a:gd name="T4" fmla="*/ 2 w 47"/>
                  <a:gd name="T5" fmla="*/ 14 h 20"/>
                  <a:gd name="T6" fmla="*/ 1 w 47"/>
                  <a:gd name="T7" fmla="*/ 18 h 20"/>
                  <a:gd name="T8" fmla="*/ 5 w 47"/>
                  <a:gd name="T9" fmla="*/ 20 h 20"/>
                  <a:gd name="T10" fmla="*/ 9 w 47"/>
                  <a:gd name="T11" fmla="*/ 20 h 20"/>
                  <a:gd name="T12" fmla="*/ 14 w 47"/>
                  <a:gd name="T13" fmla="*/ 19 h 20"/>
                  <a:gd name="T14" fmla="*/ 32 w 47"/>
                  <a:gd name="T15" fmla="*/ 16 h 20"/>
                  <a:gd name="T16" fmla="*/ 45 w 47"/>
                  <a:gd name="T17" fmla="*/ 12 h 20"/>
                  <a:gd name="T18" fmla="*/ 47 w 47"/>
                  <a:gd name="T19" fmla="*/ 11 h 20"/>
                  <a:gd name="T20" fmla="*/ 47 w 47"/>
                  <a:gd name="T21" fmla="*/ 9 h 20"/>
                  <a:gd name="T22" fmla="*/ 45 w 47"/>
                  <a:gd name="T23" fmla="*/ 0 h 20"/>
                  <a:gd name="T24" fmla="*/ 42 w 47"/>
                  <a:gd name="T25" fmla="*/ 2 h 20"/>
                  <a:gd name="T26" fmla="*/ 37 w 47"/>
                  <a:gd name="T27" fmla="*/ 4 h 20"/>
                  <a:gd name="T28" fmla="*/ 27 w 47"/>
                  <a:gd name="T29" fmla="*/ 6 h 20"/>
                  <a:gd name="T30" fmla="*/ 24 w 47"/>
                  <a:gd name="T31" fmla="*/ 5 h 20"/>
                  <a:gd name="T32" fmla="*/ 22 w 47"/>
                  <a:gd name="T33" fmla="*/ 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7" h="20">
                    <a:moveTo>
                      <a:pt x="20" y="3"/>
                    </a:moveTo>
                    <a:cubicBezTo>
                      <a:pt x="16" y="6"/>
                      <a:pt x="11" y="9"/>
                      <a:pt x="6" y="12"/>
                    </a:cubicBezTo>
                    <a:cubicBezTo>
                      <a:pt x="4" y="12"/>
                      <a:pt x="3" y="13"/>
                      <a:pt x="2" y="14"/>
                    </a:cubicBezTo>
                    <a:cubicBezTo>
                      <a:pt x="1" y="15"/>
                      <a:pt x="0" y="17"/>
                      <a:pt x="1" y="18"/>
                    </a:cubicBezTo>
                    <a:cubicBezTo>
                      <a:pt x="2" y="20"/>
                      <a:pt x="4" y="20"/>
                      <a:pt x="5" y="20"/>
                    </a:cubicBezTo>
                    <a:cubicBezTo>
                      <a:pt x="7" y="20"/>
                      <a:pt x="8" y="20"/>
                      <a:pt x="9" y="20"/>
                    </a:cubicBezTo>
                    <a:cubicBezTo>
                      <a:pt x="11" y="20"/>
                      <a:pt x="12" y="20"/>
                      <a:pt x="14" y="19"/>
                    </a:cubicBezTo>
                    <a:cubicBezTo>
                      <a:pt x="20" y="18"/>
                      <a:pt x="26" y="17"/>
                      <a:pt x="32" y="16"/>
                    </a:cubicBezTo>
                    <a:cubicBezTo>
                      <a:pt x="36" y="15"/>
                      <a:pt x="41" y="14"/>
                      <a:pt x="45" y="12"/>
                    </a:cubicBezTo>
                    <a:cubicBezTo>
                      <a:pt x="46" y="12"/>
                      <a:pt x="46" y="11"/>
                      <a:pt x="47" y="11"/>
                    </a:cubicBezTo>
                    <a:cubicBezTo>
                      <a:pt x="47" y="10"/>
                      <a:pt x="47" y="10"/>
                      <a:pt x="47" y="9"/>
                    </a:cubicBezTo>
                    <a:cubicBezTo>
                      <a:pt x="47" y="7"/>
                      <a:pt x="46" y="2"/>
                      <a:pt x="45" y="0"/>
                    </a:cubicBezTo>
                    <a:cubicBezTo>
                      <a:pt x="44" y="0"/>
                      <a:pt x="43" y="2"/>
                      <a:pt x="42" y="2"/>
                    </a:cubicBezTo>
                    <a:cubicBezTo>
                      <a:pt x="41" y="3"/>
                      <a:pt x="39" y="4"/>
                      <a:pt x="37" y="4"/>
                    </a:cubicBezTo>
                    <a:cubicBezTo>
                      <a:pt x="34" y="5"/>
                      <a:pt x="31" y="6"/>
                      <a:pt x="27" y="6"/>
                    </a:cubicBezTo>
                    <a:cubicBezTo>
                      <a:pt x="26" y="6"/>
                      <a:pt x="25" y="6"/>
                      <a:pt x="24" y="5"/>
                    </a:cubicBezTo>
                    <a:cubicBezTo>
                      <a:pt x="23" y="5"/>
                      <a:pt x="22" y="4"/>
                      <a:pt x="22" y="4"/>
                    </a:cubicBezTo>
                  </a:path>
                </a:pathLst>
              </a:custGeom>
              <a:solidFill>
                <a:srgbClr val="FE7D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05" name="íṣḷiḓê">
                <a:extLst>
                  <a:ext uri="{FF2B5EF4-FFF2-40B4-BE49-F238E27FC236}">
                    <a16:creationId xmlns:a16="http://schemas.microsoft.com/office/drawing/2014/main" id="{8A2BEAA3-FCAA-40EE-AB9E-26B336C2EB7F}"/>
                  </a:ext>
                </a:extLst>
              </p:cNvPr>
              <p:cNvSpPr/>
              <p:nvPr/>
            </p:nvSpPr>
            <p:spPr bwMode="auto">
              <a:xfrm>
                <a:off x="7421563" y="3278188"/>
                <a:ext cx="814388" cy="1052513"/>
              </a:xfrm>
              <a:custGeom>
                <a:avLst/>
                <a:gdLst>
                  <a:gd name="T0" fmla="*/ 106 w 133"/>
                  <a:gd name="T1" fmla="*/ 0 h 172"/>
                  <a:gd name="T2" fmla="*/ 132 w 133"/>
                  <a:gd name="T3" fmla="*/ 72 h 172"/>
                  <a:gd name="T4" fmla="*/ 122 w 133"/>
                  <a:gd name="T5" fmla="*/ 154 h 172"/>
                  <a:gd name="T6" fmla="*/ 11 w 133"/>
                  <a:gd name="T7" fmla="*/ 155 h 172"/>
                  <a:gd name="T8" fmla="*/ 24 w 133"/>
                  <a:gd name="T9" fmla="*/ 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3" h="172">
                    <a:moveTo>
                      <a:pt x="106" y="0"/>
                    </a:moveTo>
                    <a:cubicBezTo>
                      <a:pt x="126" y="26"/>
                      <a:pt x="131" y="42"/>
                      <a:pt x="132" y="72"/>
                    </a:cubicBezTo>
                    <a:cubicBezTo>
                      <a:pt x="133" y="101"/>
                      <a:pt x="124" y="121"/>
                      <a:pt x="122" y="154"/>
                    </a:cubicBezTo>
                    <a:cubicBezTo>
                      <a:pt x="64" y="172"/>
                      <a:pt x="11" y="155"/>
                      <a:pt x="11" y="155"/>
                    </a:cubicBezTo>
                    <a:cubicBezTo>
                      <a:pt x="4" y="96"/>
                      <a:pt x="0" y="51"/>
                      <a:pt x="24" y="0"/>
                    </a:cubicBezTo>
                  </a:path>
                </a:pathLst>
              </a:custGeom>
              <a:solidFill>
                <a:srgbClr val="FE7D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06" name="iṩḷîḓê">
                <a:extLst>
                  <a:ext uri="{FF2B5EF4-FFF2-40B4-BE49-F238E27FC236}">
                    <a16:creationId xmlns:a16="http://schemas.microsoft.com/office/drawing/2014/main" id="{A2C12AB6-8FC6-4A3F-8FCB-22AC02D8B2FC}"/>
                  </a:ext>
                </a:extLst>
              </p:cNvPr>
              <p:cNvSpPr/>
              <p:nvPr/>
            </p:nvSpPr>
            <p:spPr bwMode="auto">
              <a:xfrm>
                <a:off x="7385050" y="3395663"/>
                <a:ext cx="619125" cy="446088"/>
              </a:xfrm>
              <a:custGeom>
                <a:avLst/>
                <a:gdLst>
                  <a:gd name="T0" fmla="*/ 4 w 101"/>
                  <a:gd name="T1" fmla="*/ 65 h 73"/>
                  <a:gd name="T2" fmla="*/ 91 w 101"/>
                  <a:gd name="T3" fmla="*/ 73 h 73"/>
                  <a:gd name="T4" fmla="*/ 96 w 101"/>
                  <a:gd name="T5" fmla="*/ 69 h 73"/>
                  <a:gd name="T6" fmla="*/ 101 w 101"/>
                  <a:gd name="T7" fmla="*/ 12 h 73"/>
                  <a:gd name="T8" fmla="*/ 97 w 101"/>
                  <a:gd name="T9" fmla="*/ 8 h 73"/>
                  <a:gd name="T10" fmla="*/ 10 w 101"/>
                  <a:gd name="T11" fmla="*/ 0 h 73"/>
                  <a:gd name="T12" fmla="*/ 6 w 101"/>
                  <a:gd name="T13" fmla="*/ 4 h 73"/>
                  <a:gd name="T14" fmla="*/ 1 w 101"/>
                  <a:gd name="T15" fmla="*/ 61 h 73"/>
                  <a:gd name="T16" fmla="*/ 4 w 101"/>
                  <a:gd name="T17" fmla="*/ 65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1" h="73">
                    <a:moveTo>
                      <a:pt x="4" y="65"/>
                    </a:moveTo>
                    <a:cubicBezTo>
                      <a:pt x="91" y="73"/>
                      <a:pt x="91" y="73"/>
                      <a:pt x="91" y="73"/>
                    </a:cubicBezTo>
                    <a:cubicBezTo>
                      <a:pt x="94" y="73"/>
                      <a:pt x="96" y="71"/>
                      <a:pt x="96" y="69"/>
                    </a:cubicBezTo>
                    <a:cubicBezTo>
                      <a:pt x="101" y="12"/>
                      <a:pt x="101" y="12"/>
                      <a:pt x="101" y="12"/>
                    </a:cubicBezTo>
                    <a:cubicBezTo>
                      <a:pt x="101" y="10"/>
                      <a:pt x="99" y="9"/>
                      <a:pt x="97" y="8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2"/>
                      <a:pt x="6" y="4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0" y="63"/>
                      <a:pt x="2" y="65"/>
                      <a:pt x="4" y="65"/>
                    </a:cubicBezTo>
                    <a:close/>
                  </a:path>
                </a:pathLst>
              </a:custGeom>
              <a:solidFill>
                <a:srgbClr val="3E89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325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07" name="îŝľide">
                <a:extLst>
                  <a:ext uri="{FF2B5EF4-FFF2-40B4-BE49-F238E27FC236}">
                    <a16:creationId xmlns:a16="http://schemas.microsoft.com/office/drawing/2014/main" id="{E3653959-18D1-4A23-9259-A508406B9760}"/>
                  </a:ext>
                </a:extLst>
              </p:cNvPr>
              <p:cNvSpPr/>
              <p:nvPr/>
            </p:nvSpPr>
            <p:spPr bwMode="auto">
              <a:xfrm>
                <a:off x="7421563" y="3425825"/>
                <a:ext cx="546100" cy="392113"/>
              </a:xfrm>
              <a:custGeom>
                <a:avLst/>
                <a:gdLst>
                  <a:gd name="T0" fmla="*/ 0 w 344"/>
                  <a:gd name="T1" fmla="*/ 216 h 247"/>
                  <a:gd name="T2" fmla="*/ 324 w 344"/>
                  <a:gd name="T3" fmla="*/ 247 h 247"/>
                  <a:gd name="T4" fmla="*/ 344 w 344"/>
                  <a:gd name="T5" fmla="*/ 27 h 247"/>
                  <a:gd name="T6" fmla="*/ 20 w 344"/>
                  <a:gd name="T7" fmla="*/ 0 h 247"/>
                  <a:gd name="T8" fmla="*/ 0 w 344"/>
                  <a:gd name="T9" fmla="*/ 216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4" h="247">
                    <a:moveTo>
                      <a:pt x="0" y="216"/>
                    </a:moveTo>
                    <a:lnTo>
                      <a:pt x="324" y="247"/>
                    </a:lnTo>
                    <a:lnTo>
                      <a:pt x="344" y="27"/>
                    </a:lnTo>
                    <a:lnTo>
                      <a:pt x="20" y="0"/>
                    </a:lnTo>
                    <a:lnTo>
                      <a:pt x="0" y="216"/>
                    </a:lnTo>
                    <a:close/>
                  </a:path>
                </a:pathLst>
              </a:custGeom>
              <a:solidFill>
                <a:srgbClr val="E5F8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08" name="isļïďé">
                <a:extLst>
                  <a:ext uri="{FF2B5EF4-FFF2-40B4-BE49-F238E27FC236}">
                    <a16:creationId xmlns:a16="http://schemas.microsoft.com/office/drawing/2014/main" id="{B9D9A111-1280-49EC-9CE4-706B3681EA5A}"/>
                  </a:ext>
                </a:extLst>
              </p:cNvPr>
              <p:cNvSpPr/>
              <p:nvPr/>
            </p:nvSpPr>
            <p:spPr bwMode="auto">
              <a:xfrm>
                <a:off x="7464425" y="3449638"/>
                <a:ext cx="49213" cy="306388"/>
              </a:xfrm>
              <a:custGeom>
                <a:avLst/>
                <a:gdLst>
                  <a:gd name="T0" fmla="*/ 5 w 8"/>
                  <a:gd name="T1" fmla="*/ 1 h 50"/>
                  <a:gd name="T2" fmla="*/ 0 w 8"/>
                  <a:gd name="T3" fmla="*/ 49 h 50"/>
                  <a:gd name="T4" fmla="*/ 1 w 8"/>
                  <a:gd name="T5" fmla="*/ 50 h 50"/>
                  <a:gd name="T6" fmla="*/ 3 w 8"/>
                  <a:gd name="T7" fmla="*/ 49 h 50"/>
                  <a:gd name="T8" fmla="*/ 8 w 8"/>
                  <a:gd name="T9" fmla="*/ 1 h 50"/>
                  <a:gd name="T10" fmla="*/ 7 w 8"/>
                  <a:gd name="T11" fmla="*/ 0 h 50"/>
                  <a:gd name="T12" fmla="*/ 5 w 8"/>
                  <a:gd name="T13" fmla="*/ 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50">
                    <a:moveTo>
                      <a:pt x="5" y="1"/>
                    </a:moveTo>
                    <a:cubicBezTo>
                      <a:pt x="0" y="49"/>
                      <a:pt x="0" y="49"/>
                      <a:pt x="0" y="49"/>
                    </a:cubicBezTo>
                    <a:cubicBezTo>
                      <a:pt x="0" y="49"/>
                      <a:pt x="1" y="50"/>
                      <a:pt x="1" y="50"/>
                    </a:cubicBezTo>
                    <a:cubicBezTo>
                      <a:pt x="2" y="50"/>
                      <a:pt x="3" y="49"/>
                      <a:pt x="3" y="49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0"/>
                      <a:pt x="7" y="0"/>
                      <a:pt x="7" y="0"/>
                    </a:cubicBezTo>
                    <a:cubicBezTo>
                      <a:pt x="6" y="0"/>
                      <a:pt x="5" y="0"/>
                      <a:pt x="5" y="1"/>
                    </a:cubicBezTo>
                  </a:path>
                </a:pathLst>
              </a:custGeom>
              <a:solidFill>
                <a:srgbClr val="A1D2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09" name="ïś1îḓé">
                <a:extLst>
                  <a:ext uri="{FF2B5EF4-FFF2-40B4-BE49-F238E27FC236}">
                    <a16:creationId xmlns:a16="http://schemas.microsoft.com/office/drawing/2014/main" id="{D4F7C8AB-28F6-45FC-959E-57E5504D20C2}"/>
                  </a:ext>
                </a:extLst>
              </p:cNvPr>
              <p:cNvSpPr/>
              <p:nvPr/>
            </p:nvSpPr>
            <p:spPr bwMode="auto">
              <a:xfrm>
                <a:off x="7513638" y="3449638"/>
                <a:ext cx="42863" cy="312738"/>
              </a:xfrm>
              <a:custGeom>
                <a:avLst/>
                <a:gdLst>
                  <a:gd name="T0" fmla="*/ 5 w 7"/>
                  <a:gd name="T1" fmla="*/ 1 h 51"/>
                  <a:gd name="T2" fmla="*/ 0 w 7"/>
                  <a:gd name="T3" fmla="*/ 49 h 51"/>
                  <a:gd name="T4" fmla="*/ 1 w 7"/>
                  <a:gd name="T5" fmla="*/ 51 h 51"/>
                  <a:gd name="T6" fmla="*/ 2 w 7"/>
                  <a:gd name="T7" fmla="*/ 50 h 51"/>
                  <a:gd name="T8" fmla="*/ 7 w 7"/>
                  <a:gd name="T9" fmla="*/ 2 h 51"/>
                  <a:gd name="T10" fmla="*/ 6 w 7"/>
                  <a:gd name="T11" fmla="*/ 0 h 51"/>
                  <a:gd name="T12" fmla="*/ 5 w 7"/>
                  <a:gd name="T13" fmla="*/ 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51">
                    <a:moveTo>
                      <a:pt x="5" y="1"/>
                    </a:moveTo>
                    <a:cubicBezTo>
                      <a:pt x="0" y="49"/>
                      <a:pt x="0" y="49"/>
                      <a:pt x="0" y="49"/>
                    </a:cubicBezTo>
                    <a:cubicBezTo>
                      <a:pt x="0" y="50"/>
                      <a:pt x="1" y="50"/>
                      <a:pt x="1" y="51"/>
                    </a:cubicBezTo>
                    <a:cubicBezTo>
                      <a:pt x="2" y="51"/>
                      <a:pt x="2" y="50"/>
                      <a:pt x="2" y="50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7" y="1"/>
                      <a:pt x="7" y="0"/>
                      <a:pt x="6" y="0"/>
                    </a:cubicBezTo>
                    <a:cubicBezTo>
                      <a:pt x="6" y="0"/>
                      <a:pt x="5" y="1"/>
                      <a:pt x="5" y="1"/>
                    </a:cubicBezTo>
                  </a:path>
                </a:pathLst>
              </a:custGeom>
              <a:solidFill>
                <a:srgbClr val="A1D2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10" name="ïşḷïdé">
                <a:extLst>
                  <a:ext uri="{FF2B5EF4-FFF2-40B4-BE49-F238E27FC236}">
                    <a16:creationId xmlns:a16="http://schemas.microsoft.com/office/drawing/2014/main" id="{EBDB10C2-EF13-4CE4-A715-0C0C323A7B65}"/>
                  </a:ext>
                </a:extLst>
              </p:cNvPr>
              <p:cNvSpPr/>
              <p:nvPr/>
            </p:nvSpPr>
            <p:spPr bwMode="auto">
              <a:xfrm>
                <a:off x="7586663" y="3455988"/>
                <a:ext cx="42863" cy="306388"/>
              </a:xfrm>
              <a:custGeom>
                <a:avLst/>
                <a:gdLst>
                  <a:gd name="T0" fmla="*/ 5 w 7"/>
                  <a:gd name="T1" fmla="*/ 1 h 50"/>
                  <a:gd name="T2" fmla="*/ 0 w 7"/>
                  <a:gd name="T3" fmla="*/ 49 h 50"/>
                  <a:gd name="T4" fmla="*/ 1 w 7"/>
                  <a:gd name="T5" fmla="*/ 50 h 50"/>
                  <a:gd name="T6" fmla="*/ 2 w 7"/>
                  <a:gd name="T7" fmla="*/ 49 h 50"/>
                  <a:gd name="T8" fmla="*/ 7 w 7"/>
                  <a:gd name="T9" fmla="*/ 1 h 50"/>
                  <a:gd name="T10" fmla="*/ 6 w 7"/>
                  <a:gd name="T11" fmla="*/ 0 h 50"/>
                  <a:gd name="T12" fmla="*/ 5 w 7"/>
                  <a:gd name="T13" fmla="*/ 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50">
                    <a:moveTo>
                      <a:pt x="5" y="1"/>
                    </a:moveTo>
                    <a:cubicBezTo>
                      <a:pt x="0" y="49"/>
                      <a:pt x="0" y="49"/>
                      <a:pt x="0" y="49"/>
                    </a:cubicBezTo>
                    <a:cubicBezTo>
                      <a:pt x="0" y="50"/>
                      <a:pt x="0" y="50"/>
                      <a:pt x="1" y="50"/>
                    </a:cubicBezTo>
                    <a:cubicBezTo>
                      <a:pt x="1" y="50"/>
                      <a:pt x="2" y="50"/>
                      <a:pt x="2" y="49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</a:path>
                </a:pathLst>
              </a:custGeom>
              <a:solidFill>
                <a:srgbClr val="A1D2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11" name="îṥliḍé">
                <a:extLst>
                  <a:ext uri="{FF2B5EF4-FFF2-40B4-BE49-F238E27FC236}">
                    <a16:creationId xmlns:a16="http://schemas.microsoft.com/office/drawing/2014/main" id="{20D63101-1080-499E-8075-6C8B30C27B05}"/>
                  </a:ext>
                </a:extLst>
              </p:cNvPr>
              <p:cNvSpPr/>
              <p:nvPr/>
            </p:nvSpPr>
            <p:spPr bwMode="auto">
              <a:xfrm>
                <a:off x="7654925" y="3462338"/>
                <a:ext cx="42863" cy="306388"/>
              </a:xfrm>
              <a:custGeom>
                <a:avLst/>
                <a:gdLst>
                  <a:gd name="T0" fmla="*/ 5 w 7"/>
                  <a:gd name="T1" fmla="*/ 1 h 50"/>
                  <a:gd name="T2" fmla="*/ 0 w 7"/>
                  <a:gd name="T3" fmla="*/ 49 h 50"/>
                  <a:gd name="T4" fmla="*/ 1 w 7"/>
                  <a:gd name="T5" fmla="*/ 50 h 50"/>
                  <a:gd name="T6" fmla="*/ 2 w 7"/>
                  <a:gd name="T7" fmla="*/ 49 h 50"/>
                  <a:gd name="T8" fmla="*/ 7 w 7"/>
                  <a:gd name="T9" fmla="*/ 1 h 50"/>
                  <a:gd name="T10" fmla="*/ 6 w 7"/>
                  <a:gd name="T11" fmla="*/ 0 h 50"/>
                  <a:gd name="T12" fmla="*/ 5 w 7"/>
                  <a:gd name="T13" fmla="*/ 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50">
                    <a:moveTo>
                      <a:pt x="5" y="1"/>
                    </a:moveTo>
                    <a:cubicBezTo>
                      <a:pt x="0" y="49"/>
                      <a:pt x="0" y="49"/>
                      <a:pt x="0" y="49"/>
                    </a:cubicBezTo>
                    <a:cubicBezTo>
                      <a:pt x="0" y="50"/>
                      <a:pt x="0" y="50"/>
                      <a:pt x="1" y="50"/>
                    </a:cubicBezTo>
                    <a:cubicBezTo>
                      <a:pt x="2" y="50"/>
                      <a:pt x="2" y="50"/>
                      <a:pt x="2" y="49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0"/>
                      <a:pt x="6" y="0"/>
                    </a:cubicBezTo>
                    <a:cubicBezTo>
                      <a:pt x="6" y="0"/>
                      <a:pt x="5" y="1"/>
                      <a:pt x="5" y="1"/>
                    </a:cubicBezTo>
                  </a:path>
                </a:pathLst>
              </a:custGeom>
              <a:solidFill>
                <a:srgbClr val="A1D2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12" name="íšlíďé">
                <a:extLst>
                  <a:ext uri="{FF2B5EF4-FFF2-40B4-BE49-F238E27FC236}">
                    <a16:creationId xmlns:a16="http://schemas.microsoft.com/office/drawing/2014/main" id="{AB5EC85C-327E-421E-B4C9-117C688B3435}"/>
                  </a:ext>
                </a:extLst>
              </p:cNvPr>
              <p:cNvSpPr/>
              <p:nvPr/>
            </p:nvSpPr>
            <p:spPr bwMode="auto">
              <a:xfrm>
                <a:off x="7727950" y="3468688"/>
                <a:ext cx="36513" cy="306388"/>
              </a:xfrm>
              <a:custGeom>
                <a:avLst/>
                <a:gdLst>
                  <a:gd name="T0" fmla="*/ 4 w 6"/>
                  <a:gd name="T1" fmla="*/ 1 h 50"/>
                  <a:gd name="T2" fmla="*/ 0 w 6"/>
                  <a:gd name="T3" fmla="*/ 49 h 50"/>
                  <a:gd name="T4" fmla="*/ 1 w 6"/>
                  <a:gd name="T5" fmla="*/ 50 h 50"/>
                  <a:gd name="T6" fmla="*/ 3 w 6"/>
                  <a:gd name="T7" fmla="*/ 49 h 50"/>
                  <a:gd name="T8" fmla="*/ 6 w 6"/>
                  <a:gd name="T9" fmla="*/ 1 h 50"/>
                  <a:gd name="T10" fmla="*/ 5 w 6"/>
                  <a:gd name="T11" fmla="*/ 0 h 50"/>
                  <a:gd name="T12" fmla="*/ 4 w 6"/>
                  <a:gd name="T13" fmla="*/ 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50">
                    <a:moveTo>
                      <a:pt x="4" y="1"/>
                    </a:moveTo>
                    <a:cubicBezTo>
                      <a:pt x="0" y="49"/>
                      <a:pt x="0" y="49"/>
                      <a:pt x="0" y="49"/>
                    </a:cubicBezTo>
                    <a:cubicBezTo>
                      <a:pt x="0" y="50"/>
                      <a:pt x="1" y="50"/>
                      <a:pt x="1" y="50"/>
                    </a:cubicBezTo>
                    <a:cubicBezTo>
                      <a:pt x="2" y="50"/>
                      <a:pt x="2" y="50"/>
                      <a:pt x="3" y="49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1"/>
                      <a:pt x="6" y="0"/>
                      <a:pt x="5" y="0"/>
                    </a:cubicBezTo>
                    <a:cubicBezTo>
                      <a:pt x="5" y="0"/>
                      <a:pt x="4" y="0"/>
                      <a:pt x="4" y="1"/>
                    </a:cubicBezTo>
                  </a:path>
                </a:pathLst>
              </a:custGeom>
              <a:solidFill>
                <a:srgbClr val="A1D2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13" name="ïslïďè">
                <a:extLst>
                  <a:ext uri="{FF2B5EF4-FFF2-40B4-BE49-F238E27FC236}">
                    <a16:creationId xmlns:a16="http://schemas.microsoft.com/office/drawing/2014/main" id="{92BB9846-B2C4-49C7-8708-E73224080015}"/>
                  </a:ext>
                </a:extLst>
              </p:cNvPr>
              <p:cNvSpPr/>
              <p:nvPr/>
            </p:nvSpPr>
            <p:spPr bwMode="auto">
              <a:xfrm>
                <a:off x="7800975" y="3475038"/>
                <a:ext cx="38100" cy="304800"/>
              </a:xfrm>
              <a:custGeom>
                <a:avLst/>
                <a:gdLst>
                  <a:gd name="T0" fmla="*/ 4 w 6"/>
                  <a:gd name="T1" fmla="*/ 1 h 50"/>
                  <a:gd name="T2" fmla="*/ 0 w 6"/>
                  <a:gd name="T3" fmla="*/ 49 h 50"/>
                  <a:gd name="T4" fmla="*/ 1 w 6"/>
                  <a:gd name="T5" fmla="*/ 50 h 50"/>
                  <a:gd name="T6" fmla="*/ 2 w 6"/>
                  <a:gd name="T7" fmla="*/ 49 h 50"/>
                  <a:gd name="T8" fmla="*/ 6 w 6"/>
                  <a:gd name="T9" fmla="*/ 1 h 50"/>
                  <a:gd name="T10" fmla="*/ 5 w 6"/>
                  <a:gd name="T11" fmla="*/ 0 h 50"/>
                  <a:gd name="T12" fmla="*/ 4 w 6"/>
                  <a:gd name="T13" fmla="*/ 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50">
                    <a:moveTo>
                      <a:pt x="4" y="1"/>
                    </a:moveTo>
                    <a:cubicBezTo>
                      <a:pt x="0" y="49"/>
                      <a:pt x="0" y="49"/>
                      <a:pt x="0" y="49"/>
                    </a:cubicBezTo>
                    <a:cubicBezTo>
                      <a:pt x="0" y="50"/>
                      <a:pt x="0" y="50"/>
                      <a:pt x="1" y="50"/>
                    </a:cubicBezTo>
                    <a:cubicBezTo>
                      <a:pt x="1" y="50"/>
                      <a:pt x="2" y="50"/>
                      <a:pt x="2" y="49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0"/>
                      <a:pt x="5" y="0"/>
                      <a:pt x="5" y="0"/>
                    </a:cubicBezTo>
                    <a:cubicBezTo>
                      <a:pt x="4" y="0"/>
                      <a:pt x="4" y="0"/>
                      <a:pt x="4" y="1"/>
                    </a:cubicBezTo>
                  </a:path>
                </a:pathLst>
              </a:custGeom>
              <a:solidFill>
                <a:srgbClr val="A1D2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14" name="iśḷïḋé">
                <a:extLst>
                  <a:ext uri="{FF2B5EF4-FFF2-40B4-BE49-F238E27FC236}">
                    <a16:creationId xmlns:a16="http://schemas.microsoft.com/office/drawing/2014/main" id="{4BDDA403-7F39-4D61-99CD-011A100D8423}"/>
                  </a:ext>
                </a:extLst>
              </p:cNvPr>
              <p:cNvSpPr/>
              <p:nvPr/>
            </p:nvSpPr>
            <p:spPr bwMode="auto">
              <a:xfrm>
                <a:off x="7869238" y="3481388"/>
                <a:ext cx="36513" cy="304800"/>
              </a:xfrm>
              <a:custGeom>
                <a:avLst/>
                <a:gdLst>
                  <a:gd name="T0" fmla="*/ 4 w 6"/>
                  <a:gd name="T1" fmla="*/ 1 h 50"/>
                  <a:gd name="T2" fmla="*/ 1 w 6"/>
                  <a:gd name="T3" fmla="*/ 49 h 50"/>
                  <a:gd name="T4" fmla="*/ 1 w 6"/>
                  <a:gd name="T5" fmla="*/ 50 h 50"/>
                  <a:gd name="T6" fmla="*/ 3 w 6"/>
                  <a:gd name="T7" fmla="*/ 49 h 50"/>
                  <a:gd name="T8" fmla="*/ 6 w 6"/>
                  <a:gd name="T9" fmla="*/ 1 h 50"/>
                  <a:gd name="T10" fmla="*/ 5 w 6"/>
                  <a:gd name="T11" fmla="*/ 0 h 50"/>
                  <a:gd name="T12" fmla="*/ 4 w 6"/>
                  <a:gd name="T13" fmla="*/ 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50">
                    <a:moveTo>
                      <a:pt x="4" y="1"/>
                    </a:moveTo>
                    <a:cubicBezTo>
                      <a:pt x="1" y="49"/>
                      <a:pt x="1" y="49"/>
                      <a:pt x="1" y="49"/>
                    </a:cubicBezTo>
                    <a:cubicBezTo>
                      <a:pt x="0" y="50"/>
                      <a:pt x="1" y="50"/>
                      <a:pt x="1" y="50"/>
                    </a:cubicBezTo>
                    <a:cubicBezTo>
                      <a:pt x="2" y="50"/>
                      <a:pt x="3" y="50"/>
                      <a:pt x="3" y="49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0"/>
                      <a:pt x="6" y="0"/>
                      <a:pt x="5" y="0"/>
                    </a:cubicBezTo>
                    <a:cubicBezTo>
                      <a:pt x="5" y="0"/>
                      <a:pt x="4" y="0"/>
                      <a:pt x="4" y="1"/>
                    </a:cubicBezTo>
                  </a:path>
                </a:pathLst>
              </a:custGeom>
              <a:solidFill>
                <a:srgbClr val="A1D2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15" name="ïśḷiḑê">
                <a:extLst>
                  <a:ext uri="{FF2B5EF4-FFF2-40B4-BE49-F238E27FC236}">
                    <a16:creationId xmlns:a16="http://schemas.microsoft.com/office/drawing/2014/main" id="{027B5FA9-6D26-4D61-8857-813F3C4D4651}"/>
                  </a:ext>
                </a:extLst>
              </p:cNvPr>
              <p:cNvSpPr/>
              <p:nvPr/>
            </p:nvSpPr>
            <p:spPr bwMode="auto">
              <a:xfrm>
                <a:off x="7391400" y="3524250"/>
                <a:ext cx="55563" cy="165100"/>
              </a:xfrm>
              <a:custGeom>
                <a:avLst/>
                <a:gdLst>
                  <a:gd name="T0" fmla="*/ 8 w 35"/>
                  <a:gd name="T1" fmla="*/ 0 h 104"/>
                  <a:gd name="T2" fmla="*/ 35 w 35"/>
                  <a:gd name="T3" fmla="*/ 0 h 104"/>
                  <a:gd name="T4" fmla="*/ 27 w 35"/>
                  <a:gd name="T5" fmla="*/ 104 h 104"/>
                  <a:gd name="T6" fmla="*/ 0 w 35"/>
                  <a:gd name="T7" fmla="*/ 100 h 104"/>
                  <a:gd name="T8" fmla="*/ 8 w 35"/>
                  <a:gd name="T9" fmla="*/ 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04">
                    <a:moveTo>
                      <a:pt x="8" y="0"/>
                    </a:moveTo>
                    <a:lnTo>
                      <a:pt x="35" y="0"/>
                    </a:lnTo>
                    <a:lnTo>
                      <a:pt x="27" y="104"/>
                    </a:lnTo>
                    <a:lnTo>
                      <a:pt x="0" y="10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1B22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16" name="íŝļîḍè">
                <a:extLst>
                  <a:ext uri="{FF2B5EF4-FFF2-40B4-BE49-F238E27FC236}">
                    <a16:creationId xmlns:a16="http://schemas.microsoft.com/office/drawing/2014/main" id="{2BFDF888-17A1-4E68-B3F4-D4B7720CE216}"/>
                  </a:ext>
                </a:extLst>
              </p:cNvPr>
              <p:cNvSpPr/>
              <p:nvPr/>
            </p:nvSpPr>
            <p:spPr bwMode="auto">
              <a:xfrm>
                <a:off x="7312025" y="3560763"/>
                <a:ext cx="98425" cy="85725"/>
              </a:xfrm>
              <a:custGeom>
                <a:avLst/>
                <a:gdLst>
                  <a:gd name="T0" fmla="*/ 0 w 16"/>
                  <a:gd name="T1" fmla="*/ 6 h 14"/>
                  <a:gd name="T2" fmla="*/ 7 w 16"/>
                  <a:gd name="T3" fmla="*/ 13 h 14"/>
                  <a:gd name="T4" fmla="*/ 15 w 16"/>
                  <a:gd name="T5" fmla="*/ 14 h 14"/>
                  <a:gd name="T6" fmla="*/ 16 w 16"/>
                  <a:gd name="T7" fmla="*/ 1 h 14"/>
                  <a:gd name="T8" fmla="*/ 8 w 16"/>
                  <a:gd name="T9" fmla="*/ 0 h 14"/>
                  <a:gd name="T10" fmla="*/ 0 w 16"/>
                  <a:gd name="T11" fmla="*/ 6 h 14"/>
                  <a:gd name="T12" fmla="*/ 11 w 16"/>
                  <a:gd name="T13" fmla="*/ 7 h 14"/>
                  <a:gd name="T14" fmla="*/ 7 w 16"/>
                  <a:gd name="T15" fmla="*/ 10 h 14"/>
                  <a:gd name="T16" fmla="*/ 3 w 16"/>
                  <a:gd name="T17" fmla="*/ 6 h 14"/>
                  <a:gd name="T18" fmla="*/ 8 w 16"/>
                  <a:gd name="T19" fmla="*/ 3 h 14"/>
                  <a:gd name="T20" fmla="*/ 11 w 16"/>
                  <a:gd name="T21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6" h="14">
                    <a:moveTo>
                      <a:pt x="0" y="6"/>
                    </a:moveTo>
                    <a:cubicBezTo>
                      <a:pt x="0" y="9"/>
                      <a:pt x="3" y="13"/>
                      <a:pt x="7" y="13"/>
                    </a:cubicBezTo>
                    <a:cubicBezTo>
                      <a:pt x="15" y="14"/>
                      <a:pt x="15" y="14"/>
                      <a:pt x="15" y="14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16" y="1"/>
                      <a:pt x="10" y="0"/>
                      <a:pt x="8" y="0"/>
                    </a:cubicBezTo>
                    <a:cubicBezTo>
                      <a:pt x="4" y="0"/>
                      <a:pt x="1" y="2"/>
                      <a:pt x="0" y="6"/>
                    </a:cubicBezTo>
                    <a:close/>
                    <a:moveTo>
                      <a:pt x="11" y="7"/>
                    </a:moveTo>
                    <a:cubicBezTo>
                      <a:pt x="11" y="9"/>
                      <a:pt x="9" y="10"/>
                      <a:pt x="7" y="10"/>
                    </a:cubicBezTo>
                    <a:cubicBezTo>
                      <a:pt x="5" y="10"/>
                      <a:pt x="3" y="8"/>
                      <a:pt x="3" y="6"/>
                    </a:cubicBezTo>
                    <a:cubicBezTo>
                      <a:pt x="4" y="4"/>
                      <a:pt x="6" y="3"/>
                      <a:pt x="8" y="3"/>
                    </a:cubicBezTo>
                    <a:cubicBezTo>
                      <a:pt x="10" y="3"/>
                      <a:pt x="11" y="5"/>
                      <a:pt x="11" y="7"/>
                    </a:cubicBezTo>
                    <a:close/>
                  </a:path>
                </a:pathLst>
              </a:custGeom>
              <a:solidFill>
                <a:srgbClr val="1B22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17" name="ïsḷïḓe">
                <a:extLst>
                  <a:ext uri="{FF2B5EF4-FFF2-40B4-BE49-F238E27FC236}">
                    <a16:creationId xmlns:a16="http://schemas.microsoft.com/office/drawing/2014/main" id="{C5C9D3A0-8C1C-472D-BDEC-1BBFC2295B67}"/>
                  </a:ext>
                </a:extLst>
              </p:cNvPr>
              <p:cNvSpPr/>
              <p:nvPr/>
            </p:nvSpPr>
            <p:spPr bwMode="auto">
              <a:xfrm>
                <a:off x="7800975" y="3571875"/>
                <a:ext cx="123825" cy="312738"/>
              </a:xfrm>
              <a:custGeom>
                <a:avLst/>
                <a:gdLst>
                  <a:gd name="T0" fmla="*/ 10 w 20"/>
                  <a:gd name="T1" fmla="*/ 3 h 51"/>
                  <a:gd name="T2" fmla="*/ 1 w 20"/>
                  <a:gd name="T3" fmla="*/ 27 h 51"/>
                  <a:gd name="T4" fmla="*/ 3 w 20"/>
                  <a:gd name="T5" fmla="*/ 43 h 51"/>
                  <a:gd name="T6" fmla="*/ 6 w 20"/>
                  <a:gd name="T7" fmla="*/ 46 h 51"/>
                  <a:gd name="T8" fmla="*/ 9 w 20"/>
                  <a:gd name="T9" fmla="*/ 50 h 51"/>
                  <a:gd name="T10" fmla="*/ 10 w 20"/>
                  <a:gd name="T11" fmla="*/ 51 h 51"/>
                  <a:gd name="T12" fmla="*/ 12 w 20"/>
                  <a:gd name="T13" fmla="*/ 50 h 51"/>
                  <a:gd name="T14" fmla="*/ 13 w 20"/>
                  <a:gd name="T15" fmla="*/ 47 h 51"/>
                  <a:gd name="T16" fmla="*/ 14 w 20"/>
                  <a:gd name="T17" fmla="*/ 37 h 51"/>
                  <a:gd name="T18" fmla="*/ 16 w 20"/>
                  <a:gd name="T19" fmla="*/ 30 h 51"/>
                  <a:gd name="T20" fmla="*/ 18 w 20"/>
                  <a:gd name="T21" fmla="*/ 27 h 51"/>
                  <a:gd name="T22" fmla="*/ 19 w 20"/>
                  <a:gd name="T23" fmla="*/ 17 h 51"/>
                  <a:gd name="T24" fmla="*/ 17 w 20"/>
                  <a:gd name="T25" fmla="*/ 10 h 51"/>
                  <a:gd name="T26" fmla="*/ 20 w 20"/>
                  <a:gd name="T2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0" h="51">
                    <a:moveTo>
                      <a:pt x="10" y="3"/>
                    </a:moveTo>
                    <a:cubicBezTo>
                      <a:pt x="6" y="11"/>
                      <a:pt x="2" y="18"/>
                      <a:pt x="1" y="27"/>
                    </a:cubicBezTo>
                    <a:cubicBezTo>
                      <a:pt x="0" y="32"/>
                      <a:pt x="1" y="38"/>
                      <a:pt x="3" y="43"/>
                    </a:cubicBezTo>
                    <a:cubicBezTo>
                      <a:pt x="4" y="45"/>
                      <a:pt x="5" y="43"/>
                      <a:pt x="6" y="46"/>
                    </a:cubicBezTo>
                    <a:cubicBezTo>
                      <a:pt x="7" y="47"/>
                      <a:pt x="8" y="48"/>
                      <a:pt x="9" y="50"/>
                    </a:cubicBezTo>
                    <a:cubicBezTo>
                      <a:pt x="9" y="50"/>
                      <a:pt x="10" y="51"/>
                      <a:pt x="10" y="51"/>
                    </a:cubicBezTo>
                    <a:cubicBezTo>
                      <a:pt x="11" y="51"/>
                      <a:pt x="12" y="51"/>
                      <a:pt x="12" y="50"/>
                    </a:cubicBezTo>
                    <a:cubicBezTo>
                      <a:pt x="13" y="49"/>
                      <a:pt x="13" y="48"/>
                      <a:pt x="13" y="47"/>
                    </a:cubicBezTo>
                    <a:cubicBezTo>
                      <a:pt x="13" y="43"/>
                      <a:pt x="13" y="42"/>
                      <a:pt x="14" y="37"/>
                    </a:cubicBezTo>
                    <a:cubicBezTo>
                      <a:pt x="14" y="35"/>
                      <a:pt x="15" y="32"/>
                      <a:pt x="16" y="30"/>
                    </a:cubicBezTo>
                    <a:cubicBezTo>
                      <a:pt x="17" y="29"/>
                      <a:pt x="17" y="28"/>
                      <a:pt x="18" y="27"/>
                    </a:cubicBezTo>
                    <a:cubicBezTo>
                      <a:pt x="20" y="24"/>
                      <a:pt x="20" y="20"/>
                      <a:pt x="19" y="17"/>
                    </a:cubicBezTo>
                    <a:cubicBezTo>
                      <a:pt x="18" y="15"/>
                      <a:pt x="17" y="12"/>
                      <a:pt x="17" y="10"/>
                    </a:cubicBezTo>
                    <a:cubicBezTo>
                      <a:pt x="18" y="7"/>
                      <a:pt x="20" y="4"/>
                      <a:pt x="20" y="0"/>
                    </a:cubicBezTo>
                  </a:path>
                </a:pathLst>
              </a:custGeom>
              <a:solidFill>
                <a:srgbClr val="F9C4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18" name="íṥlíḓé">
                <a:extLst>
                  <a:ext uri="{FF2B5EF4-FFF2-40B4-BE49-F238E27FC236}">
                    <a16:creationId xmlns:a16="http://schemas.microsoft.com/office/drawing/2014/main" id="{D139A2D6-6AFC-497C-BD03-AC6E14894BDC}"/>
                  </a:ext>
                </a:extLst>
              </p:cNvPr>
              <p:cNvSpPr/>
              <p:nvPr/>
            </p:nvSpPr>
            <p:spPr bwMode="auto">
              <a:xfrm>
                <a:off x="7496175" y="3541713"/>
                <a:ext cx="115888" cy="280988"/>
              </a:xfrm>
              <a:custGeom>
                <a:avLst/>
                <a:gdLst>
                  <a:gd name="T0" fmla="*/ 2 w 19"/>
                  <a:gd name="T1" fmla="*/ 5 h 46"/>
                  <a:gd name="T2" fmla="*/ 10 w 19"/>
                  <a:gd name="T3" fmla="*/ 44 h 46"/>
                  <a:gd name="T4" fmla="*/ 13 w 19"/>
                  <a:gd name="T5" fmla="*/ 45 h 46"/>
                  <a:gd name="T6" fmla="*/ 14 w 19"/>
                  <a:gd name="T7" fmla="*/ 45 h 46"/>
                  <a:gd name="T8" fmla="*/ 14 w 19"/>
                  <a:gd name="T9" fmla="*/ 32 h 46"/>
                  <a:gd name="T10" fmla="*/ 13 w 19"/>
                  <a:gd name="T11" fmla="*/ 20 h 46"/>
                  <a:gd name="T12" fmla="*/ 15 w 19"/>
                  <a:gd name="T13" fmla="*/ 28 h 46"/>
                  <a:gd name="T14" fmla="*/ 17 w 19"/>
                  <a:gd name="T15" fmla="*/ 27 h 46"/>
                  <a:gd name="T16" fmla="*/ 18 w 19"/>
                  <a:gd name="T17" fmla="*/ 25 h 46"/>
                  <a:gd name="T18" fmla="*/ 18 w 19"/>
                  <a:gd name="T19" fmla="*/ 18 h 46"/>
                  <a:gd name="T20" fmla="*/ 18 w 19"/>
                  <a:gd name="T21" fmla="*/ 13 h 46"/>
                  <a:gd name="T22" fmla="*/ 14 w 19"/>
                  <a:gd name="T23" fmla="*/ 6 h 46"/>
                  <a:gd name="T24" fmla="*/ 12 w 19"/>
                  <a:gd name="T2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46">
                    <a:moveTo>
                      <a:pt x="2" y="5"/>
                    </a:moveTo>
                    <a:cubicBezTo>
                      <a:pt x="0" y="19"/>
                      <a:pt x="3" y="33"/>
                      <a:pt x="10" y="44"/>
                    </a:cubicBezTo>
                    <a:cubicBezTo>
                      <a:pt x="11" y="45"/>
                      <a:pt x="12" y="46"/>
                      <a:pt x="13" y="45"/>
                    </a:cubicBezTo>
                    <a:cubicBezTo>
                      <a:pt x="14" y="45"/>
                      <a:pt x="14" y="45"/>
                      <a:pt x="14" y="45"/>
                    </a:cubicBezTo>
                    <a:cubicBezTo>
                      <a:pt x="16" y="41"/>
                      <a:pt x="15" y="37"/>
                      <a:pt x="14" y="32"/>
                    </a:cubicBezTo>
                    <a:cubicBezTo>
                      <a:pt x="14" y="28"/>
                      <a:pt x="13" y="24"/>
                      <a:pt x="13" y="20"/>
                    </a:cubicBezTo>
                    <a:cubicBezTo>
                      <a:pt x="14" y="22"/>
                      <a:pt x="15" y="25"/>
                      <a:pt x="15" y="28"/>
                    </a:cubicBezTo>
                    <a:cubicBezTo>
                      <a:pt x="16" y="28"/>
                      <a:pt x="17" y="28"/>
                      <a:pt x="17" y="27"/>
                    </a:cubicBezTo>
                    <a:cubicBezTo>
                      <a:pt x="18" y="26"/>
                      <a:pt x="18" y="25"/>
                      <a:pt x="18" y="25"/>
                    </a:cubicBezTo>
                    <a:cubicBezTo>
                      <a:pt x="18" y="22"/>
                      <a:pt x="18" y="20"/>
                      <a:pt x="18" y="18"/>
                    </a:cubicBezTo>
                    <a:cubicBezTo>
                      <a:pt x="18" y="16"/>
                      <a:pt x="19" y="15"/>
                      <a:pt x="18" y="13"/>
                    </a:cubicBezTo>
                    <a:cubicBezTo>
                      <a:pt x="17" y="10"/>
                      <a:pt x="15" y="8"/>
                      <a:pt x="14" y="6"/>
                    </a:cubicBezTo>
                    <a:cubicBezTo>
                      <a:pt x="13" y="4"/>
                      <a:pt x="12" y="2"/>
                      <a:pt x="12" y="0"/>
                    </a:cubicBezTo>
                  </a:path>
                </a:pathLst>
              </a:custGeom>
              <a:solidFill>
                <a:srgbClr val="F9C4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19" name="ís1íḑê">
                <a:extLst>
                  <a:ext uri="{FF2B5EF4-FFF2-40B4-BE49-F238E27FC236}">
                    <a16:creationId xmlns:a16="http://schemas.microsoft.com/office/drawing/2014/main" id="{ABAC53F4-EB19-4193-AB7A-D6C01B3A34E8}"/>
                  </a:ext>
                </a:extLst>
              </p:cNvPr>
              <p:cNvSpPr/>
              <p:nvPr/>
            </p:nvSpPr>
            <p:spPr bwMode="auto">
              <a:xfrm>
                <a:off x="7372350" y="2397125"/>
                <a:ext cx="434975" cy="1217613"/>
              </a:xfrm>
              <a:custGeom>
                <a:avLst/>
                <a:gdLst>
                  <a:gd name="T0" fmla="*/ 71 w 71"/>
                  <a:gd name="T1" fmla="*/ 0 h 199"/>
                  <a:gd name="T2" fmla="*/ 31 w 71"/>
                  <a:gd name="T3" fmla="*/ 16 h 199"/>
                  <a:gd name="T4" fmla="*/ 3 w 71"/>
                  <a:gd name="T5" fmla="*/ 88 h 199"/>
                  <a:gd name="T6" fmla="*/ 8 w 71"/>
                  <a:gd name="T7" fmla="*/ 147 h 199"/>
                  <a:gd name="T8" fmla="*/ 20 w 71"/>
                  <a:gd name="T9" fmla="*/ 193 h 199"/>
                  <a:gd name="T10" fmla="*/ 35 w 71"/>
                  <a:gd name="T11" fmla="*/ 191 h 199"/>
                  <a:gd name="T12" fmla="*/ 58 w 71"/>
                  <a:gd name="T13" fmla="*/ 24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1" h="199">
                    <a:moveTo>
                      <a:pt x="71" y="0"/>
                    </a:moveTo>
                    <a:cubicBezTo>
                      <a:pt x="57" y="1"/>
                      <a:pt x="41" y="7"/>
                      <a:pt x="31" y="16"/>
                    </a:cubicBezTo>
                    <a:cubicBezTo>
                      <a:pt x="10" y="35"/>
                      <a:pt x="7" y="63"/>
                      <a:pt x="3" y="88"/>
                    </a:cubicBezTo>
                    <a:cubicBezTo>
                      <a:pt x="0" y="107"/>
                      <a:pt x="4" y="128"/>
                      <a:pt x="8" y="147"/>
                    </a:cubicBezTo>
                    <a:cubicBezTo>
                      <a:pt x="11" y="157"/>
                      <a:pt x="17" y="183"/>
                      <a:pt x="20" y="193"/>
                    </a:cubicBezTo>
                    <a:cubicBezTo>
                      <a:pt x="22" y="196"/>
                      <a:pt x="31" y="199"/>
                      <a:pt x="35" y="191"/>
                    </a:cubicBezTo>
                    <a:cubicBezTo>
                      <a:pt x="35" y="139"/>
                      <a:pt x="43" y="74"/>
                      <a:pt x="58" y="24"/>
                    </a:cubicBezTo>
                  </a:path>
                </a:pathLst>
              </a:custGeom>
              <a:solidFill>
                <a:srgbClr val="9ECC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20" name="ïṥlïḋe">
                <a:extLst>
                  <a:ext uri="{FF2B5EF4-FFF2-40B4-BE49-F238E27FC236}">
                    <a16:creationId xmlns:a16="http://schemas.microsoft.com/office/drawing/2014/main" id="{8FA77F79-36CD-4270-B19A-AD32C13EDEAF}"/>
                  </a:ext>
                </a:extLst>
              </p:cNvPr>
              <p:cNvSpPr/>
              <p:nvPr/>
            </p:nvSpPr>
            <p:spPr bwMode="auto">
              <a:xfrm>
                <a:off x="7843838" y="2386013"/>
                <a:ext cx="385763" cy="1266825"/>
              </a:xfrm>
              <a:custGeom>
                <a:avLst/>
                <a:gdLst>
                  <a:gd name="T0" fmla="*/ 26 w 63"/>
                  <a:gd name="T1" fmla="*/ 45 h 207"/>
                  <a:gd name="T2" fmla="*/ 18 w 63"/>
                  <a:gd name="T3" fmla="*/ 125 h 207"/>
                  <a:gd name="T4" fmla="*/ 0 w 63"/>
                  <a:gd name="T5" fmla="*/ 202 h 207"/>
                  <a:gd name="T6" fmla="*/ 12 w 63"/>
                  <a:gd name="T7" fmla="*/ 207 h 207"/>
                  <a:gd name="T8" fmla="*/ 39 w 63"/>
                  <a:gd name="T9" fmla="*/ 167 h 207"/>
                  <a:gd name="T10" fmla="*/ 62 w 63"/>
                  <a:gd name="T11" fmla="*/ 117 h 207"/>
                  <a:gd name="T12" fmla="*/ 63 w 63"/>
                  <a:gd name="T13" fmla="*/ 96 h 207"/>
                  <a:gd name="T14" fmla="*/ 58 w 63"/>
                  <a:gd name="T15" fmla="*/ 50 h 207"/>
                  <a:gd name="T16" fmla="*/ 10 w 63"/>
                  <a:gd name="T17" fmla="*/ 0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3" h="207">
                    <a:moveTo>
                      <a:pt x="26" y="45"/>
                    </a:moveTo>
                    <a:cubicBezTo>
                      <a:pt x="14" y="74"/>
                      <a:pt x="30" y="96"/>
                      <a:pt x="18" y="125"/>
                    </a:cubicBezTo>
                    <a:cubicBezTo>
                      <a:pt x="5" y="155"/>
                      <a:pt x="0" y="202"/>
                      <a:pt x="0" y="202"/>
                    </a:cubicBezTo>
                    <a:cubicBezTo>
                      <a:pt x="0" y="202"/>
                      <a:pt x="6" y="207"/>
                      <a:pt x="12" y="207"/>
                    </a:cubicBezTo>
                    <a:cubicBezTo>
                      <a:pt x="16" y="203"/>
                      <a:pt x="29" y="183"/>
                      <a:pt x="39" y="167"/>
                    </a:cubicBezTo>
                    <a:cubicBezTo>
                      <a:pt x="50" y="152"/>
                      <a:pt x="59" y="135"/>
                      <a:pt x="62" y="117"/>
                    </a:cubicBezTo>
                    <a:cubicBezTo>
                      <a:pt x="63" y="110"/>
                      <a:pt x="63" y="103"/>
                      <a:pt x="63" y="96"/>
                    </a:cubicBezTo>
                    <a:cubicBezTo>
                      <a:pt x="63" y="81"/>
                      <a:pt x="63" y="65"/>
                      <a:pt x="58" y="50"/>
                    </a:cubicBezTo>
                    <a:cubicBezTo>
                      <a:pt x="51" y="27"/>
                      <a:pt x="33" y="8"/>
                      <a:pt x="10" y="0"/>
                    </a:cubicBezTo>
                  </a:path>
                </a:pathLst>
              </a:custGeom>
              <a:solidFill>
                <a:srgbClr val="9ECC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21" name="ï$líďe">
                <a:extLst>
                  <a:ext uri="{FF2B5EF4-FFF2-40B4-BE49-F238E27FC236}">
                    <a16:creationId xmlns:a16="http://schemas.microsoft.com/office/drawing/2014/main" id="{02B13683-55EE-43E4-A4CA-E52C42AF4B90}"/>
                  </a:ext>
                </a:extLst>
              </p:cNvPr>
              <p:cNvSpPr/>
              <p:nvPr/>
            </p:nvSpPr>
            <p:spPr bwMode="auto">
              <a:xfrm>
                <a:off x="7532688" y="2416175"/>
                <a:ext cx="600075" cy="979488"/>
              </a:xfrm>
              <a:custGeom>
                <a:avLst/>
                <a:gdLst>
                  <a:gd name="T0" fmla="*/ 1 w 98"/>
                  <a:gd name="T1" fmla="*/ 59 h 160"/>
                  <a:gd name="T2" fmla="*/ 1 w 98"/>
                  <a:gd name="T3" fmla="*/ 78 h 160"/>
                  <a:gd name="T4" fmla="*/ 5 w 98"/>
                  <a:gd name="T5" fmla="*/ 93 h 160"/>
                  <a:gd name="T6" fmla="*/ 4 w 98"/>
                  <a:gd name="T7" fmla="*/ 135 h 160"/>
                  <a:gd name="T8" fmla="*/ 4 w 98"/>
                  <a:gd name="T9" fmla="*/ 144 h 160"/>
                  <a:gd name="T10" fmla="*/ 79 w 98"/>
                  <a:gd name="T11" fmla="*/ 154 h 160"/>
                  <a:gd name="T12" fmla="*/ 88 w 98"/>
                  <a:gd name="T13" fmla="*/ 141 h 160"/>
                  <a:gd name="T14" fmla="*/ 93 w 98"/>
                  <a:gd name="T15" fmla="*/ 120 h 160"/>
                  <a:gd name="T16" fmla="*/ 95 w 98"/>
                  <a:gd name="T17" fmla="*/ 90 h 160"/>
                  <a:gd name="T18" fmla="*/ 68 w 98"/>
                  <a:gd name="T19" fmla="*/ 2 h 160"/>
                  <a:gd name="T20" fmla="*/ 66 w 98"/>
                  <a:gd name="T21" fmla="*/ 1 h 160"/>
                  <a:gd name="T22" fmla="*/ 61 w 98"/>
                  <a:gd name="T23" fmla="*/ 1 h 160"/>
                  <a:gd name="T24" fmla="*/ 37 w 98"/>
                  <a:gd name="T25" fmla="*/ 2 h 160"/>
                  <a:gd name="T26" fmla="*/ 34 w 98"/>
                  <a:gd name="T27" fmla="*/ 2 h 160"/>
                  <a:gd name="T28" fmla="*/ 32 w 98"/>
                  <a:gd name="T29" fmla="*/ 3 h 160"/>
                  <a:gd name="T30" fmla="*/ 12 w 98"/>
                  <a:gd name="T31" fmla="*/ 29 h 160"/>
                  <a:gd name="T32" fmla="*/ 1 w 98"/>
                  <a:gd name="T33" fmla="*/ 59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8" h="160">
                    <a:moveTo>
                      <a:pt x="1" y="59"/>
                    </a:moveTo>
                    <a:cubicBezTo>
                      <a:pt x="0" y="66"/>
                      <a:pt x="0" y="72"/>
                      <a:pt x="1" y="78"/>
                    </a:cubicBezTo>
                    <a:cubicBezTo>
                      <a:pt x="2" y="84"/>
                      <a:pt x="4" y="88"/>
                      <a:pt x="5" y="93"/>
                    </a:cubicBezTo>
                    <a:cubicBezTo>
                      <a:pt x="9" y="107"/>
                      <a:pt x="6" y="121"/>
                      <a:pt x="4" y="135"/>
                    </a:cubicBezTo>
                    <a:cubicBezTo>
                      <a:pt x="4" y="138"/>
                      <a:pt x="3" y="141"/>
                      <a:pt x="4" y="144"/>
                    </a:cubicBezTo>
                    <a:cubicBezTo>
                      <a:pt x="11" y="160"/>
                      <a:pt x="60" y="159"/>
                      <a:pt x="79" y="154"/>
                    </a:cubicBezTo>
                    <a:cubicBezTo>
                      <a:pt x="90" y="152"/>
                      <a:pt x="83" y="151"/>
                      <a:pt x="88" y="141"/>
                    </a:cubicBezTo>
                    <a:cubicBezTo>
                      <a:pt x="91" y="134"/>
                      <a:pt x="92" y="127"/>
                      <a:pt x="93" y="120"/>
                    </a:cubicBezTo>
                    <a:cubicBezTo>
                      <a:pt x="94" y="110"/>
                      <a:pt x="95" y="100"/>
                      <a:pt x="95" y="90"/>
                    </a:cubicBezTo>
                    <a:cubicBezTo>
                      <a:pt x="98" y="57"/>
                      <a:pt x="95" y="24"/>
                      <a:pt x="68" y="2"/>
                    </a:cubicBezTo>
                    <a:cubicBezTo>
                      <a:pt x="67" y="1"/>
                      <a:pt x="66" y="1"/>
                      <a:pt x="66" y="1"/>
                    </a:cubicBezTo>
                    <a:cubicBezTo>
                      <a:pt x="64" y="0"/>
                      <a:pt x="63" y="1"/>
                      <a:pt x="61" y="1"/>
                    </a:cubicBezTo>
                    <a:cubicBezTo>
                      <a:pt x="54" y="3"/>
                      <a:pt x="45" y="4"/>
                      <a:pt x="37" y="2"/>
                    </a:cubicBezTo>
                    <a:cubicBezTo>
                      <a:pt x="36" y="2"/>
                      <a:pt x="35" y="1"/>
                      <a:pt x="34" y="2"/>
                    </a:cubicBezTo>
                    <a:cubicBezTo>
                      <a:pt x="33" y="2"/>
                      <a:pt x="32" y="3"/>
                      <a:pt x="32" y="3"/>
                    </a:cubicBezTo>
                    <a:cubicBezTo>
                      <a:pt x="24" y="11"/>
                      <a:pt x="19" y="21"/>
                      <a:pt x="12" y="29"/>
                    </a:cubicBezTo>
                    <a:cubicBezTo>
                      <a:pt x="5" y="38"/>
                      <a:pt x="2" y="48"/>
                      <a:pt x="1" y="59"/>
                    </a:cubicBezTo>
                    <a:close/>
                  </a:path>
                </a:pathLst>
              </a:custGeom>
              <a:solidFill>
                <a:srgbClr val="9ECC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>
                  <a:lnSpc>
                    <a:spcPct val="13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22" name="iśļïďê">
                <a:extLst>
                  <a:ext uri="{FF2B5EF4-FFF2-40B4-BE49-F238E27FC236}">
                    <a16:creationId xmlns:a16="http://schemas.microsoft.com/office/drawing/2014/main" id="{20DD42B3-3D1C-49E4-8A24-A2D137F911C1}"/>
                  </a:ext>
                </a:extLst>
              </p:cNvPr>
              <p:cNvSpPr/>
              <p:nvPr/>
            </p:nvSpPr>
            <p:spPr bwMode="auto">
              <a:xfrm>
                <a:off x="7605713" y="1927225"/>
                <a:ext cx="171450" cy="385763"/>
              </a:xfrm>
              <a:custGeom>
                <a:avLst/>
                <a:gdLst>
                  <a:gd name="T0" fmla="*/ 28 w 28"/>
                  <a:gd name="T1" fmla="*/ 33 h 63"/>
                  <a:gd name="T2" fmla="*/ 26 w 28"/>
                  <a:gd name="T3" fmla="*/ 47 h 63"/>
                  <a:gd name="T4" fmla="*/ 20 w 28"/>
                  <a:gd name="T5" fmla="*/ 61 h 63"/>
                  <a:gd name="T6" fmla="*/ 10 w 28"/>
                  <a:gd name="T7" fmla="*/ 63 h 63"/>
                  <a:gd name="T8" fmla="*/ 0 w 28"/>
                  <a:gd name="T9" fmla="*/ 61 h 63"/>
                  <a:gd name="T10" fmla="*/ 2 w 28"/>
                  <a:gd name="T11" fmla="*/ 55 h 63"/>
                  <a:gd name="T12" fmla="*/ 0 w 28"/>
                  <a:gd name="T13" fmla="*/ 27 h 63"/>
                  <a:gd name="T14" fmla="*/ 3 w 28"/>
                  <a:gd name="T15" fmla="*/ 11 h 63"/>
                  <a:gd name="T16" fmla="*/ 17 w 28"/>
                  <a:gd name="T17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" h="63">
                    <a:moveTo>
                      <a:pt x="28" y="33"/>
                    </a:moveTo>
                    <a:cubicBezTo>
                      <a:pt x="27" y="37"/>
                      <a:pt x="27" y="43"/>
                      <a:pt x="26" y="47"/>
                    </a:cubicBezTo>
                    <a:cubicBezTo>
                      <a:pt x="26" y="52"/>
                      <a:pt x="24" y="58"/>
                      <a:pt x="20" y="61"/>
                    </a:cubicBezTo>
                    <a:cubicBezTo>
                      <a:pt x="17" y="63"/>
                      <a:pt x="14" y="63"/>
                      <a:pt x="10" y="63"/>
                    </a:cubicBezTo>
                    <a:cubicBezTo>
                      <a:pt x="7" y="63"/>
                      <a:pt x="3" y="62"/>
                      <a:pt x="0" y="61"/>
                    </a:cubicBezTo>
                    <a:cubicBezTo>
                      <a:pt x="2" y="60"/>
                      <a:pt x="2" y="57"/>
                      <a:pt x="2" y="55"/>
                    </a:cubicBezTo>
                    <a:cubicBezTo>
                      <a:pt x="2" y="46"/>
                      <a:pt x="0" y="37"/>
                      <a:pt x="0" y="27"/>
                    </a:cubicBezTo>
                    <a:cubicBezTo>
                      <a:pt x="0" y="23"/>
                      <a:pt x="1" y="15"/>
                      <a:pt x="3" y="11"/>
                    </a:cubicBezTo>
                    <a:cubicBezTo>
                      <a:pt x="6" y="7"/>
                      <a:pt x="10" y="2"/>
                      <a:pt x="17" y="0"/>
                    </a:cubicBezTo>
                  </a:path>
                </a:pathLst>
              </a:custGeom>
              <a:solidFill>
                <a:srgbClr val="1B22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23" name="îṡļîḑé">
                <a:extLst>
                  <a:ext uri="{FF2B5EF4-FFF2-40B4-BE49-F238E27FC236}">
                    <a16:creationId xmlns:a16="http://schemas.microsoft.com/office/drawing/2014/main" id="{43849314-D621-4B09-B5CA-C472C93486EF}"/>
                  </a:ext>
                </a:extLst>
              </p:cNvPr>
              <p:cNvSpPr/>
              <p:nvPr/>
            </p:nvSpPr>
            <p:spPr bwMode="auto">
              <a:xfrm>
                <a:off x="7753350" y="2214563"/>
                <a:ext cx="188913" cy="250825"/>
              </a:xfrm>
              <a:custGeom>
                <a:avLst/>
                <a:gdLst>
                  <a:gd name="T0" fmla="*/ 7 w 31"/>
                  <a:gd name="T1" fmla="*/ 17 h 41"/>
                  <a:gd name="T2" fmla="*/ 0 w 31"/>
                  <a:gd name="T3" fmla="*/ 32 h 41"/>
                  <a:gd name="T4" fmla="*/ 7 w 31"/>
                  <a:gd name="T5" fmla="*/ 41 h 41"/>
                  <a:gd name="T6" fmla="*/ 31 w 31"/>
                  <a:gd name="T7" fmla="*/ 31 h 41"/>
                  <a:gd name="T8" fmla="*/ 27 w 31"/>
                  <a:gd name="T9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41">
                    <a:moveTo>
                      <a:pt x="7" y="17"/>
                    </a:moveTo>
                    <a:cubicBezTo>
                      <a:pt x="7" y="21"/>
                      <a:pt x="3" y="30"/>
                      <a:pt x="0" y="32"/>
                    </a:cubicBezTo>
                    <a:cubicBezTo>
                      <a:pt x="0" y="37"/>
                      <a:pt x="0" y="41"/>
                      <a:pt x="7" y="41"/>
                    </a:cubicBezTo>
                    <a:cubicBezTo>
                      <a:pt x="14" y="41"/>
                      <a:pt x="25" y="38"/>
                      <a:pt x="31" y="31"/>
                    </a:cubicBezTo>
                    <a:cubicBezTo>
                      <a:pt x="28" y="24"/>
                      <a:pt x="25" y="3"/>
                      <a:pt x="27" y="0"/>
                    </a:cubicBezTo>
                  </a:path>
                </a:pathLst>
              </a:custGeom>
              <a:solidFill>
                <a:srgbClr val="F4B5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24" name="iṡľiḓè">
                <a:extLst>
                  <a:ext uri="{FF2B5EF4-FFF2-40B4-BE49-F238E27FC236}">
                    <a16:creationId xmlns:a16="http://schemas.microsoft.com/office/drawing/2014/main" id="{BDF0DFD4-4AE6-41B7-92D8-94EC8F1D3E9E}"/>
                  </a:ext>
                </a:extLst>
              </p:cNvPr>
              <p:cNvSpPr/>
              <p:nvPr/>
            </p:nvSpPr>
            <p:spPr bwMode="auto">
              <a:xfrm>
                <a:off x="7654925" y="1944688"/>
                <a:ext cx="312738" cy="398463"/>
              </a:xfrm>
              <a:custGeom>
                <a:avLst/>
                <a:gdLst>
                  <a:gd name="T0" fmla="*/ 5 w 51"/>
                  <a:gd name="T1" fmla="*/ 13 h 65"/>
                  <a:gd name="T2" fmla="*/ 3 w 51"/>
                  <a:gd name="T3" fmla="*/ 37 h 65"/>
                  <a:gd name="T4" fmla="*/ 4 w 51"/>
                  <a:gd name="T5" fmla="*/ 50 h 65"/>
                  <a:gd name="T6" fmla="*/ 10 w 51"/>
                  <a:gd name="T7" fmla="*/ 62 h 65"/>
                  <a:gd name="T8" fmla="*/ 21 w 51"/>
                  <a:gd name="T9" fmla="*/ 65 h 65"/>
                  <a:gd name="T10" fmla="*/ 44 w 51"/>
                  <a:gd name="T11" fmla="*/ 51 h 65"/>
                  <a:gd name="T12" fmla="*/ 48 w 51"/>
                  <a:gd name="T13" fmla="*/ 25 h 65"/>
                  <a:gd name="T14" fmla="*/ 44 w 51"/>
                  <a:gd name="T15" fmla="*/ 16 h 65"/>
                  <a:gd name="T16" fmla="*/ 24 w 51"/>
                  <a:gd name="T17" fmla="*/ 1 h 65"/>
                  <a:gd name="T18" fmla="*/ 4 w 51"/>
                  <a:gd name="T19" fmla="*/ 12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" h="65">
                    <a:moveTo>
                      <a:pt x="5" y="13"/>
                    </a:moveTo>
                    <a:cubicBezTo>
                      <a:pt x="0" y="18"/>
                      <a:pt x="1" y="30"/>
                      <a:pt x="3" y="37"/>
                    </a:cubicBezTo>
                    <a:cubicBezTo>
                      <a:pt x="4" y="41"/>
                      <a:pt x="4" y="46"/>
                      <a:pt x="4" y="50"/>
                    </a:cubicBezTo>
                    <a:cubicBezTo>
                      <a:pt x="5" y="55"/>
                      <a:pt x="7" y="60"/>
                      <a:pt x="10" y="62"/>
                    </a:cubicBezTo>
                    <a:cubicBezTo>
                      <a:pt x="13" y="65"/>
                      <a:pt x="17" y="65"/>
                      <a:pt x="21" y="65"/>
                    </a:cubicBezTo>
                    <a:cubicBezTo>
                      <a:pt x="30" y="64"/>
                      <a:pt x="39" y="59"/>
                      <a:pt x="44" y="51"/>
                    </a:cubicBezTo>
                    <a:cubicBezTo>
                      <a:pt x="49" y="44"/>
                      <a:pt x="51" y="34"/>
                      <a:pt x="48" y="25"/>
                    </a:cubicBezTo>
                    <a:cubicBezTo>
                      <a:pt x="47" y="22"/>
                      <a:pt x="46" y="19"/>
                      <a:pt x="44" y="16"/>
                    </a:cubicBezTo>
                    <a:cubicBezTo>
                      <a:pt x="40" y="9"/>
                      <a:pt x="33" y="3"/>
                      <a:pt x="24" y="1"/>
                    </a:cubicBezTo>
                    <a:cubicBezTo>
                      <a:pt x="16" y="0"/>
                      <a:pt x="7" y="4"/>
                      <a:pt x="4" y="12"/>
                    </a:cubicBezTo>
                  </a:path>
                </a:pathLst>
              </a:custGeom>
              <a:solidFill>
                <a:srgbClr val="F9C4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25" name="ïşlïḓê">
                <a:extLst>
                  <a:ext uri="{FF2B5EF4-FFF2-40B4-BE49-F238E27FC236}">
                    <a16:creationId xmlns:a16="http://schemas.microsoft.com/office/drawing/2014/main" id="{81116E5C-AF3E-491E-96E2-518B5FBF997D}"/>
                  </a:ext>
                </a:extLst>
              </p:cNvPr>
              <p:cNvSpPr/>
              <p:nvPr/>
            </p:nvSpPr>
            <p:spPr bwMode="auto">
              <a:xfrm>
                <a:off x="7661275" y="1858963"/>
                <a:ext cx="434975" cy="484188"/>
              </a:xfrm>
              <a:custGeom>
                <a:avLst/>
                <a:gdLst>
                  <a:gd name="T0" fmla="*/ 55 w 71"/>
                  <a:gd name="T1" fmla="*/ 15 h 79"/>
                  <a:gd name="T2" fmla="*/ 43 w 71"/>
                  <a:gd name="T3" fmla="*/ 4 h 79"/>
                  <a:gd name="T4" fmla="*/ 25 w 71"/>
                  <a:gd name="T5" fmla="*/ 1 h 79"/>
                  <a:gd name="T6" fmla="*/ 11 w 71"/>
                  <a:gd name="T7" fmla="*/ 7 h 79"/>
                  <a:gd name="T8" fmla="*/ 7 w 71"/>
                  <a:gd name="T9" fmla="*/ 11 h 79"/>
                  <a:gd name="T10" fmla="*/ 7 w 71"/>
                  <a:gd name="T11" fmla="*/ 11 h 79"/>
                  <a:gd name="T12" fmla="*/ 6 w 71"/>
                  <a:gd name="T13" fmla="*/ 12 h 79"/>
                  <a:gd name="T14" fmla="*/ 4 w 71"/>
                  <a:gd name="T15" fmla="*/ 16 h 79"/>
                  <a:gd name="T16" fmla="*/ 2 w 71"/>
                  <a:gd name="T17" fmla="*/ 20 h 79"/>
                  <a:gd name="T18" fmla="*/ 13 w 71"/>
                  <a:gd name="T19" fmla="*/ 34 h 79"/>
                  <a:gd name="T20" fmla="*/ 19 w 71"/>
                  <a:gd name="T21" fmla="*/ 36 h 79"/>
                  <a:gd name="T22" fmla="*/ 24 w 71"/>
                  <a:gd name="T23" fmla="*/ 37 h 79"/>
                  <a:gd name="T24" fmla="*/ 34 w 71"/>
                  <a:gd name="T25" fmla="*/ 45 h 79"/>
                  <a:gd name="T26" fmla="*/ 37 w 71"/>
                  <a:gd name="T27" fmla="*/ 56 h 79"/>
                  <a:gd name="T28" fmla="*/ 40 w 71"/>
                  <a:gd name="T29" fmla="*/ 45 h 79"/>
                  <a:gd name="T30" fmla="*/ 42 w 71"/>
                  <a:gd name="T31" fmla="*/ 63 h 79"/>
                  <a:gd name="T32" fmla="*/ 41 w 71"/>
                  <a:gd name="T33" fmla="*/ 70 h 79"/>
                  <a:gd name="T34" fmla="*/ 37 w 71"/>
                  <a:gd name="T35" fmla="*/ 77 h 79"/>
                  <a:gd name="T36" fmla="*/ 56 w 71"/>
                  <a:gd name="T37" fmla="*/ 72 h 79"/>
                  <a:gd name="T38" fmla="*/ 55 w 71"/>
                  <a:gd name="T39" fmla="*/ 15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1" h="79">
                    <a:moveTo>
                      <a:pt x="55" y="15"/>
                    </a:moveTo>
                    <a:cubicBezTo>
                      <a:pt x="52" y="11"/>
                      <a:pt x="48" y="7"/>
                      <a:pt x="43" y="4"/>
                    </a:cubicBezTo>
                    <a:cubicBezTo>
                      <a:pt x="38" y="1"/>
                      <a:pt x="31" y="0"/>
                      <a:pt x="25" y="1"/>
                    </a:cubicBezTo>
                    <a:cubicBezTo>
                      <a:pt x="21" y="2"/>
                      <a:pt x="15" y="5"/>
                      <a:pt x="11" y="7"/>
                    </a:cubicBezTo>
                    <a:cubicBezTo>
                      <a:pt x="10" y="8"/>
                      <a:pt x="9" y="9"/>
                      <a:pt x="7" y="11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7" y="11"/>
                      <a:pt x="6" y="11"/>
                      <a:pt x="6" y="12"/>
                    </a:cubicBezTo>
                    <a:cubicBezTo>
                      <a:pt x="5" y="13"/>
                      <a:pt x="4" y="14"/>
                      <a:pt x="4" y="16"/>
                    </a:cubicBezTo>
                    <a:cubicBezTo>
                      <a:pt x="3" y="17"/>
                      <a:pt x="2" y="19"/>
                      <a:pt x="2" y="20"/>
                    </a:cubicBezTo>
                    <a:cubicBezTo>
                      <a:pt x="0" y="27"/>
                      <a:pt x="8" y="32"/>
                      <a:pt x="13" y="34"/>
                    </a:cubicBezTo>
                    <a:cubicBezTo>
                      <a:pt x="15" y="35"/>
                      <a:pt x="17" y="35"/>
                      <a:pt x="19" y="36"/>
                    </a:cubicBezTo>
                    <a:cubicBezTo>
                      <a:pt x="21" y="36"/>
                      <a:pt x="23" y="37"/>
                      <a:pt x="24" y="37"/>
                    </a:cubicBezTo>
                    <a:cubicBezTo>
                      <a:pt x="28" y="39"/>
                      <a:pt x="31" y="41"/>
                      <a:pt x="34" y="45"/>
                    </a:cubicBezTo>
                    <a:cubicBezTo>
                      <a:pt x="36" y="48"/>
                      <a:pt x="37" y="52"/>
                      <a:pt x="37" y="56"/>
                    </a:cubicBezTo>
                    <a:cubicBezTo>
                      <a:pt x="39" y="53"/>
                      <a:pt x="40" y="49"/>
                      <a:pt x="40" y="45"/>
                    </a:cubicBezTo>
                    <a:cubicBezTo>
                      <a:pt x="42" y="51"/>
                      <a:pt x="42" y="57"/>
                      <a:pt x="42" y="63"/>
                    </a:cubicBezTo>
                    <a:cubicBezTo>
                      <a:pt x="42" y="65"/>
                      <a:pt x="42" y="67"/>
                      <a:pt x="41" y="70"/>
                    </a:cubicBezTo>
                    <a:cubicBezTo>
                      <a:pt x="41" y="71"/>
                      <a:pt x="38" y="77"/>
                      <a:pt x="37" y="77"/>
                    </a:cubicBezTo>
                    <a:cubicBezTo>
                      <a:pt x="44" y="79"/>
                      <a:pt x="51" y="76"/>
                      <a:pt x="56" y="72"/>
                    </a:cubicBezTo>
                    <a:cubicBezTo>
                      <a:pt x="71" y="58"/>
                      <a:pt x="64" y="31"/>
                      <a:pt x="55" y="15"/>
                    </a:cubicBezTo>
                    <a:close/>
                  </a:path>
                </a:pathLst>
              </a:custGeom>
              <a:solidFill>
                <a:srgbClr val="1B22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40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26" name="isḷíďé">
                <a:extLst>
                  <a:ext uri="{FF2B5EF4-FFF2-40B4-BE49-F238E27FC236}">
                    <a16:creationId xmlns:a16="http://schemas.microsoft.com/office/drawing/2014/main" id="{FE914183-B831-4F6D-8678-D519EBEE62E8}"/>
                  </a:ext>
                </a:extLst>
              </p:cNvPr>
              <p:cNvSpPr/>
              <p:nvPr/>
            </p:nvSpPr>
            <p:spPr bwMode="auto">
              <a:xfrm>
                <a:off x="7893050" y="2146300"/>
                <a:ext cx="68263" cy="98425"/>
              </a:xfrm>
              <a:custGeom>
                <a:avLst/>
                <a:gdLst>
                  <a:gd name="T0" fmla="*/ 2 w 11"/>
                  <a:gd name="T1" fmla="*/ 4 h 16"/>
                  <a:gd name="T2" fmla="*/ 2 w 11"/>
                  <a:gd name="T3" fmla="*/ 3 h 16"/>
                  <a:gd name="T4" fmla="*/ 5 w 11"/>
                  <a:gd name="T5" fmla="*/ 1 h 16"/>
                  <a:gd name="T6" fmla="*/ 8 w 11"/>
                  <a:gd name="T7" fmla="*/ 1 h 16"/>
                  <a:gd name="T8" fmla="*/ 10 w 11"/>
                  <a:gd name="T9" fmla="*/ 4 h 16"/>
                  <a:gd name="T10" fmla="*/ 7 w 11"/>
                  <a:gd name="T11" fmla="*/ 14 h 16"/>
                  <a:gd name="T12" fmla="*/ 3 w 11"/>
                  <a:gd name="T13" fmla="*/ 16 h 16"/>
                  <a:gd name="T14" fmla="*/ 1 w 11"/>
                  <a:gd name="T15" fmla="*/ 13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16">
                    <a:moveTo>
                      <a:pt x="2" y="4"/>
                    </a:moveTo>
                    <a:cubicBezTo>
                      <a:pt x="1" y="4"/>
                      <a:pt x="2" y="3"/>
                      <a:pt x="2" y="3"/>
                    </a:cubicBezTo>
                    <a:cubicBezTo>
                      <a:pt x="3" y="2"/>
                      <a:pt x="4" y="1"/>
                      <a:pt x="5" y="1"/>
                    </a:cubicBezTo>
                    <a:cubicBezTo>
                      <a:pt x="6" y="0"/>
                      <a:pt x="7" y="0"/>
                      <a:pt x="8" y="1"/>
                    </a:cubicBezTo>
                    <a:cubicBezTo>
                      <a:pt x="9" y="1"/>
                      <a:pt x="10" y="2"/>
                      <a:pt x="10" y="4"/>
                    </a:cubicBezTo>
                    <a:cubicBezTo>
                      <a:pt x="11" y="7"/>
                      <a:pt x="10" y="11"/>
                      <a:pt x="7" y="14"/>
                    </a:cubicBezTo>
                    <a:cubicBezTo>
                      <a:pt x="6" y="15"/>
                      <a:pt x="5" y="16"/>
                      <a:pt x="3" y="16"/>
                    </a:cubicBezTo>
                    <a:cubicBezTo>
                      <a:pt x="2" y="16"/>
                      <a:pt x="0" y="15"/>
                      <a:pt x="1" y="13"/>
                    </a:cubicBezTo>
                  </a:path>
                </a:pathLst>
              </a:custGeom>
              <a:solidFill>
                <a:srgbClr val="F9C4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27" name="ïSļiḍé">
                <a:extLst>
                  <a:ext uri="{FF2B5EF4-FFF2-40B4-BE49-F238E27FC236}">
                    <a16:creationId xmlns:a16="http://schemas.microsoft.com/office/drawing/2014/main" id="{E587F0B2-D802-46EC-B853-BCFD2433B161}"/>
                  </a:ext>
                </a:extLst>
              </p:cNvPr>
              <p:cNvSpPr/>
              <p:nvPr/>
            </p:nvSpPr>
            <p:spPr bwMode="auto">
              <a:xfrm>
                <a:off x="7727950" y="2257425"/>
                <a:ext cx="79375" cy="42863"/>
              </a:xfrm>
              <a:custGeom>
                <a:avLst/>
                <a:gdLst>
                  <a:gd name="T0" fmla="*/ 1 w 13"/>
                  <a:gd name="T1" fmla="*/ 0 h 7"/>
                  <a:gd name="T2" fmla="*/ 5 w 13"/>
                  <a:gd name="T3" fmla="*/ 6 h 7"/>
                  <a:gd name="T4" fmla="*/ 13 w 13"/>
                  <a:gd name="T5" fmla="*/ 1 h 7"/>
                  <a:gd name="T6" fmla="*/ 1 w 13"/>
                  <a:gd name="T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7">
                    <a:moveTo>
                      <a:pt x="1" y="0"/>
                    </a:moveTo>
                    <a:cubicBezTo>
                      <a:pt x="0" y="1"/>
                      <a:pt x="1" y="5"/>
                      <a:pt x="5" y="6"/>
                    </a:cubicBezTo>
                    <a:cubicBezTo>
                      <a:pt x="8" y="7"/>
                      <a:pt x="13" y="4"/>
                      <a:pt x="13" y="1"/>
                    </a:cubicBezTo>
                    <a:cubicBezTo>
                      <a:pt x="12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E588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28" name="ïṥlíḑe">
                <a:extLst>
                  <a:ext uri="{FF2B5EF4-FFF2-40B4-BE49-F238E27FC236}">
                    <a16:creationId xmlns:a16="http://schemas.microsoft.com/office/drawing/2014/main" id="{9BC478BB-7944-4ABE-89AD-DC5CAE6EA7BB}"/>
                  </a:ext>
                </a:extLst>
              </p:cNvPr>
              <p:cNvSpPr/>
              <p:nvPr/>
            </p:nvSpPr>
            <p:spPr bwMode="auto">
              <a:xfrm>
                <a:off x="7740650" y="2189163"/>
                <a:ext cx="17463" cy="42863"/>
              </a:xfrm>
              <a:custGeom>
                <a:avLst/>
                <a:gdLst>
                  <a:gd name="T0" fmla="*/ 3 w 3"/>
                  <a:gd name="T1" fmla="*/ 0 h 7"/>
                  <a:gd name="T2" fmla="*/ 0 w 3"/>
                  <a:gd name="T3" fmla="*/ 4 h 7"/>
                  <a:gd name="T4" fmla="*/ 2 w 3"/>
                  <a:gd name="T5" fmla="*/ 7 h 7"/>
                  <a:gd name="T6" fmla="*/ 2 w 3"/>
                  <a:gd name="T7" fmla="*/ 6 h 7"/>
                  <a:gd name="T8" fmla="*/ 1 w 3"/>
                  <a:gd name="T9" fmla="*/ 3 h 7"/>
                  <a:gd name="T10" fmla="*/ 2 w 3"/>
                  <a:gd name="T11" fmla="*/ 2 h 7"/>
                  <a:gd name="T12" fmla="*/ 3 w 3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7">
                    <a:moveTo>
                      <a:pt x="3" y="0"/>
                    </a:moveTo>
                    <a:cubicBezTo>
                      <a:pt x="2" y="2"/>
                      <a:pt x="0" y="2"/>
                      <a:pt x="0" y="4"/>
                    </a:cubicBezTo>
                    <a:cubicBezTo>
                      <a:pt x="0" y="5"/>
                      <a:pt x="1" y="6"/>
                      <a:pt x="2" y="7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5"/>
                      <a:pt x="0" y="4"/>
                      <a:pt x="1" y="3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3" y="1"/>
                      <a:pt x="3" y="1"/>
                      <a:pt x="3" y="0"/>
                    </a:cubicBezTo>
                    <a:close/>
                  </a:path>
                </a:pathLst>
              </a:custGeom>
              <a:solidFill>
                <a:srgbClr val="E588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29" name="i$1îḑê">
                <a:extLst>
                  <a:ext uri="{FF2B5EF4-FFF2-40B4-BE49-F238E27FC236}">
                    <a16:creationId xmlns:a16="http://schemas.microsoft.com/office/drawing/2014/main" id="{56C1D49F-1877-4001-AD56-0F59D8142209}"/>
                  </a:ext>
                </a:extLst>
              </p:cNvPr>
              <p:cNvSpPr/>
              <p:nvPr/>
            </p:nvSpPr>
            <p:spPr bwMode="auto">
              <a:xfrm>
                <a:off x="7678738" y="2122488"/>
                <a:ext cx="36513" cy="55563"/>
              </a:xfrm>
              <a:custGeom>
                <a:avLst/>
                <a:gdLst>
                  <a:gd name="T0" fmla="*/ 1 w 6"/>
                  <a:gd name="T1" fmla="*/ 2 h 9"/>
                  <a:gd name="T2" fmla="*/ 5 w 6"/>
                  <a:gd name="T3" fmla="*/ 3 h 9"/>
                  <a:gd name="T4" fmla="*/ 4 w 6"/>
                  <a:gd name="T5" fmla="*/ 8 h 9"/>
                  <a:gd name="T6" fmla="*/ 1 w 6"/>
                  <a:gd name="T7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9">
                    <a:moveTo>
                      <a:pt x="1" y="2"/>
                    </a:moveTo>
                    <a:cubicBezTo>
                      <a:pt x="2" y="1"/>
                      <a:pt x="4" y="0"/>
                      <a:pt x="5" y="3"/>
                    </a:cubicBezTo>
                    <a:cubicBezTo>
                      <a:pt x="6" y="5"/>
                      <a:pt x="6" y="8"/>
                      <a:pt x="4" y="8"/>
                    </a:cubicBezTo>
                    <a:cubicBezTo>
                      <a:pt x="0" y="9"/>
                      <a:pt x="0" y="4"/>
                      <a:pt x="1" y="2"/>
                    </a:cubicBezTo>
                    <a:close/>
                  </a:path>
                </a:pathLst>
              </a:custGeom>
              <a:solidFill>
                <a:srgbClr val="1B22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30" name="îšľïḑê">
                <a:extLst>
                  <a:ext uri="{FF2B5EF4-FFF2-40B4-BE49-F238E27FC236}">
                    <a16:creationId xmlns:a16="http://schemas.microsoft.com/office/drawing/2014/main" id="{D4505446-8CF0-4DC8-88A0-10EF89CBBBA0}"/>
                  </a:ext>
                </a:extLst>
              </p:cNvPr>
              <p:cNvSpPr/>
              <p:nvPr/>
            </p:nvSpPr>
            <p:spPr bwMode="auto">
              <a:xfrm>
                <a:off x="7685088" y="2141538"/>
                <a:ext cx="12700" cy="23813"/>
              </a:xfrm>
              <a:custGeom>
                <a:avLst/>
                <a:gdLst>
                  <a:gd name="T0" fmla="*/ 0 w 2"/>
                  <a:gd name="T1" fmla="*/ 1 h 4"/>
                  <a:gd name="T2" fmla="*/ 2 w 2"/>
                  <a:gd name="T3" fmla="*/ 1 h 4"/>
                  <a:gd name="T4" fmla="*/ 1 w 2"/>
                  <a:gd name="T5" fmla="*/ 3 h 4"/>
                  <a:gd name="T6" fmla="*/ 0 w 2"/>
                  <a:gd name="T7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4">
                    <a:moveTo>
                      <a:pt x="0" y="1"/>
                    </a:moveTo>
                    <a:cubicBezTo>
                      <a:pt x="1" y="0"/>
                      <a:pt x="1" y="0"/>
                      <a:pt x="2" y="1"/>
                    </a:cubicBezTo>
                    <a:cubicBezTo>
                      <a:pt x="2" y="2"/>
                      <a:pt x="2" y="3"/>
                      <a:pt x="1" y="3"/>
                    </a:cubicBezTo>
                    <a:cubicBezTo>
                      <a:pt x="0" y="4"/>
                      <a:pt x="0" y="2"/>
                      <a:pt x="0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31" name="i$ļîḑê">
                <a:extLst>
                  <a:ext uri="{FF2B5EF4-FFF2-40B4-BE49-F238E27FC236}">
                    <a16:creationId xmlns:a16="http://schemas.microsoft.com/office/drawing/2014/main" id="{D4F36581-44BC-4E2C-8C58-25F4608BB579}"/>
                  </a:ext>
                </a:extLst>
              </p:cNvPr>
              <p:cNvSpPr/>
              <p:nvPr/>
            </p:nvSpPr>
            <p:spPr bwMode="auto">
              <a:xfrm>
                <a:off x="7678738" y="2073275"/>
                <a:ext cx="55563" cy="30163"/>
              </a:xfrm>
              <a:custGeom>
                <a:avLst/>
                <a:gdLst>
                  <a:gd name="T0" fmla="*/ 9 w 9"/>
                  <a:gd name="T1" fmla="*/ 5 h 5"/>
                  <a:gd name="T2" fmla="*/ 0 w 9"/>
                  <a:gd name="T3" fmla="*/ 4 h 5"/>
                  <a:gd name="T4" fmla="*/ 0 w 9"/>
                  <a:gd name="T5" fmla="*/ 4 h 5"/>
                  <a:gd name="T6" fmla="*/ 4 w 9"/>
                  <a:gd name="T7" fmla="*/ 3 h 5"/>
                  <a:gd name="T8" fmla="*/ 8 w 9"/>
                  <a:gd name="T9" fmla="*/ 5 h 5"/>
                  <a:gd name="T10" fmla="*/ 9 w 9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5">
                    <a:moveTo>
                      <a:pt x="9" y="5"/>
                    </a:moveTo>
                    <a:cubicBezTo>
                      <a:pt x="7" y="2"/>
                      <a:pt x="1" y="0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2" y="4"/>
                      <a:pt x="3" y="3"/>
                      <a:pt x="4" y="3"/>
                    </a:cubicBezTo>
                    <a:cubicBezTo>
                      <a:pt x="6" y="4"/>
                      <a:pt x="7" y="4"/>
                      <a:pt x="8" y="5"/>
                    </a:cubicBezTo>
                    <a:lnTo>
                      <a:pt x="9" y="5"/>
                    </a:lnTo>
                    <a:close/>
                  </a:path>
                </a:pathLst>
              </a:custGeom>
              <a:solidFill>
                <a:srgbClr val="1B22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32" name="ï$ļiďè">
                <a:extLst>
                  <a:ext uri="{FF2B5EF4-FFF2-40B4-BE49-F238E27FC236}">
                    <a16:creationId xmlns:a16="http://schemas.microsoft.com/office/drawing/2014/main" id="{34AA9568-8785-4A2B-99A3-72D1EE220B45}"/>
                  </a:ext>
                </a:extLst>
              </p:cNvPr>
              <p:cNvSpPr/>
              <p:nvPr/>
            </p:nvSpPr>
            <p:spPr bwMode="auto">
              <a:xfrm>
                <a:off x="7813675" y="2122488"/>
                <a:ext cx="42863" cy="55563"/>
              </a:xfrm>
              <a:custGeom>
                <a:avLst/>
                <a:gdLst>
                  <a:gd name="T0" fmla="*/ 2 w 7"/>
                  <a:gd name="T1" fmla="*/ 1 h 9"/>
                  <a:gd name="T2" fmla="*/ 6 w 7"/>
                  <a:gd name="T3" fmla="*/ 3 h 9"/>
                  <a:gd name="T4" fmla="*/ 4 w 7"/>
                  <a:gd name="T5" fmla="*/ 8 h 9"/>
                  <a:gd name="T6" fmla="*/ 2 w 7"/>
                  <a:gd name="T7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9">
                    <a:moveTo>
                      <a:pt x="2" y="1"/>
                    </a:moveTo>
                    <a:cubicBezTo>
                      <a:pt x="3" y="0"/>
                      <a:pt x="4" y="0"/>
                      <a:pt x="6" y="3"/>
                    </a:cubicBezTo>
                    <a:cubicBezTo>
                      <a:pt x="6" y="4"/>
                      <a:pt x="7" y="8"/>
                      <a:pt x="4" y="8"/>
                    </a:cubicBezTo>
                    <a:cubicBezTo>
                      <a:pt x="0" y="9"/>
                      <a:pt x="0" y="4"/>
                      <a:pt x="2" y="1"/>
                    </a:cubicBezTo>
                    <a:close/>
                  </a:path>
                </a:pathLst>
              </a:custGeom>
              <a:solidFill>
                <a:srgbClr val="1B22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33" name="is1ïde">
                <a:extLst>
                  <a:ext uri="{FF2B5EF4-FFF2-40B4-BE49-F238E27FC236}">
                    <a16:creationId xmlns:a16="http://schemas.microsoft.com/office/drawing/2014/main" id="{D68C6A7F-0DCD-4249-8767-EE3CC52DA1A4}"/>
                  </a:ext>
                </a:extLst>
              </p:cNvPr>
              <p:cNvSpPr/>
              <p:nvPr/>
            </p:nvSpPr>
            <p:spPr bwMode="auto">
              <a:xfrm>
                <a:off x="7820025" y="2135188"/>
                <a:ext cx="19050" cy="23813"/>
              </a:xfrm>
              <a:custGeom>
                <a:avLst/>
                <a:gdLst>
                  <a:gd name="T0" fmla="*/ 1 w 3"/>
                  <a:gd name="T1" fmla="*/ 1 h 4"/>
                  <a:gd name="T2" fmla="*/ 2 w 3"/>
                  <a:gd name="T3" fmla="*/ 2 h 4"/>
                  <a:gd name="T4" fmla="*/ 2 w 3"/>
                  <a:gd name="T5" fmla="*/ 4 h 4"/>
                  <a:gd name="T6" fmla="*/ 1 w 3"/>
                  <a:gd name="T7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4">
                    <a:moveTo>
                      <a:pt x="1" y="1"/>
                    </a:moveTo>
                    <a:cubicBezTo>
                      <a:pt x="1" y="0"/>
                      <a:pt x="2" y="0"/>
                      <a:pt x="2" y="2"/>
                    </a:cubicBezTo>
                    <a:cubicBezTo>
                      <a:pt x="3" y="2"/>
                      <a:pt x="3" y="4"/>
                      <a:pt x="2" y="4"/>
                    </a:cubicBezTo>
                    <a:cubicBezTo>
                      <a:pt x="0" y="4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34" name="íṥliḑè">
                <a:extLst>
                  <a:ext uri="{FF2B5EF4-FFF2-40B4-BE49-F238E27FC236}">
                    <a16:creationId xmlns:a16="http://schemas.microsoft.com/office/drawing/2014/main" id="{B7CCEBDE-6135-4D8F-88BD-F6D62F9102D3}"/>
                  </a:ext>
                </a:extLst>
              </p:cNvPr>
              <p:cNvSpPr/>
              <p:nvPr/>
            </p:nvSpPr>
            <p:spPr bwMode="auto">
              <a:xfrm>
                <a:off x="7800975" y="2092325"/>
                <a:ext cx="74613" cy="30163"/>
              </a:xfrm>
              <a:custGeom>
                <a:avLst/>
                <a:gdLst>
                  <a:gd name="T0" fmla="*/ 0 w 12"/>
                  <a:gd name="T1" fmla="*/ 2 h 5"/>
                  <a:gd name="T2" fmla="*/ 6 w 12"/>
                  <a:gd name="T3" fmla="*/ 2 h 5"/>
                  <a:gd name="T4" fmla="*/ 11 w 12"/>
                  <a:gd name="T5" fmla="*/ 5 h 5"/>
                  <a:gd name="T6" fmla="*/ 12 w 12"/>
                  <a:gd name="T7" fmla="*/ 5 h 5"/>
                  <a:gd name="T8" fmla="*/ 0 w 12"/>
                  <a:gd name="T9" fmla="*/ 1 h 5"/>
                  <a:gd name="T10" fmla="*/ 0 w 12"/>
                  <a:gd name="T11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5">
                    <a:moveTo>
                      <a:pt x="0" y="2"/>
                    </a:moveTo>
                    <a:cubicBezTo>
                      <a:pt x="2" y="2"/>
                      <a:pt x="4" y="2"/>
                      <a:pt x="6" y="2"/>
                    </a:cubicBezTo>
                    <a:cubicBezTo>
                      <a:pt x="8" y="3"/>
                      <a:pt x="9" y="4"/>
                      <a:pt x="11" y="5"/>
                    </a:cubicBezTo>
                    <a:cubicBezTo>
                      <a:pt x="11" y="5"/>
                      <a:pt x="12" y="5"/>
                      <a:pt x="12" y="5"/>
                    </a:cubicBezTo>
                    <a:cubicBezTo>
                      <a:pt x="10" y="0"/>
                      <a:pt x="3" y="0"/>
                      <a:pt x="0" y="1"/>
                    </a:cubicBezTo>
                    <a:cubicBezTo>
                      <a:pt x="0" y="1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rgbClr val="1B22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35" name="ïṣļïḓe">
                <a:extLst>
                  <a:ext uri="{FF2B5EF4-FFF2-40B4-BE49-F238E27FC236}">
                    <a16:creationId xmlns:a16="http://schemas.microsoft.com/office/drawing/2014/main" id="{20F1738C-4286-4F43-8D0A-A6A331349DB8}"/>
                  </a:ext>
                </a:extLst>
              </p:cNvPr>
              <p:cNvSpPr/>
              <p:nvPr/>
            </p:nvSpPr>
            <p:spPr bwMode="auto">
              <a:xfrm>
                <a:off x="7789863" y="2189163"/>
                <a:ext cx="73025" cy="55563"/>
              </a:xfrm>
              <a:custGeom>
                <a:avLst/>
                <a:gdLst>
                  <a:gd name="T0" fmla="*/ 0 w 12"/>
                  <a:gd name="T1" fmla="*/ 5 h 9"/>
                  <a:gd name="T2" fmla="*/ 2 w 12"/>
                  <a:gd name="T3" fmla="*/ 2 h 9"/>
                  <a:gd name="T4" fmla="*/ 10 w 12"/>
                  <a:gd name="T5" fmla="*/ 0 h 9"/>
                  <a:gd name="T6" fmla="*/ 12 w 12"/>
                  <a:gd name="T7" fmla="*/ 2 h 9"/>
                  <a:gd name="T8" fmla="*/ 12 w 12"/>
                  <a:gd name="T9" fmla="*/ 5 h 9"/>
                  <a:gd name="T10" fmla="*/ 6 w 12"/>
                  <a:gd name="T11" fmla="*/ 9 h 9"/>
                  <a:gd name="T12" fmla="*/ 0 w 12"/>
                  <a:gd name="T13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9">
                    <a:moveTo>
                      <a:pt x="0" y="5"/>
                    </a:moveTo>
                    <a:cubicBezTo>
                      <a:pt x="0" y="4"/>
                      <a:pt x="1" y="3"/>
                      <a:pt x="2" y="2"/>
                    </a:cubicBezTo>
                    <a:cubicBezTo>
                      <a:pt x="4" y="0"/>
                      <a:pt x="7" y="0"/>
                      <a:pt x="10" y="0"/>
                    </a:cubicBezTo>
                    <a:cubicBezTo>
                      <a:pt x="11" y="1"/>
                      <a:pt x="12" y="1"/>
                      <a:pt x="12" y="2"/>
                    </a:cubicBezTo>
                    <a:cubicBezTo>
                      <a:pt x="12" y="3"/>
                      <a:pt x="12" y="4"/>
                      <a:pt x="12" y="5"/>
                    </a:cubicBezTo>
                    <a:cubicBezTo>
                      <a:pt x="11" y="7"/>
                      <a:pt x="9" y="9"/>
                      <a:pt x="6" y="9"/>
                    </a:cubicBezTo>
                    <a:cubicBezTo>
                      <a:pt x="4" y="9"/>
                      <a:pt x="1" y="7"/>
                      <a:pt x="0" y="5"/>
                    </a:cubicBezTo>
                    <a:close/>
                  </a:path>
                </a:pathLst>
              </a:custGeom>
              <a:solidFill>
                <a:srgbClr val="F9AF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36" name="işľîde">
                <a:extLst>
                  <a:ext uri="{FF2B5EF4-FFF2-40B4-BE49-F238E27FC236}">
                    <a16:creationId xmlns:a16="http://schemas.microsoft.com/office/drawing/2014/main" id="{6948BDA1-3E87-48E9-B1F9-28674BE4D650}"/>
                  </a:ext>
                </a:extLst>
              </p:cNvPr>
              <p:cNvSpPr/>
              <p:nvPr/>
            </p:nvSpPr>
            <p:spPr bwMode="auto">
              <a:xfrm>
                <a:off x="7685088" y="2184400"/>
                <a:ext cx="42863" cy="47625"/>
              </a:xfrm>
              <a:custGeom>
                <a:avLst/>
                <a:gdLst>
                  <a:gd name="T0" fmla="*/ 0 w 7"/>
                  <a:gd name="T1" fmla="*/ 4 h 8"/>
                  <a:gd name="T2" fmla="*/ 1 w 7"/>
                  <a:gd name="T3" fmla="*/ 2 h 8"/>
                  <a:gd name="T4" fmla="*/ 5 w 7"/>
                  <a:gd name="T5" fmla="*/ 1 h 8"/>
                  <a:gd name="T6" fmla="*/ 7 w 7"/>
                  <a:gd name="T7" fmla="*/ 3 h 8"/>
                  <a:gd name="T8" fmla="*/ 7 w 7"/>
                  <a:gd name="T9" fmla="*/ 4 h 8"/>
                  <a:gd name="T10" fmla="*/ 3 w 7"/>
                  <a:gd name="T11" fmla="*/ 8 h 8"/>
                  <a:gd name="T12" fmla="*/ 0 w 7"/>
                  <a:gd name="T13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8">
                    <a:moveTo>
                      <a:pt x="0" y="4"/>
                    </a:moveTo>
                    <a:cubicBezTo>
                      <a:pt x="0" y="4"/>
                      <a:pt x="0" y="3"/>
                      <a:pt x="1" y="2"/>
                    </a:cubicBezTo>
                    <a:cubicBezTo>
                      <a:pt x="2" y="1"/>
                      <a:pt x="4" y="0"/>
                      <a:pt x="5" y="1"/>
                    </a:cubicBezTo>
                    <a:cubicBezTo>
                      <a:pt x="6" y="1"/>
                      <a:pt x="6" y="2"/>
                      <a:pt x="7" y="3"/>
                    </a:cubicBezTo>
                    <a:cubicBezTo>
                      <a:pt x="7" y="3"/>
                      <a:pt x="7" y="4"/>
                      <a:pt x="7" y="4"/>
                    </a:cubicBezTo>
                    <a:cubicBezTo>
                      <a:pt x="6" y="6"/>
                      <a:pt x="5" y="8"/>
                      <a:pt x="3" y="8"/>
                    </a:cubicBezTo>
                    <a:cubicBezTo>
                      <a:pt x="2" y="8"/>
                      <a:pt x="0" y="6"/>
                      <a:pt x="0" y="4"/>
                    </a:cubicBezTo>
                    <a:close/>
                  </a:path>
                </a:pathLst>
              </a:custGeom>
              <a:solidFill>
                <a:srgbClr val="F9AF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37" name="ï$ḻíḋè">
                <a:extLst>
                  <a:ext uri="{FF2B5EF4-FFF2-40B4-BE49-F238E27FC236}">
                    <a16:creationId xmlns:a16="http://schemas.microsoft.com/office/drawing/2014/main" id="{B2D7EF71-19E0-45B4-A433-0CDEFD4AD776}"/>
                  </a:ext>
                </a:extLst>
              </p:cNvPr>
              <p:cNvSpPr/>
              <p:nvPr/>
            </p:nvSpPr>
            <p:spPr bwMode="auto">
              <a:xfrm>
                <a:off x="7507288" y="2636838"/>
                <a:ext cx="92075" cy="623888"/>
              </a:xfrm>
              <a:custGeom>
                <a:avLst/>
                <a:gdLst>
                  <a:gd name="T0" fmla="*/ 10 w 15"/>
                  <a:gd name="T1" fmla="*/ 1 h 102"/>
                  <a:gd name="T2" fmla="*/ 4 w 15"/>
                  <a:gd name="T3" fmla="*/ 42 h 102"/>
                  <a:gd name="T4" fmla="*/ 11 w 15"/>
                  <a:gd name="T5" fmla="*/ 72 h 102"/>
                  <a:gd name="T6" fmla="*/ 9 w 15"/>
                  <a:gd name="T7" fmla="*/ 101 h 102"/>
                  <a:gd name="T8" fmla="*/ 11 w 15"/>
                  <a:gd name="T9" fmla="*/ 101 h 102"/>
                  <a:gd name="T10" fmla="*/ 11 w 15"/>
                  <a:gd name="T11" fmla="*/ 56 h 102"/>
                  <a:gd name="T12" fmla="*/ 4 w 15"/>
                  <a:gd name="T13" fmla="*/ 32 h 102"/>
                  <a:gd name="T14" fmla="*/ 11 w 15"/>
                  <a:gd name="T15" fmla="*/ 2 h 102"/>
                  <a:gd name="T16" fmla="*/ 10 w 15"/>
                  <a:gd name="T17" fmla="*/ 1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102">
                    <a:moveTo>
                      <a:pt x="10" y="1"/>
                    </a:moveTo>
                    <a:cubicBezTo>
                      <a:pt x="2" y="13"/>
                      <a:pt x="0" y="28"/>
                      <a:pt x="4" y="42"/>
                    </a:cubicBezTo>
                    <a:cubicBezTo>
                      <a:pt x="7" y="52"/>
                      <a:pt x="11" y="61"/>
                      <a:pt x="11" y="72"/>
                    </a:cubicBezTo>
                    <a:cubicBezTo>
                      <a:pt x="12" y="82"/>
                      <a:pt x="10" y="91"/>
                      <a:pt x="9" y="101"/>
                    </a:cubicBezTo>
                    <a:cubicBezTo>
                      <a:pt x="9" y="102"/>
                      <a:pt x="10" y="102"/>
                      <a:pt x="11" y="101"/>
                    </a:cubicBezTo>
                    <a:cubicBezTo>
                      <a:pt x="14" y="87"/>
                      <a:pt x="15" y="70"/>
                      <a:pt x="11" y="56"/>
                    </a:cubicBezTo>
                    <a:cubicBezTo>
                      <a:pt x="9" y="47"/>
                      <a:pt x="5" y="40"/>
                      <a:pt x="4" y="32"/>
                    </a:cubicBezTo>
                    <a:cubicBezTo>
                      <a:pt x="3" y="21"/>
                      <a:pt x="6" y="11"/>
                      <a:pt x="11" y="2"/>
                    </a:cubicBezTo>
                    <a:cubicBezTo>
                      <a:pt x="11" y="1"/>
                      <a:pt x="10" y="0"/>
                      <a:pt x="10" y="1"/>
                    </a:cubicBezTo>
                    <a:close/>
                  </a:path>
                </a:pathLst>
              </a:custGeom>
              <a:solidFill>
                <a:srgbClr val="73B5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625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38" name="î$lîḍè">
                <a:extLst>
                  <a:ext uri="{FF2B5EF4-FFF2-40B4-BE49-F238E27FC236}">
                    <a16:creationId xmlns:a16="http://schemas.microsoft.com/office/drawing/2014/main" id="{13EF2E0A-B505-40A6-8825-146C630A6A20}"/>
                  </a:ext>
                </a:extLst>
              </p:cNvPr>
              <p:cNvSpPr/>
              <p:nvPr/>
            </p:nvSpPr>
            <p:spPr bwMode="auto">
              <a:xfrm>
                <a:off x="7886700" y="2733675"/>
                <a:ext cx="80963" cy="668338"/>
              </a:xfrm>
              <a:custGeom>
                <a:avLst/>
                <a:gdLst>
                  <a:gd name="T0" fmla="*/ 9 w 13"/>
                  <a:gd name="T1" fmla="*/ 1 h 109"/>
                  <a:gd name="T2" fmla="*/ 10 w 13"/>
                  <a:gd name="T3" fmla="*/ 52 h 109"/>
                  <a:gd name="T4" fmla="*/ 1 w 13"/>
                  <a:gd name="T5" fmla="*/ 107 h 109"/>
                  <a:gd name="T6" fmla="*/ 2 w 13"/>
                  <a:gd name="T7" fmla="*/ 108 h 109"/>
                  <a:gd name="T8" fmla="*/ 12 w 13"/>
                  <a:gd name="T9" fmla="*/ 57 h 109"/>
                  <a:gd name="T10" fmla="*/ 10 w 13"/>
                  <a:gd name="T11" fmla="*/ 1 h 109"/>
                  <a:gd name="T12" fmla="*/ 9 w 13"/>
                  <a:gd name="T13" fmla="*/ 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109">
                    <a:moveTo>
                      <a:pt x="9" y="1"/>
                    </a:moveTo>
                    <a:cubicBezTo>
                      <a:pt x="6" y="18"/>
                      <a:pt x="10" y="35"/>
                      <a:pt x="10" y="52"/>
                    </a:cubicBezTo>
                    <a:cubicBezTo>
                      <a:pt x="11" y="71"/>
                      <a:pt x="3" y="89"/>
                      <a:pt x="1" y="107"/>
                    </a:cubicBezTo>
                    <a:cubicBezTo>
                      <a:pt x="0" y="108"/>
                      <a:pt x="2" y="109"/>
                      <a:pt x="2" y="108"/>
                    </a:cubicBezTo>
                    <a:cubicBezTo>
                      <a:pt x="7" y="92"/>
                      <a:pt x="12" y="74"/>
                      <a:pt x="12" y="57"/>
                    </a:cubicBezTo>
                    <a:cubicBezTo>
                      <a:pt x="13" y="38"/>
                      <a:pt x="8" y="20"/>
                      <a:pt x="10" y="1"/>
                    </a:cubicBezTo>
                    <a:cubicBezTo>
                      <a:pt x="10" y="0"/>
                      <a:pt x="9" y="0"/>
                      <a:pt x="9" y="1"/>
                    </a:cubicBezTo>
                    <a:close/>
                  </a:path>
                </a:pathLst>
              </a:custGeom>
              <a:solidFill>
                <a:srgbClr val="73B5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625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39" name="ïṧḷiḍe">
                <a:extLst>
                  <a:ext uri="{FF2B5EF4-FFF2-40B4-BE49-F238E27FC236}">
                    <a16:creationId xmlns:a16="http://schemas.microsoft.com/office/drawing/2014/main" id="{9DB77309-2D97-4061-80EA-74BCAB2D163F}"/>
                  </a:ext>
                </a:extLst>
              </p:cNvPr>
              <p:cNvSpPr/>
              <p:nvPr/>
            </p:nvSpPr>
            <p:spPr bwMode="auto">
              <a:xfrm>
                <a:off x="7783513" y="2360613"/>
                <a:ext cx="184150" cy="214313"/>
              </a:xfrm>
              <a:custGeom>
                <a:avLst/>
                <a:gdLst>
                  <a:gd name="T0" fmla="*/ 24 w 30"/>
                  <a:gd name="T1" fmla="*/ 1 h 35"/>
                  <a:gd name="T2" fmla="*/ 0 w 30"/>
                  <a:gd name="T3" fmla="*/ 17 h 35"/>
                  <a:gd name="T4" fmla="*/ 9 w 30"/>
                  <a:gd name="T5" fmla="*/ 35 h 35"/>
                  <a:gd name="T6" fmla="*/ 30 w 30"/>
                  <a:gd name="T7" fmla="*/ 8 h 35"/>
                  <a:gd name="T8" fmla="*/ 25 w 30"/>
                  <a:gd name="T9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35">
                    <a:moveTo>
                      <a:pt x="24" y="1"/>
                    </a:moveTo>
                    <a:cubicBezTo>
                      <a:pt x="17" y="7"/>
                      <a:pt x="9" y="13"/>
                      <a:pt x="0" y="17"/>
                    </a:cubicBezTo>
                    <a:cubicBezTo>
                      <a:pt x="5" y="23"/>
                      <a:pt x="7" y="28"/>
                      <a:pt x="9" y="35"/>
                    </a:cubicBezTo>
                    <a:cubicBezTo>
                      <a:pt x="17" y="27"/>
                      <a:pt x="28" y="15"/>
                      <a:pt x="30" y="8"/>
                    </a:cubicBezTo>
                    <a:cubicBezTo>
                      <a:pt x="28" y="4"/>
                      <a:pt x="27" y="2"/>
                      <a:pt x="25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40" name="îşļiďe">
                <a:extLst>
                  <a:ext uri="{FF2B5EF4-FFF2-40B4-BE49-F238E27FC236}">
                    <a16:creationId xmlns:a16="http://schemas.microsoft.com/office/drawing/2014/main" id="{E6453395-47F4-4958-87C5-CB6B0503C502}"/>
                  </a:ext>
                </a:extLst>
              </p:cNvPr>
              <p:cNvSpPr/>
              <p:nvPr/>
            </p:nvSpPr>
            <p:spPr bwMode="auto">
              <a:xfrm>
                <a:off x="7715250" y="2366963"/>
                <a:ext cx="68263" cy="177800"/>
              </a:xfrm>
              <a:custGeom>
                <a:avLst/>
                <a:gdLst>
                  <a:gd name="T0" fmla="*/ 9 w 11"/>
                  <a:gd name="T1" fmla="*/ 0 h 29"/>
                  <a:gd name="T2" fmla="*/ 11 w 11"/>
                  <a:gd name="T3" fmla="*/ 16 h 29"/>
                  <a:gd name="T4" fmla="*/ 4 w 11"/>
                  <a:gd name="T5" fmla="*/ 29 h 29"/>
                  <a:gd name="T6" fmla="*/ 3 w 11"/>
                  <a:gd name="T7" fmla="*/ 6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29">
                    <a:moveTo>
                      <a:pt x="9" y="0"/>
                    </a:moveTo>
                    <a:cubicBezTo>
                      <a:pt x="9" y="6"/>
                      <a:pt x="8" y="12"/>
                      <a:pt x="11" y="16"/>
                    </a:cubicBezTo>
                    <a:cubicBezTo>
                      <a:pt x="8" y="18"/>
                      <a:pt x="6" y="24"/>
                      <a:pt x="4" y="29"/>
                    </a:cubicBezTo>
                    <a:cubicBezTo>
                      <a:pt x="0" y="23"/>
                      <a:pt x="1" y="13"/>
                      <a:pt x="3" y="6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41" name="isľídê">
                <a:extLst>
                  <a:ext uri="{FF2B5EF4-FFF2-40B4-BE49-F238E27FC236}">
                    <a16:creationId xmlns:a16="http://schemas.microsoft.com/office/drawing/2014/main" id="{0A8E68FA-9226-49A0-8095-E4CDD1668BC2}"/>
                  </a:ext>
                </a:extLst>
              </p:cNvPr>
              <p:cNvSpPr/>
              <p:nvPr/>
            </p:nvSpPr>
            <p:spPr bwMode="auto">
              <a:xfrm>
                <a:off x="7734300" y="2520950"/>
                <a:ext cx="36513" cy="354013"/>
              </a:xfrm>
              <a:custGeom>
                <a:avLst/>
                <a:gdLst>
                  <a:gd name="T0" fmla="*/ 5 w 6"/>
                  <a:gd name="T1" fmla="*/ 0 h 58"/>
                  <a:gd name="T2" fmla="*/ 1 w 6"/>
                  <a:gd name="T3" fmla="*/ 58 h 58"/>
                  <a:gd name="T4" fmla="*/ 1 w 6"/>
                  <a:gd name="T5" fmla="*/ 58 h 58"/>
                  <a:gd name="T6" fmla="*/ 6 w 6"/>
                  <a:gd name="T7" fmla="*/ 1 h 58"/>
                  <a:gd name="T8" fmla="*/ 5 w 6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58">
                    <a:moveTo>
                      <a:pt x="5" y="0"/>
                    </a:moveTo>
                    <a:cubicBezTo>
                      <a:pt x="2" y="19"/>
                      <a:pt x="0" y="39"/>
                      <a:pt x="1" y="58"/>
                    </a:cubicBezTo>
                    <a:cubicBezTo>
                      <a:pt x="1" y="58"/>
                      <a:pt x="1" y="58"/>
                      <a:pt x="1" y="58"/>
                    </a:cubicBezTo>
                    <a:cubicBezTo>
                      <a:pt x="2" y="39"/>
                      <a:pt x="3" y="20"/>
                      <a:pt x="6" y="1"/>
                    </a:cubicBezTo>
                    <a:cubicBezTo>
                      <a:pt x="6" y="0"/>
                      <a:pt x="5" y="0"/>
                      <a:pt x="5" y="0"/>
                    </a:cubicBezTo>
                    <a:close/>
                  </a:path>
                </a:pathLst>
              </a:custGeom>
              <a:solidFill>
                <a:srgbClr val="73B5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42" name="iṣ1ïďê">
                <a:extLst>
                  <a:ext uri="{FF2B5EF4-FFF2-40B4-BE49-F238E27FC236}">
                    <a16:creationId xmlns:a16="http://schemas.microsoft.com/office/drawing/2014/main" id="{E1383D39-CFEC-4BF4-91FD-F64FEC5F8AC4}"/>
                  </a:ext>
                </a:extLst>
              </p:cNvPr>
              <p:cNvSpPr/>
              <p:nvPr/>
            </p:nvSpPr>
            <p:spPr bwMode="auto">
              <a:xfrm>
                <a:off x="7704138" y="2568575"/>
                <a:ext cx="36513" cy="38100"/>
              </a:xfrm>
              <a:custGeom>
                <a:avLst/>
                <a:gdLst>
                  <a:gd name="T0" fmla="*/ 3 w 6"/>
                  <a:gd name="T1" fmla="*/ 5 h 6"/>
                  <a:gd name="T2" fmla="*/ 3 w 6"/>
                  <a:gd name="T3" fmla="*/ 5 h 6"/>
                  <a:gd name="T4" fmla="*/ 5 w 6"/>
                  <a:gd name="T5" fmla="*/ 3 h 6"/>
                  <a:gd name="T6" fmla="*/ 5 w 6"/>
                  <a:gd name="T7" fmla="*/ 2 h 6"/>
                  <a:gd name="T8" fmla="*/ 3 w 6"/>
                  <a:gd name="T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6">
                    <a:moveTo>
                      <a:pt x="3" y="5"/>
                    </a:moveTo>
                    <a:cubicBezTo>
                      <a:pt x="3" y="5"/>
                      <a:pt x="3" y="5"/>
                      <a:pt x="3" y="5"/>
                    </a:cubicBezTo>
                    <a:cubicBezTo>
                      <a:pt x="5" y="6"/>
                      <a:pt x="6" y="4"/>
                      <a:pt x="5" y="3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4" y="0"/>
                      <a:pt x="0" y="4"/>
                      <a:pt x="3" y="5"/>
                    </a:cubicBezTo>
                    <a:close/>
                  </a:path>
                </a:pathLst>
              </a:custGeom>
              <a:solidFill>
                <a:srgbClr val="73B5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43" name="íšlïḍè">
                <a:extLst>
                  <a:ext uri="{FF2B5EF4-FFF2-40B4-BE49-F238E27FC236}">
                    <a16:creationId xmlns:a16="http://schemas.microsoft.com/office/drawing/2014/main" id="{09DCCCEE-00DC-4205-BEB2-CA373C935E52}"/>
                  </a:ext>
                </a:extLst>
              </p:cNvPr>
              <p:cNvSpPr/>
              <p:nvPr/>
            </p:nvSpPr>
            <p:spPr bwMode="auto">
              <a:xfrm>
                <a:off x="7704138" y="2654300"/>
                <a:ext cx="23813" cy="25400"/>
              </a:xfrm>
              <a:custGeom>
                <a:avLst/>
                <a:gdLst>
                  <a:gd name="T0" fmla="*/ 0 w 4"/>
                  <a:gd name="T1" fmla="*/ 2 h 4"/>
                  <a:gd name="T2" fmla="*/ 0 w 4"/>
                  <a:gd name="T3" fmla="*/ 3 h 4"/>
                  <a:gd name="T4" fmla="*/ 1 w 4"/>
                  <a:gd name="T5" fmla="*/ 4 h 4"/>
                  <a:gd name="T6" fmla="*/ 2 w 4"/>
                  <a:gd name="T7" fmla="*/ 4 h 4"/>
                  <a:gd name="T8" fmla="*/ 4 w 4"/>
                  <a:gd name="T9" fmla="*/ 2 h 4"/>
                  <a:gd name="T10" fmla="*/ 4 w 4"/>
                  <a:gd name="T11" fmla="*/ 2 h 4"/>
                  <a:gd name="T12" fmla="*/ 2 w 4"/>
                  <a:gd name="T13" fmla="*/ 0 h 4"/>
                  <a:gd name="T14" fmla="*/ 2 w 4"/>
                  <a:gd name="T15" fmla="*/ 0 h 4"/>
                  <a:gd name="T16" fmla="*/ 0 w 4"/>
                  <a:gd name="T17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4">
                    <a:moveTo>
                      <a:pt x="0" y="2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1" y="4"/>
                      <a:pt x="1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3" y="4"/>
                      <a:pt x="4" y="3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1"/>
                      <a:pt x="3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lose/>
                  </a:path>
                </a:pathLst>
              </a:custGeom>
              <a:solidFill>
                <a:srgbClr val="73B5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44" name="iṡliďê">
                <a:extLst>
                  <a:ext uri="{FF2B5EF4-FFF2-40B4-BE49-F238E27FC236}">
                    <a16:creationId xmlns:a16="http://schemas.microsoft.com/office/drawing/2014/main" id="{1F3EC7D1-C5E5-46D4-BB58-DC7783715C5A}"/>
                  </a:ext>
                </a:extLst>
              </p:cNvPr>
              <p:cNvSpPr/>
              <p:nvPr/>
            </p:nvSpPr>
            <p:spPr bwMode="auto">
              <a:xfrm>
                <a:off x="7697788" y="2733675"/>
                <a:ext cx="23813" cy="31750"/>
              </a:xfrm>
              <a:custGeom>
                <a:avLst/>
                <a:gdLst>
                  <a:gd name="T0" fmla="*/ 2 w 4"/>
                  <a:gd name="T1" fmla="*/ 1 h 5"/>
                  <a:gd name="T2" fmla="*/ 1 w 4"/>
                  <a:gd name="T3" fmla="*/ 1 h 5"/>
                  <a:gd name="T4" fmla="*/ 0 w 4"/>
                  <a:gd name="T5" fmla="*/ 3 h 5"/>
                  <a:gd name="T6" fmla="*/ 4 w 4"/>
                  <a:gd name="T7" fmla="*/ 3 h 5"/>
                  <a:gd name="T8" fmla="*/ 0 w 4"/>
                  <a:gd name="T9" fmla="*/ 2 h 5"/>
                  <a:gd name="T10" fmla="*/ 2 w 4"/>
                  <a:gd name="T11" fmla="*/ 1 h 5"/>
                  <a:gd name="T12" fmla="*/ 2 w 4"/>
                  <a:gd name="T13" fmla="*/ 1 h 5"/>
                  <a:gd name="T14" fmla="*/ 3 w 4"/>
                  <a:gd name="T15" fmla="*/ 3 h 5"/>
                  <a:gd name="T16" fmla="*/ 3 w 4"/>
                  <a:gd name="T17" fmla="*/ 2 h 5"/>
                  <a:gd name="T18" fmla="*/ 2 w 4"/>
                  <a:gd name="T1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5">
                    <a:moveTo>
                      <a:pt x="2" y="1"/>
                    </a:moveTo>
                    <a:cubicBezTo>
                      <a:pt x="2" y="1"/>
                      <a:pt x="1" y="1"/>
                      <a:pt x="1" y="1"/>
                    </a:cubicBezTo>
                    <a:cubicBezTo>
                      <a:pt x="0" y="2"/>
                      <a:pt x="0" y="2"/>
                      <a:pt x="0" y="3"/>
                    </a:cubicBezTo>
                    <a:cubicBezTo>
                      <a:pt x="0" y="5"/>
                      <a:pt x="3" y="5"/>
                      <a:pt x="4" y="3"/>
                    </a:cubicBezTo>
                    <a:cubicBezTo>
                      <a:pt x="4" y="1"/>
                      <a:pt x="1" y="0"/>
                      <a:pt x="0" y="2"/>
                    </a:cubicBezTo>
                    <a:cubicBezTo>
                      <a:pt x="1" y="2"/>
                      <a:pt x="1" y="2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2"/>
                      <a:pt x="3" y="2"/>
                      <a:pt x="3" y="3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1"/>
                      <a:pt x="2" y="1"/>
                    </a:cubicBezTo>
                    <a:close/>
                  </a:path>
                </a:pathLst>
              </a:custGeom>
              <a:solidFill>
                <a:srgbClr val="73B5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145" name="íṧľíďe">
                <a:extLst>
                  <a:ext uri="{FF2B5EF4-FFF2-40B4-BE49-F238E27FC236}">
                    <a16:creationId xmlns:a16="http://schemas.microsoft.com/office/drawing/2014/main" id="{6EE7D79A-FCB6-45E3-A0B9-1C73FFEB97DB}"/>
                  </a:ext>
                </a:extLst>
              </p:cNvPr>
              <p:cNvSpPr/>
              <p:nvPr/>
            </p:nvSpPr>
            <p:spPr bwMode="auto">
              <a:xfrm>
                <a:off x="7691438" y="2838450"/>
                <a:ext cx="19050" cy="23813"/>
              </a:xfrm>
              <a:custGeom>
                <a:avLst/>
                <a:gdLst>
                  <a:gd name="T0" fmla="*/ 3 w 3"/>
                  <a:gd name="T1" fmla="*/ 1 h 4"/>
                  <a:gd name="T2" fmla="*/ 3 w 3"/>
                  <a:gd name="T3" fmla="*/ 1 h 4"/>
                  <a:gd name="T4" fmla="*/ 0 w 3"/>
                  <a:gd name="T5" fmla="*/ 2 h 4"/>
                  <a:gd name="T6" fmla="*/ 3 w 3"/>
                  <a:gd name="T7" fmla="*/ 3 h 4"/>
                  <a:gd name="T8" fmla="*/ 3 w 3"/>
                  <a:gd name="T9" fmla="*/ 3 h 4"/>
                  <a:gd name="T10" fmla="*/ 3 w 3"/>
                  <a:gd name="T11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4">
                    <a:moveTo>
                      <a:pt x="3" y="1"/>
                    </a:moveTo>
                    <a:cubicBezTo>
                      <a:pt x="3" y="1"/>
                      <a:pt x="3" y="1"/>
                      <a:pt x="3" y="1"/>
                    </a:cubicBezTo>
                    <a:cubicBezTo>
                      <a:pt x="2" y="0"/>
                      <a:pt x="0" y="1"/>
                      <a:pt x="0" y="2"/>
                    </a:cubicBezTo>
                    <a:cubicBezTo>
                      <a:pt x="0" y="4"/>
                      <a:pt x="2" y="4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2"/>
                      <a:pt x="3" y="1"/>
                    </a:cubicBezTo>
                    <a:close/>
                  </a:path>
                </a:pathLst>
              </a:custGeom>
              <a:solidFill>
                <a:srgbClr val="73B5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>
                  <a:lnSpc>
                    <a:spcPct val="150000"/>
                  </a:lnSpc>
                </a:pPr>
                <a:endParaRPr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</p:grpSp>
        <p:grpSp>
          <p:nvGrpSpPr>
            <p:cNvPr id="10" name="isļïḋé">
              <a:extLst>
                <a:ext uri="{FF2B5EF4-FFF2-40B4-BE49-F238E27FC236}">
                  <a16:creationId xmlns:a16="http://schemas.microsoft.com/office/drawing/2014/main" id="{888B2F82-3BEF-4B36-8423-474E13ACBEBC}"/>
                </a:ext>
              </a:extLst>
            </p:cNvPr>
            <p:cNvGrpSpPr/>
            <p:nvPr/>
          </p:nvGrpSpPr>
          <p:grpSpPr>
            <a:xfrm flipH="1">
              <a:off x="7161571" y="2444202"/>
              <a:ext cx="783813" cy="2376000"/>
              <a:chOff x="4335060" y="2822299"/>
              <a:chExt cx="783813" cy="2376000"/>
            </a:xfrm>
          </p:grpSpPr>
          <p:sp>
            <p:nvSpPr>
              <p:cNvPr id="29" name="îşľïḋe">
                <a:extLst>
                  <a:ext uri="{FF2B5EF4-FFF2-40B4-BE49-F238E27FC236}">
                    <a16:creationId xmlns:a16="http://schemas.microsoft.com/office/drawing/2014/main" id="{163D9C2E-8247-4798-8A1C-9EEF70E2F87C}"/>
                  </a:ext>
                </a:extLst>
              </p:cNvPr>
              <p:cNvSpPr/>
              <p:nvPr/>
            </p:nvSpPr>
            <p:spPr bwMode="auto">
              <a:xfrm>
                <a:off x="4767060" y="3974299"/>
                <a:ext cx="351813" cy="7200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1905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rtlCol="0" anchor="ctr" anchorCtr="1" compatLnSpc="1">
                <a:prstTxWarp prst="textNoShape">
                  <a:avLst/>
                </a:prstTxWarp>
                <a:normAutofit fontScale="25000" lnSpcReduction="20000"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endParaRPr lang="en-US" dirty="0"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30" name="i$1íḍê">
                <a:extLst>
                  <a:ext uri="{FF2B5EF4-FFF2-40B4-BE49-F238E27FC236}">
                    <a16:creationId xmlns:a16="http://schemas.microsoft.com/office/drawing/2014/main" id="{7A2A9F27-B0BD-4AA4-9A3D-88AC2AEE7EF2}"/>
                  </a:ext>
                </a:extLst>
              </p:cNvPr>
              <p:cNvSpPr/>
              <p:nvPr/>
            </p:nvSpPr>
            <p:spPr bwMode="auto">
              <a:xfrm rot="5400000" flipH="1">
                <a:off x="3363060" y="3794299"/>
                <a:ext cx="2376000" cy="432000"/>
              </a:xfrm>
              <a:prstGeom prst="uturnArrow">
                <a:avLst>
                  <a:gd name="adj1" fmla="val 11666"/>
                  <a:gd name="adj2" fmla="val 25000"/>
                  <a:gd name="adj3" fmla="val 0"/>
                  <a:gd name="adj4" fmla="val 85000"/>
                  <a:gd name="adj5" fmla="val 100000"/>
                </a:avLst>
              </a:prstGeom>
              <a:solidFill>
                <a:schemeClr val="bg1">
                  <a:lumMod val="75000"/>
                </a:schemeClr>
              </a:solidFill>
              <a:ln w="1905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rtlCol="0" anchor="ctr" anchorCtr="1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</a:pPr>
                <a:endParaRPr lang="en-US" dirty="0"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</p:grpSp>
        <p:sp>
          <p:nvSpPr>
            <p:cNvPr id="11" name="íSḻïďé">
              <a:extLst>
                <a:ext uri="{FF2B5EF4-FFF2-40B4-BE49-F238E27FC236}">
                  <a16:creationId xmlns:a16="http://schemas.microsoft.com/office/drawing/2014/main" id="{6E0FED35-5F81-4087-BCD8-E41AFF0857F8}"/>
                </a:ext>
              </a:extLst>
            </p:cNvPr>
            <p:cNvSpPr/>
            <p:nvPr/>
          </p:nvSpPr>
          <p:spPr bwMode="auto">
            <a:xfrm>
              <a:off x="7953147" y="2200717"/>
              <a:ext cx="558869" cy="558867"/>
            </a:xfrm>
            <a:prstGeom prst="ellipse">
              <a:avLst/>
            </a:prstGeom>
            <a:solidFill>
              <a:schemeClr val="accent2"/>
            </a:solidFill>
            <a:ln w="285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30000"/>
                </a:lnSpc>
              </a:pPr>
              <a:endParaRPr lang="en-US" dirty="0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2" name="ïṧļiďè">
              <a:extLst>
                <a:ext uri="{FF2B5EF4-FFF2-40B4-BE49-F238E27FC236}">
                  <a16:creationId xmlns:a16="http://schemas.microsoft.com/office/drawing/2014/main" id="{2A703F78-2EBC-4753-92E5-1D8B582A12D5}"/>
                </a:ext>
              </a:extLst>
            </p:cNvPr>
            <p:cNvSpPr/>
            <p:nvPr/>
          </p:nvSpPr>
          <p:spPr bwMode="auto">
            <a:xfrm>
              <a:off x="7953147" y="4504817"/>
              <a:ext cx="558869" cy="558867"/>
            </a:xfrm>
            <a:prstGeom prst="ellipse">
              <a:avLst/>
            </a:prstGeom>
            <a:solidFill>
              <a:schemeClr val="accent2"/>
            </a:solidFill>
            <a:ln w="285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30000"/>
                </a:lnSpc>
              </a:pPr>
              <a:endParaRPr lang="en-US" dirty="0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grpSp>
          <p:nvGrpSpPr>
            <p:cNvPr id="13" name="iṣlíḓè">
              <a:extLst>
                <a:ext uri="{FF2B5EF4-FFF2-40B4-BE49-F238E27FC236}">
                  <a16:creationId xmlns:a16="http://schemas.microsoft.com/office/drawing/2014/main" id="{2D0267B6-C1CA-4685-8244-0A7146A16527}"/>
                </a:ext>
              </a:extLst>
            </p:cNvPr>
            <p:cNvGrpSpPr/>
            <p:nvPr/>
          </p:nvGrpSpPr>
          <p:grpSpPr>
            <a:xfrm>
              <a:off x="660400" y="1784425"/>
              <a:ext cx="2833420" cy="1391450"/>
              <a:chOff x="1263421" y="2072098"/>
              <a:chExt cx="3202566" cy="1391450"/>
            </a:xfrm>
          </p:grpSpPr>
          <p:sp>
            <p:nvSpPr>
              <p:cNvPr id="27" name="ïSlíḋe">
                <a:extLst>
                  <a:ext uri="{FF2B5EF4-FFF2-40B4-BE49-F238E27FC236}">
                    <a16:creationId xmlns:a16="http://schemas.microsoft.com/office/drawing/2014/main" id="{EB71927F-21CD-4E47-B18B-315B5DB35A47}"/>
                  </a:ext>
                </a:extLst>
              </p:cNvPr>
              <p:cNvSpPr/>
              <p:nvPr/>
            </p:nvSpPr>
            <p:spPr>
              <a:xfrm>
                <a:off x="1263421" y="2072098"/>
                <a:ext cx="3202566" cy="425170"/>
              </a:xfrm>
              <a:prstGeom prst="rect">
                <a:avLst/>
              </a:prstGeom>
              <a:noFill/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r">
                  <a:lnSpc>
                    <a:spcPct val="130000"/>
                  </a:lnSpc>
                </a:pPr>
                <a:r>
                  <a:rPr lang="zh-CN" altLang="en-US" sz="1600" b="1" dirty="0">
                    <a:solidFill>
                      <a:schemeClr val="tx1"/>
                    </a:solidFill>
                    <a:latin typeface=""/>
                    <a:ea typeface="微软雅黑" panose="020B0503020204020204" pitchFamily="34" charset="-122"/>
                    <a:sym typeface=""/>
                  </a:rPr>
                  <a:t>结论经验化</a:t>
                </a:r>
                <a:endParaRPr lang="id-ID" altLang="zh-CN" sz="1600" b="1" dirty="0">
                  <a:solidFill>
                    <a:schemeClr val="tx1"/>
                  </a:solidFill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28" name="íṧḷïḍe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1263421" y="2497268"/>
                <a:ext cx="3202566" cy="9662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zh-CN" altLang="en-US" sz="1200" dirty="0">
                    <a:latin typeface=""/>
                    <a:ea typeface="微软雅黑" panose="020B0503020204020204" pitchFamily="34" charset="-122"/>
                    <a:sym typeface=""/>
                  </a:rPr>
                  <a:t>通过产品流行趋势变化，来衡量对不同品类的影响；</a:t>
                </a:r>
                <a:endParaRPr lang="en-US" altLang="zh-CN" sz="1200" dirty="0"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</p:grpSp>
        <p:grpSp>
          <p:nvGrpSpPr>
            <p:cNvPr id="14" name="íṩḻïďé">
              <a:extLst>
                <a:ext uri="{FF2B5EF4-FFF2-40B4-BE49-F238E27FC236}">
                  <a16:creationId xmlns:a16="http://schemas.microsoft.com/office/drawing/2014/main" id="{8756666D-3FB0-4EB6-9C51-A60D479B6F62}"/>
                </a:ext>
              </a:extLst>
            </p:cNvPr>
            <p:cNvGrpSpPr/>
            <p:nvPr/>
          </p:nvGrpSpPr>
          <p:grpSpPr>
            <a:xfrm>
              <a:off x="660400" y="4088525"/>
              <a:ext cx="2833420" cy="1391450"/>
              <a:chOff x="1263421" y="2072098"/>
              <a:chExt cx="3202566" cy="1391450"/>
            </a:xfrm>
          </p:grpSpPr>
          <p:sp>
            <p:nvSpPr>
              <p:cNvPr id="25" name="îṥļiḓe">
                <a:extLst>
                  <a:ext uri="{FF2B5EF4-FFF2-40B4-BE49-F238E27FC236}">
                    <a16:creationId xmlns:a16="http://schemas.microsoft.com/office/drawing/2014/main" id="{68D4E583-8550-476D-8503-0E83407E3F28}"/>
                  </a:ext>
                </a:extLst>
              </p:cNvPr>
              <p:cNvSpPr/>
              <p:nvPr/>
            </p:nvSpPr>
            <p:spPr>
              <a:xfrm>
                <a:off x="1263421" y="2072098"/>
                <a:ext cx="3202566" cy="425170"/>
              </a:xfrm>
              <a:prstGeom prst="rect">
                <a:avLst/>
              </a:prstGeom>
              <a:noFill/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r">
                  <a:lnSpc>
                    <a:spcPct val="130000"/>
                  </a:lnSpc>
                </a:pPr>
                <a:r>
                  <a:rPr lang="zh-CN" altLang="en-US" sz="1600" b="1" dirty="0">
                    <a:solidFill>
                      <a:schemeClr val="tx1"/>
                    </a:solidFill>
                    <a:latin typeface=""/>
                    <a:ea typeface="微软雅黑" panose="020B0503020204020204" pitchFamily="34" charset="-122"/>
                    <a:sym typeface=""/>
                  </a:rPr>
                  <a:t>过程一刀切</a:t>
                </a:r>
                <a:endParaRPr lang="id-ID" altLang="zh-CN" sz="1600" b="1" dirty="0">
                  <a:solidFill>
                    <a:schemeClr val="tx1"/>
                  </a:solidFill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26" name="íṧḻíḓê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1263421" y="2497268"/>
                <a:ext cx="3202566" cy="9662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zh-CN" altLang="en-US" sz="1100" dirty="0">
                    <a:latin typeface=""/>
                    <a:ea typeface="微软雅黑" panose="020B0503020204020204" pitchFamily="34" charset="-122"/>
                    <a:sym typeface=""/>
                  </a:rPr>
                  <a:t>对于趋势的影响，使用一刀切的方式进行预测，未考虑不同的变化；</a:t>
                </a:r>
                <a:endParaRPr lang="en-US" altLang="zh-CN" sz="1100" dirty="0"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</p:grpSp>
        <p:grpSp>
          <p:nvGrpSpPr>
            <p:cNvPr id="15" name="ïŝļïdè">
              <a:extLst>
                <a:ext uri="{FF2B5EF4-FFF2-40B4-BE49-F238E27FC236}">
                  <a16:creationId xmlns:a16="http://schemas.microsoft.com/office/drawing/2014/main" id="{358BC907-54ED-4036-A090-70CD5C469F9E}"/>
                </a:ext>
              </a:extLst>
            </p:cNvPr>
            <p:cNvGrpSpPr/>
            <p:nvPr/>
          </p:nvGrpSpPr>
          <p:grpSpPr>
            <a:xfrm>
              <a:off x="8685480" y="1784425"/>
              <a:ext cx="2833420" cy="1391450"/>
              <a:chOff x="1263421" y="2072098"/>
              <a:chExt cx="3202566" cy="1391450"/>
            </a:xfrm>
          </p:grpSpPr>
          <p:sp>
            <p:nvSpPr>
              <p:cNvPr id="23" name="iṥḻïḍe">
                <a:extLst>
                  <a:ext uri="{FF2B5EF4-FFF2-40B4-BE49-F238E27FC236}">
                    <a16:creationId xmlns:a16="http://schemas.microsoft.com/office/drawing/2014/main" id="{8184E085-4118-4A87-99FD-00FC04C3AA61}"/>
                  </a:ext>
                </a:extLst>
              </p:cNvPr>
              <p:cNvSpPr/>
              <p:nvPr/>
            </p:nvSpPr>
            <p:spPr>
              <a:xfrm>
                <a:off x="1263421" y="2072098"/>
                <a:ext cx="3202566" cy="425170"/>
              </a:xfrm>
              <a:prstGeom prst="rect">
                <a:avLst/>
              </a:prstGeom>
              <a:noFill/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zh-CN" altLang="en-US" sz="1600" b="1" dirty="0">
                    <a:solidFill>
                      <a:schemeClr val="tx1"/>
                    </a:solidFill>
                    <a:latin typeface=""/>
                    <a:ea typeface="微软雅黑" panose="020B0503020204020204" pitchFamily="34" charset="-122"/>
                    <a:sym typeface=""/>
                  </a:rPr>
                  <a:t>结论数字化</a:t>
                </a:r>
                <a:endParaRPr lang="id-ID" altLang="zh-CN" sz="1600" b="1" dirty="0">
                  <a:solidFill>
                    <a:schemeClr val="tx1"/>
                  </a:solidFill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24" name="íṡ1ïďè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1263421" y="2497268"/>
                <a:ext cx="3202566" cy="9662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zh-CN" altLang="en-US" sz="1100" dirty="0">
                    <a:latin typeface=""/>
                    <a:ea typeface="微软雅黑" panose="020B0503020204020204" pitchFamily="34" charset="-122"/>
                    <a:sym typeface=""/>
                  </a:rPr>
                  <a:t>通过历史经验的学习，与影响因素的数据化，得到常年历史趋势下的结论和原因；有理可依；</a:t>
                </a:r>
                <a:endParaRPr lang="en-US" altLang="zh-CN" sz="1100" dirty="0"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</p:grpSp>
        <p:grpSp>
          <p:nvGrpSpPr>
            <p:cNvPr id="16" name="íṩḻïde">
              <a:extLst>
                <a:ext uri="{FF2B5EF4-FFF2-40B4-BE49-F238E27FC236}">
                  <a16:creationId xmlns:a16="http://schemas.microsoft.com/office/drawing/2014/main" id="{468A5526-98BF-49FF-BCB5-F914F687A993}"/>
                </a:ext>
              </a:extLst>
            </p:cNvPr>
            <p:cNvGrpSpPr/>
            <p:nvPr/>
          </p:nvGrpSpPr>
          <p:grpSpPr>
            <a:xfrm>
              <a:off x="8685480" y="4088525"/>
              <a:ext cx="2833420" cy="1391450"/>
              <a:chOff x="1263421" y="2072098"/>
              <a:chExt cx="3202566" cy="1391450"/>
            </a:xfrm>
          </p:grpSpPr>
          <p:sp>
            <p:nvSpPr>
              <p:cNvPr id="21" name="ïṣḻïďé">
                <a:extLst>
                  <a:ext uri="{FF2B5EF4-FFF2-40B4-BE49-F238E27FC236}">
                    <a16:creationId xmlns:a16="http://schemas.microsoft.com/office/drawing/2014/main" id="{ECE90EF2-75E2-4D83-BA42-89F074FAB1DB}"/>
                  </a:ext>
                </a:extLst>
              </p:cNvPr>
              <p:cNvSpPr/>
              <p:nvPr/>
            </p:nvSpPr>
            <p:spPr>
              <a:xfrm>
                <a:off x="1263421" y="2072098"/>
                <a:ext cx="3202566" cy="425170"/>
              </a:xfrm>
              <a:prstGeom prst="rect">
                <a:avLst/>
              </a:prstGeom>
              <a:noFill/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zh-CN" altLang="en-US" sz="1600" b="1" dirty="0">
                    <a:solidFill>
                      <a:schemeClr val="tx1"/>
                    </a:solidFill>
                    <a:latin typeface=""/>
                    <a:ea typeface="微软雅黑" panose="020B0503020204020204" pitchFamily="34" charset="-122"/>
                    <a:sym typeface=""/>
                  </a:rPr>
                  <a:t>过程精细化</a:t>
                </a:r>
                <a:endParaRPr lang="id-ID" altLang="zh-CN" sz="1600" b="1" dirty="0">
                  <a:solidFill>
                    <a:schemeClr val="tx1"/>
                  </a:solidFill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sp>
            <p:nvSpPr>
              <p:cNvPr id="22" name="iṡḷïḋè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1263421" y="2497268"/>
                <a:ext cx="3202566" cy="9662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zh-CN" altLang="en-US" sz="1100" dirty="0">
                    <a:latin typeface=""/>
                    <a:ea typeface="微软雅黑" panose="020B0503020204020204" pitchFamily="34" charset="-122"/>
                    <a:sym typeface=""/>
                  </a:rPr>
                  <a:t>通过具体因素的结构性拆解，评估不同的影响因素与变化过程；</a:t>
                </a:r>
                <a:endParaRPr lang="en-US" altLang="zh-CN" sz="1100" dirty="0"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</p:grpSp>
        <p:sp>
          <p:nvSpPr>
            <p:cNvPr id="17" name="iŝḻíďe">
              <a:extLst>
                <a:ext uri="{FF2B5EF4-FFF2-40B4-BE49-F238E27FC236}">
                  <a16:creationId xmlns:a16="http://schemas.microsoft.com/office/drawing/2014/main" id="{BBB4001C-031D-49BD-AE1B-771DA0934EC8}"/>
                </a:ext>
              </a:extLst>
            </p:cNvPr>
            <p:cNvSpPr/>
            <p:nvPr/>
          </p:nvSpPr>
          <p:spPr>
            <a:xfrm>
              <a:off x="3825275" y="2346496"/>
              <a:ext cx="242886" cy="267308"/>
            </a:xfrm>
            <a:custGeom>
              <a:avLst/>
              <a:gdLst>
                <a:gd name="T0" fmla="*/ 2288 w 7404"/>
                <a:gd name="T1" fmla="*/ 0 h 8160"/>
                <a:gd name="T2" fmla="*/ 1185 w 7404"/>
                <a:gd name="T3" fmla="*/ 1833 h 8160"/>
                <a:gd name="T4" fmla="*/ 0 w 7404"/>
                <a:gd name="T5" fmla="*/ 2397 h 8160"/>
                <a:gd name="T6" fmla="*/ 565 w 7404"/>
                <a:gd name="T7" fmla="*/ 5548 h 8160"/>
                <a:gd name="T8" fmla="*/ 1185 w 7404"/>
                <a:gd name="T9" fmla="*/ 7057 h 8160"/>
                <a:gd name="T10" fmla="*/ 6301 w 7404"/>
                <a:gd name="T11" fmla="*/ 8160 h 8160"/>
                <a:gd name="T12" fmla="*/ 7404 w 7404"/>
                <a:gd name="T13" fmla="*/ 1103 h 8160"/>
                <a:gd name="T14" fmla="*/ 1693 w 7404"/>
                <a:gd name="T15" fmla="*/ 4400 h 8160"/>
                <a:gd name="T16" fmla="*/ 2052 w 7404"/>
                <a:gd name="T17" fmla="*/ 4224 h 8160"/>
                <a:gd name="T18" fmla="*/ 2918 w 7404"/>
                <a:gd name="T19" fmla="*/ 4215 h 8160"/>
                <a:gd name="T20" fmla="*/ 2482 w 7404"/>
                <a:gd name="T21" fmla="*/ 3933 h 8160"/>
                <a:gd name="T22" fmla="*/ 1764 w 7404"/>
                <a:gd name="T23" fmla="*/ 3265 h 8160"/>
                <a:gd name="T24" fmla="*/ 2336 w 7404"/>
                <a:gd name="T25" fmla="*/ 2469 h 8160"/>
                <a:gd name="T26" fmla="*/ 2749 w 7404"/>
                <a:gd name="T27" fmla="*/ 2469 h 8160"/>
                <a:gd name="T28" fmla="*/ 3209 w 7404"/>
                <a:gd name="T29" fmla="*/ 2804 h 8160"/>
                <a:gd name="T30" fmla="*/ 3092 w 7404"/>
                <a:gd name="T31" fmla="*/ 3213 h 8160"/>
                <a:gd name="T32" fmla="*/ 2516 w 7404"/>
                <a:gd name="T33" fmla="*/ 3033 h 8160"/>
                <a:gd name="T34" fmla="*/ 2237 w 7404"/>
                <a:gd name="T35" fmla="*/ 3228 h 8160"/>
                <a:gd name="T36" fmla="*/ 3392 w 7404"/>
                <a:gd name="T37" fmla="*/ 4162 h 8160"/>
                <a:gd name="T38" fmla="*/ 2748 w 7404"/>
                <a:gd name="T39" fmla="*/ 4830 h 8160"/>
                <a:gd name="T40" fmla="*/ 2542 w 7404"/>
                <a:gd name="T41" fmla="*/ 5190 h 8160"/>
                <a:gd name="T42" fmla="*/ 2336 w 7404"/>
                <a:gd name="T43" fmla="*/ 4813 h 8160"/>
                <a:gd name="T44" fmla="*/ 1693 w 7404"/>
                <a:gd name="T45" fmla="*/ 4400 h 8160"/>
                <a:gd name="T46" fmla="*/ 3916 w 7404"/>
                <a:gd name="T47" fmla="*/ 7434 h 8160"/>
                <a:gd name="T48" fmla="*/ 4672 w 7404"/>
                <a:gd name="T49" fmla="*/ 7434 h 8160"/>
                <a:gd name="T50" fmla="*/ 6463 w 7404"/>
                <a:gd name="T51" fmla="*/ 6617 h 8160"/>
                <a:gd name="T52" fmla="*/ 2125 w 7404"/>
                <a:gd name="T53" fmla="*/ 5548 h 8160"/>
                <a:gd name="T54" fmla="*/ 4059 w 7404"/>
                <a:gd name="T55" fmla="*/ 6174 h 8160"/>
                <a:gd name="T56" fmla="*/ 4679 w 7404"/>
                <a:gd name="T57" fmla="*/ 6317 h 8160"/>
                <a:gd name="T58" fmla="*/ 5038 w 7404"/>
                <a:gd name="T59" fmla="*/ 2397 h 8160"/>
                <a:gd name="T60" fmla="*/ 2125 w 7404"/>
                <a:gd name="T61" fmla="*/ 1833 h 8160"/>
                <a:gd name="T62" fmla="*/ 2288 w 7404"/>
                <a:gd name="T63" fmla="*/ 941 h 8160"/>
                <a:gd name="T64" fmla="*/ 6463 w 7404"/>
                <a:gd name="T65" fmla="*/ 1103 h 8160"/>
                <a:gd name="T66" fmla="*/ 6463 w 7404"/>
                <a:gd name="T67" fmla="*/ 6617 h 8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404" h="8160">
                  <a:moveTo>
                    <a:pt x="6301" y="0"/>
                  </a:moveTo>
                  <a:lnTo>
                    <a:pt x="2288" y="0"/>
                  </a:lnTo>
                  <a:cubicBezTo>
                    <a:pt x="1680" y="0"/>
                    <a:pt x="1185" y="495"/>
                    <a:pt x="1185" y="1103"/>
                  </a:cubicBezTo>
                  <a:lnTo>
                    <a:pt x="1185" y="1833"/>
                  </a:lnTo>
                  <a:lnTo>
                    <a:pt x="565" y="1833"/>
                  </a:lnTo>
                  <a:cubicBezTo>
                    <a:pt x="253" y="1833"/>
                    <a:pt x="0" y="2085"/>
                    <a:pt x="0" y="2397"/>
                  </a:cubicBezTo>
                  <a:lnTo>
                    <a:pt x="0" y="4984"/>
                  </a:lnTo>
                  <a:cubicBezTo>
                    <a:pt x="0" y="5295"/>
                    <a:pt x="253" y="5548"/>
                    <a:pt x="565" y="5548"/>
                  </a:cubicBezTo>
                  <a:lnTo>
                    <a:pt x="1185" y="5548"/>
                  </a:lnTo>
                  <a:lnTo>
                    <a:pt x="1185" y="7057"/>
                  </a:lnTo>
                  <a:cubicBezTo>
                    <a:pt x="1185" y="7665"/>
                    <a:pt x="1680" y="8160"/>
                    <a:pt x="2288" y="8160"/>
                  </a:cubicBezTo>
                  <a:lnTo>
                    <a:pt x="6301" y="8160"/>
                  </a:lnTo>
                  <a:cubicBezTo>
                    <a:pt x="6909" y="8160"/>
                    <a:pt x="7404" y="7665"/>
                    <a:pt x="7404" y="7057"/>
                  </a:cubicBezTo>
                  <a:lnTo>
                    <a:pt x="7404" y="1103"/>
                  </a:lnTo>
                  <a:cubicBezTo>
                    <a:pt x="7404" y="495"/>
                    <a:pt x="6909" y="0"/>
                    <a:pt x="6301" y="0"/>
                  </a:cubicBezTo>
                  <a:close/>
                  <a:moveTo>
                    <a:pt x="1693" y="4400"/>
                  </a:moveTo>
                  <a:cubicBezTo>
                    <a:pt x="1693" y="4277"/>
                    <a:pt x="1792" y="4181"/>
                    <a:pt x="1916" y="4181"/>
                  </a:cubicBezTo>
                  <a:cubicBezTo>
                    <a:pt x="1978" y="4181"/>
                    <a:pt x="2021" y="4203"/>
                    <a:pt x="2052" y="4224"/>
                  </a:cubicBezTo>
                  <a:cubicBezTo>
                    <a:pt x="2216" y="4345"/>
                    <a:pt x="2395" y="4419"/>
                    <a:pt x="2606" y="4419"/>
                  </a:cubicBezTo>
                  <a:cubicBezTo>
                    <a:pt x="2801" y="4419"/>
                    <a:pt x="2918" y="4342"/>
                    <a:pt x="2918" y="4215"/>
                  </a:cubicBezTo>
                  <a:lnTo>
                    <a:pt x="2918" y="4209"/>
                  </a:lnTo>
                  <a:cubicBezTo>
                    <a:pt x="2918" y="4088"/>
                    <a:pt x="2844" y="4026"/>
                    <a:pt x="2482" y="3933"/>
                  </a:cubicBezTo>
                  <a:cubicBezTo>
                    <a:pt x="2046" y="3822"/>
                    <a:pt x="1764" y="3701"/>
                    <a:pt x="1764" y="3271"/>
                  </a:cubicBezTo>
                  <a:lnTo>
                    <a:pt x="1764" y="3265"/>
                  </a:lnTo>
                  <a:cubicBezTo>
                    <a:pt x="1764" y="2930"/>
                    <a:pt x="1995" y="2693"/>
                    <a:pt x="2336" y="2630"/>
                  </a:cubicBezTo>
                  <a:lnTo>
                    <a:pt x="2336" y="2469"/>
                  </a:lnTo>
                  <a:cubicBezTo>
                    <a:pt x="2336" y="2355"/>
                    <a:pt x="2429" y="2263"/>
                    <a:pt x="2543" y="2263"/>
                  </a:cubicBezTo>
                  <a:cubicBezTo>
                    <a:pt x="2656" y="2263"/>
                    <a:pt x="2749" y="2355"/>
                    <a:pt x="2749" y="2469"/>
                  </a:cubicBezTo>
                  <a:lnTo>
                    <a:pt x="2749" y="2632"/>
                  </a:lnTo>
                  <a:cubicBezTo>
                    <a:pt x="2918" y="2660"/>
                    <a:pt x="3073" y="2717"/>
                    <a:pt x="3209" y="2804"/>
                  </a:cubicBezTo>
                  <a:cubicBezTo>
                    <a:pt x="3262" y="2835"/>
                    <a:pt x="3315" y="2900"/>
                    <a:pt x="3315" y="2993"/>
                  </a:cubicBezTo>
                  <a:cubicBezTo>
                    <a:pt x="3315" y="3116"/>
                    <a:pt x="3216" y="3213"/>
                    <a:pt x="3092" y="3213"/>
                  </a:cubicBezTo>
                  <a:cubicBezTo>
                    <a:pt x="3045" y="3213"/>
                    <a:pt x="3008" y="3200"/>
                    <a:pt x="2971" y="3179"/>
                  </a:cubicBezTo>
                  <a:cubicBezTo>
                    <a:pt x="2813" y="3086"/>
                    <a:pt x="2665" y="3033"/>
                    <a:pt x="2516" y="3033"/>
                  </a:cubicBezTo>
                  <a:cubicBezTo>
                    <a:pt x="2333" y="3033"/>
                    <a:pt x="2237" y="3116"/>
                    <a:pt x="2237" y="3222"/>
                  </a:cubicBezTo>
                  <a:lnTo>
                    <a:pt x="2237" y="3228"/>
                  </a:lnTo>
                  <a:cubicBezTo>
                    <a:pt x="2237" y="3370"/>
                    <a:pt x="2330" y="3417"/>
                    <a:pt x="2705" y="3512"/>
                  </a:cubicBezTo>
                  <a:cubicBezTo>
                    <a:pt x="3144" y="3627"/>
                    <a:pt x="3392" y="3785"/>
                    <a:pt x="3392" y="4162"/>
                  </a:cubicBezTo>
                  <a:lnTo>
                    <a:pt x="3392" y="4169"/>
                  </a:lnTo>
                  <a:cubicBezTo>
                    <a:pt x="3392" y="4550"/>
                    <a:pt x="3133" y="4783"/>
                    <a:pt x="2748" y="4830"/>
                  </a:cubicBezTo>
                  <a:lnTo>
                    <a:pt x="2748" y="4984"/>
                  </a:lnTo>
                  <a:cubicBezTo>
                    <a:pt x="2748" y="5098"/>
                    <a:pt x="2656" y="5190"/>
                    <a:pt x="2542" y="5190"/>
                  </a:cubicBezTo>
                  <a:cubicBezTo>
                    <a:pt x="2428" y="5190"/>
                    <a:pt x="2336" y="5098"/>
                    <a:pt x="2336" y="4984"/>
                  </a:cubicBezTo>
                  <a:lnTo>
                    <a:pt x="2336" y="4813"/>
                  </a:lnTo>
                  <a:cubicBezTo>
                    <a:pt x="2141" y="4776"/>
                    <a:pt x="1950" y="4701"/>
                    <a:pt x="1783" y="4580"/>
                  </a:cubicBezTo>
                  <a:cubicBezTo>
                    <a:pt x="1730" y="4543"/>
                    <a:pt x="1693" y="4475"/>
                    <a:pt x="1693" y="4400"/>
                  </a:cubicBezTo>
                  <a:close/>
                  <a:moveTo>
                    <a:pt x="4294" y="7812"/>
                  </a:moveTo>
                  <a:cubicBezTo>
                    <a:pt x="4085" y="7812"/>
                    <a:pt x="3916" y="7643"/>
                    <a:pt x="3916" y="7434"/>
                  </a:cubicBezTo>
                  <a:cubicBezTo>
                    <a:pt x="3916" y="7225"/>
                    <a:pt x="4085" y="7056"/>
                    <a:pt x="4294" y="7056"/>
                  </a:cubicBezTo>
                  <a:cubicBezTo>
                    <a:pt x="4503" y="7056"/>
                    <a:pt x="4672" y="7225"/>
                    <a:pt x="4672" y="7434"/>
                  </a:cubicBezTo>
                  <a:cubicBezTo>
                    <a:pt x="4672" y="7643"/>
                    <a:pt x="4503" y="7812"/>
                    <a:pt x="4294" y="7812"/>
                  </a:cubicBezTo>
                  <a:close/>
                  <a:moveTo>
                    <a:pt x="6463" y="6617"/>
                  </a:moveTo>
                  <a:lnTo>
                    <a:pt x="2125" y="6617"/>
                  </a:lnTo>
                  <a:lnTo>
                    <a:pt x="2125" y="5548"/>
                  </a:lnTo>
                  <a:lnTo>
                    <a:pt x="3481" y="5548"/>
                  </a:lnTo>
                  <a:lnTo>
                    <a:pt x="4059" y="6174"/>
                  </a:lnTo>
                  <a:cubicBezTo>
                    <a:pt x="4168" y="6292"/>
                    <a:pt x="4319" y="6355"/>
                    <a:pt x="4474" y="6355"/>
                  </a:cubicBezTo>
                  <a:cubicBezTo>
                    <a:pt x="4543" y="6355"/>
                    <a:pt x="4613" y="6343"/>
                    <a:pt x="4679" y="6317"/>
                  </a:cubicBezTo>
                  <a:cubicBezTo>
                    <a:pt x="4896" y="6232"/>
                    <a:pt x="5038" y="6023"/>
                    <a:pt x="5038" y="5791"/>
                  </a:cubicBezTo>
                  <a:lnTo>
                    <a:pt x="5038" y="2397"/>
                  </a:lnTo>
                  <a:cubicBezTo>
                    <a:pt x="5038" y="2085"/>
                    <a:pt x="4785" y="1833"/>
                    <a:pt x="4474" y="1833"/>
                  </a:cubicBezTo>
                  <a:lnTo>
                    <a:pt x="2125" y="1833"/>
                  </a:lnTo>
                  <a:lnTo>
                    <a:pt x="2125" y="1103"/>
                  </a:lnTo>
                  <a:cubicBezTo>
                    <a:pt x="2125" y="1014"/>
                    <a:pt x="2198" y="941"/>
                    <a:pt x="2288" y="941"/>
                  </a:cubicBezTo>
                  <a:lnTo>
                    <a:pt x="6300" y="941"/>
                  </a:lnTo>
                  <a:cubicBezTo>
                    <a:pt x="6390" y="941"/>
                    <a:pt x="6463" y="1014"/>
                    <a:pt x="6463" y="1103"/>
                  </a:cubicBezTo>
                  <a:lnTo>
                    <a:pt x="6463" y="6617"/>
                  </a:lnTo>
                  <a:lnTo>
                    <a:pt x="6463" y="6617"/>
                  </a:lnTo>
                  <a:lnTo>
                    <a:pt x="6463" y="6617"/>
                  </a:ln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>
                <a:lnSpc>
                  <a:spcPct val="150000"/>
                </a:lnSpc>
              </a:pPr>
              <a:endParaRPr lang="zh-CN" altLang="en-US" sz="2000" b="1" dirty="0">
                <a:solidFill>
                  <a:schemeClr val="bg1"/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8" name="îṡlíḋé">
              <a:extLst>
                <a:ext uri="{FF2B5EF4-FFF2-40B4-BE49-F238E27FC236}">
                  <a16:creationId xmlns:a16="http://schemas.microsoft.com/office/drawing/2014/main" id="{590BCCEF-B252-4273-BB18-15F7A773B966}"/>
                </a:ext>
              </a:extLst>
            </p:cNvPr>
            <p:cNvSpPr/>
            <p:nvPr/>
          </p:nvSpPr>
          <p:spPr>
            <a:xfrm>
              <a:off x="3825275" y="4650596"/>
              <a:ext cx="242886" cy="267308"/>
            </a:xfrm>
            <a:custGeom>
              <a:avLst/>
              <a:gdLst>
                <a:gd name="T0" fmla="*/ 2288 w 7404"/>
                <a:gd name="T1" fmla="*/ 0 h 8160"/>
                <a:gd name="T2" fmla="*/ 1185 w 7404"/>
                <a:gd name="T3" fmla="*/ 1833 h 8160"/>
                <a:gd name="T4" fmla="*/ 0 w 7404"/>
                <a:gd name="T5" fmla="*/ 2397 h 8160"/>
                <a:gd name="T6" fmla="*/ 565 w 7404"/>
                <a:gd name="T7" fmla="*/ 5548 h 8160"/>
                <a:gd name="T8" fmla="*/ 1185 w 7404"/>
                <a:gd name="T9" fmla="*/ 7057 h 8160"/>
                <a:gd name="T10" fmla="*/ 6301 w 7404"/>
                <a:gd name="T11" fmla="*/ 8160 h 8160"/>
                <a:gd name="T12" fmla="*/ 7404 w 7404"/>
                <a:gd name="T13" fmla="*/ 1103 h 8160"/>
                <a:gd name="T14" fmla="*/ 1693 w 7404"/>
                <a:gd name="T15" fmla="*/ 4400 h 8160"/>
                <a:gd name="T16" fmla="*/ 2052 w 7404"/>
                <a:gd name="T17" fmla="*/ 4224 h 8160"/>
                <a:gd name="T18" fmla="*/ 2918 w 7404"/>
                <a:gd name="T19" fmla="*/ 4215 h 8160"/>
                <a:gd name="T20" fmla="*/ 2482 w 7404"/>
                <a:gd name="T21" fmla="*/ 3933 h 8160"/>
                <a:gd name="T22" fmla="*/ 1764 w 7404"/>
                <a:gd name="T23" fmla="*/ 3265 h 8160"/>
                <a:gd name="T24" fmla="*/ 2336 w 7404"/>
                <a:gd name="T25" fmla="*/ 2469 h 8160"/>
                <a:gd name="T26" fmla="*/ 2749 w 7404"/>
                <a:gd name="T27" fmla="*/ 2469 h 8160"/>
                <a:gd name="T28" fmla="*/ 3209 w 7404"/>
                <a:gd name="T29" fmla="*/ 2804 h 8160"/>
                <a:gd name="T30" fmla="*/ 3092 w 7404"/>
                <a:gd name="T31" fmla="*/ 3213 h 8160"/>
                <a:gd name="T32" fmla="*/ 2516 w 7404"/>
                <a:gd name="T33" fmla="*/ 3033 h 8160"/>
                <a:gd name="T34" fmla="*/ 2237 w 7404"/>
                <a:gd name="T35" fmla="*/ 3228 h 8160"/>
                <a:gd name="T36" fmla="*/ 3392 w 7404"/>
                <a:gd name="T37" fmla="*/ 4162 h 8160"/>
                <a:gd name="T38" fmla="*/ 2748 w 7404"/>
                <a:gd name="T39" fmla="*/ 4830 h 8160"/>
                <a:gd name="T40" fmla="*/ 2542 w 7404"/>
                <a:gd name="T41" fmla="*/ 5190 h 8160"/>
                <a:gd name="T42" fmla="*/ 2336 w 7404"/>
                <a:gd name="T43" fmla="*/ 4813 h 8160"/>
                <a:gd name="T44" fmla="*/ 1693 w 7404"/>
                <a:gd name="T45" fmla="*/ 4400 h 8160"/>
                <a:gd name="T46" fmla="*/ 3916 w 7404"/>
                <a:gd name="T47" fmla="*/ 7434 h 8160"/>
                <a:gd name="T48" fmla="*/ 4672 w 7404"/>
                <a:gd name="T49" fmla="*/ 7434 h 8160"/>
                <a:gd name="T50" fmla="*/ 6463 w 7404"/>
                <a:gd name="T51" fmla="*/ 6617 h 8160"/>
                <a:gd name="T52" fmla="*/ 2125 w 7404"/>
                <a:gd name="T53" fmla="*/ 5548 h 8160"/>
                <a:gd name="T54" fmla="*/ 4059 w 7404"/>
                <a:gd name="T55" fmla="*/ 6174 h 8160"/>
                <a:gd name="T56" fmla="*/ 4679 w 7404"/>
                <a:gd name="T57" fmla="*/ 6317 h 8160"/>
                <a:gd name="T58" fmla="*/ 5038 w 7404"/>
                <a:gd name="T59" fmla="*/ 2397 h 8160"/>
                <a:gd name="T60" fmla="*/ 2125 w 7404"/>
                <a:gd name="T61" fmla="*/ 1833 h 8160"/>
                <a:gd name="T62" fmla="*/ 2288 w 7404"/>
                <a:gd name="T63" fmla="*/ 941 h 8160"/>
                <a:gd name="T64" fmla="*/ 6463 w 7404"/>
                <a:gd name="T65" fmla="*/ 1103 h 8160"/>
                <a:gd name="T66" fmla="*/ 6463 w 7404"/>
                <a:gd name="T67" fmla="*/ 6617 h 8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404" h="8160">
                  <a:moveTo>
                    <a:pt x="6301" y="0"/>
                  </a:moveTo>
                  <a:lnTo>
                    <a:pt x="2288" y="0"/>
                  </a:lnTo>
                  <a:cubicBezTo>
                    <a:pt x="1680" y="0"/>
                    <a:pt x="1185" y="495"/>
                    <a:pt x="1185" y="1103"/>
                  </a:cubicBezTo>
                  <a:lnTo>
                    <a:pt x="1185" y="1833"/>
                  </a:lnTo>
                  <a:lnTo>
                    <a:pt x="565" y="1833"/>
                  </a:lnTo>
                  <a:cubicBezTo>
                    <a:pt x="253" y="1833"/>
                    <a:pt x="0" y="2085"/>
                    <a:pt x="0" y="2397"/>
                  </a:cubicBezTo>
                  <a:lnTo>
                    <a:pt x="0" y="4984"/>
                  </a:lnTo>
                  <a:cubicBezTo>
                    <a:pt x="0" y="5295"/>
                    <a:pt x="253" y="5548"/>
                    <a:pt x="565" y="5548"/>
                  </a:cubicBezTo>
                  <a:lnTo>
                    <a:pt x="1185" y="5548"/>
                  </a:lnTo>
                  <a:lnTo>
                    <a:pt x="1185" y="7057"/>
                  </a:lnTo>
                  <a:cubicBezTo>
                    <a:pt x="1185" y="7665"/>
                    <a:pt x="1680" y="8160"/>
                    <a:pt x="2288" y="8160"/>
                  </a:cubicBezTo>
                  <a:lnTo>
                    <a:pt x="6301" y="8160"/>
                  </a:lnTo>
                  <a:cubicBezTo>
                    <a:pt x="6909" y="8160"/>
                    <a:pt x="7404" y="7665"/>
                    <a:pt x="7404" y="7057"/>
                  </a:cubicBezTo>
                  <a:lnTo>
                    <a:pt x="7404" y="1103"/>
                  </a:lnTo>
                  <a:cubicBezTo>
                    <a:pt x="7404" y="495"/>
                    <a:pt x="6909" y="0"/>
                    <a:pt x="6301" y="0"/>
                  </a:cubicBezTo>
                  <a:close/>
                  <a:moveTo>
                    <a:pt x="1693" y="4400"/>
                  </a:moveTo>
                  <a:cubicBezTo>
                    <a:pt x="1693" y="4277"/>
                    <a:pt x="1792" y="4181"/>
                    <a:pt x="1916" y="4181"/>
                  </a:cubicBezTo>
                  <a:cubicBezTo>
                    <a:pt x="1978" y="4181"/>
                    <a:pt x="2021" y="4203"/>
                    <a:pt x="2052" y="4224"/>
                  </a:cubicBezTo>
                  <a:cubicBezTo>
                    <a:pt x="2216" y="4345"/>
                    <a:pt x="2395" y="4419"/>
                    <a:pt x="2606" y="4419"/>
                  </a:cubicBezTo>
                  <a:cubicBezTo>
                    <a:pt x="2801" y="4419"/>
                    <a:pt x="2918" y="4342"/>
                    <a:pt x="2918" y="4215"/>
                  </a:cubicBezTo>
                  <a:lnTo>
                    <a:pt x="2918" y="4209"/>
                  </a:lnTo>
                  <a:cubicBezTo>
                    <a:pt x="2918" y="4088"/>
                    <a:pt x="2844" y="4026"/>
                    <a:pt x="2482" y="3933"/>
                  </a:cubicBezTo>
                  <a:cubicBezTo>
                    <a:pt x="2046" y="3822"/>
                    <a:pt x="1764" y="3701"/>
                    <a:pt x="1764" y="3271"/>
                  </a:cubicBezTo>
                  <a:lnTo>
                    <a:pt x="1764" y="3265"/>
                  </a:lnTo>
                  <a:cubicBezTo>
                    <a:pt x="1764" y="2930"/>
                    <a:pt x="1995" y="2693"/>
                    <a:pt x="2336" y="2630"/>
                  </a:cubicBezTo>
                  <a:lnTo>
                    <a:pt x="2336" y="2469"/>
                  </a:lnTo>
                  <a:cubicBezTo>
                    <a:pt x="2336" y="2355"/>
                    <a:pt x="2429" y="2263"/>
                    <a:pt x="2543" y="2263"/>
                  </a:cubicBezTo>
                  <a:cubicBezTo>
                    <a:pt x="2656" y="2263"/>
                    <a:pt x="2749" y="2355"/>
                    <a:pt x="2749" y="2469"/>
                  </a:cubicBezTo>
                  <a:lnTo>
                    <a:pt x="2749" y="2632"/>
                  </a:lnTo>
                  <a:cubicBezTo>
                    <a:pt x="2918" y="2660"/>
                    <a:pt x="3073" y="2717"/>
                    <a:pt x="3209" y="2804"/>
                  </a:cubicBezTo>
                  <a:cubicBezTo>
                    <a:pt x="3262" y="2835"/>
                    <a:pt x="3315" y="2900"/>
                    <a:pt x="3315" y="2993"/>
                  </a:cubicBezTo>
                  <a:cubicBezTo>
                    <a:pt x="3315" y="3116"/>
                    <a:pt x="3216" y="3213"/>
                    <a:pt x="3092" y="3213"/>
                  </a:cubicBezTo>
                  <a:cubicBezTo>
                    <a:pt x="3045" y="3213"/>
                    <a:pt x="3008" y="3200"/>
                    <a:pt x="2971" y="3179"/>
                  </a:cubicBezTo>
                  <a:cubicBezTo>
                    <a:pt x="2813" y="3086"/>
                    <a:pt x="2665" y="3033"/>
                    <a:pt x="2516" y="3033"/>
                  </a:cubicBezTo>
                  <a:cubicBezTo>
                    <a:pt x="2333" y="3033"/>
                    <a:pt x="2237" y="3116"/>
                    <a:pt x="2237" y="3222"/>
                  </a:cubicBezTo>
                  <a:lnTo>
                    <a:pt x="2237" y="3228"/>
                  </a:lnTo>
                  <a:cubicBezTo>
                    <a:pt x="2237" y="3370"/>
                    <a:pt x="2330" y="3417"/>
                    <a:pt x="2705" y="3512"/>
                  </a:cubicBezTo>
                  <a:cubicBezTo>
                    <a:pt x="3144" y="3627"/>
                    <a:pt x="3392" y="3785"/>
                    <a:pt x="3392" y="4162"/>
                  </a:cubicBezTo>
                  <a:lnTo>
                    <a:pt x="3392" y="4169"/>
                  </a:lnTo>
                  <a:cubicBezTo>
                    <a:pt x="3392" y="4550"/>
                    <a:pt x="3133" y="4783"/>
                    <a:pt x="2748" y="4830"/>
                  </a:cubicBezTo>
                  <a:lnTo>
                    <a:pt x="2748" y="4984"/>
                  </a:lnTo>
                  <a:cubicBezTo>
                    <a:pt x="2748" y="5098"/>
                    <a:pt x="2656" y="5190"/>
                    <a:pt x="2542" y="5190"/>
                  </a:cubicBezTo>
                  <a:cubicBezTo>
                    <a:pt x="2428" y="5190"/>
                    <a:pt x="2336" y="5098"/>
                    <a:pt x="2336" y="4984"/>
                  </a:cubicBezTo>
                  <a:lnTo>
                    <a:pt x="2336" y="4813"/>
                  </a:lnTo>
                  <a:cubicBezTo>
                    <a:pt x="2141" y="4776"/>
                    <a:pt x="1950" y="4701"/>
                    <a:pt x="1783" y="4580"/>
                  </a:cubicBezTo>
                  <a:cubicBezTo>
                    <a:pt x="1730" y="4543"/>
                    <a:pt x="1693" y="4475"/>
                    <a:pt x="1693" y="4400"/>
                  </a:cubicBezTo>
                  <a:close/>
                  <a:moveTo>
                    <a:pt x="4294" y="7812"/>
                  </a:moveTo>
                  <a:cubicBezTo>
                    <a:pt x="4085" y="7812"/>
                    <a:pt x="3916" y="7643"/>
                    <a:pt x="3916" y="7434"/>
                  </a:cubicBezTo>
                  <a:cubicBezTo>
                    <a:pt x="3916" y="7225"/>
                    <a:pt x="4085" y="7056"/>
                    <a:pt x="4294" y="7056"/>
                  </a:cubicBezTo>
                  <a:cubicBezTo>
                    <a:pt x="4503" y="7056"/>
                    <a:pt x="4672" y="7225"/>
                    <a:pt x="4672" y="7434"/>
                  </a:cubicBezTo>
                  <a:cubicBezTo>
                    <a:pt x="4672" y="7643"/>
                    <a:pt x="4503" y="7812"/>
                    <a:pt x="4294" y="7812"/>
                  </a:cubicBezTo>
                  <a:close/>
                  <a:moveTo>
                    <a:pt x="6463" y="6617"/>
                  </a:moveTo>
                  <a:lnTo>
                    <a:pt x="2125" y="6617"/>
                  </a:lnTo>
                  <a:lnTo>
                    <a:pt x="2125" y="5548"/>
                  </a:lnTo>
                  <a:lnTo>
                    <a:pt x="3481" y="5548"/>
                  </a:lnTo>
                  <a:lnTo>
                    <a:pt x="4059" y="6174"/>
                  </a:lnTo>
                  <a:cubicBezTo>
                    <a:pt x="4168" y="6292"/>
                    <a:pt x="4319" y="6355"/>
                    <a:pt x="4474" y="6355"/>
                  </a:cubicBezTo>
                  <a:cubicBezTo>
                    <a:pt x="4543" y="6355"/>
                    <a:pt x="4613" y="6343"/>
                    <a:pt x="4679" y="6317"/>
                  </a:cubicBezTo>
                  <a:cubicBezTo>
                    <a:pt x="4896" y="6232"/>
                    <a:pt x="5038" y="6023"/>
                    <a:pt x="5038" y="5791"/>
                  </a:cubicBezTo>
                  <a:lnTo>
                    <a:pt x="5038" y="2397"/>
                  </a:lnTo>
                  <a:cubicBezTo>
                    <a:pt x="5038" y="2085"/>
                    <a:pt x="4785" y="1833"/>
                    <a:pt x="4474" y="1833"/>
                  </a:cubicBezTo>
                  <a:lnTo>
                    <a:pt x="2125" y="1833"/>
                  </a:lnTo>
                  <a:lnTo>
                    <a:pt x="2125" y="1103"/>
                  </a:lnTo>
                  <a:cubicBezTo>
                    <a:pt x="2125" y="1014"/>
                    <a:pt x="2198" y="941"/>
                    <a:pt x="2288" y="941"/>
                  </a:cubicBezTo>
                  <a:lnTo>
                    <a:pt x="6300" y="941"/>
                  </a:lnTo>
                  <a:cubicBezTo>
                    <a:pt x="6390" y="941"/>
                    <a:pt x="6463" y="1014"/>
                    <a:pt x="6463" y="1103"/>
                  </a:cubicBezTo>
                  <a:lnTo>
                    <a:pt x="6463" y="6617"/>
                  </a:lnTo>
                  <a:lnTo>
                    <a:pt x="6463" y="6617"/>
                  </a:lnTo>
                  <a:lnTo>
                    <a:pt x="6463" y="6617"/>
                  </a:ln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>
                <a:lnSpc>
                  <a:spcPct val="150000"/>
                </a:lnSpc>
              </a:pPr>
              <a:endParaRPr lang="zh-CN" altLang="en-US" sz="2000" b="1" dirty="0">
                <a:solidFill>
                  <a:schemeClr val="bg1"/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9" name="íṥlîḑê">
              <a:extLst>
                <a:ext uri="{FF2B5EF4-FFF2-40B4-BE49-F238E27FC236}">
                  <a16:creationId xmlns:a16="http://schemas.microsoft.com/office/drawing/2014/main" id="{C2836EE2-3643-46E3-9B5E-40885DEAC320}"/>
                </a:ext>
              </a:extLst>
            </p:cNvPr>
            <p:cNvSpPr/>
            <p:nvPr/>
          </p:nvSpPr>
          <p:spPr>
            <a:xfrm>
              <a:off x="8111138" y="2346496"/>
              <a:ext cx="242886" cy="267308"/>
            </a:xfrm>
            <a:custGeom>
              <a:avLst/>
              <a:gdLst>
                <a:gd name="T0" fmla="*/ 2288 w 7404"/>
                <a:gd name="T1" fmla="*/ 0 h 8160"/>
                <a:gd name="T2" fmla="*/ 1185 w 7404"/>
                <a:gd name="T3" fmla="*/ 1833 h 8160"/>
                <a:gd name="T4" fmla="*/ 0 w 7404"/>
                <a:gd name="T5" fmla="*/ 2397 h 8160"/>
                <a:gd name="T6" fmla="*/ 565 w 7404"/>
                <a:gd name="T7" fmla="*/ 5548 h 8160"/>
                <a:gd name="T8" fmla="*/ 1185 w 7404"/>
                <a:gd name="T9" fmla="*/ 7057 h 8160"/>
                <a:gd name="T10" fmla="*/ 6301 w 7404"/>
                <a:gd name="T11" fmla="*/ 8160 h 8160"/>
                <a:gd name="T12" fmla="*/ 7404 w 7404"/>
                <a:gd name="T13" fmla="*/ 1103 h 8160"/>
                <a:gd name="T14" fmla="*/ 1693 w 7404"/>
                <a:gd name="T15" fmla="*/ 4400 h 8160"/>
                <a:gd name="T16" fmla="*/ 2052 w 7404"/>
                <a:gd name="T17" fmla="*/ 4224 h 8160"/>
                <a:gd name="T18" fmla="*/ 2918 w 7404"/>
                <a:gd name="T19" fmla="*/ 4215 h 8160"/>
                <a:gd name="T20" fmla="*/ 2482 w 7404"/>
                <a:gd name="T21" fmla="*/ 3933 h 8160"/>
                <a:gd name="T22" fmla="*/ 1764 w 7404"/>
                <a:gd name="T23" fmla="*/ 3265 h 8160"/>
                <a:gd name="T24" fmla="*/ 2336 w 7404"/>
                <a:gd name="T25" fmla="*/ 2469 h 8160"/>
                <a:gd name="T26" fmla="*/ 2749 w 7404"/>
                <a:gd name="T27" fmla="*/ 2469 h 8160"/>
                <a:gd name="T28" fmla="*/ 3209 w 7404"/>
                <a:gd name="T29" fmla="*/ 2804 h 8160"/>
                <a:gd name="T30" fmla="*/ 3092 w 7404"/>
                <a:gd name="T31" fmla="*/ 3213 h 8160"/>
                <a:gd name="T32" fmla="*/ 2516 w 7404"/>
                <a:gd name="T33" fmla="*/ 3033 h 8160"/>
                <a:gd name="T34" fmla="*/ 2237 w 7404"/>
                <a:gd name="T35" fmla="*/ 3228 h 8160"/>
                <a:gd name="T36" fmla="*/ 3392 w 7404"/>
                <a:gd name="T37" fmla="*/ 4162 h 8160"/>
                <a:gd name="T38" fmla="*/ 2748 w 7404"/>
                <a:gd name="T39" fmla="*/ 4830 h 8160"/>
                <a:gd name="T40" fmla="*/ 2542 w 7404"/>
                <a:gd name="T41" fmla="*/ 5190 h 8160"/>
                <a:gd name="T42" fmla="*/ 2336 w 7404"/>
                <a:gd name="T43" fmla="*/ 4813 h 8160"/>
                <a:gd name="T44" fmla="*/ 1693 w 7404"/>
                <a:gd name="T45" fmla="*/ 4400 h 8160"/>
                <a:gd name="T46" fmla="*/ 3916 w 7404"/>
                <a:gd name="T47" fmla="*/ 7434 h 8160"/>
                <a:gd name="T48" fmla="*/ 4672 w 7404"/>
                <a:gd name="T49" fmla="*/ 7434 h 8160"/>
                <a:gd name="T50" fmla="*/ 6463 w 7404"/>
                <a:gd name="T51" fmla="*/ 6617 h 8160"/>
                <a:gd name="T52" fmla="*/ 2125 w 7404"/>
                <a:gd name="T53" fmla="*/ 5548 h 8160"/>
                <a:gd name="T54" fmla="*/ 4059 w 7404"/>
                <a:gd name="T55" fmla="*/ 6174 h 8160"/>
                <a:gd name="T56" fmla="*/ 4679 w 7404"/>
                <a:gd name="T57" fmla="*/ 6317 h 8160"/>
                <a:gd name="T58" fmla="*/ 5038 w 7404"/>
                <a:gd name="T59" fmla="*/ 2397 h 8160"/>
                <a:gd name="T60" fmla="*/ 2125 w 7404"/>
                <a:gd name="T61" fmla="*/ 1833 h 8160"/>
                <a:gd name="T62" fmla="*/ 2288 w 7404"/>
                <a:gd name="T63" fmla="*/ 941 h 8160"/>
                <a:gd name="T64" fmla="*/ 6463 w 7404"/>
                <a:gd name="T65" fmla="*/ 1103 h 8160"/>
                <a:gd name="T66" fmla="*/ 6463 w 7404"/>
                <a:gd name="T67" fmla="*/ 6617 h 8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404" h="8160">
                  <a:moveTo>
                    <a:pt x="6301" y="0"/>
                  </a:moveTo>
                  <a:lnTo>
                    <a:pt x="2288" y="0"/>
                  </a:lnTo>
                  <a:cubicBezTo>
                    <a:pt x="1680" y="0"/>
                    <a:pt x="1185" y="495"/>
                    <a:pt x="1185" y="1103"/>
                  </a:cubicBezTo>
                  <a:lnTo>
                    <a:pt x="1185" y="1833"/>
                  </a:lnTo>
                  <a:lnTo>
                    <a:pt x="565" y="1833"/>
                  </a:lnTo>
                  <a:cubicBezTo>
                    <a:pt x="253" y="1833"/>
                    <a:pt x="0" y="2085"/>
                    <a:pt x="0" y="2397"/>
                  </a:cubicBezTo>
                  <a:lnTo>
                    <a:pt x="0" y="4984"/>
                  </a:lnTo>
                  <a:cubicBezTo>
                    <a:pt x="0" y="5295"/>
                    <a:pt x="253" y="5548"/>
                    <a:pt x="565" y="5548"/>
                  </a:cubicBezTo>
                  <a:lnTo>
                    <a:pt x="1185" y="5548"/>
                  </a:lnTo>
                  <a:lnTo>
                    <a:pt x="1185" y="7057"/>
                  </a:lnTo>
                  <a:cubicBezTo>
                    <a:pt x="1185" y="7665"/>
                    <a:pt x="1680" y="8160"/>
                    <a:pt x="2288" y="8160"/>
                  </a:cubicBezTo>
                  <a:lnTo>
                    <a:pt x="6301" y="8160"/>
                  </a:lnTo>
                  <a:cubicBezTo>
                    <a:pt x="6909" y="8160"/>
                    <a:pt x="7404" y="7665"/>
                    <a:pt x="7404" y="7057"/>
                  </a:cubicBezTo>
                  <a:lnTo>
                    <a:pt x="7404" y="1103"/>
                  </a:lnTo>
                  <a:cubicBezTo>
                    <a:pt x="7404" y="495"/>
                    <a:pt x="6909" y="0"/>
                    <a:pt x="6301" y="0"/>
                  </a:cubicBezTo>
                  <a:close/>
                  <a:moveTo>
                    <a:pt x="1693" y="4400"/>
                  </a:moveTo>
                  <a:cubicBezTo>
                    <a:pt x="1693" y="4277"/>
                    <a:pt x="1792" y="4181"/>
                    <a:pt x="1916" y="4181"/>
                  </a:cubicBezTo>
                  <a:cubicBezTo>
                    <a:pt x="1978" y="4181"/>
                    <a:pt x="2021" y="4203"/>
                    <a:pt x="2052" y="4224"/>
                  </a:cubicBezTo>
                  <a:cubicBezTo>
                    <a:pt x="2216" y="4345"/>
                    <a:pt x="2395" y="4419"/>
                    <a:pt x="2606" y="4419"/>
                  </a:cubicBezTo>
                  <a:cubicBezTo>
                    <a:pt x="2801" y="4419"/>
                    <a:pt x="2918" y="4342"/>
                    <a:pt x="2918" y="4215"/>
                  </a:cubicBezTo>
                  <a:lnTo>
                    <a:pt x="2918" y="4209"/>
                  </a:lnTo>
                  <a:cubicBezTo>
                    <a:pt x="2918" y="4088"/>
                    <a:pt x="2844" y="4026"/>
                    <a:pt x="2482" y="3933"/>
                  </a:cubicBezTo>
                  <a:cubicBezTo>
                    <a:pt x="2046" y="3822"/>
                    <a:pt x="1764" y="3701"/>
                    <a:pt x="1764" y="3271"/>
                  </a:cubicBezTo>
                  <a:lnTo>
                    <a:pt x="1764" y="3265"/>
                  </a:lnTo>
                  <a:cubicBezTo>
                    <a:pt x="1764" y="2930"/>
                    <a:pt x="1995" y="2693"/>
                    <a:pt x="2336" y="2630"/>
                  </a:cubicBezTo>
                  <a:lnTo>
                    <a:pt x="2336" y="2469"/>
                  </a:lnTo>
                  <a:cubicBezTo>
                    <a:pt x="2336" y="2355"/>
                    <a:pt x="2429" y="2263"/>
                    <a:pt x="2543" y="2263"/>
                  </a:cubicBezTo>
                  <a:cubicBezTo>
                    <a:pt x="2656" y="2263"/>
                    <a:pt x="2749" y="2355"/>
                    <a:pt x="2749" y="2469"/>
                  </a:cubicBezTo>
                  <a:lnTo>
                    <a:pt x="2749" y="2632"/>
                  </a:lnTo>
                  <a:cubicBezTo>
                    <a:pt x="2918" y="2660"/>
                    <a:pt x="3073" y="2717"/>
                    <a:pt x="3209" y="2804"/>
                  </a:cubicBezTo>
                  <a:cubicBezTo>
                    <a:pt x="3262" y="2835"/>
                    <a:pt x="3315" y="2900"/>
                    <a:pt x="3315" y="2993"/>
                  </a:cubicBezTo>
                  <a:cubicBezTo>
                    <a:pt x="3315" y="3116"/>
                    <a:pt x="3216" y="3213"/>
                    <a:pt x="3092" y="3213"/>
                  </a:cubicBezTo>
                  <a:cubicBezTo>
                    <a:pt x="3045" y="3213"/>
                    <a:pt x="3008" y="3200"/>
                    <a:pt x="2971" y="3179"/>
                  </a:cubicBezTo>
                  <a:cubicBezTo>
                    <a:pt x="2813" y="3086"/>
                    <a:pt x="2665" y="3033"/>
                    <a:pt x="2516" y="3033"/>
                  </a:cubicBezTo>
                  <a:cubicBezTo>
                    <a:pt x="2333" y="3033"/>
                    <a:pt x="2237" y="3116"/>
                    <a:pt x="2237" y="3222"/>
                  </a:cubicBezTo>
                  <a:lnTo>
                    <a:pt x="2237" y="3228"/>
                  </a:lnTo>
                  <a:cubicBezTo>
                    <a:pt x="2237" y="3370"/>
                    <a:pt x="2330" y="3417"/>
                    <a:pt x="2705" y="3512"/>
                  </a:cubicBezTo>
                  <a:cubicBezTo>
                    <a:pt x="3144" y="3627"/>
                    <a:pt x="3392" y="3785"/>
                    <a:pt x="3392" y="4162"/>
                  </a:cubicBezTo>
                  <a:lnTo>
                    <a:pt x="3392" y="4169"/>
                  </a:lnTo>
                  <a:cubicBezTo>
                    <a:pt x="3392" y="4550"/>
                    <a:pt x="3133" y="4783"/>
                    <a:pt x="2748" y="4830"/>
                  </a:cubicBezTo>
                  <a:lnTo>
                    <a:pt x="2748" y="4984"/>
                  </a:lnTo>
                  <a:cubicBezTo>
                    <a:pt x="2748" y="5098"/>
                    <a:pt x="2656" y="5190"/>
                    <a:pt x="2542" y="5190"/>
                  </a:cubicBezTo>
                  <a:cubicBezTo>
                    <a:pt x="2428" y="5190"/>
                    <a:pt x="2336" y="5098"/>
                    <a:pt x="2336" y="4984"/>
                  </a:cubicBezTo>
                  <a:lnTo>
                    <a:pt x="2336" y="4813"/>
                  </a:lnTo>
                  <a:cubicBezTo>
                    <a:pt x="2141" y="4776"/>
                    <a:pt x="1950" y="4701"/>
                    <a:pt x="1783" y="4580"/>
                  </a:cubicBezTo>
                  <a:cubicBezTo>
                    <a:pt x="1730" y="4543"/>
                    <a:pt x="1693" y="4475"/>
                    <a:pt x="1693" y="4400"/>
                  </a:cubicBezTo>
                  <a:close/>
                  <a:moveTo>
                    <a:pt x="4294" y="7812"/>
                  </a:moveTo>
                  <a:cubicBezTo>
                    <a:pt x="4085" y="7812"/>
                    <a:pt x="3916" y="7643"/>
                    <a:pt x="3916" y="7434"/>
                  </a:cubicBezTo>
                  <a:cubicBezTo>
                    <a:pt x="3916" y="7225"/>
                    <a:pt x="4085" y="7056"/>
                    <a:pt x="4294" y="7056"/>
                  </a:cubicBezTo>
                  <a:cubicBezTo>
                    <a:pt x="4503" y="7056"/>
                    <a:pt x="4672" y="7225"/>
                    <a:pt x="4672" y="7434"/>
                  </a:cubicBezTo>
                  <a:cubicBezTo>
                    <a:pt x="4672" y="7643"/>
                    <a:pt x="4503" y="7812"/>
                    <a:pt x="4294" y="7812"/>
                  </a:cubicBezTo>
                  <a:close/>
                  <a:moveTo>
                    <a:pt x="6463" y="6617"/>
                  </a:moveTo>
                  <a:lnTo>
                    <a:pt x="2125" y="6617"/>
                  </a:lnTo>
                  <a:lnTo>
                    <a:pt x="2125" y="5548"/>
                  </a:lnTo>
                  <a:lnTo>
                    <a:pt x="3481" y="5548"/>
                  </a:lnTo>
                  <a:lnTo>
                    <a:pt x="4059" y="6174"/>
                  </a:lnTo>
                  <a:cubicBezTo>
                    <a:pt x="4168" y="6292"/>
                    <a:pt x="4319" y="6355"/>
                    <a:pt x="4474" y="6355"/>
                  </a:cubicBezTo>
                  <a:cubicBezTo>
                    <a:pt x="4543" y="6355"/>
                    <a:pt x="4613" y="6343"/>
                    <a:pt x="4679" y="6317"/>
                  </a:cubicBezTo>
                  <a:cubicBezTo>
                    <a:pt x="4896" y="6232"/>
                    <a:pt x="5038" y="6023"/>
                    <a:pt x="5038" y="5791"/>
                  </a:cubicBezTo>
                  <a:lnTo>
                    <a:pt x="5038" y="2397"/>
                  </a:lnTo>
                  <a:cubicBezTo>
                    <a:pt x="5038" y="2085"/>
                    <a:pt x="4785" y="1833"/>
                    <a:pt x="4474" y="1833"/>
                  </a:cubicBezTo>
                  <a:lnTo>
                    <a:pt x="2125" y="1833"/>
                  </a:lnTo>
                  <a:lnTo>
                    <a:pt x="2125" y="1103"/>
                  </a:lnTo>
                  <a:cubicBezTo>
                    <a:pt x="2125" y="1014"/>
                    <a:pt x="2198" y="941"/>
                    <a:pt x="2288" y="941"/>
                  </a:cubicBezTo>
                  <a:lnTo>
                    <a:pt x="6300" y="941"/>
                  </a:lnTo>
                  <a:cubicBezTo>
                    <a:pt x="6390" y="941"/>
                    <a:pt x="6463" y="1014"/>
                    <a:pt x="6463" y="1103"/>
                  </a:cubicBezTo>
                  <a:lnTo>
                    <a:pt x="6463" y="6617"/>
                  </a:lnTo>
                  <a:lnTo>
                    <a:pt x="6463" y="6617"/>
                  </a:lnTo>
                  <a:lnTo>
                    <a:pt x="6463" y="6617"/>
                  </a:ln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>
                <a:lnSpc>
                  <a:spcPct val="150000"/>
                </a:lnSpc>
              </a:pPr>
              <a:endParaRPr lang="zh-CN" altLang="en-US" sz="2000" b="1" dirty="0">
                <a:solidFill>
                  <a:schemeClr val="bg1"/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0" name="ïṣļíḋe">
              <a:extLst>
                <a:ext uri="{FF2B5EF4-FFF2-40B4-BE49-F238E27FC236}">
                  <a16:creationId xmlns:a16="http://schemas.microsoft.com/office/drawing/2014/main" id="{70B75D0A-9D24-4464-B9D0-67611A7D1042}"/>
                </a:ext>
              </a:extLst>
            </p:cNvPr>
            <p:cNvSpPr/>
            <p:nvPr/>
          </p:nvSpPr>
          <p:spPr>
            <a:xfrm>
              <a:off x="8111138" y="4650596"/>
              <a:ext cx="242886" cy="267308"/>
            </a:xfrm>
            <a:custGeom>
              <a:avLst/>
              <a:gdLst>
                <a:gd name="T0" fmla="*/ 2288 w 7404"/>
                <a:gd name="T1" fmla="*/ 0 h 8160"/>
                <a:gd name="T2" fmla="*/ 1185 w 7404"/>
                <a:gd name="T3" fmla="*/ 1833 h 8160"/>
                <a:gd name="T4" fmla="*/ 0 w 7404"/>
                <a:gd name="T5" fmla="*/ 2397 h 8160"/>
                <a:gd name="T6" fmla="*/ 565 w 7404"/>
                <a:gd name="T7" fmla="*/ 5548 h 8160"/>
                <a:gd name="T8" fmla="*/ 1185 w 7404"/>
                <a:gd name="T9" fmla="*/ 7057 h 8160"/>
                <a:gd name="T10" fmla="*/ 6301 w 7404"/>
                <a:gd name="T11" fmla="*/ 8160 h 8160"/>
                <a:gd name="T12" fmla="*/ 7404 w 7404"/>
                <a:gd name="T13" fmla="*/ 1103 h 8160"/>
                <a:gd name="T14" fmla="*/ 1693 w 7404"/>
                <a:gd name="T15" fmla="*/ 4400 h 8160"/>
                <a:gd name="T16" fmla="*/ 2052 w 7404"/>
                <a:gd name="T17" fmla="*/ 4224 h 8160"/>
                <a:gd name="T18" fmla="*/ 2918 w 7404"/>
                <a:gd name="T19" fmla="*/ 4215 h 8160"/>
                <a:gd name="T20" fmla="*/ 2482 w 7404"/>
                <a:gd name="T21" fmla="*/ 3933 h 8160"/>
                <a:gd name="T22" fmla="*/ 1764 w 7404"/>
                <a:gd name="T23" fmla="*/ 3265 h 8160"/>
                <a:gd name="T24" fmla="*/ 2336 w 7404"/>
                <a:gd name="T25" fmla="*/ 2469 h 8160"/>
                <a:gd name="T26" fmla="*/ 2749 w 7404"/>
                <a:gd name="T27" fmla="*/ 2469 h 8160"/>
                <a:gd name="T28" fmla="*/ 3209 w 7404"/>
                <a:gd name="T29" fmla="*/ 2804 h 8160"/>
                <a:gd name="T30" fmla="*/ 3092 w 7404"/>
                <a:gd name="T31" fmla="*/ 3213 h 8160"/>
                <a:gd name="T32" fmla="*/ 2516 w 7404"/>
                <a:gd name="T33" fmla="*/ 3033 h 8160"/>
                <a:gd name="T34" fmla="*/ 2237 w 7404"/>
                <a:gd name="T35" fmla="*/ 3228 h 8160"/>
                <a:gd name="T36" fmla="*/ 3392 w 7404"/>
                <a:gd name="T37" fmla="*/ 4162 h 8160"/>
                <a:gd name="T38" fmla="*/ 2748 w 7404"/>
                <a:gd name="T39" fmla="*/ 4830 h 8160"/>
                <a:gd name="T40" fmla="*/ 2542 w 7404"/>
                <a:gd name="T41" fmla="*/ 5190 h 8160"/>
                <a:gd name="T42" fmla="*/ 2336 w 7404"/>
                <a:gd name="T43" fmla="*/ 4813 h 8160"/>
                <a:gd name="T44" fmla="*/ 1693 w 7404"/>
                <a:gd name="T45" fmla="*/ 4400 h 8160"/>
                <a:gd name="T46" fmla="*/ 3916 w 7404"/>
                <a:gd name="T47" fmla="*/ 7434 h 8160"/>
                <a:gd name="T48" fmla="*/ 4672 w 7404"/>
                <a:gd name="T49" fmla="*/ 7434 h 8160"/>
                <a:gd name="T50" fmla="*/ 6463 w 7404"/>
                <a:gd name="T51" fmla="*/ 6617 h 8160"/>
                <a:gd name="T52" fmla="*/ 2125 w 7404"/>
                <a:gd name="T53" fmla="*/ 5548 h 8160"/>
                <a:gd name="T54" fmla="*/ 4059 w 7404"/>
                <a:gd name="T55" fmla="*/ 6174 h 8160"/>
                <a:gd name="T56" fmla="*/ 4679 w 7404"/>
                <a:gd name="T57" fmla="*/ 6317 h 8160"/>
                <a:gd name="T58" fmla="*/ 5038 w 7404"/>
                <a:gd name="T59" fmla="*/ 2397 h 8160"/>
                <a:gd name="T60" fmla="*/ 2125 w 7404"/>
                <a:gd name="T61" fmla="*/ 1833 h 8160"/>
                <a:gd name="T62" fmla="*/ 2288 w 7404"/>
                <a:gd name="T63" fmla="*/ 941 h 8160"/>
                <a:gd name="T64" fmla="*/ 6463 w 7404"/>
                <a:gd name="T65" fmla="*/ 1103 h 8160"/>
                <a:gd name="T66" fmla="*/ 6463 w 7404"/>
                <a:gd name="T67" fmla="*/ 6617 h 8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404" h="8160">
                  <a:moveTo>
                    <a:pt x="6301" y="0"/>
                  </a:moveTo>
                  <a:lnTo>
                    <a:pt x="2288" y="0"/>
                  </a:lnTo>
                  <a:cubicBezTo>
                    <a:pt x="1680" y="0"/>
                    <a:pt x="1185" y="495"/>
                    <a:pt x="1185" y="1103"/>
                  </a:cubicBezTo>
                  <a:lnTo>
                    <a:pt x="1185" y="1833"/>
                  </a:lnTo>
                  <a:lnTo>
                    <a:pt x="565" y="1833"/>
                  </a:lnTo>
                  <a:cubicBezTo>
                    <a:pt x="253" y="1833"/>
                    <a:pt x="0" y="2085"/>
                    <a:pt x="0" y="2397"/>
                  </a:cubicBezTo>
                  <a:lnTo>
                    <a:pt x="0" y="4984"/>
                  </a:lnTo>
                  <a:cubicBezTo>
                    <a:pt x="0" y="5295"/>
                    <a:pt x="253" y="5548"/>
                    <a:pt x="565" y="5548"/>
                  </a:cubicBezTo>
                  <a:lnTo>
                    <a:pt x="1185" y="5548"/>
                  </a:lnTo>
                  <a:lnTo>
                    <a:pt x="1185" y="7057"/>
                  </a:lnTo>
                  <a:cubicBezTo>
                    <a:pt x="1185" y="7665"/>
                    <a:pt x="1680" y="8160"/>
                    <a:pt x="2288" y="8160"/>
                  </a:cubicBezTo>
                  <a:lnTo>
                    <a:pt x="6301" y="8160"/>
                  </a:lnTo>
                  <a:cubicBezTo>
                    <a:pt x="6909" y="8160"/>
                    <a:pt x="7404" y="7665"/>
                    <a:pt x="7404" y="7057"/>
                  </a:cubicBezTo>
                  <a:lnTo>
                    <a:pt x="7404" y="1103"/>
                  </a:lnTo>
                  <a:cubicBezTo>
                    <a:pt x="7404" y="495"/>
                    <a:pt x="6909" y="0"/>
                    <a:pt x="6301" y="0"/>
                  </a:cubicBezTo>
                  <a:close/>
                  <a:moveTo>
                    <a:pt x="1693" y="4400"/>
                  </a:moveTo>
                  <a:cubicBezTo>
                    <a:pt x="1693" y="4277"/>
                    <a:pt x="1792" y="4181"/>
                    <a:pt x="1916" y="4181"/>
                  </a:cubicBezTo>
                  <a:cubicBezTo>
                    <a:pt x="1978" y="4181"/>
                    <a:pt x="2021" y="4203"/>
                    <a:pt x="2052" y="4224"/>
                  </a:cubicBezTo>
                  <a:cubicBezTo>
                    <a:pt x="2216" y="4345"/>
                    <a:pt x="2395" y="4419"/>
                    <a:pt x="2606" y="4419"/>
                  </a:cubicBezTo>
                  <a:cubicBezTo>
                    <a:pt x="2801" y="4419"/>
                    <a:pt x="2918" y="4342"/>
                    <a:pt x="2918" y="4215"/>
                  </a:cubicBezTo>
                  <a:lnTo>
                    <a:pt x="2918" y="4209"/>
                  </a:lnTo>
                  <a:cubicBezTo>
                    <a:pt x="2918" y="4088"/>
                    <a:pt x="2844" y="4026"/>
                    <a:pt x="2482" y="3933"/>
                  </a:cubicBezTo>
                  <a:cubicBezTo>
                    <a:pt x="2046" y="3822"/>
                    <a:pt x="1764" y="3701"/>
                    <a:pt x="1764" y="3271"/>
                  </a:cubicBezTo>
                  <a:lnTo>
                    <a:pt x="1764" y="3265"/>
                  </a:lnTo>
                  <a:cubicBezTo>
                    <a:pt x="1764" y="2930"/>
                    <a:pt x="1995" y="2693"/>
                    <a:pt x="2336" y="2630"/>
                  </a:cubicBezTo>
                  <a:lnTo>
                    <a:pt x="2336" y="2469"/>
                  </a:lnTo>
                  <a:cubicBezTo>
                    <a:pt x="2336" y="2355"/>
                    <a:pt x="2429" y="2263"/>
                    <a:pt x="2543" y="2263"/>
                  </a:cubicBezTo>
                  <a:cubicBezTo>
                    <a:pt x="2656" y="2263"/>
                    <a:pt x="2749" y="2355"/>
                    <a:pt x="2749" y="2469"/>
                  </a:cubicBezTo>
                  <a:lnTo>
                    <a:pt x="2749" y="2632"/>
                  </a:lnTo>
                  <a:cubicBezTo>
                    <a:pt x="2918" y="2660"/>
                    <a:pt x="3073" y="2717"/>
                    <a:pt x="3209" y="2804"/>
                  </a:cubicBezTo>
                  <a:cubicBezTo>
                    <a:pt x="3262" y="2835"/>
                    <a:pt x="3315" y="2900"/>
                    <a:pt x="3315" y="2993"/>
                  </a:cubicBezTo>
                  <a:cubicBezTo>
                    <a:pt x="3315" y="3116"/>
                    <a:pt x="3216" y="3213"/>
                    <a:pt x="3092" y="3213"/>
                  </a:cubicBezTo>
                  <a:cubicBezTo>
                    <a:pt x="3045" y="3213"/>
                    <a:pt x="3008" y="3200"/>
                    <a:pt x="2971" y="3179"/>
                  </a:cubicBezTo>
                  <a:cubicBezTo>
                    <a:pt x="2813" y="3086"/>
                    <a:pt x="2665" y="3033"/>
                    <a:pt x="2516" y="3033"/>
                  </a:cubicBezTo>
                  <a:cubicBezTo>
                    <a:pt x="2333" y="3033"/>
                    <a:pt x="2237" y="3116"/>
                    <a:pt x="2237" y="3222"/>
                  </a:cubicBezTo>
                  <a:lnTo>
                    <a:pt x="2237" y="3228"/>
                  </a:lnTo>
                  <a:cubicBezTo>
                    <a:pt x="2237" y="3370"/>
                    <a:pt x="2330" y="3417"/>
                    <a:pt x="2705" y="3512"/>
                  </a:cubicBezTo>
                  <a:cubicBezTo>
                    <a:pt x="3144" y="3627"/>
                    <a:pt x="3392" y="3785"/>
                    <a:pt x="3392" y="4162"/>
                  </a:cubicBezTo>
                  <a:lnTo>
                    <a:pt x="3392" y="4169"/>
                  </a:lnTo>
                  <a:cubicBezTo>
                    <a:pt x="3392" y="4550"/>
                    <a:pt x="3133" y="4783"/>
                    <a:pt x="2748" y="4830"/>
                  </a:cubicBezTo>
                  <a:lnTo>
                    <a:pt x="2748" y="4984"/>
                  </a:lnTo>
                  <a:cubicBezTo>
                    <a:pt x="2748" y="5098"/>
                    <a:pt x="2656" y="5190"/>
                    <a:pt x="2542" y="5190"/>
                  </a:cubicBezTo>
                  <a:cubicBezTo>
                    <a:pt x="2428" y="5190"/>
                    <a:pt x="2336" y="5098"/>
                    <a:pt x="2336" y="4984"/>
                  </a:cubicBezTo>
                  <a:lnTo>
                    <a:pt x="2336" y="4813"/>
                  </a:lnTo>
                  <a:cubicBezTo>
                    <a:pt x="2141" y="4776"/>
                    <a:pt x="1950" y="4701"/>
                    <a:pt x="1783" y="4580"/>
                  </a:cubicBezTo>
                  <a:cubicBezTo>
                    <a:pt x="1730" y="4543"/>
                    <a:pt x="1693" y="4475"/>
                    <a:pt x="1693" y="4400"/>
                  </a:cubicBezTo>
                  <a:close/>
                  <a:moveTo>
                    <a:pt x="4294" y="7812"/>
                  </a:moveTo>
                  <a:cubicBezTo>
                    <a:pt x="4085" y="7812"/>
                    <a:pt x="3916" y="7643"/>
                    <a:pt x="3916" y="7434"/>
                  </a:cubicBezTo>
                  <a:cubicBezTo>
                    <a:pt x="3916" y="7225"/>
                    <a:pt x="4085" y="7056"/>
                    <a:pt x="4294" y="7056"/>
                  </a:cubicBezTo>
                  <a:cubicBezTo>
                    <a:pt x="4503" y="7056"/>
                    <a:pt x="4672" y="7225"/>
                    <a:pt x="4672" y="7434"/>
                  </a:cubicBezTo>
                  <a:cubicBezTo>
                    <a:pt x="4672" y="7643"/>
                    <a:pt x="4503" y="7812"/>
                    <a:pt x="4294" y="7812"/>
                  </a:cubicBezTo>
                  <a:close/>
                  <a:moveTo>
                    <a:pt x="6463" y="6617"/>
                  </a:moveTo>
                  <a:lnTo>
                    <a:pt x="2125" y="6617"/>
                  </a:lnTo>
                  <a:lnTo>
                    <a:pt x="2125" y="5548"/>
                  </a:lnTo>
                  <a:lnTo>
                    <a:pt x="3481" y="5548"/>
                  </a:lnTo>
                  <a:lnTo>
                    <a:pt x="4059" y="6174"/>
                  </a:lnTo>
                  <a:cubicBezTo>
                    <a:pt x="4168" y="6292"/>
                    <a:pt x="4319" y="6355"/>
                    <a:pt x="4474" y="6355"/>
                  </a:cubicBezTo>
                  <a:cubicBezTo>
                    <a:pt x="4543" y="6355"/>
                    <a:pt x="4613" y="6343"/>
                    <a:pt x="4679" y="6317"/>
                  </a:cubicBezTo>
                  <a:cubicBezTo>
                    <a:pt x="4896" y="6232"/>
                    <a:pt x="5038" y="6023"/>
                    <a:pt x="5038" y="5791"/>
                  </a:cubicBezTo>
                  <a:lnTo>
                    <a:pt x="5038" y="2397"/>
                  </a:lnTo>
                  <a:cubicBezTo>
                    <a:pt x="5038" y="2085"/>
                    <a:pt x="4785" y="1833"/>
                    <a:pt x="4474" y="1833"/>
                  </a:cubicBezTo>
                  <a:lnTo>
                    <a:pt x="2125" y="1833"/>
                  </a:lnTo>
                  <a:lnTo>
                    <a:pt x="2125" y="1103"/>
                  </a:lnTo>
                  <a:cubicBezTo>
                    <a:pt x="2125" y="1014"/>
                    <a:pt x="2198" y="941"/>
                    <a:pt x="2288" y="941"/>
                  </a:cubicBezTo>
                  <a:lnTo>
                    <a:pt x="6300" y="941"/>
                  </a:lnTo>
                  <a:cubicBezTo>
                    <a:pt x="6390" y="941"/>
                    <a:pt x="6463" y="1014"/>
                    <a:pt x="6463" y="1103"/>
                  </a:cubicBezTo>
                  <a:lnTo>
                    <a:pt x="6463" y="6617"/>
                  </a:lnTo>
                  <a:lnTo>
                    <a:pt x="6463" y="6617"/>
                  </a:lnTo>
                  <a:lnTo>
                    <a:pt x="6463" y="6617"/>
                  </a:ln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>
                <a:lnSpc>
                  <a:spcPct val="150000"/>
                </a:lnSpc>
              </a:pPr>
              <a:endParaRPr lang="zh-CN" altLang="en-US" sz="2000" b="1" dirty="0">
                <a:solidFill>
                  <a:schemeClr val="bg1"/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</p:grpSp>
      <p:sp>
        <p:nvSpPr>
          <p:cNvPr id="148" name="ïSlíḋe">
            <a:extLst>
              <a:ext uri="{FF2B5EF4-FFF2-40B4-BE49-F238E27FC236}">
                <a16:creationId xmlns:a16="http://schemas.microsoft.com/office/drawing/2014/main" id="{54C4849C-3BE8-4FAC-B020-04ED0CE1CE2C}"/>
              </a:ext>
            </a:extLst>
          </p:cNvPr>
          <p:cNvSpPr/>
          <p:nvPr/>
        </p:nvSpPr>
        <p:spPr>
          <a:xfrm>
            <a:off x="503904" y="1169717"/>
            <a:ext cx="4231452" cy="425170"/>
          </a:xfrm>
          <a:prstGeom prst="rect">
            <a:avLst/>
          </a:prstGeom>
          <a:noFill/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>
              <a:lnSpc>
                <a:spcPct val="140000"/>
              </a:lnSpc>
            </a:pPr>
            <a:r>
              <a:rPr lang="zh-CN" altLang="en-US" sz="2000" b="1" dirty="0">
                <a:solidFill>
                  <a:schemeClr val="tx1"/>
                </a:solidFill>
                <a:latin typeface=""/>
                <a:ea typeface="微软雅黑" panose="020B0503020204020204" pitchFamily="34" charset="-122"/>
                <a:sym typeface=""/>
              </a:rPr>
              <a:t>过去</a:t>
            </a:r>
            <a:endParaRPr lang="id-ID" altLang="zh-CN" sz="2000" b="1" dirty="0">
              <a:solidFill>
                <a:schemeClr val="tx1"/>
              </a:solidFill>
              <a:latin typeface=""/>
              <a:ea typeface="微软雅黑" panose="020B0503020204020204" pitchFamily="34" charset="-122"/>
              <a:sym typeface=""/>
            </a:endParaRPr>
          </a:p>
        </p:txBody>
      </p:sp>
      <p:sp>
        <p:nvSpPr>
          <p:cNvPr id="149" name="ïSlíḋe">
            <a:extLst>
              <a:ext uri="{FF2B5EF4-FFF2-40B4-BE49-F238E27FC236}">
                <a16:creationId xmlns:a16="http://schemas.microsoft.com/office/drawing/2014/main" id="{19447899-BC35-4E18-BC2E-D8B74AEA064C}"/>
              </a:ext>
            </a:extLst>
          </p:cNvPr>
          <p:cNvSpPr/>
          <p:nvPr/>
        </p:nvSpPr>
        <p:spPr>
          <a:xfrm>
            <a:off x="7596034" y="1250558"/>
            <a:ext cx="2833420" cy="425170"/>
          </a:xfrm>
          <a:prstGeom prst="rect">
            <a:avLst/>
          </a:prstGeom>
          <a:noFill/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>
              <a:lnSpc>
                <a:spcPct val="140000"/>
              </a:lnSpc>
            </a:pPr>
            <a:r>
              <a:rPr lang="zh-CN" altLang="en-US" sz="2000" b="1" dirty="0">
                <a:solidFill>
                  <a:schemeClr val="tx1"/>
                </a:solidFill>
                <a:latin typeface=""/>
                <a:ea typeface="微软雅黑" panose="020B0503020204020204" pitchFamily="34" charset="-122"/>
                <a:sym typeface=""/>
              </a:rPr>
              <a:t>愿景</a:t>
            </a:r>
            <a:endParaRPr lang="id-ID" altLang="zh-CN" sz="2000" b="1" dirty="0">
              <a:solidFill>
                <a:schemeClr val="tx1"/>
              </a:solidFill>
              <a:latin typeface=""/>
              <a:ea typeface="微软雅黑" panose="020B0503020204020204" pitchFamily="34" charset="-122"/>
              <a:sym typeface=""/>
            </a:endParaRPr>
          </a:p>
        </p:txBody>
      </p:sp>
      <p:sp>
        <p:nvSpPr>
          <p:cNvPr id="150" name="文本框 149">
            <a:extLst>
              <a:ext uri="{FF2B5EF4-FFF2-40B4-BE49-F238E27FC236}">
                <a16:creationId xmlns:a16="http://schemas.microsoft.com/office/drawing/2014/main" id="{D90F911A-3647-4B1B-AD53-DBEE406D7439}"/>
              </a:ext>
            </a:extLst>
          </p:cNvPr>
          <p:cNvSpPr txBox="1"/>
          <p:nvPr/>
        </p:nvSpPr>
        <p:spPr>
          <a:xfrm>
            <a:off x="7596034" y="543697"/>
            <a:ext cx="41075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新的预测方式衡量了不同的影响因素</a:t>
            </a:r>
          </a:p>
        </p:txBody>
      </p:sp>
    </p:spTree>
    <p:extLst>
      <p:ext uri="{BB962C8B-B14F-4D97-AF65-F5344CB8AC3E}">
        <p14:creationId xmlns:p14="http://schemas.microsoft.com/office/powerpoint/2010/main" val="14691205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îŝľiďê">
            <a:extLst>
              <a:ext uri="{FF2B5EF4-FFF2-40B4-BE49-F238E27FC236}">
                <a16:creationId xmlns:a16="http://schemas.microsoft.com/office/drawing/2014/main" id="{7E9FE16C-F1C1-4E7A-9A0B-31964842EDBF}"/>
              </a:ext>
            </a:extLst>
          </p:cNvPr>
          <p:cNvGrpSpPr/>
          <p:nvPr/>
        </p:nvGrpSpPr>
        <p:grpSpPr>
          <a:xfrm>
            <a:off x="-1240939" y="-3443"/>
            <a:ext cx="10903940" cy="4829828"/>
            <a:chOff x="644028" y="21043"/>
            <a:chExt cx="10903940" cy="4829828"/>
          </a:xfrm>
          <a:solidFill>
            <a:schemeClr val="bg1">
              <a:lumMod val="85000"/>
            </a:schemeClr>
          </a:solidFill>
        </p:grpSpPr>
        <p:sp>
          <p:nvSpPr>
            <p:cNvPr id="18" name="íṧ1ïḋè">
              <a:extLst>
                <a:ext uri="{FF2B5EF4-FFF2-40B4-BE49-F238E27FC236}">
                  <a16:creationId xmlns:a16="http://schemas.microsoft.com/office/drawing/2014/main" id="{67D6A2D6-5A9F-4963-B427-C919D51CB871}"/>
                </a:ext>
              </a:extLst>
            </p:cNvPr>
            <p:cNvSpPr/>
            <p:nvPr/>
          </p:nvSpPr>
          <p:spPr bwMode="auto">
            <a:xfrm>
              <a:off x="1333855" y="675944"/>
              <a:ext cx="286628" cy="286628"/>
            </a:xfrm>
            <a:custGeom>
              <a:avLst/>
              <a:gdLst>
                <a:gd name="T0" fmla="*/ 8083 w 16058"/>
                <a:gd name="T1" fmla="*/ 10645 h 16058"/>
                <a:gd name="T2" fmla="*/ 6322 w 16058"/>
                <a:gd name="T3" fmla="*/ 9396 h 16058"/>
                <a:gd name="T4" fmla="*/ 5244 w 16058"/>
                <a:gd name="T5" fmla="*/ 7514 h 16058"/>
                <a:gd name="T6" fmla="*/ 5076 w 16058"/>
                <a:gd name="T7" fmla="*/ 5258 h 16058"/>
                <a:gd name="T8" fmla="*/ 5875 w 16058"/>
                <a:gd name="T9" fmla="*/ 3217 h 16058"/>
                <a:gd name="T10" fmla="*/ 7435 w 16058"/>
                <a:gd name="T11" fmla="*/ 1730 h 16058"/>
                <a:gd name="T12" fmla="*/ 9523 w 16058"/>
                <a:gd name="T13" fmla="*/ 1030 h 16058"/>
                <a:gd name="T14" fmla="*/ 11761 w 16058"/>
                <a:gd name="T15" fmla="*/ 1308 h 16058"/>
                <a:gd name="T16" fmla="*/ 13584 w 16058"/>
                <a:gd name="T17" fmla="*/ 2474 h 16058"/>
                <a:gd name="T18" fmla="*/ 14750 w 16058"/>
                <a:gd name="T19" fmla="*/ 4297 h 16058"/>
                <a:gd name="T20" fmla="*/ 15028 w 16058"/>
                <a:gd name="T21" fmla="*/ 6535 h 16058"/>
                <a:gd name="T22" fmla="*/ 14328 w 16058"/>
                <a:gd name="T23" fmla="*/ 8624 h 16058"/>
                <a:gd name="T24" fmla="*/ 12841 w 16058"/>
                <a:gd name="T25" fmla="*/ 10183 h 16058"/>
                <a:gd name="T26" fmla="*/ 10800 w 16058"/>
                <a:gd name="T27" fmla="*/ 10982 h 16058"/>
                <a:gd name="T28" fmla="*/ 2326 w 16058"/>
                <a:gd name="T29" fmla="*/ 14973 h 16058"/>
                <a:gd name="T30" fmla="*/ 2162 w 16058"/>
                <a:gd name="T31" fmla="*/ 15080 h 16058"/>
                <a:gd name="T32" fmla="*/ 1975 w 16058"/>
                <a:gd name="T33" fmla="*/ 15148 h 16058"/>
                <a:gd name="T34" fmla="*/ 1771 w 16058"/>
                <a:gd name="T35" fmla="*/ 15172 h 16058"/>
                <a:gd name="T36" fmla="*/ 1387 w 16058"/>
                <a:gd name="T37" fmla="*/ 15084 h 16058"/>
                <a:gd name="T38" fmla="*/ 1088 w 16058"/>
                <a:gd name="T39" fmla="*/ 14850 h 16058"/>
                <a:gd name="T40" fmla="*/ 913 w 16058"/>
                <a:gd name="T41" fmla="*/ 14508 h 16058"/>
                <a:gd name="T42" fmla="*/ 890 w 16058"/>
                <a:gd name="T43" fmla="*/ 14194 h 16058"/>
                <a:gd name="T44" fmla="*/ 935 w 16058"/>
                <a:gd name="T45" fmla="*/ 13998 h 16058"/>
                <a:gd name="T46" fmla="*/ 1021 w 16058"/>
                <a:gd name="T47" fmla="*/ 13820 h 16058"/>
                <a:gd name="T48" fmla="*/ 1142 w 16058"/>
                <a:gd name="T49" fmla="*/ 13667 h 16058"/>
                <a:gd name="T50" fmla="*/ 5408 w 16058"/>
                <a:gd name="T51" fmla="*/ 9863 h 16058"/>
                <a:gd name="T52" fmla="*/ 5742 w 16058"/>
                <a:gd name="T53" fmla="*/ 10234 h 16058"/>
                <a:gd name="T54" fmla="*/ 6106 w 16058"/>
                <a:gd name="T55" fmla="*/ 10575 h 16058"/>
                <a:gd name="T56" fmla="*/ 2407 w 16058"/>
                <a:gd name="T57" fmla="*/ 14900 h 16058"/>
                <a:gd name="T58" fmla="*/ 7693 w 16058"/>
                <a:gd name="T59" fmla="*/ 474 h 16058"/>
                <a:gd name="T60" fmla="*/ 5579 w 16058"/>
                <a:gd name="T61" fmla="*/ 1973 h 16058"/>
                <a:gd name="T62" fmla="*/ 4285 w 16058"/>
                <a:gd name="T63" fmla="*/ 4231 h 16058"/>
                <a:gd name="T64" fmla="*/ 4022 w 16058"/>
                <a:gd name="T65" fmla="*/ 6306 h 16058"/>
                <a:gd name="T66" fmla="*/ 4119 w 16058"/>
                <a:gd name="T67" fmla="*/ 7138 h 16058"/>
                <a:gd name="T68" fmla="*/ 4326 w 16058"/>
                <a:gd name="T69" fmla="*/ 7930 h 16058"/>
                <a:gd name="T70" fmla="*/ 4634 w 16058"/>
                <a:gd name="T71" fmla="*/ 8676 h 16058"/>
                <a:gd name="T72" fmla="*/ 386 w 16058"/>
                <a:gd name="T73" fmla="*/ 13185 h 16058"/>
                <a:gd name="T74" fmla="*/ 179 w 16058"/>
                <a:gd name="T75" fmla="*/ 13512 h 16058"/>
                <a:gd name="T76" fmla="*/ 46 w 16058"/>
                <a:gd name="T77" fmla="*/ 13883 h 16058"/>
                <a:gd name="T78" fmla="*/ 0 w 16058"/>
                <a:gd name="T79" fmla="*/ 14287 h 16058"/>
                <a:gd name="T80" fmla="*/ 175 w 16058"/>
                <a:gd name="T81" fmla="*/ 15054 h 16058"/>
                <a:gd name="T82" fmla="*/ 644 w 16058"/>
                <a:gd name="T83" fmla="*/ 15654 h 16058"/>
                <a:gd name="T84" fmla="*/ 1329 w 16058"/>
                <a:gd name="T85" fmla="*/ 16002 h 16058"/>
                <a:gd name="T86" fmla="*/ 1954 w 16058"/>
                <a:gd name="T87" fmla="*/ 16049 h 16058"/>
                <a:gd name="T88" fmla="*/ 2344 w 16058"/>
                <a:gd name="T89" fmla="*/ 15963 h 16058"/>
                <a:gd name="T90" fmla="*/ 2698 w 16058"/>
                <a:gd name="T91" fmla="*/ 15795 h 16058"/>
                <a:gd name="T92" fmla="*/ 3003 w 16058"/>
                <a:gd name="T93" fmla="*/ 15557 h 16058"/>
                <a:gd name="T94" fmla="*/ 7703 w 16058"/>
                <a:gd name="T95" fmla="*/ 11572 h 16058"/>
                <a:gd name="T96" fmla="*/ 8472 w 16058"/>
                <a:gd name="T97" fmla="*/ 11837 h 16058"/>
                <a:gd name="T98" fmla="*/ 9285 w 16058"/>
                <a:gd name="T99" fmla="*/ 11996 h 16058"/>
                <a:gd name="T100" fmla="*/ 10346 w 16058"/>
                <a:gd name="T101" fmla="*/ 12035 h 16058"/>
                <a:gd name="T102" fmla="*/ 12907 w 16058"/>
                <a:gd name="T103" fmla="*/ 11317 h 16058"/>
                <a:gd name="T104" fmla="*/ 14862 w 16058"/>
                <a:gd name="T105" fmla="*/ 9625 h 16058"/>
                <a:gd name="T106" fmla="*/ 15936 w 16058"/>
                <a:gd name="T107" fmla="*/ 7235 h 16058"/>
                <a:gd name="T108" fmla="*/ 15868 w 16058"/>
                <a:gd name="T109" fmla="*/ 4517 h 16058"/>
                <a:gd name="T110" fmla="*/ 14683 w 16058"/>
                <a:gd name="T111" fmla="*/ 2191 h 16058"/>
                <a:gd name="T112" fmla="*/ 12647 w 16058"/>
                <a:gd name="T113" fmla="*/ 594 h 16058"/>
                <a:gd name="T114" fmla="*/ 10036 w 16058"/>
                <a:gd name="T115" fmla="*/ 0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058" h="16058">
                  <a:moveTo>
                    <a:pt x="10036" y="11040"/>
                  </a:moveTo>
                  <a:lnTo>
                    <a:pt x="9778" y="11034"/>
                  </a:lnTo>
                  <a:lnTo>
                    <a:pt x="9523" y="11014"/>
                  </a:lnTo>
                  <a:lnTo>
                    <a:pt x="9272" y="10982"/>
                  </a:lnTo>
                  <a:lnTo>
                    <a:pt x="9025" y="10938"/>
                  </a:lnTo>
                  <a:lnTo>
                    <a:pt x="8783" y="10882"/>
                  </a:lnTo>
                  <a:lnTo>
                    <a:pt x="8544" y="10814"/>
                  </a:lnTo>
                  <a:lnTo>
                    <a:pt x="8311" y="10736"/>
                  </a:lnTo>
                  <a:lnTo>
                    <a:pt x="8083" y="10645"/>
                  </a:lnTo>
                  <a:lnTo>
                    <a:pt x="7860" y="10545"/>
                  </a:lnTo>
                  <a:lnTo>
                    <a:pt x="7645" y="10434"/>
                  </a:lnTo>
                  <a:lnTo>
                    <a:pt x="7435" y="10313"/>
                  </a:lnTo>
                  <a:lnTo>
                    <a:pt x="7231" y="10183"/>
                  </a:lnTo>
                  <a:lnTo>
                    <a:pt x="7034" y="10043"/>
                  </a:lnTo>
                  <a:lnTo>
                    <a:pt x="6845" y="9894"/>
                  </a:lnTo>
                  <a:lnTo>
                    <a:pt x="6662" y="9736"/>
                  </a:lnTo>
                  <a:lnTo>
                    <a:pt x="6488" y="9570"/>
                  </a:lnTo>
                  <a:lnTo>
                    <a:pt x="6322" y="9396"/>
                  </a:lnTo>
                  <a:lnTo>
                    <a:pt x="6164" y="9213"/>
                  </a:lnTo>
                  <a:lnTo>
                    <a:pt x="6015" y="9024"/>
                  </a:lnTo>
                  <a:lnTo>
                    <a:pt x="5875" y="8827"/>
                  </a:lnTo>
                  <a:lnTo>
                    <a:pt x="5745" y="8624"/>
                  </a:lnTo>
                  <a:lnTo>
                    <a:pt x="5624" y="8413"/>
                  </a:lnTo>
                  <a:lnTo>
                    <a:pt x="5513" y="8198"/>
                  </a:lnTo>
                  <a:lnTo>
                    <a:pt x="5413" y="7975"/>
                  </a:lnTo>
                  <a:lnTo>
                    <a:pt x="5322" y="7747"/>
                  </a:lnTo>
                  <a:lnTo>
                    <a:pt x="5244" y="7514"/>
                  </a:lnTo>
                  <a:lnTo>
                    <a:pt x="5176" y="7275"/>
                  </a:lnTo>
                  <a:lnTo>
                    <a:pt x="5120" y="7033"/>
                  </a:lnTo>
                  <a:lnTo>
                    <a:pt x="5076" y="6786"/>
                  </a:lnTo>
                  <a:lnTo>
                    <a:pt x="5044" y="6535"/>
                  </a:lnTo>
                  <a:lnTo>
                    <a:pt x="5025" y="6280"/>
                  </a:lnTo>
                  <a:lnTo>
                    <a:pt x="5018" y="6022"/>
                  </a:lnTo>
                  <a:lnTo>
                    <a:pt x="5025" y="5764"/>
                  </a:lnTo>
                  <a:lnTo>
                    <a:pt x="5044" y="5509"/>
                  </a:lnTo>
                  <a:lnTo>
                    <a:pt x="5076" y="5258"/>
                  </a:lnTo>
                  <a:lnTo>
                    <a:pt x="5120" y="5011"/>
                  </a:lnTo>
                  <a:lnTo>
                    <a:pt x="5176" y="4768"/>
                  </a:lnTo>
                  <a:lnTo>
                    <a:pt x="5244" y="4529"/>
                  </a:lnTo>
                  <a:lnTo>
                    <a:pt x="5322" y="4297"/>
                  </a:lnTo>
                  <a:lnTo>
                    <a:pt x="5413" y="4069"/>
                  </a:lnTo>
                  <a:lnTo>
                    <a:pt x="5513" y="3846"/>
                  </a:lnTo>
                  <a:lnTo>
                    <a:pt x="5624" y="3630"/>
                  </a:lnTo>
                  <a:lnTo>
                    <a:pt x="5745" y="3420"/>
                  </a:lnTo>
                  <a:lnTo>
                    <a:pt x="5875" y="3217"/>
                  </a:lnTo>
                  <a:lnTo>
                    <a:pt x="6015" y="3020"/>
                  </a:lnTo>
                  <a:lnTo>
                    <a:pt x="6164" y="2830"/>
                  </a:lnTo>
                  <a:lnTo>
                    <a:pt x="6322" y="2648"/>
                  </a:lnTo>
                  <a:lnTo>
                    <a:pt x="6488" y="2474"/>
                  </a:lnTo>
                  <a:lnTo>
                    <a:pt x="6662" y="2307"/>
                  </a:lnTo>
                  <a:lnTo>
                    <a:pt x="6845" y="2150"/>
                  </a:lnTo>
                  <a:lnTo>
                    <a:pt x="7034" y="2000"/>
                  </a:lnTo>
                  <a:lnTo>
                    <a:pt x="7231" y="1861"/>
                  </a:lnTo>
                  <a:lnTo>
                    <a:pt x="7435" y="1730"/>
                  </a:lnTo>
                  <a:lnTo>
                    <a:pt x="7645" y="1610"/>
                  </a:lnTo>
                  <a:lnTo>
                    <a:pt x="7860" y="1498"/>
                  </a:lnTo>
                  <a:lnTo>
                    <a:pt x="8083" y="1398"/>
                  </a:lnTo>
                  <a:lnTo>
                    <a:pt x="8311" y="1308"/>
                  </a:lnTo>
                  <a:lnTo>
                    <a:pt x="8544" y="1229"/>
                  </a:lnTo>
                  <a:lnTo>
                    <a:pt x="8783" y="1161"/>
                  </a:lnTo>
                  <a:lnTo>
                    <a:pt x="9025" y="1106"/>
                  </a:lnTo>
                  <a:lnTo>
                    <a:pt x="9272" y="1062"/>
                  </a:lnTo>
                  <a:lnTo>
                    <a:pt x="9523" y="1030"/>
                  </a:lnTo>
                  <a:lnTo>
                    <a:pt x="9778" y="1010"/>
                  </a:lnTo>
                  <a:lnTo>
                    <a:pt x="10036" y="1004"/>
                  </a:lnTo>
                  <a:lnTo>
                    <a:pt x="10294" y="1010"/>
                  </a:lnTo>
                  <a:lnTo>
                    <a:pt x="10549" y="1030"/>
                  </a:lnTo>
                  <a:lnTo>
                    <a:pt x="10800" y="1062"/>
                  </a:lnTo>
                  <a:lnTo>
                    <a:pt x="11048" y="1106"/>
                  </a:lnTo>
                  <a:lnTo>
                    <a:pt x="11291" y="1161"/>
                  </a:lnTo>
                  <a:lnTo>
                    <a:pt x="11529" y="1229"/>
                  </a:lnTo>
                  <a:lnTo>
                    <a:pt x="11761" y="1308"/>
                  </a:lnTo>
                  <a:lnTo>
                    <a:pt x="11989" y="1398"/>
                  </a:lnTo>
                  <a:lnTo>
                    <a:pt x="12212" y="1498"/>
                  </a:lnTo>
                  <a:lnTo>
                    <a:pt x="12428" y="1610"/>
                  </a:lnTo>
                  <a:lnTo>
                    <a:pt x="12639" y="1730"/>
                  </a:lnTo>
                  <a:lnTo>
                    <a:pt x="12841" y="1861"/>
                  </a:lnTo>
                  <a:lnTo>
                    <a:pt x="13038" y="2000"/>
                  </a:lnTo>
                  <a:lnTo>
                    <a:pt x="13228" y="2150"/>
                  </a:lnTo>
                  <a:lnTo>
                    <a:pt x="13410" y="2307"/>
                  </a:lnTo>
                  <a:lnTo>
                    <a:pt x="13584" y="2474"/>
                  </a:lnTo>
                  <a:lnTo>
                    <a:pt x="13751" y="2648"/>
                  </a:lnTo>
                  <a:lnTo>
                    <a:pt x="13908" y="2830"/>
                  </a:lnTo>
                  <a:lnTo>
                    <a:pt x="14058" y="3020"/>
                  </a:lnTo>
                  <a:lnTo>
                    <a:pt x="14197" y="3217"/>
                  </a:lnTo>
                  <a:lnTo>
                    <a:pt x="14328" y="3420"/>
                  </a:lnTo>
                  <a:lnTo>
                    <a:pt x="14448" y="3630"/>
                  </a:lnTo>
                  <a:lnTo>
                    <a:pt x="14560" y="3846"/>
                  </a:lnTo>
                  <a:lnTo>
                    <a:pt x="14660" y="4069"/>
                  </a:lnTo>
                  <a:lnTo>
                    <a:pt x="14750" y="4297"/>
                  </a:lnTo>
                  <a:lnTo>
                    <a:pt x="14829" y="4529"/>
                  </a:lnTo>
                  <a:lnTo>
                    <a:pt x="14897" y="4768"/>
                  </a:lnTo>
                  <a:lnTo>
                    <a:pt x="14952" y="5011"/>
                  </a:lnTo>
                  <a:lnTo>
                    <a:pt x="14996" y="5258"/>
                  </a:lnTo>
                  <a:lnTo>
                    <a:pt x="15028" y="5509"/>
                  </a:lnTo>
                  <a:lnTo>
                    <a:pt x="15048" y="5764"/>
                  </a:lnTo>
                  <a:lnTo>
                    <a:pt x="15054" y="6022"/>
                  </a:lnTo>
                  <a:lnTo>
                    <a:pt x="15048" y="6280"/>
                  </a:lnTo>
                  <a:lnTo>
                    <a:pt x="15028" y="6535"/>
                  </a:lnTo>
                  <a:lnTo>
                    <a:pt x="14996" y="6786"/>
                  </a:lnTo>
                  <a:lnTo>
                    <a:pt x="14952" y="7033"/>
                  </a:lnTo>
                  <a:lnTo>
                    <a:pt x="14897" y="7275"/>
                  </a:lnTo>
                  <a:lnTo>
                    <a:pt x="14829" y="7514"/>
                  </a:lnTo>
                  <a:lnTo>
                    <a:pt x="14750" y="7747"/>
                  </a:lnTo>
                  <a:lnTo>
                    <a:pt x="14660" y="7975"/>
                  </a:lnTo>
                  <a:lnTo>
                    <a:pt x="14560" y="8198"/>
                  </a:lnTo>
                  <a:lnTo>
                    <a:pt x="14448" y="8413"/>
                  </a:lnTo>
                  <a:lnTo>
                    <a:pt x="14328" y="8624"/>
                  </a:lnTo>
                  <a:lnTo>
                    <a:pt x="14197" y="8827"/>
                  </a:lnTo>
                  <a:lnTo>
                    <a:pt x="14058" y="9024"/>
                  </a:lnTo>
                  <a:lnTo>
                    <a:pt x="13908" y="9213"/>
                  </a:lnTo>
                  <a:lnTo>
                    <a:pt x="13751" y="9396"/>
                  </a:lnTo>
                  <a:lnTo>
                    <a:pt x="13584" y="9570"/>
                  </a:lnTo>
                  <a:lnTo>
                    <a:pt x="13410" y="9736"/>
                  </a:lnTo>
                  <a:lnTo>
                    <a:pt x="13228" y="9894"/>
                  </a:lnTo>
                  <a:lnTo>
                    <a:pt x="13038" y="10043"/>
                  </a:lnTo>
                  <a:lnTo>
                    <a:pt x="12841" y="10183"/>
                  </a:lnTo>
                  <a:lnTo>
                    <a:pt x="12639" y="10313"/>
                  </a:lnTo>
                  <a:lnTo>
                    <a:pt x="12428" y="10434"/>
                  </a:lnTo>
                  <a:lnTo>
                    <a:pt x="12212" y="10545"/>
                  </a:lnTo>
                  <a:lnTo>
                    <a:pt x="11989" y="10645"/>
                  </a:lnTo>
                  <a:lnTo>
                    <a:pt x="11761" y="10736"/>
                  </a:lnTo>
                  <a:lnTo>
                    <a:pt x="11529" y="10814"/>
                  </a:lnTo>
                  <a:lnTo>
                    <a:pt x="11291" y="10882"/>
                  </a:lnTo>
                  <a:lnTo>
                    <a:pt x="11048" y="10938"/>
                  </a:lnTo>
                  <a:lnTo>
                    <a:pt x="10800" y="10982"/>
                  </a:lnTo>
                  <a:lnTo>
                    <a:pt x="10549" y="11014"/>
                  </a:lnTo>
                  <a:lnTo>
                    <a:pt x="10294" y="11034"/>
                  </a:lnTo>
                  <a:lnTo>
                    <a:pt x="10036" y="11040"/>
                  </a:lnTo>
                  <a:close/>
                  <a:moveTo>
                    <a:pt x="2407" y="14900"/>
                  </a:moveTo>
                  <a:lnTo>
                    <a:pt x="2391" y="14915"/>
                  </a:lnTo>
                  <a:lnTo>
                    <a:pt x="2376" y="14930"/>
                  </a:lnTo>
                  <a:lnTo>
                    <a:pt x="2360" y="14945"/>
                  </a:lnTo>
                  <a:lnTo>
                    <a:pt x="2342" y="14959"/>
                  </a:lnTo>
                  <a:lnTo>
                    <a:pt x="2326" y="14973"/>
                  </a:lnTo>
                  <a:lnTo>
                    <a:pt x="2309" y="14987"/>
                  </a:lnTo>
                  <a:lnTo>
                    <a:pt x="2291" y="15000"/>
                  </a:lnTo>
                  <a:lnTo>
                    <a:pt x="2274" y="15013"/>
                  </a:lnTo>
                  <a:lnTo>
                    <a:pt x="2256" y="15025"/>
                  </a:lnTo>
                  <a:lnTo>
                    <a:pt x="2238" y="15037"/>
                  </a:lnTo>
                  <a:lnTo>
                    <a:pt x="2219" y="15048"/>
                  </a:lnTo>
                  <a:lnTo>
                    <a:pt x="2200" y="15059"/>
                  </a:lnTo>
                  <a:lnTo>
                    <a:pt x="2181" y="15069"/>
                  </a:lnTo>
                  <a:lnTo>
                    <a:pt x="2162" y="15080"/>
                  </a:lnTo>
                  <a:lnTo>
                    <a:pt x="2142" y="15090"/>
                  </a:lnTo>
                  <a:lnTo>
                    <a:pt x="2122" y="15099"/>
                  </a:lnTo>
                  <a:lnTo>
                    <a:pt x="2102" y="15108"/>
                  </a:lnTo>
                  <a:lnTo>
                    <a:pt x="2081" y="15116"/>
                  </a:lnTo>
                  <a:lnTo>
                    <a:pt x="2060" y="15123"/>
                  </a:lnTo>
                  <a:lnTo>
                    <a:pt x="2039" y="15130"/>
                  </a:lnTo>
                  <a:lnTo>
                    <a:pt x="2018" y="15137"/>
                  </a:lnTo>
                  <a:lnTo>
                    <a:pt x="1996" y="15143"/>
                  </a:lnTo>
                  <a:lnTo>
                    <a:pt x="1975" y="15148"/>
                  </a:lnTo>
                  <a:lnTo>
                    <a:pt x="1953" y="15153"/>
                  </a:lnTo>
                  <a:lnTo>
                    <a:pt x="1931" y="15158"/>
                  </a:lnTo>
                  <a:lnTo>
                    <a:pt x="1909" y="15162"/>
                  </a:lnTo>
                  <a:lnTo>
                    <a:pt x="1886" y="15165"/>
                  </a:lnTo>
                  <a:lnTo>
                    <a:pt x="1864" y="15168"/>
                  </a:lnTo>
                  <a:lnTo>
                    <a:pt x="1841" y="15170"/>
                  </a:lnTo>
                  <a:lnTo>
                    <a:pt x="1818" y="15171"/>
                  </a:lnTo>
                  <a:lnTo>
                    <a:pt x="1794" y="15172"/>
                  </a:lnTo>
                  <a:lnTo>
                    <a:pt x="1771" y="15172"/>
                  </a:lnTo>
                  <a:lnTo>
                    <a:pt x="1725" y="15171"/>
                  </a:lnTo>
                  <a:lnTo>
                    <a:pt x="1680" y="15168"/>
                  </a:lnTo>
                  <a:lnTo>
                    <a:pt x="1636" y="15162"/>
                  </a:lnTo>
                  <a:lnTo>
                    <a:pt x="1593" y="15154"/>
                  </a:lnTo>
                  <a:lnTo>
                    <a:pt x="1550" y="15145"/>
                  </a:lnTo>
                  <a:lnTo>
                    <a:pt x="1507" y="15133"/>
                  </a:lnTo>
                  <a:lnTo>
                    <a:pt x="1466" y="15119"/>
                  </a:lnTo>
                  <a:lnTo>
                    <a:pt x="1426" y="15103"/>
                  </a:lnTo>
                  <a:lnTo>
                    <a:pt x="1387" y="15084"/>
                  </a:lnTo>
                  <a:lnTo>
                    <a:pt x="1349" y="15065"/>
                  </a:lnTo>
                  <a:lnTo>
                    <a:pt x="1312" y="15044"/>
                  </a:lnTo>
                  <a:lnTo>
                    <a:pt x="1276" y="15021"/>
                  </a:lnTo>
                  <a:lnTo>
                    <a:pt x="1241" y="14996"/>
                  </a:lnTo>
                  <a:lnTo>
                    <a:pt x="1208" y="14970"/>
                  </a:lnTo>
                  <a:lnTo>
                    <a:pt x="1176" y="14942"/>
                  </a:lnTo>
                  <a:lnTo>
                    <a:pt x="1145" y="14913"/>
                  </a:lnTo>
                  <a:lnTo>
                    <a:pt x="1116" y="14882"/>
                  </a:lnTo>
                  <a:lnTo>
                    <a:pt x="1088" y="14850"/>
                  </a:lnTo>
                  <a:lnTo>
                    <a:pt x="1062" y="14817"/>
                  </a:lnTo>
                  <a:lnTo>
                    <a:pt x="1037" y="14782"/>
                  </a:lnTo>
                  <a:lnTo>
                    <a:pt x="1014" y="14746"/>
                  </a:lnTo>
                  <a:lnTo>
                    <a:pt x="993" y="14709"/>
                  </a:lnTo>
                  <a:lnTo>
                    <a:pt x="974" y="14671"/>
                  </a:lnTo>
                  <a:lnTo>
                    <a:pt x="955" y="14632"/>
                  </a:lnTo>
                  <a:lnTo>
                    <a:pt x="939" y="14592"/>
                  </a:lnTo>
                  <a:lnTo>
                    <a:pt x="925" y="14551"/>
                  </a:lnTo>
                  <a:lnTo>
                    <a:pt x="913" y="14508"/>
                  </a:lnTo>
                  <a:lnTo>
                    <a:pt x="903" y="14465"/>
                  </a:lnTo>
                  <a:lnTo>
                    <a:pt x="896" y="14422"/>
                  </a:lnTo>
                  <a:lnTo>
                    <a:pt x="890" y="14378"/>
                  </a:lnTo>
                  <a:lnTo>
                    <a:pt x="887" y="14333"/>
                  </a:lnTo>
                  <a:lnTo>
                    <a:pt x="886" y="14287"/>
                  </a:lnTo>
                  <a:lnTo>
                    <a:pt x="886" y="14264"/>
                  </a:lnTo>
                  <a:lnTo>
                    <a:pt x="887" y="14240"/>
                  </a:lnTo>
                  <a:lnTo>
                    <a:pt x="888" y="14217"/>
                  </a:lnTo>
                  <a:lnTo>
                    <a:pt x="890" y="14194"/>
                  </a:lnTo>
                  <a:lnTo>
                    <a:pt x="893" y="14172"/>
                  </a:lnTo>
                  <a:lnTo>
                    <a:pt x="896" y="14149"/>
                  </a:lnTo>
                  <a:lnTo>
                    <a:pt x="900" y="14127"/>
                  </a:lnTo>
                  <a:lnTo>
                    <a:pt x="905" y="14105"/>
                  </a:lnTo>
                  <a:lnTo>
                    <a:pt x="910" y="14083"/>
                  </a:lnTo>
                  <a:lnTo>
                    <a:pt x="915" y="14062"/>
                  </a:lnTo>
                  <a:lnTo>
                    <a:pt x="921" y="14040"/>
                  </a:lnTo>
                  <a:lnTo>
                    <a:pt x="928" y="14019"/>
                  </a:lnTo>
                  <a:lnTo>
                    <a:pt x="935" y="13998"/>
                  </a:lnTo>
                  <a:lnTo>
                    <a:pt x="942" y="13977"/>
                  </a:lnTo>
                  <a:lnTo>
                    <a:pt x="950" y="13956"/>
                  </a:lnTo>
                  <a:lnTo>
                    <a:pt x="959" y="13936"/>
                  </a:lnTo>
                  <a:lnTo>
                    <a:pt x="968" y="13916"/>
                  </a:lnTo>
                  <a:lnTo>
                    <a:pt x="978" y="13896"/>
                  </a:lnTo>
                  <a:lnTo>
                    <a:pt x="988" y="13877"/>
                  </a:lnTo>
                  <a:lnTo>
                    <a:pt x="999" y="13858"/>
                  </a:lnTo>
                  <a:lnTo>
                    <a:pt x="1010" y="13839"/>
                  </a:lnTo>
                  <a:lnTo>
                    <a:pt x="1021" y="13820"/>
                  </a:lnTo>
                  <a:lnTo>
                    <a:pt x="1033" y="13802"/>
                  </a:lnTo>
                  <a:lnTo>
                    <a:pt x="1045" y="13784"/>
                  </a:lnTo>
                  <a:lnTo>
                    <a:pt x="1058" y="13767"/>
                  </a:lnTo>
                  <a:lnTo>
                    <a:pt x="1071" y="13749"/>
                  </a:lnTo>
                  <a:lnTo>
                    <a:pt x="1085" y="13732"/>
                  </a:lnTo>
                  <a:lnTo>
                    <a:pt x="1099" y="13716"/>
                  </a:lnTo>
                  <a:lnTo>
                    <a:pt x="1113" y="13698"/>
                  </a:lnTo>
                  <a:lnTo>
                    <a:pt x="1127" y="13682"/>
                  </a:lnTo>
                  <a:lnTo>
                    <a:pt x="1142" y="13667"/>
                  </a:lnTo>
                  <a:lnTo>
                    <a:pt x="1158" y="13651"/>
                  </a:lnTo>
                  <a:lnTo>
                    <a:pt x="1154" y="13647"/>
                  </a:lnTo>
                  <a:lnTo>
                    <a:pt x="5202" y="9601"/>
                  </a:lnTo>
                  <a:lnTo>
                    <a:pt x="5235" y="9645"/>
                  </a:lnTo>
                  <a:lnTo>
                    <a:pt x="5268" y="9689"/>
                  </a:lnTo>
                  <a:lnTo>
                    <a:pt x="5302" y="9733"/>
                  </a:lnTo>
                  <a:lnTo>
                    <a:pt x="5337" y="9776"/>
                  </a:lnTo>
                  <a:lnTo>
                    <a:pt x="5372" y="9819"/>
                  </a:lnTo>
                  <a:lnTo>
                    <a:pt x="5408" y="9863"/>
                  </a:lnTo>
                  <a:lnTo>
                    <a:pt x="5443" y="9906"/>
                  </a:lnTo>
                  <a:lnTo>
                    <a:pt x="5479" y="9948"/>
                  </a:lnTo>
                  <a:lnTo>
                    <a:pt x="5516" y="9989"/>
                  </a:lnTo>
                  <a:lnTo>
                    <a:pt x="5552" y="10031"/>
                  </a:lnTo>
                  <a:lnTo>
                    <a:pt x="5589" y="10072"/>
                  </a:lnTo>
                  <a:lnTo>
                    <a:pt x="5627" y="10114"/>
                  </a:lnTo>
                  <a:lnTo>
                    <a:pt x="5665" y="10154"/>
                  </a:lnTo>
                  <a:lnTo>
                    <a:pt x="5704" y="10194"/>
                  </a:lnTo>
                  <a:lnTo>
                    <a:pt x="5742" y="10234"/>
                  </a:lnTo>
                  <a:lnTo>
                    <a:pt x="5781" y="10273"/>
                  </a:lnTo>
                  <a:lnTo>
                    <a:pt x="5820" y="10312"/>
                  </a:lnTo>
                  <a:lnTo>
                    <a:pt x="5860" y="10350"/>
                  </a:lnTo>
                  <a:lnTo>
                    <a:pt x="5900" y="10390"/>
                  </a:lnTo>
                  <a:lnTo>
                    <a:pt x="5940" y="10427"/>
                  </a:lnTo>
                  <a:lnTo>
                    <a:pt x="5982" y="10465"/>
                  </a:lnTo>
                  <a:lnTo>
                    <a:pt x="6023" y="10502"/>
                  </a:lnTo>
                  <a:lnTo>
                    <a:pt x="6064" y="10539"/>
                  </a:lnTo>
                  <a:lnTo>
                    <a:pt x="6106" y="10575"/>
                  </a:lnTo>
                  <a:lnTo>
                    <a:pt x="6148" y="10611"/>
                  </a:lnTo>
                  <a:lnTo>
                    <a:pt x="6190" y="10647"/>
                  </a:lnTo>
                  <a:lnTo>
                    <a:pt x="6234" y="10683"/>
                  </a:lnTo>
                  <a:lnTo>
                    <a:pt x="6277" y="10718"/>
                  </a:lnTo>
                  <a:lnTo>
                    <a:pt x="6320" y="10752"/>
                  </a:lnTo>
                  <a:lnTo>
                    <a:pt x="6364" y="10786"/>
                  </a:lnTo>
                  <a:lnTo>
                    <a:pt x="6408" y="10820"/>
                  </a:lnTo>
                  <a:lnTo>
                    <a:pt x="6453" y="10854"/>
                  </a:lnTo>
                  <a:lnTo>
                    <a:pt x="2407" y="14900"/>
                  </a:lnTo>
                  <a:close/>
                  <a:moveTo>
                    <a:pt x="10036" y="0"/>
                  </a:moveTo>
                  <a:lnTo>
                    <a:pt x="9726" y="8"/>
                  </a:lnTo>
                  <a:lnTo>
                    <a:pt x="9421" y="31"/>
                  </a:lnTo>
                  <a:lnTo>
                    <a:pt x="9119" y="69"/>
                  </a:lnTo>
                  <a:lnTo>
                    <a:pt x="8823" y="122"/>
                  </a:lnTo>
                  <a:lnTo>
                    <a:pt x="8532" y="190"/>
                  </a:lnTo>
                  <a:lnTo>
                    <a:pt x="8246" y="271"/>
                  </a:lnTo>
                  <a:lnTo>
                    <a:pt x="7966" y="365"/>
                  </a:lnTo>
                  <a:lnTo>
                    <a:pt x="7693" y="474"/>
                  </a:lnTo>
                  <a:lnTo>
                    <a:pt x="7426" y="594"/>
                  </a:lnTo>
                  <a:lnTo>
                    <a:pt x="7166" y="727"/>
                  </a:lnTo>
                  <a:lnTo>
                    <a:pt x="6914" y="872"/>
                  </a:lnTo>
                  <a:lnTo>
                    <a:pt x="6669" y="1029"/>
                  </a:lnTo>
                  <a:lnTo>
                    <a:pt x="6433" y="1196"/>
                  </a:lnTo>
                  <a:lnTo>
                    <a:pt x="6206" y="1375"/>
                  </a:lnTo>
                  <a:lnTo>
                    <a:pt x="5988" y="1565"/>
                  </a:lnTo>
                  <a:lnTo>
                    <a:pt x="5778" y="1763"/>
                  </a:lnTo>
                  <a:lnTo>
                    <a:pt x="5579" y="1973"/>
                  </a:lnTo>
                  <a:lnTo>
                    <a:pt x="5389" y="2191"/>
                  </a:lnTo>
                  <a:lnTo>
                    <a:pt x="5211" y="2419"/>
                  </a:lnTo>
                  <a:lnTo>
                    <a:pt x="5043" y="2655"/>
                  </a:lnTo>
                  <a:lnTo>
                    <a:pt x="4887" y="2899"/>
                  </a:lnTo>
                  <a:lnTo>
                    <a:pt x="4741" y="3151"/>
                  </a:lnTo>
                  <a:lnTo>
                    <a:pt x="4609" y="3411"/>
                  </a:lnTo>
                  <a:lnTo>
                    <a:pt x="4488" y="3678"/>
                  </a:lnTo>
                  <a:lnTo>
                    <a:pt x="4380" y="3951"/>
                  </a:lnTo>
                  <a:lnTo>
                    <a:pt x="4285" y="4231"/>
                  </a:lnTo>
                  <a:lnTo>
                    <a:pt x="4204" y="4517"/>
                  </a:lnTo>
                  <a:lnTo>
                    <a:pt x="4137" y="4808"/>
                  </a:lnTo>
                  <a:lnTo>
                    <a:pt x="4084" y="5104"/>
                  </a:lnTo>
                  <a:lnTo>
                    <a:pt x="4046" y="5407"/>
                  </a:lnTo>
                  <a:lnTo>
                    <a:pt x="4023" y="5712"/>
                  </a:lnTo>
                  <a:lnTo>
                    <a:pt x="4015" y="6022"/>
                  </a:lnTo>
                  <a:lnTo>
                    <a:pt x="4016" y="6117"/>
                  </a:lnTo>
                  <a:lnTo>
                    <a:pt x="4018" y="6211"/>
                  </a:lnTo>
                  <a:lnTo>
                    <a:pt x="4022" y="6306"/>
                  </a:lnTo>
                  <a:lnTo>
                    <a:pt x="4027" y="6400"/>
                  </a:lnTo>
                  <a:lnTo>
                    <a:pt x="4033" y="6493"/>
                  </a:lnTo>
                  <a:lnTo>
                    <a:pt x="4041" y="6587"/>
                  </a:lnTo>
                  <a:lnTo>
                    <a:pt x="4051" y="6680"/>
                  </a:lnTo>
                  <a:lnTo>
                    <a:pt x="4062" y="6772"/>
                  </a:lnTo>
                  <a:lnTo>
                    <a:pt x="4074" y="6864"/>
                  </a:lnTo>
                  <a:lnTo>
                    <a:pt x="4087" y="6956"/>
                  </a:lnTo>
                  <a:lnTo>
                    <a:pt x="4102" y="7046"/>
                  </a:lnTo>
                  <a:lnTo>
                    <a:pt x="4119" y="7138"/>
                  </a:lnTo>
                  <a:lnTo>
                    <a:pt x="4136" y="7227"/>
                  </a:lnTo>
                  <a:lnTo>
                    <a:pt x="4155" y="7317"/>
                  </a:lnTo>
                  <a:lnTo>
                    <a:pt x="4176" y="7406"/>
                  </a:lnTo>
                  <a:lnTo>
                    <a:pt x="4197" y="7495"/>
                  </a:lnTo>
                  <a:lnTo>
                    <a:pt x="4220" y="7583"/>
                  </a:lnTo>
                  <a:lnTo>
                    <a:pt x="4244" y="7671"/>
                  </a:lnTo>
                  <a:lnTo>
                    <a:pt x="4270" y="7758"/>
                  </a:lnTo>
                  <a:lnTo>
                    <a:pt x="4298" y="7844"/>
                  </a:lnTo>
                  <a:lnTo>
                    <a:pt x="4326" y="7930"/>
                  </a:lnTo>
                  <a:lnTo>
                    <a:pt x="4355" y="8015"/>
                  </a:lnTo>
                  <a:lnTo>
                    <a:pt x="4386" y="8100"/>
                  </a:lnTo>
                  <a:lnTo>
                    <a:pt x="4417" y="8185"/>
                  </a:lnTo>
                  <a:lnTo>
                    <a:pt x="4450" y="8268"/>
                  </a:lnTo>
                  <a:lnTo>
                    <a:pt x="4484" y="8351"/>
                  </a:lnTo>
                  <a:lnTo>
                    <a:pt x="4520" y="8433"/>
                  </a:lnTo>
                  <a:lnTo>
                    <a:pt x="4556" y="8515"/>
                  </a:lnTo>
                  <a:lnTo>
                    <a:pt x="4595" y="8596"/>
                  </a:lnTo>
                  <a:lnTo>
                    <a:pt x="4634" y="8676"/>
                  </a:lnTo>
                  <a:lnTo>
                    <a:pt x="4673" y="8757"/>
                  </a:lnTo>
                  <a:lnTo>
                    <a:pt x="4715" y="8835"/>
                  </a:lnTo>
                  <a:lnTo>
                    <a:pt x="528" y="13021"/>
                  </a:lnTo>
                  <a:lnTo>
                    <a:pt x="531" y="13025"/>
                  </a:lnTo>
                  <a:lnTo>
                    <a:pt x="501" y="13055"/>
                  </a:lnTo>
                  <a:lnTo>
                    <a:pt x="471" y="13086"/>
                  </a:lnTo>
                  <a:lnTo>
                    <a:pt x="443" y="13118"/>
                  </a:lnTo>
                  <a:lnTo>
                    <a:pt x="414" y="13152"/>
                  </a:lnTo>
                  <a:lnTo>
                    <a:pt x="386" y="13185"/>
                  </a:lnTo>
                  <a:lnTo>
                    <a:pt x="360" y="13219"/>
                  </a:lnTo>
                  <a:lnTo>
                    <a:pt x="335" y="13253"/>
                  </a:lnTo>
                  <a:lnTo>
                    <a:pt x="310" y="13288"/>
                  </a:lnTo>
                  <a:lnTo>
                    <a:pt x="286" y="13324"/>
                  </a:lnTo>
                  <a:lnTo>
                    <a:pt x="263" y="13360"/>
                  </a:lnTo>
                  <a:lnTo>
                    <a:pt x="241" y="13397"/>
                  </a:lnTo>
                  <a:lnTo>
                    <a:pt x="219" y="13436"/>
                  </a:lnTo>
                  <a:lnTo>
                    <a:pt x="199" y="13474"/>
                  </a:lnTo>
                  <a:lnTo>
                    <a:pt x="179" y="13512"/>
                  </a:lnTo>
                  <a:lnTo>
                    <a:pt x="161" y="13551"/>
                  </a:lnTo>
                  <a:lnTo>
                    <a:pt x="143" y="13591"/>
                  </a:lnTo>
                  <a:lnTo>
                    <a:pt x="126" y="13631"/>
                  </a:lnTo>
                  <a:lnTo>
                    <a:pt x="110" y="13672"/>
                  </a:lnTo>
                  <a:lnTo>
                    <a:pt x="95" y="13714"/>
                  </a:lnTo>
                  <a:lnTo>
                    <a:pt x="81" y="13755"/>
                  </a:lnTo>
                  <a:lnTo>
                    <a:pt x="69" y="13797"/>
                  </a:lnTo>
                  <a:lnTo>
                    <a:pt x="57" y="13840"/>
                  </a:lnTo>
                  <a:lnTo>
                    <a:pt x="46" y="13883"/>
                  </a:lnTo>
                  <a:lnTo>
                    <a:pt x="37" y="13926"/>
                  </a:lnTo>
                  <a:lnTo>
                    <a:pt x="28" y="13970"/>
                  </a:lnTo>
                  <a:lnTo>
                    <a:pt x="21" y="14015"/>
                  </a:lnTo>
                  <a:lnTo>
                    <a:pt x="15" y="14059"/>
                  </a:lnTo>
                  <a:lnTo>
                    <a:pt x="9" y="14104"/>
                  </a:lnTo>
                  <a:lnTo>
                    <a:pt x="5" y="14149"/>
                  </a:lnTo>
                  <a:lnTo>
                    <a:pt x="2" y="14195"/>
                  </a:lnTo>
                  <a:lnTo>
                    <a:pt x="1" y="14240"/>
                  </a:lnTo>
                  <a:lnTo>
                    <a:pt x="0" y="14287"/>
                  </a:lnTo>
                  <a:lnTo>
                    <a:pt x="2" y="14378"/>
                  </a:lnTo>
                  <a:lnTo>
                    <a:pt x="9" y="14468"/>
                  </a:lnTo>
                  <a:lnTo>
                    <a:pt x="20" y="14557"/>
                  </a:lnTo>
                  <a:lnTo>
                    <a:pt x="36" y="14644"/>
                  </a:lnTo>
                  <a:lnTo>
                    <a:pt x="56" y="14729"/>
                  </a:lnTo>
                  <a:lnTo>
                    <a:pt x="79" y="14814"/>
                  </a:lnTo>
                  <a:lnTo>
                    <a:pt x="107" y="14896"/>
                  </a:lnTo>
                  <a:lnTo>
                    <a:pt x="140" y="14976"/>
                  </a:lnTo>
                  <a:lnTo>
                    <a:pt x="175" y="15054"/>
                  </a:lnTo>
                  <a:lnTo>
                    <a:pt x="214" y="15132"/>
                  </a:lnTo>
                  <a:lnTo>
                    <a:pt x="256" y="15205"/>
                  </a:lnTo>
                  <a:lnTo>
                    <a:pt x="302" y="15277"/>
                  </a:lnTo>
                  <a:lnTo>
                    <a:pt x="352" y="15346"/>
                  </a:lnTo>
                  <a:lnTo>
                    <a:pt x="404" y="15414"/>
                  </a:lnTo>
                  <a:lnTo>
                    <a:pt x="460" y="15478"/>
                  </a:lnTo>
                  <a:lnTo>
                    <a:pt x="519" y="15539"/>
                  </a:lnTo>
                  <a:lnTo>
                    <a:pt x="580" y="15598"/>
                  </a:lnTo>
                  <a:lnTo>
                    <a:pt x="644" y="15654"/>
                  </a:lnTo>
                  <a:lnTo>
                    <a:pt x="712" y="15706"/>
                  </a:lnTo>
                  <a:lnTo>
                    <a:pt x="781" y="15756"/>
                  </a:lnTo>
                  <a:lnTo>
                    <a:pt x="853" y="15801"/>
                  </a:lnTo>
                  <a:lnTo>
                    <a:pt x="926" y="15844"/>
                  </a:lnTo>
                  <a:lnTo>
                    <a:pt x="1004" y="15883"/>
                  </a:lnTo>
                  <a:lnTo>
                    <a:pt x="1082" y="15918"/>
                  </a:lnTo>
                  <a:lnTo>
                    <a:pt x="1162" y="15951"/>
                  </a:lnTo>
                  <a:lnTo>
                    <a:pt x="1244" y="15979"/>
                  </a:lnTo>
                  <a:lnTo>
                    <a:pt x="1329" y="16002"/>
                  </a:lnTo>
                  <a:lnTo>
                    <a:pt x="1414" y="16022"/>
                  </a:lnTo>
                  <a:lnTo>
                    <a:pt x="1501" y="16038"/>
                  </a:lnTo>
                  <a:lnTo>
                    <a:pt x="1590" y="16049"/>
                  </a:lnTo>
                  <a:lnTo>
                    <a:pt x="1680" y="16056"/>
                  </a:lnTo>
                  <a:lnTo>
                    <a:pt x="1771" y="16058"/>
                  </a:lnTo>
                  <a:lnTo>
                    <a:pt x="1818" y="16057"/>
                  </a:lnTo>
                  <a:lnTo>
                    <a:pt x="1863" y="16056"/>
                  </a:lnTo>
                  <a:lnTo>
                    <a:pt x="1909" y="16053"/>
                  </a:lnTo>
                  <a:lnTo>
                    <a:pt x="1954" y="16049"/>
                  </a:lnTo>
                  <a:lnTo>
                    <a:pt x="1999" y="16043"/>
                  </a:lnTo>
                  <a:lnTo>
                    <a:pt x="2043" y="16037"/>
                  </a:lnTo>
                  <a:lnTo>
                    <a:pt x="2088" y="16030"/>
                  </a:lnTo>
                  <a:lnTo>
                    <a:pt x="2132" y="16021"/>
                  </a:lnTo>
                  <a:lnTo>
                    <a:pt x="2175" y="16012"/>
                  </a:lnTo>
                  <a:lnTo>
                    <a:pt x="2218" y="16001"/>
                  </a:lnTo>
                  <a:lnTo>
                    <a:pt x="2261" y="15989"/>
                  </a:lnTo>
                  <a:lnTo>
                    <a:pt x="2302" y="15977"/>
                  </a:lnTo>
                  <a:lnTo>
                    <a:pt x="2344" y="15963"/>
                  </a:lnTo>
                  <a:lnTo>
                    <a:pt x="2386" y="15948"/>
                  </a:lnTo>
                  <a:lnTo>
                    <a:pt x="2427" y="15932"/>
                  </a:lnTo>
                  <a:lnTo>
                    <a:pt x="2467" y="15915"/>
                  </a:lnTo>
                  <a:lnTo>
                    <a:pt x="2507" y="15897"/>
                  </a:lnTo>
                  <a:lnTo>
                    <a:pt x="2546" y="15878"/>
                  </a:lnTo>
                  <a:lnTo>
                    <a:pt x="2584" y="15859"/>
                  </a:lnTo>
                  <a:lnTo>
                    <a:pt x="2622" y="15839"/>
                  </a:lnTo>
                  <a:lnTo>
                    <a:pt x="2661" y="15817"/>
                  </a:lnTo>
                  <a:lnTo>
                    <a:pt x="2698" y="15795"/>
                  </a:lnTo>
                  <a:lnTo>
                    <a:pt x="2734" y="15772"/>
                  </a:lnTo>
                  <a:lnTo>
                    <a:pt x="2770" y="15748"/>
                  </a:lnTo>
                  <a:lnTo>
                    <a:pt x="2805" y="15723"/>
                  </a:lnTo>
                  <a:lnTo>
                    <a:pt x="2839" y="15698"/>
                  </a:lnTo>
                  <a:lnTo>
                    <a:pt x="2873" y="15671"/>
                  </a:lnTo>
                  <a:lnTo>
                    <a:pt x="2906" y="15644"/>
                  </a:lnTo>
                  <a:lnTo>
                    <a:pt x="2940" y="15615"/>
                  </a:lnTo>
                  <a:lnTo>
                    <a:pt x="2971" y="15587"/>
                  </a:lnTo>
                  <a:lnTo>
                    <a:pt x="3003" y="15557"/>
                  </a:lnTo>
                  <a:lnTo>
                    <a:pt x="3033" y="15527"/>
                  </a:lnTo>
                  <a:lnTo>
                    <a:pt x="3032" y="15526"/>
                  </a:lnTo>
                  <a:lnTo>
                    <a:pt x="7217" y="11342"/>
                  </a:lnTo>
                  <a:lnTo>
                    <a:pt x="7296" y="11383"/>
                  </a:lnTo>
                  <a:lnTo>
                    <a:pt x="7377" y="11423"/>
                  </a:lnTo>
                  <a:lnTo>
                    <a:pt x="7457" y="11462"/>
                  </a:lnTo>
                  <a:lnTo>
                    <a:pt x="7538" y="11500"/>
                  </a:lnTo>
                  <a:lnTo>
                    <a:pt x="7621" y="11537"/>
                  </a:lnTo>
                  <a:lnTo>
                    <a:pt x="7703" y="11572"/>
                  </a:lnTo>
                  <a:lnTo>
                    <a:pt x="7786" y="11606"/>
                  </a:lnTo>
                  <a:lnTo>
                    <a:pt x="7869" y="11640"/>
                  </a:lnTo>
                  <a:lnTo>
                    <a:pt x="7954" y="11671"/>
                  </a:lnTo>
                  <a:lnTo>
                    <a:pt x="8039" y="11702"/>
                  </a:lnTo>
                  <a:lnTo>
                    <a:pt x="8124" y="11731"/>
                  </a:lnTo>
                  <a:lnTo>
                    <a:pt x="8211" y="11759"/>
                  </a:lnTo>
                  <a:lnTo>
                    <a:pt x="8297" y="11787"/>
                  </a:lnTo>
                  <a:lnTo>
                    <a:pt x="8384" y="11813"/>
                  </a:lnTo>
                  <a:lnTo>
                    <a:pt x="8472" y="11837"/>
                  </a:lnTo>
                  <a:lnTo>
                    <a:pt x="8560" y="11860"/>
                  </a:lnTo>
                  <a:lnTo>
                    <a:pt x="8649" y="11882"/>
                  </a:lnTo>
                  <a:lnTo>
                    <a:pt x="8739" y="11902"/>
                  </a:lnTo>
                  <a:lnTo>
                    <a:pt x="8828" y="11921"/>
                  </a:lnTo>
                  <a:lnTo>
                    <a:pt x="8918" y="11939"/>
                  </a:lnTo>
                  <a:lnTo>
                    <a:pt x="9010" y="11955"/>
                  </a:lnTo>
                  <a:lnTo>
                    <a:pt x="9100" y="11970"/>
                  </a:lnTo>
                  <a:lnTo>
                    <a:pt x="9192" y="11984"/>
                  </a:lnTo>
                  <a:lnTo>
                    <a:pt x="9285" y="11996"/>
                  </a:lnTo>
                  <a:lnTo>
                    <a:pt x="9377" y="12007"/>
                  </a:lnTo>
                  <a:lnTo>
                    <a:pt x="9470" y="12016"/>
                  </a:lnTo>
                  <a:lnTo>
                    <a:pt x="9564" y="12024"/>
                  </a:lnTo>
                  <a:lnTo>
                    <a:pt x="9657" y="12031"/>
                  </a:lnTo>
                  <a:lnTo>
                    <a:pt x="9751" y="12036"/>
                  </a:lnTo>
                  <a:lnTo>
                    <a:pt x="9846" y="12040"/>
                  </a:lnTo>
                  <a:lnTo>
                    <a:pt x="9941" y="12042"/>
                  </a:lnTo>
                  <a:lnTo>
                    <a:pt x="10036" y="12044"/>
                  </a:lnTo>
                  <a:lnTo>
                    <a:pt x="10346" y="12035"/>
                  </a:lnTo>
                  <a:lnTo>
                    <a:pt x="10651" y="12012"/>
                  </a:lnTo>
                  <a:lnTo>
                    <a:pt x="10954" y="11974"/>
                  </a:lnTo>
                  <a:lnTo>
                    <a:pt x="11250" y="11921"/>
                  </a:lnTo>
                  <a:lnTo>
                    <a:pt x="11541" y="11854"/>
                  </a:lnTo>
                  <a:lnTo>
                    <a:pt x="11827" y="11773"/>
                  </a:lnTo>
                  <a:lnTo>
                    <a:pt x="12107" y="11678"/>
                  </a:lnTo>
                  <a:lnTo>
                    <a:pt x="12380" y="11570"/>
                  </a:lnTo>
                  <a:lnTo>
                    <a:pt x="12647" y="11449"/>
                  </a:lnTo>
                  <a:lnTo>
                    <a:pt x="12907" y="11317"/>
                  </a:lnTo>
                  <a:lnTo>
                    <a:pt x="13159" y="11171"/>
                  </a:lnTo>
                  <a:lnTo>
                    <a:pt x="13403" y="11015"/>
                  </a:lnTo>
                  <a:lnTo>
                    <a:pt x="13639" y="10847"/>
                  </a:lnTo>
                  <a:lnTo>
                    <a:pt x="13866" y="10669"/>
                  </a:lnTo>
                  <a:lnTo>
                    <a:pt x="14085" y="10479"/>
                  </a:lnTo>
                  <a:lnTo>
                    <a:pt x="14295" y="10280"/>
                  </a:lnTo>
                  <a:lnTo>
                    <a:pt x="14493" y="10070"/>
                  </a:lnTo>
                  <a:lnTo>
                    <a:pt x="14683" y="9852"/>
                  </a:lnTo>
                  <a:lnTo>
                    <a:pt x="14862" y="9625"/>
                  </a:lnTo>
                  <a:lnTo>
                    <a:pt x="15029" y="9389"/>
                  </a:lnTo>
                  <a:lnTo>
                    <a:pt x="15186" y="9144"/>
                  </a:lnTo>
                  <a:lnTo>
                    <a:pt x="15331" y="8892"/>
                  </a:lnTo>
                  <a:lnTo>
                    <a:pt x="15464" y="8632"/>
                  </a:lnTo>
                  <a:lnTo>
                    <a:pt x="15584" y="8365"/>
                  </a:lnTo>
                  <a:lnTo>
                    <a:pt x="15693" y="8092"/>
                  </a:lnTo>
                  <a:lnTo>
                    <a:pt x="15787" y="7812"/>
                  </a:lnTo>
                  <a:lnTo>
                    <a:pt x="15868" y="7526"/>
                  </a:lnTo>
                  <a:lnTo>
                    <a:pt x="15936" y="7235"/>
                  </a:lnTo>
                  <a:lnTo>
                    <a:pt x="15989" y="6939"/>
                  </a:lnTo>
                  <a:lnTo>
                    <a:pt x="16027" y="6638"/>
                  </a:lnTo>
                  <a:lnTo>
                    <a:pt x="16050" y="6332"/>
                  </a:lnTo>
                  <a:lnTo>
                    <a:pt x="16058" y="6022"/>
                  </a:lnTo>
                  <a:lnTo>
                    <a:pt x="16050" y="5712"/>
                  </a:lnTo>
                  <a:lnTo>
                    <a:pt x="16027" y="5407"/>
                  </a:lnTo>
                  <a:lnTo>
                    <a:pt x="15989" y="5104"/>
                  </a:lnTo>
                  <a:lnTo>
                    <a:pt x="15936" y="4808"/>
                  </a:lnTo>
                  <a:lnTo>
                    <a:pt x="15868" y="4517"/>
                  </a:lnTo>
                  <a:lnTo>
                    <a:pt x="15787" y="4231"/>
                  </a:lnTo>
                  <a:lnTo>
                    <a:pt x="15693" y="3951"/>
                  </a:lnTo>
                  <a:lnTo>
                    <a:pt x="15584" y="3678"/>
                  </a:lnTo>
                  <a:lnTo>
                    <a:pt x="15464" y="3411"/>
                  </a:lnTo>
                  <a:lnTo>
                    <a:pt x="15331" y="3151"/>
                  </a:lnTo>
                  <a:lnTo>
                    <a:pt x="15186" y="2899"/>
                  </a:lnTo>
                  <a:lnTo>
                    <a:pt x="15029" y="2655"/>
                  </a:lnTo>
                  <a:lnTo>
                    <a:pt x="14862" y="2419"/>
                  </a:lnTo>
                  <a:lnTo>
                    <a:pt x="14683" y="2191"/>
                  </a:lnTo>
                  <a:lnTo>
                    <a:pt x="14493" y="1973"/>
                  </a:lnTo>
                  <a:lnTo>
                    <a:pt x="14295" y="1763"/>
                  </a:lnTo>
                  <a:lnTo>
                    <a:pt x="14085" y="1565"/>
                  </a:lnTo>
                  <a:lnTo>
                    <a:pt x="13866" y="1375"/>
                  </a:lnTo>
                  <a:lnTo>
                    <a:pt x="13639" y="1196"/>
                  </a:lnTo>
                  <a:lnTo>
                    <a:pt x="13403" y="1029"/>
                  </a:lnTo>
                  <a:lnTo>
                    <a:pt x="13159" y="872"/>
                  </a:lnTo>
                  <a:lnTo>
                    <a:pt x="12907" y="727"/>
                  </a:lnTo>
                  <a:lnTo>
                    <a:pt x="12647" y="594"/>
                  </a:lnTo>
                  <a:lnTo>
                    <a:pt x="12380" y="474"/>
                  </a:lnTo>
                  <a:lnTo>
                    <a:pt x="12107" y="365"/>
                  </a:lnTo>
                  <a:lnTo>
                    <a:pt x="11827" y="271"/>
                  </a:lnTo>
                  <a:lnTo>
                    <a:pt x="11541" y="190"/>
                  </a:lnTo>
                  <a:lnTo>
                    <a:pt x="11250" y="122"/>
                  </a:lnTo>
                  <a:lnTo>
                    <a:pt x="10954" y="69"/>
                  </a:lnTo>
                  <a:lnTo>
                    <a:pt x="10651" y="31"/>
                  </a:lnTo>
                  <a:lnTo>
                    <a:pt x="10346" y="8"/>
                  </a:lnTo>
                  <a:lnTo>
                    <a:pt x="100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5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9" name="i$ḷîde">
              <a:extLst>
                <a:ext uri="{FF2B5EF4-FFF2-40B4-BE49-F238E27FC236}">
                  <a16:creationId xmlns:a16="http://schemas.microsoft.com/office/drawing/2014/main" id="{438B8B75-69D2-4E1A-BAF3-E72D8F4AFFDE}"/>
                </a:ext>
              </a:extLst>
            </p:cNvPr>
            <p:cNvSpPr/>
            <p:nvPr/>
          </p:nvSpPr>
          <p:spPr bwMode="auto">
            <a:xfrm>
              <a:off x="1450091" y="720853"/>
              <a:ext cx="67364" cy="67364"/>
            </a:xfrm>
            <a:custGeom>
              <a:avLst/>
              <a:gdLst>
                <a:gd name="T0" fmla="*/ 2977 w 3763"/>
                <a:gd name="T1" fmla="*/ 40 h 3764"/>
                <a:gd name="T2" fmla="*/ 2305 w 3763"/>
                <a:gd name="T3" fmla="*/ 213 h 3764"/>
                <a:gd name="T4" fmla="*/ 1691 w 3763"/>
                <a:gd name="T5" fmla="*/ 509 h 3764"/>
                <a:gd name="T6" fmla="*/ 1151 w 3763"/>
                <a:gd name="T7" fmla="*/ 912 h 3764"/>
                <a:gd name="T8" fmla="*/ 697 w 3763"/>
                <a:gd name="T9" fmla="*/ 1411 h 3764"/>
                <a:gd name="T10" fmla="*/ 346 w 3763"/>
                <a:gd name="T11" fmla="*/ 1990 h 3764"/>
                <a:gd name="T12" fmla="*/ 110 w 3763"/>
                <a:gd name="T13" fmla="*/ 2635 h 3764"/>
                <a:gd name="T14" fmla="*/ 5 w 3763"/>
                <a:gd name="T15" fmla="*/ 3332 h 3764"/>
                <a:gd name="T16" fmla="*/ 3 w 3763"/>
                <a:gd name="T17" fmla="*/ 3551 h 3764"/>
                <a:gd name="T18" fmla="*/ 15 w 3763"/>
                <a:gd name="T19" fmla="*/ 3599 h 3764"/>
                <a:gd name="T20" fmla="*/ 36 w 3763"/>
                <a:gd name="T21" fmla="*/ 3643 h 3764"/>
                <a:gd name="T22" fmla="*/ 65 w 3763"/>
                <a:gd name="T23" fmla="*/ 3681 h 3764"/>
                <a:gd name="T24" fmla="*/ 100 w 3763"/>
                <a:gd name="T25" fmla="*/ 3713 h 3764"/>
                <a:gd name="T26" fmla="*/ 142 w 3763"/>
                <a:gd name="T27" fmla="*/ 3739 h 3764"/>
                <a:gd name="T28" fmla="*/ 188 w 3763"/>
                <a:gd name="T29" fmla="*/ 3756 h 3764"/>
                <a:gd name="T30" fmla="*/ 237 w 3763"/>
                <a:gd name="T31" fmla="*/ 3764 h 3764"/>
                <a:gd name="T32" fmla="*/ 289 w 3763"/>
                <a:gd name="T33" fmla="*/ 3761 h 3764"/>
                <a:gd name="T34" fmla="*/ 337 w 3763"/>
                <a:gd name="T35" fmla="*/ 3749 h 3764"/>
                <a:gd name="T36" fmla="*/ 381 w 3763"/>
                <a:gd name="T37" fmla="*/ 3728 h 3764"/>
                <a:gd name="T38" fmla="*/ 419 w 3763"/>
                <a:gd name="T39" fmla="*/ 3698 h 3764"/>
                <a:gd name="T40" fmla="*/ 451 w 3763"/>
                <a:gd name="T41" fmla="*/ 3663 h 3764"/>
                <a:gd name="T42" fmla="*/ 476 w 3763"/>
                <a:gd name="T43" fmla="*/ 3621 h 3764"/>
                <a:gd name="T44" fmla="*/ 493 w 3763"/>
                <a:gd name="T45" fmla="*/ 3576 h 3764"/>
                <a:gd name="T46" fmla="*/ 501 w 3763"/>
                <a:gd name="T47" fmla="*/ 3526 h 3764"/>
                <a:gd name="T48" fmla="*/ 537 w 3763"/>
                <a:gd name="T49" fmla="*/ 3054 h 3764"/>
                <a:gd name="T50" fmla="*/ 684 w 3763"/>
                <a:gd name="T51" fmla="*/ 2478 h 3764"/>
                <a:gd name="T52" fmla="*/ 937 w 3763"/>
                <a:gd name="T53" fmla="*/ 1952 h 3764"/>
                <a:gd name="T54" fmla="*/ 1283 w 3763"/>
                <a:gd name="T55" fmla="*/ 1488 h 3764"/>
                <a:gd name="T56" fmla="*/ 1711 w 3763"/>
                <a:gd name="T57" fmla="*/ 1100 h 3764"/>
                <a:gd name="T58" fmla="*/ 2208 w 3763"/>
                <a:gd name="T59" fmla="*/ 799 h 3764"/>
                <a:gd name="T60" fmla="*/ 2760 w 3763"/>
                <a:gd name="T61" fmla="*/ 596 h 3764"/>
                <a:gd name="T62" fmla="*/ 3358 w 3763"/>
                <a:gd name="T63" fmla="*/ 506 h 3764"/>
                <a:gd name="T64" fmla="*/ 3550 w 3763"/>
                <a:gd name="T65" fmla="*/ 499 h 3764"/>
                <a:gd name="T66" fmla="*/ 3599 w 3763"/>
                <a:gd name="T67" fmla="*/ 487 h 3764"/>
                <a:gd name="T68" fmla="*/ 3643 w 3763"/>
                <a:gd name="T69" fmla="*/ 466 h 3764"/>
                <a:gd name="T70" fmla="*/ 3681 w 3763"/>
                <a:gd name="T71" fmla="*/ 437 h 3764"/>
                <a:gd name="T72" fmla="*/ 3713 w 3763"/>
                <a:gd name="T73" fmla="*/ 402 h 3764"/>
                <a:gd name="T74" fmla="*/ 3738 w 3763"/>
                <a:gd name="T75" fmla="*/ 359 h 3764"/>
                <a:gd name="T76" fmla="*/ 3755 w 3763"/>
                <a:gd name="T77" fmla="*/ 313 h 3764"/>
                <a:gd name="T78" fmla="*/ 3763 w 3763"/>
                <a:gd name="T79" fmla="*/ 264 h 3764"/>
                <a:gd name="T80" fmla="*/ 3760 w 3763"/>
                <a:gd name="T81" fmla="*/ 213 h 3764"/>
                <a:gd name="T82" fmla="*/ 3748 w 3763"/>
                <a:gd name="T83" fmla="*/ 165 h 3764"/>
                <a:gd name="T84" fmla="*/ 3727 w 3763"/>
                <a:gd name="T85" fmla="*/ 120 h 3764"/>
                <a:gd name="T86" fmla="*/ 3698 w 3763"/>
                <a:gd name="T87" fmla="*/ 82 h 3764"/>
                <a:gd name="T88" fmla="*/ 3663 w 3763"/>
                <a:gd name="T89" fmla="*/ 50 h 3764"/>
                <a:gd name="T90" fmla="*/ 3621 w 3763"/>
                <a:gd name="T91" fmla="*/ 25 h 3764"/>
                <a:gd name="T92" fmla="*/ 3574 w 3763"/>
                <a:gd name="T93" fmla="*/ 8 h 3764"/>
                <a:gd name="T94" fmla="*/ 3525 w 3763"/>
                <a:gd name="T95" fmla="*/ 0 h 3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763" h="3764">
                  <a:moveTo>
                    <a:pt x="3512" y="0"/>
                  </a:moveTo>
                  <a:lnTo>
                    <a:pt x="3332" y="5"/>
                  </a:lnTo>
                  <a:lnTo>
                    <a:pt x="3153" y="18"/>
                  </a:lnTo>
                  <a:lnTo>
                    <a:pt x="2977" y="40"/>
                  </a:lnTo>
                  <a:lnTo>
                    <a:pt x="2805" y="71"/>
                  </a:lnTo>
                  <a:lnTo>
                    <a:pt x="2634" y="110"/>
                  </a:lnTo>
                  <a:lnTo>
                    <a:pt x="2467" y="158"/>
                  </a:lnTo>
                  <a:lnTo>
                    <a:pt x="2305" y="213"/>
                  </a:lnTo>
                  <a:lnTo>
                    <a:pt x="2145" y="276"/>
                  </a:lnTo>
                  <a:lnTo>
                    <a:pt x="1990" y="346"/>
                  </a:lnTo>
                  <a:lnTo>
                    <a:pt x="1838" y="424"/>
                  </a:lnTo>
                  <a:lnTo>
                    <a:pt x="1691" y="509"/>
                  </a:lnTo>
                  <a:lnTo>
                    <a:pt x="1548" y="600"/>
                  </a:lnTo>
                  <a:lnTo>
                    <a:pt x="1411" y="698"/>
                  </a:lnTo>
                  <a:lnTo>
                    <a:pt x="1278" y="802"/>
                  </a:lnTo>
                  <a:lnTo>
                    <a:pt x="1151" y="912"/>
                  </a:lnTo>
                  <a:lnTo>
                    <a:pt x="1028" y="1029"/>
                  </a:lnTo>
                  <a:lnTo>
                    <a:pt x="912" y="1151"/>
                  </a:lnTo>
                  <a:lnTo>
                    <a:pt x="801" y="1279"/>
                  </a:lnTo>
                  <a:lnTo>
                    <a:pt x="697" y="1411"/>
                  </a:lnTo>
                  <a:lnTo>
                    <a:pt x="600" y="1549"/>
                  </a:lnTo>
                  <a:lnTo>
                    <a:pt x="508" y="1691"/>
                  </a:lnTo>
                  <a:lnTo>
                    <a:pt x="423" y="1839"/>
                  </a:lnTo>
                  <a:lnTo>
                    <a:pt x="346" y="1990"/>
                  </a:lnTo>
                  <a:lnTo>
                    <a:pt x="276" y="2146"/>
                  </a:lnTo>
                  <a:lnTo>
                    <a:pt x="212" y="2305"/>
                  </a:lnTo>
                  <a:lnTo>
                    <a:pt x="157" y="2468"/>
                  </a:lnTo>
                  <a:lnTo>
                    <a:pt x="110" y="2635"/>
                  </a:lnTo>
                  <a:lnTo>
                    <a:pt x="71" y="2805"/>
                  </a:lnTo>
                  <a:lnTo>
                    <a:pt x="40" y="2978"/>
                  </a:lnTo>
                  <a:lnTo>
                    <a:pt x="18" y="3153"/>
                  </a:lnTo>
                  <a:lnTo>
                    <a:pt x="5" y="3332"/>
                  </a:lnTo>
                  <a:lnTo>
                    <a:pt x="0" y="3513"/>
                  </a:lnTo>
                  <a:lnTo>
                    <a:pt x="0" y="3526"/>
                  </a:lnTo>
                  <a:lnTo>
                    <a:pt x="1" y="3539"/>
                  </a:lnTo>
                  <a:lnTo>
                    <a:pt x="3" y="3551"/>
                  </a:lnTo>
                  <a:lnTo>
                    <a:pt x="5" y="3563"/>
                  </a:lnTo>
                  <a:lnTo>
                    <a:pt x="8" y="3576"/>
                  </a:lnTo>
                  <a:lnTo>
                    <a:pt x="11" y="3587"/>
                  </a:lnTo>
                  <a:lnTo>
                    <a:pt x="15" y="3599"/>
                  </a:lnTo>
                  <a:lnTo>
                    <a:pt x="20" y="3610"/>
                  </a:lnTo>
                  <a:lnTo>
                    <a:pt x="25" y="3621"/>
                  </a:lnTo>
                  <a:lnTo>
                    <a:pt x="30" y="3632"/>
                  </a:lnTo>
                  <a:lnTo>
                    <a:pt x="36" y="3643"/>
                  </a:lnTo>
                  <a:lnTo>
                    <a:pt x="43" y="3653"/>
                  </a:lnTo>
                  <a:lnTo>
                    <a:pt x="50" y="3663"/>
                  </a:lnTo>
                  <a:lnTo>
                    <a:pt x="57" y="3672"/>
                  </a:lnTo>
                  <a:lnTo>
                    <a:pt x="65" y="3681"/>
                  </a:lnTo>
                  <a:lnTo>
                    <a:pt x="73" y="3690"/>
                  </a:lnTo>
                  <a:lnTo>
                    <a:pt x="82" y="3698"/>
                  </a:lnTo>
                  <a:lnTo>
                    <a:pt x="91" y="3706"/>
                  </a:lnTo>
                  <a:lnTo>
                    <a:pt x="100" y="3713"/>
                  </a:lnTo>
                  <a:lnTo>
                    <a:pt x="110" y="3721"/>
                  </a:lnTo>
                  <a:lnTo>
                    <a:pt x="120" y="3728"/>
                  </a:lnTo>
                  <a:lnTo>
                    <a:pt x="131" y="3734"/>
                  </a:lnTo>
                  <a:lnTo>
                    <a:pt x="142" y="3739"/>
                  </a:lnTo>
                  <a:lnTo>
                    <a:pt x="153" y="3744"/>
                  </a:lnTo>
                  <a:lnTo>
                    <a:pt x="164" y="3749"/>
                  </a:lnTo>
                  <a:lnTo>
                    <a:pt x="176" y="3753"/>
                  </a:lnTo>
                  <a:lnTo>
                    <a:pt x="188" y="3756"/>
                  </a:lnTo>
                  <a:lnTo>
                    <a:pt x="200" y="3759"/>
                  </a:lnTo>
                  <a:lnTo>
                    <a:pt x="212" y="3761"/>
                  </a:lnTo>
                  <a:lnTo>
                    <a:pt x="224" y="3763"/>
                  </a:lnTo>
                  <a:lnTo>
                    <a:pt x="237" y="3764"/>
                  </a:lnTo>
                  <a:lnTo>
                    <a:pt x="250" y="3764"/>
                  </a:lnTo>
                  <a:lnTo>
                    <a:pt x="264" y="3764"/>
                  </a:lnTo>
                  <a:lnTo>
                    <a:pt x="276" y="3763"/>
                  </a:lnTo>
                  <a:lnTo>
                    <a:pt x="289" y="3761"/>
                  </a:lnTo>
                  <a:lnTo>
                    <a:pt x="301" y="3759"/>
                  </a:lnTo>
                  <a:lnTo>
                    <a:pt x="313" y="3756"/>
                  </a:lnTo>
                  <a:lnTo>
                    <a:pt x="325" y="3753"/>
                  </a:lnTo>
                  <a:lnTo>
                    <a:pt x="337" y="3749"/>
                  </a:lnTo>
                  <a:lnTo>
                    <a:pt x="348" y="3744"/>
                  </a:lnTo>
                  <a:lnTo>
                    <a:pt x="359" y="3739"/>
                  </a:lnTo>
                  <a:lnTo>
                    <a:pt x="370" y="3734"/>
                  </a:lnTo>
                  <a:lnTo>
                    <a:pt x="381" y="3728"/>
                  </a:lnTo>
                  <a:lnTo>
                    <a:pt x="391" y="3721"/>
                  </a:lnTo>
                  <a:lnTo>
                    <a:pt x="401" y="3713"/>
                  </a:lnTo>
                  <a:lnTo>
                    <a:pt x="410" y="3706"/>
                  </a:lnTo>
                  <a:lnTo>
                    <a:pt x="419" y="3698"/>
                  </a:lnTo>
                  <a:lnTo>
                    <a:pt x="428" y="3690"/>
                  </a:lnTo>
                  <a:lnTo>
                    <a:pt x="436" y="3681"/>
                  </a:lnTo>
                  <a:lnTo>
                    <a:pt x="444" y="3672"/>
                  </a:lnTo>
                  <a:lnTo>
                    <a:pt x="451" y="3663"/>
                  </a:lnTo>
                  <a:lnTo>
                    <a:pt x="458" y="3653"/>
                  </a:lnTo>
                  <a:lnTo>
                    <a:pt x="465" y="3643"/>
                  </a:lnTo>
                  <a:lnTo>
                    <a:pt x="471" y="3632"/>
                  </a:lnTo>
                  <a:lnTo>
                    <a:pt x="476" y="3621"/>
                  </a:lnTo>
                  <a:lnTo>
                    <a:pt x="481" y="3610"/>
                  </a:lnTo>
                  <a:lnTo>
                    <a:pt x="486" y="3599"/>
                  </a:lnTo>
                  <a:lnTo>
                    <a:pt x="490" y="3587"/>
                  </a:lnTo>
                  <a:lnTo>
                    <a:pt x="493" y="3576"/>
                  </a:lnTo>
                  <a:lnTo>
                    <a:pt x="496" y="3563"/>
                  </a:lnTo>
                  <a:lnTo>
                    <a:pt x="498" y="3551"/>
                  </a:lnTo>
                  <a:lnTo>
                    <a:pt x="500" y="3539"/>
                  </a:lnTo>
                  <a:lnTo>
                    <a:pt x="501" y="3526"/>
                  </a:lnTo>
                  <a:lnTo>
                    <a:pt x="501" y="3513"/>
                  </a:lnTo>
                  <a:lnTo>
                    <a:pt x="505" y="3358"/>
                  </a:lnTo>
                  <a:lnTo>
                    <a:pt x="517" y="3205"/>
                  </a:lnTo>
                  <a:lnTo>
                    <a:pt x="537" y="3054"/>
                  </a:lnTo>
                  <a:lnTo>
                    <a:pt x="563" y="2907"/>
                  </a:lnTo>
                  <a:lnTo>
                    <a:pt x="596" y="2760"/>
                  </a:lnTo>
                  <a:lnTo>
                    <a:pt x="637" y="2618"/>
                  </a:lnTo>
                  <a:lnTo>
                    <a:pt x="684" y="2478"/>
                  </a:lnTo>
                  <a:lnTo>
                    <a:pt x="738" y="2341"/>
                  </a:lnTo>
                  <a:lnTo>
                    <a:pt x="798" y="2208"/>
                  </a:lnTo>
                  <a:lnTo>
                    <a:pt x="865" y="2078"/>
                  </a:lnTo>
                  <a:lnTo>
                    <a:pt x="937" y="1952"/>
                  </a:lnTo>
                  <a:lnTo>
                    <a:pt x="1015" y="1830"/>
                  </a:lnTo>
                  <a:lnTo>
                    <a:pt x="1100" y="1711"/>
                  </a:lnTo>
                  <a:lnTo>
                    <a:pt x="1189" y="1598"/>
                  </a:lnTo>
                  <a:lnTo>
                    <a:pt x="1283" y="1488"/>
                  </a:lnTo>
                  <a:lnTo>
                    <a:pt x="1384" y="1384"/>
                  </a:lnTo>
                  <a:lnTo>
                    <a:pt x="1488" y="1285"/>
                  </a:lnTo>
                  <a:lnTo>
                    <a:pt x="1597" y="1189"/>
                  </a:lnTo>
                  <a:lnTo>
                    <a:pt x="1711" y="1100"/>
                  </a:lnTo>
                  <a:lnTo>
                    <a:pt x="1829" y="1017"/>
                  </a:lnTo>
                  <a:lnTo>
                    <a:pt x="1952" y="937"/>
                  </a:lnTo>
                  <a:lnTo>
                    <a:pt x="2077" y="865"/>
                  </a:lnTo>
                  <a:lnTo>
                    <a:pt x="2208" y="799"/>
                  </a:lnTo>
                  <a:lnTo>
                    <a:pt x="2340" y="739"/>
                  </a:lnTo>
                  <a:lnTo>
                    <a:pt x="2478" y="685"/>
                  </a:lnTo>
                  <a:lnTo>
                    <a:pt x="2617" y="637"/>
                  </a:lnTo>
                  <a:lnTo>
                    <a:pt x="2760" y="596"/>
                  </a:lnTo>
                  <a:lnTo>
                    <a:pt x="2906" y="563"/>
                  </a:lnTo>
                  <a:lnTo>
                    <a:pt x="3054" y="537"/>
                  </a:lnTo>
                  <a:lnTo>
                    <a:pt x="3204" y="517"/>
                  </a:lnTo>
                  <a:lnTo>
                    <a:pt x="3358" y="506"/>
                  </a:lnTo>
                  <a:lnTo>
                    <a:pt x="3512" y="502"/>
                  </a:lnTo>
                  <a:lnTo>
                    <a:pt x="3525" y="502"/>
                  </a:lnTo>
                  <a:lnTo>
                    <a:pt x="3538" y="501"/>
                  </a:lnTo>
                  <a:lnTo>
                    <a:pt x="3550" y="499"/>
                  </a:lnTo>
                  <a:lnTo>
                    <a:pt x="3562" y="497"/>
                  </a:lnTo>
                  <a:lnTo>
                    <a:pt x="3574" y="494"/>
                  </a:lnTo>
                  <a:lnTo>
                    <a:pt x="3587" y="491"/>
                  </a:lnTo>
                  <a:lnTo>
                    <a:pt x="3599" y="487"/>
                  </a:lnTo>
                  <a:lnTo>
                    <a:pt x="3610" y="482"/>
                  </a:lnTo>
                  <a:lnTo>
                    <a:pt x="3621" y="477"/>
                  </a:lnTo>
                  <a:lnTo>
                    <a:pt x="3632" y="472"/>
                  </a:lnTo>
                  <a:lnTo>
                    <a:pt x="3643" y="466"/>
                  </a:lnTo>
                  <a:lnTo>
                    <a:pt x="3653" y="459"/>
                  </a:lnTo>
                  <a:lnTo>
                    <a:pt x="3663" y="452"/>
                  </a:lnTo>
                  <a:lnTo>
                    <a:pt x="3672" y="445"/>
                  </a:lnTo>
                  <a:lnTo>
                    <a:pt x="3681" y="437"/>
                  </a:lnTo>
                  <a:lnTo>
                    <a:pt x="3690" y="429"/>
                  </a:lnTo>
                  <a:lnTo>
                    <a:pt x="3698" y="420"/>
                  </a:lnTo>
                  <a:lnTo>
                    <a:pt x="3706" y="411"/>
                  </a:lnTo>
                  <a:lnTo>
                    <a:pt x="3713" y="402"/>
                  </a:lnTo>
                  <a:lnTo>
                    <a:pt x="3720" y="391"/>
                  </a:lnTo>
                  <a:lnTo>
                    <a:pt x="3727" y="381"/>
                  </a:lnTo>
                  <a:lnTo>
                    <a:pt x="3733" y="370"/>
                  </a:lnTo>
                  <a:lnTo>
                    <a:pt x="3738" y="359"/>
                  </a:lnTo>
                  <a:lnTo>
                    <a:pt x="3743" y="348"/>
                  </a:lnTo>
                  <a:lnTo>
                    <a:pt x="3748" y="337"/>
                  </a:lnTo>
                  <a:lnTo>
                    <a:pt x="3752" y="325"/>
                  </a:lnTo>
                  <a:lnTo>
                    <a:pt x="3755" y="313"/>
                  </a:lnTo>
                  <a:lnTo>
                    <a:pt x="3758" y="301"/>
                  </a:lnTo>
                  <a:lnTo>
                    <a:pt x="3760" y="289"/>
                  </a:lnTo>
                  <a:lnTo>
                    <a:pt x="3762" y="276"/>
                  </a:lnTo>
                  <a:lnTo>
                    <a:pt x="3763" y="264"/>
                  </a:lnTo>
                  <a:lnTo>
                    <a:pt x="3763" y="251"/>
                  </a:lnTo>
                  <a:lnTo>
                    <a:pt x="3763" y="238"/>
                  </a:lnTo>
                  <a:lnTo>
                    <a:pt x="3762" y="225"/>
                  </a:lnTo>
                  <a:lnTo>
                    <a:pt x="3760" y="213"/>
                  </a:lnTo>
                  <a:lnTo>
                    <a:pt x="3758" y="201"/>
                  </a:lnTo>
                  <a:lnTo>
                    <a:pt x="3755" y="188"/>
                  </a:lnTo>
                  <a:lnTo>
                    <a:pt x="3752" y="177"/>
                  </a:lnTo>
                  <a:lnTo>
                    <a:pt x="3748" y="165"/>
                  </a:lnTo>
                  <a:lnTo>
                    <a:pt x="3743" y="154"/>
                  </a:lnTo>
                  <a:lnTo>
                    <a:pt x="3738" y="143"/>
                  </a:lnTo>
                  <a:lnTo>
                    <a:pt x="3733" y="132"/>
                  </a:lnTo>
                  <a:lnTo>
                    <a:pt x="3727" y="120"/>
                  </a:lnTo>
                  <a:lnTo>
                    <a:pt x="3720" y="110"/>
                  </a:lnTo>
                  <a:lnTo>
                    <a:pt x="3713" y="100"/>
                  </a:lnTo>
                  <a:lnTo>
                    <a:pt x="3706" y="91"/>
                  </a:lnTo>
                  <a:lnTo>
                    <a:pt x="3698" y="82"/>
                  </a:lnTo>
                  <a:lnTo>
                    <a:pt x="3690" y="73"/>
                  </a:lnTo>
                  <a:lnTo>
                    <a:pt x="3681" y="65"/>
                  </a:lnTo>
                  <a:lnTo>
                    <a:pt x="3672" y="57"/>
                  </a:lnTo>
                  <a:lnTo>
                    <a:pt x="3663" y="50"/>
                  </a:lnTo>
                  <a:lnTo>
                    <a:pt x="3653" y="43"/>
                  </a:lnTo>
                  <a:lnTo>
                    <a:pt x="3643" y="36"/>
                  </a:lnTo>
                  <a:lnTo>
                    <a:pt x="3632" y="30"/>
                  </a:lnTo>
                  <a:lnTo>
                    <a:pt x="3621" y="25"/>
                  </a:lnTo>
                  <a:lnTo>
                    <a:pt x="3610" y="20"/>
                  </a:lnTo>
                  <a:lnTo>
                    <a:pt x="3599" y="15"/>
                  </a:lnTo>
                  <a:lnTo>
                    <a:pt x="3587" y="11"/>
                  </a:lnTo>
                  <a:lnTo>
                    <a:pt x="3574" y="8"/>
                  </a:lnTo>
                  <a:lnTo>
                    <a:pt x="3562" y="5"/>
                  </a:lnTo>
                  <a:lnTo>
                    <a:pt x="3550" y="3"/>
                  </a:lnTo>
                  <a:lnTo>
                    <a:pt x="3538" y="1"/>
                  </a:lnTo>
                  <a:lnTo>
                    <a:pt x="3525" y="0"/>
                  </a:lnTo>
                  <a:lnTo>
                    <a:pt x="35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0" name="ïŝlîḑe">
              <a:extLst>
                <a:ext uri="{FF2B5EF4-FFF2-40B4-BE49-F238E27FC236}">
                  <a16:creationId xmlns:a16="http://schemas.microsoft.com/office/drawing/2014/main" id="{2D37ADC3-6874-4B12-9890-9D2FCB278F6C}"/>
                </a:ext>
              </a:extLst>
            </p:cNvPr>
            <p:cNvSpPr/>
            <p:nvPr/>
          </p:nvSpPr>
          <p:spPr bwMode="auto">
            <a:xfrm>
              <a:off x="1813298" y="256061"/>
              <a:ext cx="393778" cy="391972"/>
            </a:xfrm>
            <a:custGeom>
              <a:avLst/>
              <a:gdLst>
                <a:gd name="T0" fmla="*/ 10476 w 16132"/>
                <a:gd name="T1" fmla="*/ 8984 h 16058"/>
                <a:gd name="T2" fmla="*/ 9828 w 16132"/>
                <a:gd name="T3" fmla="*/ 8821 h 16058"/>
                <a:gd name="T4" fmla="*/ 9225 w 16132"/>
                <a:gd name="T5" fmla="*/ 8560 h 16058"/>
                <a:gd name="T6" fmla="*/ 7288 w 16132"/>
                <a:gd name="T7" fmla="*/ 10231 h 16058"/>
                <a:gd name="T8" fmla="*/ 7156 w 16132"/>
                <a:gd name="T9" fmla="*/ 10439 h 16058"/>
                <a:gd name="T10" fmla="*/ 7079 w 16132"/>
                <a:gd name="T11" fmla="*/ 10671 h 16058"/>
                <a:gd name="T12" fmla="*/ 6051 w 16132"/>
                <a:gd name="T13" fmla="*/ 12043 h 16058"/>
                <a:gd name="T14" fmla="*/ 5571 w 16132"/>
                <a:gd name="T15" fmla="*/ 12164 h 16058"/>
                <a:gd name="T16" fmla="*/ 5215 w 16132"/>
                <a:gd name="T17" fmla="*/ 12486 h 16058"/>
                <a:gd name="T18" fmla="*/ 5048 w 16132"/>
                <a:gd name="T19" fmla="*/ 12944 h 16058"/>
                <a:gd name="T20" fmla="*/ 3713 w 16132"/>
                <a:gd name="T21" fmla="*/ 14062 h 16058"/>
                <a:gd name="T22" fmla="*/ 3476 w 16132"/>
                <a:gd name="T23" fmla="*/ 14127 h 16058"/>
                <a:gd name="T24" fmla="*/ 3262 w 16132"/>
                <a:gd name="T25" fmla="*/ 14248 h 16058"/>
                <a:gd name="T26" fmla="*/ 6888 w 16132"/>
                <a:gd name="T27" fmla="*/ 7782 h 16058"/>
                <a:gd name="T28" fmla="*/ 7418 w 16132"/>
                <a:gd name="T29" fmla="*/ 6641 h 16058"/>
                <a:gd name="T30" fmla="*/ 7194 w 16132"/>
                <a:gd name="T31" fmla="*/ 6023 h 16058"/>
                <a:gd name="T32" fmla="*/ 7075 w 16132"/>
                <a:gd name="T33" fmla="*/ 5362 h 16058"/>
                <a:gd name="T34" fmla="*/ 7186 w 16132"/>
                <a:gd name="T35" fmla="*/ 4015 h 16058"/>
                <a:gd name="T36" fmla="*/ 8106 w 16132"/>
                <a:gd name="T37" fmla="*/ 2319 h 16058"/>
                <a:gd name="T38" fmla="*/ 9705 w 16132"/>
                <a:gd name="T39" fmla="*/ 1248 h 16058"/>
                <a:gd name="T40" fmla="*/ 11706 w 16132"/>
                <a:gd name="T41" fmla="*/ 1050 h 16058"/>
                <a:gd name="T42" fmla="*/ 13505 w 16132"/>
                <a:gd name="T43" fmla="*/ 1801 h 16058"/>
                <a:gd name="T44" fmla="*/ 14726 w 16132"/>
                <a:gd name="T45" fmla="*/ 3277 h 16058"/>
                <a:gd name="T46" fmla="*/ 15119 w 16132"/>
                <a:gd name="T47" fmla="*/ 5225 h 16058"/>
                <a:gd name="T48" fmla="*/ 14540 w 16132"/>
                <a:gd name="T49" fmla="*/ 7100 h 16058"/>
                <a:gd name="T50" fmla="*/ 13182 w 16132"/>
                <a:gd name="T51" fmla="*/ 8452 h 16058"/>
                <a:gd name="T52" fmla="*/ 11298 w 16132"/>
                <a:gd name="T53" fmla="*/ 9028 h 16058"/>
                <a:gd name="T54" fmla="*/ 9130 w 16132"/>
                <a:gd name="T55" fmla="*/ 394 h 16058"/>
                <a:gd name="T56" fmla="*/ 7202 w 16132"/>
                <a:gd name="T57" fmla="*/ 1826 h 16058"/>
                <a:gd name="T58" fmla="*/ 6153 w 16132"/>
                <a:gd name="T59" fmla="*/ 4007 h 16058"/>
                <a:gd name="T60" fmla="*/ 6065 w 16132"/>
                <a:gd name="T61" fmla="*/ 5377 h 16058"/>
                <a:gd name="T62" fmla="*/ 6146 w 16132"/>
                <a:gd name="T63" fmla="*/ 5958 h 16058"/>
                <a:gd name="T64" fmla="*/ 6293 w 16132"/>
                <a:gd name="T65" fmla="*/ 6516 h 16058"/>
                <a:gd name="T66" fmla="*/ 195 w 16132"/>
                <a:gd name="T67" fmla="*/ 13035 h 16058"/>
                <a:gd name="T68" fmla="*/ 51 w 16132"/>
                <a:gd name="T69" fmla="*/ 13264 h 16058"/>
                <a:gd name="T70" fmla="*/ 3 w 16132"/>
                <a:gd name="T71" fmla="*/ 13475 h 16058"/>
                <a:gd name="T72" fmla="*/ 46 w 16132"/>
                <a:gd name="T73" fmla="*/ 15346 h 16058"/>
                <a:gd name="T74" fmla="*/ 301 w 16132"/>
                <a:gd name="T75" fmla="*/ 15758 h 16058"/>
                <a:gd name="T76" fmla="*/ 715 w 16132"/>
                <a:gd name="T77" fmla="*/ 16012 h 16058"/>
                <a:gd name="T78" fmla="*/ 2594 w 16132"/>
                <a:gd name="T79" fmla="*/ 16055 h 16058"/>
                <a:gd name="T80" fmla="*/ 2808 w 16132"/>
                <a:gd name="T81" fmla="*/ 16008 h 16058"/>
                <a:gd name="T82" fmla="*/ 3039 w 16132"/>
                <a:gd name="T83" fmla="*/ 15866 h 16058"/>
                <a:gd name="T84" fmla="*/ 5294 w 16132"/>
                <a:gd name="T85" fmla="*/ 15022 h 16058"/>
                <a:gd name="T86" fmla="*/ 5721 w 16132"/>
                <a:gd name="T87" fmla="*/ 14793 h 16058"/>
                <a:gd name="T88" fmla="*/ 5990 w 16132"/>
                <a:gd name="T89" fmla="*/ 14396 h 16058"/>
                <a:gd name="T90" fmla="*/ 7111 w 16132"/>
                <a:gd name="T91" fmla="*/ 13046 h 16058"/>
                <a:gd name="T92" fmla="*/ 7582 w 16132"/>
                <a:gd name="T93" fmla="*/ 12902 h 16058"/>
                <a:gd name="T94" fmla="*/ 7921 w 16132"/>
                <a:gd name="T95" fmla="*/ 12564 h 16058"/>
                <a:gd name="T96" fmla="*/ 8066 w 16132"/>
                <a:gd name="T97" fmla="*/ 12095 h 16058"/>
                <a:gd name="T98" fmla="*/ 9641 w 16132"/>
                <a:gd name="T99" fmla="*/ 9812 h 16058"/>
                <a:gd name="T100" fmla="*/ 10204 w 16132"/>
                <a:gd name="T101" fmla="*/ 9952 h 16058"/>
                <a:gd name="T102" fmla="*/ 10790 w 16132"/>
                <a:gd name="T103" fmla="*/ 10026 h 16058"/>
                <a:gd name="T104" fmla="*/ 12351 w 16132"/>
                <a:gd name="T105" fmla="*/ 9878 h 16058"/>
                <a:gd name="T106" fmla="*/ 14480 w 16132"/>
                <a:gd name="T107" fmla="*/ 8733 h 16058"/>
                <a:gd name="T108" fmla="*/ 15827 w 16132"/>
                <a:gd name="T109" fmla="*/ 6743 h 16058"/>
                <a:gd name="T110" fmla="*/ 16074 w 16132"/>
                <a:gd name="T111" fmla="*/ 4254 h 16058"/>
                <a:gd name="T112" fmla="*/ 15131 w 16132"/>
                <a:gd name="T113" fmla="*/ 2016 h 16058"/>
                <a:gd name="T114" fmla="*/ 13277 w 16132"/>
                <a:gd name="T115" fmla="*/ 495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132" h="16058">
                  <a:moveTo>
                    <a:pt x="11092" y="9033"/>
                  </a:moveTo>
                  <a:lnTo>
                    <a:pt x="11021" y="9032"/>
                  </a:lnTo>
                  <a:lnTo>
                    <a:pt x="10953" y="9030"/>
                  </a:lnTo>
                  <a:lnTo>
                    <a:pt x="10883" y="9027"/>
                  </a:lnTo>
                  <a:lnTo>
                    <a:pt x="10814" y="9023"/>
                  </a:lnTo>
                  <a:lnTo>
                    <a:pt x="10746" y="9018"/>
                  </a:lnTo>
                  <a:lnTo>
                    <a:pt x="10677" y="9011"/>
                  </a:lnTo>
                  <a:lnTo>
                    <a:pt x="10610" y="9003"/>
                  </a:lnTo>
                  <a:lnTo>
                    <a:pt x="10543" y="8994"/>
                  </a:lnTo>
                  <a:lnTo>
                    <a:pt x="10476" y="8984"/>
                  </a:lnTo>
                  <a:lnTo>
                    <a:pt x="10409" y="8972"/>
                  </a:lnTo>
                  <a:lnTo>
                    <a:pt x="10343" y="8959"/>
                  </a:lnTo>
                  <a:lnTo>
                    <a:pt x="10277" y="8945"/>
                  </a:lnTo>
                  <a:lnTo>
                    <a:pt x="10212" y="8931"/>
                  </a:lnTo>
                  <a:lnTo>
                    <a:pt x="10147" y="8915"/>
                  </a:lnTo>
                  <a:lnTo>
                    <a:pt x="10083" y="8898"/>
                  </a:lnTo>
                  <a:lnTo>
                    <a:pt x="10018" y="8881"/>
                  </a:lnTo>
                  <a:lnTo>
                    <a:pt x="9954" y="8862"/>
                  </a:lnTo>
                  <a:lnTo>
                    <a:pt x="9891" y="8842"/>
                  </a:lnTo>
                  <a:lnTo>
                    <a:pt x="9828" y="8821"/>
                  </a:lnTo>
                  <a:lnTo>
                    <a:pt x="9766" y="8799"/>
                  </a:lnTo>
                  <a:lnTo>
                    <a:pt x="9704" y="8777"/>
                  </a:lnTo>
                  <a:lnTo>
                    <a:pt x="9643" y="8753"/>
                  </a:lnTo>
                  <a:lnTo>
                    <a:pt x="9581" y="8728"/>
                  </a:lnTo>
                  <a:lnTo>
                    <a:pt x="9521" y="8703"/>
                  </a:lnTo>
                  <a:lnTo>
                    <a:pt x="9461" y="8675"/>
                  </a:lnTo>
                  <a:lnTo>
                    <a:pt x="9402" y="8648"/>
                  </a:lnTo>
                  <a:lnTo>
                    <a:pt x="9342" y="8619"/>
                  </a:lnTo>
                  <a:lnTo>
                    <a:pt x="9284" y="8590"/>
                  </a:lnTo>
                  <a:lnTo>
                    <a:pt x="9225" y="8560"/>
                  </a:lnTo>
                  <a:lnTo>
                    <a:pt x="9168" y="8529"/>
                  </a:lnTo>
                  <a:lnTo>
                    <a:pt x="9112" y="8498"/>
                  </a:lnTo>
                  <a:lnTo>
                    <a:pt x="9055" y="8465"/>
                  </a:lnTo>
                  <a:lnTo>
                    <a:pt x="8882" y="8637"/>
                  </a:lnTo>
                  <a:lnTo>
                    <a:pt x="8315" y="9201"/>
                  </a:lnTo>
                  <a:lnTo>
                    <a:pt x="7354" y="10158"/>
                  </a:lnTo>
                  <a:lnTo>
                    <a:pt x="7337" y="10176"/>
                  </a:lnTo>
                  <a:lnTo>
                    <a:pt x="7320" y="10194"/>
                  </a:lnTo>
                  <a:lnTo>
                    <a:pt x="7304" y="10212"/>
                  </a:lnTo>
                  <a:lnTo>
                    <a:pt x="7288" y="10231"/>
                  </a:lnTo>
                  <a:lnTo>
                    <a:pt x="7271" y="10250"/>
                  </a:lnTo>
                  <a:lnTo>
                    <a:pt x="7256" y="10270"/>
                  </a:lnTo>
                  <a:lnTo>
                    <a:pt x="7242" y="10290"/>
                  </a:lnTo>
                  <a:lnTo>
                    <a:pt x="7228" y="10311"/>
                  </a:lnTo>
                  <a:lnTo>
                    <a:pt x="7215" y="10332"/>
                  </a:lnTo>
                  <a:lnTo>
                    <a:pt x="7202" y="10352"/>
                  </a:lnTo>
                  <a:lnTo>
                    <a:pt x="7190" y="10374"/>
                  </a:lnTo>
                  <a:lnTo>
                    <a:pt x="7178" y="10395"/>
                  </a:lnTo>
                  <a:lnTo>
                    <a:pt x="7167" y="10417"/>
                  </a:lnTo>
                  <a:lnTo>
                    <a:pt x="7156" y="10439"/>
                  </a:lnTo>
                  <a:lnTo>
                    <a:pt x="7145" y="10461"/>
                  </a:lnTo>
                  <a:lnTo>
                    <a:pt x="7135" y="10483"/>
                  </a:lnTo>
                  <a:lnTo>
                    <a:pt x="7126" y="10506"/>
                  </a:lnTo>
                  <a:lnTo>
                    <a:pt x="7118" y="10529"/>
                  </a:lnTo>
                  <a:lnTo>
                    <a:pt x="7110" y="10552"/>
                  </a:lnTo>
                  <a:lnTo>
                    <a:pt x="7102" y="10576"/>
                  </a:lnTo>
                  <a:lnTo>
                    <a:pt x="7096" y="10600"/>
                  </a:lnTo>
                  <a:lnTo>
                    <a:pt x="7089" y="10623"/>
                  </a:lnTo>
                  <a:lnTo>
                    <a:pt x="7084" y="10647"/>
                  </a:lnTo>
                  <a:lnTo>
                    <a:pt x="7079" y="10671"/>
                  </a:lnTo>
                  <a:lnTo>
                    <a:pt x="7074" y="10695"/>
                  </a:lnTo>
                  <a:lnTo>
                    <a:pt x="7070" y="10719"/>
                  </a:lnTo>
                  <a:lnTo>
                    <a:pt x="7067" y="10744"/>
                  </a:lnTo>
                  <a:lnTo>
                    <a:pt x="7064" y="10768"/>
                  </a:lnTo>
                  <a:lnTo>
                    <a:pt x="7062" y="10793"/>
                  </a:lnTo>
                  <a:lnTo>
                    <a:pt x="7060" y="10817"/>
                  </a:lnTo>
                  <a:lnTo>
                    <a:pt x="7059" y="10843"/>
                  </a:lnTo>
                  <a:lnTo>
                    <a:pt x="7059" y="10868"/>
                  </a:lnTo>
                  <a:lnTo>
                    <a:pt x="7059" y="12043"/>
                  </a:lnTo>
                  <a:lnTo>
                    <a:pt x="6051" y="12043"/>
                  </a:lnTo>
                  <a:lnTo>
                    <a:pt x="5999" y="12045"/>
                  </a:lnTo>
                  <a:lnTo>
                    <a:pt x="5948" y="12049"/>
                  </a:lnTo>
                  <a:lnTo>
                    <a:pt x="5897" y="12055"/>
                  </a:lnTo>
                  <a:lnTo>
                    <a:pt x="5848" y="12064"/>
                  </a:lnTo>
                  <a:lnTo>
                    <a:pt x="5799" y="12075"/>
                  </a:lnTo>
                  <a:lnTo>
                    <a:pt x="5751" y="12088"/>
                  </a:lnTo>
                  <a:lnTo>
                    <a:pt x="5705" y="12104"/>
                  </a:lnTo>
                  <a:lnTo>
                    <a:pt x="5658" y="12122"/>
                  </a:lnTo>
                  <a:lnTo>
                    <a:pt x="5614" y="12142"/>
                  </a:lnTo>
                  <a:lnTo>
                    <a:pt x="5571" y="12164"/>
                  </a:lnTo>
                  <a:lnTo>
                    <a:pt x="5528" y="12189"/>
                  </a:lnTo>
                  <a:lnTo>
                    <a:pt x="5487" y="12215"/>
                  </a:lnTo>
                  <a:lnTo>
                    <a:pt x="5448" y="12243"/>
                  </a:lnTo>
                  <a:lnTo>
                    <a:pt x="5409" y="12273"/>
                  </a:lnTo>
                  <a:lnTo>
                    <a:pt x="5373" y="12304"/>
                  </a:lnTo>
                  <a:lnTo>
                    <a:pt x="5338" y="12337"/>
                  </a:lnTo>
                  <a:lnTo>
                    <a:pt x="5304" y="12372"/>
                  </a:lnTo>
                  <a:lnTo>
                    <a:pt x="5273" y="12408"/>
                  </a:lnTo>
                  <a:lnTo>
                    <a:pt x="5243" y="12447"/>
                  </a:lnTo>
                  <a:lnTo>
                    <a:pt x="5215" y="12486"/>
                  </a:lnTo>
                  <a:lnTo>
                    <a:pt x="5188" y="12527"/>
                  </a:lnTo>
                  <a:lnTo>
                    <a:pt x="5164" y="12569"/>
                  </a:lnTo>
                  <a:lnTo>
                    <a:pt x="5142" y="12612"/>
                  </a:lnTo>
                  <a:lnTo>
                    <a:pt x="5122" y="12656"/>
                  </a:lnTo>
                  <a:lnTo>
                    <a:pt x="5104" y="12702"/>
                  </a:lnTo>
                  <a:lnTo>
                    <a:pt x="5088" y="12749"/>
                  </a:lnTo>
                  <a:lnTo>
                    <a:pt x="5075" y="12797"/>
                  </a:lnTo>
                  <a:lnTo>
                    <a:pt x="5063" y="12845"/>
                  </a:lnTo>
                  <a:lnTo>
                    <a:pt x="5054" y="12894"/>
                  </a:lnTo>
                  <a:lnTo>
                    <a:pt x="5048" y="12944"/>
                  </a:lnTo>
                  <a:lnTo>
                    <a:pt x="5044" y="12996"/>
                  </a:lnTo>
                  <a:lnTo>
                    <a:pt x="5042" y="13047"/>
                  </a:lnTo>
                  <a:lnTo>
                    <a:pt x="5042" y="14050"/>
                  </a:lnTo>
                  <a:lnTo>
                    <a:pt x="3862" y="14050"/>
                  </a:lnTo>
                  <a:lnTo>
                    <a:pt x="3836" y="14050"/>
                  </a:lnTo>
                  <a:lnTo>
                    <a:pt x="3812" y="14052"/>
                  </a:lnTo>
                  <a:lnTo>
                    <a:pt x="3787" y="14054"/>
                  </a:lnTo>
                  <a:lnTo>
                    <a:pt x="3762" y="14056"/>
                  </a:lnTo>
                  <a:lnTo>
                    <a:pt x="3738" y="14059"/>
                  </a:lnTo>
                  <a:lnTo>
                    <a:pt x="3713" y="14062"/>
                  </a:lnTo>
                  <a:lnTo>
                    <a:pt x="3688" y="14066"/>
                  </a:lnTo>
                  <a:lnTo>
                    <a:pt x="3664" y="14071"/>
                  </a:lnTo>
                  <a:lnTo>
                    <a:pt x="3640" y="14076"/>
                  </a:lnTo>
                  <a:lnTo>
                    <a:pt x="3616" y="14081"/>
                  </a:lnTo>
                  <a:lnTo>
                    <a:pt x="3592" y="14088"/>
                  </a:lnTo>
                  <a:lnTo>
                    <a:pt x="3568" y="14094"/>
                  </a:lnTo>
                  <a:lnTo>
                    <a:pt x="3545" y="14102"/>
                  </a:lnTo>
                  <a:lnTo>
                    <a:pt x="3522" y="14110"/>
                  </a:lnTo>
                  <a:lnTo>
                    <a:pt x="3499" y="14118"/>
                  </a:lnTo>
                  <a:lnTo>
                    <a:pt x="3476" y="14127"/>
                  </a:lnTo>
                  <a:lnTo>
                    <a:pt x="3453" y="14137"/>
                  </a:lnTo>
                  <a:lnTo>
                    <a:pt x="3431" y="14147"/>
                  </a:lnTo>
                  <a:lnTo>
                    <a:pt x="3409" y="14158"/>
                  </a:lnTo>
                  <a:lnTo>
                    <a:pt x="3387" y="14169"/>
                  </a:lnTo>
                  <a:lnTo>
                    <a:pt x="3366" y="14181"/>
                  </a:lnTo>
                  <a:lnTo>
                    <a:pt x="3344" y="14193"/>
                  </a:lnTo>
                  <a:lnTo>
                    <a:pt x="3323" y="14206"/>
                  </a:lnTo>
                  <a:lnTo>
                    <a:pt x="3302" y="14219"/>
                  </a:lnTo>
                  <a:lnTo>
                    <a:pt x="3282" y="14233"/>
                  </a:lnTo>
                  <a:lnTo>
                    <a:pt x="3262" y="14248"/>
                  </a:lnTo>
                  <a:lnTo>
                    <a:pt x="3243" y="14262"/>
                  </a:lnTo>
                  <a:lnTo>
                    <a:pt x="3222" y="14278"/>
                  </a:lnTo>
                  <a:lnTo>
                    <a:pt x="3204" y="14294"/>
                  </a:lnTo>
                  <a:lnTo>
                    <a:pt x="3185" y="14310"/>
                  </a:lnTo>
                  <a:lnTo>
                    <a:pt x="3167" y="14328"/>
                  </a:lnTo>
                  <a:lnTo>
                    <a:pt x="3149" y="14345"/>
                  </a:lnTo>
                  <a:lnTo>
                    <a:pt x="2434" y="15056"/>
                  </a:lnTo>
                  <a:lnTo>
                    <a:pt x="1010" y="15054"/>
                  </a:lnTo>
                  <a:lnTo>
                    <a:pt x="1008" y="13625"/>
                  </a:lnTo>
                  <a:lnTo>
                    <a:pt x="6888" y="7782"/>
                  </a:lnTo>
                  <a:lnTo>
                    <a:pt x="6888" y="7782"/>
                  </a:lnTo>
                  <a:lnTo>
                    <a:pt x="6889" y="7783"/>
                  </a:lnTo>
                  <a:lnTo>
                    <a:pt x="7629" y="7045"/>
                  </a:lnTo>
                  <a:lnTo>
                    <a:pt x="7597" y="6989"/>
                  </a:lnTo>
                  <a:lnTo>
                    <a:pt x="7565" y="6933"/>
                  </a:lnTo>
                  <a:lnTo>
                    <a:pt x="7534" y="6876"/>
                  </a:lnTo>
                  <a:lnTo>
                    <a:pt x="7503" y="6817"/>
                  </a:lnTo>
                  <a:lnTo>
                    <a:pt x="7474" y="6759"/>
                  </a:lnTo>
                  <a:lnTo>
                    <a:pt x="7446" y="6700"/>
                  </a:lnTo>
                  <a:lnTo>
                    <a:pt x="7418" y="6641"/>
                  </a:lnTo>
                  <a:lnTo>
                    <a:pt x="7391" y="6582"/>
                  </a:lnTo>
                  <a:lnTo>
                    <a:pt x="7365" y="6521"/>
                  </a:lnTo>
                  <a:lnTo>
                    <a:pt x="7340" y="6460"/>
                  </a:lnTo>
                  <a:lnTo>
                    <a:pt x="7317" y="6399"/>
                  </a:lnTo>
                  <a:lnTo>
                    <a:pt x="7294" y="6338"/>
                  </a:lnTo>
                  <a:lnTo>
                    <a:pt x="7271" y="6275"/>
                  </a:lnTo>
                  <a:lnTo>
                    <a:pt x="7250" y="6213"/>
                  </a:lnTo>
                  <a:lnTo>
                    <a:pt x="7230" y="6150"/>
                  </a:lnTo>
                  <a:lnTo>
                    <a:pt x="7212" y="6087"/>
                  </a:lnTo>
                  <a:lnTo>
                    <a:pt x="7194" y="6023"/>
                  </a:lnTo>
                  <a:lnTo>
                    <a:pt x="7177" y="5958"/>
                  </a:lnTo>
                  <a:lnTo>
                    <a:pt x="7161" y="5894"/>
                  </a:lnTo>
                  <a:lnTo>
                    <a:pt x="7146" y="5829"/>
                  </a:lnTo>
                  <a:lnTo>
                    <a:pt x="7132" y="5764"/>
                  </a:lnTo>
                  <a:lnTo>
                    <a:pt x="7120" y="5697"/>
                  </a:lnTo>
                  <a:lnTo>
                    <a:pt x="7108" y="5631"/>
                  </a:lnTo>
                  <a:lnTo>
                    <a:pt x="7098" y="5565"/>
                  </a:lnTo>
                  <a:lnTo>
                    <a:pt x="7089" y="5498"/>
                  </a:lnTo>
                  <a:lnTo>
                    <a:pt x="7081" y="5430"/>
                  </a:lnTo>
                  <a:lnTo>
                    <a:pt x="7075" y="5362"/>
                  </a:lnTo>
                  <a:lnTo>
                    <a:pt x="7069" y="5294"/>
                  </a:lnTo>
                  <a:lnTo>
                    <a:pt x="7065" y="5226"/>
                  </a:lnTo>
                  <a:lnTo>
                    <a:pt x="7062" y="5156"/>
                  </a:lnTo>
                  <a:lnTo>
                    <a:pt x="7060" y="5088"/>
                  </a:lnTo>
                  <a:lnTo>
                    <a:pt x="7059" y="5018"/>
                  </a:lnTo>
                  <a:lnTo>
                    <a:pt x="7064" y="4812"/>
                  </a:lnTo>
                  <a:lnTo>
                    <a:pt x="7080" y="4607"/>
                  </a:lnTo>
                  <a:lnTo>
                    <a:pt x="7105" y="4406"/>
                  </a:lnTo>
                  <a:lnTo>
                    <a:pt x="7140" y="4209"/>
                  </a:lnTo>
                  <a:lnTo>
                    <a:pt x="7186" y="4015"/>
                  </a:lnTo>
                  <a:lnTo>
                    <a:pt x="7240" y="3824"/>
                  </a:lnTo>
                  <a:lnTo>
                    <a:pt x="7304" y="3638"/>
                  </a:lnTo>
                  <a:lnTo>
                    <a:pt x="7376" y="3456"/>
                  </a:lnTo>
                  <a:lnTo>
                    <a:pt x="7457" y="3277"/>
                  </a:lnTo>
                  <a:lnTo>
                    <a:pt x="7546" y="3105"/>
                  </a:lnTo>
                  <a:lnTo>
                    <a:pt x="7643" y="2937"/>
                  </a:lnTo>
                  <a:lnTo>
                    <a:pt x="7747" y="2773"/>
                  </a:lnTo>
                  <a:lnTo>
                    <a:pt x="7860" y="2616"/>
                  </a:lnTo>
                  <a:lnTo>
                    <a:pt x="7980" y="2464"/>
                  </a:lnTo>
                  <a:lnTo>
                    <a:pt x="8106" y="2319"/>
                  </a:lnTo>
                  <a:lnTo>
                    <a:pt x="8240" y="2179"/>
                  </a:lnTo>
                  <a:lnTo>
                    <a:pt x="8381" y="2047"/>
                  </a:lnTo>
                  <a:lnTo>
                    <a:pt x="8527" y="1920"/>
                  </a:lnTo>
                  <a:lnTo>
                    <a:pt x="8679" y="1801"/>
                  </a:lnTo>
                  <a:lnTo>
                    <a:pt x="8837" y="1689"/>
                  </a:lnTo>
                  <a:lnTo>
                    <a:pt x="9001" y="1585"/>
                  </a:lnTo>
                  <a:lnTo>
                    <a:pt x="9169" y="1489"/>
                  </a:lnTo>
                  <a:lnTo>
                    <a:pt x="9343" y="1399"/>
                  </a:lnTo>
                  <a:lnTo>
                    <a:pt x="9522" y="1319"/>
                  </a:lnTo>
                  <a:lnTo>
                    <a:pt x="9705" y="1248"/>
                  </a:lnTo>
                  <a:lnTo>
                    <a:pt x="9892" y="1184"/>
                  </a:lnTo>
                  <a:lnTo>
                    <a:pt x="10084" y="1130"/>
                  </a:lnTo>
                  <a:lnTo>
                    <a:pt x="10279" y="1085"/>
                  </a:lnTo>
                  <a:lnTo>
                    <a:pt x="10478" y="1050"/>
                  </a:lnTo>
                  <a:lnTo>
                    <a:pt x="10679" y="1024"/>
                  </a:lnTo>
                  <a:lnTo>
                    <a:pt x="10884" y="1009"/>
                  </a:lnTo>
                  <a:lnTo>
                    <a:pt x="11092" y="1004"/>
                  </a:lnTo>
                  <a:lnTo>
                    <a:pt x="11298" y="1009"/>
                  </a:lnTo>
                  <a:lnTo>
                    <a:pt x="11504" y="1024"/>
                  </a:lnTo>
                  <a:lnTo>
                    <a:pt x="11706" y="1050"/>
                  </a:lnTo>
                  <a:lnTo>
                    <a:pt x="11904" y="1085"/>
                  </a:lnTo>
                  <a:lnTo>
                    <a:pt x="12099" y="1130"/>
                  </a:lnTo>
                  <a:lnTo>
                    <a:pt x="12291" y="1184"/>
                  </a:lnTo>
                  <a:lnTo>
                    <a:pt x="12478" y="1248"/>
                  </a:lnTo>
                  <a:lnTo>
                    <a:pt x="12661" y="1319"/>
                  </a:lnTo>
                  <a:lnTo>
                    <a:pt x="12840" y="1399"/>
                  </a:lnTo>
                  <a:lnTo>
                    <a:pt x="13013" y="1489"/>
                  </a:lnTo>
                  <a:lnTo>
                    <a:pt x="13182" y="1585"/>
                  </a:lnTo>
                  <a:lnTo>
                    <a:pt x="13346" y="1689"/>
                  </a:lnTo>
                  <a:lnTo>
                    <a:pt x="13505" y="1801"/>
                  </a:lnTo>
                  <a:lnTo>
                    <a:pt x="13657" y="1920"/>
                  </a:lnTo>
                  <a:lnTo>
                    <a:pt x="13803" y="2047"/>
                  </a:lnTo>
                  <a:lnTo>
                    <a:pt x="13943" y="2179"/>
                  </a:lnTo>
                  <a:lnTo>
                    <a:pt x="14076" y="2319"/>
                  </a:lnTo>
                  <a:lnTo>
                    <a:pt x="14203" y="2464"/>
                  </a:lnTo>
                  <a:lnTo>
                    <a:pt x="14323" y="2616"/>
                  </a:lnTo>
                  <a:lnTo>
                    <a:pt x="14435" y="2773"/>
                  </a:lnTo>
                  <a:lnTo>
                    <a:pt x="14540" y="2937"/>
                  </a:lnTo>
                  <a:lnTo>
                    <a:pt x="14637" y="3105"/>
                  </a:lnTo>
                  <a:lnTo>
                    <a:pt x="14726" y="3277"/>
                  </a:lnTo>
                  <a:lnTo>
                    <a:pt x="14807" y="3456"/>
                  </a:lnTo>
                  <a:lnTo>
                    <a:pt x="14879" y="3638"/>
                  </a:lnTo>
                  <a:lnTo>
                    <a:pt x="14942" y="3824"/>
                  </a:lnTo>
                  <a:lnTo>
                    <a:pt x="14997" y="4015"/>
                  </a:lnTo>
                  <a:lnTo>
                    <a:pt x="15042" y="4209"/>
                  </a:lnTo>
                  <a:lnTo>
                    <a:pt x="15077" y="4406"/>
                  </a:lnTo>
                  <a:lnTo>
                    <a:pt x="15104" y="4607"/>
                  </a:lnTo>
                  <a:lnTo>
                    <a:pt x="15119" y="4812"/>
                  </a:lnTo>
                  <a:lnTo>
                    <a:pt x="15124" y="5018"/>
                  </a:lnTo>
                  <a:lnTo>
                    <a:pt x="15119" y="5225"/>
                  </a:lnTo>
                  <a:lnTo>
                    <a:pt x="15104" y="5428"/>
                  </a:lnTo>
                  <a:lnTo>
                    <a:pt x="15077" y="5629"/>
                  </a:lnTo>
                  <a:lnTo>
                    <a:pt x="15042" y="5827"/>
                  </a:lnTo>
                  <a:lnTo>
                    <a:pt x="14997" y="6021"/>
                  </a:lnTo>
                  <a:lnTo>
                    <a:pt x="14942" y="6212"/>
                  </a:lnTo>
                  <a:lnTo>
                    <a:pt x="14879" y="6398"/>
                  </a:lnTo>
                  <a:lnTo>
                    <a:pt x="14807" y="6581"/>
                  </a:lnTo>
                  <a:lnTo>
                    <a:pt x="14726" y="6758"/>
                  </a:lnTo>
                  <a:lnTo>
                    <a:pt x="14637" y="6932"/>
                  </a:lnTo>
                  <a:lnTo>
                    <a:pt x="14540" y="7100"/>
                  </a:lnTo>
                  <a:lnTo>
                    <a:pt x="14435" y="7262"/>
                  </a:lnTo>
                  <a:lnTo>
                    <a:pt x="14323" y="7420"/>
                  </a:lnTo>
                  <a:lnTo>
                    <a:pt x="14203" y="7571"/>
                  </a:lnTo>
                  <a:lnTo>
                    <a:pt x="14076" y="7718"/>
                  </a:lnTo>
                  <a:lnTo>
                    <a:pt x="13943" y="7856"/>
                  </a:lnTo>
                  <a:lnTo>
                    <a:pt x="13803" y="7990"/>
                  </a:lnTo>
                  <a:lnTo>
                    <a:pt x="13657" y="8116"/>
                  </a:lnTo>
                  <a:lnTo>
                    <a:pt x="13505" y="8235"/>
                  </a:lnTo>
                  <a:lnTo>
                    <a:pt x="13346" y="8347"/>
                  </a:lnTo>
                  <a:lnTo>
                    <a:pt x="13182" y="8452"/>
                  </a:lnTo>
                  <a:lnTo>
                    <a:pt x="13013" y="8548"/>
                  </a:lnTo>
                  <a:lnTo>
                    <a:pt x="12840" y="8637"/>
                  </a:lnTo>
                  <a:lnTo>
                    <a:pt x="12661" y="8718"/>
                  </a:lnTo>
                  <a:lnTo>
                    <a:pt x="12478" y="8789"/>
                  </a:lnTo>
                  <a:lnTo>
                    <a:pt x="12291" y="8852"/>
                  </a:lnTo>
                  <a:lnTo>
                    <a:pt x="12099" y="8906"/>
                  </a:lnTo>
                  <a:lnTo>
                    <a:pt x="11904" y="8951"/>
                  </a:lnTo>
                  <a:lnTo>
                    <a:pt x="11706" y="8987"/>
                  </a:lnTo>
                  <a:lnTo>
                    <a:pt x="11504" y="9012"/>
                  </a:lnTo>
                  <a:lnTo>
                    <a:pt x="11298" y="9028"/>
                  </a:lnTo>
                  <a:lnTo>
                    <a:pt x="11092" y="9033"/>
                  </a:lnTo>
                  <a:close/>
                  <a:moveTo>
                    <a:pt x="11092" y="0"/>
                  </a:moveTo>
                  <a:lnTo>
                    <a:pt x="10832" y="7"/>
                  </a:lnTo>
                  <a:lnTo>
                    <a:pt x="10577" y="26"/>
                  </a:lnTo>
                  <a:lnTo>
                    <a:pt x="10323" y="58"/>
                  </a:lnTo>
                  <a:lnTo>
                    <a:pt x="10075" y="102"/>
                  </a:lnTo>
                  <a:lnTo>
                    <a:pt x="9831" y="158"/>
                  </a:lnTo>
                  <a:lnTo>
                    <a:pt x="9592" y="226"/>
                  </a:lnTo>
                  <a:lnTo>
                    <a:pt x="9359" y="304"/>
                  </a:lnTo>
                  <a:lnTo>
                    <a:pt x="9130" y="394"/>
                  </a:lnTo>
                  <a:lnTo>
                    <a:pt x="8906" y="495"/>
                  </a:lnTo>
                  <a:lnTo>
                    <a:pt x="8689" y="605"/>
                  </a:lnTo>
                  <a:lnTo>
                    <a:pt x="8477" y="727"/>
                  </a:lnTo>
                  <a:lnTo>
                    <a:pt x="8274" y="857"/>
                  </a:lnTo>
                  <a:lnTo>
                    <a:pt x="8076" y="997"/>
                  </a:lnTo>
                  <a:lnTo>
                    <a:pt x="7886" y="1146"/>
                  </a:lnTo>
                  <a:lnTo>
                    <a:pt x="7702" y="1304"/>
                  </a:lnTo>
                  <a:lnTo>
                    <a:pt x="7528" y="1469"/>
                  </a:lnTo>
                  <a:lnTo>
                    <a:pt x="7360" y="1644"/>
                  </a:lnTo>
                  <a:lnTo>
                    <a:pt x="7202" y="1826"/>
                  </a:lnTo>
                  <a:lnTo>
                    <a:pt x="7053" y="2016"/>
                  </a:lnTo>
                  <a:lnTo>
                    <a:pt x="6912" y="2212"/>
                  </a:lnTo>
                  <a:lnTo>
                    <a:pt x="6780" y="2416"/>
                  </a:lnTo>
                  <a:lnTo>
                    <a:pt x="6659" y="2627"/>
                  </a:lnTo>
                  <a:lnTo>
                    <a:pt x="6548" y="2843"/>
                  </a:lnTo>
                  <a:lnTo>
                    <a:pt x="6447" y="3064"/>
                  </a:lnTo>
                  <a:lnTo>
                    <a:pt x="6357" y="3293"/>
                  </a:lnTo>
                  <a:lnTo>
                    <a:pt x="6277" y="3526"/>
                  </a:lnTo>
                  <a:lnTo>
                    <a:pt x="6210" y="3764"/>
                  </a:lnTo>
                  <a:lnTo>
                    <a:pt x="6153" y="4007"/>
                  </a:lnTo>
                  <a:lnTo>
                    <a:pt x="6109" y="4254"/>
                  </a:lnTo>
                  <a:lnTo>
                    <a:pt x="6077" y="4505"/>
                  </a:lnTo>
                  <a:lnTo>
                    <a:pt x="6058" y="4760"/>
                  </a:lnTo>
                  <a:lnTo>
                    <a:pt x="6051" y="5018"/>
                  </a:lnTo>
                  <a:lnTo>
                    <a:pt x="6052" y="5078"/>
                  </a:lnTo>
                  <a:lnTo>
                    <a:pt x="6053" y="5138"/>
                  </a:lnTo>
                  <a:lnTo>
                    <a:pt x="6055" y="5198"/>
                  </a:lnTo>
                  <a:lnTo>
                    <a:pt x="6058" y="5259"/>
                  </a:lnTo>
                  <a:lnTo>
                    <a:pt x="6061" y="5318"/>
                  </a:lnTo>
                  <a:lnTo>
                    <a:pt x="6065" y="5377"/>
                  </a:lnTo>
                  <a:lnTo>
                    <a:pt x="6070" y="5436"/>
                  </a:lnTo>
                  <a:lnTo>
                    <a:pt x="6076" y="5496"/>
                  </a:lnTo>
                  <a:lnTo>
                    <a:pt x="6082" y="5554"/>
                  </a:lnTo>
                  <a:lnTo>
                    <a:pt x="6089" y="5612"/>
                  </a:lnTo>
                  <a:lnTo>
                    <a:pt x="6097" y="5670"/>
                  </a:lnTo>
                  <a:lnTo>
                    <a:pt x="6106" y="5728"/>
                  </a:lnTo>
                  <a:lnTo>
                    <a:pt x="6115" y="5787"/>
                  </a:lnTo>
                  <a:lnTo>
                    <a:pt x="6125" y="5844"/>
                  </a:lnTo>
                  <a:lnTo>
                    <a:pt x="6135" y="5901"/>
                  </a:lnTo>
                  <a:lnTo>
                    <a:pt x="6146" y="5958"/>
                  </a:lnTo>
                  <a:lnTo>
                    <a:pt x="6158" y="6015"/>
                  </a:lnTo>
                  <a:lnTo>
                    <a:pt x="6171" y="6072"/>
                  </a:lnTo>
                  <a:lnTo>
                    <a:pt x="6185" y="6128"/>
                  </a:lnTo>
                  <a:lnTo>
                    <a:pt x="6198" y="6184"/>
                  </a:lnTo>
                  <a:lnTo>
                    <a:pt x="6213" y="6240"/>
                  </a:lnTo>
                  <a:lnTo>
                    <a:pt x="6228" y="6296"/>
                  </a:lnTo>
                  <a:lnTo>
                    <a:pt x="6243" y="6352"/>
                  </a:lnTo>
                  <a:lnTo>
                    <a:pt x="6259" y="6407"/>
                  </a:lnTo>
                  <a:lnTo>
                    <a:pt x="6276" y="6461"/>
                  </a:lnTo>
                  <a:lnTo>
                    <a:pt x="6293" y="6516"/>
                  </a:lnTo>
                  <a:lnTo>
                    <a:pt x="6312" y="6571"/>
                  </a:lnTo>
                  <a:lnTo>
                    <a:pt x="6331" y="6625"/>
                  </a:lnTo>
                  <a:lnTo>
                    <a:pt x="6350" y="6679"/>
                  </a:lnTo>
                  <a:lnTo>
                    <a:pt x="6369" y="6732"/>
                  </a:lnTo>
                  <a:lnTo>
                    <a:pt x="6389" y="6786"/>
                  </a:lnTo>
                  <a:lnTo>
                    <a:pt x="6410" y="6840"/>
                  </a:lnTo>
                  <a:lnTo>
                    <a:pt x="286" y="12935"/>
                  </a:lnTo>
                  <a:lnTo>
                    <a:pt x="254" y="12968"/>
                  </a:lnTo>
                  <a:lnTo>
                    <a:pt x="224" y="13002"/>
                  </a:lnTo>
                  <a:lnTo>
                    <a:pt x="195" y="13035"/>
                  </a:lnTo>
                  <a:lnTo>
                    <a:pt x="167" y="13068"/>
                  </a:lnTo>
                  <a:lnTo>
                    <a:pt x="142" y="13102"/>
                  </a:lnTo>
                  <a:lnTo>
                    <a:pt x="118" y="13136"/>
                  </a:lnTo>
                  <a:lnTo>
                    <a:pt x="107" y="13153"/>
                  </a:lnTo>
                  <a:lnTo>
                    <a:pt x="97" y="13171"/>
                  </a:lnTo>
                  <a:lnTo>
                    <a:pt x="87" y="13189"/>
                  </a:lnTo>
                  <a:lnTo>
                    <a:pt x="77" y="13207"/>
                  </a:lnTo>
                  <a:lnTo>
                    <a:pt x="68" y="13225"/>
                  </a:lnTo>
                  <a:lnTo>
                    <a:pt x="59" y="13244"/>
                  </a:lnTo>
                  <a:lnTo>
                    <a:pt x="51" y="13264"/>
                  </a:lnTo>
                  <a:lnTo>
                    <a:pt x="44" y="13283"/>
                  </a:lnTo>
                  <a:lnTo>
                    <a:pt x="37" y="13303"/>
                  </a:lnTo>
                  <a:lnTo>
                    <a:pt x="31" y="13323"/>
                  </a:lnTo>
                  <a:lnTo>
                    <a:pt x="25" y="13344"/>
                  </a:lnTo>
                  <a:lnTo>
                    <a:pt x="20" y="13364"/>
                  </a:lnTo>
                  <a:lnTo>
                    <a:pt x="15" y="13386"/>
                  </a:lnTo>
                  <a:lnTo>
                    <a:pt x="11" y="13407"/>
                  </a:lnTo>
                  <a:lnTo>
                    <a:pt x="8" y="13430"/>
                  </a:lnTo>
                  <a:lnTo>
                    <a:pt x="5" y="13452"/>
                  </a:lnTo>
                  <a:lnTo>
                    <a:pt x="3" y="13475"/>
                  </a:lnTo>
                  <a:lnTo>
                    <a:pt x="1" y="13499"/>
                  </a:lnTo>
                  <a:lnTo>
                    <a:pt x="0" y="13524"/>
                  </a:lnTo>
                  <a:lnTo>
                    <a:pt x="0" y="13549"/>
                  </a:lnTo>
                  <a:lnTo>
                    <a:pt x="0" y="15054"/>
                  </a:lnTo>
                  <a:lnTo>
                    <a:pt x="1" y="15104"/>
                  </a:lnTo>
                  <a:lnTo>
                    <a:pt x="5" y="15155"/>
                  </a:lnTo>
                  <a:lnTo>
                    <a:pt x="12" y="15203"/>
                  </a:lnTo>
                  <a:lnTo>
                    <a:pt x="21" y="15252"/>
                  </a:lnTo>
                  <a:lnTo>
                    <a:pt x="33" y="15299"/>
                  </a:lnTo>
                  <a:lnTo>
                    <a:pt x="46" y="15346"/>
                  </a:lnTo>
                  <a:lnTo>
                    <a:pt x="64" y="15393"/>
                  </a:lnTo>
                  <a:lnTo>
                    <a:pt x="82" y="15438"/>
                  </a:lnTo>
                  <a:lnTo>
                    <a:pt x="103" y="15482"/>
                  </a:lnTo>
                  <a:lnTo>
                    <a:pt x="125" y="15525"/>
                  </a:lnTo>
                  <a:lnTo>
                    <a:pt x="150" y="15567"/>
                  </a:lnTo>
                  <a:lnTo>
                    <a:pt x="176" y="15608"/>
                  </a:lnTo>
                  <a:lnTo>
                    <a:pt x="206" y="15647"/>
                  </a:lnTo>
                  <a:lnTo>
                    <a:pt x="236" y="15686"/>
                  </a:lnTo>
                  <a:lnTo>
                    <a:pt x="268" y="15723"/>
                  </a:lnTo>
                  <a:lnTo>
                    <a:pt x="301" y="15758"/>
                  </a:lnTo>
                  <a:lnTo>
                    <a:pt x="337" y="15791"/>
                  </a:lnTo>
                  <a:lnTo>
                    <a:pt x="374" y="15823"/>
                  </a:lnTo>
                  <a:lnTo>
                    <a:pt x="412" y="15853"/>
                  </a:lnTo>
                  <a:lnTo>
                    <a:pt x="452" y="15882"/>
                  </a:lnTo>
                  <a:lnTo>
                    <a:pt x="493" y="15908"/>
                  </a:lnTo>
                  <a:lnTo>
                    <a:pt x="535" y="15934"/>
                  </a:lnTo>
                  <a:lnTo>
                    <a:pt x="579" y="15956"/>
                  </a:lnTo>
                  <a:lnTo>
                    <a:pt x="623" y="15977"/>
                  </a:lnTo>
                  <a:lnTo>
                    <a:pt x="668" y="15995"/>
                  </a:lnTo>
                  <a:lnTo>
                    <a:pt x="715" y="16012"/>
                  </a:lnTo>
                  <a:lnTo>
                    <a:pt x="762" y="16025"/>
                  </a:lnTo>
                  <a:lnTo>
                    <a:pt x="810" y="16037"/>
                  </a:lnTo>
                  <a:lnTo>
                    <a:pt x="859" y="16046"/>
                  </a:lnTo>
                  <a:lnTo>
                    <a:pt x="907" y="16053"/>
                  </a:lnTo>
                  <a:lnTo>
                    <a:pt x="958" y="16057"/>
                  </a:lnTo>
                  <a:lnTo>
                    <a:pt x="1008" y="16058"/>
                  </a:lnTo>
                  <a:lnTo>
                    <a:pt x="2521" y="16058"/>
                  </a:lnTo>
                  <a:lnTo>
                    <a:pt x="2546" y="16058"/>
                  </a:lnTo>
                  <a:lnTo>
                    <a:pt x="2570" y="16057"/>
                  </a:lnTo>
                  <a:lnTo>
                    <a:pt x="2594" y="16055"/>
                  </a:lnTo>
                  <a:lnTo>
                    <a:pt x="2617" y="16053"/>
                  </a:lnTo>
                  <a:lnTo>
                    <a:pt x="2640" y="16050"/>
                  </a:lnTo>
                  <a:lnTo>
                    <a:pt x="2663" y="16047"/>
                  </a:lnTo>
                  <a:lnTo>
                    <a:pt x="2685" y="16043"/>
                  </a:lnTo>
                  <a:lnTo>
                    <a:pt x="2706" y="16039"/>
                  </a:lnTo>
                  <a:lnTo>
                    <a:pt x="2727" y="16033"/>
                  </a:lnTo>
                  <a:lnTo>
                    <a:pt x="2747" y="16028"/>
                  </a:lnTo>
                  <a:lnTo>
                    <a:pt x="2768" y="16022"/>
                  </a:lnTo>
                  <a:lnTo>
                    <a:pt x="2788" y="16015"/>
                  </a:lnTo>
                  <a:lnTo>
                    <a:pt x="2808" y="16008"/>
                  </a:lnTo>
                  <a:lnTo>
                    <a:pt x="2827" y="16000"/>
                  </a:lnTo>
                  <a:lnTo>
                    <a:pt x="2845" y="15991"/>
                  </a:lnTo>
                  <a:lnTo>
                    <a:pt x="2864" y="15983"/>
                  </a:lnTo>
                  <a:lnTo>
                    <a:pt x="2883" y="15973"/>
                  </a:lnTo>
                  <a:lnTo>
                    <a:pt x="2901" y="15963"/>
                  </a:lnTo>
                  <a:lnTo>
                    <a:pt x="2919" y="15953"/>
                  </a:lnTo>
                  <a:lnTo>
                    <a:pt x="2936" y="15942"/>
                  </a:lnTo>
                  <a:lnTo>
                    <a:pt x="2971" y="15918"/>
                  </a:lnTo>
                  <a:lnTo>
                    <a:pt x="3005" y="15893"/>
                  </a:lnTo>
                  <a:lnTo>
                    <a:pt x="3039" y="15866"/>
                  </a:lnTo>
                  <a:lnTo>
                    <a:pt x="3072" y="15837"/>
                  </a:lnTo>
                  <a:lnTo>
                    <a:pt x="3105" y="15807"/>
                  </a:lnTo>
                  <a:lnTo>
                    <a:pt x="3139" y="15775"/>
                  </a:lnTo>
                  <a:lnTo>
                    <a:pt x="3862" y="15054"/>
                  </a:lnTo>
                  <a:lnTo>
                    <a:pt x="5042" y="15054"/>
                  </a:lnTo>
                  <a:lnTo>
                    <a:pt x="5095" y="15053"/>
                  </a:lnTo>
                  <a:lnTo>
                    <a:pt x="5146" y="15049"/>
                  </a:lnTo>
                  <a:lnTo>
                    <a:pt x="5197" y="15043"/>
                  </a:lnTo>
                  <a:lnTo>
                    <a:pt x="5246" y="15034"/>
                  </a:lnTo>
                  <a:lnTo>
                    <a:pt x="5294" y="15022"/>
                  </a:lnTo>
                  <a:lnTo>
                    <a:pt x="5343" y="15009"/>
                  </a:lnTo>
                  <a:lnTo>
                    <a:pt x="5389" y="14993"/>
                  </a:lnTo>
                  <a:lnTo>
                    <a:pt x="5434" y="14975"/>
                  </a:lnTo>
                  <a:lnTo>
                    <a:pt x="5480" y="14955"/>
                  </a:lnTo>
                  <a:lnTo>
                    <a:pt x="5523" y="14933"/>
                  </a:lnTo>
                  <a:lnTo>
                    <a:pt x="5566" y="14909"/>
                  </a:lnTo>
                  <a:lnTo>
                    <a:pt x="5606" y="14883"/>
                  </a:lnTo>
                  <a:lnTo>
                    <a:pt x="5646" y="14855"/>
                  </a:lnTo>
                  <a:lnTo>
                    <a:pt x="5684" y="14825"/>
                  </a:lnTo>
                  <a:lnTo>
                    <a:pt x="5721" y="14793"/>
                  </a:lnTo>
                  <a:lnTo>
                    <a:pt x="5755" y="14760"/>
                  </a:lnTo>
                  <a:lnTo>
                    <a:pt x="5788" y="14725"/>
                  </a:lnTo>
                  <a:lnTo>
                    <a:pt x="5821" y="14689"/>
                  </a:lnTo>
                  <a:lnTo>
                    <a:pt x="5851" y="14651"/>
                  </a:lnTo>
                  <a:lnTo>
                    <a:pt x="5879" y="14612"/>
                  </a:lnTo>
                  <a:lnTo>
                    <a:pt x="5905" y="14571"/>
                  </a:lnTo>
                  <a:lnTo>
                    <a:pt x="5930" y="14529"/>
                  </a:lnTo>
                  <a:lnTo>
                    <a:pt x="5952" y="14486"/>
                  </a:lnTo>
                  <a:lnTo>
                    <a:pt x="5972" y="14441"/>
                  </a:lnTo>
                  <a:lnTo>
                    <a:pt x="5990" y="14396"/>
                  </a:lnTo>
                  <a:lnTo>
                    <a:pt x="6005" y="14349"/>
                  </a:lnTo>
                  <a:lnTo>
                    <a:pt x="6019" y="14301"/>
                  </a:lnTo>
                  <a:lnTo>
                    <a:pt x="6030" y="14253"/>
                  </a:lnTo>
                  <a:lnTo>
                    <a:pt x="6039" y="14203"/>
                  </a:lnTo>
                  <a:lnTo>
                    <a:pt x="6045" y="14153"/>
                  </a:lnTo>
                  <a:lnTo>
                    <a:pt x="6050" y="14103"/>
                  </a:lnTo>
                  <a:lnTo>
                    <a:pt x="6051" y="14050"/>
                  </a:lnTo>
                  <a:lnTo>
                    <a:pt x="6051" y="13047"/>
                  </a:lnTo>
                  <a:lnTo>
                    <a:pt x="7059" y="13047"/>
                  </a:lnTo>
                  <a:lnTo>
                    <a:pt x="7111" y="13046"/>
                  </a:lnTo>
                  <a:lnTo>
                    <a:pt x="7162" y="13042"/>
                  </a:lnTo>
                  <a:lnTo>
                    <a:pt x="7212" y="13036"/>
                  </a:lnTo>
                  <a:lnTo>
                    <a:pt x="7262" y="13027"/>
                  </a:lnTo>
                  <a:lnTo>
                    <a:pt x="7311" y="13016"/>
                  </a:lnTo>
                  <a:lnTo>
                    <a:pt x="7358" y="13002"/>
                  </a:lnTo>
                  <a:lnTo>
                    <a:pt x="7406" y="12987"/>
                  </a:lnTo>
                  <a:lnTo>
                    <a:pt x="7451" y="12968"/>
                  </a:lnTo>
                  <a:lnTo>
                    <a:pt x="7496" y="12948"/>
                  </a:lnTo>
                  <a:lnTo>
                    <a:pt x="7540" y="12926"/>
                  </a:lnTo>
                  <a:lnTo>
                    <a:pt x="7582" y="12902"/>
                  </a:lnTo>
                  <a:lnTo>
                    <a:pt x="7622" y="12875"/>
                  </a:lnTo>
                  <a:lnTo>
                    <a:pt x="7662" y="12848"/>
                  </a:lnTo>
                  <a:lnTo>
                    <a:pt x="7700" y="12818"/>
                  </a:lnTo>
                  <a:lnTo>
                    <a:pt x="7736" y="12786"/>
                  </a:lnTo>
                  <a:lnTo>
                    <a:pt x="7772" y="12753"/>
                  </a:lnTo>
                  <a:lnTo>
                    <a:pt x="7805" y="12719"/>
                  </a:lnTo>
                  <a:lnTo>
                    <a:pt x="7837" y="12681"/>
                  </a:lnTo>
                  <a:lnTo>
                    <a:pt x="7866" y="12644"/>
                  </a:lnTo>
                  <a:lnTo>
                    <a:pt x="7895" y="12604"/>
                  </a:lnTo>
                  <a:lnTo>
                    <a:pt x="7921" y="12564"/>
                  </a:lnTo>
                  <a:lnTo>
                    <a:pt x="7945" y="12522"/>
                  </a:lnTo>
                  <a:lnTo>
                    <a:pt x="7967" y="12479"/>
                  </a:lnTo>
                  <a:lnTo>
                    <a:pt x="7987" y="12433"/>
                  </a:lnTo>
                  <a:lnTo>
                    <a:pt x="8006" y="12388"/>
                  </a:lnTo>
                  <a:lnTo>
                    <a:pt x="8022" y="12342"/>
                  </a:lnTo>
                  <a:lnTo>
                    <a:pt x="8036" y="12294"/>
                  </a:lnTo>
                  <a:lnTo>
                    <a:pt x="8047" y="12246"/>
                  </a:lnTo>
                  <a:lnTo>
                    <a:pt x="8056" y="12197"/>
                  </a:lnTo>
                  <a:lnTo>
                    <a:pt x="8062" y="12146"/>
                  </a:lnTo>
                  <a:lnTo>
                    <a:pt x="8066" y="12095"/>
                  </a:lnTo>
                  <a:lnTo>
                    <a:pt x="8067" y="12043"/>
                  </a:lnTo>
                  <a:lnTo>
                    <a:pt x="8067" y="10868"/>
                  </a:lnTo>
                  <a:lnTo>
                    <a:pt x="9262" y="9678"/>
                  </a:lnTo>
                  <a:lnTo>
                    <a:pt x="9315" y="9698"/>
                  </a:lnTo>
                  <a:lnTo>
                    <a:pt x="9369" y="9718"/>
                  </a:lnTo>
                  <a:lnTo>
                    <a:pt x="9423" y="9738"/>
                  </a:lnTo>
                  <a:lnTo>
                    <a:pt x="9477" y="9757"/>
                  </a:lnTo>
                  <a:lnTo>
                    <a:pt x="9531" y="9776"/>
                  </a:lnTo>
                  <a:lnTo>
                    <a:pt x="9586" y="9794"/>
                  </a:lnTo>
                  <a:lnTo>
                    <a:pt x="9641" y="9812"/>
                  </a:lnTo>
                  <a:lnTo>
                    <a:pt x="9696" y="9828"/>
                  </a:lnTo>
                  <a:lnTo>
                    <a:pt x="9752" y="9844"/>
                  </a:lnTo>
                  <a:lnTo>
                    <a:pt x="9807" y="9860"/>
                  </a:lnTo>
                  <a:lnTo>
                    <a:pt x="9864" y="9875"/>
                  </a:lnTo>
                  <a:lnTo>
                    <a:pt x="9919" y="9889"/>
                  </a:lnTo>
                  <a:lnTo>
                    <a:pt x="9976" y="9903"/>
                  </a:lnTo>
                  <a:lnTo>
                    <a:pt x="10033" y="9916"/>
                  </a:lnTo>
                  <a:lnTo>
                    <a:pt x="10090" y="9929"/>
                  </a:lnTo>
                  <a:lnTo>
                    <a:pt x="10147" y="9941"/>
                  </a:lnTo>
                  <a:lnTo>
                    <a:pt x="10204" y="9952"/>
                  </a:lnTo>
                  <a:lnTo>
                    <a:pt x="10262" y="9962"/>
                  </a:lnTo>
                  <a:lnTo>
                    <a:pt x="10319" y="9972"/>
                  </a:lnTo>
                  <a:lnTo>
                    <a:pt x="10378" y="9981"/>
                  </a:lnTo>
                  <a:lnTo>
                    <a:pt x="10435" y="9990"/>
                  </a:lnTo>
                  <a:lnTo>
                    <a:pt x="10495" y="9998"/>
                  </a:lnTo>
                  <a:lnTo>
                    <a:pt x="10553" y="10005"/>
                  </a:lnTo>
                  <a:lnTo>
                    <a:pt x="10612" y="10011"/>
                  </a:lnTo>
                  <a:lnTo>
                    <a:pt x="10671" y="10017"/>
                  </a:lnTo>
                  <a:lnTo>
                    <a:pt x="10731" y="10022"/>
                  </a:lnTo>
                  <a:lnTo>
                    <a:pt x="10790" y="10026"/>
                  </a:lnTo>
                  <a:lnTo>
                    <a:pt x="10850" y="10030"/>
                  </a:lnTo>
                  <a:lnTo>
                    <a:pt x="10910" y="10032"/>
                  </a:lnTo>
                  <a:lnTo>
                    <a:pt x="10971" y="10034"/>
                  </a:lnTo>
                  <a:lnTo>
                    <a:pt x="11031" y="10035"/>
                  </a:lnTo>
                  <a:lnTo>
                    <a:pt x="11092" y="10037"/>
                  </a:lnTo>
                  <a:lnTo>
                    <a:pt x="11351" y="10029"/>
                  </a:lnTo>
                  <a:lnTo>
                    <a:pt x="11607" y="10010"/>
                  </a:lnTo>
                  <a:lnTo>
                    <a:pt x="11859" y="9978"/>
                  </a:lnTo>
                  <a:lnTo>
                    <a:pt x="12107" y="9934"/>
                  </a:lnTo>
                  <a:lnTo>
                    <a:pt x="12351" y="9878"/>
                  </a:lnTo>
                  <a:lnTo>
                    <a:pt x="12590" y="9811"/>
                  </a:lnTo>
                  <a:lnTo>
                    <a:pt x="12824" y="9731"/>
                  </a:lnTo>
                  <a:lnTo>
                    <a:pt x="13054" y="9642"/>
                  </a:lnTo>
                  <a:lnTo>
                    <a:pt x="13277" y="9542"/>
                  </a:lnTo>
                  <a:lnTo>
                    <a:pt x="13494" y="9430"/>
                  </a:lnTo>
                  <a:lnTo>
                    <a:pt x="13705" y="9310"/>
                  </a:lnTo>
                  <a:lnTo>
                    <a:pt x="13910" y="9179"/>
                  </a:lnTo>
                  <a:lnTo>
                    <a:pt x="14107" y="9039"/>
                  </a:lnTo>
                  <a:lnTo>
                    <a:pt x="14298" y="8890"/>
                  </a:lnTo>
                  <a:lnTo>
                    <a:pt x="14480" y="8733"/>
                  </a:lnTo>
                  <a:lnTo>
                    <a:pt x="14656" y="8566"/>
                  </a:lnTo>
                  <a:lnTo>
                    <a:pt x="14822" y="8392"/>
                  </a:lnTo>
                  <a:lnTo>
                    <a:pt x="14981" y="8210"/>
                  </a:lnTo>
                  <a:lnTo>
                    <a:pt x="15131" y="8020"/>
                  </a:lnTo>
                  <a:lnTo>
                    <a:pt x="15271" y="7823"/>
                  </a:lnTo>
                  <a:lnTo>
                    <a:pt x="15402" y="7620"/>
                  </a:lnTo>
                  <a:lnTo>
                    <a:pt x="15524" y="7410"/>
                  </a:lnTo>
                  <a:lnTo>
                    <a:pt x="15635" y="7194"/>
                  </a:lnTo>
                  <a:lnTo>
                    <a:pt x="15736" y="6971"/>
                  </a:lnTo>
                  <a:lnTo>
                    <a:pt x="15827" y="6743"/>
                  </a:lnTo>
                  <a:lnTo>
                    <a:pt x="15905" y="6510"/>
                  </a:lnTo>
                  <a:lnTo>
                    <a:pt x="15974" y="6272"/>
                  </a:lnTo>
                  <a:lnTo>
                    <a:pt x="16029" y="6030"/>
                  </a:lnTo>
                  <a:lnTo>
                    <a:pt x="16074" y="5783"/>
                  </a:lnTo>
                  <a:lnTo>
                    <a:pt x="16106" y="5531"/>
                  </a:lnTo>
                  <a:lnTo>
                    <a:pt x="16125" y="5277"/>
                  </a:lnTo>
                  <a:lnTo>
                    <a:pt x="16132" y="5018"/>
                  </a:lnTo>
                  <a:lnTo>
                    <a:pt x="16125" y="4760"/>
                  </a:lnTo>
                  <a:lnTo>
                    <a:pt x="16106" y="4505"/>
                  </a:lnTo>
                  <a:lnTo>
                    <a:pt x="16074" y="4254"/>
                  </a:lnTo>
                  <a:lnTo>
                    <a:pt x="16029" y="4007"/>
                  </a:lnTo>
                  <a:lnTo>
                    <a:pt x="15974" y="3764"/>
                  </a:lnTo>
                  <a:lnTo>
                    <a:pt x="15905" y="3526"/>
                  </a:lnTo>
                  <a:lnTo>
                    <a:pt x="15827" y="3293"/>
                  </a:lnTo>
                  <a:lnTo>
                    <a:pt x="15736" y="3064"/>
                  </a:lnTo>
                  <a:lnTo>
                    <a:pt x="15635" y="2843"/>
                  </a:lnTo>
                  <a:lnTo>
                    <a:pt x="15524" y="2627"/>
                  </a:lnTo>
                  <a:lnTo>
                    <a:pt x="15402" y="2416"/>
                  </a:lnTo>
                  <a:lnTo>
                    <a:pt x="15271" y="2212"/>
                  </a:lnTo>
                  <a:lnTo>
                    <a:pt x="15131" y="2016"/>
                  </a:lnTo>
                  <a:lnTo>
                    <a:pt x="14981" y="1826"/>
                  </a:lnTo>
                  <a:lnTo>
                    <a:pt x="14822" y="1644"/>
                  </a:lnTo>
                  <a:lnTo>
                    <a:pt x="14656" y="1469"/>
                  </a:lnTo>
                  <a:lnTo>
                    <a:pt x="14480" y="1304"/>
                  </a:lnTo>
                  <a:lnTo>
                    <a:pt x="14298" y="1146"/>
                  </a:lnTo>
                  <a:lnTo>
                    <a:pt x="14107" y="997"/>
                  </a:lnTo>
                  <a:lnTo>
                    <a:pt x="13910" y="857"/>
                  </a:lnTo>
                  <a:lnTo>
                    <a:pt x="13705" y="727"/>
                  </a:lnTo>
                  <a:lnTo>
                    <a:pt x="13494" y="605"/>
                  </a:lnTo>
                  <a:lnTo>
                    <a:pt x="13277" y="495"/>
                  </a:lnTo>
                  <a:lnTo>
                    <a:pt x="13054" y="394"/>
                  </a:lnTo>
                  <a:lnTo>
                    <a:pt x="12824" y="304"/>
                  </a:lnTo>
                  <a:lnTo>
                    <a:pt x="12590" y="226"/>
                  </a:lnTo>
                  <a:lnTo>
                    <a:pt x="12351" y="158"/>
                  </a:lnTo>
                  <a:lnTo>
                    <a:pt x="12107" y="102"/>
                  </a:lnTo>
                  <a:lnTo>
                    <a:pt x="11859" y="58"/>
                  </a:lnTo>
                  <a:lnTo>
                    <a:pt x="11607" y="26"/>
                  </a:lnTo>
                  <a:lnTo>
                    <a:pt x="11351" y="7"/>
                  </a:lnTo>
                  <a:lnTo>
                    <a:pt x="110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1" name="iśḷîďe">
              <a:extLst>
                <a:ext uri="{FF2B5EF4-FFF2-40B4-BE49-F238E27FC236}">
                  <a16:creationId xmlns:a16="http://schemas.microsoft.com/office/drawing/2014/main" id="{441A6301-787E-408E-B5D5-A056199B955C}"/>
                </a:ext>
              </a:extLst>
            </p:cNvPr>
            <p:cNvSpPr/>
            <p:nvPr/>
          </p:nvSpPr>
          <p:spPr bwMode="auto">
            <a:xfrm>
              <a:off x="2059861" y="304832"/>
              <a:ext cx="98445" cy="98445"/>
            </a:xfrm>
            <a:custGeom>
              <a:avLst/>
              <a:gdLst>
                <a:gd name="T0" fmla="*/ 2086 w 4033"/>
                <a:gd name="T1" fmla="*/ 3257 h 4014"/>
                <a:gd name="T2" fmla="*/ 1694 w 4033"/>
                <a:gd name="T3" fmla="*/ 2926 h 4014"/>
                <a:gd name="T4" fmla="*/ 1325 w 4033"/>
                <a:gd name="T5" fmla="*/ 2575 h 4014"/>
                <a:gd name="T6" fmla="*/ 979 w 4033"/>
                <a:gd name="T7" fmla="*/ 2204 h 4014"/>
                <a:gd name="T8" fmla="*/ 655 w 4033"/>
                <a:gd name="T9" fmla="*/ 1813 h 4014"/>
                <a:gd name="T10" fmla="*/ 562 w 4033"/>
                <a:gd name="T11" fmla="*/ 1461 h 4014"/>
                <a:gd name="T12" fmla="*/ 707 w 4033"/>
                <a:gd name="T13" fmla="*/ 1190 h 4014"/>
                <a:gd name="T14" fmla="*/ 889 w 4033"/>
                <a:gd name="T15" fmla="*/ 956 h 4014"/>
                <a:gd name="T16" fmla="*/ 1108 w 4033"/>
                <a:gd name="T17" fmla="*/ 761 h 4014"/>
                <a:gd name="T18" fmla="*/ 1362 w 4033"/>
                <a:gd name="T19" fmla="*/ 603 h 4014"/>
                <a:gd name="T20" fmla="*/ 1672 w 4033"/>
                <a:gd name="T21" fmla="*/ 548 h 4014"/>
                <a:gd name="T22" fmla="*/ 2078 w 4033"/>
                <a:gd name="T23" fmla="*/ 864 h 4014"/>
                <a:gd name="T24" fmla="*/ 2462 w 4033"/>
                <a:gd name="T25" fmla="*/ 1202 h 4014"/>
                <a:gd name="T26" fmla="*/ 2823 w 4033"/>
                <a:gd name="T27" fmla="*/ 1561 h 4014"/>
                <a:gd name="T28" fmla="*/ 3161 w 4033"/>
                <a:gd name="T29" fmla="*/ 1942 h 4014"/>
                <a:gd name="T30" fmla="*/ 3476 w 4033"/>
                <a:gd name="T31" fmla="*/ 2341 h 4014"/>
                <a:gd name="T32" fmla="*/ 3422 w 4033"/>
                <a:gd name="T33" fmla="*/ 2653 h 4014"/>
                <a:gd name="T34" fmla="*/ 3263 w 4033"/>
                <a:gd name="T35" fmla="*/ 2910 h 4014"/>
                <a:gd name="T36" fmla="*/ 3070 w 4033"/>
                <a:gd name="T37" fmla="*/ 3129 h 4014"/>
                <a:gd name="T38" fmla="*/ 2840 w 4033"/>
                <a:gd name="T39" fmla="*/ 3311 h 4014"/>
                <a:gd name="T40" fmla="*/ 2575 w 4033"/>
                <a:gd name="T41" fmla="*/ 3456 h 4014"/>
                <a:gd name="T42" fmla="*/ 3833 w 4033"/>
                <a:gd name="T43" fmla="*/ 1979 h 4014"/>
                <a:gd name="T44" fmla="*/ 3494 w 4033"/>
                <a:gd name="T45" fmla="*/ 1556 h 4014"/>
                <a:gd name="T46" fmla="*/ 3130 w 4033"/>
                <a:gd name="T47" fmla="*/ 1155 h 4014"/>
                <a:gd name="T48" fmla="*/ 2742 w 4033"/>
                <a:gd name="T49" fmla="*/ 776 h 4014"/>
                <a:gd name="T50" fmla="*/ 2331 w 4033"/>
                <a:gd name="T51" fmla="*/ 421 h 4014"/>
                <a:gd name="T52" fmla="*/ 1897 w 4033"/>
                <a:gd name="T53" fmla="*/ 91 h 4014"/>
                <a:gd name="T54" fmla="*/ 1739 w 4033"/>
                <a:gd name="T55" fmla="*/ 16 h 4014"/>
                <a:gd name="T56" fmla="*/ 1566 w 4033"/>
                <a:gd name="T57" fmla="*/ 2 h 4014"/>
                <a:gd name="T58" fmla="*/ 1323 w 4033"/>
                <a:gd name="T59" fmla="*/ 76 h 4014"/>
                <a:gd name="T60" fmla="*/ 968 w 4033"/>
                <a:gd name="T61" fmla="*/ 254 h 4014"/>
                <a:gd name="T62" fmla="*/ 661 w 4033"/>
                <a:gd name="T63" fmla="*/ 480 h 4014"/>
                <a:gd name="T64" fmla="*/ 401 w 4033"/>
                <a:gd name="T65" fmla="*/ 755 h 4014"/>
                <a:gd name="T66" fmla="*/ 189 w 4033"/>
                <a:gd name="T67" fmla="*/ 1078 h 4014"/>
                <a:gd name="T68" fmla="*/ 27 w 4033"/>
                <a:gd name="T69" fmla="*/ 1446 h 4014"/>
                <a:gd name="T70" fmla="*/ 1 w 4033"/>
                <a:gd name="T71" fmla="*/ 1565 h 4014"/>
                <a:gd name="T72" fmla="*/ 6 w 4033"/>
                <a:gd name="T73" fmla="*/ 1681 h 4014"/>
                <a:gd name="T74" fmla="*/ 36 w 4033"/>
                <a:gd name="T75" fmla="*/ 1789 h 4014"/>
                <a:gd name="T76" fmla="*/ 90 w 4033"/>
                <a:gd name="T77" fmla="*/ 1889 h 4014"/>
                <a:gd name="T78" fmla="*/ 422 w 4033"/>
                <a:gd name="T79" fmla="*/ 2319 h 4014"/>
                <a:gd name="T80" fmla="*/ 779 w 4033"/>
                <a:gd name="T81" fmla="*/ 2729 h 4014"/>
                <a:gd name="T82" fmla="*/ 1159 w 4033"/>
                <a:gd name="T83" fmla="*/ 3114 h 4014"/>
                <a:gd name="T84" fmla="*/ 1562 w 4033"/>
                <a:gd name="T85" fmla="*/ 3478 h 4014"/>
                <a:gd name="T86" fmla="*/ 1987 w 4033"/>
                <a:gd name="T87" fmla="*/ 3816 h 4014"/>
                <a:gd name="T88" fmla="*/ 2237 w 4033"/>
                <a:gd name="T89" fmla="*/ 3979 h 4014"/>
                <a:gd name="T90" fmla="*/ 2406 w 4033"/>
                <a:gd name="T91" fmla="*/ 4014 h 4014"/>
                <a:gd name="T92" fmla="*/ 2579 w 4033"/>
                <a:gd name="T93" fmla="*/ 3986 h 4014"/>
                <a:gd name="T94" fmla="*/ 2949 w 4033"/>
                <a:gd name="T95" fmla="*/ 3825 h 4014"/>
                <a:gd name="T96" fmla="*/ 3272 w 4033"/>
                <a:gd name="T97" fmla="*/ 3614 h 4014"/>
                <a:gd name="T98" fmla="*/ 3549 w 4033"/>
                <a:gd name="T99" fmla="*/ 3356 h 4014"/>
                <a:gd name="T100" fmla="*/ 3776 w 4033"/>
                <a:gd name="T101" fmla="*/ 3049 h 4014"/>
                <a:gd name="T102" fmla="*/ 3956 w 4033"/>
                <a:gd name="T103" fmla="*/ 2696 h 4014"/>
                <a:gd name="T104" fmla="*/ 4025 w 4033"/>
                <a:gd name="T105" fmla="*/ 2488 h 4014"/>
                <a:gd name="T106" fmla="*/ 4030 w 4033"/>
                <a:gd name="T107" fmla="*/ 2370 h 4014"/>
                <a:gd name="T108" fmla="*/ 4008 w 4033"/>
                <a:gd name="T109" fmla="*/ 2260 h 4014"/>
                <a:gd name="T110" fmla="*/ 3962 w 4033"/>
                <a:gd name="T111" fmla="*/ 2157 h 40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033" h="4014">
                  <a:moveTo>
                    <a:pt x="2428" y="3516"/>
                  </a:moveTo>
                  <a:lnTo>
                    <a:pt x="2359" y="3465"/>
                  </a:lnTo>
                  <a:lnTo>
                    <a:pt x="2289" y="3414"/>
                  </a:lnTo>
                  <a:lnTo>
                    <a:pt x="2221" y="3362"/>
                  </a:lnTo>
                  <a:lnTo>
                    <a:pt x="2153" y="3310"/>
                  </a:lnTo>
                  <a:lnTo>
                    <a:pt x="2086" y="3257"/>
                  </a:lnTo>
                  <a:lnTo>
                    <a:pt x="2019" y="3203"/>
                  </a:lnTo>
                  <a:lnTo>
                    <a:pt x="1953" y="3149"/>
                  </a:lnTo>
                  <a:lnTo>
                    <a:pt x="1888" y="3095"/>
                  </a:lnTo>
                  <a:lnTo>
                    <a:pt x="1822" y="3039"/>
                  </a:lnTo>
                  <a:lnTo>
                    <a:pt x="1759" y="2984"/>
                  </a:lnTo>
                  <a:lnTo>
                    <a:pt x="1694" y="2926"/>
                  </a:lnTo>
                  <a:lnTo>
                    <a:pt x="1632" y="2869"/>
                  </a:lnTo>
                  <a:lnTo>
                    <a:pt x="1569" y="2812"/>
                  </a:lnTo>
                  <a:lnTo>
                    <a:pt x="1507" y="2754"/>
                  </a:lnTo>
                  <a:lnTo>
                    <a:pt x="1446" y="2695"/>
                  </a:lnTo>
                  <a:lnTo>
                    <a:pt x="1385" y="2635"/>
                  </a:lnTo>
                  <a:lnTo>
                    <a:pt x="1325" y="2575"/>
                  </a:lnTo>
                  <a:lnTo>
                    <a:pt x="1266" y="2514"/>
                  </a:lnTo>
                  <a:lnTo>
                    <a:pt x="1207" y="2453"/>
                  </a:lnTo>
                  <a:lnTo>
                    <a:pt x="1149" y="2391"/>
                  </a:lnTo>
                  <a:lnTo>
                    <a:pt x="1091" y="2329"/>
                  </a:lnTo>
                  <a:lnTo>
                    <a:pt x="1035" y="2267"/>
                  </a:lnTo>
                  <a:lnTo>
                    <a:pt x="979" y="2204"/>
                  </a:lnTo>
                  <a:lnTo>
                    <a:pt x="923" y="2140"/>
                  </a:lnTo>
                  <a:lnTo>
                    <a:pt x="869" y="2075"/>
                  </a:lnTo>
                  <a:lnTo>
                    <a:pt x="814" y="2011"/>
                  </a:lnTo>
                  <a:lnTo>
                    <a:pt x="761" y="1946"/>
                  </a:lnTo>
                  <a:lnTo>
                    <a:pt x="707" y="1880"/>
                  </a:lnTo>
                  <a:lnTo>
                    <a:pt x="655" y="1813"/>
                  </a:lnTo>
                  <a:lnTo>
                    <a:pt x="603" y="1747"/>
                  </a:lnTo>
                  <a:lnTo>
                    <a:pt x="553" y="1680"/>
                  </a:lnTo>
                  <a:lnTo>
                    <a:pt x="503" y="1612"/>
                  </a:lnTo>
                  <a:lnTo>
                    <a:pt x="522" y="1560"/>
                  </a:lnTo>
                  <a:lnTo>
                    <a:pt x="541" y="1510"/>
                  </a:lnTo>
                  <a:lnTo>
                    <a:pt x="562" y="1461"/>
                  </a:lnTo>
                  <a:lnTo>
                    <a:pt x="583" y="1413"/>
                  </a:lnTo>
                  <a:lnTo>
                    <a:pt x="606" y="1367"/>
                  </a:lnTo>
                  <a:lnTo>
                    <a:pt x="630" y="1320"/>
                  </a:lnTo>
                  <a:lnTo>
                    <a:pt x="655" y="1275"/>
                  </a:lnTo>
                  <a:lnTo>
                    <a:pt x="681" y="1232"/>
                  </a:lnTo>
                  <a:lnTo>
                    <a:pt x="707" y="1190"/>
                  </a:lnTo>
                  <a:lnTo>
                    <a:pt x="736" y="1148"/>
                  </a:lnTo>
                  <a:lnTo>
                    <a:pt x="764" y="1108"/>
                  </a:lnTo>
                  <a:lnTo>
                    <a:pt x="794" y="1069"/>
                  </a:lnTo>
                  <a:lnTo>
                    <a:pt x="824" y="1030"/>
                  </a:lnTo>
                  <a:lnTo>
                    <a:pt x="857" y="992"/>
                  </a:lnTo>
                  <a:lnTo>
                    <a:pt x="889" y="956"/>
                  </a:lnTo>
                  <a:lnTo>
                    <a:pt x="923" y="921"/>
                  </a:lnTo>
                  <a:lnTo>
                    <a:pt x="958" y="887"/>
                  </a:lnTo>
                  <a:lnTo>
                    <a:pt x="994" y="854"/>
                  </a:lnTo>
                  <a:lnTo>
                    <a:pt x="1031" y="822"/>
                  </a:lnTo>
                  <a:lnTo>
                    <a:pt x="1068" y="791"/>
                  </a:lnTo>
                  <a:lnTo>
                    <a:pt x="1108" y="761"/>
                  </a:lnTo>
                  <a:lnTo>
                    <a:pt x="1147" y="732"/>
                  </a:lnTo>
                  <a:lnTo>
                    <a:pt x="1188" y="704"/>
                  </a:lnTo>
                  <a:lnTo>
                    <a:pt x="1231" y="677"/>
                  </a:lnTo>
                  <a:lnTo>
                    <a:pt x="1273" y="651"/>
                  </a:lnTo>
                  <a:lnTo>
                    <a:pt x="1317" y="626"/>
                  </a:lnTo>
                  <a:lnTo>
                    <a:pt x="1362" y="603"/>
                  </a:lnTo>
                  <a:lnTo>
                    <a:pt x="1408" y="580"/>
                  </a:lnTo>
                  <a:lnTo>
                    <a:pt x="1455" y="558"/>
                  </a:lnTo>
                  <a:lnTo>
                    <a:pt x="1503" y="537"/>
                  </a:lnTo>
                  <a:lnTo>
                    <a:pt x="1552" y="516"/>
                  </a:lnTo>
                  <a:lnTo>
                    <a:pt x="1603" y="497"/>
                  </a:lnTo>
                  <a:lnTo>
                    <a:pt x="1672" y="548"/>
                  </a:lnTo>
                  <a:lnTo>
                    <a:pt x="1741" y="599"/>
                  </a:lnTo>
                  <a:lnTo>
                    <a:pt x="1809" y="651"/>
                  </a:lnTo>
                  <a:lnTo>
                    <a:pt x="1877" y="703"/>
                  </a:lnTo>
                  <a:lnTo>
                    <a:pt x="1944" y="756"/>
                  </a:lnTo>
                  <a:lnTo>
                    <a:pt x="2011" y="810"/>
                  </a:lnTo>
                  <a:lnTo>
                    <a:pt x="2078" y="864"/>
                  </a:lnTo>
                  <a:lnTo>
                    <a:pt x="2143" y="919"/>
                  </a:lnTo>
                  <a:lnTo>
                    <a:pt x="2208" y="974"/>
                  </a:lnTo>
                  <a:lnTo>
                    <a:pt x="2272" y="1030"/>
                  </a:lnTo>
                  <a:lnTo>
                    <a:pt x="2336" y="1087"/>
                  </a:lnTo>
                  <a:lnTo>
                    <a:pt x="2399" y="1144"/>
                  </a:lnTo>
                  <a:lnTo>
                    <a:pt x="2462" y="1202"/>
                  </a:lnTo>
                  <a:lnTo>
                    <a:pt x="2523" y="1260"/>
                  </a:lnTo>
                  <a:lnTo>
                    <a:pt x="2585" y="1319"/>
                  </a:lnTo>
                  <a:lnTo>
                    <a:pt x="2645" y="1379"/>
                  </a:lnTo>
                  <a:lnTo>
                    <a:pt x="2705" y="1439"/>
                  </a:lnTo>
                  <a:lnTo>
                    <a:pt x="2764" y="1500"/>
                  </a:lnTo>
                  <a:lnTo>
                    <a:pt x="2823" y="1561"/>
                  </a:lnTo>
                  <a:lnTo>
                    <a:pt x="2881" y="1624"/>
                  </a:lnTo>
                  <a:lnTo>
                    <a:pt x="2939" y="1686"/>
                  </a:lnTo>
                  <a:lnTo>
                    <a:pt x="2995" y="1749"/>
                  </a:lnTo>
                  <a:lnTo>
                    <a:pt x="3051" y="1812"/>
                  </a:lnTo>
                  <a:lnTo>
                    <a:pt x="3107" y="1877"/>
                  </a:lnTo>
                  <a:lnTo>
                    <a:pt x="3161" y="1942"/>
                  </a:lnTo>
                  <a:lnTo>
                    <a:pt x="3216" y="2007"/>
                  </a:lnTo>
                  <a:lnTo>
                    <a:pt x="3269" y="2072"/>
                  </a:lnTo>
                  <a:lnTo>
                    <a:pt x="3322" y="2139"/>
                  </a:lnTo>
                  <a:lnTo>
                    <a:pt x="3374" y="2206"/>
                  </a:lnTo>
                  <a:lnTo>
                    <a:pt x="3426" y="2273"/>
                  </a:lnTo>
                  <a:lnTo>
                    <a:pt x="3476" y="2341"/>
                  </a:lnTo>
                  <a:lnTo>
                    <a:pt x="3526" y="2410"/>
                  </a:lnTo>
                  <a:lnTo>
                    <a:pt x="3507" y="2461"/>
                  </a:lnTo>
                  <a:lnTo>
                    <a:pt x="3487" y="2511"/>
                  </a:lnTo>
                  <a:lnTo>
                    <a:pt x="3466" y="2559"/>
                  </a:lnTo>
                  <a:lnTo>
                    <a:pt x="3445" y="2607"/>
                  </a:lnTo>
                  <a:lnTo>
                    <a:pt x="3422" y="2653"/>
                  </a:lnTo>
                  <a:lnTo>
                    <a:pt x="3397" y="2700"/>
                  </a:lnTo>
                  <a:lnTo>
                    <a:pt x="3373" y="2744"/>
                  </a:lnTo>
                  <a:lnTo>
                    <a:pt x="3347" y="2787"/>
                  </a:lnTo>
                  <a:lnTo>
                    <a:pt x="3320" y="2829"/>
                  </a:lnTo>
                  <a:lnTo>
                    <a:pt x="3292" y="2870"/>
                  </a:lnTo>
                  <a:lnTo>
                    <a:pt x="3263" y="2910"/>
                  </a:lnTo>
                  <a:lnTo>
                    <a:pt x="3234" y="2950"/>
                  </a:lnTo>
                  <a:lnTo>
                    <a:pt x="3203" y="2988"/>
                  </a:lnTo>
                  <a:lnTo>
                    <a:pt x="3171" y="3025"/>
                  </a:lnTo>
                  <a:lnTo>
                    <a:pt x="3138" y="3061"/>
                  </a:lnTo>
                  <a:lnTo>
                    <a:pt x="3105" y="3095"/>
                  </a:lnTo>
                  <a:lnTo>
                    <a:pt x="3070" y="3129"/>
                  </a:lnTo>
                  <a:lnTo>
                    <a:pt x="3034" y="3162"/>
                  </a:lnTo>
                  <a:lnTo>
                    <a:pt x="2997" y="3193"/>
                  </a:lnTo>
                  <a:lnTo>
                    <a:pt x="2960" y="3225"/>
                  </a:lnTo>
                  <a:lnTo>
                    <a:pt x="2920" y="3255"/>
                  </a:lnTo>
                  <a:lnTo>
                    <a:pt x="2881" y="3283"/>
                  </a:lnTo>
                  <a:lnTo>
                    <a:pt x="2840" y="3311"/>
                  </a:lnTo>
                  <a:lnTo>
                    <a:pt x="2798" y="3338"/>
                  </a:lnTo>
                  <a:lnTo>
                    <a:pt x="2756" y="3363"/>
                  </a:lnTo>
                  <a:lnTo>
                    <a:pt x="2712" y="3388"/>
                  </a:lnTo>
                  <a:lnTo>
                    <a:pt x="2667" y="3411"/>
                  </a:lnTo>
                  <a:lnTo>
                    <a:pt x="2621" y="3434"/>
                  </a:lnTo>
                  <a:lnTo>
                    <a:pt x="2575" y="3456"/>
                  </a:lnTo>
                  <a:lnTo>
                    <a:pt x="2526" y="3477"/>
                  </a:lnTo>
                  <a:lnTo>
                    <a:pt x="2478" y="3497"/>
                  </a:lnTo>
                  <a:lnTo>
                    <a:pt x="2428" y="3516"/>
                  </a:lnTo>
                  <a:close/>
                  <a:moveTo>
                    <a:pt x="3941" y="2124"/>
                  </a:moveTo>
                  <a:lnTo>
                    <a:pt x="3887" y="2052"/>
                  </a:lnTo>
                  <a:lnTo>
                    <a:pt x="3833" y="1979"/>
                  </a:lnTo>
                  <a:lnTo>
                    <a:pt x="3778" y="1907"/>
                  </a:lnTo>
                  <a:lnTo>
                    <a:pt x="3723" y="1835"/>
                  </a:lnTo>
                  <a:lnTo>
                    <a:pt x="3667" y="1765"/>
                  </a:lnTo>
                  <a:lnTo>
                    <a:pt x="3610" y="1695"/>
                  </a:lnTo>
                  <a:lnTo>
                    <a:pt x="3553" y="1625"/>
                  </a:lnTo>
                  <a:lnTo>
                    <a:pt x="3494" y="1556"/>
                  </a:lnTo>
                  <a:lnTo>
                    <a:pt x="3435" y="1487"/>
                  </a:lnTo>
                  <a:lnTo>
                    <a:pt x="3375" y="1420"/>
                  </a:lnTo>
                  <a:lnTo>
                    <a:pt x="3315" y="1353"/>
                  </a:lnTo>
                  <a:lnTo>
                    <a:pt x="3254" y="1286"/>
                  </a:lnTo>
                  <a:lnTo>
                    <a:pt x="3193" y="1220"/>
                  </a:lnTo>
                  <a:lnTo>
                    <a:pt x="3130" y="1155"/>
                  </a:lnTo>
                  <a:lnTo>
                    <a:pt x="3067" y="1091"/>
                  </a:lnTo>
                  <a:lnTo>
                    <a:pt x="3003" y="1026"/>
                  </a:lnTo>
                  <a:lnTo>
                    <a:pt x="2939" y="963"/>
                  </a:lnTo>
                  <a:lnTo>
                    <a:pt x="2874" y="900"/>
                  </a:lnTo>
                  <a:lnTo>
                    <a:pt x="2808" y="838"/>
                  </a:lnTo>
                  <a:lnTo>
                    <a:pt x="2742" y="776"/>
                  </a:lnTo>
                  <a:lnTo>
                    <a:pt x="2674" y="715"/>
                  </a:lnTo>
                  <a:lnTo>
                    <a:pt x="2607" y="655"/>
                  </a:lnTo>
                  <a:lnTo>
                    <a:pt x="2539" y="596"/>
                  </a:lnTo>
                  <a:lnTo>
                    <a:pt x="2470" y="538"/>
                  </a:lnTo>
                  <a:lnTo>
                    <a:pt x="2400" y="479"/>
                  </a:lnTo>
                  <a:lnTo>
                    <a:pt x="2331" y="421"/>
                  </a:lnTo>
                  <a:lnTo>
                    <a:pt x="2260" y="365"/>
                  </a:lnTo>
                  <a:lnTo>
                    <a:pt x="2188" y="309"/>
                  </a:lnTo>
                  <a:lnTo>
                    <a:pt x="2117" y="252"/>
                  </a:lnTo>
                  <a:lnTo>
                    <a:pt x="2044" y="198"/>
                  </a:lnTo>
                  <a:lnTo>
                    <a:pt x="1971" y="144"/>
                  </a:lnTo>
                  <a:lnTo>
                    <a:pt x="1897" y="91"/>
                  </a:lnTo>
                  <a:lnTo>
                    <a:pt x="1872" y="74"/>
                  </a:lnTo>
                  <a:lnTo>
                    <a:pt x="1847" y="59"/>
                  </a:lnTo>
                  <a:lnTo>
                    <a:pt x="1820" y="46"/>
                  </a:lnTo>
                  <a:lnTo>
                    <a:pt x="1793" y="34"/>
                  </a:lnTo>
                  <a:lnTo>
                    <a:pt x="1766" y="24"/>
                  </a:lnTo>
                  <a:lnTo>
                    <a:pt x="1739" y="16"/>
                  </a:lnTo>
                  <a:lnTo>
                    <a:pt x="1711" y="9"/>
                  </a:lnTo>
                  <a:lnTo>
                    <a:pt x="1682" y="4"/>
                  </a:lnTo>
                  <a:lnTo>
                    <a:pt x="1653" y="1"/>
                  </a:lnTo>
                  <a:lnTo>
                    <a:pt x="1624" y="0"/>
                  </a:lnTo>
                  <a:lnTo>
                    <a:pt x="1596" y="0"/>
                  </a:lnTo>
                  <a:lnTo>
                    <a:pt x="1566" y="2"/>
                  </a:lnTo>
                  <a:lnTo>
                    <a:pt x="1537" y="6"/>
                  </a:lnTo>
                  <a:lnTo>
                    <a:pt x="1509" y="11"/>
                  </a:lnTo>
                  <a:lnTo>
                    <a:pt x="1480" y="18"/>
                  </a:lnTo>
                  <a:lnTo>
                    <a:pt x="1451" y="27"/>
                  </a:lnTo>
                  <a:lnTo>
                    <a:pt x="1387" y="51"/>
                  </a:lnTo>
                  <a:lnTo>
                    <a:pt x="1323" y="76"/>
                  </a:lnTo>
                  <a:lnTo>
                    <a:pt x="1261" y="102"/>
                  </a:lnTo>
                  <a:lnTo>
                    <a:pt x="1199" y="130"/>
                  </a:lnTo>
                  <a:lnTo>
                    <a:pt x="1140" y="159"/>
                  </a:lnTo>
                  <a:lnTo>
                    <a:pt x="1081" y="189"/>
                  </a:lnTo>
                  <a:lnTo>
                    <a:pt x="1024" y="220"/>
                  </a:lnTo>
                  <a:lnTo>
                    <a:pt x="968" y="254"/>
                  </a:lnTo>
                  <a:lnTo>
                    <a:pt x="914" y="289"/>
                  </a:lnTo>
                  <a:lnTo>
                    <a:pt x="861" y="325"/>
                  </a:lnTo>
                  <a:lnTo>
                    <a:pt x="808" y="361"/>
                  </a:lnTo>
                  <a:lnTo>
                    <a:pt x="758" y="400"/>
                  </a:lnTo>
                  <a:lnTo>
                    <a:pt x="708" y="439"/>
                  </a:lnTo>
                  <a:lnTo>
                    <a:pt x="661" y="480"/>
                  </a:lnTo>
                  <a:lnTo>
                    <a:pt x="615" y="523"/>
                  </a:lnTo>
                  <a:lnTo>
                    <a:pt x="569" y="567"/>
                  </a:lnTo>
                  <a:lnTo>
                    <a:pt x="525" y="612"/>
                  </a:lnTo>
                  <a:lnTo>
                    <a:pt x="482" y="658"/>
                  </a:lnTo>
                  <a:lnTo>
                    <a:pt x="441" y="706"/>
                  </a:lnTo>
                  <a:lnTo>
                    <a:pt x="401" y="755"/>
                  </a:lnTo>
                  <a:lnTo>
                    <a:pt x="362" y="806"/>
                  </a:lnTo>
                  <a:lnTo>
                    <a:pt x="325" y="857"/>
                  </a:lnTo>
                  <a:lnTo>
                    <a:pt x="289" y="910"/>
                  </a:lnTo>
                  <a:lnTo>
                    <a:pt x="255" y="964"/>
                  </a:lnTo>
                  <a:lnTo>
                    <a:pt x="221" y="1020"/>
                  </a:lnTo>
                  <a:lnTo>
                    <a:pt x="189" y="1078"/>
                  </a:lnTo>
                  <a:lnTo>
                    <a:pt x="159" y="1135"/>
                  </a:lnTo>
                  <a:lnTo>
                    <a:pt x="130" y="1195"/>
                  </a:lnTo>
                  <a:lnTo>
                    <a:pt x="102" y="1255"/>
                  </a:lnTo>
                  <a:lnTo>
                    <a:pt x="75" y="1317"/>
                  </a:lnTo>
                  <a:lnTo>
                    <a:pt x="51" y="1381"/>
                  </a:lnTo>
                  <a:lnTo>
                    <a:pt x="27" y="1446"/>
                  </a:lnTo>
                  <a:lnTo>
                    <a:pt x="21" y="1465"/>
                  </a:lnTo>
                  <a:lnTo>
                    <a:pt x="15" y="1485"/>
                  </a:lnTo>
                  <a:lnTo>
                    <a:pt x="10" y="1505"/>
                  </a:lnTo>
                  <a:lnTo>
                    <a:pt x="6" y="1525"/>
                  </a:lnTo>
                  <a:lnTo>
                    <a:pt x="4" y="1545"/>
                  </a:lnTo>
                  <a:lnTo>
                    <a:pt x="1" y="1565"/>
                  </a:lnTo>
                  <a:lnTo>
                    <a:pt x="0" y="1585"/>
                  </a:lnTo>
                  <a:lnTo>
                    <a:pt x="0" y="1606"/>
                  </a:lnTo>
                  <a:lnTo>
                    <a:pt x="0" y="1625"/>
                  </a:lnTo>
                  <a:lnTo>
                    <a:pt x="1" y="1644"/>
                  </a:lnTo>
                  <a:lnTo>
                    <a:pt x="3" y="1662"/>
                  </a:lnTo>
                  <a:lnTo>
                    <a:pt x="6" y="1681"/>
                  </a:lnTo>
                  <a:lnTo>
                    <a:pt x="9" y="1699"/>
                  </a:lnTo>
                  <a:lnTo>
                    <a:pt x="13" y="1717"/>
                  </a:lnTo>
                  <a:lnTo>
                    <a:pt x="18" y="1736"/>
                  </a:lnTo>
                  <a:lnTo>
                    <a:pt x="23" y="1754"/>
                  </a:lnTo>
                  <a:lnTo>
                    <a:pt x="29" y="1771"/>
                  </a:lnTo>
                  <a:lnTo>
                    <a:pt x="36" y="1789"/>
                  </a:lnTo>
                  <a:lnTo>
                    <a:pt x="43" y="1806"/>
                  </a:lnTo>
                  <a:lnTo>
                    <a:pt x="51" y="1823"/>
                  </a:lnTo>
                  <a:lnTo>
                    <a:pt x="60" y="1840"/>
                  </a:lnTo>
                  <a:lnTo>
                    <a:pt x="70" y="1856"/>
                  </a:lnTo>
                  <a:lnTo>
                    <a:pt x="80" y="1873"/>
                  </a:lnTo>
                  <a:lnTo>
                    <a:pt x="90" y="1889"/>
                  </a:lnTo>
                  <a:lnTo>
                    <a:pt x="145" y="1962"/>
                  </a:lnTo>
                  <a:lnTo>
                    <a:pt x="198" y="2035"/>
                  </a:lnTo>
                  <a:lnTo>
                    <a:pt x="254" y="2107"/>
                  </a:lnTo>
                  <a:lnTo>
                    <a:pt x="309" y="2179"/>
                  </a:lnTo>
                  <a:lnTo>
                    <a:pt x="365" y="2249"/>
                  </a:lnTo>
                  <a:lnTo>
                    <a:pt x="422" y="2319"/>
                  </a:lnTo>
                  <a:lnTo>
                    <a:pt x="480" y="2389"/>
                  </a:lnTo>
                  <a:lnTo>
                    <a:pt x="539" y="2459"/>
                  </a:lnTo>
                  <a:lnTo>
                    <a:pt x="597" y="2527"/>
                  </a:lnTo>
                  <a:lnTo>
                    <a:pt x="657" y="2595"/>
                  </a:lnTo>
                  <a:lnTo>
                    <a:pt x="717" y="2661"/>
                  </a:lnTo>
                  <a:lnTo>
                    <a:pt x="779" y="2729"/>
                  </a:lnTo>
                  <a:lnTo>
                    <a:pt x="840" y="2795"/>
                  </a:lnTo>
                  <a:lnTo>
                    <a:pt x="903" y="2860"/>
                  </a:lnTo>
                  <a:lnTo>
                    <a:pt x="965" y="2924"/>
                  </a:lnTo>
                  <a:lnTo>
                    <a:pt x="1029" y="2989"/>
                  </a:lnTo>
                  <a:lnTo>
                    <a:pt x="1093" y="3052"/>
                  </a:lnTo>
                  <a:lnTo>
                    <a:pt x="1159" y="3114"/>
                  </a:lnTo>
                  <a:lnTo>
                    <a:pt x="1225" y="3176"/>
                  </a:lnTo>
                  <a:lnTo>
                    <a:pt x="1291" y="3239"/>
                  </a:lnTo>
                  <a:lnTo>
                    <a:pt x="1358" y="3299"/>
                  </a:lnTo>
                  <a:lnTo>
                    <a:pt x="1425" y="3359"/>
                  </a:lnTo>
                  <a:lnTo>
                    <a:pt x="1493" y="3418"/>
                  </a:lnTo>
                  <a:lnTo>
                    <a:pt x="1562" y="3478"/>
                  </a:lnTo>
                  <a:lnTo>
                    <a:pt x="1631" y="3536"/>
                  </a:lnTo>
                  <a:lnTo>
                    <a:pt x="1701" y="3593"/>
                  </a:lnTo>
                  <a:lnTo>
                    <a:pt x="1772" y="3649"/>
                  </a:lnTo>
                  <a:lnTo>
                    <a:pt x="1843" y="3705"/>
                  </a:lnTo>
                  <a:lnTo>
                    <a:pt x="1915" y="3761"/>
                  </a:lnTo>
                  <a:lnTo>
                    <a:pt x="1987" y="3816"/>
                  </a:lnTo>
                  <a:lnTo>
                    <a:pt x="2060" y="3870"/>
                  </a:lnTo>
                  <a:lnTo>
                    <a:pt x="2134" y="3923"/>
                  </a:lnTo>
                  <a:lnTo>
                    <a:pt x="2158" y="3939"/>
                  </a:lnTo>
                  <a:lnTo>
                    <a:pt x="2183" y="3954"/>
                  </a:lnTo>
                  <a:lnTo>
                    <a:pt x="2210" y="3967"/>
                  </a:lnTo>
                  <a:lnTo>
                    <a:pt x="2237" y="3979"/>
                  </a:lnTo>
                  <a:lnTo>
                    <a:pt x="2264" y="3988"/>
                  </a:lnTo>
                  <a:lnTo>
                    <a:pt x="2291" y="3997"/>
                  </a:lnTo>
                  <a:lnTo>
                    <a:pt x="2319" y="4003"/>
                  </a:lnTo>
                  <a:lnTo>
                    <a:pt x="2348" y="4008"/>
                  </a:lnTo>
                  <a:lnTo>
                    <a:pt x="2377" y="4011"/>
                  </a:lnTo>
                  <a:lnTo>
                    <a:pt x="2406" y="4014"/>
                  </a:lnTo>
                  <a:lnTo>
                    <a:pt x="2434" y="4014"/>
                  </a:lnTo>
                  <a:lnTo>
                    <a:pt x="2464" y="4011"/>
                  </a:lnTo>
                  <a:lnTo>
                    <a:pt x="2493" y="4007"/>
                  </a:lnTo>
                  <a:lnTo>
                    <a:pt x="2521" y="4002"/>
                  </a:lnTo>
                  <a:lnTo>
                    <a:pt x="2550" y="3995"/>
                  </a:lnTo>
                  <a:lnTo>
                    <a:pt x="2579" y="3986"/>
                  </a:lnTo>
                  <a:lnTo>
                    <a:pt x="2643" y="3963"/>
                  </a:lnTo>
                  <a:lnTo>
                    <a:pt x="2707" y="3938"/>
                  </a:lnTo>
                  <a:lnTo>
                    <a:pt x="2769" y="3912"/>
                  </a:lnTo>
                  <a:lnTo>
                    <a:pt x="2831" y="3884"/>
                  </a:lnTo>
                  <a:lnTo>
                    <a:pt x="2890" y="3855"/>
                  </a:lnTo>
                  <a:lnTo>
                    <a:pt x="2949" y="3825"/>
                  </a:lnTo>
                  <a:lnTo>
                    <a:pt x="3006" y="3793"/>
                  </a:lnTo>
                  <a:lnTo>
                    <a:pt x="3062" y="3760"/>
                  </a:lnTo>
                  <a:lnTo>
                    <a:pt x="3116" y="3725"/>
                  </a:lnTo>
                  <a:lnTo>
                    <a:pt x="3169" y="3690"/>
                  </a:lnTo>
                  <a:lnTo>
                    <a:pt x="3222" y="3653"/>
                  </a:lnTo>
                  <a:lnTo>
                    <a:pt x="3272" y="3614"/>
                  </a:lnTo>
                  <a:lnTo>
                    <a:pt x="3322" y="3575"/>
                  </a:lnTo>
                  <a:lnTo>
                    <a:pt x="3370" y="3534"/>
                  </a:lnTo>
                  <a:lnTo>
                    <a:pt x="3416" y="3491"/>
                  </a:lnTo>
                  <a:lnTo>
                    <a:pt x="3462" y="3447"/>
                  </a:lnTo>
                  <a:lnTo>
                    <a:pt x="3505" y="3402"/>
                  </a:lnTo>
                  <a:lnTo>
                    <a:pt x="3549" y="3356"/>
                  </a:lnTo>
                  <a:lnTo>
                    <a:pt x="3590" y="3308"/>
                  </a:lnTo>
                  <a:lnTo>
                    <a:pt x="3629" y="3259"/>
                  </a:lnTo>
                  <a:lnTo>
                    <a:pt x="3669" y="3208"/>
                  </a:lnTo>
                  <a:lnTo>
                    <a:pt x="3706" y="3156"/>
                  </a:lnTo>
                  <a:lnTo>
                    <a:pt x="3741" y="3104"/>
                  </a:lnTo>
                  <a:lnTo>
                    <a:pt x="3776" y="3049"/>
                  </a:lnTo>
                  <a:lnTo>
                    <a:pt x="3810" y="2994"/>
                  </a:lnTo>
                  <a:lnTo>
                    <a:pt x="3841" y="2936"/>
                  </a:lnTo>
                  <a:lnTo>
                    <a:pt x="3872" y="2878"/>
                  </a:lnTo>
                  <a:lnTo>
                    <a:pt x="3901" y="2819"/>
                  </a:lnTo>
                  <a:lnTo>
                    <a:pt x="3929" y="2758"/>
                  </a:lnTo>
                  <a:lnTo>
                    <a:pt x="3956" y="2696"/>
                  </a:lnTo>
                  <a:lnTo>
                    <a:pt x="3981" y="2632"/>
                  </a:lnTo>
                  <a:lnTo>
                    <a:pt x="4004" y="2567"/>
                  </a:lnTo>
                  <a:lnTo>
                    <a:pt x="4011" y="2548"/>
                  </a:lnTo>
                  <a:lnTo>
                    <a:pt x="4016" y="2528"/>
                  </a:lnTo>
                  <a:lnTo>
                    <a:pt x="4021" y="2508"/>
                  </a:lnTo>
                  <a:lnTo>
                    <a:pt x="4025" y="2488"/>
                  </a:lnTo>
                  <a:lnTo>
                    <a:pt x="4028" y="2468"/>
                  </a:lnTo>
                  <a:lnTo>
                    <a:pt x="4030" y="2448"/>
                  </a:lnTo>
                  <a:lnTo>
                    <a:pt x="4031" y="2428"/>
                  </a:lnTo>
                  <a:lnTo>
                    <a:pt x="4033" y="2408"/>
                  </a:lnTo>
                  <a:lnTo>
                    <a:pt x="4031" y="2388"/>
                  </a:lnTo>
                  <a:lnTo>
                    <a:pt x="4030" y="2370"/>
                  </a:lnTo>
                  <a:lnTo>
                    <a:pt x="4028" y="2351"/>
                  </a:lnTo>
                  <a:lnTo>
                    <a:pt x="4026" y="2333"/>
                  </a:lnTo>
                  <a:lnTo>
                    <a:pt x="4022" y="2314"/>
                  </a:lnTo>
                  <a:lnTo>
                    <a:pt x="4018" y="2296"/>
                  </a:lnTo>
                  <a:lnTo>
                    <a:pt x="4014" y="2278"/>
                  </a:lnTo>
                  <a:lnTo>
                    <a:pt x="4008" y="2260"/>
                  </a:lnTo>
                  <a:lnTo>
                    <a:pt x="4002" y="2242"/>
                  </a:lnTo>
                  <a:lnTo>
                    <a:pt x="3996" y="2225"/>
                  </a:lnTo>
                  <a:lnTo>
                    <a:pt x="3988" y="2208"/>
                  </a:lnTo>
                  <a:lnTo>
                    <a:pt x="3980" y="2191"/>
                  </a:lnTo>
                  <a:lnTo>
                    <a:pt x="3971" y="2174"/>
                  </a:lnTo>
                  <a:lnTo>
                    <a:pt x="3962" y="2157"/>
                  </a:lnTo>
                  <a:lnTo>
                    <a:pt x="3952" y="2141"/>
                  </a:lnTo>
                  <a:lnTo>
                    <a:pt x="3941" y="21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2" name="ïṧliḋê">
              <a:extLst>
                <a:ext uri="{FF2B5EF4-FFF2-40B4-BE49-F238E27FC236}">
                  <a16:creationId xmlns:a16="http://schemas.microsoft.com/office/drawing/2014/main" id="{9848B917-A7E2-4D5B-A341-D166E4567186}"/>
                </a:ext>
              </a:extLst>
            </p:cNvPr>
            <p:cNvSpPr/>
            <p:nvPr/>
          </p:nvSpPr>
          <p:spPr bwMode="auto">
            <a:xfrm>
              <a:off x="1035504" y="462190"/>
              <a:ext cx="253416" cy="253416"/>
            </a:xfrm>
            <a:custGeom>
              <a:avLst/>
              <a:gdLst>
                <a:gd name="T0" fmla="*/ 1728 w 16058"/>
                <a:gd name="T1" fmla="*/ 14638 h 16058"/>
                <a:gd name="T2" fmla="*/ 3386 w 16058"/>
                <a:gd name="T3" fmla="*/ 13906 h 16058"/>
                <a:gd name="T4" fmla="*/ 6601 w 16058"/>
                <a:gd name="T5" fmla="*/ 13102 h 16058"/>
                <a:gd name="T6" fmla="*/ 7078 w 16058"/>
                <a:gd name="T7" fmla="*/ 13353 h 16058"/>
                <a:gd name="T8" fmla="*/ 7587 w 16058"/>
                <a:gd name="T9" fmla="*/ 13508 h 16058"/>
                <a:gd name="T10" fmla="*/ 8129 w 16058"/>
                <a:gd name="T11" fmla="*/ 13547 h 16058"/>
                <a:gd name="T12" fmla="*/ 8659 w 16058"/>
                <a:gd name="T13" fmla="*/ 13463 h 16058"/>
                <a:gd name="T14" fmla="*/ 9157 w 16058"/>
                <a:gd name="T15" fmla="*/ 13272 h 16058"/>
                <a:gd name="T16" fmla="*/ 11208 w 16058"/>
                <a:gd name="T17" fmla="*/ 13452 h 16058"/>
                <a:gd name="T18" fmla="*/ 13356 w 16058"/>
                <a:gd name="T19" fmla="*/ 14177 h 16058"/>
                <a:gd name="T20" fmla="*/ 14695 w 16058"/>
                <a:gd name="T21" fmla="*/ 14838 h 16058"/>
                <a:gd name="T22" fmla="*/ 9777 w 16058"/>
                <a:gd name="T23" fmla="*/ 12192 h 16058"/>
                <a:gd name="T24" fmla="*/ 8416 w 16058"/>
                <a:gd name="T25" fmla="*/ 12945 h 16058"/>
                <a:gd name="T26" fmla="*/ 7006 w 16058"/>
                <a:gd name="T27" fmla="*/ 12723 h 16058"/>
                <a:gd name="T28" fmla="*/ 5634 w 16058"/>
                <a:gd name="T29" fmla="*/ 11403 h 16058"/>
                <a:gd name="T30" fmla="*/ 4552 w 16058"/>
                <a:gd name="T31" fmla="*/ 9346 h 16058"/>
                <a:gd name="T32" fmla="*/ 4053 w 16058"/>
                <a:gd name="T33" fmla="*/ 7080 h 16058"/>
                <a:gd name="T34" fmla="*/ 4198 w 16058"/>
                <a:gd name="T35" fmla="*/ 4790 h 16058"/>
                <a:gd name="T36" fmla="*/ 5024 w 16058"/>
                <a:gd name="T37" fmla="*/ 2717 h 16058"/>
                <a:gd name="T38" fmla="*/ 6605 w 16058"/>
                <a:gd name="T39" fmla="*/ 1301 h 16058"/>
                <a:gd name="T40" fmla="*/ 8884 w 16058"/>
                <a:gd name="T41" fmla="*/ 1104 h 16058"/>
                <a:gd name="T42" fmla="*/ 10680 w 16058"/>
                <a:gd name="T43" fmla="*/ 2241 h 16058"/>
                <a:gd name="T44" fmla="*/ 11706 w 16058"/>
                <a:gd name="T45" fmla="*/ 4191 h 16058"/>
                <a:gd name="T46" fmla="*/ 12030 w 16058"/>
                <a:gd name="T47" fmla="*/ 6447 h 16058"/>
                <a:gd name="T48" fmla="*/ 11702 w 16058"/>
                <a:gd name="T49" fmla="*/ 8742 h 16058"/>
                <a:gd name="T50" fmla="*/ 10773 w 16058"/>
                <a:gd name="T51" fmla="*/ 10872 h 16058"/>
                <a:gd name="T52" fmla="*/ 15305 w 16058"/>
                <a:gd name="T53" fmla="*/ 14031 h 16058"/>
                <a:gd name="T54" fmla="*/ 13948 w 16058"/>
                <a:gd name="T55" fmla="*/ 13341 h 16058"/>
                <a:gd name="T56" fmla="*/ 11699 w 16058"/>
                <a:gd name="T57" fmla="*/ 12544 h 16058"/>
                <a:gd name="T58" fmla="*/ 11640 w 16058"/>
                <a:gd name="T59" fmla="*/ 11349 h 16058"/>
                <a:gd name="T60" fmla="*/ 12357 w 16058"/>
                <a:gd name="T61" fmla="*/ 9858 h 16058"/>
                <a:gd name="T62" fmla="*/ 12814 w 16058"/>
                <a:gd name="T63" fmla="*/ 8482 h 16058"/>
                <a:gd name="T64" fmla="*/ 13046 w 16058"/>
                <a:gd name="T65" fmla="*/ 6642 h 16058"/>
                <a:gd name="T66" fmla="*/ 12760 w 16058"/>
                <a:gd name="T67" fmla="*/ 4210 h 16058"/>
                <a:gd name="T68" fmla="*/ 11731 w 16058"/>
                <a:gd name="T69" fmla="*/ 1892 h 16058"/>
                <a:gd name="T70" fmla="*/ 10669 w 16058"/>
                <a:gd name="T71" fmla="*/ 817 h 16058"/>
                <a:gd name="T72" fmla="*/ 9443 w 16058"/>
                <a:gd name="T73" fmla="*/ 207 h 16058"/>
                <a:gd name="T74" fmla="*/ 8029 w 16058"/>
                <a:gd name="T75" fmla="*/ 0 h 16058"/>
                <a:gd name="T76" fmla="*/ 6615 w 16058"/>
                <a:gd name="T77" fmla="*/ 207 h 16058"/>
                <a:gd name="T78" fmla="*/ 5389 w 16058"/>
                <a:gd name="T79" fmla="*/ 817 h 16058"/>
                <a:gd name="T80" fmla="*/ 4327 w 16058"/>
                <a:gd name="T81" fmla="*/ 1892 h 16058"/>
                <a:gd name="T82" fmla="*/ 3298 w 16058"/>
                <a:gd name="T83" fmla="*/ 4210 h 16058"/>
                <a:gd name="T84" fmla="*/ 3013 w 16058"/>
                <a:gd name="T85" fmla="*/ 6642 h 16058"/>
                <a:gd name="T86" fmla="*/ 3244 w 16058"/>
                <a:gd name="T87" fmla="*/ 8482 h 16058"/>
                <a:gd name="T88" fmla="*/ 3702 w 16058"/>
                <a:gd name="T89" fmla="*/ 9858 h 16058"/>
                <a:gd name="T90" fmla="*/ 4418 w 16058"/>
                <a:gd name="T91" fmla="*/ 11349 h 16058"/>
                <a:gd name="T92" fmla="*/ 4359 w 16058"/>
                <a:gd name="T93" fmla="*/ 12544 h 16058"/>
                <a:gd name="T94" fmla="*/ 2110 w 16058"/>
                <a:gd name="T95" fmla="*/ 13341 h 16058"/>
                <a:gd name="T96" fmla="*/ 753 w 16058"/>
                <a:gd name="T97" fmla="*/ 14031 h 16058"/>
                <a:gd name="T98" fmla="*/ 262 w 16058"/>
                <a:gd name="T99" fmla="*/ 14378 h 16058"/>
                <a:gd name="T100" fmla="*/ 46 w 16058"/>
                <a:gd name="T101" fmla="*/ 14753 h 16058"/>
                <a:gd name="T102" fmla="*/ 9 w 16058"/>
                <a:gd name="T103" fmla="*/ 15185 h 16058"/>
                <a:gd name="T104" fmla="*/ 163 w 16058"/>
                <a:gd name="T105" fmla="*/ 15602 h 16058"/>
                <a:gd name="T106" fmla="*/ 471 w 16058"/>
                <a:gd name="T107" fmla="*/ 15904 h 16058"/>
                <a:gd name="T108" fmla="*/ 881 w 16058"/>
                <a:gd name="T109" fmla="*/ 16050 h 16058"/>
                <a:gd name="T110" fmla="*/ 15334 w 16058"/>
                <a:gd name="T111" fmla="*/ 16018 h 16058"/>
                <a:gd name="T112" fmla="*/ 15714 w 16058"/>
                <a:gd name="T113" fmla="*/ 15811 h 16058"/>
                <a:gd name="T114" fmla="*/ 15972 w 16058"/>
                <a:gd name="T115" fmla="*/ 15461 h 16058"/>
                <a:gd name="T116" fmla="*/ 16057 w 16058"/>
                <a:gd name="T117" fmla="*/ 15025 h 16058"/>
                <a:gd name="T118" fmla="*/ 15953 w 16058"/>
                <a:gd name="T119" fmla="*/ 14607 h 16058"/>
                <a:gd name="T120" fmla="*/ 15678 w 16058"/>
                <a:gd name="T121" fmla="*/ 14267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058" h="16058">
                  <a:moveTo>
                    <a:pt x="1004" y="15054"/>
                  </a:moveTo>
                  <a:lnTo>
                    <a:pt x="1036" y="15033"/>
                  </a:lnTo>
                  <a:lnTo>
                    <a:pt x="1105" y="14990"/>
                  </a:lnTo>
                  <a:lnTo>
                    <a:pt x="1153" y="14961"/>
                  </a:lnTo>
                  <a:lnTo>
                    <a:pt x="1209" y="14927"/>
                  </a:lnTo>
                  <a:lnTo>
                    <a:pt x="1276" y="14888"/>
                  </a:lnTo>
                  <a:lnTo>
                    <a:pt x="1349" y="14845"/>
                  </a:lnTo>
                  <a:lnTo>
                    <a:pt x="1431" y="14798"/>
                  </a:lnTo>
                  <a:lnTo>
                    <a:pt x="1522" y="14748"/>
                  </a:lnTo>
                  <a:lnTo>
                    <a:pt x="1621" y="14694"/>
                  </a:lnTo>
                  <a:lnTo>
                    <a:pt x="1728" y="14638"/>
                  </a:lnTo>
                  <a:lnTo>
                    <a:pt x="1843" y="14579"/>
                  </a:lnTo>
                  <a:lnTo>
                    <a:pt x="1965" y="14517"/>
                  </a:lnTo>
                  <a:lnTo>
                    <a:pt x="2095" y="14453"/>
                  </a:lnTo>
                  <a:lnTo>
                    <a:pt x="2232" y="14388"/>
                  </a:lnTo>
                  <a:lnTo>
                    <a:pt x="2377" y="14322"/>
                  </a:lnTo>
                  <a:lnTo>
                    <a:pt x="2528" y="14253"/>
                  </a:lnTo>
                  <a:lnTo>
                    <a:pt x="2687" y="14184"/>
                  </a:lnTo>
                  <a:lnTo>
                    <a:pt x="2851" y="14115"/>
                  </a:lnTo>
                  <a:lnTo>
                    <a:pt x="3023" y="14045"/>
                  </a:lnTo>
                  <a:lnTo>
                    <a:pt x="3202" y="13975"/>
                  </a:lnTo>
                  <a:lnTo>
                    <a:pt x="3386" y="13906"/>
                  </a:lnTo>
                  <a:lnTo>
                    <a:pt x="3578" y="13837"/>
                  </a:lnTo>
                  <a:lnTo>
                    <a:pt x="3775" y="13769"/>
                  </a:lnTo>
                  <a:lnTo>
                    <a:pt x="3977" y="13702"/>
                  </a:lnTo>
                  <a:lnTo>
                    <a:pt x="4186" y="13637"/>
                  </a:lnTo>
                  <a:lnTo>
                    <a:pt x="4401" y="13574"/>
                  </a:lnTo>
                  <a:lnTo>
                    <a:pt x="4621" y="13513"/>
                  </a:lnTo>
                  <a:lnTo>
                    <a:pt x="4847" y="13453"/>
                  </a:lnTo>
                  <a:lnTo>
                    <a:pt x="5076" y="13397"/>
                  </a:lnTo>
                  <a:lnTo>
                    <a:pt x="5312" y="13345"/>
                  </a:lnTo>
                  <a:lnTo>
                    <a:pt x="6559" y="13075"/>
                  </a:lnTo>
                  <a:lnTo>
                    <a:pt x="6601" y="13102"/>
                  </a:lnTo>
                  <a:lnTo>
                    <a:pt x="6643" y="13128"/>
                  </a:lnTo>
                  <a:lnTo>
                    <a:pt x="6685" y="13154"/>
                  </a:lnTo>
                  <a:lnTo>
                    <a:pt x="6727" y="13179"/>
                  </a:lnTo>
                  <a:lnTo>
                    <a:pt x="6770" y="13204"/>
                  </a:lnTo>
                  <a:lnTo>
                    <a:pt x="6814" y="13228"/>
                  </a:lnTo>
                  <a:lnTo>
                    <a:pt x="6857" y="13250"/>
                  </a:lnTo>
                  <a:lnTo>
                    <a:pt x="6901" y="13272"/>
                  </a:lnTo>
                  <a:lnTo>
                    <a:pt x="6944" y="13294"/>
                  </a:lnTo>
                  <a:lnTo>
                    <a:pt x="6988" y="13314"/>
                  </a:lnTo>
                  <a:lnTo>
                    <a:pt x="7033" y="13334"/>
                  </a:lnTo>
                  <a:lnTo>
                    <a:pt x="7078" y="13353"/>
                  </a:lnTo>
                  <a:lnTo>
                    <a:pt x="7123" y="13371"/>
                  </a:lnTo>
                  <a:lnTo>
                    <a:pt x="7168" y="13389"/>
                  </a:lnTo>
                  <a:lnTo>
                    <a:pt x="7213" y="13405"/>
                  </a:lnTo>
                  <a:lnTo>
                    <a:pt x="7259" y="13421"/>
                  </a:lnTo>
                  <a:lnTo>
                    <a:pt x="7305" y="13436"/>
                  </a:lnTo>
                  <a:lnTo>
                    <a:pt x="7352" y="13450"/>
                  </a:lnTo>
                  <a:lnTo>
                    <a:pt x="7399" y="13463"/>
                  </a:lnTo>
                  <a:lnTo>
                    <a:pt x="7445" y="13476"/>
                  </a:lnTo>
                  <a:lnTo>
                    <a:pt x="7492" y="13488"/>
                  </a:lnTo>
                  <a:lnTo>
                    <a:pt x="7539" y="13498"/>
                  </a:lnTo>
                  <a:lnTo>
                    <a:pt x="7587" y="13508"/>
                  </a:lnTo>
                  <a:lnTo>
                    <a:pt x="7636" y="13516"/>
                  </a:lnTo>
                  <a:lnTo>
                    <a:pt x="7684" y="13524"/>
                  </a:lnTo>
                  <a:lnTo>
                    <a:pt x="7732" y="13531"/>
                  </a:lnTo>
                  <a:lnTo>
                    <a:pt x="7781" y="13536"/>
                  </a:lnTo>
                  <a:lnTo>
                    <a:pt x="7830" y="13541"/>
                  </a:lnTo>
                  <a:lnTo>
                    <a:pt x="7879" y="13544"/>
                  </a:lnTo>
                  <a:lnTo>
                    <a:pt x="7929" y="13547"/>
                  </a:lnTo>
                  <a:lnTo>
                    <a:pt x="7979" y="13549"/>
                  </a:lnTo>
                  <a:lnTo>
                    <a:pt x="8029" y="13549"/>
                  </a:lnTo>
                  <a:lnTo>
                    <a:pt x="8079" y="13549"/>
                  </a:lnTo>
                  <a:lnTo>
                    <a:pt x="8129" y="13547"/>
                  </a:lnTo>
                  <a:lnTo>
                    <a:pt x="8179" y="13544"/>
                  </a:lnTo>
                  <a:lnTo>
                    <a:pt x="8228" y="13541"/>
                  </a:lnTo>
                  <a:lnTo>
                    <a:pt x="8277" y="13536"/>
                  </a:lnTo>
                  <a:lnTo>
                    <a:pt x="8326" y="13531"/>
                  </a:lnTo>
                  <a:lnTo>
                    <a:pt x="8374" y="13524"/>
                  </a:lnTo>
                  <a:lnTo>
                    <a:pt x="8422" y="13516"/>
                  </a:lnTo>
                  <a:lnTo>
                    <a:pt x="8471" y="13508"/>
                  </a:lnTo>
                  <a:lnTo>
                    <a:pt x="8519" y="13498"/>
                  </a:lnTo>
                  <a:lnTo>
                    <a:pt x="8566" y="13488"/>
                  </a:lnTo>
                  <a:lnTo>
                    <a:pt x="8613" y="13476"/>
                  </a:lnTo>
                  <a:lnTo>
                    <a:pt x="8659" y="13463"/>
                  </a:lnTo>
                  <a:lnTo>
                    <a:pt x="8706" y="13450"/>
                  </a:lnTo>
                  <a:lnTo>
                    <a:pt x="8753" y="13436"/>
                  </a:lnTo>
                  <a:lnTo>
                    <a:pt x="8799" y="13421"/>
                  </a:lnTo>
                  <a:lnTo>
                    <a:pt x="8845" y="13405"/>
                  </a:lnTo>
                  <a:lnTo>
                    <a:pt x="8890" y="13389"/>
                  </a:lnTo>
                  <a:lnTo>
                    <a:pt x="8935" y="13371"/>
                  </a:lnTo>
                  <a:lnTo>
                    <a:pt x="8980" y="13353"/>
                  </a:lnTo>
                  <a:lnTo>
                    <a:pt x="9025" y="13334"/>
                  </a:lnTo>
                  <a:lnTo>
                    <a:pt x="9070" y="13314"/>
                  </a:lnTo>
                  <a:lnTo>
                    <a:pt x="9114" y="13294"/>
                  </a:lnTo>
                  <a:lnTo>
                    <a:pt x="9157" y="13272"/>
                  </a:lnTo>
                  <a:lnTo>
                    <a:pt x="9201" y="13250"/>
                  </a:lnTo>
                  <a:lnTo>
                    <a:pt x="9244" y="13228"/>
                  </a:lnTo>
                  <a:lnTo>
                    <a:pt x="9288" y="13204"/>
                  </a:lnTo>
                  <a:lnTo>
                    <a:pt x="9331" y="13179"/>
                  </a:lnTo>
                  <a:lnTo>
                    <a:pt x="9373" y="13154"/>
                  </a:lnTo>
                  <a:lnTo>
                    <a:pt x="9415" y="13128"/>
                  </a:lnTo>
                  <a:lnTo>
                    <a:pt x="9457" y="13102"/>
                  </a:lnTo>
                  <a:lnTo>
                    <a:pt x="9499" y="13075"/>
                  </a:lnTo>
                  <a:lnTo>
                    <a:pt x="10746" y="13345"/>
                  </a:lnTo>
                  <a:lnTo>
                    <a:pt x="10980" y="13397"/>
                  </a:lnTo>
                  <a:lnTo>
                    <a:pt x="11208" y="13452"/>
                  </a:lnTo>
                  <a:lnTo>
                    <a:pt x="11432" y="13511"/>
                  </a:lnTo>
                  <a:lnTo>
                    <a:pt x="11650" y="13572"/>
                  </a:lnTo>
                  <a:lnTo>
                    <a:pt x="11863" y="13635"/>
                  </a:lnTo>
                  <a:lnTo>
                    <a:pt x="12071" y="13699"/>
                  </a:lnTo>
                  <a:lnTo>
                    <a:pt x="12272" y="13766"/>
                  </a:lnTo>
                  <a:lnTo>
                    <a:pt x="12468" y="13833"/>
                  </a:lnTo>
                  <a:lnTo>
                    <a:pt x="12659" y="13901"/>
                  </a:lnTo>
                  <a:lnTo>
                    <a:pt x="12842" y="13969"/>
                  </a:lnTo>
                  <a:lnTo>
                    <a:pt x="13020" y="14039"/>
                  </a:lnTo>
                  <a:lnTo>
                    <a:pt x="13191" y="14108"/>
                  </a:lnTo>
                  <a:lnTo>
                    <a:pt x="13356" y="14177"/>
                  </a:lnTo>
                  <a:lnTo>
                    <a:pt x="13514" y="14246"/>
                  </a:lnTo>
                  <a:lnTo>
                    <a:pt x="13665" y="14314"/>
                  </a:lnTo>
                  <a:lnTo>
                    <a:pt x="13809" y="14380"/>
                  </a:lnTo>
                  <a:lnTo>
                    <a:pt x="13946" y="14445"/>
                  </a:lnTo>
                  <a:lnTo>
                    <a:pt x="14076" y="14508"/>
                  </a:lnTo>
                  <a:lnTo>
                    <a:pt x="14198" y="14571"/>
                  </a:lnTo>
                  <a:lnTo>
                    <a:pt x="14314" y="14630"/>
                  </a:lnTo>
                  <a:lnTo>
                    <a:pt x="14421" y="14686"/>
                  </a:lnTo>
                  <a:lnTo>
                    <a:pt x="14520" y="14739"/>
                  </a:lnTo>
                  <a:lnTo>
                    <a:pt x="14612" y="14790"/>
                  </a:lnTo>
                  <a:lnTo>
                    <a:pt x="14695" y="14838"/>
                  </a:lnTo>
                  <a:lnTo>
                    <a:pt x="14770" y="14881"/>
                  </a:lnTo>
                  <a:lnTo>
                    <a:pt x="14838" y="14920"/>
                  </a:lnTo>
                  <a:lnTo>
                    <a:pt x="14896" y="14955"/>
                  </a:lnTo>
                  <a:lnTo>
                    <a:pt x="14945" y="14985"/>
                  </a:lnTo>
                  <a:lnTo>
                    <a:pt x="15018" y="15031"/>
                  </a:lnTo>
                  <a:lnTo>
                    <a:pt x="15054" y="15054"/>
                  </a:lnTo>
                  <a:lnTo>
                    <a:pt x="1004" y="15054"/>
                  </a:lnTo>
                  <a:close/>
                  <a:moveTo>
                    <a:pt x="10170" y="11741"/>
                  </a:moveTo>
                  <a:lnTo>
                    <a:pt x="10005" y="11950"/>
                  </a:lnTo>
                  <a:lnTo>
                    <a:pt x="9893" y="12074"/>
                  </a:lnTo>
                  <a:lnTo>
                    <a:pt x="9777" y="12192"/>
                  </a:lnTo>
                  <a:lnTo>
                    <a:pt x="9660" y="12300"/>
                  </a:lnTo>
                  <a:lnTo>
                    <a:pt x="9541" y="12401"/>
                  </a:lnTo>
                  <a:lnTo>
                    <a:pt x="9421" y="12494"/>
                  </a:lnTo>
                  <a:lnTo>
                    <a:pt x="9300" y="12578"/>
                  </a:lnTo>
                  <a:lnTo>
                    <a:pt x="9176" y="12654"/>
                  </a:lnTo>
                  <a:lnTo>
                    <a:pt x="9052" y="12723"/>
                  </a:lnTo>
                  <a:lnTo>
                    <a:pt x="8926" y="12784"/>
                  </a:lnTo>
                  <a:lnTo>
                    <a:pt x="8800" y="12836"/>
                  </a:lnTo>
                  <a:lnTo>
                    <a:pt x="8672" y="12880"/>
                  </a:lnTo>
                  <a:lnTo>
                    <a:pt x="8545" y="12916"/>
                  </a:lnTo>
                  <a:lnTo>
                    <a:pt x="8416" y="12945"/>
                  </a:lnTo>
                  <a:lnTo>
                    <a:pt x="8287" y="12965"/>
                  </a:lnTo>
                  <a:lnTo>
                    <a:pt x="8158" y="12977"/>
                  </a:lnTo>
                  <a:lnTo>
                    <a:pt x="8029" y="12981"/>
                  </a:lnTo>
                  <a:lnTo>
                    <a:pt x="7900" y="12977"/>
                  </a:lnTo>
                  <a:lnTo>
                    <a:pt x="7771" y="12965"/>
                  </a:lnTo>
                  <a:lnTo>
                    <a:pt x="7642" y="12945"/>
                  </a:lnTo>
                  <a:lnTo>
                    <a:pt x="7513" y="12916"/>
                  </a:lnTo>
                  <a:lnTo>
                    <a:pt x="7386" y="12880"/>
                  </a:lnTo>
                  <a:lnTo>
                    <a:pt x="7258" y="12836"/>
                  </a:lnTo>
                  <a:lnTo>
                    <a:pt x="7132" y="12784"/>
                  </a:lnTo>
                  <a:lnTo>
                    <a:pt x="7006" y="12723"/>
                  </a:lnTo>
                  <a:lnTo>
                    <a:pt x="6882" y="12654"/>
                  </a:lnTo>
                  <a:lnTo>
                    <a:pt x="6758" y="12578"/>
                  </a:lnTo>
                  <a:lnTo>
                    <a:pt x="6637" y="12494"/>
                  </a:lnTo>
                  <a:lnTo>
                    <a:pt x="6517" y="12401"/>
                  </a:lnTo>
                  <a:lnTo>
                    <a:pt x="6398" y="12300"/>
                  </a:lnTo>
                  <a:lnTo>
                    <a:pt x="6281" y="12192"/>
                  </a:lnTo>
                  <a:lnTo>
                    <a:pt x="6165" y="12074"/>
                  </a:lnTo>
                  <a:lnTo>
                    <a:pt x="6053" y="11950"/>
                  </a:lnTo>
                  <a:lnTo>
                    <a:pt x="5888" y="11741"/>
                  </a:lnTo>
                  <a:lnTo>
                    <a:pt x="5759" y="11574"/>
                  </a:lnTo>
                  <a:lnTo>
                    <a:pt x="5634" y="11403"/>
                  </a:lnTo>
                  <a:lnTo>
                    <a:pt x="5514" y="11229"/>
                  </a:lnTo>
                  <a:lnTo>
                    <a:pt x="5397" y="11052"/>
                  </a:lnTo>
                  <a:lnTo>
                    <a:pt x="5285" y="10872"/>
                  </a:lnTo>
                  <a:lnTo>
                    <a:pt x="5178" y="10689"/>
                  </a:lnTo>
                  <a:lnTo>
                    <a:pt x="5074" y="10505"/>
                  </a:lnTo>
                  <a:lnTo>
                    <a:pt x="4976" y="10317"/>
                  </a:lnTo>
                  <a:lnTo>
                    <a:pt x="4883" y="10127"/>
                  </a:lnTo>
                  <a:lnTo>
                    <a:pt x="4792" y="9935"/>
                  </a:lnTo>
                  <a:lnTo>
                    <a:pt x="4708" y="9741"/>
                  </a:lnTo>
                  <a:lnTo>
                    <a:pt x="4628" y="9544"/>
                  </a:lnTo>
                  <a:lnTo>
                    <a:pt x="4552" y="9346"/>
                  </a:lnTo>
                  <a:lnTo>
                    <a:pt x="4482" y="9146"/>
                  </a:lnTo>
                  <a:lnTo>
                    <a:pt x="4416" y="8945"/>
                  </a:lnTo>
                  <a:lnTo>
                    <a:pt x="4356" y="8742"/>
                  </a:lnTo>
                  <a:lnTo>
                    <a:pt x="4300" y="8537"/>
                  </a:lnTo>
                  <a:lnTo>
                    <a:pt x="4249" y="8332"/>
                  </a:lnTo>
                  <a:lnTo>
                    <a:pt x="4203" y="8125"/>
                  </a:lnTo>
                  <a:lnTo>
                    <a:pt x="4163" y="7917"/>
                  </a:lnTo>
                  <a:lnTo>
                    <a:pt x="4128" y="7709"/>
                  </a:lnTo>
                  <a:lnTo>
                    <a:pt x="4098" y="7500"/>
                  </a:lnTo>
                  <a:lnTo>
                    <a:pt x="4073" y="7290"/>
                  </a:lnTo>
                  <a:lnTo>
                    <a:pt x="4053" y="7080"/>
                  </a:lnTo>
                  <a:lnTo>
                    <a:pt x="4039" y="6869"/>
                  </a:lnTo>
                  <a:lnTo>
                    <a:pt x="4031" y="6657"/>
                  </a:lnTo>
                  <a:lnTo>
                    <a:pt x="4028" y="6447"/>
                  </a:lnTo>
                  <a:lnTo>
                    <a:pt x="4030" y="6236"/>
                  </a:lnTo>
                  <a:lnTo>
                    <a:pt x="4038" y="6025"/>
                  </a:lnTo>
                  <a:lnTo>
                    <a:pt x="4051" y="5814"/>
                  </a:lnTo>
                  <a:lnTo>
                    <a:pt x="4071" y="5604"/>
                  </a:lnTo>
                  <a:lnTo>
                    <a:pt x="4096" y="5394"/>
                  </a:lnTo>
                  <a:lnTo>
                    <a:pt x="4124" y="5192"/>
                  </a:lnTo>
                  <a:lnTo>
                    <a:pt x="4158" y="4991"/>
                  </a:lnTo>
                  <a:lnTo>
                    <a:pt x="4198" y="4790"/>
                  </a:lnTo>
                  <a:lnTo>
                    <a:pt x="4243" y="4589"/>
                  </a:lnTo>
                  <a:lnTo>
                    <a:pt x="4295" y="4389"/>
                  </a:lnTo>
                  <a:lnTo>
                    <a:pt x="4352" y="4191"/>
                  </a:lnTo>
                  <a:lnTo>
                    <a:pt x="4415" y="3996"/>
                  </a:lnTo>
                  <a:lnTo>
                    <a:pt x="4484" y="3802"/>
                  </a:lnTo>
                  <a:lnTo>
                    <a:pt x="4558" y="3611"/>
                  </a:lnTo>
                  <a:lnTo>
                    <a:pt x="4640" y="3425"/>
                  </a:lnTo>
                  <a:lnTo>
                    <a:pt x="4727" y="3241"/>
                  </a:lnTo>
                  <a:lnTo>
                    <a:pt x="4820" y="3061"/>
                  </a:lnTo>
                  <a:lnTo>
                    <a:pt x="4919" y="2887"/>
                  </a:lnTo>
                  <a:lnTo>
                    <a:pt x="5024" y="2717"/>
                  </a:lnTo>
                  <a:lnTo>
                    <a:pt x="5137" y="2552"/>
                  </a:lnTo>
                  <a:lnTo>
                    <a:pt x="5254" y="2394"/>
                  </a:lnTo>
                  <a:lnTo>
                    <a:pt x="5378" y="2241"/>
                  </a:lnTo>
                  <a:lnTo>
                    <a:pt x="5509" y="2096"/>
                  </a:lnTo>
                  <a:lnTo>
                    <a:pt x="5645" y="1957"/>
                  </a:lnTo>
                  <a:lnTo>
                    <a:pt x="5789" y="1827"/>
                  </a:lnTo>
                  <a:lnTo>
                    <a:pt x="5939" y="1703"/>
                  </a:lnTo>
                  <a:lnTo>
                    <a:pt x="6095" y="1590"/>
                  </a:lnTo>
                  <a:lnTo>
                    <a:pt x="6259" y="1483"/>
                  </a:lnTo>
                  <a:lnTo>
                    <a:pt x="6428" y="1387"/>
                  </a:lnTo>
                  <a:lnTo>
                    <a:pt x="6605" y="1301"/>
                  </a:lnTo>
                  <a:lnTo>
                    <a:pt x="6788" y="1224"/>
                  </a:lnTo>
                  <a:lnTo>
                    <a:pt x="6977" y="1159"/>
                  </a:lnTo>
                  <a:lnTo>
                    <a:pt x="7174" y="1104"/>
                  </a:lnTo>
                  <a:lnTo>
                    <a:pt x="7378" y="1061"/>
                  </a:lnTo>
                  <a:lnTo>
                    <a:pt x="7587" y="1029"/>
                  </a:lnTo>
                  <a:lnTo>
                    <a:pt x="7805" y="1010"/>
                  </a:lnTo>
                  <a:lnTo>
                    <a:pt x="8029" y="1004"/>
                  </a:lnTo>
                  <a:lnTo>
                    <a:pt x="8253" y="1010"/>
                  </a:lnTo>
                  <a:lnTo>
                    <a:pt x="8471" y="1029"/>
                  </a:lnTo>
                  <a:lnTo>
                    <a:pt x="8681" y="1061"/>
                  </a:lnTo>
                  <a:lnTo>
                    <a:pt x="8884" y="1104"/>
                  </a:lnTo>
                  <a:lnTo>
                    <a:pt x="9081" y="1159"/>
                  </a:lnTo>
                  <a:lnTo>
                    <a:pt x="9270" y="1224"/>
                  </a:lnTo>
                  <a:lnTo>
                    <a:pt x="9453" y="1301"/>
                  </a:lnTo>
                  <a:lnTo>
                    <a:pt x="9630" y="1387"/>
                  </a:lnTo>
                  <a:lnTo>
                    <a:pt x="9799" y="1483"/>
                  </a:lnTo>
                  <a:lnTo>
                    <a:pt x="9963" y="1590"/>
                  </a:lnTo>
                  <a:lnTo>
                    <a:pt x="10119" y="1703"/>
                  </a:lnTo>
                  <a:lnTo>
                    <a:pt x="10269" y="1827"/>
                  </a:lnTo>
                  <a:lnTo>
                    <a:pt x="10413" y="1957"/>
                  </a:lnTo>
                  <a:lnTo>
                    <a:pt x="10549" y="2096"/>
                  </a:lnTo>
                  <a:lnTo>
                    <a:pt x="10680" y="2241"/>
                  </a:lnTo>
                  <a:lnTo>
                    <a:pt x="10804" y="2394"/>
                  </a:lnTo>
                  <a:lnTo>
                    <a:pt x="10921" y="2552"/>
                  </a:lnTo>
                  <a:lnTo>
                    <a:pt x="11034" y="2717"/>
                  </a:lnTo>
                  <a:lnTo>
                    <a:pt x="11139" y="2887"/>
                  </a:lnTo>
                  <a:lnTo>
                    <a:pt x="11238" y="3061"/>
                  </a:lnTo>
                  <a:lnTo>
                    <a:pt x="11331" y="3241"/>
                  </a:lnTo>
                  <a:lnTo>
                    <a:pt x="11418" y="3425"/>
                  </a:lnTo>
                  <a:lnTo>
                    <a:pt x="11500" y="3611"/>
                  </a:lnTo>
                  <a:lnTo>
                    <a:pt x="11574" y="3802"/>
                  </a:lnTo>
                  <a:lnTo>
                    <a:pt x="11643" y="3996"/>
                  </a:lnTo>
                  <a:lnTo>
                    <a:pt x="11706" y="4191"/>
                  </a:lnTo>
                  <a:lnTo>
                    <a:pt x="11763" y="4389"/>
                  </a:lnTo>
                  <a:lnTo>
                    <a:pt x="11815" y="4589"/>
                  </a:lnTo>
                  <a:lnTo>
                    <a:pt x="11860" y="4790"/>
                  </a:lnTo>
                  <a:lnTo>
                    <a:pt x="11900" y="4991"/>
                  </a:lnTo>
                  <a:lnTo>
                    <a:pt x="11934" y="5192"/>
                  </a:lnTo>
                  <a:lnTo>
                    <a:pt x="11962" y="5394"/>
                  </a:lnTo>
                  <a:lnTo>
                    <a:pt x="11987" y="5604"/>
                  </a:lnTo>
                  <a:lnTo>
                    <a:pt x="12006" y="5814"/>
                  </a:lnTo>
                  <a:lnTo>
                    <a:pt x="12020" y="6025"/>
                  </a:lnTo>
                  <a:lnTo>
                    <a:pt x="12028" y="6236"/>
                  </a:lnTo>
                  <a:lnTo>
                    <a:pt x="12030" y="6447"/>
                  </a:lnTo>
                  <a:lnTo>
                    <a:pt x="12027" y="6658"/>
                  </a:lnTo>
                  <a:lnTo>
                    <a:pt x="12018" y="6869"/>
                  </a:lnTo>
                  <a:lnTo>
                    <a:pt x="12004" y="7080"/>
                  </a:lnTo>
                  <a:lnTo>
                    <a:pt x="11985" y="7290"/>
                  </a:lnTo>
                  <a:lnTo>
                    <a:pt x="11960" y="7500"/>
                  </a:lnTo>
                  <a:lnTo>
                    <a:pt x="11930" y="7709"/>
                  </a:lnTo>
                  <a:lnTo>
                    <a:pt x="11895" y="7918"/>
                  </a:lnTo>
                  <a:lnTo>
                    <a:pt x="11854" y="8126"/>
                  </a:lnTo>
                  <a:lnTo>
                    <a:pt x="11809" y="8332"/>
                  </a:lnTo>
                  <a:lnTo>
                    <a:pt x="11757" y="8537"/>
                  </a:lnTo>
                  <a:lnTo>
                    <a:pt x="11702" y="8742"/>
                  </a:lnTo>
                  <a:lnTo>
                    <a:pt x="11642" y="8945"/>
                  </a:lnTo>
                  <a:lnTo>
                    <a:pt x="11576" y="9147"/>
                  </a:lnTo>
                  <a:lnTo>
                    <a:pt x="11506" y="9346"/>
                  </a:lnTo>
                  <a:lnTo>
                    <a:pt x="11430" y="9544"/>
                  </a:lnTo>
                  <a:lnTo>
                    <a:pt x="11350" y="9741"/>
                  </a:lnTo>
                  <a:lnTo>
                    <a:pt x="11266" y="9935"/>
                  </a:lnTo>
                  <a:lnTo>
                    <a:pt x="11176" y="10127"/>
                  </a:lnTo>
                  <a:lnTo>
                    <a:pt x="11082" y="10317"/>
                  </a:lnTo>
                  <a:lnTo>
                    <a:pt x="10984" y="10505"/>
                  </a:lnTo>
                  <a:lnTo>
                    <a:pt x="10880" y="10689"/>
                  </a:lnTo>
                  <a:lnTo>
                    <a:pt x="10773" y="10872"/>
                  </a:lnTo>
                  <a:lnTo>
                    <a:pt x="10661" y="11052"/>
                  </a:lnTo>
                  <a:lnTo>
                    <a:pt x="10545" y="11228"/>
                  </a:lnTo>
                  <a:lnTo>
                    <a:pt x="10424" y="11403"/>
                  </a:lnTo>
                  <a:lnTo>
                    <a:pt x="10299" y="11574"/>
                  </a:lnTo>
                  <a:lnTo>
                    <a:pt x="10170" y="11741"/>
                  </a:lnTo>
                  <a:close/>
                  <a:moveTo>
                    <a:pt x="15610" y="14219"/>
                  </a:moveTo>
                  <a:lnTo>
                    <a:pt x="15572" y="14194"/>
                  </a:lnTo>
                  <a:lnTo>
                    <a:pt x="15494" y="14145"/>
                  </a:lnTo>
                  <a:lnTo>
                    <a:pt x="15440" y="14112"/>
                  </a:lnTo>
                  <a:lnTo>
                    <a:pt x="15378" y="14074"/>
                  </a:lnTo>
                  <a:lnTo>
                    <a:pt x="15305" y="14031"/>
                  </a:lnTo>
                  <a:lnTo>
                    <a:pt x="15224" y="13984"/>
                  </a:lnTo>
                  <a:lnTo>
                    <a:pt x="15135" y="13933"/>
                  </a:lnTo>
                  <a:lnTo>
                    <a:pt x="15035" y="13878"/>
                  </a:lnTo>
                  <a:lnTo>
                    <a:pt x="14928" y="13820"/>
                  </a:lnTo>
                  <a:lnTo>
                    <a:pt x="14813" y="13758"/>
                  </a:lnTo>
                  <a:lnTo>
                    <a:pt x="14688" y="13693"/>
                  </a:lnTo>
                  <a:lnTo>
                    <a:pt x="14556" y="13627"/>
                  </a:lnTo>
                  <a:lnTo>
                    <a:pt x="14416" y="13558"/>
                  </a:lnTo>
                  <a:lnTo>
                    <a:pt x="14268" y="13488"/>
                  </a:lnTo>
                  <a:lnTo>
                    <a:pt x="14112" y="13415"/>
                  </a:lnTo>
                  <a:lnTo>
                    <a:pt x="13948" y="13341"/>
                  </a:lnTo>
                  <a:lnTo>
                    <a:pt x="13778" y="13267"/>
                  </a:lnTo>
                  <a:lnTo>
                    <a:pt x="13600" y="13191"/>
                  </a:lnTo>
                  <a:lnTo>
                    <a:pt x="13415" y="13116"/>
                  </a:lnTo>
                  <a:lnTo>
                    <a:pt x="13223" y="13041"/>
                  </a:lnTo>
                  <a:lnTo>
                    <a:pt x="13025" y="12967"/>
                  </a:lnTo>
                  <a:lnTo>
                    <a:pt x="12819" y="12892"/>
                  </a:lnTo>
                  <a:lnTo>
                    <a:pt x="12608" y="12819"/>
                  </a:lnTo>
                  <a:lnTo>
                    <a:pt x="12390" y="12748"/>
                  </a:lnTo>
                  <a:lnTo>
                    <a:pt x="12166" y="12678"/>
                  </a:lnTo>
                  <a:lnTo>
                    <a:pt x="11935" y="12609"/>
                  </a:lnTo>
                  <a:lnTo>
                    <a:pt x="11699" y="12544"/>
                  </a:lnTo>
                  <a:lnTo>
                    <a:pt x="11457" y="12481"/>
                  </a:lnTo>
                  <a:lnTo>
                    <a:pt x="11210" y="12421"/>
                  </a:lnTo>
                  <a:lnTo>
                    <a:pt x="10958" y="12363"/>
                  </a:lnTo>
                  <a:lnTo>
                    <a:pt x="11051" y="12244"/>
                  </a:lnTo>
                  <a:lnTo>
                    <a:pt x="11141" y="12122"/>
                  </a:lnTo>
                  <a:lnTo>
                    <a:pt x="11230" y="11997"/>
                  </a:lnTo>
                  <a:lnTo>
                    <a:pt x="11316" y="11871"/>
                  </a:lnTo>
                  <a:lnTo>
                    <a:pt x="11400" y="11742"/>
                  </a:lnTo>
                  <a:lnTo>
                    <a:pt x="11481" y="11613"/>
                  </a:lnTo>
                  <a:lnTo>
                    <a:pt x="11562" y="11481"/>
                  </a:lnTo>
                  <a:lnTo>
                    <a:pt x="11640" y="11349"/>
                  </a:lnTo>
                  <a:lnTo>
                    <a:pt x="11715" y="11214"/>
                  </a:lnTo>
                  <a:lnTo>
                    <a:pt x="11789" y="11080"/>
                  </a:lnTo>
                  <a:lnTo>
                    <a:pt x="11861" y="10944"/>
                  </a:lnTo>
                  <a:lnTo>
                    <a:pt x="11930" y="10809"/>
                  </a:lnTo>
                  <a:lnTo>
                    <a:pt x="11997" y="10672"/>
                  </a:lnTo>
                  <a:lnTo>
                    <a:pt x="12063" y="10536"/>
                  </a:lnTo>
                  <a:lnTo>
                    <a:pt x="12126" y="10400"/>
                  </a:lnTo>
                  <a:lnTo>
                    <a:pt x="12186" y="10264"/>
                  </a:lnTo>
                  <a:lnTo>
                    <a:pt x="12245" y="10128"/>
                  </a:lnTo>
                  <a:lnTo>
                    <a:pt x="12301" y="9993"/>
                  </a:lnTo>
                  <a:lnTo>
                    <a:pt x="12357" y="9858"/>
                  </a:lnTo>
                  <a:lnTo>
                    <a:pt x="12409" y="9725"/>
                  </a:lnTo>
                  <a:lnTo>
                    <a:pt x="12459" y="9592"/>
                  </a:lnTo>
                  <a:lnTo>
                    <a:pt x="12507" y="9462"/>
                  </a:lnTo>
                  <a:lnTo>
                    <a:pt x="12552" y="9332"/>
                  </a:lnTo>
                  <a:lnTo>
                    <a:pt x="12596" y="9204"/>
                  </a:lnTo>
                  <a:lnTo>
                    <a:pt x="12639" y="9078"/>
                  </a:lnTo>
                  <a:lnTo>
                    <a:pt x="12678" y="8954"/>
                  </a:lnTo>
                  <a:lnTo>
                    <a:pt x="12715" y="8832"/>
                  </a:lnTo>
                  <a:lnTo>
                    <a:pt x="12750" y="8713"/>
                  </a:lnTo>
                  <a:lnTo>
                    <a:pt x="12783" y="8597"/>
                  </a:lnTo>
                  <a:lnTo>
                    <a:pt x="12814" y="8482"/>
                  </a:lnTo>
                  <a:lnTo>
                    <a:pt x="12843" y="8372"/>
                  </a:lnTo>
                  <a:lnTo>
                    <a:pt x="12869" y="8263"/>
                  </a:lnTo>
                  <a:lnTo>
                    <a:pt x="12904" y="8113"/>
                  </a:lnTo>
                  <a:lnTo>
                    <a:pt x="12935" y="7952"/>
                  </a:lnTo>
                  <a:lnTo>
                    <a:pt x="12962" y="7785"/>
                  </a:lnTo>
                  <a:lnTo>
                    <a:pt x="12985" y="7610"/>
                  </a:lnTo>
                  <a:lnTo>
                    <a:pt x="13005" y="7428"/>
                  </a:lnTo>
                  <a:lnTo>
                    <a:pt x="13022" y="7240"/>
                  </a:lnTo>
                  <a:lnTo>
                    <a:pt x="13034" y="7046"/>
                  </a:lnTo>
                  <a:lnTo>
                    <a:pt x="13042" y="6846"/>
                  </a:lnTo>
                  <a:lnTo>
                    <a:pt x="13046" y="6642"/>
                  </a:lnTo>
                  <a:lnTo>
                    <a:pt x="13045" y="6434"/>
                  </a:lnTo>
                  <a:lnTo>
                    <a:pt x="13040" y="6221"/>
                  </a:lnTo>
                  <a:lnTo>
                    <a:pt x="13030" y="6005"/>
                  </a:lnTo>
                  <a:lnTo>
                    <a:pt x="13015" y="5785"/>
                  </a:lnTo>
                  <a:lnTo>
                    <a:pt x="12995" y="5564"/>
                  </a:lnTo>
                  <a:lnTo>
                    <a:pt x="12970" y="5341"/>
                  </a:lnTo>
                  <a:lnTo>
                    <a:pt x="12939" y="5116"/>
                  </a:lnTo>
                  <a:lnTo>
                    <a:pt x="12903" y="4890"/>
                  </a:lnTo>
                  <a:lnTo>
                    <a:pt x="12860" y="4663"/>
                  </a:lnTo>
                  <a:lnTo>
                    <a:pt x="12813" y="4436"/>
                  </a:lnTo>
                  <a:lnTo>
                    <a:pt x="12760" y="4210"/>
                  </a:lnTo>
                  <a:lnTo>
                    <a:pt x="12700" y="3985"/>
                  </a:lnTo>
                  <a:lnTo>
                    <a:pt x="12634" y="3762"/>
                  </a:lnTo>
                  <a:lnTo>
                    <a:pt x="12561" y="3539"/>
                  </a:lnTo>
                  <a:lnTo>
                    <a:pt x="12482" y="3320"/>
                  </a:lnTo>
                  <a:lnTo>
                    <a:pt x="12397" y="3103"/>
                  </a:lnTo>
                  <a:lnTo>
                    <a:pt x="12303" y="2891"/>
                  </a:lnTo>
                  <a:lnTo>
                    <a:pt x="12204" y="2681"/>
                  </a:lnTo>
                  <a:lnTo>
                    <a:pt x="12097" y="2476"/>
                  </a:lnTo>
                  <a:lnTo>
                    <a:pt x="11982" y="2275"/>
                  </a:lnTo>
                  <a:lnTo>
                    <a:pt x="11861" y="2081"/>
                  </a:lnTo>
                  <a:lnTo>
                    <a:pt x="11731" y="1892"/>
                  </a:lnTo>
                  <a:lnTo>
                    <a:pt x="11594" y="1709"/>
                  </a:lnTo>
                  <a:lnTo>
                    <a:pt x="11511" y="1606"/>
                  </a:lnTo>
                  <a:lnTo>
                    <a:pt x="11424" y="1506"/>
                  </a:lnTo>
                  <a:lnTo>
                    <a:pt x="11337" y="1409"/>
                  </a:lnTo>
                  <a:lnTo>
                    <a:pt x="11248" y="1315"/>
                  </a:lnTo>
                  <a:lnTo>
                    <a:pt x="11155" y="1223"/>
                  </a:lnTo>
                  <a:lnTo>
                    <a:pt x="11062" y="1136"/>
                  </a:lnTo>
                  <a:lnTo>
                    <a:pt x="10967" y="1052"/>
                  </a:lnTo>
                  <a:lnTo>
                    <a:pt x="10869" y="971"/>
                  </a:lnTo>
                  <a:lnTo>
                    <a:pt x="10770" y="892"/>
                  </a:lnTo>
                  <a:lnTo>
                    <a:pt x="10669" y="817"/>
                  </a:lnTo>
                  <a:lnTo>
                    <a:pt x="10566" y="746"/>
                  </a:lnTo>
                  <a:lnTo>
                    <a:pt x="10462" y="677"/>
                  </a:lnTo>
                  <a:lnTo>
                    <a:pt x="10355" y="612"/>
                  </a:lnTo>
                  <a:lnTo>
                    <a:pt x="10247" y="550"/>
                  </a:lnTo>
                  <a:lnTo>
                    <a:pt x="10137" y="491"/>
                  </a:lnTo>
                  <a:lnTo>
                    <a:pt x="10025" y="436"/>
                  </a:lnTo>
                  <a:lnTo>
                    <a:pt x="9912" y="383"/>
                  </a:lnTo>
                  <a:lnTo>
                    <a:pt x="9797" y="334"/>
                  </a:lnTo>
                  <a:lnTo>
                    <a:pt x="9681" y="288"/>
                  </a:lnTo>
                  <a:lnTo>
                    <a:pt x="9563" y="246"/>
                  </a:lnTo>
                  <a:lnTo>
                    <a:pt x="9443" y="207"/>
                  </a:lnTo>
                  <a:lnTo>
                    <a:pt x="9322" y="172"/>
                  </a:lnTo>
                  <a:lnTo>
                    <a:pt x="9198" y="139"/>
                  </a:lnTo>
                  <a:lnTo>
                    <a:pt x="9075" y="109"/>
                  </a:lnTo>
                  <a:lnTo>
                    <a:pt x="8948" y="84"/>
                  </a:lnTo>
                  <a:lnTo>
                    <a:pt x="8821" y="62"/>
                  </a:lnTo>
                  <a:lnTo>
                    <a:pt x="8692" y="43"/>
                  </a:lnTo>
                  <a:lnTo>
                    <a:pt x="8563" y="27"/>
                  </a:lnTo>
                  <a:lnTo>
                    <a:pt x="8431" y="16"/>
                  </a:lnTo>
                  <a:lnTo>
                    <a:pt x="8299" y="7"/>
                  </a:lnTo>
                  <a:lnTo>
                    <a:pt x="8164" y="2"/>
                  </a:lnTo>
                  <a:lnTo>
                    <a:pt x="8029" y="0"/>
                  </a:lnTo>
                  <a:lnTo>
                    <a:pt x="7894" y="2"/>
                  </a:lnTo>
                  <a:lnTo>
                    <a:pt x="7760" y="7"/>
                  </a:lnTo>
                  <a:lnTo>
                    <a:pt x="7627" y="16"/>
                  </a:lnTo>
                  <a:lnTo>
                    <a:pt x="7495" y="27"/>
                  </a:lnTo>
                  <a:lnTo>
                    <a:pt x="7366" y="43"/>
                  </a:lnTo>
                  <a:lnTo>
                    <a:pt x="7237" y="62"/>
                  </a:lnTo>
                  <a:lnTo>
                    <a:pt x="7110" y="84"/>
                  </a:lnTo>
                  <a:lnTo>
                    <a:pt x="6983" y="109"/>
                  </a:lnTo>
                  <a:lnTo>
                    <a:pt x="6860" y="139"/>
                  </a:lnTo>
                  <a:lnTo>
                    <a:pt x="6736" y="172"/>
                  </a:lnTo>
                  <a:lnTo>
                    <a:pt x="6615" y="207"/>
                  </a:lnTo>
                  <a:lnTo>
                    <a:pt x="6495" y="246"/>
                  </a:lnTo>
                  <a:lnTo>
                    <a:pt x="6377" y="288"/>
                  </a:lnTo>
                  <a:lnTo>
                    <a:pt x="6261" y="334"/>
                  </a:lnTo>
                  <a:lnTo>
                    <a:pt x="6146" y="383"/>
                  </a:lnTo>
                  <a:lnTo>
                    <a:pt x="6033" y="436"/>
                  </a:lnTo>
                  <a:lnTo>
                    <a:pt x="5921" y="491"/>
                  </a:lnTo>
                  <a:lnTo>
                    <a:pt x="5811" y="550"/>
                  </a:lnTo>
                  <a:lnTo>
                    <a:pt x="5703" y="612"/>
                  </a:lnTo>
                  <a:lnTo>
                    <a:pt x="5596" y="677"/>
                  </a:lnTo>
                  <a:lnTo>
                    <a:pt x="5492" y="746"/>
                  </a:lnTo>
                  <a:lnTo>
                    <a:pt x="5389" y="817"/>
                  </a:lnTo>
                  <a:lnTo>
                    <a:pt x="5288" y="892"/>
                  </a:lnTo>
                  <a:lnTo>
                    <a:pt x="5189" y="971"/>
                  </a:lnTo>
                  <a:lnTo>
                    <a:pt x="5091" y="1052"/>
                  </a:lnTo>
                  <a:lnTo>
                    <a:pt x="4996" y="1136"/>
                  </a:lnTo>
                  <a:lnTo>
                    <a:pt x="4903" y="1223"/>
                  </a:lnTo>
                  <a:lnTo>
                    <a:pt x="4810" y="1315"/>
                  </a:lnTo>
                  <a:lnTo>
                    <a:pt x="4721" y="1409"/>
                  </a:lnTo>
                  <a:lnTo>
                    <a:pt x="4634" y="1506"/>
                  </a:lnTo>
                  <a:lnTo>
                    <a:pt x="4547" y="1606"/>
                  </a:lnTo>
                  <a:lnTo>
                    <a:pt x="4464" y="1709"/>
                  </a:lnTo>
                  <a:lnTo>
                    <a:pt x="4327" y="1892"/>
                  </a:lnTo>
                  <a:lnTo>
                    <a:pt x="4197" y="2081"/>
                  </a:lnTo>
                  <a:lnTo>
                    <a:pt x="4076" y="2275"/>
                  </a:lnTo>
                  <a:lnTo>
                    <a:pt x="3961" y="2476"/>
                  </a:lnTo>
                  <a:lnTo>
                    <a:pt x="3854" y="2681"/>
                  </a:lnTo>
                  <a:lnTo>
                    <a:pt x="3755" y="2891"/>
                  </a:lnTo>
                  <a:lnTo>
                    <a:pt x="3661" y="3103"/>
                  </a:lnTo>
                  <a:lnTo>
                    <a:pt x="3576" y="3320"/>
                  </a:lnTo>
                  <a:lnTo>
                    <a:pt x="3497" y="3539"/>
                  </a:lnTo>
                  <a:lnTo>
                    <a:pt x="3424" y="3762"/>
                  </a:lnTo>
                  <a:lnTo>
                    <a:pt x="3358" y="3985"/>
                  </a:lnTo>
                  <a:lnTo>
                    <a:pt x="3298" y="4210"/>
                  </a:lnTo>
                  <a:lnTo>
                    <a:pt x="3245" y="4436"/>
                  </a:lnTo>
                  <a:lnTo>
                    <a:pt x="3198" y="4663"/>
                  </a:lnTo>
                  <a:lnTo>
                    <a:pt x="3155" y="4890"/>
                  </a:lnTo>
                  <a:lnTo>
                    <a:pt x="3119" y="5116"/>
                  </a:lnTo>
                  <a:lnTo>
                    <a:pt x="3088" y="5341"/>
                  </a:lnTo>
                  <a:lnTo>
                    <a:pt x="3063" y="5564"/>
                  </a:lnTo>
                  <a:lnTo>
                    <a:pt x="3043" y="5785"/>
                  </a:lnTo>
                  <a:lnTo>
                    <a:pt x="3028" y="6005"/>
                  </a:lnTo>
                  <a:lnTo>
                    <a:pt x="3018" y="6221"/>
                  </a:lnTo>
                  <a:lnTo>
                    <a:pt x="3013" y="6434"/>
                  </a:lnTo>
                  <a:lnTo>
                    <a:pt x="3013" y="6642"/>
                  </a:lnTo>
                  <a:lnTo>
                    <a:pt x="3016" y="6846"/>
                  </a:lnTo>
                  <a:lnTo>
                    <a:pt x="3024" y="7046"/>
                  </a:lnTo>
                  <a:lnTo>
                    <a:pt x="3036" y="7240"/>
                  </a:lnTo>
                  <a:lnTo>
                    <a:pt x="3053" y="7428"/>
                  </a:lnTo>
                  <a:lnTo>
                    <a:pt x="3073" y="7610"/>
                  </a:lnTo>
                  <a:lnTo>
                    <a:pt x="3096" y="7785"/>
                  </a:lnTo>
                  <a:lnTo>
                    <a:pt x="3123" y="7952"/>
                  </a:lnTo>
                  <a:lnTo>
                    <a:pt x="3154" y="8113"/>
                  </a:lnTo>
                  <a:lnTo>
                    <a:pt x="3189" y="8263"/>
                  </a:lnTo>
                  <a:lnTo>
                    <a:pt x="3215" y="8372"/>
                  </a:lnTo>
                  <a:lnTo>
                    <a:pt x="3244" y="8482"/>
                  </a:lnTo>
                  <a:lnTo>
                    <a:pt x="3275" y="8597"/>
                  </a:lnTo>
                  <a:lnTo>
                    <a:pt x="3308" y="8713"/>
                  </a:lnTo>
                  <a:lnTo>
                    <a:pt x="3343" y="8832"/>
                  </a:lnTo>
                  <a:lnTo>
                    <a:pt x="3380" y="8954"/>
                  </a:lnTo>
                  <a:lnTo>
                    <a:pt x="3419" y="9078"/>
                  </a:lnTo>
                  <a:lnTo>
                    <a:pt x="3462" y="9204"/>
                  </a:lnTo>
                  <a:lnTo>
                    <a:pt x="3506" y="9332"/>
                  </a:lnTo>
                  <a:lnTo>
                    <a:pt x="3551" y="9462"/>
                  </a:lnTo>
                  <a:lnTo>
                    <a:pt x="3599" y="9592"/>
                  </a:lnTo>
                  <a:lnTo>
                    <a:pt x="3649" y="9725"/>
                  </a:lnTo>
                  <a:lnTo>
                    <a:pt x="3702" y="9858"/>
                  </a:lnTo>
                  <a:lnTo>
                    <a:pt x="3757" y="9993"/>
                  </a:lnTo>
                  <a:lnTo>
                    <a:pt x="3813" y="10128"/>
                  </a:lnTo>
                  <a:lnTo>
                    <a:pt x="3872" y="10264"/>
                  </a:lnTo>
                  <a:lnTo>
                    <a:pt x="3932" y="10400"/>
                  </a:lnTo>
                  <a:lnTo>
                    <a:pt x="3995" y="10536"/>
                  </a:lnTo>
                  <a:lnTo>
                    <a:pt x="4061" y="10672"/>
                  </a:lnTo>
                  <a:lnTo>
                    <a:pt x="4128" y="10809"/>
                  </a:lnTo>
                  <a:lnTo>
                    <a:pt x="4197" y="10944"/>
                  </a:lnTo>
                  <a:lnTo>
                    <a:pt x="4269" y="11080"/>
                  </a:lnTo>
                  <a:lnTo>
                    <a:pt x="4343" y="11214"/>
                  </a:lnTo>
                  <a:lnTo>
                    <a:pt x="4418" y="11349"/>
                  </a:lnTo>
                  <a:lnTo>
                    <a:pt x="4496" y="11481"/>
                  </a:lnTo>
                  <a:lnTo>
                    <a:pt x="4577" y="11613"/>
                  </a:lnTo>
                  <a:lnTo>
                    <a:pt x="4658" y="11742"/>
                  </a:lnTo>
                  <a:lnTo>
                    <a:pt x="4742" y="11871"/>
                  </a:lnTo>
                  <a:lnTo>
                    <a:pt x="4828" y="11997"/>
                  </a:lnTo>
                  <a:lnTo>
                    <a:pt x="4917" y="12122"/>
                  </a:lnTo>
                  <a:lnTo>
                    <a:pt x="5007" y="12244"/>
                  </a:lnTo>
                  <a:lnTo>
                    <a:pt x="5100" y="12363"/>
                  </a:lnTo>
                  <a:lnTo>
                    <a:pt x="4848" y="12421"/>
                  </a:lnTo>
                  <a:lnTo>
                    <a:pt x="4601" y="12481"/>
                  </a:lnTo>
                  <a:lnTo>
                    <a:pt x="4359" y="12544"/>
                  </a:lnTo>
                  <a:lnTo>
                    <a:pt x="4123" y="12609"/>
                  </a:lnTo>
                  <a:lnTo>
                    <a:pt x="3892" y="12678"/>
                  </a:lnTo>
                  <a:lnTo>
                    <a:pt x="3668" y="12748"/>
                  </a:lnTo>
                  <a:lnTo>
                    <a:pt x="3450" y="12819"/>
                  </a:lnTo>
                  <a:lnTo>
                    <a:pt x="3239" y="12892"/>
                  </a:lnTo>
                  <a:lnTo>
                    <a:pt x="3033" y="12967"/>
                  </a:lnTo>
                  <a:lnTo>
                    <a:pt x="2835" y="13041"/>
                  </a:lnTo>
                  <a:lnTo>
                    <a:pt x="2643" y="13116"/>
                  </a:lnTo>
                  <a:lnTo>
                    <a:pt x="2458" y="13191"/>
                  </a:lnTo>
                  <a:lnTo>
                    <a:pt x="2280" y="13267"/>
                  </a:lnTo>
                  <a:lnTo>
                    <a:pt x="2110" y="13341"/>
                  </a:lnTo>
                  <a:lnTo>
                    <a:pt x="1946" y="13415"/>
                  </a:lnTo>
                  <a:lnTo>
                    <a:pt x="1790" y="13488"/>
                  </a:lnTo>
                  <a:lnTo>
                    <a:pt x="1642" y="13558"/>
                  </a:lnTo>
                  <a:lnTo>
                    <a:pt x="1502" y="13627"/>
                  </a:lnTo>
                  <a:lnTo>
                    <a:pt x="1370" y="13693"/>
                  </a:lnTo>
                  <a:lnTo>
                    <a:pt x="1245" y="13758"/>
                  </a:lnTo>
                  <a:lnTo>
                    <a:pt x="1130" y="13820"/>
                  </a:lnTo>
                  <a:lnTo>
                    <a:pt x="1023" y="13878"/>
                  </a:lnTo>
                  <a:lnTo>
                    <a:pt x="923" y="13933"/>
                  </a:lnTo>
                  <a:lnTo>
                    <a:pt x="834" y="13984"/>
                  </a:lnTo>
                  <a:lnTo>
                    <a:pt x="753" y="14031"/>
                  </a:lnTo>
                  <a:lnTo>
                    <a:pt x="680" y="14074"/>
                  </a:lnTo>
                  <a:lnTo>
                    <a:pt x="618" y="14112"/>
                  </a:lnTo>
                  <a:lnTo>
                    <a:pt x="564" y="14145"/>
                  </a:lnTo>
                  <a:lnTo>
                    <a:pt x="486" y="14194"/>
                  </a:lnTo>
                  <a:lnTo>
                    <a:pt x="448" y="14219"/>
                  </a:lnTo>
                  <a:lnTo>
                    <a:pt x="413" y="14243"/>
                  </a:lnTo>
                  <a:lnTo>
                    <a:pt x="380" y="14267"/>
                  </a:lnTo>
                  <a:lnTo>
                    <a:pt x="349" y="14294"/>
                  </a:lnTo>
                  <a:lnTo>
                    <a:pt x="319" y="14321"/>
                  </a:lnTo>
                  <a:lnTo>
                    <a:pt x="290" y="14349"/>
                  </a:lnTo>
                  <a:lnTo>
                    <a:pt x="262" y="14378"/>
                  </a:lnTo>
                  <a:lnTo>
                    <a:pt x="236" y="14408"/>
                  </a:lnTo>
                  <a:lnTo>
                    <a:pt x="211" y="14439"/>
                  </a:lnTo>
                  <a:lnTo>
                    <a:pt x="187" y="14471"/>
                  </a:lnTo>
                  <a:lnTo>
                    <a:pt x="165" y="14504"/>
                  </a:lnTo>
                  <a:lnTo>
                    <a:pt x="144" y="14537"/>
                  </a:lnTo>
                  <a:lnTo>
                    <a:pt x="123" y="14572"/>
                  </a:lnTo>
                  <a:lnTo>
                    <a:pt x="105" y="14607"/>
                  </a:lnTo>
                  <a:lnTo>
                    <a:pt x="88" y="14643"/>
                  </a:lnTo>
                  <a:lnTo>
                    <a:pt x="73" y="14679"/>
                  </a:lnTo>
                  <a:lnTo>
                    <a:pt x="59" y="14715"/>
                  </a:lnTo>
                  <a:lnTo>
                    <a:pt x="46" y="14753"/>
                  </a:lnTo>
                  <a:lnTo>
                    <a:pt x="35" y="14790"/>
                  </a:lnTo>
                  <a:lnTo>
                    <a:pt x="26" y="14828"/>
                  </a:lnTo>
                  <a:lnTo>
                    <a:pt x="18" y="14868"/>
                  </a:lnTo>
                  <a:lnTo>
                    <a:pt x="11" y="14907"/>
                  </a:lnTo>
                  <a:lnTo>
                    <a:pt x="6" y="14946"/>
                  </a:lnTo>
                  <a:lnTo>
                    <a:pt x="3" y="14985"/>
                  </a:lnTo>
                  <a:lnTo>
                    <a:pt x="1" y="15025"/>
                  </a:lnTo>
                  <a:lnTo>
                    <a:pt x="0" y="15065"/>
                  </a:lnTo>
                  <a:lnTo>
                    <a:pt x="1" y="15106"/>
                  </a:lnTo>
                  <a:lnTo>
                    <a:pt x="4" y="15145"/>
                  </a:lnTo>
                  <a:lnTo>
                    <a:pt x="9" y="15185"/>
                  </a:lnTo>
                  <a:lnTo>
                    <a:pt x="15" y="15225"/>
                  </a:lnTo>
                  <a:lnTo>
                    <a:pt x="23" y="15265"/>
                  </a:lnTo>
                  <a:lnTo>
                    <a:pt x="32" y="15305"/>
                  </a:lnTo>
                  <a:lnTo>
                    <a:pt x="43" y="15345"/>
                  </a:lnTo>
                  <a:lnTo>
                    <a:pt x="56" y="15385"/>
                  </a:lnTo>
                  <a:lnTo>
                    <a:pt x="70" y="15423"/>
                  </a:lnTo>
                  <a:lnTo>
                    <a:pt x="86" y="15461"/>
                  </a:lnTo>
                  <a:lnTo>
                    <a:pt x="103" y="15497"/>
                  </a:lnTo>
                  <a:lnTo>
                    <a:pt x="121" y="15533"/>
                  </a:lnTo>
                  <a:lnTo>
                    <a:pt x="142" y="15568"/>
                  </a:lnTo>
                  <a:lnTo>
                    <a:pt x="163" y="15602"/>
                  </a:lnTo>
                  <a:lnTo>
                    <a:pt x="186" y="15635"/>
                  </a:lnTo>
                  <a:lnTo>
                    <a:pt x="209" y="15667"/>
                  </a:lnTo>
                  <a:lnTo>
                    <a:pt x="234" y="15698"/>
                  </a:lnTo>
                  <a:lnTo>
                    <a:pt x="260" y="15728"/>
                  </a:lnTo>
                  <a:lnTo>
                    <a:pt x="287" y="15757"/>
                  </a:lnTo>
                  <a:lnTo>
                    <a:pt x="315" y="15784"/>
                  </a:lnTo>
                  <a:lnTo>
                    <a:pt x="344" y="15811"/>
                  </a:lnTo>
                  <a:lnTo>
                    <a:pt x="374" y="15836"/>
                  </a:lnTo>
                  <a:lnTo>
                    <a:pt x="405" y="15860"/>
                  </a:lnTo>
                  <a:lnTo>
                    <a:pt x="438" y="15883"/>
                  </a:lnTo>
                  <a:lnTo>
                    <a:pt x="471" y="15904"/>
                  </a:lnTo>
                  <a:lnTo>
                    <a:pt x="505" y="15926"/>
                  </a:lnTo>
                  <a:lnTo>
                    <a:pt x="540" y="15944"/>
                  </a:lnTo>
                  <a:lnTo>
                    <a:pt x="575" y="15962"/>
                  </a:lnTo>
                  <a:lnTo>
                    <a:pt x="611" y="15978"/>
                  </a:lnTo>
                  <a:lnTo>
                    <a:pt x="647" y="15993"/>
                  </a:lnTo>
                  <a:lnTo>
                    <a:pt x="685" y="16006"/>
                  </a:lnTo>
                  <a:lnTo>
                    <a:pt x="724" y="16018"/>
                  </a:lnTo>
                  <a:lnTo>
                    <a:pt x="762" y="16029"/>
                  </a:lnTo>
                  <a:lnTo>
                    <a:pt x="801" y="16037"/>
                  </a:lnTo>
                  <a:lnTo>
                    <a:pt x="841" y="16045"/>
                  </a:lnTo>
                  <a:lnTo>
                    <a:pt x="881" y="16050"/>
                  </a:lnTo>
                  <a:lnTo>
                    <a:pt x="921" y="16055"/>
                  </a:lnTo>
                  <a:lnTo>
                    <a:pt x="962" y="16057"/>
                  </a:lnTo>
                  <a:lnTo>
                    <a:pt x="1004" y="16058"/>
                  </a:lnTo>
                  <a:lnTo>
                    <a:pt x="15054" y="16058"/>
                  </a:lnTo>
                  <a:lnTo>
                    <a:pt x="15096" y="16057"/>
                  </a:lnTo>
                  <a:lnTo>
                    <a:pt x="15137" y="16055"/>
                  </a:lnTo>
                  <a:lnTo>
                    <a:pt x="15177" y="16050"/>
                  </a:lnTo>
                  <a:lnTo>
                    <a:pt x="15217" y="16045"/>
                  </a:lnTo>
                  <a:lnTo>
                    <a:pt x="15257" y="16037"/>
                  </a:lnTo>
                  <a:lnTo>
                    <a:pt x="15296" y="16029"/>
                  </a:lnTo>
                  <a:lnTo>
                    <a:pt x="15334" y="16018"/>
                  </a:lnTo>
                  <a:lnTo>
                    <a:pt x="15373" y="16006"/>
                  </a:lnTo>
                  <a:lnTo>
                    <a:pt x="15411" y="15993"/>
                  </a:lnTo>
                  <a:lnTo>
                    <a:pt x="15447" y="15978"/>
                  </a:lnTo>
                  <a:lnTo>
                    <a:pt x="15483" y="15962"/>
                  </a:lnTo>
                  <a:lnTo>
                    <a:pt x="15519" y="15944"/>
                  </a:lnTo>
                  <a:lnTo>
                    <a:pt x="15553" y="15926"/>
                  </a:lnTo>
                  <a:lnTo>
                    <a:pt x="15587" y="15904"/>
                  </a:lnTo>
                  <a:lnTo>
                    <a:pt x="15620" y="15883"/>
                  </a:lnTo>
                  <a:lnTo>
                    <a:pt x="15653" y="15860"/>
                  </a:lnTo>
                  <a:lnTo>
                    <a:pt x="15684" y="15836"/>
                  </a:lnTo>
                  <a:lnTo>
                    <a:pt x="15714" y="15811"/>
                  </a:lnTo>
                  <a:lnTo>
                    <a:pt x="15743" y="15784"/>
                  </a:lnTo>
                  <a:lnTo>
                    <a:pt x="15771" y="15757"/>
                  </a:lnTo>
                  <a:lnTo>
                    <a:pt x="15798" y="15728"/>
                  </a:lnTo>
                  <a:lnTo>
                    <a:pt x="15824" y="15698"/>
                  </a:lnTo>
                  <a:lnTo>
                    <a:pt x="15849" y="15667"/>
                  </a:lnTo>
                  <a:lnTo>
                    <a:pt x="15872" y="15635"/>
                  </a:lnTo>
                  <a:lnTo>
                    <a:pt x="15895" y="15602"/>
                  </a:lnTo>
                  <a:lnTo>
                    <a:pt x="15916" y="15568"/>
                  </a:lnTo>
                  <a:lnTo>
                    <a:pt x="15937" y="15533"/>
                  </a:lnTo>
                  <a:lnTo>
                    <a:pt x="15955" y="15497"/>
                  </a:lnTo>
                  <a:lnTo>
                    <a:pt x="15972" y="15461"/>
                  </a:lnTo>
                  <a:lnTo>
                    <a:pt x="15988" y="15423"/>
                  </a:lnTo>
                  <a:lnTo>
                    <a:pt x="16002" y="15385"/>
                  </a:lnTo>
                  <a:lnTo>
                    <a:pt x="16015" y="15345"/>
                  </a:lnTo>
                  <a:lnTo>
                    <a:pt x="16026" y="15305"/>
                  </a:lnTo>
                  <a:lnTo>
                    <a:pt x="16035" y="15265"/>
                  </a:lnTo>
                  <a:lnTo>
                    <a:pt x="16043" y="15225"/>
                  </a:lnTo>
                  <a:lnTo>
                    <a:pt x="16049" y="15185"/>
                  </a:lnTo>
                  <a:lnTo>
                    <a:pt x="16054" y="15145"/>
                  </a:lnTo>
                  <a:lnTo>
                    <a:pt x="16057" y="15106"/>
                  </a:lnTo>
                  <a:lnTo>
                    <a:pt x="16058" y="15065"/>
                  </a:lnTo>
                  <a:lnTo>
                    <a:pt x="16057" y="15025"/>
                  </a:lnTo>
                  <a:lnTo>
                    <a:pt x="16056" y="14985"/>
                  </a:lnTo>
                  <a:lnTo>
                    <a:pt x="16052" y="14946"/>
                  </a:lnTo>
                  <a:lnTo>
                    <a:pt x="16047" y="14907"/>
                  </a:lnTo>
                  <a:lnTo>
                    <a:pt x="16040" y="14868"/>
                  </a:lnTo>
                  <a:lnTo>
                    <a:pt x="16032" y="14828"/>
                  </a:lnTo>
                  <a:lnTo>
                    <a:pt x="16023" y="14790"/>
                  </a:lnTo>
                  <a:lnTo>
                    <a:pt x="16012" y="14753"/>
                  </a:lnTo>
                  <a:lnTo>
                    <a:pt x="15999" y="14715"/>
                  </a:lnTo>
                  <a:lnTo>
                    <a:pt x="15985" y="14679"/>
                  </a:lnTo>
                  <a:lnTo>
                    <a:pt x="15970" y="14643"/>
                  </a:lnTo>
                  <a:lnTo>
                    <a:pt x="15953" y="14607"/>
                  </a:lnTo>
                  <a:lnTo>
                    <a:pt x="15935" y="14572"/>
                  </a:lnTo>
                  <a:lnTo>
                    <a:pt x="15914" y="14537"/>
                  </a:lnTo>
                  <a:lnTo>
                    <a:pt x="15893" y="14504"/>
                  </a:lnTo>
                  <a:lnTo>
                    <a:pt x="15871" y="14471"/>
                  </a:lnTo>
                  <a:lnTo>
                    <a:pt x="15847" y="14439"/>
                  </a:lnTo>
                  <a:lnTo>
                    <a:pt x="15822" y="14408"/>
                  </a:lnTo>
                  <a:lnTo>
                    <a:pt x="15796" y="14378"/>
                  </a:lnTo>
                  <a:lnTo>
                    <a:pt x="15768" y="14349"/>
                  </a:lnTo>
                  <a:lnTo>
                    <a:pt x="15739" y="14321"/>
                  </a:lnTo>
                  <a:lnTo>
                    <a:pt x="15709" y="14294"/>
                  </a:lnTo>
                  <a:lnTo>
                    <a:pt x="15678" y="14267"/>
                  </a:lnTo>
                  <a:lnTo>
                    <a:pt x="15645" y="14243"/>
                  </a:lnTo>
                  <a:lnTo>
                    <a:pt x="15610" y="142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7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3" name="ísḷïḋè">
              <a:extLst>
                <a:ext uri="{FF2B5EF4-FFF2-40B4-BE49-F238E27FC236}">
                  <a16:creationId xmlns:a16="http://schemas.microsoft.com/office/drawing/2014/main" id="{2BAFCAB9-40F6-498A-9DDC-8B7383EC11AD}"/>
                </a:ext>
              </a:extLst>
            </p:cNvPr>
            <p:cNvSpPr/>
            <p:nvPr/>
          </p:nvSpPr>
          <p:spPr bwMode="auto">
            <a:xfrm>
              <a:off x="1275039" y="21043"/>
              <a:ext cx="537200" cy="611928"/>
            </a:xfrm>
            <a:custGeom>
              <a:avLst/>
              <a:gdLst>
                <a:gd name="T0" fmla="*/ 1013 w 14097"/>
                <a:gd name="T1" fmla="*/ 3436 h 16058"/>
                <a:gd name="T2" fmla="*/ 1079 w 14097"/>
                <a:gd name="T3" fmla="*/ 3253 h 16058"/>
                <a:gd name="T4" fmla="*/ 1209 w 14097"/>
                <a:gd name="T5" fmla="*/ 3111 h 16058"/>
                <a:gd name="T6" fmla="*/ 1385 w 14097"/>
                <a:gd name="T7" fmla="*/ 3027 h 16058"/>
                <a:gd name="T8" fmla="*/ 12638 w 14097"/>
                <a:gd name="T9" fmla="*/ 3014 h 16058"/>
                <a:gd name="T10" fmla="*/ 12827 w 14097"/>
                <a:gd name="T11" fmla="*/ 3072 h 16058"/>
                <a:gd name="T12" fmla="*/ 12975 w 14097"/>
                <a:gd name="T13" fmla="*/ 3194 h 16058"/>
                <a:gd name="T14" fmla="*/ 13068 w 14097"/>
                <a:gd name="T15" fmla="*/ 3364 h 16058"/>
                <a:gd name="T16" fmla="*/ 12083 w 14097"/>
                <a:gd name="T17" fmla="*/ 14051 h 16058"/>
                <a:gd name="T18" fmla="*/ 12004 w 14097"/>
                <a:gd name="T19" fmla="*/ 14441 h 16058"/>
                <a:gd name="T20" fmla="*/ 11788 w 14097"/>
                <a:gd name="T21" fmla="*/ 14760 h 16058"/>
                <a:gd name="T22" fmla="*/ 11468 w 14097"/>
                <a:gd name="T23" fmla="*/ 14975 h 16058"/>
                <a:gd name="T24" fmla="*/ 11076 w 14097"/>
                <a:gd name="T25" fmla="*/ 15054 h 16058"/>
                <a:gd name="T26" fmla="*/ 2675 w 14097"/>
                <a:gd name="T27" fmla="*/ 14993 h 16058"/>
                <a:gd name="T28" fmla="*/ 2344 w 14097"/>
                <a:gd name="T29" fmla="*/ 14793 h 16058"/>
                <a:gd name="T30" fmla="*/ 2114 w 14097"/>
                <a:gd name="T31" fmla="*/ 14485 h 16058"/>
                <a:gd name="T32" fmla="*/ 2015 w 14097"/>
                <a:gd name="T33" fmla="*/ 14102 h 16058"/>
                <a:gd name="T34" fmla="*/ 4034 w 14097"/>
                <a:gd name="T35" fmla="*/ 1429 h 16058"/>
                <a:gd name="T36" fmla="*/ 4100 w 14097"/>
                <a:gd name="T37" fmla="*/ 1245 h 16058"/>
                <a:gd name="T38" fmla="*/ 4230 w 14097"/>
                <a:gd name="T39" fmla="*/ 1104 h 16058"/>
                <a:gd name="T40" fmla="*/ 4405 w 14097"/>
                <a:gd name="T41" fmla="*/ 1020 h 16058"/>
                <a:gd name="T42" fmla="*/ 9617 w 14097"/>
                <a:gd name="T43" fmla="*/ 1007 h 16058"/>
                <a:gd name="T44" fmla="*/ 9806 w 14097"/>
                <a:gd name="T45" fmla="*/ 1065 h 16058"/>
                <a:gd name="T46" fmla="*/ 9954 w 14097"/>
                <a:gd name="T47" fmla="*/ 1186 h 16058"/>
                <a:gd name="T48" fmla="*/ 10047 w 14097"/>
                <a:gd name="T49" fmla="*/ 1357 h 16058"/>
                <a:gd name="T50" fmla="*/ 4028 w 14097"/>
                <a:gd name="T51" fmla="*/ 2007 h 16058"/>
                <a:gd name="T52" fmla="*/ 13999 w 14097"/>
                <a:gd name="T53" fmla="*/ 2998 h 16058"/>
                <a:gd name="T54" fmla="*/ 13716 w 14097"/>
                <a:gd name="T55" fmla="*/ 2519 h 16058"/>
                <a:gd name="T56" fmla="*/ 13281 w 14097"/>
                <a:gd name="T57" fmla="*/ 2177 h 16058"/>
                <a:gd name="T58" fmla="*/ 12736 w 14097"/>
                <a:gd name="T59" fmla="*/ 2015 h 16058"/>
                <a:gd name="T60" fmla="*/ 11059 w 14097"/>
                <a:gd name="T61" fmla="*/ 1277 h 16058"/>
                <a:gd name="T62" fmla="*/ 10858 w 14097"/>
                <a:gd name="T63" fmla="*/ 725 h 16058"/>
                <a:gd name="T64" fmla="*/ 10470 w 14097"/>
                <a:gd name="T65" fmla="*/ 299 h 16058"/>
                <a:gd name="T66" fmla="*/ 9943 w 14097"/>
                <a:gd name="T67" fmla="*/ 47 h 16058"/>
                <a:gd name="T68" fmla="*/ 4377 w 14097"/>
                <a:gd name="T69" fmla="*/ 8 h 16058"/>
                <a:gd name="T70" fmla="*/ 3811 w 14097"/>
                <a:gd name="T71" fmla="*/ 182 h 16058"/>
                <a:gd name="T72" fmla="*/ 3366 w 14097"/>
                <a:gd name="T73" fmla="*/ 548 h 16058"/>
                <a:gd name="T74" fmla="*/ 3088 w 14097"/>
                <a:gd name="T75" fmla="*/ 1058 h 16058"/>
                <a:gd name="T76" fmla="*/ 3021 w 14097"/>
                <a:gd name="T77" fmla="*/ 2007 h 16058"/>
                <a:gd name="T78" fmla="*/ 1010 w 14097"/>
                <a:gd name="T79" fmla="*/ 2093 h 16058"/>
                <a:gd name="T80" fmla="*/ 529 w 14097"/>
                <a:gd name="T81" fmla="*/ 2373 h 16058"/>
                <a:gd name="T82" fmla="*/ 183 w 14097"/>
                <a:gd name="T83" fmla="*/ 2805 h 16058"/>
                <a:gd name="T84" fmla="*/ 16 w 14097"/>
                <a:gd name="T85" fmla="*/ 3347 h 16058"/>
                <a:gd name="T86" fmla="*/ 20 w 14097"/>
                <a:gd name="T87" fmla="*/ 4719 h 16058"/>
                <a:gd name="T88" fmla="*/ 172 w 14097"/>
                <a:gd name="T89" fmla="*/ 5077 h 16058"/>
                <a:gd name="T90" fmla="*/ 444 w 14097"/>
                <a:gd name="T91" fmla="*/ 5348 h 16058"/>
                <a:gd name="T92" fmla="*/ 805 w 14097"/>
                <a:gd name="T93" fmla="*/ 5500 h 16058"/>
                <a:gd name="T94" fmla="*/ 1030 w 14097"/>
                <a:gd name="T95" fmla="*/ 14357 h 16058"/>
                <a:gd name="T96" fmla="*/ 1299 w 14097"/>
                <a:gd name="T97" fmla="*/ 15092 h 16058"/>
                <a:gd name="T98" fmla="*/ 1815 w 14097"/>
                <a:gd name="T99" fmla="*/ 15660 h 16058"/>
                <a:gd name="T100" fmla="*/ 2517 w 14097"/>
                <a:gd name="T101" fmla="*/ 15995 h 16058"/>
                <a:gd name="T102" fmla="*/ 11283 w 14097"/>
                <a:gd name="T103" fmla="*/ 16048 h 16058"/>
                <a:gd name="T104" fmla="*/ 12036 w 14097"/>
                <a:gd name="T105" fmla="*/ 15816 h 16058"/>
                <a:gd name="T106" fmla="*/ 12630 w 14097"/>
                <a:gd name="T107" fmla="*/ 15327 h 16058"/>
                <a:gd name="T108" fmla="*/ 12999 w 14097"/>
                <a:gd name="T109" fmla="*/ 14648 h 16058"/>
                <a:gd name="T110" fmla="*/ 13141 w 14097"/>
                <a:gd name="T111" fmla="*/ 5519 h 16058"/>
                <a:gd name="T112" fmla="*/ 13526 w 14097"/>
                <a:gd name="T113" fmla="*/ 5421 h 16058"/>
                <a:gd name="T114" fmla="*/ 13835 w 14097"/>
                <a:gd name="T115" fmla="*/ 5191 h 16058"/>
                <a:gd name="T116" fmla="*/ 14036 w 14097"/>
                <a:gd name="T117" fmla="*/ 4862 h 16058"/>
                <a:gd name="T118" fmla="*/ 14097 w 14097"/>
                <a:gd name="T119" fmla="*/ 4015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4097" h="16058">
                  <a:moveTo>
                    <a:pt x="13090" y="4015"/>
                  </a:moveTo>
                  <a:lnTo>
                    <a:pt x="13090" y="4516"/>
                  </a:lnTo>
                  <a:lnTo>
                    <a:pt x="1007" y="4516"/>
                  </a:lnTo>
                  <a:lnTo>
                    <a:pt x="1007" y="4015"/>
                  </a:lnTo>
                  <a:lnTo>
                    <a:pt x="1007" y="3514"/>
                  </a:lnTo>
                  <a:lnTo>
                    <a:pt x="1008" y="3488"/>
                  </a:lnTo>
                  <a:lnTo>
                    <a:pt x="1010" y="3462"/>
                  </a:lnTo>
                  <a:lnTo>
                    <a:pt x="1013" y="3436"/>
                  </a:lnTo>
                  <a:lnTo>
                    <a:pt x="1017" y="3412"/>
                  </a:lnTo>
                  <a:lnTo>
                    <a:pt x="1023" y="3387"/>
                  </a:lnTo>
                  <a:lnTo>
                    <a:pt x="1029" y="3364"/>
                  </a:lnTo>
                  <a:lnTo>
                    <a:pt x="1037" y="3340"/>
                  </a:lnTo>
                  <a:lnTo>
                    <a:pt x="1046" y="3318"/>
                  </a:lnTo>
                  <a:lnTo>
                    <a:pt x="1056" y="3296"/>
                  </a:lnTo>
                  <a:lnTo>
                    <a:pt x="1067" y="3274"/>
                  </a:lnTo>
                  <a:lnTo>
                    <a:pt x="1079" y="3253"/>
                  </a:lnTo>
                  <a:lnTo>
                    <a:pt x="1093" y="3233"/>
                  </a:lnTo>
                  <a:lnTo>
                    <a:pt x="1107" y="3213"/>
                  </a:lnTo>
                  <a:lnTo>
                    <a:pt x="1122" y="3194"/>
                  </a:lnTo>
                  <a:lnTo>
                    <a:pt x="1138" y="3175"/>
                  </a:lnTo>
                  <a:lnTo>
                    <a:pt x="1154" y="3158"/>
                  </a:lnTo>
                  <a:lnTo>
                    <a:pt x="1172" y="3141"/>
                  </a:lnTo>
                  <a:lnTo>
                    <a:pt x="1190" y="3126"/>
                  </a:lnTo>
                  <a:lnTo>
                    <a:pt x="1209" y="3111"/>
                  </a:lnTo>
                  <a:lnTo>
                    <a:pt x="1228" y="3097"/>
                  </a:lnTo>
                  <a:lnTo>
                    <a:pt x="1250" y="3084"/>
                  </a:lnTo>
                  <a:lnTo>
                    <a:pt x="1271" y="3072"/>
                  </a:lnTo>
                  <a:lnTo>
                    <a:pt x="1292" y="3061"/>
                  </a:lnTo>
                  <a:lnTo>
                    <a:pt x="1314" y="3051"/>
                  </a:lnTo>
                  <a:lnTo>
                    <a:pt x="1337" y="3042"/>
                  </a:lnTo>
                  <a:lnTo>
                    <a:pt x="1360" y="3034"/>
                  </a:lnTo>
                  <a:lnTo>
                    <a:pt x="1385" y="3027"/>
                  </a:lnTo>
                  <a:lnTo>
                    <a:pt x="1409" y="3022"/>
                  </a:lnTo>
                  <a:lnTo>
                    <a:pt x="1434" y="3017"/>
                  </a:lnTo>
                  <a:lnTo>
                    <a:pt x="1459" y="3014"/>
                  </a:lnTo>
                  <a:lnTo>
                    <a:pt x="1484" y="3012"/>
                  </a:lnTo>
                  <a:lnTo>
                    <a:pt x="1510" y="3012"/>
                  </a:lnTo>
                  <a:lnTo>
                    <a:pt x="12587" y="3012"/>
                  </a:lnTo>
                  <a:lnTo>
                    <a:pt x="12613" y="3012"/>
                  </a:lnTo>
                  <a:lnTo>
                    <a:pt x="12638" y="3014"/>
                  </a:lnTo>
                  <a:lnTo>
                    <a:pt x="12663" y="3017"/>
                  </a:lnTo>
                  <a:lnTo>
                    <a:pt x="12688" y="3022"/>
                  </a:lnTo>
                  <a:lnTo>
                    <a:pt x="12712" y="3027"/>
                  </a:lnTo>
                  <a:lnTo>
                    <a:pt x="12737" y="3034"/>
                  </a:lnTo>
                  <a:lnTo>
                    <a:pt x="12760" y="3042"/>
                  </a:lnTo>
                  <a:lnTo>
                    <a:pt x="12783" y="3051"/>
                  </a:lnTo>
                  <a:lnTo>
                    <a:pt x="12805" y="3061"/>
                  </a:lnTo>
                  <a:lnTo>
                    <a:pt x="12827" y="3072"/>
                  </a:lnTo>
                  <a:lnTo>
                    <a:pt x="12847" y="3084"/>
                  </a:lnTo>
                  <a:lnTo>
                    <a:pt x="12869" y="3097"/>
                  </a:lnTo>
                  <a:lnTo>
                    <a:pt x="12888" y="3111"/>
                  </a:lnTo>
                  <a:lnTo>
                    <a:pt x="12907" y="3126"/>
                  </a:lnTo>
                  <a:lnTo>
                    <a:pt x="12925" y="3141"/>
                  </a:lnTo>
                  <a:lnTo>
                    <a:pt x="12943" y="3158"/>
                  </a:lnTo>
                  <a:lnTo>
                    <a:pt x="12959" y="3175"/>
                  </a:lnTo>
                  <a:lnTo>
                    <a:pt x="12975" y="3194"/>
                  </a:lnTo>
                  <a:lnTo>
                    <a:pt x="12990" y="3213"/>
                  </a:lnTo>
                  <a:lnTo>
                    <a:pt x="13004" y="3233"/>
                  </a:lnTo>
                  <a:lnTo>
                    <a:pt x="13018" y="3253"/>
                  </a:lnTo>
                  <a:lnTo>
                    <a:pt x="13030" y="3274"/>
                  </a:lnTo>
                  <a:lnTo>
                    <a:pt x="13041" y="3296"/>
                  </a:lnTo>
                  <a:lnTo>
                    <a:pt x="13051" y="3318"/>
                  </a:lnTo>
                  <a:lnTo>
                    <a:pt x="13060" y="3340"/>
                  </a:lnTo>
                  <a:lnTo>
                    <a:pt x="13068" y="3364"/>
                  </a:lnTo>
                  <a:lnTo>
                    <a:pt x="13074" y="3387"/>
                  </a:lnTo>
                  <a:lnTo>
                    <a:pt x="13080" y="3412"/>
                  </a:lnTo>
                  <a:lnTo>
                    <a:pt x="13084" y="3436"/>
                  </a:lnTo>
                  <a:lnTo>
                    <a:pt x="13087" y="3462"/>
                  </a:lnTo>
                  <a:lnTo>
                    <a:pt x="13089" y="3488"/>
                  </a:lnTo>
                  <a:lnTo>
                    <a:pt x="13090" y="3514"/>
                  </a:lnTo>
                  <a:lnTo>
                    <a:pt x="13090" y="4015"/>
                  </a:lnTo>
                  <a:close/>
                  <a:moveTo>
                    <a:pt x="12083" y="14051"/>
                  </a:moveTo>
                  <a:lnTo>
                    <a:pt x="12082" y="14102"/>
                  </a:lnTo>
                  <a:lnTo>
                    <a:pt x="12078" y="14153"/>
                  </a:lnTo>
                  <a:lnTo>
                    <a:pt x="12071" y="14203"/>
                  </a:lnTo>
                  <a:lnTo>
                    <a:pt x="12063" y="14252"/>
                  </a:lnTo>
                  <a:lnTo>
                    <a:pt x="12051" y="14302"/>
                  </a:lnTo>
                  <a:lnTo>
                    <a:pt x="12038" y="14349"/>
                  </a:lnTo>
                  <a:lnTo>
                    <a:pt x="12022" y="14396"/>
                  </a:lnTo>
                  <a:lnTo>
                    <a:pt x="12004" y="14441"/>
                  </a:lnTo>
                  <a:lnTo>
                    <a:pt x="11983" y="14485"/>
                  </a:lnTo>
                  <a:lnTo>
                    <a:pt x="11961" y="14528"/>
                  </a:lnTo>
                  <a:lnTo>
                    <a:pt x="11937" y="14571"/>
                  </a:lnTo>
                  <a:lnTo>
                    <a:pt x="11911" y="14612"/>
                  </a:lnTo>
                  <a:lnTo>
                    <a:pt x="11883" y="14651"/>
                  </a:lnTo>
                  <a:lnTo>
                    <a:pt x="11853" y="14689"/>
                  </a:lnTo>
                  <a:lnTo>
                    <a:pt x="11821" y="14725"/>
                  </a:lnTo>
                  <a:lnTo>
                    <a:pt x="11788" y="14760"/>
                  </a:lnTo>
                  <a:lnTo>
                    <a:pt x="11753" y="14793"/>
                  </a:lnTo>
                  <a:lnTo>
                    <a:pt x="11717" y="14825"/>
                  </a:lnTo>
                  <a:lnTo>
                    <a:pt x="11678" y="14855"/>
                  </a:lnTo>
                  <a:lnTo>
                    <a:pt x="11639" y="14883"/>
                  </a:lnTo>
                  <a:lnTo>
                    <a:pt x="11598" y="14909"/>
                  </a:lnTo>
                  <a:lnTo>
                    <a:pt x="11556" y="14933"/>
                  </a:lnTo>
                  <a:lnTo>
                    <a:pt x="11512" y="14955"/>
                  </a:lnTo>
                  <a:lnTo>
                    <a:pt x="11468" y="14975"/>
                  </a:lnTo>
                  <a:lnTo>
                    <a:pt x="11423" y="14993"/>
                  </a:lnTo>
                  <a:lnTo>
                    <a:pt x="11375" y="15009"/>
                  </a:lnTo>
                  <a:lnTo>
                    <a:pt x="11328" y="15022"/>
                  </a:lnTo>
                  <a:lnTo>
                    <a:pt x="11279" y="15034"/>
                  </a:lnTo>
                  <a:lnTo>
                    <a:pt x="11229" y="15042"/>
                  </a:lnTo>
                  <a:lnTo>
                    <a:pt x="11179" y="15049"/>
                  </a:lnTo>
                  <a:lnTo>
                    <a:pt x="11128" y="15053"/>
                  </a:lnTo>
                  <a:lnTo>
                    <a:pt x="11076" y="15054"/>
                  </a:lnTo>
                  <a:lnTo>
                    <a:pt x="3021" y="15054"/>
                  </a:lnTo>
                  <a:lnTo>
                    <a:pt x="2969" y="15053"/>
                  </a:lnTo>
                  <a:lnTo>
                    <a:pt x="2918" y="15049"/>
                  </a:lnTo>
                  <a:lnTo>
                    <a:pt x="2868" y="15042"/>
                  </a:lnTo>
                  <a:lnTo>
                    <a:pt x="2818" y="15034"/>
                  </a:lnTo>
                  <a:lnTo>
                    <a:pt x="2769" y="15022"/>
                  </a:lnTo>
                  <a:lnTo>
                    <a:pt x="2722" y="15009"/>
                  </a:lnTo>
                  <a:lnTo>
                    <a:pt x="2675" y="14993"/>
                  </a:lnTo>
                  <a:lnTo>
                    <a:pt x="2629" y="14975"/>
                  </a:lnTo>
                  <a:lnTo>
                    <a:pt x="2585" y="14955"/>
                  </a:lnTo>
                  <a:lnTo>
                    <a:pt x="2541" y="14933"/>
                  </a:lnTo>
                  <a:lnTo>
                    <a:pt x="2499" y="14909"/>
                  </a:lnTo>
                  <a:lnTo>
                    <a:pt x="2458" y="14883"/>
                  </a:lnTo>
                  <a:lnTo>
                    <a:pt x="2419" y="14855"/>
                  </a:lnTo>
                  <a:lnTo>
                    <a:pt x="2380" y="14825"/>
                  </a:lnTo>
                  <a:lnTo>
                    <a:pt x="2344" y="14793"/>
                  </a:lnTo>
                  <a:lnTo>
                    <a:pt x="2309" y="14760"/>
                  </a:lnTo>
                  <a:lnTo>
                    <a:pt x="2276" y="14725"/>
                  </a:lnTo>
                  <a:lnTo>
                    <a:pt x="2244" y="14689"/>
                  </a:lnTo>
                  <a:lnTo>
                    <a:pt x="2214" y="14651"/>
                  </a:lnTo>
                  <a:lnTo>
                    <a:pt x="2186" y="14612"/>
                  </a:lnTo>
                  <a:lnTo>
                    <a:pt x="2160" y="14571"/>
                  </a:lnTo>
                  <a:lnTo>
                    <a:pt x="2136" y="14528"/>
                  </a:lnTo>
                  <a:lnTo>
                    <a:pt x="2114" y="14485"/>
                  </a:lnTo>
                  <a:lnTo>
                    <a:pt x="2093" y="14441"/>
                  </a:lnTo>
                  <a:lnTo>
                    <a:pt x="2075" y="14396"/>
                  </a:lnTo>
                  <a:lnTo>
                    <a:pt x="2059" y="14349"/>
                  </a:lnTo>
                  <a:lnTo>
                    <a:pt x="2046" y="14302"/>
                  </a:lnTo>
                  <a:lnTo>
                    <a:pt x="2034" y="14252"/>
                  </a:lnTo>
                  <a:lnTo>
                    <a:pt x="2026" y="14203"/>
                  </a:lnTo>
                  <a:lnTo>
                    <a:pt x="2019" y="14153"/>
                  </a:lnTo>
                  <a:lnTo>
                    <a:pt x="2015" y="14102"/>
                  </a:lnTo>
                  <a:lnTo>
                    <a:pt x="2014" y="14051"/>
                  </a:lnTo>
                  <a:lnTo>
                    <a:pt x="2014" y="5520"/>
                  </a:lnTo>
                  <a:lnTo>
                    <a:pt x="12083" y="5520"/>
                  </a:lnTo>
                  <a:lnTo>
                    <a:pt x="12083" y="14051"/>
                  </a:lnTo>
                  <a:close/>
                  <a:moveTo>
                    <a:pt x="4028" y="1506"/>
                  </a:moveTo>
                  <a:lnTo>
                    <a:pt x="4029" y="1480"/>
                  </a:lnTo>
                  <a:lnTo>
                    <a:pt x="4031" y="1454"/>
                  </a:lnTo>
                  <a:lnTo>
                    <a:pt x="4034" y="1429"/>
                  </a:lnTo>
                  <a:lnTo>
                    <a:pt x="4038" y="1405"/>
                  </a:lnTo>
                  <a:lnTo>
                    <a:pt x="4044" y="1380"/>
                  </a:lnTo>
                  <a:lnTo>
                    <a:pt x="4050" y="1357"/>
                  </a:lnTo>
                  <a:lnTo>
                    <a:pt x="4058" y="1334"/>
                  </a:lnTo>
                  <a:lnTo>
                    <a:pt x="4067" y="1311"/>
                  </a:lnTo>
                  <a:lnTo>
                    <a:pt x="4077" y="1289"/>
                  </a:lnTo>
                  <a:lnTo>
                    <a:pt x="4088" y="1267"/>
                  </a:lnTo>
                  <a:lnTo>
                    <a:pt x="4100" y="1245"/>
                  </a:lnTo>
                  <a:lnTo>
                    <a:pt x="4113" y="1225"/>
                  </a:lnTo>
                  <a:lnTo>
                    <a:pt x="4127" y="1205"/>
                  </a:lnTo>
                  <a:lnTo>
                    <a:pt x="4143" y="1186"/>
                  </a:lnTo>
                  <a:lnTo>
                    <a:pt x="4159" y="1168"/>
                  </a:lnTo>
                  <a:lnTo>
                    <a:pt x="4175" y="1151"/>
                  </a:lnTo>
                  <a:lnTo>
                    <a:pt x="4193" y="1134"/>
                  </a:lnTo>
                  <a:lnTo>
                    <a:pt x="4211" y="1119"/>
                  </a:lnTo>
                  <a:lnTo>
                    <a:pt x="4230" y="1104"/>
                  </a:lnTo>
                  <a:lnTo>
                    <a:pt x="4249" y="1090"/>
                  </a:lnTo>
                  <a:lnTo>
                    <a:pt x="4270" y="1077"/>
                  </a:lnTo>
                  <a:lnTo>
                    <a:pt x="4292" y="1065"/>
                  </a:lnTo>
                  <a:lnTo>
                    <a:pt x="4313" y="1054"/>
                  </a:lnTo>
                  <a:lnTo>
                    <a:pt x="4335" y="1044"/>
                  </a:lnTo>
                  <a:lnTo>
                    <a:pt x="4358" y="1035"/>
                  </a:lnTo>
                  <a:lnTo>
                    <a:pt x="4381" y="1027"/>
                  </a:lnTo>
                  <a:lnTo>
                    <a:pt x="4405" y="1020"/>
                  </a:lnTo>
                  <a:lnTo>
                    <a:pt x="4429" y="1015"/>
                  </a:lnTo>
                  <a:lnTo>
                    <a:pt x="4455" y="1010"/>
                  </a:lnTo>
                  <a:lnTo>
                    <a:pt x="4480" y="1007"/>
                  </a:lnTo>
                  <a:lnTo>
                    <a:pt x="4505" y="1005"/>
                  </a:lnTo>
                  <a:lnTo>
                    <a:pt x="4531" y="1005"/>
                  </a:lnTo>
                  <a:lnTo>
                    <a:pt x="9566" y="1005"/>
                  </a:lnTo>
                  <a:lnTo>
                    <a:pt x="9592" y="1005"/>
                  </a:lnTo>
                  <a:lnTo>
                    <a:pt x="9617" y="1007"/>
                  </a:lnTo>
                  <a:lnTo>
                    <a:pt x="9642" y="1010"/>
                  </a:lnTo>
                  <a:lnTo>
                    <a:pt x="9668" y="1015"/>
                  </a:lnTo>
                  <a:lnTo>
                    <a:pt x="9692" y="1020"/>
                  </a:lnTo>
                  <a:lnTo>
                    <a:pt x="9716" y="1027"/>
                  </a:lnTo>
                  <a:lnTo>
                    <a:pt x="9739" y="1035"/>
                  </a:lnTo>
                  <a:lnTo>
                    <a:pt x="9762" y="1044"/>
                  </a:lnTo>
                  <a:lnTo>
                    <a:pt x="9784" y="1054"/>
                  </a:lnTo>
                  <a:lnTo>
                    <a:pt x="9806" y="1065"/>
                  </a:lnTo>
                  <a:lnTo>
                    <a:pt x="9827" y="1077"/>
                  </a:lnTo>
                  <a:lnTo>
                    <a:pt x="9848" y="1090"/>
                  </a:lnTo>
                  <a:lnTo>
                    <a:pt x="9867" y="1104"/>
                  </a:lnTo>
                  <a:lnTo>
                    <a:pt x="9886" y="1119"/>
                  </a:lnTo>
                  <a:lnTo>
                    <a:pt x="9904" y="1134"/>
                  </a:lnTo>
                  <a:lnTo>
                    <a:pt x="9922" y="1151"/>
                  </a:lnTo>
                  <a:lnTo>
                    <a:pt x="9938" y="1168"/>
                  </a:lnTo>
                  <a:lnTo>
                    <a:pt x="9954" y="1186"/>
                  </a:lnTo>
                  <a:lnTo>
                    <a:pt x="9970" y="1205"/>
                  </a:lnTo>
                  <a:lnTo>
                    <a:pt x="9984" y="1225"/>
                  </a:lnTo>
                  <a:lnTo>
                    <a:pt x="9997" y="1245"/>
                  </a:lnTo>
                  <a:lnTo>
                    <a:pt x="10009" y="1267"/>
                  </a:lnTo>
                  <a:lnTo>
                    <a:pt x="10020" y="1289"/>
                  </a:lnTo>
                  <a:lnTo>
                    <a:pt x="10030" y="1311"/>
                  </a:lnTo>
                  <a:lnTo>
                    <a:pt x="10039" y="1334"/>
                  </a:lnTo>
                  <a:lnTo>
                    <a:pt x="10047" y="1357"/>
                  </a:lnTo>
                  <a:lnTo>
                    <a:pt x="10053" y="1380"/>
                  </a:lnTo>
                  <a:lnTo>
                    <a:pt x="10059" y="1405"/>
                  </a:lnTo>
                  <a:lnTo>
                    <a:pt x="10063" y="1429"/>
                  </a:lnTo>
                  <a:lnTo>
                    <a:pt x="10066" y="1454"/>
                  </a:lnTo>
                  <a:lnTo>
                    <a:pt x="10068" y="1480"/>
                  </a:lnTo>
                  <a:lnTo>
                    <a:pt x="10069" y="1506"/>
                  </a:lnTo>
                  <a:lnTo>
                    <a:pt x="10069" y="2007"/>
                  </a:lnTo>
                  <a:lnTo>
                    <a:pt x="4028" y="2007"/>
                  </a:lnTo>
                  <a:lnTo>
                    <a:pt x="4028" y="1506"/>
                  </a:lnTo>
                  <a:close/>
                  <a:moveTo>
                    <a:pt x="14087" y="3421"/>
                  </a:moveTo>
                  <a:lnTo>
                    <a:pt x="14081" y="3347"/>
                  </a:lnTo>
                  <a:lnTo>
                    <a:pt x="14072" y="3275"/>
                  </a:lnTo>
                  <a:lnTo>
                    <a:pt x="14059" y="3204"/>
                  </a:lnTo>
                  <a:lnTo>
                    <a:pt x="14042" y="3134"/>
                  </a:lnTo>
                  <a:lnTo>
                    <a:pt x="14022" y="3065"/>
                  </a:lnTo>
                  <a:lnTo>
                    <a:pt x="13999" y="2998"/>
                  </a:lnTo>
                  <a:lnTo>
                    <a:pt x="13974" y="2932"/>
                  </a:lnTo>
                  <a:lnTo>
                    <a:pt x="13946" y="2867"/>
                  </a:lnTo>
                  <a:lnTo>
                    <a:pt x="13914" y="2805"/>
                  </a:lnTo>
                  <a:lnTo>
                    <a:pt x="13880" y="2744"/>
                  </a:lnTo>
                  <a:lnTo>
                    <a:pt x="13842" y="2685"/>
                  </a:lnTo>
                  <a:lnTo>
                    <a:pt x="13803" y="2627"/>
                  </a:lnTo>
                  <a:lnTo>
                    <a:pt x="13761" y="2572"/>
                  </a:lnTo>
                  <a:lnTo>
                    <a:pt x="13716" y="2519"/>
                  </a:lnTo>
                  <a:lnTo>
                    <a:pt x="13669" y="2468"/>
                  </a:lnTo>
                  <a:lnTo>
                    <a:pt x="13620" y="2419"/>
                  </a:lnTo>
                  <a:lnTo>
                    <a:pt x="13568" y="2373"/>
                  </a:lnTo>
                  <a:lnTo>
                    <a:pt x="13515" y="2328"/>
                  </a:lnTo>
                  <a:lnTo>
                    <a:pt x="13460" y="2286"/>
                  </a:lnTo>
                  <a:lnTo>
                    <a:pt x="13401" y="2247"/>
                  </a:lnTo>
                  <a:lnTo>
                    <a:pt x="13342" y="2211"/>
                  </a:lnTo>
                  <a:lnTo>
                    <a:pt x="13281" y="2177"/>
                  </a:lnTo>
                  <a:lnTo>
                    <a:pt x="13218" y="2146"/>
                  </a:lnTo>
                  <a:lnTo>
                    <a:pt x="13154" y="2118"/>
                  </a:lnTo>
                  <a:lnTo>
                    <a:pt x="13087" y="2093"/>
                  </a:lnTo>
                  <a:lnTo>
                    <a:pt x="13020" y="2070"/>
                  </a:lnTo>
                  <a:lnTo>
                    <a:pt x="12950" y="2051"/>
                  </a:lnTo>
                  <a:lnTo>
                    <a:pt x="12880" y="2036"/>
                  </a:lnTo>
                  <a:lnTo>
                    <a:pt x="12808" y="2023"/>
                  </a:lnTo>
                  <a:lnTo>
                    <a:pt x="12736" y="2015"/>
                  </a:lnTo>
                  <a:lnTo>
                    <a:pt x="12661" y="2009"/>
                  </a:lnTo>
                  <a:lnTo>
                    <a:pt x="12587" y="2007"/>
                  </a:lnTo>
                  <a:lnTo>
                    <a:pt x="11076" y="2007"/>
                  </a:lnTo>
                  <a:lnTo>
                    <a:pt x="11076" y="1506"/>
                  </a:lnTo>
                  <a:lnTo>
                    <a:pt x="11076" y="1505"/>
                  </a:lnTo>
                  <a:lnTo>
                    <a:pt x="11074" y="1428"/>
                  </a:lnTo>
                  <a:lnTo>
                    <a:pt x="11068" y="1352"/>
                  </a:lnTo>
                  <a:lnTo>
                    <a:pt x="11059" y="1277"/>
                  </a:lnTo>
                  <a:lnTo>
                    <a:pt x="11046" y="1202"/>
                  </a:lnTo>
                  <a:lnTo>
                    <a:pt x="11029" y="1129"/>
                  </a:lnTo>
                  <a:lnTo>
                    <a:pt x="11009" y="1058"/>
                  </a:lnTo>
                  <a:lnTo>
                    <a:pt x="10985" y="988"/>
                  </a:lnTo>
                  <a:lnTo>
                    <a:pt x="10957" y="919"/>
                  </a:lnTo>
                  <a:lnTo>
                    <a:pt x="10927" y="853"/>
                  </a:lnTo>
                  <a:lnTo>
                    <a:pt x="10894" y="788"/>
                  </a:lnTo>
                  <a:lnTo>
                    <a:pt x="10858" y="725"/>
                  </a:lnTo>
                  <a:lnTo>
                    <a:pt x="10818" y="663"/>
                  </a:lnTo>
                  <a:lnTo>
                    <a:pt x="10776" y="605"/>
                  </a:lnTo>
                  <a:lnTo>
                    <a:pt x="10732" y="548"/>
                  </a:lnTo>
                  <a:lnTo>
                    <a:pt x="10684" y="493"/>
                  </a:lnTo>
                  <a:lnTo>
                    <a:pt x="10634" y="441"/>
                  </a:lnTo>
                  <a:lnTo>
                    <a:pt x="10582" y="391"/>
                  </a:lnTo>
                  <a:lnTo>
                    <a:pt x="10526" y="344"/>
                  </a:lnTo>
                  <a:lnTo>
                    <a:pt x="10470" y="299"/>
                  </a:lnTo>
                  <a:lnTo>
                    <a:pt x="10411" y="257"/>
                  </a:lnTo>
                  <a:lnTo>
                    <a:pt x="10349" y="218"/>
                  </a:lnTo>
                  <a:lnTo>
                    <a:pt x="10286" y="182"/>
                  </a:lnTo>
                  <a:lnTo>
                    <a:pt x="10220" y="149"/>
                  </a:lnTo>
                  <a:lnTo>
                    <a:pt x="10154" y="118"/>
                  </a:lnTo>
                  <a:lnTo>
                    <a:pt x="10085" y="91"/>
                  </a:lnTo>
                  <a:lnTo>
                    <a:pt x="10015" y="67"/>
                  </a:lnTo>
                  <a:lnTo>
                    <a:pt x="9943" y="47"/>
                  </a:lnTo>
                  <a:lnTo>
                    <a:pt x="9870" y="30"/>
                  </a:lnTo>
                  <a:lnTo>
                    <a:pt x="9796" y="17"/>
                  </a:lnTo>
                  <a:lnTo>
                    <a:pt x="9720" y="8"/>
                  </a:lnTo>
                  <a:lnTo>
                    <a:pt x="9643" y="2"/>
                  </a:lnTo>
                  <a:lnTo>
                    <a:pt x="9566" y="0"/>
                  </a:lnTo>
                  <a:lnTo>
                    <a:pt x="4531" y="0"/>
                  </a:lnTo>
                  <a:lnTo>
                    <a:pt x="4454" y="2"/>
                  </a:lnTo>
                  <a:lnTo>
                    <a:pt x="4377" y="8"/>
                  </a:lnTo>
                  <a:lnTo>
                    <a:pt x="4302" y="17"/>
                  </a:lnTo>
                  <a:lnTo>
                    <a:pt x="4227" y="30"/>
                  </a:lnTo>
                  <a:lnTo>
                    <a:pt x="4154" y="47"/>
                  </a:lnTo>
                  <a:lnTo>
                    <a:pt x="4082" y="67"/>
                  </a:lnTo>
                  <a:lnTo>
                    <a:pt x="4012" y="91"/>
                  </a:lnTo>
                  <a:lnTo>
                    <a:pt x="3943" y="118"/>
                  </a:lnTo>
                  <a:lnTo>
                    <a:pt x="3877" y="149"/>
                  </a:lnTo>
                  <a:lnTo>
                    <a:pt x="3811" y="182"/>
                  </a:lnTo>
                  <a:lnTo>
                    <a:pt x="3748" y="218"/>
                  </a:lnTo>
                  <a:lnTo>
                    <a:pt x="3686" y="257"/>
                  </a:lnTo>
                  <a:lnTo>
                    <a:pt x="3628" y="299"/>
                  </a:lnTo>
                  <a:lnTo>
                    <a:pt x="3571" y="344"/>
                  </a:lnTo>
                  <a:lnTo>
                    <a:pt x="3515" y="391"/>
                  </a:lnTo>
                  <a:lnTo>
                    <a:pt x="3463" y="441"/>
                  </a:lnTo>
                  <a:lnTo>
                    <a:pt x="3413" y="493"/>
                  </a:lnTo>
                  <a:lnTo>
                    <a:pt x="3366" y="548"/>
                  </a:lnTo>
                  <a:lnTo>
                    <a:pt x="3321" y="605"/>
                  </a:lnTo>
                  <a:lnTo>
                    <a:pt x="3279" y="663"/>
                  </a:lnTo>
                  <a:lnTo>
                    <a:pt x="3239" y="725"/>
                  </a:lnTo>
                  <a:lnTo>
                    <a:pt x="3203" y="788"/>
                  </a:lnTo>
                  <a:lnTo>
                    <a:pt x="3170" y="853"/>
                  </a:lnTo>
                  <a:lnTo>
                    <a:pt x="3140" y="919"/>
                  </a:lnTo>
                  <a:lnTo>
                    <a:pt x="3112" y="988"/>
                  </a:lnTo>
                  <a:lnTo>
                    <a:pt x="3088" y="1058"/>
                  </a:lnTo>
                  <a:lnTo>
                    <a:pt x="3068" y="1129"/>
                  </a:lnTo>
                  <a:lnTo>
                    <a:pt x="3051" y="1202"/>
                  </a:lnTo>
                  <a:lnTo>
                    <a:pt x="3038" y="1277"/>
                  </a:lnTo>
                  <a:lnTo>
                    <a:pt x="3029" y="1352"/>
                  </a:lnTo>
                  <a:lnTo>
                    <a:pt x="3023" y="1428"/>
                  </a:lnTo>
                  <a:lnTo>
                    <a:pt x="3021" y="1505"/>
                  </a:lnTo>
                  <a:lnTo>
                    <a:pt x="3021" y="1506"/>
                  </a:lnTo>
                  <a:lnTo>
                    <a:pt x="3021" y="2007"/>
                  </a:lnTo>
                  <a:lnTo>
                    <a:pt x="1510" y="2007"/>
                  </a:lnTo>
                  <a:lnTo>
                    <a:pt x="1436" y="2009"/>
                  </a:lnTo>
                  <a:lnTo>
                    <a:pt x="1361" y="2015"/>
                  </a:lnTo>
                  <a:lnTo>
                    <a:pt x="1289" y="2023"/>
                  </a:lnTo>
                  <a:lnTo>
                    <a:pt x="1217" y="2036"/>
                  </a:lnTo>
                  <a:lnTo>
                    <a:pt x="1147" y="2051"/>
                  </a:lnTo>
                  <a:lnTo>
                    <a:pt x="1077" y="2070"/>
                  </a:lnTo>
                  <a:lnTo>
                    <a:pt x="1010" y="2093"/>
                  </a:lnTo>
                  <a:lnTo>
                    <a:pt x="943" y="2118"/>
                  </a:lnTo>
                  <a:lnTo>
                    <a:pt x="879" y="2146"/>
                  </a:lnTo>
                  <a:lnTo>
                    <a:pt x="817" y="2177"/>
                  </a:lnTo>
                  <a:lnTo>
                    <a:pt x="755" y="2211"/>
                  </a:lnTo>
                  <a:lnTo>
                    <a:pt x="696" y="2247"/>
                  </a:lnTo>
                  <a:lnTo>
                    <a:pt x="637" y="2286"/>
                  </a:lnTo>
                  <a:lnTo>
                    <a:pt x="582" y="2328"/>
                  </a:lnTo>
                  <a:lnTo>
                    <a:pt x="529" y="2373"/>
                  </a:lnTo>
                  <a:lnTo>
                    <a:pt x="477" y="2419"/>
                  </a:lnTo>
                  <a:lnTo>
                    <a:pt x="428" y="2468"/>
                  </a:lnTo>
                  <a:lnTo>
                    <a:pt x="381" y="2519"/>
                  </a:lnTo>
                  <a:lnTo>
                    <a:pt x="336" y="2572"/>
                  </a:lnTo>
                  <a:lnTo>
                    <a:pt x="294" y="2627"/>
                  </a:lnTo>
                  <a:lnTo>
                    <a:pt x="255" y="2685"/>
                  </a:lnTo>
                  <a:lnTo>
                    <a:pt x="217" y="2744"/>
                  </a:lnTo>
                  <a:lnTo>
                    <a:pt x="183" y="2805"/>
                  </a:lnTo>
                  <a:lnTo>
                    <a:pt x="152" y="2867"/>
                  </a:lnTo>
                  <a:lnTo>
                    <a:pt x="123" y="2932"/>
                  </a:lnTo>
                  <a:lnTo>
                    <a:pt x="98" y="2998"/>
                  </a:lnTo>
                  <a:lnTo>
                    <a:pt x="75" y="3065"/>
                  </a:lnTo>
                  <a:lnTo>
                    <a:pt x="55" y="3134"/>
                  </a:lnTo>
                  <a:lnTo>
                    <a:pt x="38" y="3204"/>
                  </a:lnTo>
                  <a:lnTo>
                    <a:pt x="25" y="3275"/>
                  </a:lnTo>
                  <a:lnTo>
                    <a:pt x="16" y="3347"/>
                  </a:lnTo>
                  <a:lnTo>
                    <a:pt x="10" y="3421"/>
                  </a:lnTo>
                  <a:lnTo>
                    <a:pt x="0" y="3421"/>
                  </a:lnTo>
                  <a:lnTo>
                    <a:pt x="0" y="4015"/>
                  </a:lnTo>
                  <a:lnTo>
                    <a:pt x="0" y="4516"/>
                  </a:lnTo>
                  <a:lnTo>
                    <a:pt x="1" y="4567"/>
                  </a:lnTo>
                  <a:lnTo>
                    <a:pt x="5" y="4619"/>
                  </a:lnTo>
                  <a:lnTo>
                    <a:pt x="12" y="4669"/>
                  </a:lnTo>
                  <a:lnTo>
                    <a:pt x="20" y="4719"/>
                  </a:lnTo>
                  <a:lnTo>
                    <a:pt x="32" y="4767"/>
                  </a:lnTo>
                  <a:lnTo>
                    <a:pt x="45" y="4814"/>
                  </a:lnTo>
                  <a:lnTo>
                    <a:pt x="61" y="4862"/>
                  </a:lnTo>
                  <a:lnTo>
                    <a:pt x="80" y="4907"/>
                  </a:lnTo>
                  <a:lnTo>
                    <a:pt x="100" y="4951"/>
                  </a:lnTo>
                  <a:lnTo>
                    <a:pt x="122" y="4995"/>
                  </a:lnTo>
                  <a:lnTo>
                    <a:pt x="146" y="5036"/>
                  </a:lnTo>
                  <a:lnTo>
                    <a:pt x="172" y="5077"/>
                  </a:lnTo>
                  <a:lnTo>
                    <a:pt x="200" y="5116"/>
                  </a:lnTo>
                  <a:lnTo>
                    <a:pt x="230" y="5155"/>
                  </a:lnTo>
                  <a:lnTo>
                    <a:pt x="262" y="5191"/>
                  </a:lnTo>
                  <a:lnTo>
                    <a:pt x="295" y="5226"/>
                  </a:lnTo>
                  <a:lnTo>
                    <a:pt x="330" y="5259"/>
                  </a:lnTo>
                  <a:lnTo>
                    <a:pt x="367" y="5291"/>
                  </a:lnTo>
                  <a:lnTo>
                    <a:pt x="405" y="5320"/>
                  </a:lnTo>
                  <a:lnTo>
                    <a:pt x="444" y="5348"/>
                  </a:lnTo>
                  <a:lnTo>
                    <a:pt x="485" y="5374"/>
                  </a:lnTo>
                  <a:lnTo>
                    <a:pt x="527" y="5398"/>
                  </a:lnTo>
                  <a:lnTo>
                    <a:pt x="571" y="5421"/>
                  </a:lnTo>
                  <a:lnTo>
                    <a:pt x="615" y="5441"/>
                  </a:lnTo>
                  <a:lnTo>
                    <a:pt x="661" y="5459"/>
                  </a:lnTo>
                  <a:lnTo>
                    <a:pt x="708" y="5475"/>
                  </a:lnTo>
                  <a:lnTo>
                    <a:pt x="755" y="5488"/>
                  </a:lnTo>
                  <a:lnTo>
                    <a:pt x="805" y="5500"/>
                  </a:lnTo>
                  <a:lnTo>
                    <a:pt x="854" y="5508"/>
                  </a:lnTo>
                  <a:lnTo>
                    <a:pt x="904" y="5515"/>
                  </a:lnTo>
                  <a:lnTo>
                    <a:pt x="956" y="5519"/>
                  </a:lnTo>
                  <a:lnTo>
                    <a:pt x="1007" y="5520"/>
                  </a:lnTo>
                  <a:lnTo>
                    <a:pt x="1007" y="14051"/>
                  </a:lnTo>
                  <a:lnTo>
                    <a:pt x="1010" y="14154"/>
                  </a:lnTo>
                  <a:lnTo>
                    <a:pt x="1017" y="14256"/>
                  </a:lnTo>
                  <a:lnTo>
                    <a:pt x="1030" y="14357"/>
                  </a:lnTo>
                  <a:lnTo>
                    <a:pt x="1048" y="14455"/>
                  </a:lnTo>
                  <a:lnTo>
                    <a:pt x="1070" y="14553"/>
                  </a:lnTo>
                  <a:lnTo>
                    <a:pt x="1098" y="14648"/>
                  </a:lnTo>
                  <a:lnTo>
                    <a:pt x="1129" y="14741"/>
                  </a:lnTo>
                  <a:lnTo>
                    <a:pt x="1165" y="14832"/>
                  </a:lnTo>
                  <a:lnTo>
                    <a:pt x="1205" y="14921"/>
                  </a:lnTo>
                  <a:lnTo>
                    <a:pt x="1250" y="15007"/>
                  </a:lnTo>
                  <a:lnTo>
                    <a:pt x="1299" y="15092"/>
                  </a:lnTo>
                  <a:lnTo>
                    <a:pt x="1351" y="15173"/>
                  </a:lnTo>
                  <a:lnTo>
                    <a:pt x="1407" y="15252"/>
                  </a:lnTo>
                  <a:lnTo>
                    <a:pt x="1467" y="15327"/>
                  </a:lnTo>
                  <a:lnTo>
                    <a:pt x="1531" y="15401"/>
                  </a:lnTo>
                  <a:lnTo>
                    <a:pt x="1597" y="15470"/>
                  </a:lnTo>
                  <a:lnTo>
                    <a:pt x="1666" y="15536"/>
                  </a:lnTo>
                  <a:lnTo>
                    <a:pt x="1740" y="15599"/>
                  </a:lnTo>
                  <a:lnTo>
                    <a:pt x="1815" y="15660"/>
                  </a:lnTo>
                  <a:lnTo>
                    <a:pt x="1895" y="15715"/>
                  </a:lnTo>
                  <a:lnTo>
                    <a:pt x="1977" y="15767"/>
                  </a:lnTo>
                  <a:lnTo>
                    <a:pt x="2061" y="15816"/>
                  </a:lnTo>
                  <a:lnTo>
                    <a:pt x="2148" y="15860"/>
                  </a:lnTo>
                  <a:lnTo>
                    <a:pt x="2237" y="15900"/>
                  </a:lnTo>
                  <a:lnTo>
                    <a:pt x="2328" y="15937"/>
                  </a:lnTo>
                  <a:lnTo>
                    <a:pt x="2422" y="15968"/>
                  </a:lnTo>
                  <a:lnTo>
                    <a:pt x="2517" y="15995"/>
                  </a:lnTo>
                  <a:lnTo>
                    <a:pt x="2615" y="16017"/>
                  </a:lnTo>
                  <a:lnTo>
                    <a:pt x="2714" y="16035"/>
                  </a:lnTo>
                  <a:lnTo>
                    <a:pt x="2815" y="16048"/>
                  </a:lnTo>
                  <a:lnTo>
                    <a:pt x="2917" y="16055"/>
                  </a:lnTo>
                  <a:lnTo>
                    <a:pt x="3021" y="16058"/>
                  </a:lnTo>
                  <a:lnTo>
                    <a:pt x="11076" y="16058"/>
                  </a:lnTo>
                  <a:lnTo>
                    <a:pt x="11180" y="16055"/>
                  </a:lnTo>
                  <a:lnTo>
                    <a:pt x="11283" y="16048"/>
                  </a:lnTo>
                  <a:lnTo>
                    <a:pt x="11383" y="16035"/>
                  </a:lnTo>
                  <a:lnTo>
                    <a:pt x="11482" y="16017"/>
                  </a:lnTo>
                  <a:lnTo>
                    <a:pt x="11580" y="15995"/>
                  </a:lnTo>
                  <a:lnTo>
                    <a:pt x="11675" y="15968"/>
                  </a:lnTo>
                  <a:lnTo>
                    <a:pt x="11769" y="15937"/>
                  </a:lnTo>
                  <a:lnTo>
                    <a:pt x="11861" y="15900"/>
                  </a:lnTo>
                  <a:lnTo>
                    <a:pt x="11949" y="15860"/>
                  </a:lnTo>
                  <a:lnTo>
                    <a:pt x="12036" y="15816"/>
                  </a:lnTo>
                  <a:lnTo>
                    <a:pt x="12120" y="15767"/>
                  </a:lnTo>
                  <a:lnTo>
                    <a:pt x="12202" y="15715"/>
                  </a:lnTo>
                  <a:lnTo>
                    <a:pt x="12282" y="15660"/>
                  </a:lnTo>
                  <a:lnTo>
                    <a:pt x="12357" y="15599"/>
                  </a:lnTo>
                  <a:lnTo>
                    <a:pt x="12431" y="15536"/>
                  </a:lnTo>
                  <a:lnTo>
                    <a:pt x="12500" y="15470"/>
                  </a:lnTo>
                  <a:lnTo>
                    <a:pt x="12566" y="15401"/>
                  </a:lnTo>
                  <a:lnTo>
                    <a:pt x="12630" y="15327"/>
                  </a:lnTo>
                  <a:lnTo>
                    <a:pt x="12690" y="15252"/>
                  </a:lnTo>
                  <a:lnTo>
                    <a:pt x="12746" y="15173"/>
                  </a:lnTo>
                  <a:lnTo>
                    <a:pt x="12799" y="15092"/>
                  </a:lnTo>
                  <a:lnTo>
                    <a:pt x="12847" y="15007"/>
                  </a:lnTo>
                  <a:lnTo>
                    <a:pt x="12892" y="14921"/>
                  </a:lnTo>
                  <a:lnTo>
                    <a:pt x="12932" y="14832"/>
                  </a:lnTo>
                  <a:lnTo>
                    <a:pt x="12968" y="14741"/>
                  </a:lnTo>
                  <a:lnTo>
                    <a:pt x="12999" y="14648"/>
                  </a:lnTo>
                  <a:lnTo>
                    <a:pt x="13027" y="14553"/>
                  </a:lnTo>
                  <a:lnTo>
                    <a:pt x="13049" y="14455"/>
                  </a:lnTo>
                  <a:lnTo>
                    <a:pt x="13067" y="14357"/>
                  </a:lnTo>
                  <a:lnTo>
                    <a:pt x="13080" y="14256"/>
                  </a:lnTo>
                  <a:lnTo>
                    <a:pt x="13087" y="14154"/>
                  </a:lnTo>
                  <a:lnTo>
                    <a:pt x="13090" y="14051"/>
                  </a:lnTo>
                  <a:lnTo>
                    <a:pt x="13090" y="5520"/>
                  </a:lnTo>
                  <a:lnTo>
                    <a:pt x="13141" y="5519"/>
                  </a:lnTo>
                  <a:lnTo>
                    <a:pt x="13193" y="5515"/>
                  </a:lnTo>
                  <a:lnTo>
                    <a:pt x="13243" y="5508"/>
                  </a:lnTo>
                  <a:lnTo>
                    <a:pt x="13293" y="5500"/>
                  </a:lnTo>
                  <a:lnTo>
                    <a:pt x="13342" y="5488"/>
                  </a:lnTo>
                  <a:lnTo>
                    <a:pt x="13389" y="5475"/>
                  </a:lnTo>
                  <a:lnTo>
                    <a:pt x="13436" y="5459"/>
                  </a:lnTo>
                  <a:lnTo>
                    <a:pt x="13482" y="5441"/>
                  </a:lnTo>
                  <a:lnTo>
                    <a:pt x="13526" y="5421"/>
                  </a:lnTo>
                  <a:lnTo>
                    <a:pt x="13570" y="5398"/>
                  </a:lnTo>
                  <a:lnTo>
                    <a:pt x="13612" y="5374"/>
                  </a:lnTo>
                  <a:lnTo>
                    <a:pt x="13653" y="5348"/>
                  </a:lnTo>
                  <a:lnTo>
                    <a:pt x="13692" y="5320"/>
                  </a:lnTo>
                  <a:lnTo>
                    <a:pt x="13730" y="5291"/>
                  </a:lnTo>
                  <a:lnTo>
                    <a:pt x="13767" y="5259"/>
                  </a:lnTo>
                  <a:lnTo>
                    <a:pt x="13802" y="5226"/>
                  </a:lnTo>
                  <a:lnTo>
                    <a:pt x="13835" y="5191"/>
                  </a:lnTo>
                  <a:lnTo>
                    <a:pt x="13867" y="5155"/>
                  </a:lnTo>
                  <a:lnTo>
                    <a:pt x="13897" y="5116"/>
                  </a:lnTo>
                  <a:lnTo>
                    <a:pt x="13925" y="5077"/>
                  </a:lnTo>
                  <a:lnTo>
                    <a:pt x="13951" y="5036"/>
                  </a:lnTo>
                  <a:lnTo>
                    <a:pt x="13975" y="4995"/>
                  </a:lnTo>
                  <a:lnTo>
                    <a:pt x="13997" y="4951"/>
                  </a:lnTo>
                  <a:lnTo>
                    <a:pt x="14017" y="4907"/>
                  </a:lnTo>
                  <a:lnTo>
                    <a:pt x="14036" y="4862"/>
                  </a:lnTo>
                  <a:lnTo>
                    <a:pt x="14052" y="4814"/>
                  </a:lnTo>
                  <a:lnTo>
                    <a:pt x="14065" y="4767"/>
                  </a:lnTo>
                  <a:lnTo>
                    <a:pt x="14077" y="4719"/>
                  </a:lnTo>
                  <a:lnTo>
                    <a:pt x="14085" y="4669"/>
                  </a:lnTo>
                  <a:lnTo>
                    <a:pt x="14092" y="4619"/>
                  </a:lnTo>
                  <a:lnTo>
                    <a:pt x="14096" y="4567"/>
                  </a:lnTo>
                  <a:lnTo>
                    <a:pt x="14097" y="4516"/>
                  </a:lnTo>
                  <a:lnTo>
                    <a:pt x="14097" y="4015"/>
                  </a:lnTo>
                  <a:lnTo>
                    <a:pt x="14097" y="3421"/>
                  </a:lnTo>
                  <a:lnTo>
                    <a:pt x="14087" y="34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4" name="ïṡľïďè">
              <a:extLst>
                <a:ext uri="{FF2B5EF4-FFF2-40B4-BE49-F238E27FC236}">
                  <a16:creationId xmlns:a16="http://schemas.microsoft.com/office/drawing/2014/main" id="{D363507B-DA39-4C7B-9E74-9FEDB180CE38}"/>
                </a:ext>
              </a:extLst>
            </p:cNvPr>
            <p:cNvSpPr/>
            <p:nvPr/>
          </p:nvSpPr>
          <p:spPr bwMode="auto">
            <a:xfrm>
              <a:off x="1390657" y="269198"/>
              <a:ext cx="76139" cy="287634"/>
            </a:xfrm>
            <a:custGeom>
              <a:avLst/>
              <a:gdLst>
                <a:gd name="T0" fmla="*/ 1510 w 2014"/>
                <a:gd name="T1" fmla="*/ 7025 h 7527"/>
                <a:gd name="T2" fmla="*/ 503 w 2014"/>
                <a:gd name="T3" fmla="*/ 7527 h 7527"/>
                <a:gd name="T4" fmla="*/ 1562 w 2014"/>
                <a:gd name="T5" fmla="*/ 7524 h 7527"/>
                <a:gd name="T6" fmla="*/ 1636 w 2014"/>
                <a:gd name="T7" fmla="*/ 7511 h 7527"/>
                <a:gd name="T8" fmla="*/ 1707 w 2014"/>
                <a:gd name="T9" fmla="*/ 7488 h 7527"/>
                <a:gd name="T10" fmla="*/ 1771 w 2014"/>
                <a:gd name="T11" fmla="*/ 7454 h 7527"/>
                <a:gd name="T12" fmla="*/ 1830 w 2014"/>
                <a:gd name="T13" fmla="*/ 7412 h 7527"/>
                <a:gd name="T14" fmla="*/ 1883 w 2014"/>
                <a:gd name="T15" fmla="*/ 7362 h 7527"/>
                <a:gd name="T16" fmla="*/ 1928 w 2014"/>
                <a:gd name="T17" fmla="*/ 7306 h 7527"/>
                <a:gd name="T18" fmla="*/ 1964 w 2014"/>
                <a:gd name="T19" fmla="*/ 7243 h 7527"/>
                <a:gd name="T20" fmla="*/ 1991 w 2014"/>
                <a:gd name="T21" fmla="*/ 7174 h 7527"/>
                <a:gd name="T22" fmla="*/ 2008 w 2014"/>
                <a:gd name="T23" fmla="*/ 7101 h 7527"/>
                <a:gd name="T24" fmla="*/ 2014 w 2014"/>
                <a:gd name="T25" fmla="*/ 7025 h 7527"/>
                <a:gd name="T26" fmla="*/ 2011 w 2014"/>
                <a:gd name="T27" fmla="*/ 450 h 7527"/>
                <a:gd name="T28" fmla="*/ 1998 w 2014"/>
                <a:gd name="T29" fmla="*/ 376 h 7527"/>
                <a:gd name="T30" fmla="*/ 1974 w 2014"/>
                <a:gd name="T31" fmla="*/ 306 h 7527"/>
                <a:gd name="T32" fmla="*/ 1941 w 2014"/>
                <a:gd name="T33" fmla="*/ 241 h 7527"/>
                <a:gd name="T34" fmla="*/ 1899 w 2014"/>
                <a:gd name="T35" fmla="*/ 182 h 7527"/>
                <a:gd name="T36" fmla="*/ 1849 w 2014"/>
                <a:gd name="T37" fmla="*/ 130 h 7527"/>
                <a:gd name="T38" fmla="*/ 1792 w 2014"/>
                <a:gd name="T39" fmla="*/ 85 h 7527"/>
                <a:gd name="T40" fmla="*/ 1729 w 2014"/>
                <a:gd name="T41" fmla="*/ 49 h 7527"/>
                <a:gd name="T42" fmla="*/ 1660 w 2014"/>
                <a:gd name="T43" fmla="*/ 22 h 7527"/>
                <a:gd name="T44" fmla="*/ 1587 w 2014"/>
                <a:gd name="T45" fmla="*/ 6 h 7527"/>
                <a:gd name="T46" fmla="*/ 1510 w 2014"/>
                <a:gd name="T47" fmla="*/ 0 h 7527"/>
                <a:gd name="T48" fmla="*/ 452 w 2014"/>
                <a:gd name="T49" fmla="*/ 3 h 7527"/>
                <a:gd name="T50" fmla="*/ 377 w 2014"/>
                <a:gd name="T51" fmla="*/ 16 h 7527"/>
                <a:gd name="T52" fmla="*/ 307 w 2014"/>
                <a:gd name="T53" fmla="*/ 39 h 7527"/>
                <a:gd name="T54" fmla="*/ 242 w 2014"/>
                <a:gd name="T55" fmla="*/ 72 h 7527"/>
                <a:gd name="T56" fmla="*/ 183 w 2014"/>
                <a:gd name="T57" fmla="*/ 114 h 7527"/>
                <a:gd name="T58" fmla="*/ 131 w 2014"/>
                <a:gd name="T59" fmla="*/ 164 h 7527"/>
                <a:gd name="T60" fmla="*/ 85 w 2014"/>
                <a:gd name="T61" fmla="*/ 220 h 7527"/>
                <a:gd name="T62" fmla="*/ 49 w 2014"/>
                <a:gd name="T63" fmla="*/ 284 h 7527"/>
                <a:gd name="T64" fmla="*/ 22 w 2014"/>
                <a:gd name="T65" fmla="*/ 352 h 7527"/>
                <a:gd name="T66" fmla="*/ 6 w 2014"/>
                <a:gd name="T67" fmla="*/ 425 h 7527"/>
                <a:gd name="T68" fmla="*/ 0 w 2014"/>
                <a:gd name="T69" fmla="*/ 501 h 7527"/>
                <a:gd name="T70" fmla="*/ 3 w 2014"/>
                <a:gd name="T71" fmla="*/ 7076 h 7527"/>
                <a:gd name="T72" fmla="*/ 16 w 2014"/>
                <a:gd name="T73" fmla="*/ 7150 h 7527"/>
                <a:gd name="T74" fmla="*/ 39 w 2014"/>
                <a:gd name="T75" fmla="*/ 7221 h 7527"/>
                <a:gd name="T76" fmla="*/ 72 w 2014"/>
                <a:gd name="T77" fmla="*/ 7285 h 7527"/>
                <a:gd name="T78" fmla="*/ 115 w 2014"/>
                <a:gd name="T79" fmla="*/ 7344 h 7527"/>
                <a:gd name="T80" fmla="*/ 165 w 2014"/>
                <a:gd name="T81" fmla="*/ 7396 h 7527"/>
                <a:gd name="T82" fmla="*/ 221 w 2014"/>
                <a:gd name="T83" fmla="*/ 7441 h 7527"/>
                <a:gd name="T84" fmla="*/ 285 w 2014"/>
                <a:gd name="T85" fmla="*/ 7478 h 7527"/>
                <a:gd name="T86" fmla="*/ 353 w 2014"/>
                <a:gd name="T87" fmla="*/ 7505 h 7527"/>
                <a:gd name="T88" fmla="*/ 427 w 2014"/>
                <a:gd name="T89" fmla="*/ 7521 h 7527"/>
                <a:gd name="T90" fmla="*/ 503 w 2014"/>
                <a:gd name="T91" fmla="*/ 7527 h 7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014" h="7527">
                  <a:moveTo>
                    <a:pt x="503" y="501"/>
                  </a:moveTo>
                  <a:lnTo>
                    <a:pt x="1510" y="501"/>
                  </a:lnTo>
                  <a:lnTo>
                    <a:pt x="1510" y="7025"/>
                  </a:lnTo>
                  <a:lnTo>
                    <a:pt x="503" y="7025"/>
                  </a:lnTo>
                  <a:lnTo>
                    <a:pt x="503" y="501"/>
                  </a:lnTo>
                  <a:close/>
                  <a:moveTo>
                    <a:pt x="503" y="7527"/>
                  </a:moveTo>
                  <a:lnTo>
                    <a:pt x="1510" y="7527"/>
                  </a:lnTo>
                  <a:lnTo>
                    <a:pt x="1536" y="7526"/>
                  </a:lnTo>
                  <a:lnTo>
                    <a:pt x="1562" y="7524"/>
                  </a:lnTo>
                  <a:lnTo>
                    <a:pt x="1587" y="7521"/>
                  </a:lnTo>
                  <a:lnTo>
                    <a:pt x="1612" y="7517"/>
                  </a:lnTo>
                  <a:lnTo>
                    <a:pt x="1636" y="7511"/>
                  </a:lnTo>
                  <a:lnTo>
                    <a:pt x="1660" y="7505"/>
                  </a:lnTo>
                  <a:lnTo>
                    <a:pt x="1683" y="7497"/>
                  </a:lnTo>
                  <a:lnTo>
                    <a:pt x="1707" y="7488"/>
                  </a:lnTo>
                  <a:lnTo>
                    <a:pt x="1729" y="7478"/>
                  </a:lnTo>
                  <a:lnTo>
                    <a:pt x="1750" y="7467"/>
                  </a:lnTo>
                  <a:lnTo>
                    <a:pt x="1771" y="7454"/>
                  </a:lnTo>
                  <a:lnTo>
                    <a:pt x="1792" y="7441"/>
                  </a:lnTo>
                  <a:lnTo>
                    <a:pt x="1811" y="7427"/>
                  </a:lnTo>
                  <a:lnTo>
                    <a:pt x="1830" y="7412"/>
                  </a:lnTo>
                  <a:lnTo>
                    <a:pt x="1849" y="7396"/>
                  </a:lnTo>
                  <a:lnTo>
                    <a:pt x="1867" y="7380"/>
                  </a:lnTo>
                  <a:lnTo>
                    <a:pt x="1883" y="7362"/>
                  </a:lnTo>
                  <a:lnTo>
                    <a:pt x="1899" y="7344"/>
                  </a:lnTo>
                  <a:lnTo>
                    <a:pt x="1914" y="7325"/>
                  </a:lnTo>
                  <a:lnTo>
                    <a:pt x="1928" y="7306"/>
                  </a:lnTo>
                  <a:lnTo>
                    <a:pt x="1941" y="7285"/>
                  </a:lnTo>
                  <a:lnTo>
                    <a:pt x="1953" y="7264"/>
                  </a:lnTo>
                  <a:lnTo>
                    <a:pt x="1964" y="7243"/>
                  </a:lnTo>
                  <a:lnTo>
                    <a:pt x="1974" y="7221"/>
                  </a:lnTo>
                  <a:lnTo>
                    <a:pt x="1983" y="7198"/>
                  </a:lnTo>
                  <a:lnTo>
                    <a:pt x="1991" y="7174"/>
                  </a:lnTo>
                  <a:lnTo>
                    <a:pt x="1998" y="7150"/>
                  </a:lnTo>
                  <a:lnTo>
                    <a:pt x="2004" y="7126"/>
                  </a:lnTo>
                  <a:lnTo>
                    <a:pt x="2008" y="7101"/>
                  </a:lnTo>
                  <a:lnTo>
                    <a:pt x="2011" y="7076"/>
                  </a:lnTo>
                  <a:lnTo>
                    <a:pt x="2013" y="7051"/>
                  </a:lnTo>
                  <a:lnTo>
                    <a:pt x="2014" y="7025"/>
                  </a:lnTo>
                  <a:lnTo>
                    <a:pt x="2014" y="501"/>
                  </a:lnTo>
                  <a:lnTo>
                    <a:pt x="2013" y="475"/>
                  </a:lnTo>
                  <a:lnTo>
                    <a:pt x="2011" y="450"/>
                  </a:lnTo>
                  <a:lnTo>
                    <a:pt x="2008" y="425"/>
                  </a:lnTo>
                  <a:lnTo>
                    <a:pt x="2004" y="400"/>
                  </a:lnTo>
                  <a:lnTo>
                    <a:pt x="1998" y="376"/>
                  </a:lnTo>
                  <a:lnTo>
                    <a:pt x="1991" y="352"/>
                  </a:lnTo>
                  <a:lnTo>
                    <a:pt x="1983" y="329"/>
                  </a:lnTo>
                  <a:lnTo>
                    <a:pt x="1974" y="306"/>
                  </a:lnTo>
                  <a:lnTo>
                    <a:pt x="1964" y="284"/>
                  </a:lnTo>
                  <a:lnTo>
                    <a:pt x="1953" y="263"/>
                  </a:lnTo>
                  <a:lnTo>
                    <a:pt x="1941" y="241"/>
                  </a:lnTo>
                  <a:lnTo>
                    <a:pt x="1928" y="220"/>
                  </a:lnTo>
                  <a:lnTo>
                    <a:pt x="1914" y="201"/>
                  </a:lnTo>
                  <a:lnTo>
                    <a:pt x="1899" y="182"/>
                  </a:lnTo>
                  <a:lnTo>
                    <a:pt x="1883" y="164"/>
                  </a:lnTo>
                  <a:lnTo>
                    <a:pt x="1867" y="146"/>
                  </a:lnTo>
                  <a:lnTo>
                    <a:pt x="1849" y="130"/>
                  </a:lnTo>
                  <a:lnTo>
                    <a:pt x="1830" y="114"/>
                  </a:lnTo>
                  <a:lnTo>
                    <a:pt x="1811" y="99"/>
                  </a:lnTo>
                  <a:lnTo>
                    <a:pt x="1792" y="85"/>
                  </a:lnTo>
                  <a:lnTo>
                    <a:pt x="1771" y="72"/>
                  </a:lnTo>
                  <a:lnTo>
                    <a:pt x="1750" y="60"/>
                  </a:lnTo>
                  <a:lnTo>
                    <a:pt x="1729" y="49"/>
                  </a:lnTo>
                  <a:lnTo>
                    <a:pt x="1707" y="39"/>
                  </a:lnTo>
                  <a:lnTo>
                    <a:pt x="1683" y="30"/>
                  </a:lnTo>
                  <a:lnTo>
                    <a:pt x="1660" y="22"/>
                  </a:lnTo>
                  <a:lnTo>
                    <a:pt x="1636" y="16"/>
                  </a:lnTo>
                  <a:lnTo>
                    <a:pt x="1612" y="10"/>
                  </a:lnTo>
                  <a:lnTo>
                    <a:pt x="1587" y="6"/>
                  </a:lnTo>
                  <a:lnTo>
                    <a:pt x="1562" y="3"/>
                  </a:lnTo>
                  <a:lnTo>
                    <a:pt x="1536" y="1"/>
                  </a:lnTo>
                  <a:lnTo>
                    <a:pt x="1510" y="0"/>
                  </a:lnTo>
                  <a:lnTo>
                    <a:pt x="503" y="0"/>
                  </a:lnTo>
                  <a:lnTo>
                    <a:pt x="477" y="1"/>
                  </a:lnTo>
                  <a:lnTo>
                    <a:pt x="452" y="3"/>
                  </a:lnTo>
                  <a:lnTo>
                    <a:pt x="427" y="6"/>
                  </a:lnTo>
                  <a:lnTo>
                    <a:pt x="402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4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4"/>
                  </a:lnTo>
                  <a:lnTo>
                    <a:pt x="165" y="130"/>
                  </a:lnTo>
                  <a:lnTo>
                    <a:pt x="147" y="146"/>
                  </a:lnTo>
                  <a:lnTo>
                    <a:pt x="131" y="164"/>
                  </a:lnTo>
                  <a:lnTo>
                    <a:pt x="115" y="182"/>
                  </a:lnTo>
                  <a:lnTo>
                    <a:pt x="99" y="201"/>
                  </a:lnTo>
                  <a:lnTo>
                    <a:pt x="85" y="220"/>
                  </a:lnTo>
                  <a:lnTo>
                    <a:pt x="72" y="241"/>
                  </a:lnTo>
                  <a:lnTo>
                    <a:pt x="60" y="263"/>
                  </a:lnTo>
                  <a:lnTo>
                    <a:pt x="49" y="284"/>
                  </a:lnTo>
                  <a:lnTo>
                    <a:pt x="39" y="306"/>
                  </a:lnTo>
                  <a:lnTo>
                    <a:pt x="30" y="329"/>
                  </a:lnTo>
                  <a:lnTo>
                    <a:pt x="22" y="352"/>
                  </a:lnTo>
                  <a:lnTo>
                    <a:pt x="16" y="376"/>
                  </a:lnTo>
                  <a:lnTo>
                    <a:pt x="10" y="400"/>
                  </a:lnTo>
                  <a:lnTo>
                    <a:pt x="6" y="425"/>
                  </a:lnTo>
                  <a:lnTo>
                    <a:pt x="3" y="450"/>
                  </a:lnTo>
                  <a:lnTo>
                    <a:pt x="1" y="475"/>
                  </a:lnTo>
                  <a:lnTo>
                    <a:pt x="0" y="501"/>
                  </a:lnTo>
                  <a:lnTo>
                    <a:pt x="0" y="7025"/>
                  </a:lnTo>
                  <a:lnTo>
                    <a:pt x="1" y="7051"/>
                  </a:lnTo>
                  <a:lnTo>
                    <a:pt x="3" y="7076"/>
                  </a:lnTo>
                  <a:lnTo>
                    <a:pt x="6" y="7101"/>
                  </a:lnTo>
                  <a:lnTo>
                    <a:pt x="10" y="7126"/>
                  </a:lnTo>
                  <a:lnTo>
                    <a:pt x="16" y="7150"/>
                  </a:lnTo>
                  <a:lnTo>
                    <a:pt x="22" y="7174"/>
                  </a:lnTo>
                  <a:lnTo>
                    <a:pt x="30" y="7198"/>
                  </a:lnTo>
                  <a:lnTo>
                    <a:pt x="39" y="7221"/>
                  </a:lnTo>
                  <a:lnTo>
                    <a:pt x="49" y="7243"/>
                  </a:lnTo>
                  <a:lnTo>
                    <a:pt x="60" y="7264"/>
                  </a:lnTo>
                  <a:lnTo>
                    <a:pt x="72" y="7285"/>
                  </a:lnTo>
                  <a:lnTo>
                    <a:pt x="85" y="7306"/>
                  </a:lnTo>
                  <a:lnTo>
                    <a:pt x="99" y="7325"/>
                  </a:lnTo>
                  <a:lnTo>
                    <a:pt x="115" y="7344"/>
                  </a:lnTo>
                  <a:lnTo>
                    <a:pt x="131" y="7362"/>
                  </a:lnTo>
                  <a:lnTo>
                    <a:pt x="147" y="7380"/>
                  </a:lnTo>
                  <a:lnTo>
                    <a:pt x="165" y="7396"/>
                  </a:lnTo>
                  <a:lnTo>
                    <a:pt x="183" y="7412"/>
                  </a:lnTo>
                  <a:lnTo>
                    <a:pt x="202" y="7427"/>
                  </a:lnTo>
                  <a:lnTo>
                    <a:pt x="221" y="7441"/>
                  </a:lnTo>
                  <a:lnTo>
                    <a:pt x="242" y="7454"/>
                  </a:lnTo>
                  <a:lnTo>
                    <a:pt x="264" y="7467"/>
                  </a:lnTo>
                  <a:lnTo>
                    <a:pt x="285" y="7478"/>
                  </a:lnTo>
                  <a:lnTo>
                    <a:pt x="307" y="7488"/>
                  </a:lnTo>
                  <a:lnTo>
                    <a:pt x="330" y="7497"/>
                  </a:lnTo>
                  <a:lnTo>
                    <a:pt x="353" y="7505"/>
                  </a:lnTo>
                  <a:lnTo>
                    <a:pt x="377" y="7511"/>
                  </a:lnTo>
                  <a:lnTo>
                    <a:pt x="402" y="7517"/>
                  </a:lnTo>
                  <a:lnTo>
                    <a:pt x="427" y="7521"/>
                  </a:lnTo>
                  <a:lnTo>
                    <a:pt x="452" y="7524"/>
                  </a:lnTo>
                  <a:lnTo>
                    <a:pt x="477" y="7526"/>
                  </a:lnTo>
                  <a:lnTo>
                    <a:pt x="503" y="75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5" name="ïśḷiḍé">
              <a:extLst>
                <a:ext uri="{FF2B5EF4-FFF2-40B4-BE49-F238E27FC236}">
                  <a16:creationId xmlns:a16="http://schemas.microsoft.com/office/drawing/2014/main" id="{D568BB84-0CDF-472D-A186-4CC46A3C688A}"/>
                </a:ext>
              </a:extLst>
            </p:cNvPr>
            <p:cNvSpPr/>
            <p:nvPr/>
          </p:nvSpPr>
          <p:spPr bwMode="auto">
            <a:xfrm>
              <a:off x="1504865" y="269198"/>
              <a:ext cx="77549" cy="287634"/>
            </a:xfrm>
            <a:custGeom>
              <a:avLst/>
              <a:gdLst>
                <a:gd name="T0" fmla="*/ 1510 w 2013"/>
                <a:gd name="T1" fmla="*/ 7025 h 7527"/>
                <a:gd name="T2" fmla="*/ 503 w 2013"/>
                <a:gd name="T3" fmla="*/ 7527 h 7527"/>
                <a:gd name="T4" fmla="*/ 1561 w 2013"/>
                <a:gd name="T5" fmla="*/ 7524 h 7527"/>
                <a:gd name="T6" fmla="*/ 1636 w 2013"/>
                <a:gd name="T7" fmla="*/ 7511 h 7527"/>
                <a:gd name="T8" fmla="*/ 1706 w 2013"/>
                <a:gd name="T9" fmla="*/ 7488 h 7527"/>
                <a:gd name="T10" fmla="*/ 1771 w 2013"/>
                <a:gd name="T11" fmla="*/ 7454 h 7527"/>
                <a:gd name="T12" fmla="*/ 1830 w 2013"/>
                <a:gd name="T13" fmla="*/ 7412 h 7527"/>
                <a:gd name="T14" fmla="*/ 1883 w 2013"/>
                <a:gd name="T15" fmla="*/ 7362 h 7527"/>
                <a:gd name="T16" fmla="*/ 1928 w 2013"/>
                <a:gd name="T17" fmla="*/ 7306 h 7527"/>
                <a:gd name="T18" fmla="*/ 1964 w 2013"/>
                <a:gd name="T19" fmla="*/ 7243 h 7527"/>
                <a:gd name="T20" fmla="*/ 1991 w 2013"/>
                <a:gd name="T21" fmla="*/ 7174 h 7527"/>
                <a:gd name="T22" fmla="*/ 2007 w 2013"/>
                <a:gd name="T23" fmla="*/ 7101 h 7527"/>
                <a:gd name="T24" fmla="*/ 2013 w 2013"/>
                <a:gd name="T25" fmla="*/ 7025 h 7527"/>
                <a:gd name="T26" fmla="*/ 2010 w 2013"/>
                <a:gd name="T27" fmla="*/ 450 h 7527"/>
                <a:gd name="T28" fmla="*/ 1997 w 2013"/>
                <a:gd name="T29" fmla="*/ 376 h 7527"/>
                <a:gd name="T30" fmla="*/ 1974 w 2013"/>
                <a:gd name="T31" fmla="*/ 306 h 7527"/>
                <a:gd name="T32" fmla="*/ 1941 w 2013"/>
                <a:gd name="T33" fmla="*/ 241 h 7527"/>
                <a:gd name="T34" fmla="*/ 1899 w 2013"/>
                <a:gd name="T35" fmla="*/ 182 h 7527"/>
                <a:gd name="T36" fmla="*/ 1848 w 2013"/>
                <a:gd name="T37" fmla="*/ 130 h 7527"/>
                <a:gd name="T38" fmla="*/ 1792 w 2013"/>
                <a:gd name="T39" fmla="*/ 85 h 7527"/>
                <a:gd name="T40" fmla="*/ 1728 w 2013"/>
                <a:gd name="T41" fmla="*/ 49 h 7527"/>
                <a:gd name="T42" fmla="*/ 1660 w 2013"/>
                <a:gd name="T43" fmla="*/ 22 h 7527"/>
                <a:gd name="T44" fmla="*/ 1586 w 2013"/>
                <a:gd name="T45" fmla="*/ 6 h 7527"/>
                <a:gd name="T46" fmla="*/ 1510 w 2013"/>
                <a:gd name="T47" fmla="*/ 0 h 7527"/>
                <a:gd name="T48" fmla="*/ 452 w 2013"/>
                <a:gd name="T49" fmla="*/ 3 h 7527"/>
                <a:gd name="T50" fmla="*/ 377 w 2013"/>
                <a:gd name="T51" fmla="*/ 16 h 7527"/>
                <a:gd name="T52" fmla="*/ 307 w 2013"/>
                <a:gd name="T53" fmla="*/ 39 h 7527"/>
                <a:gd name="T54" fmla="*/ 242 w 2013"/>
                <a:gd name="T55" fmla="*/ 72 h 7527"/>
                <a:gd name="T56" fmla="*/ 183 w 2013"/>
                <a:gd name="T57" fmla="*/ 114 h 7527"/>
                <a:gd name="T58" fmla="*/ 130 w 2013"/>
                <a:gd name="T59" fmla="*/ 164 h 7527"/>
                <a:gd name="T60" fmla="*/ 85 w 2013"/>
                <a:gd name="T61" fmla="*/ 220 h 7527"/>
                <a:gd name="T62" fmla="*/ 49 w 2013"/>
                <a:gd name="T63" fmla="*/ 284 h 7527"/>
                <a:gd name="T64" fmla="*/ 23 w 2013"/>
                <a:gd name="T65" fmla="*/ 352 h 7527"/>
                <a:gd name="T66" fmla="*/ 6 w 2013"/>
                <a:gd name="T67" fmla="*/ 425 h 7527"/>
                <a:gd name="T68" fmla="*/ 0 w 2013"/>
                <a:gd name="T69" fmla="*/ 501 h 7527"/>
                <a:gd name="T70" fmla="*/ 3 w 2013"/>
                <a:gd name="T71" fmla="*/ 7076 h 7527"/>
                <a:gd name="T72" fmla="*/ 16 w 2013"/>
                <a:gd name="T73" fmla="*/ 7150 h 7527"/>
                <a:gd name="T74" fmla="*/ 39 w 2013"/>
                <a:gd name="T75" fmla="*/ 7221 h 7527"/>
                <a:gd name="T76" fmla="*/ 72 w 2013"/>
                <a:gd name="T77" fmla="*/ 7285 h 7527"/>
                <a:gd name="T78" fmla="*/ 114 w 2013"/>
                <a:gd name="T79" fmla="*/ 7344 h 7527"/>
                <a:gd name="T80" fmla="*/ 165 w 2013"/>
                <a:gd name="T81" fmla="*/ 7396 h 7527"/>
                <a:gd name="T82" fmla="*/ 221 w 2013"/>
                <a:gd name="T83" fmla="*/ 7441 h 7527"/>
                <a:gd name="T84" fmla="*/ 285 w 2013"/>
                <a:gd name="T85" fmla="*/ 7478 h 7527"/>
                <a:gd name="T86" fmla="*/ 353 w 2013"/>
                <a:gd name="T87" fmla="*/ 7505 h 7527"/>
                <a:gd name="T88" fmla="*/ 427 w 2013"/>
                <a:gd name="T89" fmla="*/ 7521 h 7527"/>
                <a:gd name="T90" fmla="*/ 503 w 2013"/>
                <a:gd name="T91" fmla="*/ 7527 h 7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013" h="7527">
                  <a:moveTo>
                    <a:pt x="503" y="501"/>
                  </a:moveTo>
                  <a:lnTo>
                    <a:pt x="1510" y="501"/>
                  </a:lnTo>
                  <a:lnTo>
                    <a:pt x="1510" y="7025"/>
                  </a:lnTo>
                  <a:lnTo>
                    <a:pt x="503" y="7025"/>
                  </a:lnTo>
                  <a:lnTo>
                    <a:pt x="503" y="501"/>
                  </a:lnTo>
                  <a:close/>
                  <a:moveTo>
                    <a:pt x="503" y="7527"/>
                  </a:moveTo>
                  <a:lnTo>
                    <a:pt x="1510" y="7527"/>
                  </a:lnTo>
                  <a:lnTo>
                    <a:pt x="1536" y="7526"/>
                  </a:lnTo>
                  <a:lnTo>
                    <a:pt x="1561" y="7524"/>
                  </a:lnTo>
                  <a:lnTo>
                    <a:pt x="1586" y="7521"/>
                  </a:lnTo>
                  <a:lnTo>
                    <a:pt x="1612" y="7517"/>
                  </a:lnTo>
                  <a:lnTo>
                    <a:pt x="1636" y="7511"/>
                  </a:lnTo>
                  <a:lnTo>
                    <a:pt x="1660" y="7505"/>
                  </a:lnTo>
                  <a:lnTo>
                    <a:pt x="1683" y="7497"/>
                  </a:lnTo>
                  <a:lnTo>
                    <a:pt x="1706" y="7488"/>
                  </a:lnTo>
                  <a:lnTo>
                    <a:pt x="1728" y="7478"/>
                  </a:lnTo>
                  <a:lnTo>
                    <a:pt x="1750" y="7467"/>
                  </a:lnTo>
                  <a:lnTo>
                    <a:pt x="1771" y="7454"/>
                  </a:lnTo>
                  <a:lnTo>
                    <a:pt x="1792" y="7441"/>
                  </a:lnTo>
                  <a:lnTo>
                    <a:pt x="1811" y="7427"/>
                  </a:lnTo>
                  <a:lnTo>
                    <a:pt x="1830" y="7412"/>
                  </a:lnTo>
                  <a:lnTo>
                    <a:pt x="1848" y="7396"/>
                  </a:lnTo>
                  <a:lnTo>
                    <a:pt x="1866" y="7380"/>
                  </a:lnTo>
                  <a:lnTo>
                    <a:pt x="1883" y="7362"/>
                  </a:lnTo>
                  <a:lnTo>
                    <a:pt x="1899" y="7344"/>
                  </a:lnTo>
                  <a:lnTo>
                    <a:pt x="1914" y="7325"/>
                  </a:lnTo>
                  <a:lnTo>
                    <a:pt x="1928" y="7306"/>
                  </a:lnTo>
                  <a:lnTo>
                    <a:pt x="1941" y="7285"/>
                  </a:lnTo>
                  <a:lnTo>
                    <a:pt x="1953" y="7264"/>
                  </a:lnTo>
                  <a:lnTo>
                    <a:pt x="1964" y="7243"/>
                  </a:lnTo>
                  <a:lnTo>
                    <a:pt x="1974" y="7221"/>
                  </a:lnTo>
                  <a:lnTo>
                    <a:pt x="1983" y="7198"/>
                  </a:lnTo>
                  <a:lnTo>
                    <a:pt x="1991" y="7174"/>
                  </a:lnTo>
                  <a:lnTo>
                    <a:pt x="1997" y="7150"/>
                  </a:lnTo>
                  <a:lnTo>
                    <a:pt x="2003" y="7126"/>
                  </a:lnTo>
                  <a:lnTo>
                    <a:pt x="2007" y="7101"/>
                  </a:lnTo>
                  <a:lnTo>
                    <a:pt x="2010" y="7076"/>
                  </a:lnTo>
                  <a:lnTo>
                    <a:pt x="2012" y="7051"/>
                  </a:lnTo>
                  <a:lnTo>
                    <a:pt x="2013" y="7025"/>
                  </a:lnTo>
                  <a:lnTo>
                    <a:pt x="2013" y="501"/>
                  </a:lnTo>
                  <a:lnTo>
                    <a:pt x="2012" y="475"/>
                  </a:lnTo>
                  <a:lnTo>
                    <a:pt x="2010" y="450"/>
                  </a:lnTo>
                  <a:lnTo>
                    <a:pt x="2007" y="425"/>
                  </a:lnTo>
                  <a:lnTo>
                    <a:pt x="2003" y="400"/>
                  </a:lnTo>
                  <a:lnTo>
                    <a:pt x="1997" y="376"/>
                  </a:lnTo>
                  <a:lnTo>
                    <a:pt x="1991" y="352"/>
                  </a:lnTo>
                  <a:lnTo>
                    <a:pt x="1983" y="329"/>
                  </a:lnTo>
                  <a:lnTo>
                    <a:pt x="1974" y="306"/>
                  </a:lnTo>
                  <a:lnTo>
                    <a:pt x="1964" y="284"/>
                  </a:lnTo>
                  <a:lnTo>
                    <a:pt x="1953" y="263"/>
                  </a:lnTo>
                  <a:lnTo>
                    <a:pt x="1941" y="241"/>
                  </a:lnTo>
                  <a:lnTo>
                    <a:pt x="1928" y="220"/>
                  </a:lnTo>
                  <a:lnTo>
                    <a:pt x="1914" y="201"/>
                  </a:lnTo>
                  <a:lnTo>
                    <a:pt x="1899" y="182"/>
                  </a:lnTo>
                  <a:lnTo>
                    <a:pt x="1883" y="164"/>
                  </a:lnTo>
                  <a:lnTo>
                    <a:pt x="1866" y="146"/>
                  </a:lnTo>
                  <a:lnTo>
                    <a:pt x="1848" y="130"/>
                  </a:lnTo>
                  <a:lnTo>
                    <a:pt x="1830" y="114"/>
                  </a:lnTo>
                  <a:lnTo>
                    <a:pt x="1811" y="99"/>
                  </a:lnTo>
                  <a:lnTo>
                    <a:pt x="1792" y="85"/>
                  </a:lnTo>
                  <a:lnTo>
                    <a:pt x="1771" y="72"/>
                  </a:lnTo>
                  <a:lnTo>
                    <a:pt x="1750" y="60"/>
                  </a:lnTo>
                  <a:lnTo>
                    <a:pt x="1728" y="49"/>
                  </a:lnTo>
                  <a:lnTo>
                    <a:pt x="1706" y="39"/>
                  </a:lnTo>
                  <a:lnTo>
                    <a:pt x="1683" y="30"/>
                  </a:lnTo>
                  <a:lnTo>
                    <a:pt x="1660" y="22"/>
                  </a:lnTo>
                  <a:lnTo>
                    <a:pt x="1636" y="16"/>
                  </a:lnTo>
                  <a:lnTo>
                    <a:pt x="1612" y="10"/>
                  </a:lnTo>
                  <a:lnTo>
                    <a:pt x="1586" y="6"/>
                  </a:lnTo>
                  <a:lnTo>
                    <a:pt x="1561" y="3"/>
                  </a:lnTo>
                  <a:lnTo>
                    <a:pt x="1536" y="1"/>
                  </a:lnTo>
                  <a:lnTo>
                    <a:pt x="1510" y="0"/>
                  </a:lnTo>
                  <a:lnTo>
                    <a:pt x="503" y="0"/>
                  </a:lnTo>
                  <a:lnTo>
                    <a:pt x="477" y="1"/>
                  </a:lnTo>
                  <a:lnTo>
                    <a:pt x="452" y="3"/>
                  </a:lnTo>
                  <a:lnTo>
                    <a:pt x="427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4"/>
                  </a:lnTo>
                  <a:lnTo>
                    <a:pt x="165" y="130"/>
                  </a:lnTo>
                  <a:lnTo>
                    <a:pt x="147" y="146"/>
                  </a:lnTo>
                  <a:lnTo>
                    <a:pt x="130" y="164"/>
                  </a:lnTo>
                  <a:lnTo>
                    <a:pt x="114" y="182"/>
                  </a:lnTo>
                  <a:lnTo>
                    <a:pt x="99" y="201"/>
                  </a:lnTo>
                  <a:lnTo>
                    <a:pt x="85" y="220"/>
                  </a:lnTo>
                  <a:lnTo>
                    <a:pt x="72" y="241"/>
                  </a:lnTo>
                  <a:lnTo>
                    <a:pt x="60" y="263"/>
                  </a:lnTo>
                  <a:lnTo>
                    <a:pt x="49" y="284"/>
                  </a:lnTo>
                  <a:lnTo>
                    <a:pt x="39" y="306"/>
                  </a:lnTo>
                  <a:lnTo>
                    <a:pt x="30" y="329"/>
                  </a:lnTo>
                  <a:lnTo>
                    <a:pt x="23" y="352"/>
                  </a:lnTo>
                  <a:lnTo>
                    <a:pt x="16" y="376"/>
                  </a:lnTo>
                  <a:lnTo>
                    <a:pt x="10" y="400"/>
                  </a:lnTo>
                  <a:lnTo>
                    <a:pt x="6" y="425"/>
                  </a:lnTo>
                  <a:lnTo>
                    <a:pt x="3" y="450"/>
                  </a:lnTo>
                  <a:lnTo>
                    <a:pt x="1" y="475"/>
                  </a:lnTo>
                  <a:lnTo>
                    <a:pt x="0" y="501"/>
                  </a:lnTo>
                  <a:lnTo>
                    <a:pt x="0" y="7025"/>
                  </a:lnTo>
                  <a:lnTo>
                    <a:pt x="1" y="7051"/>
                  </a:lnTo>
                  <a:lnTo>
                    <a:pt x="3" y="7076"/>
                  </a:lnTo>
                  <a:lnTo>
                    <a:pt x="6" y="7101"/>
                  </a:lnTo>
                  <a:lnTo>
                    <a:pt x="10" y="7126"/>
                  </a:lnTo>
                  <a:lnTo>
                    <a:pt x="16" y="7150"/>
                  </a:lnTo>
                  <a:lnTo>
                    <a:pt x="23" y="7174"/>
                  </a:lnTo>
                  <a:lnTo>
                    <a:pt x="30" y="7198"/>
                  </a:lnTo>
                  <a:lnTo>
                    <a:pt x="39" y="7221"/>
                  </a:lnTo>
                  <a:lnTo>
                    <a:pt x="49" y="7243"/>
                  </a:lnTo>
                  <a:lnTo>
                    <a:pt x="60" y="7264"/>
                  </a:lnTo>
                  <a:lnTo>
                    <a:pt x="72" y="7285"/>
                  </a:lnTo>
                  <a:lnTo>
                    <a:pt x="85" y="7306"/>
                  </a:lnTo>
                  <a:lnTo>
                    <a:pt x="99" y="7325"/>
                  </a:lnTo>
                  <a:lnTo>
                    <a:pt x="114" y="7344"/>
                  </a:lnTo>
                  <a:lnTo>
                    <a:pt x="130" y="7362"/>
                  </a:lnTo>
                  <a:lnTo>
                    <a:pt x="147" y="7380"/>
                  </a:lnTo>
                  <a:lnTo>
                    <a:pt x="165" y="7396"/>
                  </a:lnTo>
                  <a:lnTo>
                    <a:pt x="183" y="7412"/>
                  </a:lnTo>
                  <a:lnTo>
                    <a:pt x="202" y="7427"/>
                  </a:lnTo>
                  <a:lnTo>
                    <a:pt x="221" y="7441"/>
                  </a:lnTo>
                  <a:lnTo>
                    <a:pt x="242" y="7454"/>
                  </a:lnTo>
                  <a:lnTo>
                    <a:pt x="263" y="7467"/>
                  </a:lnTo>
                  <a:lnTo>
                    <a:pt x="285" y="7478"/>
                  </a:lnTo>
                  <a:lnTo>
                    <a:pt x="307" y="7488"/>
                  </a:lnTo>
                  <a:lnTo>
                    <a:pt x="330" y="7497"/>
                  </a:lnTo>
                  <a:lnTo>
                    <a:pt x="353" y="7505"/>
                  </a:lnTo>
                  <a:lnTo>
                    <a:pt x="377" y="7511"/>
                  </a:lnTo>
                  <a:lnTo>
                    <a:pt x="401" y="7517"/>
                  </a:lnTo>
                  <a:lnTo>
                    <a:pt x="427" y="7521"/>
                  </a:lnTo>
                  <a:lnTo>
                    <a:pt x="452" y="7524"/>
                  </a:lnTo>
                  <a:lnTo>
                    <a:pt x="477" y="7526"/>
                  </a:lnTo>
                  <a:lnTo>
                    <a:pt x="503" y="75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6" name="íṡ1ïḑe">
              <a:extLst>
                <a:ext uri="{FF2B5EF4-FFF2-40B4-BE49-F238E27FC236}">
                  <a16:creationId xmlns:a16="http://schemas.microsoft.com/office/drawing/2014/main" id="{F5FFB133-8F53-4271-BAB1-2C1A70422157}"/>
                </a:ext>
              </a:extLst>
            </p:cNvPr>
            <p:cNvSpPr/>
            <p:nvPr/>
          </p:nvSpPr>
          <p:spPr bwMode="auto">
            <a:xfrm>
              <a:off x="1620483" y="269198"/>
              <a:ext cx="76139" cy="287634"/>
            </a:xfrm>
            <a:custGeom>
              <a:avLst/>
              <a:gdLst>
                <a:gd name="T0" fmla="*/ 1511 w 2014"/>
                <a:gd name="T1" fmla="*/ 7025 h 7527"/>
                <a:gd name="T2" fmla="*/ 504 w 2014"/>
                <a:gd name="T3" fmla="*/ 7527 h 7527"/>
                <a:gd name="T4" fmla="*/ 1562 w 2014"/>
                <a:gd name="T5" fmla="*/ 7524 h 7527"/>
                <a:gd name="T6" fmla="*/ 1637 w 2014"/>
                <a:gd name="T7" fmla="*/ 7511 h 7527"/>
                <a:gd name="T8" fmla="*/ 1707 w 2014"/>
                <a:gd name="T9" fmla="*/ 7488 h 7527"/>
                <a:gd name="T10" fmla="*/ 1772 w 2014"/>
                <a:gd name="T11" fmla="*/ 7454 h 7527"/>
                <a:gd name="T12" fmla="*/ 1831 w 2014"/>
                <a:gd name="T13" fmla="*/ 7412 h 7527"/>
                <a:gd name="T14" fmla="*/ 1883 w 2014"/>
                <a:gd name="T15" fmla="*/ 7362 h 7527"/>
                <a:gd name="T16" fmla="*/ 1929 w 2014"/>
                <a:gd name="T17" fmla="*/ 7306 h 7527"/>
                <a:gd name="T18" fmla="*/ 1965 w 2014"/>
                <a:gd name="T19" fmla="*/ 7243 h 7527"/>
                <a:gd name="T20" fmla="*/ 1992 w 2014"/>
                <a:gd name="T21" fmla="*/ 7174 h 7527"/>
                <a:gd name="T22" fmla="*/ 2008 w 2014"/>
                <a:gd name="T23" fmla="*/ 7101 h 7527"/>
                <a:gd name="T24" fmla="*/ 2014 w 2014"/>
                <a:gd name="T25" fmla="*/ 7025 h 7527"/>
                <a:gd name="T26" fmla="*/ 2011 w 2014"/>
                <a:gd name="T27" fmla="*/ 450 h 7527"/>
                <a:gd name="T28" fmla="*/ 1998 w 2014"/>
                <a:gd name="T29" fmla="*/ 376 h 7527"/>
                <a:gd name="T30" fmla="*/ 1975 w 2014"/>
                <a:gd name="T31" fmla="*/ 306 h 7527"/>
                <a:gd name="T32" fmla="*/ 1942 w 2014"/>
                <a:gd name="T33" fmla="*/ 241 h 7527"/>
                <a:gd name="T34" fmla="*/ 1899 w 2014"/>
                <a:gd name="T35" fmla="*/ 182 h 7527"/>
                <a:gd name="T36" fmla="*/ 1849 w 2014"/>
                <a:gd name="T37" fmla="*/ 130 h 7527"/>
                <a:gd name="T38" fmla="*/ 1793 w 2014"/>
                <a:gd name="T39" fmla="*/ 85 h 7527"/>
                <a:gd name="T40" fmla="*/ 1729 w 2014"/>
                <a:gd name="T41" fmla="*/ 49 h 7527"/>
                <a:gd name="T42" fmla="*/ 1661 w 2014"/>
                <a:gd name="T43" fmla="*/ 22 h 7527"/>
                <a:gd name="T44" fmla="*/ 1587 w 2014"/>
                <a:gd name="T45" fmla="*/ 6 h 7527"/>
                <a:gd name="T46" fmla="*/ 1511 w 2014"/>
                <a:gd name="T47" fmla="*/ 0 h 7527"/>
                <a:gd name="T48" fmla="*/ 452 w 2014"/>
                <a:gd name="T49" fmla="*/ 3 h 7527"/>
                <a:gd name="T50" fmla="*/ 378 w 2014"/>
                <a:gd name="T51" fmla="*/ 16 h 7527"/>
                <a:gd name="T52" fmla="*/ 307 w 2014"/>
                <a:gd name="T53" fmla="*/ 39 h 7527"/>
                <a:gd name="T54" fmla="*/ 243 w 2014"/>
                <a:gd name="T55" fmla="*/ 72 h 7527"/>
                <a:gd name="T56" fmla="*/ 184 w 2014"/>
                <a:gd name="T57" fmla="*/ 114 h 7527"/>
                <a:gd name="T58" fmla="*/ 131 w 2014"/>
                <a:gd name="T59" fmla="*/ 164 h 7527"/>
                <a:gd name="T60" fmla="*/ 86 w 2014"/>
                <a:gd name="T61" fmla="*/ 220 h 7527"/>
                <a:gd name="T62" fmla="*/ 50 w 2014"/>
                <a:gd name="T63" fmla="*/ 284 h 7527"/>
                <a:gd name="T64" fmla="*/ 23 w 2014"/>
                <a:gd name="T65" fmla="*/ 352 h 7527"/>
                <a:gd name="T66" fmla="*/ 6 w 2014"/>
                <a:gd name="T67" fmla="*/ 425 h 7527"/>
                <a:gd name="T68" fmla="*/ 0 w 2014"/>
                <a:gd name="T69" fmla="*/ 501 h 7527"/>
                <a:gd name="T70" fmla="*/ 3 w 2014"/>
                <a:gd name="T71" fmla="*/ 7076 h 7527"/>
                <a:gd name="T72" fmla="*/ 16 w 2014"/>
                <a:gd name="T73" fmla="*/ 7150 h 7527"/>
                <a:gd name="T74" fmla="*/ 40 w 2014"/>
                <a:gd name="T75" fmla="*/ 7221 h 7527"/>
                <a:gd name="T76" fmla="*/ 73 w 2014"/>
                <a:gd name="T77" fmla="*/ 7285 h 7527"/>
                <a:gd name="T78" fmla="*/ 115 w 2014"/>
                <a:gd name="T79" fmla="*/ 7344 h 7527"/>
                <a:gd name="T80" fmla="*/ 165 w 2014"/>
                <a:gd name="T81" fmla="*/ 7396 h 7527"/>
                <a:gd name="T82" fmla="*/ 222 w 2014"/>
                <a:gd name="T83" fmla="*/ 7441 h 7527"/>
                <a:gd name="T84" fmla="*/ 285 w 2014"/>
                <a:gd name="T85" fmla="*/ 7478 h 7527"/>
                <a:gd name="T86" fmla="*/ 354 w 2014"/>
                <a:gd name="T87" fmla="*/ 7505 h 7527"/>
                <a:gd name="T88" fmla="*/ 427 w 2014"/>
                <a:gd name="T89" fmla="*/ 7521 h 7527"/>
                <a:gd name="T90" fmla="*/ 504 w 2014"/>
                <a:gd name="T91" fmla="*/ 7527 h 7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014" h="7527">
                  <a:moveTo>
                    <a:pt x="504" y="501"/>
                  </a:moveTo>
                  <a:lnTo>
                    <a:pt x="1511" y="501"/>
                  </a:lnTo>
                  <a:lnTo>
                    <a:pt x="1511" y="7025"/>
                  </a:lnTo>
                  <a:lnTo>
                    <a:pt x="504" y="7025"/>
                  </a:lnTo>
                  <a:lnTo>
                    <a:pt x="504" y="501"/>
                  </a:lnTo>
                  <a:close/>
                  <a:moveTo>
                    <a:pt x="504" y="7527"/>
                  </a:moveTo>
                  <a:lnTo>
                    <a:pt x="1511" y="7527"/>
                  </a:lnTo>
                  <a:lnTo>
                    <a:pt x="1537" y="7526"/>
                  </a:lnTo>
                  <a:lnTo>
                    <a:pt x="1562" y="7524"/>
                  </a:lnTo>
                  <a:lnTo>
                    <a:pt x="1587" y="7521"/>
                  </a:lnTo>
                  <a:lnTo>
                    <a:pt x="1612" y="7517"/>
                  </a:lnTo>
                  <a:lnTo>
                    <a:pt x="1637" y="7511"/>
                  </a:lnTo>
                  <a:lnTo>
                    <a:pt x="1661" y="7505"/>
                  </a:lnTo>
                  <a:lnTo>
                    <a:pt x="1684" y="7497"/>
                  </a:lnTo>
                  <a:lnTo>
                    <a:pt x="1707" y="7488"/>
                  </a:lnTo>
                  <a:lnTo>
                    <a:pt x="1729" y="7478"/>
                  </a:lnTo>
                  <a:lnTo>
                    <a:pt x="1751" y="7467"/>
                  </a:lnTo>
                  <a:lnTo>
                    <a:pt x="1772" y="7454"/>
                  </a:lnTo>
                  <a:lnTo>
                    <a:pt x="1793" y="7441"/>
                  </a:lnTo>
                  <a:lnTo>
                    <a:pt x="1812" y="7427"/>
                  </a:lnTo>
                  <a:lnTo>
                    <a:pt x="1831" y="7412"/>
                  </a:lnTo>
                  <a:lnTo>
                    <a:pt x="1849" y="7396"/>
                  </a:lnTo>
                  <a:lnTo>
                    <a:pt x="1867" y="7380"/>
                  </a:lnTo>
                  <a:lnTo>
                    <a:pt x="1883" y="7362"/>
                  </a:lnTo>
                  <a:lnTo>
                    <a:pt x="1899" y="7344"/>
                  </a:lnTo>
                  <a:lnTo>
                    <a:pt x="1915" y="7325"/>
                  </a:lnTo>
                  <a:lnTo>
                    <a:pt x="1929" y="7306"/>
                  </a:lnTo>
                  <a:lnTo>
                    <a:pt x="1942" y="7285"/>
                  </a:lnTo>
                  <a:lnTo>
                    <a:pt x="1954" y="7264"/>
                  </a:lnTo>
                  <a:lnTo>
                    <a:pt x="1965" y="7243"/>
                  </a:lnTo>
                  <a:lnTo>
                    <a:pt x="1975" y="7221"/>
                  </a:lnTo>
                  <a:lnTo>
                    <a:pt x="1984" y="7198"/>
                  </a:lnTo>
                  <a:lnTo>
                    <a:pt x="1992" y="7174"/>
                  </a:lnTo>
                  <a:lnTo>
                    <a:pt x="1998" y="7150"/>
                  </a:lnTo>
                  <a:lnTo>
                    <a:pt x="2004" y="7126"/>
                  </a:lnTo>
                  <a:lnTo>
                    <a:pt x="2008" y="7101"/>
                  </a:lnTo>
                  <a:lnTo>
                    <a:pt x="2011" y="7076"/>
                  </a:lnTo>
                  <a:lnTo>
                    <a:pt x="2013" y="7051"/>
                  </a:lnTo>
                  <a:lnTo>
                    <a:pt x="2014" y="7025"/>
                  </a:lnTo>
                  <a:lnTo>
                    <a:pt x="2014" y="501"/>
                  </a:lnTo>
                  <a:lnTo>
                    <a:pt x="2013" y="475"/>
                  </a:lnTo>
                  <a:lnTo>
                    <a:pt x="2011" y="450"/>
                  </a:lnTo>
                  <a:lnTo>
                    <a:pt x="2008" y="425"/>
                  </a:lnTo>
                  <a:lnTo>
                    <a:pt x="2004" y="400"/>
                  </a:lnTo>
                  <a:lnTo>
                    <a:pt x="1998" y="376"/>
                  </a:lnTo>
                  <a:lnTo>
                    <a:pt x="1992" y="352"/>
                  </a:lnTo>
                  <a:lnTo>
                    <a:pt x="1984" y="329"/>
                  </a:lnTo>
                  <a:lnTo>
                    <a:pt x="1975" y="306"/>
                  </a:lnTo>
                  <a:lnTo>
                    <a:pt x="1965" y="284"/>
                  </a:lnTo>
                  <a:lnTo>
                    <a:pt x="1954" y="263"/>
                  </a:lnTo>
                  <a:lnTo>
                    <a:pt x="1942" y="241"/>
                  </a:lnTo>
                  <a:lnTo>
                    <a:pt x="1929" y="220"/>
                  </a:lnTo>
                  <a:lnTo>
                    <a:pt x="1915" y="201"/>
                  </a:lnTo>
                  <a:lnTo>
                    <a:pt x="1899" y="182"/>
                  </a:lnTo>
                  <a:lnTo>
                    <a:pt x="1883" y="164"/>
                  </a:lnTo>
                  <a:lnTo>
                    <a:pt x="1867" y="146"/>
                  </a:lnTo>
                  <a:lnTo>
                    <a:pt x="1849" y="130"/>
                  </a:lnTo>
                  <a:lnTo>
                    <a:pt x="1831" y="114"/>
                  </a:lnTo>
                  <a:lnTo>
                    <a:pt x="1812" y="99"/>
                  </a:lnTo>
                  <a:lnTo>
                    <a:pt x="1793" y="85"/>
                  </a:lnTo>
                  <a:lnTo>
                    <a:pt x="1772" y="72"/>
                  </a:lnTo>
                  <a:lnTo>
                    <a:pt x="1751" y="60"/>
                  </a:lnTo>
                  <a:lnTo>
                    <a:pt x="1729" y="49"/>
                  </a:lnTo>
                  <a:lnTo>
                    <a:pt x="1707" y="39"/>
                  </a:lnTo>
                  <a:lnTo>
                    <a:pt x="1684" y="30"/>
                  </a:lnTo>
                  <a:lnTo>
                    <a:pt x="1661" y="22"/>
                  </a:lnTo>
                  <a:lnTo>
                    <a:pt x="1637" y="16"/>
                  </a:lnTo>
                  <a:lnTo>
                    <a:pt x="1612" y="10"/>
                  </a:lnTo>
                  <a:lnTo>
                    <a:pt x="1587" y="6"/>
                  </a:lnTo>
                  <a:lnTo>
                    <a:pt x="1562" y="3"/>
                  </a:lnTo>
                  <a:lnTo>
                    <a:pt x="1537" y="1"/>
                  </a:lnTo>
                  <a:lnTo>
                    <a:pt x="1511" y="0"/>
                  </a:lnTo>
                  <a:lnTo>
                    <a:pt x="504" y="0"/>
                  </a:lnTo>
                  <a:lnTo>
                    <a:pt x="478" y="1"/>
                  </a:lnTo>
                  <a:lnTo>
                    <a:pt x="452" y="3"/>
                  </a:lnTo>
                  <a:lnTo>
                    <a:pt x="427" y="6"/>
                  </a:lnTo>
                  <a:lnTo>
                    <a:pt x="402" y="10"/>
                  </a:lnTo>
                  <a:lnTo>
                    <a:pt x="378" y="16"/>
                  </a:lnTo>
                  <a:lnTo>
                    <a:pt x="354" y="22"/>
                  </a:lnTo>
                  <a:lnTo>
                    <a:pt x="331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4" y="60"/>
                  </a:lnTo>
                  <a:lnTo>
                    <a:pt x="243" y="72"/>
                  </a:lnTo>
                  <a:lnTo>
                    <a:pt x="222" y="85"/>
                  </a:lnTo>
                  <a:lnTo>
                    <a:pt x="203" y="99"/>
                  </a:lnTo>
                  <a:lnTo>
                    <a:pt x="184" y="114"/>
                  </a:lnTo>
                  <a:lnTo>
                    <a:pt x="165" y="130"/>
                  </a:lnTo>
                  <a:lnTo>
                    <a:pt x="147" y="146"/>
                  </a:lnTo>
                  <a:lnTo>
                    <a:pt x="131" y="164"/>
                  </a:lnTo>
                  <a:lnTo>
                    <a:pt x="115" y="182"/>
                  </a:lnTo>
                  <a:lnTo>
                    <a:pt x="100" y="201"/>
                  </a:lnTo>
                  <a:lnTo>
                    <a:pt x="86" y="220"/>
                  </a:lnTo>
                  <a:lnTo>
                    <a:pt x="73" y="241"/>
                  </a:lnTo>
                  <a:lnTo>
                    <a:pt x="61" y="263"/>
                  </a:lnTo>
                  <a:lnTo>
                    <a:pt x="50" y="284"/>
                  </a:lnTo>
                  <a:lnTo>
                    <a:pt x="40" y="306"/>
                  </a:lnTo>
                  <a:lnTo>
                    <a:pt x="31" y="329"/>
                  </a:lnTo>
                  <a:lnTo>
                    <a:pt x="23" y="352"/>
                  </a:lnTo>
                  <a:lnTo>
                    <a:pt x="16" y="376"/>
                  </a:lnTo>
                  <a:lnTo>
                    <a:pt x="10" y="400"/>
                  </a:lnTo>
                  <a:lnTo>
                    <a:pt x="6" y="425"/>
                  </a:lnTo>
                  <a:lnTo>
                    <a:pt x="3" y="450"/>
                  </a:lnTo>
                  <a:lnTo>
                    <a:pt x="1" y="475"/>
                  </a:lnTo>
                  <a:lnTo>
                    <a:pt x="0" y="501"/>
                  </a:lnTo>
                  <a:lnTo>
                    <a:pt x="0" y="7025"/>
                  </a:lnTo>
                  <a:lnTo>
                    <a:pt x="1" y="7051"/>
                  </a:lnTo>
                  <a:lnTo>
                    <a:pt x="3" y="7076"/>
                  </a:lnTo>
                  <a:lnTo>
                    <a:pt x="6" y="7101"/>
                  </a:lnTo>
                  <a:lnTo>
                    <a:pt x="10" y="7126"/>
                  </a:lnTo>
                  <a:lnTo>
                    <a:pt x="16" y="7150"/>
                  </a:lnTo>
                  <a:lnTo>
                    <a:pt x="23" y="7174"/>
                  </a:lnTo>
                  <a:lnTo>
                    <a:pt x="31" y="7198"/>
                  </a:lnTo>
                  <a:lnTo>
                    <a:pt x="40" y="7221"/>
                  </a:lnTo>
                  <a:lnTo>
                    <a:pt x="50" y="7243"/>
                  </a:lnTo>
                  <a:lnTo>
                    <a:pt x="61" y="7264"/>
                  </a:lnTo>
                  <a:lnTo>
                    <a:pt x="73" y="7285"/>
                  </a:lnTo>
                  <a:lnTo>
                    <a:pt x="86" y="7306"/>
                  </a:lnTo>
                  <a:lnTo>
                    <a:pt x="100" y="7325"/>
                  </a:lnTo>
                  <a:lnTo>
                    <a:pt x="115" y="7344"/>
                  </a:lnTo>
                  <a:lnTo>
                    <a:pt x="131" y="7362"/>
                  </a:lnTo>
                  <a:lnTo>
                    <a:pt x="147" y="7380"/>
                  </a:lnTo>
                  <a:lnTo>
                    <a:pt x="165" y="7396"/>
                  </a:lnTo>
                  <a:lnTo>
                    <a:pt x="184" y="7412"/>
                  </a:lnTo>
                  <a:lnTo>
                    <a:pt x="203" y="7427"/>
                  </a:lnTo>
                  <a:lnTo>
                    <a:pt x="222" y="7441"/>
                  </a:lnTo>
                  <a:lnTo>
                    <a:pt x="243" y="7454"/>
                  </a:lnTo>
                  <a:lnTo>
                    <a:pt x="264" y="7467"/>
                  </a:lnTo>
                  <a:lnTo>
                    <a:pt x="285" y="7478"/>
                  </a:lnTo>
                  <a:lnTo>
                    <a:pt x="307" y="7488"/>
                  </a:lnTo>
                  <a:lnTo>
                    <a:pt x="331" y="7497"/>
                  </a:lnTo>
                  <a:lnTo>
                    <a:pt x="354" y="7505"/>
                  </a:lnTo>
                  <a:lnTo>
                    <a:pt x="378" y="7511"/>
                  </a:lnTo>
                  <a:lnTo>
                    <a:pt x="402" y="7517"/>
                  </a:lnTo>
                  <a:lnTo>
                    <a:pt x="427" y="7521"/>
                  </a:lnTo>
                  <a:lnTo>
                    <a:pt x="452" y="7524"/>
                  </a:lnTo>
                  <a:lnTo>
                    <a:pt x="478" y="7526"/>
                  </a:lnTo>
                  <a:lnTo>
                    <a:pt x="504" y="75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7" name="íṧḻïdè">
              <a:extLst>
                <a:ext uri="{FF2B5EF4-FFF2-40B4-BE49-F238E27FC236}">
                  <a16:creationId xmlns:a16="http://schemas.microsoft.com/office/drawing/2014/main" id="{B1F823D7-728A-404E-B4EE-CC6F243A3ADB}"/>
                </a:ext>
              </a:extLst>
            </p:cNvPr>
            <p:cNvSpPr/>
            <p:nvPr/>
          </p:nvSpPr>
          <p:spPr bwMode="auto">
            <a:xfrm>
              <a:off x="738227" y="505408"/>
              <a:ext cx="246409" cy="168804"/>
            </a:xfrm>
            <a:custGeom>
              <a:avLst/>
              <a:gdLst>
                <a:gd name="T0" fmla="*/ 12071 w 16095"/>
                <a:gd name="T1" fmla="*/ 4009 h 11026"/>
                <a:gd name="T2" fmla="*/ 1458 w 16095"/>
                <a:gd name="T3" fmla="*/ 10021 h 11026"/>
                <a:gd name="T4" fmla="*/ 1291 w 16095"/>
                <a:gd name="T5" fmla="*/ 9975 h 11026"/>
                <a:gd name="T6" fmla="*/ 1153 w 16095"/>
                <a:gd name="T7" fmla="*/ 9876 h 11026"/>
                <a:gd name="T8" fmla="*/ 1055 w 16095"/>
                <a:gd name="T9" fmla="*/ 9739 h 11026"/>
                <a:gd name="T10" fmla="*/ 1009 w 16095"/>
                <a:gd name="T11" fmla="*/ 9574 h 11026"/>
                <a:gd name="T12" fmla="*/ 1016 w 16095"/>
                <a:gd name="T13" fmla="*/ 1402 h 11026"/>
                <a:gd name="T14" fmla="*/ 1078 w 16095"/>
                <a:gd name="T15" fmla="*/ 1244 h 11026"/>
                <a:gd name="T16" fmla="*/ 1189 w 16095"/>
                <a:gd name="T17" fmla="*/ 1117 h 11026"/>
                <a:gd name="T18" fmla="*/ 1336 w 16095"/>
                <a:gd name="T19" fmla="*/ 1032 h 11026"/>
                <a:gd name="T20" fmla="*/ 1509 w 16095"/>
                <a:gd name="T21" fmla="*/ 1002 h 11026"/>
                <a:gd name="T22" fmla="*/ 11214 w 16095"/>
                <a:gd name="T23" fmla="*/ 1024 h 11026"/>
                <a:gd name="T24" fmla="*/ 11366 w 16095"/>
                <a:gd name="T25" fmla="*/ 1102 h 11026"/>
                <a:gd name="T26" fmla="*/ 11482 w 16095"/>
                <a:gd name="T27" fmla="*/ 1223 h 11026"/>
                <a:gd name="T28" fmla="*/ 11552 w 16095"/>
                <a:gd name="T29" fmla="*/ 1378 h 11026"/>
                <a:gd name="T30" fmla="*/ 11567 w 16095"/>
                <a:gd name="T31" fmla="*/ 9549 h 11026"/>
                <a:gd name="T32" fmla="*/ 11529 w 16095"/>
                <a:gd name="T33" fmla="*/ 9717 h 11026"/>
                <a:gd name="T34" fmla="*/ 11438 w 16095"/>
                <a:gd name="T35" fmla="*/ 9859 h 11026"/>
                <a:gd name="T36" fmla="*/ 11305 w 16095"/>
                <a:gd name="T37" fmla="*/ 9962 h 11026"/>
                <a:gd name="T38" fmla="*/ 11142 w 16095"/>
                <a:gd name="T39" fmla="*/ 10018 h 11026"/>
                <a:gd name="T40" fmla="*/ 14618 w 16095"/>
                <a:gd name="T41" fmla="*/ 501 h 11026"/>
                <a:gd name="T42" fmla="*/ 14447 w 16095"/>
                <a:gd name="T43" fmla="*/ 520 h 11026"/>
                <a:gd name="T44" fmla="*/ 14284 w 16095"/>
                <a:gd name="T45" fmla="*/ 567 h 11026"/>
                <a:gd name="T46" fmla="*/ 14131 w 16095"/>
                <a:gd name="T47" fmla="*/ 641 h 11026"/>
                <a:gd name="T48" fmla="*/ 13992 w 16095"/>
                <a:gd name="T49" fmla="*/ 740 h 11026"/>
                <a:gd name="T50" fmla="*/ 12566 w 16095"/>
                <a:gd name="T51" fmla="*/ 1349 h 11026"/>
                <a:gd name="T52" fmla="*/ 12425 w 16095"/>
                <a:gd name="T53" fmla="*/ 851 h 11026"/>
                <a:gd name="T54" fmla="*/ 12132 w 16095"/>
                <a:gd name="T55" fmla="*/ 440 h 11026"/>
                <a:gd name="T56" fmla="*/ 11719 w 16095"/>
                <a:gd name="T57" fmla="*/ 148 h 11026"/>
                <a:gd name="T58" fmla="*/ 11219 w 16095"/>
                <a:gd name="T59" fmla="*/ 8 h 11026"/>
                <a:gd name="T60" fmla="*/ 1205 w 16095"/>
                <a:gd name="T61" fmla="*/ 31 h 11026"/>
                <a:gd name="T62" fmla="*/ 727 w 16095"/>
                <a:gd name="T63" fmla="*/ 218 h 11026"/>
                <a:gd name="T64" fmla="*/ 345 w 16095"/>
                <a:gd name="T65" fmla="*/ 547 h 11026"/>
                <a:gd name="T66" fmla="*/ 92 w 16095"/>
                <a:gd name="T67" fmla="*/ 987 h 11026"/>
                <a:gd name="T68" fmla="*/ 0 w 16095"/>
                <a:gd name="T69" fmla="*/ 1504 h 11026"/>
                <a:gd name="T70" fmla="*/ 47 w 16095"/>
                <a:gd name="T71" fmla="*/ 9898 h 11026"/>
                <a:gd name="T72" fmla="*/ 258 w 16095"/>
                <a:gd name="T73" fmla="*/ 10363 h 11026"/>
                <a:gd name="T74" fmla="*/ 606 w 16095"/>
                <a:gd name="T75" fmla="*/ 10727 h 11026"/>
                <a:gd name="T76" fmla="*/ 1060 w 16095"/>
                <a:gd name="T77" fmla="*/ 10959 h 11026"/>
                <a:gd name="T78" fmla="*/ 11065 w 16095"/>
                <a:gd name="T79" fmla="*/ 11026 h 11026"/>
                <a:gd name="T80" fmla="*/ 11584 w 16095"/>
                <a:gd name="T81" fmla="*/ 10935 h 11026"/>
                <a:gd name="T82" fmla="*/ 12025 w 16095"/>
                <a:gd name="T83" fmla="*/ 10682 h 11026"/>
                <a:gd name="T84" fmla="*/ 12356 w 16095"/>
                <a:gd name="T85" fmla="*/ 10302 h 11026"/>
                <a:gd name="T86" fmla="*/ 12543 w 16095"/>
                <a:gd name="T87" fmla="*/ 9825 h 11026"/>
                <a:gd name="T88" fmla="*/ 13954 w 16095"/>
                <a:gd name="T89" fmla="*/ 10267 h 11026"/>
                <a:gd name="T90" fmla="*/ 14089 w 16095"/>
                <a:gd name="T91" fmla="*/ 10373 h 11026"/>
                <a:gd name="T92" fmla="*/ 14239 w 16095"/>
                <a:gd name="T93" fmla="*/ 10455 h 11026"/>
                <a:gd name="T94" fmla="*/ 14400 w 16095"/>
                <a:gd name="T95" fmla="*/ 10509 h 11026"/>
                <a:gd name="T96" fmla="*/ 14569 w 16095"/>
                <a:gd name="T97" fmla="*/ 10536 h 11026"/>
                <a:gd name="T98" fmla="*/ 15242 w 16095"/>
                <a:gd name="T99" fmla="*/ 10527 h 11026"/>
                <a:gd name="T100" fmla="*/ 15569 w 16095"/>
                <a:gd name="T101" fmla="*/ 10418 h 11026"/>
                <a:gd name="T102" fmla="*/ 15833 w 16095"/>
                <a:gd name="T103" fmla="*/ 10210 h 11026"/>
                <a:gd name="T104" fmla="*/ 16016 w 16095"/>
                <a:gd name="T105" fmla="*/ 9926 h 11026"/>
                <a:gd name="T106" fmla="*/ 16094 w 16095"/>
                <a:gd name="T107" fmla="*/ 9588 h 11026"/>
                <a:gd name="T108" fmla="*/ 16063 w 16095"/>
                <a:gd name="T109" fmla="*/ 1253 h 11026"/>
                <a:gd name="T110" fmla="*/ 15923 w 16095"/>
                <a:gd name="T111" fmla="*/ 943 h 11026"/>
                <a:gd name="T112" fmla="*/ 15691 w 16095"/>
                <a:gd name="T113" fmla="*/ 701 h 11026"/>
                <a:gd name="T114" fmla="*/ 15388 w 16095"/>
                <a:gd name="T115" fmla="*/ 546 h 110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095" h="11026">
                  <a:moveTo>
                    <a:pt x="15089" y="9536"/>
                  </a:moveTo>
                  <a:lnTo>
                    <a:pt x="14642" y="9536"/>
                  </a:lnTo>
                  <a:lnTo>
                    <a:pt x="14586" y="9536"/>
                  </a:lnTo>
                  <a:lnTo>
                    <a:pt x="12574" y="7532"/>
                  </a:lnTo>
                  <a:lnTo>
                    <a:pt x="12574" y="7518"/>
                  </a:lnTo>
                  <a:lnTo>
                    <a:pt x="12071" y="7017"/>
                  </a:lnTo>
                  <a:lnTo>
                    <a:pt x="12071" y="4009"/>
                  </a:lnTo>
                  <a:lnTo>
                    <a:pt x="14586" y="1504"/>
                  </a:lnTo>
                  <a:lnTo>
                    <a:pt x="14642" y="1504"/>
                  </a:lnTo>
                  <a:lnTo>
                    <a:pt x="15089" y="1504"/>
                  </a:lnTo>
                  <a:lnTo>
                    <a:pt x="15089" y="9536"/>
                  </a:lnTo>
                  <a:close/>
                  <a:moveTo>
                    <a:pt x="1509" y="10024"/>
                  </a:moveTo>
                  <a:lnTo>
                    <a:pt x="1483" y="10023"/>
                  </a:lnTo>
                  <a:lnTo>
                    <a:pt x="1458" y="10021"/>
                  </a:lnTo>
                  <a:lnTo>
                    <a:pt x="1432" y="10018"/>
                  </a:lnTo>
                  <a:lnTo>
                    <a:pt x="1407" y="10014"/>
                  </a:lnTo>
                  <a:lnTo>
                    <a:pt x="1383" y="10008"/>
                  </a:lnTo>
                  <a:lnTo>
                    <a:pt x="1359" y="10001"/>
                  </a:lnTo>
                  <a:lnTo>
                    <a:pt x="1336" y="9993"/>
                  </a:lnTo>
                  <a:lnTo>
                    <a:pt x="1313" y="9985"/>
                  </a:lnTo>
                  <a:lnTo>
                    <a:pt x="1291" y="9975"/>
                  </a:lnTo>
                  <a:lnTo>
                    <a:pt x="1268" y="9962"/>
                  </a:lnTo>
                  <a:lnTo>
                    <a:pt x="1248" y="9950"/>
                  </a:lnTo>
                  <a:lnTo>
                    <a:pt x="1227" y="9937"/>
                  </a:lnTo>
                  <a:lnTo>
                    <a:pt x="1208" y="9923"/>
                  </a:lnTo>
                  <a:lnTo>
                    <a:pt x="1189" y="9909"/>
                  </a:lnTo>
                  <a:lnTo>
                    <a:pt x="1171" y="9893"/>
                  </a:lnTo>
                  <a:lnTo>
                    <a:pt x="1153" y="9876"/>
                  </a:lnTo>
                  <a:lnTo>
                    <a:pt x="1137" y="9859"/>
                  </a:lnTo>
                  <a:lnTo>
                    <a:pt x="1121" y="9841"/>
                  </a:lnTo>
                  <a:lnTo>
                    <a:pt x="1106" y="9822"/>
                  </a:lnTo>
                  <a:lnTo>
                    <a:pt x="1091" y="9802"/>
                  </a:lnTo>
                  <a:lnTo>
                    <a:pt x="1078" y="9782"/>
                  </a:lnTo>
                  <a:lnTo>
                    <a:pt x="1066" y="9761"/>
                  </a:lnTo>
                  <a:lnTo>
                    <a:pt x="1055" y="9739"/>
                  </a:lnTo>
                  <a:lnTo>
                    <a:pt x="1045" y="9717"/>
                  </a:lnTo>
                  <a:lnTo>
                    <a:pt x="1036" y="9695"/>
                  </a:lnTo>
                  <a:lnTo>
                    <a:pt x="1028" y="9671"/>
                  </a:lnTo>
                  <a:lnTo>
                    <a:pt x="1022" y="9648"/>
                  </a:lnTo>
                  <a:lnTo>
                    <a:pt x="1016" y="9624"/>
                  </a:lnTo>
                  <a:lnTo>
                    <a:pt x="1012" y="9599"/>
                  </a:lnTo>
                  <a:lnTo>
                    <a:pt x="1009" y="9574"/>
                  </a:lnTo>
                  <a:lnTo>
                    <a:pt x="1007" y="9549"/>
                  </a:lnTo>
                  <a:lnTo>
                    <a:pt x="1006" y="9522"/>
                  </a:lnTo>
                  <a:lnTo>
                    <a:pt x="1006" y="1504"/>
                  </a:lnTo>
                  <a:lnTo>
                    <a:pt x="1007" y="1477"/>
                  </a:lnTo>
                  <a:lnTo>
                    <a:pt x="1009" y="1452"/>
                  </a:lnTo>
                  <a:lnTo>
                    <a:pt x="1012" y="1427"/>
                  </a:lnTo>
                  <a:lnTo>
                    <a:pt x="1016" y="1402"/>
                  </a:lnTo>
                  <a:lnTo>
                    <a:pt x="1022" y="1378"/>
                  </a:lnTo>
                  <a:lnTo>
                    <a:pt x="1028" y="1354"/>
                  </a:lnTo>
                  <a:lnTo>
                    <a:pt x="1036" y="1331"/>
                  </a:lnTo>
                  <a:lnTo>
                    <a:pt x="1045" y="1308"/>
                  </a:lnTo>
                  <a:lnTo>
                    <a:pt x="1055" y="1286"/>
                  </a:lnTo>
                  <a:lnTo>
                    <a:pt x="1066" y="1264"/>
                  </a:lnTo>
                  <a:lnTo>
                    <a:pt x="1078" y="1244"/>
                  </a:lnTo>
                  <a:lnTo>
                    <a:pt x="1091" y="1223"/>
                  </a:lnTo>
                  <a:lnTo>
                    <a:pt x="1106" y="1204"/>
                  </a:lnTo>
                  <a:lnTo>
                    <a:pt x="1121" y="1185"/>
                  </a:lnTo>
                  <a:lnTo>
                    <a:pt x="1137" y="1167"/>
                  </a:lnTo>
                  <a:lnTo>
                    <a:pt x="1153" y="1149"/>
                  </a:lnTo>
                  <a:lnTo>
                    <a:pt x="1171" y="1133"/>
                  </a:lnTo>
                  <a:lnTo>
                    <a:pt x="1189" y="1117"/>
                  </a:lnTo>
                  <a:lnTo>
                    <a:pt x="1208" y="1102"/>
                  </a:lnTo>
                  <a:lnTo>
                    <a:pt x="1227" y="1088"/>
                  </a:lnTo>
                  <a:lnTo>
                    <a:pt x="1248" y="1075"/>
                  </a:lnTo>
                  <a:lnTo>
                    <a:pt x="1268" y="1063"/>
                  </a:lnTo>
                  <a:lnTo>
                    <a:pt x="1291" y="1051"/>
                  </a:lnTo>
                  <a:lnTo>
                    <a:pt x="1313" y="1041"/>
                  </a:lnTo>
                  <a:lnTo>
                    <a:pt x="1336" y="1032"/>
                  </a:lnTo>
                  <a:lnTo>
                    <a:pt x="1359" y="1024"/>
                  </a:lnTo>
                  <a:lnTo>
                    <a:pt x="1383" y="1018"/>
                  </a:lnTo>
                  <a:lnTo>
                    <a:pt x="1407" y="1012"/>
                  </a:lnTo>
                  <a:lnTo>
                    <a:pt x="1432" y="1008"/>
                  </a:lnTo>
                  <a:lnTo>
                    <a:pt x="1458" y="1005"/>
                  </a:lnTo>
                  <a:lnTo>
                    <a:pt x="1483" y="1003"/>
                  </a:lnTo>
                  <a:lnTo>
                    <a:pt x="1509" y="1002"/>
                  </a:lnTo>
                  <a:lnTo>
                    <a:pt x="11065" y="1002"/>
                  </a:lnTo>
                  <a:lnTo>
                    <a:pt x="11091" y="1003"/>
                  </a:lnTo>
                  <a:lnTo>
                    <a:pt x="11117" y="1005"/>
                  </a:lnTo>
                  <a:lnTo>
                    <a:pt x="11142" y="1008"/>
                  </a:lnTo>
                  <a:lnTo>
                    <a:pt x="11167" y="1012"/>
                  </a:lnTo>
                  <a:lnTo>
                    <a:pt x="11191" y="1018"/>
                  </a:lnTo>
                  <a:lnTo>
                    <a:pt x="11214" y="1024"/>
                  </a:lnTo>
                  <a:lnTo>
                    <a:pt x="11238" y="1032"/>
                  </a:lnTo>
                  <a:lnTo>
                    <a:pt x="11260" y="1041"/>
                  </a:lnTo>
                  <a:lnTo>
                    <a:pt x="11283" y="1051"/>
                  </a:lnTo>
                  <a:lnTo>
                    <a:pt x="11305" y="1063"/>
                  </a:lnTo>
                  <a:lnTo>
                    <a:pt x="11326" y="1075"/>
                  </a:lnTo>
                  <a:lnTo>
                    <a:pt x="11346" y="1088"/>
                  </a:lnTo>
                  <a:lnTo>
                    <a:pt x="11366" y="1102"/>
                  </a:lnTo>
                  <a:lnTo>
                    <a:pt x="11385" y="1117"/>
                  </a:lnTo>
                  <a:lnTo>
                    <a:pt x="11403" y="1133"/>
                  </a:lnTo>
                  <a:lnTo>
                    <a:pt x="11420" y="1149"/>
                  </a:lnTo>
                  <a:lnTo>
                    <a:pt x="11438" y="1167"/>
                  </a:lnTo>
                  <a:lnTo>
                    <a:pt x="11454" y="1185"/>
                  </a:lnTo>
                  <a:lnTo>
                    <a:pt x="11468" y="1204"/>
                  </a:lnTo>
                  <a:lnTo>
                    <a:pt x="11482" y="1223"/>
                  </a:lnTo>
                  <a:lnTo>
                    <a:pt x="11496" y="1244"/>
                  </a:lnTo>
                  <a:lnTo>
                    <a:pt x="11508" y="1265"/>
                  </a:lnTo>
                  <a:lnTo>
                    <a:pt x="11519" y="1286"/>
                  </a:lnTo>
                  <a:lnTo>
                    <a:pt x="11529" y="1308"/>
                  </a:lnTo>
                  <a:lnTo>
                    <a:pt x="11538" y="1331"/>
                  </a:lnTo>
                  <a:lnTo>
                    <a:pt x="11545" y="1354"/>
                  </a:lnTo>
                  <a:lnTo>
                    <a:pt x="11552" y="1378"/>
                  </a:lnTo>
                  <a:lnTo>
                    <a:pt x="11558" y="1402"/>
                  </a:lnTo>
                  <a:lnTo>
                    <a:pt x="11562" y="1427"/>
                  </a:lnTo>
                  <a:lnTo>
                    <a:pt x="11565" y="1452"/>
                  </a:lnTo>
                  <a:lnTo>
                    <a:pt x="11567" y="1477"/>
                  </a:lnTo>
                  <a:lnTo>
                    <a:pt x="11568" y="1504"/>
                  </a:lnTo>
                  <a:lnTo>
                    <a:pt x="11568" y="9522"/>
                  </a:lnTo>
                  <a:lnTo>
                    <a:pt x="11567" y="9549"/>
                  </a:lnTo>
                  <a:lnTo>
                    <a:pt x="11565" y="9574"/>
                  </a:lnTo>
                  <a:lnTo>
                    <a:pt x="11562" y="9599"/>
                  </a:lnTo>
                  <a:lnTo>
                    <a:pt x="11558" y="9624"/>
                  </a:lnTo>
                  <a:lnTo>
                    <a:pt x="11552" y="9648"/>
                  </a:lnTo>
                  <a:lnTo>
                    <a:pt x="11545" y="9671"/>
                  </a:lnTo>
                  <a:lnTo>
                    <a:pt x="11538" y="9695"/>
                  </a:lnTo>
                  <a:lnTo>
                    <a:pt x="11529" y="9717"/>
                  </a:lnTo>
                  <a:lnTo>
                    <a:pt x="11519" y="9739"/>
                  </a:lnTo>
                  <a:lnTo>
                    <a:pt x="11508" y="9761"/>
                  </a:lnTo>
                  <a:lnTo>
                    <a:pt x="11496" y="9782"/>
                  </a:lnTo>
                  <a:lnTo>
                    <a:pt x="11482" y="9802"/>
                  </a:lnTo>
                  <a:lnTo>
                    <a:pt x="11468" y="9822"/>
                  </a:lnTo>
                  <a:lnTo>
                    <a:pt x="11454" y="9841"/>
                  </a:lnTo>
                  <a:lnTo>
                    <a:pt x="11438" y="9859"/>
                  </a:lnTo>
                  <a:lnTo>
                    <a:pt x="11420" y="9876"/>
                  </a:lnTo>
                  <a:lnTo>
                    <a:pt x="11403" y="9893"/>
                  </a:lnTo>
                  <a:lnTo>
                    <a:pt x="11385" y="9909"/>
                  </a:lnTo>
                  <a:lnTo>
                    <a:pt x="11366" y="9923"/>
                  </a:lnTo>
                  <a:lnTo>
                    <a:pt x="11346" y="9937"/>
                  </a:lnTo>
                  <a:lnTo>
                    <a:pt x="11326" y="9950"/>
                  </a:lnTo>
                  <a:lnTo>
                    <a:pt x="11305" y="9962"/>
                  </a:lnTo>
                  <a:lnTo>
                    <a:pt x="11283" y="9975"/>
                  </a:lnTo>
                  <a:lnTo>
                    <a:pt x="11260" y="9985"/>
                  </a:lnTo>
                  <a:lnTo>
                    <a:pt x="11238" y="9993"/>
                  </a:lnTo>
                  <a:lnTo>
                    <a:pt x="11214" y="10001"/>
                  </a:lnTo>
                  <a:lnTo>
                    <a:pt x="11191" y="10008"/>
                  </a:lnTo>
                  <a:lnTo>
                    <a:pt x="11167" y="10014"/>
                  </a:lnTo>
                  <a:lnTo>
                    <a:pt x="11142" y="10018"/>
                  </a:lnTo>
                  <a:lnTo>
                    <a:pt x="11117" y="10021"/>
                  </a:lnTo>
                  <a:lnTo>
                    <a:pt x="11091" y="10023"/>
                  </a:lnTo>
                  <a:lnTo>
                    <a:pt x="11065" y="10024"/>
                  </a:lnTo>
                  <a:lnTo>
                    <a:pt x="1509" y="10024"/>
                  </a:lnTo>
                  <a:close/>
                  <a:moveTo>
                    <a:pt x="15089" y="501"/>
                  </a:moveTo>
                  <a:lnTo>
                    <a:pt x="14642" y="501"/>
                  </a:lnTo>
                  <a:lnTo>
                    <a:pt x="14618" y="501"/>
                  </a:lnTo>
                  <a:lnTo>
                    <a:pt x="14593" y="502"/>
                  </a:lnTo>
                  <a:lnTo>
                    <a:pt x="14569" y="504"/>
                  </a:lnTo>
                  <a:lnTo>
                    <a:pt x="14545" y="506"/>
                  </a:lnTo>
                  <a:lnTo>
                    <a:pt x="14520" y="509"/>
                  </a:lnTo>
                  <a:lnTo>
                    <a:pt x="14496" y="512"/>
                  </a:lnTo>
                  <a:lnTo>
                    <a:pt x="14471" y="516"/>
                  </a:lnTo>
                  <a:lnTo>
                    <a:pt x="14447" y="520"/>
                  </a:lnTo>
                  <a:lnTo>
                    <a:pt x="14424" y="525"/>
                  </a:lnTo>
                  <a:lnTo>
                    <a:pt x="14400" y="531"/>
                  </a:lnTo>
                  <a:lnTo>
                    <a:pt x="14377" y="537"/>
                  </a:lnTo>
                  <a:lnTo>
                    <a:pt x="14353" y="543"/>
                  </a:lnTo>
                  <a:lnTo>
                    <a:pt x="14330" y="551"/>
                  </a:lnTo>
                  <a:lnTo>
                    <a:pt x="14307" y="559"/>
                  </a:lnTo>
                  <a:lnTo>
                    <a:pt x="14284" y="567"/>
                  </a:lnTo>
                  <a:lnTo>
                    <a:pt x="14261" y="576"/>
                  </a:lnTo>
                  <a:lnTo>
                    <a:pt x="14239" y="585"/>
                  </a:lnTo>
                  <a:lnTo>
                    <a:pt x="14217" y="595"/>
                  </a:lnTo>
                  <a:lnTo>
                    <a:pt x="14195" y="606"/>
                  </a:lnTo>
                  <a:lnTo>
                    <a:pt x="14174" y="617"/>
                  </a:lnTo>
                  <a:lnTo>
                    <a:pt x="14153" y="628"/>
                  </a:lnTo>
                  <a:lnTo>
                    <a:pt x="14131" y="641"/>
                  </a:lnTo>
                  <a:lnTo>
                    <a:pt x="14110" y="654"/>
                  </a:lnTo>
                  <a:lnTo>
                    <a:pt x="14089" y="667"/>
                  </a:lnTo>
                  <a:lnTo>
                    <a:pt x="14069" y="681"/>
                  </a:lnTo>
                  <a:lnTo>
                    <a:pt x="14049" y="695"/>
                  </a:lnTo>
                  <a:lnTo>
                    <a:pt x="14030" y="710"/>
                  </a:lnTo>
                  <a:lnTo>
                    <a:pt x="14011" y="725"/>
                  </a:lnTo>
                  <a:lnTo>
                    <a:pt x="13992" y="740"/>
                  </a:lnTo>
                  <a:lnTo>
                    <a:pt x="13972" y="756"/>
                  </a:lnTo>
                  <a:lnTo>
                    <a:pt x="13954" y="773"/>
                  </a:lnTo>
                  <a:lnTo>
                    <a:pt x="13936" y="790"/>
                  </a:lnTo>
                  <a:lnTo>
                    <a:pt x="12574" y="2129"/>
                  </a:lnTo>
                  <a:lnTo>
                    <a:pt x="12574" y="1504"/>
                  </a:lnTo>
                  <a:lnTo>
                    <a:pt x="12572" y="1426"/>
                  </a:lnTo>
                  <a:lnTo>
                    <a:pt x="12566" y="1349"/>
                  </a:lnTo>
                  <a:lnTo>
                    <a:pt x="12557" y="1274"/>
                  </a:lnTo>
                  <a:lnTo>
                    <a:pt x="12543" y="1200"/>
                  </a:lnTo>
                  <a:lnTo>
                    <a:pt x="12527" y="1128"/>
                  </a:lnTo>
                  <a:lnTo>
                    <a:pt x="12506" y="1056"/>
                  </a:lnTo>
                  <a:lnTo>
                    <a:pt x="12483" y="986"/>
                  </a:lnTo>
                  <a:lnTo>
                    <a:pt x="12456" y="918"/>
                  </a:lnTo>
                  <a:lnTo>
                    <a:pt x="12425" y="851"/>
                  </a:lnTo>
                  <a:lnTo>
                    <a:pt x="12392" y="787"/>
                  </a:lnTo>
                  <a:lnTo>
                    <a:pt x="12356" y="724"/>
                  </a:lnTo>
                  <a:lnTo>
                    <a:pt x="12317" y="663"/>
                  </a:lnTo>
                  <a:lnTo>
                    <a:pt x="12274" y="603"/>
                  </a:lnTo>
                  <a:lnTo>
                    <a:pt x="12229" y="547"/>
                  </a:lnTo>
                  <a:lnTo>
                    <a:pt x="12182" y="492"/>
                  </a:lnTo>
                  <a:lnTo>
                    <a:pt x="12132" y="440"/>
                  </a:lnTo>
                  <a:lnTo>
                    <a:pt x="12079" y="390"/>
                  </a:lnTo>
                  <a:lnTo>
                    <a:pt x="12025" y="343"/>
                  </a:lnTo>
                  <a:lnTo>
                    <a:pt x="11968" y="299"/>
                  </a:lnTo>
                  <a:lnTo>
                    <a:pt x="11908" y="257"/>
                  </a:lnTo>
                  <a:lnTo>
                    <a:pt x="11848" y="218"/>
                  </a:lnTo>
                  <a:lnTo>
                    <a:pt x="11785" y="181"/>
                  </a:lnTo>
                  <a:lnTo>
                    <a:pt x="11719" y="148"/>
                  </a:lnTo>
                  <a:lnTo>
                    <a:pt x="11653" y="118"/>
                  </a:lnTo>
                  <a:lnTo>
                    <a:pt x="11584" y="91"/>
                  </a:lnTo>
                  <a:lnTo>
                    <a:pt x="11514" y="67"/>
                  </a:lnTo>
                  <a:lnTo>
                    <a:pt x="11443" y="47"/>
                  </a:lnTo>
                  <a:lnTo>
                    <a:pt x="11369" y="30"/>
                  </a:lnTo>
                  <a:lnTo>
                    <a:pt x="11295" y="17"/>
                  </a:lnTo>
                  <a:lnTo>
                    <a:pt x="11219" y="8"/>
                  </a:lnTo>
                  <a:lnTo>
                    <a:pt x="11143" y="2"/>
                  </a:lnTo>
                  <a:lnTo>
                    <a:pt x="11065" y="0"/>
                  </a:lnTo>
                  <a:lnTo>
                    <a:pt x="1509" y="0"/>
                  </a:lnTo>
                  <a:lnTo>
                    <a:pt x="1431" y="2"/>
                  </a:lnTo>
                  <a:lnTo>
                    <a:pt x="1355" y="8"/>
                  </a:lnTo>
                  <a:lnTo>
                    <a:pt x="1280" y="17"/>
                  </a:lnTo>
                  <a:lnTo>
                    <a:pt x="1205" y="31"/>
                  </a:lnTo>
                  <a:lnTo>
                    <a:pt x="1133" y="47"/>
                  </a:lnTo>
                  <a:lnTo>
                    <a:pt x="1060" y="67"/>
                  </a:lnTo>
                  <a:lnTo>
                    <a:pt x="991" y="91"/>
                  </a:lnTo>
                  <a:lnTo>
                    <a:pt x="922" y="118"/>
                  </a:lnTo>
                  <a:lnTo>
                    <a:pt x="855" y="148"/>
                  </a:lnTo>
                  <a:lnTo>
                    <a:pt x="791" y="181"/>
                  </a:lnTo>
                  <a:lnTo>
                    <a:pt x="727" y="218"/>
                  </a:lnTo>
                  <a:lnTo>
                    <a:pt x="666" y="257"/>
                  </a:lnTo>
                  <a:lnTo>
                    <a:pt x="607" y="299"/>
                  </a:lnTo>
                  <a:lnTo>
                    <a:pt x="549" y="344"/>
                  </a:lnTo>
                  <a:lnTo>
                    <a:pt x="495" y="391"/>
                  </a:lnTo>
                  <a:lnTo>
                    <a:pt x="443" y="441"/>
                  </a:lnTo>
                  <a:lnTo>
                    <a:pt x="392" y="493"/>
                  </a:lnTo>
                  <a:lnTo>
                    <a:pt x="345" y="547"/>
                  </a:lnTo>
                  <a:lnTo>
                    <a:pt x="300" y="604"/>
                  </a:lnTo>
                  <a:lnTo>
                    <a:pt x="259" y="664"/>
                  </a:lnTo>
                  <a:lnTo>
                    <a:pt x="218" y="725"/>
                  </a:lnTo>
                  <a:lnTo>
                    <a:pt x="182" y="787"/>
                  </a:lnTo>
                  <a:lnTo>
                    <a:pt x="149" y="852"/>
                  </a:lnTo>
                  <a:lnTo>
                    <a:pt x="119" y="919"/>
                  </a:lnTo>
                  <a:lnTo>
                    <a:pt x="92" y="987"/>
                  </a:lnTo>
                  <a:lnTo>
                    <a:pt x="68" y="1056"/>
                  </a:lnTo>
                  <a:lnTo>
                    <a:pt x="47" y="1128"/>
                  </a:lnTo>
                  <a:lnTo>
                    <a:pt x="31" y="1201"/>
                  </a:lnTo>
                  <a:lnTo>
                    <a:pt x="17" y="1275"/>
                  </a:lnTo>
                  <a:lnTo>
                    <a:pt x="8" y="1350"/>
                  </a:lnTo>
                  <a:lnTo>
                    <a:pt x="2" y="1426"/>
                  </a:lnTo>
                  <a:lnTo>
                    <a:pt x="0" y="1504"/>
                  </a:lnTo>
                  <a:lnTo>
                    <a:pt x="0" y="4997"/>
                  </a:lnTo>
                  <a:lnTo>
                    <a:pt x="0" y="9522"/>
                  </a:lnTo>
                  <a:lnTo>
                    <a:pt x="2" y="9600"/>
                  </a:lnTo>
                  <a:lnTo>
                    <a:pt x="8" y="9676"/>
                  </a:lnTo>
                  <a:lnTo>
                    <a:pt x="17" y="9751"/>
                  </a:lnTo>
                  <a:lnTo>
                    <a:pt x="30" y="9825"/>
                  </a:lnTo>
                  <a:lnTo>
                    <a:pt x="47" y="9898"/>
                  </a:lnTo>
                  <a:lnTo>
                    <a:pt x="67" y="9970"/>
                  </a:lnTo>
                  <a:lnTo>
                    <a:pt x="92" y="10040"/>
                  </a:lnTo>
                  <a:lnTo>
                    <a:pt x="119" y="10108"/>
                  </a:lnTo>
                  <a:lnTo>
                    <a:pt x="149" y="10174"/>
                  </a:lnTo>
                  <a:lnTo>
                    <a:pt x="182" y="10239"/>
                  </a:lnTo>
                  <a:lnTo>
                    <a:pt x="218" y="10302"/>
                  </a:lnTo>
                  <a:lnTo>
                    <a:pt x="258" y="10363"/>
                  </a:lnTo>
                  <a:lnTo>
                    <a:pt x="300" y="10422"/>
                  </a:lnTo>
                  <a:lnTo>
                    <a:pt x="344" y="10479"/>
                  </a:lnTo>
                  <a:lnTo>
                    <a:pt x="391" y="10534"/>
                  </a:lnTo>
                  <a:lnTo>
                    <a:pt x="442" y="10586"/>
                  </a:lnTo>
                  <a:lnTo>
                    <a:pt x="494" y="10635"/>
                  </a:lnTo>
                  <a:lnTo>
                    <a:pt x="549" y="10682"/>
                  </a:lnTo>
                  <a:lnTo>
                    <a:pt x="606" y="10727"/>
                  </a:lnTo>
                  <a:lnTo>
                    <a:pt x="665" y="10769"/>
                  </a:lnTo>
                  <a:lnTo>
                    <a:pt x="726" y="10808"/>
                  </a:lnTo>
                  <a:lnTo>
                    <a:pt x="790" y="10845"/>
                  </a:lnTo>
                  <a:lnTo>
                    <a:pt x="854" y="10878"/>
                  </a:lnTo>
                  <a:lnTo>
                    <a:pt x="921" y="10908"/>
                  </a:lnTo>
                  <a:lnTo>
                    <a:pt x="990" y="10935"/>
                  </a:lnTo>
                  <a:lnTo>
                    <a:pt x="1060" y="10959"/>
                  </a:lnTo>
                  <a:lnTo>
                    <a:pt x="1132" y="10979"/>
                  </a:lnTo>
                  <a:lnTo>
                    <a:pt x="1204" y="10996"/>
                  </a:lnTo>
                  <a:lnTo>
                    <a:pt x="1279" y="11009"/>
                  </a:lnTo>
                  <a:lnTo>
                    <a:pt x="1354" y="11018"/>
                  </a:lnTo>
                  <a:lnTo>
                    <a:pt x="1431" y="11024"/>
                  </a:lnTo>
                  <a:lnTo>
                    <a:pt x="1509" y="11026"/>
                  </a:lnTo>
                  <a:lnTo>
                    <a:pt x="11065" y="11026"/>
                  </a:lnTo>
                  <a:lnTo>
                    <a:pt x="11143" y="11024"/>
                  </a:lnTo>
                  <a:lnTo>
                    <a:pt x="11219" y="11018"/>
                  </a:lnTo>
                  <a:lnTo>
                    <a:pt x="11295" y="11009"/>
                  </a:lnTo>
                  <a:lnTo>
                    <a:pt x="11369" y="10996"/>
                  </a:lnTo>
                  <a:lnTo>
                    <a:pt x="11443" y="10979"/>
                  </a:lnTo>
                  <a:lnTo>
                    <a:pt x="11514" y="10959"/>
                  </a:lnTo>
                  <a:lnTo>
                    <a:pt x="11584" y="10935"/>
                  </a:lnTo>
                  <a:lnTo>
                    <a:pt x="11653" y="10908"/>
                  </a:lnTo>
                  <a:lnTo>
                    <a:pt x="11719" y="10878"/>
                  </a:lnTo>
                  <a:lnTo>
                    <a:pt x="11785" y="10845"/>
                  </a:lnTo>
                  <a:lnTo>
                    <a:pt x="11848" y="10808"/>
                  </a:lnTo>
                  <a:lnTo>
                    <a:pt x="11908" y="10769"/>
                  </a:lnTo>
                  <a:lnTo>
                    <a:pt x="11968" y="10727"/>
                  </a:lnTo>
                  <a:lnTo>
                    <a:pt x="12025" y="10682"/>
                  </a:lnTo>
                  <a:lnTo>
                    <a:pt x="12079" y="10635"/>
                  </a:lnTo>
                  <a:lnTo>
                    <a:pt x="12132" y="10586"/>
                  </a:lnTo>
                  <a:lnTo>
                    <a:pt x="12182" y="10534"/>
                  </a:lnTo>
                  <a:lnTo>
                    <a:pt x="12229" y="10479"/>
                  </a:lnTo>
                  <a:lnTo>
                    <a:pt x="12274" y="10422"/>
                  </a:lnTo>
                  <a:lnTo>
                    <a:pt x="12317" y="10363"/>
                  </a:lnTo>
                  <a:lnTo>
                    <a:pt x="12356" y="10302"/>
                  </a:lnTo>
                  <a:lnTo>
                    <a:pt x="12392" y="10239"/>
                  </a:lnTo>
                  <a:lnTo>
                    <a:pt x="12425" y="10174"/>
                  </a:lnTo>
                  <a:lnTo>
                    <a:pt x="12456" y="10108"/>
                  </a:lnTo>
                  <a:lnTo>
                    <a:pt x="12483" y="10040"/>
                  </a:lnTo>
                  <a:lnTo>
                    <a:pt x="12506" y="9970"/>
                  </a:lnTo>
                  <a:lnTo>
                    <a:pt x="12527" y="9898"/>
                  </a:lnTo>
                  <a:lnTo>
                    <a:pt x="12543" y="9825"/>
                  </a:lnTo>
                  <a:lnTo>
                    <a:pt x="12557" y="9751"/>
                  </a:lnTo>
                  <a:lnTo>
                    <a:pt x="12566" y="9676"/>
                  </a:lnTo>
                  <a:lnTo>
                    <a:pt x="12572" y="9600"/>
                  </a:lnTo>
                  <a:lnTo>
                    <a:pt x="12574" y="9522"/>
                  </a:lnTo>
                  <a:lnTo>
                    <a:pt x="12574" y="8911"/>
                  </a:lnTo>
                  <a:lnTo>
                    <a:pt x="13936" y="10250"/>
                  </a:lnTo>
                  <a:lnTo>
                    <a:pt x="13954" y="10267"/>
                  </a:lnTo>
                  <a:lnTo>
                    <a:pt x="13972" y="10284"/>
                  </a:lnTo>
                  <a:lnTo>
                    <a:pt x="13992" y="10300"/>
                  </a:lnTo>
                  <a:lnTo>
                    <a:pt x="14011" y="10315"/>
                  </a:lnTo>
                  <a:lnTo>
                    <a:pt x="14030" y="10330"/>
                  </a:lnTo>
                  <a:lnTo>
                    <a:pt x="14049" y="10345"/>
                  </a:lnTo>
                  <a:lnTo>
                    <a:pt x="14069" y="10359"/>
                  </a:lnTo>
                  <a:lnTo>
                    <a:pt x="14089" y="10373"/>
                  </a:lnTo>
                  <a:lnTo>
                    <a:pt x="14110" y="10386"/>
                  </a:lnTo>
                  <a:lnTo>
                    <a:pt x="14131" y="10400"/>
                  </a:lnTo>
                  <a:lnTo>
                    <a:pt x="14153" y="10412"/>
                  </a:lnTo>
                  <a:lnTo>
                    <a:pt x="14174" y="10423"/>
                  </a:lnTo>
                  <a:lnTo>
                    <a:pt x="14195" y="10434"/>
                  </a:lnTo>
                  <a:lnTo>
                    <a:pt x="14217" y="10445"/>
                  </a:lnTo>
                  <a:lnTo>
                    <a:pt x="14239" y="10455"/>
                  </a:lnTo>
                  <a:lnTo>
                    <a:pt x="14261" y="10464"/>
                  </a:lnTo>
                  <a:lnTo>
                    <a:pt x="14284" y="10473"/>
                  </a:lnTo>
                  <a:lnTo>
                    <a:pt x="14307" y="10481"/>
                  </a:lnTo>
                  <a:lnTo>
                    <a:pt x="14330" y="10489"/>
                  </a:lnTo>
                  <a:lnTo>
                    <a:pt x="14353" y="10497"/>
                  </a:lnTo>
                  <a:lnTo>
                    <a:pt x="14377" y="10503"/>
                  </a:lnTo>
                  <a:lnTo>
                    <a:pt x="14400" y="10509"/>
                  </a:lnTo>
                  <a:lnTo>
                    <a:pt x="14424" y="10515"/>
                  </a:lnTo>
                  <a:lnTo>
                    <a:pt x="14447" y="10520"/>
                  </a:lnTo>
                  <a:lnTo>
                    <a:pt x="14471" y="10524"/>
                  </a:lnTo>
                  <a:lnTo>
                    <a:pt x="14496" y="10528"/>
                  </a:lnTo>
                  <a:lnTo>
                    <a:pt x="14520" y="10531"/>
                  </a:lnTo>
                  <a:lnTo>
                    <a:pt x="14545" y="10534"/>
                  </a:lnTo>
                  <a:lnTo>
                    <a:pt x="14569" y="10536"/>
                  </a:lnTo>
                  <a:lnTo>
                    <a:pt x="14593" y="10538"/>
                  </a:lnTo>
                  <a:lnTo>
                    <a:pt x="14618" y="10539"/>
                  </a:lnTo>
                  <a:lnTo>
                    <a:pt x="14642" y="10539"/>
                  </a:lnTo>
                  <a:lnTo>
                    <a:pt x="15089" y="10539"/>
                  </a:lnTo>
                  <a:lnTo>
                    <a:pt x="15140" y="10538"/>
                  </a:lnTo>
                  <a:lnTo>
                    <a:pt x="15192" y="10534"/>
                  </a:lnTo>
                  <a:lnTo>
                    <a:pt x="15242" y="10527"/>
                  </a:lnTo>
                  <a:lnTo>
                    <a:pt x="15291" y="10519"/>
                  </a:lnTo>
                  <a:lnTo>
                    <a:pt x="15341" y="10507"/>
                  </a:lnTo>
                  <a:lnTo>
                    <a:pt x="15388" y="10494"/>
                  </a:lnTo>
                  <a:lnTo>
                    <a:pt x="15435" y="10478"/>
                  </a:lnTo>
                  <a:lnTo>
                    <a:pt x="15480" y="10460"/>
                  </a:lnTo>
                  <a:lnTo>
                    <a:pt x="15525" y="10440"/>
                  </a:lnTo>
                  <a:lnTo>
                    <a:pt x="15569" y="10418"/>
                  </a:lnTo>
                  <a:lnTo>
                    <a:pt x="15610" y="10394"/>
                  </a:lnTo>
                  <a:lnTo>
                    <a:pt x="15651" y="10367"/>
                  </a:lnTo>
                  <a:lnTo>
                    <a:pt x="15691" y="10339"/>
                  </a:lnTo>
                  <a:lnTo>
                    <a:pt x="15729" y="10310"/>
                  </a:lnTo>
                  <a:lnTo>
                    <a:pt x="15765" y="10278"/>
                  </a:lnTo>
                  <a:lnTo>
                    <a:pt x="15800" y="10245"/>
                  </a:lnTo>
                  <a:lnTo>
                    <a:pt x="15833" y="10210"/>
                  </a:lnTo>
                  <a:lnTo>
                    <a:pt x="15866" y="10174"/>
                  </a:lnTo>
                  <a:lnTo>
                    <a:pt x="15895" y="10136"/>
                  </a:lnTo>
                  <a:lnTo>
                    <a:pt x="15923" y="10097"/>
                  </a:lnTo>
                  <a:lnTo>
                    <a:pt x="15949" y="10056"/>
                  </a:lnTo>
                  <a:lnTo>
                    <a:pt x="15973" y="10014"/>
                  </a:lnTo>
                  <a:lnTo>
                    <a:pt x="15995" y="9971"/>
                  </a:lnTo>
                  <a:lnTo>
                    <a:pt x="16016" y="9926"/>
                  </a:lnTo>
                  <a:lnTo>
                    <a:pt x="16034" y="9881"/>
                  </a:lnTo>
                  <a:lnTo>
                    <a:pt x="16050" y="9834"/>
                  </a:lnTo>
                  <a:lnTo>
                    <a:pt x="16063" y="9787"/>
                  </a:lnTo>
                  <a:lnTo>
                    <a:pt x="16075" y="9738"/>
                  </a:lnTo>
                  <a:lnTo>
                    <a:pt x="16083" y="9689"/>
                  </a:lnTo>
                  <a:lnTo>
                    <a:pt x="16090" y="9639"/>
                  </a:lnTo>
                  <a:lnTo>
                    <a:pt x="16094" y="9588"/>
                  </a:lnTo>
                  <a:lnTo>
                    <a:pt x="16095" y="9536"/>
                  </a:lnTo>
                  <a:lnTo>
                    <a:pt x="16095" y="1504"/>
                  </a:lnTo>
                  <a:lnTo>
                    <a:pt x="16094" y="1451"/>
                  </a:lnTo>
                  <a:lnTo>
                    <a:pt x="16090" y="1401"/>
                  </a:lnTo>
                  <a:lnTo>
                    <a:pt x="16083" y="1351"/>
                  </a:lnTo>
                  <a:lnTo>
                    <a:pt x="16075" y="1301"/>
                  </a:lnTo>
                  <a:lnTo>
                    <a:pt x="16063" y="1253"/>
                  </a:lnTo>
                  <a:lnTo>
                    <a:pt x="16050" y="1205"/>
                  </a:lnTo>
                  <a:lnTo>
                    <a:pt x="16034" y="1159"/>
                  </a:lnTo>
                  <a:lnTo>
                    <a:pt x="16016" y="1114"/>
                  </a:lnTo>
                  <a:lnTo>
                    <a:pt x="15995" y="1069"/>
                  </a:lnTo>
                  <a:lnTo>
                    <a:pt x="15973" y="1025"/>
                  </a:lnTo>
                  <a:lnTo>
                    <a:pt x="15949" y="983"/>
                  </a:lnTo>
                  <a:lnTo>
                    <a:pt x="15923" y="943"/>
                  </a:lnTo>
                  <a:lnTo>
                    <a:pt x="15895" y="904"/>
                  </a:lnTo>
                  <a:lnTo>
                    <a:pt x="15866" y="866"/>
                  </a:lnTo>
                  <a:lnTo>
                    <a:pt x="15833" y="830"/>
                  </a:lnTo>
                  <a:lnTo>
                    <a:pt x="15800" y="795"/>
                  </a:lnTo>
                  <a:lnTo>
                    <a:pt x="15765" y="762"/>
                  </a:lnTo>
                  <a:lnTo>
                    <a:pt x="15729" y="730"/>
                  </a:lnTo>
                  <a:lnTo>
                    <a:pt x="15691" y="701"/>
                  </a:lnTo>
                  <a:lnTo>
                    <a:pt x="15651" y="673"/>
                  </a:lnTo>
                  <a:lnTo>
                    <a:pt x="15610" y="647"/>
                  </a:lnTo>
                  <a:lnTo>
                    <a:pt x="15569" y="622"/>
                  </a:lnTo>
                  <a:lnTo>
                    <a:pt x="15525" y="600"/>
                  </a:lnTo>
                  <a:lnTo>
                    <a:pt x="15480" y="580"/>
                  </a:lnTo>
                  <a:lnTo>
                    <a:pt x="15435" y="562"/>
                  </a:lnTo>
                  <a:lnTo>
                    <a:pt x="15388" y="546"/>
                  </a:lnTo>
                  <a:lnTo>
                    <a:pt x="15341" y="532"/>
                  </a:lnTo>
                  <a:lnTo>
                    <a:pt x="15291" y="521"/>
                  </a:lnTo>
                  <a:lnTo>
                    <a:pt x="15242" y="513"/>
                  </a:lnTo>
                  <a:lnTo>
                    <a:pt x="15192" y="506"/>
                  </a:lnTo>
                  <a:lnTo>
                    <a:pt x="15140" y="502"/>
                  </a:lnTo>
                  <a:lnTo>
                    <a:pt x="15089" y="50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8" name="i$ḻïḋe">
              <a:extLst>
                <a:ext uri="{FF2B5EF4-FFF2-40B4-BE49-F238E27FC236}">
                  <a16:creationId xmlns:a16="http://schemas.microsoft.com/office/drawing/2014/main" id="{5486E533-BE7E-4DC4-BB15-8C3D66DE4FC7}"/>
                </a:ext>
              </a:extLst>
            </p:cNvPr>
            <p:cNvSpPr/>
            <p:nvPr/>
          </p:nvSpPr>
          <p:spPr bwMode="auto">
            <a:xfrm>
              <a:off x="3166381" y="80534"/>
              <a:ext cx="107841" cy="107841"/>
            </a:xfrm>
            <a:custGeom>
              <a:avLst/>
              <a:gdLst>
                <a:gd name="T0" fmla="*/ 4769 w 5269"/>
                <a:gd name="T1" fmla="*/ 5046 h 5270"/>
                <a:gd name="T2" fmla="*/ 4779 w 5269"/>
                <a:gd name="T3" fmla="*/ 5094 h 5270"/>
                <a:gd name="T4" fmla="*/ 4798 w 5269"/>
                <a:gd name="T5" fmla="*/ 5139 h 5270"/>
                <a:gd name="T6" fmla="*/ 4825 w 5269"/>
                <a:gd name="T7" fmla="*/ 5178 h 5270"/>
                <a:gd name="T8" fmla="*/ 4859 w 5269"/>
                <a:gd name="T9" fmla="*/ 5213 h 5270"/>
                <a:gd name="T10" fmla="*/ 4898 w 5269"/>
                <a:gd name="T11" fmla="*/ 5240 h 5270"/>
                <a:gd name="T12" fmla="*/ 4944 w 5269"/>
                <a:gd name="T13" fmla="*/ 5258 h 5270"/>
                <a:gd name="T14" fmla="*/ 4993 w 5269"/>
                <a:gd name="T15" fmla="*/ 5268 h 5270"/>
                <a:gd name="T16" fmla="*/ 5044 w 5269"/>
                <a:gd name="T17" fmla="*/ 5268 h 5270"/>
                <a:gd name="T18" fmla="*/ 5092 w 5269"/>
                <a:gd name="T19" fmla="*/ 5258 h 5270"/>
                <a:gd name="T20" fmla="*/ 5137 w 5269"/>
                <a:gd name="T21" fmla="*/ 5239 h 5270"/>
                <a:gd name="T22" fmla="*/ 5177 w 5269"/>
                <a:gd name="T23" fmla="*/ 5213 h 5270"/>
                <a:gd name="T24" fmla="*/ 5212 w 5269"/>
                <a:gd name="T25" fmla="*/ 5178 h 5270"/>
                <a:gd name="T26" fmla="*/ 5239 w 5269"/>
                <a:gd name="T27" fmla="*/ 5138 h 5270"/>
                <a:gd name="T28" fmla="*/ 5258 w 5269"/>
                <a:gd name="T29" fmla="*/ 5093 h 5270"/>
                <a:gd name="T30" fmla="*/ 5268 w 5269"/>
                <a:gd name="T31" fmla="*/ 5044 h 5270"/>
                <a:gd name="T32" fmla="*/ 5268 w 5269"/>
                <a:gd name="T33" fmla="*/ 5015 h 5270"/>
                <a:gd name="T34" fmla="*/ 5165 w 5269"/>
                <a:gd name="T35" fmla="*/ 4006 h 5270"/>
                <a:gd name="T36" fmla="*/ 4873 w 5269"/>
                <a:gd name="T37" fmla="*/ 3067 h 5270"/>
                <a:gd name="T38" fmla="*/ 4412 w 5269"/>
                <a:gd name="T39" fmla="*/ 2216 h 5270"/>
                <a:gd name="T40" fmla="*/ 3801 w 5269"/>
                <a:gd name="T41" fmla="*/ 1475 h 5270"/>
                <a:gd name="T42" fmla="*/ 3061 w 5269"/>
                <a:gd name="T43" fmla="*/ 863 h 5270"/>
                <a:gd name="T44" fmla="*/ 2211 w 5269"/>
                <a:gd name="T45" fmla="*/ 401 h 5270"/>
                <a:gd name="T46" fmla="*/ 1272 w 5269"/>
                <a:gd name="T47" fmla="*/ 108 h 5270"/>
                <a:gd name="T48" fmla="*/ 264 w 5269"/>
                <a:gd name="T49" fmla="*/ 3 h 5270"/>
                <a:gd name="T50" fmla="*/ 226 w 5269"/>
                <a:gd name="T51" fmla="*/ 1 h 5270"/>
                <a:gd name="T52" fmla="*/ 176 w 5269"/>
                <a:gd name="T53" fmla="*/ 11 h 5270"/>
                <a:gd name="T54" fmla="*/ 131 w 5269"/>
                <a:gd name="T55" fmla="*/ 30 h 5270"/>
                <a:gd name="T56" fmla="*/ 91 w 5269"/>
                <a:gd name="T57" fmla="*/ 58 h 5270"/>
                <a:gd name="T58" fmla="*/ 57 w 5269"/>
                <a:gd name="T59" fmla="*/ 92 h 5270"/>
                <a:gd name="T60" fmla="*/ 30 w 5269"/>
                <a:gd name="T61" fmla="*/ 132 h 5270"/>
                <a:gd name="T62" fmla="*/ 11 w 5269"/>
                <a:gd name="T63" fmla="*/ 177 h 5270"/>
                <a:gd name="T64" fmla="*/ 2 w 5269"/>
                <a:gd name="T65" fmla="*/ 225 h 5270"/>
                <a:gd name="T66" fmla="*/ 2 w 5269"/>
                <a:gd name="T67" fmla="*/ 276 h 5270"/>
                <a:gd name="T68" fmla="*/ 11 w 5269"/>
                <a:gd name="T69" fmla="*/ 326 h 5270"/>
                <a:gd name="T70" fmla="*/ 30 w 5269"/>
                <a:gd name="T71" fmla="*/ 371 h 5270"/>
                <a:gd name="T72" fmla="*/ 57 w 5269"/>
                <a:gd name="T73" fmla="*/ 411 h 5270"/>
                <a:gd name="T74" fmla="*/ 91 w 5269"/>
                <a:gd name="T75" fmla="*/ 444 h 5270"/>
                <a:gd name="T76" fmla="*/ 131 w 5269"/>
                <a:gd name="T77" fmla="*/ 471 h 5270"/>
                <a:gd name="T78" fmla="*/ 175 w 5269"/>
                <a:gd name="T79" fmla="*/ 490 h 5270"/>
                <a:gd name="T80" fmla="*/ 225 w 5269"/>
                <a:gd name="T81" fmla="*/ 501 h 5270"/>
                <a:gd name="T82" fmla="*/ 481 w 5269"/>
                <a:gd name="T83" fmla="*/ 510 h 5270"/>
                <a:gd name="T84" fmla="*/ 1378 w 5269"/>
                <a:gd name="T85" fmla="*/ 647 h 5270"/>
                <a:gd name="T86" fmla="*/ 2206 w 5269"/>
                <a:gd name="T87" fmla="*/ 950 h 5270"/>
                <a:gd name="T88" fmla="*/ 2950 w 5269"/>
                <a:gd name="T89" fmla="*/ 1403 h 5270"/>
                <a:gd name="T90" fmla="*/ 3592 w 5269"/>
                <a:gd name="T91" fmla="*/ 1986 h 5270"/>
                <a:gd name="T92" fmla="*/ 4112 w 5269"/>
                <a:gd name="T93" fmla="*/ 2680 h 5270"/>
                <a:gd name="T94" fmla="*/ 4492 w 5269"/>
                <a:gd name="T95" fmla="*/ 3469 h 5270"/>
                <a:gd name="T96" fmla="*/ 4714 w 5269"/>
                <a:gd name="T97" fmla="*/ 4333 h 5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269" h="5270">
                  <a:moveTo>
                    <a:pt x="4766" y="5021"/>
                  </a:moveTo>
                  <a:lnTo>
                    <a:pt x="4767" y="5021"/>
                  </a:lnTo>
                  <a:lnTo>
                    <a:pt x="4768" y="5033"/>
                  </a:lnTo>
                  <a:lnTo>
                    <a:pt x="4769" y="5046"/>
                  </a:lnTo>
                  <a:lnTo>
                    <a:pt x="4770" y="5058"/>
                  </a:lnTo>
                  <a:lnTo>
                    <a:pt x="4773" y="5071"/>
                  </a:lnTo>
                  <a:lnTo>
                    <a:pt x="4775" y="5083"/>
                  </a:lnTo>
                  <a:lnTo>
                    <a:pt x="4779" y="5094"/>
                  </a:lnTo>
                  <a:lnTo>
                    <a:pt x="4783" y="5106"/>
                  </a:lnTo>
                  <a:lnTo>
                    <a:pt x="4787" y="5117"/>
                  </a:lnTo>
                  <a:lnTo>
                    <a:pt x="4792" y="5128"/>
                  </a:lnTo>
                  <a:lnTo>
                    <a:pt x="4798" y="5139"/>
                  </a:lnTo>
                  <a:lnTo>
                    <a:pt x="4804" y="5149"/>
                  </a:lnTo>
                  <a:lnTo>
                    <a:pt x="4810" y="5159"/>
                  </a:lnTo>
                  <a:lnTo>
                    <a:pt x="4817" y="5169"/>
                  </a:lnTo>
                  <a:lnTo>
                    <a:pt x="4825" y="5178"/>
                  </a:lnTo>
                  <a:lnTo>
                    <a:pt x="4833" y="5187"/>
                  </a:lnTo>
                  <a:lnTo>
                    <a:pt x="4841" y="5196"/>
                  </a:lnTo>
                  <a:lnTo>
                    <a:pt x="4850" y="5204"/>
                  </a:lnTo>
                  <a:lnTo>
                    <a:pt x="4859" y="5213"/>
                  </a:lnTo>
                  <a:lnTo>
                    <a:pt x="4868" y="5220"/>
                  </a:lnTo>
                  <a:lnTo>
                    <a:pt x="4878" y="5227"/>
                  </a:lnTo>
                  <a:lnTo>
                    <a:pt x="4888" y="5234"/>
                  </a:lnTo>
                  <a:lnTo>
                    <a:pt x="4898" y="5240"/>
                  </a:lnTo>
                  <a:lnTo>
                    <a:pt x="4909" y="5245"/>
                  </a:lnTo>
                  <a:lnTo>
                    <a:pt x="4920" y="5250"/>
                  </a:lnTo>
                  <a:lnTo>
                    <a:pt x="4932" y="5255"/>
                  </a:lnTo>
                  <a:lnTo>
                    <a:pt x="4944" y="5258"/>
                  </a:lnTo>
                  <a:lnTo>
                    <a:pt x="4956" y="5262"/>
                  </a:lnTo>
                  <a:lnTo>
                    <a:pt x="4968" y="5265"/>
                  </a:lnTo>
                  <a:lnTo>
                    <a:pt x="4980" y="5267"/>
                  </a:lnTo>
                  <a:lnTo>
                    <a:pt x="4993" y="5268"/>
                  </a:lnTo>
                  <a:lnTo>
                    <a:pt x="5005" y="5269"/>
                  </a:lnTo>
                  <a:lnTo>
                    <a:pt x="5018" y="5270"/>
                  </a:lnTo>
                  <a:lnTo>
                    <a:pt x="5031" y="5269"/>
                  </a:lnTo>
                  <a:lnTo>
                    <a:pt x="5044" y="5268"/>
                  </a:lnTo>
                  <a:lnTo>
                    <a:pt x="5056" y="5267"/>
                  </a:lnTo>
                  <a:lnTo>
                    <a:pt x="5068" y="5264"/>
                  </a:lnTo>
                  <a:lnTo>
                    <a:pt x="5080" y="5262"/>
                  </a:lnTo>
                  <a:lnTo>
                    <a:pt x="5092" y="5258"/>
                  </a:lnTo>
                  <a:lnTo>
                    <a:pt x="5104" y="5254"/>
                  </a:lnTo>
                  <a:lnTo>
                    <a:pt x="5115" y="5250"/>
                  </a:lnTo>
                  <a:lnTo>
                    <a:pt x="5126" y="5245"/>
                  </a:lnTo>
                  <a:lnTo>
                    <a:pt x="5137" y="5239"/>
                  </a:lnTo>
                  <a:lnTo>
                    <a:pt x="5148" y="5233"/>
                  </a:lnTo>
                  <a:lnTo>
                    <a:pt x="5158" y="5227"/>
                  </a:lnTo>
                  <a:lnTo>
                    <a:pt x="5167" y="5220"/>
                  </a:lnTo>
                  <a:lnTo>
                    <a:pt x="5177" y="5213"/>
                  </a:lnTo>
                  <a:lnTo>
                    <a:pt x="5186" y="5204"/>
                  </a:lnTo>
                  <a:lnTo>
                    <a:pt x="5195" y="5195"/>
                  </a:lnTo>
                  <a:lnTo>
                    <a:pt x="5204" y="5187"/>
                  </a:lnTo>
                  <a:lnTo>
                    <a:pt x="5212" y="5178"/>
                  </a:lnTo>
                  <a:lnTo>
                    <a:pt x="5219" y="5168"/>
                  </a:lnTo>
                  <a:lnTo>
                    <a:pt x="5226" y="5158"/>
                  </a:lnTo>
                  <a:lnTo>
                    <a:pt x="5233" y="5148"/>
                  </a:lnTo>
                  <a:lnTo>
                    <a:pt x="5239" y="5138"/>
                  </a:lnTo>
                  <a:lnTo>
                    <a:pt x="5244" y="5127"/>
                  </a:lnTo>
                  <a:lnTo>
                    <a:pt x="5249" y="5116"/>
                  </a:lnTo>
                  <a:lnTo>
                    <a:pt x="5254" y="5105"/>
                  </a:lnTo>
                  <a:lnTo>
                    <a:pt x="5258" y="5093"/>
                  </a:lnTo>
                  <a:lnTo>
                    <a:pt x="5261" y="5081"/>
                  </a:lnTo>
                  <a:lnTo>
                    <a:pt x="5264" y="5069"/>
                  </a:lnTo>
                  <a:lnTo>
                    <a:pt x="5266" y="5057"/>
                  </a:lnTo>
                  <a:lnTo>
                    <a:pt x="5268" y="5044"/>
                  </a:lnTo>
                  <a:lnTo>
                    <a:pt x="5269" y="5031"/>
                  </a:lnTo>
                  <a:lnTo>
                    <a:pt x="5269" y="5019"/>
                  </a:lnTo>
                  <a:lnTo>
                    <a:pt x="5269" y="5017"/>
                  </a:lnTo>
                  <a:lnTo>
                    <a:pt x="5268" y="5015"/>
                  </a:lnTo>
                  <a:lnTo>
                    <a:pt x="5261" y="4757"/>
                  </a:lnTo>
                  <a:lnTo>
                    <a:pt x="5242" y="4503"/>
                  </a:lnTo>
                  <a:lnTo>
                    <a:pt x="5210" y="4252"/>
                  </a:lnTo>
                  <a:lnTo>
                    <a:pt x="5165" y="4006"/>
                  </a:lnTo>
                  <a:lnTo>
                    <a:pt x="5109" y="3763"/>
                  </a:lnTo>
                  <a:lnTo>
                    <a:pt x="5042" y="3526"/>
                  </a:lnTo>
                  <a:lnTo>
                    <a:pt x="4963" y="3293"/>
                  </a:lnTo>
                  <a:lnTo>
                    <a:pt x="4873" y="3067"/>
                  </a:lnTo>
                  <a:lnTo>
                    <a:pt x="4773" y="2845"/>
                  </a:lnTo>
                  <a:lnTo>
                    <a:pt x="4663" y="2629"/>
                  </a:lnTo>
                  <a:lnTo>
                    <a:pt x="4542" y="2419"/>
                  </a:lnTo>
                  <a:lnTo>
                    <a:pt x="4412" y="2216"/>
                  </a:lnTo>
                  <a:lnTo>
                    <a:pt x="4272" y="2020"/>
                  </a:lnTo>
                  <a:lnTo>
                    <a:pt x="4124" y="1830"/>
                  </a:lnTo>
                  <a:lnTo>
                    <a:pt x="3967" y="1648"/>
                  </a:lnTo>
                  <a:lnTo>
                    <a:pt x="3801" y="1475"/>
                  </a:lnTo>
                  <a:lnTo>
                    <a:pt x="3627" y="1309"/>
                  </a:lnTo>
                  <a:lnTo>
                    <a:pt x="3446" y="1152"/>
                  </a:lnTo>
                  <a:lnTo>
                    <a:pt x="3256" y="1003"/>
                  </a:lnTo>
                  <a:lnTo>
                    <a:pt x="3061" y="863"/>
                  </a:lnTo>
                  <a:lnTo>
                    <a:pt x="2858" y="733"/>
                  </a:lnTo>
                  <a:lnTo>
                    <a:pt x="2648" y="612"/>
                  </a:lnTo>
                  <a:lnTo>
                    <a:pt x="2433" y="501"/>
                  </a:lnTo>
                  <a:lnTo>
                    <a:pt x="2211" y="401"/>
                  </a:lnTo>
                  <a:lnTo>
                    <a:pt x="1984" y="311"/>
                  </a:lnTo>
                  <a:lnTo>
                    <a:pt x="1751" y="231"/>
                  </a:lnTo>
                  <a:lnTo>
                    <a:pt x="1514" y="164"/>
                  </a:lnTo>
                  <a:lnTo>
                    <a:pt x="1272" y="108"/>
                  </a:lnTo>
                  <a:lnTo>
                    <a:pt x="1025" y="63"/>
                  </a:lnTo>
                  <a:lnTo>
                    <a:pt x="776" y="30"/>
                  </a:lnTo>
                  <a:lnTo>
                    <a:pt x="521" y="10"/>
                  </a:lnTo>
                  <a:lnTo>
                    <a:pt x="264" y="3"/>
                  </a:lnTo>
                  <a:lnTo>
                    <a:pt x="258" y="1"/>
                  </a:lnTo>
                  <a:lnTo>
                    <a:pt x="251" y="0"/>
                  </a:lnTo>
                  <a:lnTo>
                    <a:pt x="238" y="0"/>
                  </a:lnTo>
                  <a:lnTo>
                    <a:pt x="226" y="1"/>
                  </a:lnTo>
                  <a:lnTo>
                    <a:pt x="212" y="3"/>
                  </a:lnTo>
                  <a:lnTo>
                    <a:pt x="200" y="5"/>
                  </a:lnTo>
                  <a:lnTo>
                    <a:pt x="188" y="8"/>
                  </a:lnTo>
                  <a:lnTo>
                    <a:pt x="176" y="11"/>
                  </a:lnTo>
                  <a:lnTo>
                    <a:pt x="164" y="15"/>
                  </a:lnTo>
                  <a:lnTo>
                    <a:pt x="153" y="20"/>
                  </a:lnTo>
                  <a:lnTo>
                    <a:pt x="142" y="25"/>
                  </a:lnTo>
                  <a:lnTo>
                    <a:pt x="131" y="30"/>
                  </a:lnTo>
                  <a:lnTo>
                    <a:pt x="121" y="37"/>
                  </a:lnTo>
                  <a:lnTo>
                    <a:pt x="110" y="44"/>
                  </a:lnTo>
                  <a:lnTo>
                    <a:pt x="101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1"/>
                  </a:lnTo>
                  <a:lnTo>
                    <a:pt x="43" y="111"/>
                  </a:lnTo>
                  <a:lnTo>
                    <a:pt x="36" y="121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5" y="301"/>
                  </a:lnTo>
                  <a:lnTo>
                    <a:pt x="8" y="314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1"/>
                  </a:lnTo>
                  <a:lnTo>
                    <a:pt x="36" y="381"/>
                  </a:lnTo>
                  <a:lnTo>
                    <a:pt x="43" y="391"/>
                  </a:lnTo>
                  <a:lnTo>
                    <a:pt x="50" y="401"/>
                  </a:lnTo>
                  <a:lnTo>
                    <a:pt x="57" y="411"/>
                  </a:lnTo>
                  <a:lnTo>
                    <a:pt x="65" y="420"/>
                  </a:lnTo>
                  <a:lnTo>
                    <a:pt x="73" y="428"/>
                  </a:lnTo>
                  <a:lnTo>
                    <a:pt x="82" y="437"/>
                  </a:lnTo>
                  <a:lnTo>
                    <a:pt x="91" y="444"/>
                  </a:lnTo>
                  <a:lnTo>
                    <a:pt x="100" y="452"/>
                  </a:lnTo>
                  <a:lnTo>
                    <a:pt x="110" y="459"/>
                  </a:lnTo>
                  <a:lnTo>
                    <a:pt x="120" y="465"/>
                  </a:lnTo>
                  <a:lnTo>
                    <a:pt x="131" y="471"/>
                  </a:lnTo>
                  <a:lnTo>
                    <a:pt x="141" y="477"/>
                  </a:lnTo>
                  <a:lnTo>
                    <a:pt x="152" y="482"/>
                  </a:lnTo>
                  <a:lnTo>
                    <a:pt x="164" y="486"/>
                  </a:lnTo>
                  <a:lnTo>
                    <a:pt x="175" y="490"/>
                  </a:lnTo>
                  <a:lnTo>
                    <a:pt x="187" y="494"/>
                  </a:lnTo>
                  <a:lnTo>
                    <a:pt x="199" y="497"/>
                  </a:lnTo>
                  <a:lnTo>
                    <a:pt x="211" y="499"/>
                  </a:lnTo>
                  <a:lnTo>
                    <a:pt x="225" y="501"/>
                  </a:lnTo>
                  <a:lnTo>
                    <a:pt x="237" y="502"/>
                  </a:lnTo>
                  <a:lnTo>
                    <a:pt x="250" y="502"/>
                  </a:lnTo>
                  <a:lnTo>
                    <a:pt x="250" y="504"/>
                  </a:lnTo>
                  <a:lnTo>
                    <a:pt x="481" y="510"/>
                  </a:lnTo>
                  <a:lnTo>
                    <a:pt x="711" y="527"/>
                  </a:lnTo>
                  <a:lnTo>
                    <a:pt x="937" y="556"/>
                  </a:lnTo>
                  <a:lnTo>
                    <a:pt x="1159" y="597"/>
                  </a:lnTo>
                  <a:lnTo>
                    <a:pt x="1378" y="647"/>
                  </a:lnTo>
                  <a:lnTo>
                    <a:pt x="1591" y="708"/>
                  </a:lnTo>
                  <a:lnTo>
                    <a:pt x="1801" y="778"/>
                  </a:lnTo>
                  <a:lnTo>
                    <a:pt x="2006" y="860"/>
                  </a:lnTo>
                  <a:lnTo>
                    <a:pt x="2206" y="950"/>
                  </a:lnTo>
                  <a:lnTo>
                    <a:pt x="2400" y="1050"/>
                  </a:lnTo>
                  <a:lnTo>
                    <a:pt x="2590" y="1159"/>
                  </a:lnTo>
                  <a:lnTo>
                    <a:pt x="2774" y="1276"/>
                  </a:lnTo>
                  <a:lnTo>
                    <a:pt x="2950" y="1403"/>
                  </a:lnTo>
                  <a:lnTo>
                    <a:pt x="3121" y="1537"/>
                  </a:lnTo>
                  <a:lnTo>
                    <a:pt x="3285" y="1679"/>
                  </a:lnTo>
                  <a:lnTo>
                    <a:pt x="3442" y="1828"/>
                  </a:lnTo>
                  <a:lnTo>
                    <a:pt x="3592" y="1986"/>
                  </a:lnTo>
                  <a:lnTo>
                    <a:pt x="3733" y="2149"/>
                  </a:lnTo>
                  <a:lnTo>
                    <a:pt x="3868" y="2320"/>
                  </a:lnTo>
                  <a:lnTo>
                    <a:pt x="3994" y="2498"/>
                  </a:lnTo>
                  <a:lnTo>
                    <a:pt x="4112" y="2680"/>
                  </a:lnTo>
                  <a:lnTo>
                    <a:pt x="4220" y="2870"/>
                  </a:lnTo>
                  <a:lnTo>
                    <a:pt x="4320" y="3064"/>
                  </a:lnTo>
                  <a:lnTo>
                    <a:pt x="4411" y="3264"/>
                  </a:lnTo>
                  <a:lnTo>
                    <a:pt x="4492" y="3469"/>
                  </a:lnTo>
                  <a:lnTo>
                    <a:pt x="4562" y="3679"/>
                  </a:lnTo>
                  <a:lnTo>
                    <a:pt x="4623" y="3893"/>
                  </a:lnTo>
                  <a:lnTo>
                    <a:pt x="4674" y="4111"/>
                  </a:lnTo>
                  <a:lnTo>
                    <a:pt x="4714" y="4333"/>
                  </a:lnTo>
                  <a:lnTo>
                    <a:pt x="4743" y="4559"/>
                  </a:lnTo>
                  <a:lnTo>
                    <a:pt x="4760" y="4788"/>
                  </a:lnTo>
                  <a:lnTo>
                    <a:pt x="4766" y="50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9" name="íṧľïḓe">
              <a:extLst>
                <a:ext uri="{FF2B5EF4-FFF2-40B4-BE49-F238E27FC236}">
                  <a16:creationId xmlns:a16="http://schemas.microsoft.com/office/drawing/2014/main" id="{4A0ACEC3-33F0-4D86-97BA-AC208C1D0A20}"/>
                </a:ext>
              </a:extLst>
            </p:cNvPr>
            <p:cNvSpPr/>
            <p:nvPr/>
          </p:nvSpPr>
          <p:spPr bwMode="auto">
            <a:xfrm>
              <a:off x="2987651" y="39811"/>
              <a:ext cx="327294" cy="327293"/>
            </a:xfrm>
            <a:custGeom>
              <a:avLst/>
              <a:gdLst>
                <a:gd name="T0" fmla="*/ 14950 w 16057"/>
                <a:gd name="T1" fmla="*/ 12851 h 16058"/>
                <a:gd name="T2" fmla="*/ 14846 w 16057"/>
                <a:gd name="T3" fmla="*/ 12953 h 16058"/>
                <a:gd name="T4" fmla="*/ 14717 w 16057"/>
                <a:gd name="T5" fmla="*/ 13020 h 16058"/>
                <a:gd name="T6" fmla="*/ 14571 w 16057"/>
                <a:gd name="T7" fmla="*/ 13047 h 16058"/>
                <a:gd name="T8" fmla="*/ 3017 w 16057"/>
                <a:gd name="T9" fmla="*/ 1430 h 16058"/>
                <a:gd name="T10" fmla="*/ 3059 w 16057"/>
                <a:gd name="T11" fmla="*/ 1290 h 16058"/>
                <a:gd name="T12" fmla="*/ 3139 w 16057"/>
                <a:gd name="T13" fmla="*/ 1169 h 16058"/>
                <a:gd name="T14" fmla="*/ 3253 w 16057"/>
                <a:gd name="T15" fmla="*/ 1076 h 16058"/>
                <a:gd name="T16" fmla="*/ 3414 w 16057"/>
                <a:gd name="T17" fmla="*/ 1014 h 16058"/>
                <a:gd name="T18" fmla="*/ 3611 w 16057"/>
                <a:gd name="T19" fmla="*/ 1014 h 16058"/>
                <a:gd name="T20" fmla="*/ 3791 w 16057"/>
                <a:gd name="T21" fmla="*/ 1088 h 16058"/>
                <a:gd name="T22" fmla="*/ 14944 w 16057"/>
                <a:gd name="T23" fmla="*/ 12233 h 16058"/>
                <a:gd name="T24" fmla="*/ 15018 w 16057"/>
                <a:gd name="T25" fmla="*/ 12360 h 16058"/>
                <a:gd name="T26" fmla="*/ 15052 w 16057"/>
                <a:gd name="T27" fmla="*/ 12502 h 16058"/>
                <a:gd name="T28" fmla="*/ 15043 w 16057"/>
                <a:gd name="T29" fmla="*/ 12647 h 16058"/>
                <a:gd name="T30" fmla="*/ 7620 w 16057"/>
                <a:gd name="T31" fmla="*/ 13048 h 16058"/>
                <a:gd name="T32" fmla="*/ 7425 w 16057"/>
                <a:gd name="T33" fmla="*/ 13092 h 16058"/>
                <a:gd name="T34" fmla="*/ 3008 w 16057"/>
                <a:gd name="T35" fmla="*/ 8452 h 16058"/>
                <a:gd name="T36" fmla="*/ 5373 w 16057"/>
                <a:gd name="T37" fmla="*/ 14908 h 16058"/>
                <a:gd name="T38" fmla="*/ 5225 w 16057"/>
                <a:gd name="T39" fmla="*/ 15010 h 16058"/>
                <a:gd name="T40" fmla="*/ 5050 w 16057"/>
                <a:gd name="T41" fmla="*/ 15053 h 16058"/>
                <a:gd name="T42" fmla="*/ 4906 w 16057"/>
                <a:gd name="T43" fmla="*/ 15041 h 16058"/>
                <a:gd name="T44" fmla="*/ 4712 w 16057"/>
                <a:gd name="T45" fmla="*/ 14951 h 16058"/>
                <a:gd name="T46" fmla="*/ 1117 w 16057"/>
                <a:gd name="T47" fmla="*/ 11358 h 16058"/>
                <a:gd name="T48" fmla="*/ 1022 w 16057"/>
                <a:gd name="T49" fmla="*/ 11175 h 16058"/>
                <a:gd name="T50" fmla="*/ 1004 w 16057"/>
                <a:gd name="T51" fmla="*/ 11025 h 16058"/>
                <a:gd name="T52" fmla="*/ 1038 w 16057"/>
                <a:gd name="T53" fmla="*/ 10858 h 16058"/>
                <a:gd name="T54" fmla="*/ 1139 w 16057"/>
                <a:gd name="T55" fmla="*/ 10697 h 16058"/>
                <a:gd name="T56" fmla="*/ 4578 w 16057"/>
                <a:gd name="T57" fmla="*/ 442 h 16058"/>
                <a:gd name="T58" fmla="*/ 4345 w 16057"/>
                <a:gd name="T59" fmla="*/ 251 h 16058"/>
                <a:gd name="T60" fmla="*/ 4084 w 16057"/>
                <a:gd name="T61" fmla="*/ 112 h 16058"/>
                <a:gd name="T62" fmla="*/ 3804 w 16057"/>
                <a:gd name="T63" fmla="*/ 28 h 16058"/>
                <a:gd name="T64" fmla="*/ 3513 w 16057"/>
                <a:gd name="T65" fmla="*/ 0 h 16058"/>
                <a:gd name="T66" fmla="*/ 3222 w 16057"/>
                <a:gd name="T67" fmla="*/ 28 h 16058"/>
                <a:gd name="T68" fmla="*/ 2938 w 16057"/>
                <a:gd name="T69" fmla="*/ 115 h 16058"/>
                <a:gd name="T70" fmla="*/ 2554 w 16057"/>
                <a:gd name="T71" fmla="*/ 344 h 16058"/>
                <a:gd name="T72" fmla="*/ 2261 w 16057"/>
                <a:gd name="T73" fmla="*/ 669 h 16058"/>
                <a:gd name="T74" fmla="*/ 2073 w 16057"/>
                <a:gd name="T75" fmla="*/ 1064 h 16058"/>
                <a:gd name="T76" fmla="*/ 2007 w 16057"/>
                <a:gd name="T77" fmla="*/ 1506 h 16058"/>
                <a:gd name="T78" fmla="*/ 173 w 16057"/>
                <a:gd name="T79" fmla="*/ 10340 h 16058"/>
                <a:gd name="T80" fmla="*/ 7 w 16057"/>
                <a:gd name="T81" fmla="*/ 10896 h 16058"/>
                <a:gd name="T82" fmla="*/ 62 w 16057"/>
                <a:gd name="T83" fmla="*/ 11468 h 16058"/>
                <a:gd name="T84" fmla="*/ 338 w 16057"/>
                <a:gd name="T85" fmla="*/ 11990 h 16058"/>
                <a:gd name="T86" fmla="*/ 4098 w 16057"/>
                <a:gd name="T87" fmla="*/ 15744 h 16058"/>
                <a:gd name="T88" fmla="*/ 4352 w 16057"/>
                <a:gd name="T89" fmla="*/ 15902 h 16058"/>
                <a:gd name="T90" fmla="*/ 4625 w 16057"/>
                <a:gd name="T91" fmla="*/ 16006 h 16058"/>
                <a:gd name="T92" fmla="*/ 4911 w 16057"/>
                <a:gd name="T93" fmla="*/ 16054 h 16058"/>
                <a:gd name="T94" fmla="*/ 5199 w 16057"/>
                <a:gd name="T95" fmla="*/ 16047 h 16058"/>
                <a:gd name="T96" fmla="*/ 5482 w 16057"/>
                <a:gd name="T97" fmla="*/ 15986 h 16058"/>
                <a:gd name="T98" fmla="*/ 5751 w 16057"/>
                <a:gd name="T99" fmla="*/ 15868 h 16058"/>
                <a:gd name="T100" fmla="*/ 5998 w 16057"/>
                <a:gd name="T101" fmla="*/ 15696 h 16058"/>
                <a:gd name="T102" fmla="*/ 14721 w 16057"/>
                <a:gd name="T103" fmla="*/ 14042 h 16058"/>
                <a:gd name="T104" fmla="*/ 15149 w 16057"/>
                <a:gd name="T105" fmla="*/ 13928 h 16058"/>
                <a:gd name="T106" fmla="*/ 15520 w 16057"/>
                <a:gd name="T107" fmla="*/ 13699 h 16058"/>
                <a:gd name="T108" fmla="*/ 15811 w 16057"/>
                <a:gd name="T109" fmla="*/ 13371 h 16058"/>
                <a:gd name="T110" fmla="*/ 15999 w 16057"/>
                <a:gd name="T111" fmla="*/ 12962 h 16058"/>
                <a:gd name="T112" fmla="*/ 16057 w 16057"/>
                <a:gd name="T113" fmla="*/ 12524 h 16058"/>
                <a:gd name="T114" fmla="*/ 15988 w 16057"/>
                <a:gd name="T115" fmla="*/ 12093 h 16058"/>
                <a:gd name="T116" fmla="*/ 15796 w 16057"/>
                <a:gd name="T117" fmla="*/ 11698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057" h="16058">
                  <a:moveTo>
                    <a:pt x="15015" y="12738"/>
                  </a:moveTo>
                  <a:lnTo>
                    <a:pt x="15007" y="12755"/>
                  </a:lnTo>
                  <a:lnTo>
                    <a:pt x="14999" y="12772"/>
                  </a:lnTo>
                  <a:lnTo>
                    <a:pt x="14991" y="12789"/>
                  </a:lnTo>
                  <a:lnTo>
                    <a:pt x="14981" y="12805"/>
                  </a:lnTo>
                  <a:lnTo>
                    <a:pt x="14972" y="12821"/>
                  </a:lnTo>
                  <a:lnTo>
                    <a:pt x="14961" y="12836"/>
                  </a:lnTo>
                  <a:lnTo>
                    <a:pt x="14950" y="12851"/>
                  </a:lnTo>
                  <a:lnTo>
                    <a:pt x="14939" y="12865"/>
                  </a:lnTo>
                  <a:lnTo>
                    <a:pt x="14927" y="12879"/>
                  </a:lnTo>
                  <a:lnTo>
                    <a:pt x="14915" y="12892"/>
                  </a:lnTo>
                  <a:lnTo>
                    <a:pt x="14902" y="12905"/>
                  </a:lnTo>
                  <a:lnTo>
                    <a:pt x="14889" y="12918"/>
                  </a:lnTo>
                  <a:lnTo>
                    <a:pt x="14875" y="12931"/>
                  </a:lnTo>
                  <a:lnTo>
                    <a:pt x="14861" y="12942"/>
                  </a:lnTo>
                  <a:lnTo>
                    <a:pt x="14846" y="12953"/>
                  </a:lnTo>
                  <a:lnTo>
                    <a:pt x="14831" y="12963"/>
                  </a:lnTo>
                  <a:lnTo>
                    <a:pt x="14816" y="12973"/>
                  </a:lnTo>
                  <a:lnTo>
                    <a:pt x="14799" y="12982"/>
                  </a:lnTo>
                  <a:lnTo>
                    <a:pt x="14783" y="12991"/>
                  </a:lnTo>
                  <a:lnTo>
                    <a:pt x="14767" y="12999"/>
                  </a:lnTo>
                  <a:lnTo>
                    <a:pt x="14751" y="13007"/>
                  </a:lnTo>
                  <a:lnTo>
                    <a:pt x="14734" y="13013"/>
                  </a:lnTo>
                  <a:lnTo>
                    <a:pt x="14717" y="13020"/>
                  </a:lnTo>
                  <a:lnTo>
                    <a:pt x="14699" y="13025"/>
                  </a:lnTo>
                  <a:lnTo>
                    <a:pt x="14681" y="13030"/>
                  </a:lnTo>
                  <a:lnTo>
                    <a:pt x="14663" y="13035"/>
                  </a:lnTo>
                  <a:lnTo>
                    <a:pt x="14645" y="13038"/>
                  </a:lnTo>
                  <a:lnTo>
                    <a:pt x="14627" y="13042"/>
                  </a:lnTo>
                  <a:lnTo>
                    <a:pt x="14609" y="13044"/>
                  </a:lnTo>
                  <a:lnTo>
                    <a:pt x="14590" y="13046"/>
                  </a:lnTo>
                  <a:lnTo>
                    <a:pt x="14571" y="13047"/>
                  </a:lnTo>
                  <a:lnTo>
                    <a:pt x="14552" y="13047"/>
                  </a:lnTo>
                  <a:lnTo>
                    <a:pt x="14403" y="13047"/>
                  </a:lnTo>
                  <a:lnTo>
                    <a:pt x="3011" y="1655"/>
                  </a:lnTo>
                  <a:lnTo>
                    <a:pt x="3011" y="1506"/>
                  </a:lnTo>
                  <a:lnTo>
                    <a:pt x="3011" y="1486"/>
                  </a:lnTo>
                  <a:lnTo>
                    <a:pt x="3012" y="1467"/>
                  </a:lnTo>
                  <a:lnTo>
                    <a:pt x="3014" y="1449"/>
                  </a:lnTo>
                  <a:lnTo>
                    <a:pt x="3017" y="1430"/>
                  </a:lnTo>
                  <a:lnTo>
                    <a:pt x="3020" y="1412"/>
                  </a:lnTo>
                  <a:lnTo>
                    <a:pt x="3023" y="1394"/>
                  </a:lnTo>
                  <a:lnTo>
                    <a:pt x="3028" y="1376"/>
                  </a:lnTo>
                  <a:lnTo>
                    <a:pt x="3033" y="1358"/>
                  </a:lnTo>
                  <a:lnTo>
                    <a:pt x="3038" y="1341"/>
                  </a:lnTo>
                  <a:lnTo>
                    <a:pt x="3045" y="1324"/>
                  </a:lnTo>
                  <a:lnTo>
                    <a:pt x="3052" y="1307"/>
                  </a:lnTo>
                  <a:lnTo>
                    <a:pt x="3059" y="1290"/>
                  </a:lnTo>
                  <a:lnTo>
                    <a:pt x="3067" y="1274"/>
                  </a:lnTo>
                  <a:lnTo>
                    <a:pt x="3076" y="1258"/>
                  </a:lnTo>
                  <a:lnTo>
                    <a:pt x="3085" y="1242"/>
                  </a:lnTo>
                  <a:lnTo>
                    <a:pt x="3095" y="1227"/>
                  </a:lnTo>
                  <a:lnTo>
                    <a:pt x="3105" y="1211"/>
                  </a:lnTo>
                  <a:lnTo>
                    <a:pt x="3116" y="1197"/>
                  </a:lnTo>
                  <a:lnTo>
                    <a:pt x="3128" y="1183"/>
                  </a:lnTo>
                  <a:lnTo>
                    <a:pt x="3139" y="1169"/>
                  </a:lnTo>
                  <a:lnTo>
                    <a:pt x="3152" y="1156"/>
                  </a:lnTo>
                  <a:lnTo>
                    <a:pt x="3165" y="1143"/>
                  </a:lnTo>
                  <a:lnTo>
                    <a:pt x="3178" y="1130"/>
                  </a:lnTo>
                  <a:lnTo>
                    <a:pt x="3193" y="1118"/>
                  </a:lnTo>
                  <a:lnTo>
                    <a:pt x="3208" y="1107"/>
                  </a:lnTo>
                  <a:lnTo>
                    <a:pt x="3222" y="1096"/>
                  </a:lnTo>
                  <a:lnTo>
                    <a:pt x="3238" y="1086"/>
                  </a:lnTo>
                  <a:lnTo>
                    <a:pt x="3253" y="1076"/>
                  </a:lnTo>
                  <a:lnTo>
                    <a:pt x="3270" y="1067"/>
                  </a:lnTo>
                  <a:lnTo>
                    <a:pt x="3286" y="1058"/>
                  </a:lnTo>
                  <a:lnTo>
                    <a:pt x="3303" y="1050"/>
                  </a:lnTo>
                  <a:lnTo>
                    <a:pt x="3320" y="1042"/>
                  </a:lnTo>
                  <a:lnTo>
                    <a:pt x="3344" y="1033"/>
                  </a:lnTo>
                  <a:lnTo>
                    <a:pt x="3367" y="1026"/>
                  </a:lnTo>
                  <a:lnTo>
                    <a:pt x="3391" y="1019"/>
                  </a:lnTo>
                  <a:lnTo>
                    <a:pt x="3414" y="1014"/>
                  </a:lnTo>
                  <a:lnTo>
                    <a:pt x="3438" y="1009"/>
                  </a:lnTo>
                  <a:lnTo>
                    <a:pt x="3464" y="1006"/>
                  </a:lnTo>
                  <a:lnTo>
                    <a:pt x="3488" y="1005"/>
                  </a:lnTo>
                  <a:lnTo>
                    <a:pt x="3513" y="1004"/>
                  </a:lnTo>
                  <a:lnTo>
                    <a:pt x="3538" y="1005"/>
                  </a:lnTo>
                  <a:lnTo>
                    <a:pt x="3562" y="1006"/>
                  </a:lnTo>
                  <a:lnTo>
                    <a:pt x="3587" y="1009"/>
                  </a:lnTo>
                  <a:lnTo>
                    <a:pt x="3611" y="1014"/>
                  </a:lnTo>
                  <a:lnTo>
                    <a:pt x="3635" y="1019"/>
                  </a:lnTo>
                  <a:lnTo>
                    <a:pt x="3658" y="1025"/>
                  </a:lnTo>
                  <a:lnTo>
                    <a:pt x="3682" y="1033"/>
                  </a:lnTo>
                  <a:lnTo>
                    <a:pt x="3704" y="1042"/>
                  </a:lnTo>
                  <a:lnTo>
                    <a:pt x="3726" y="1052"/>
                  </a:lnTo>
                  <a:lnTo>
                    <a:pt x="3749" y="1063"/>
                  </a:lnTo>
                  <a:lnTo>
                    <a:pt x="3770" y="1075"/>
                  </a:lnTo>
                  <a:lnTo>
                    <a:pt x="3791" y="1088"/>
                  </a:lnTo>
                  <a:lnTo>
                    <a:pt x="3811" y="1102"/>
                  </a:lnTo>
                  <a:lnTo>
                    <a:pt x="3830" y="1117"/>
                  </a:lnTo>
                  <a:lnTo>
                    <a:pt x="3849" y="1133"/>
                  </a:lnTo>
                  <a:lnTo>
                    <a:pt x="3867" y="1150"/>
                  </a:lnTo>
                  <a:lnTo>
                    <a:pt x="14907" y="12191"/>
                  </a:lnTo>
                  <a:lnTo>
                    <a:pt x="14920" y="12205"/>
                  </a:lnTo>
                  <a:lnTo>
                    <a:pt x="14932" y="12219"/>
                  </a:lnTo>
                  <a:lnTo>
                    <a:pt x="14944" y="12233"/>
                  </a:lnTo>
                  <a:lnTo>
                    <a:pt x="14956" y="12248"/>
                  </a:lnTo>
                  <a:lnTo>
                    <a:pt x="14966" y="12263"/>
                  </a:lnTo>
                  <a:lnTo>
                    <a:pt x="14977" y="12278"/>
                  </a:lnTo>
                  <a:lnTo>
                    <a:pt x="14986" y="12294"/>
                  </a:lnTo>
                  <a:lnTo>
                    <a:pt x="14995" y="12310"/>
                  </a:lnTo>
                  <a:lnTo>
                    <a:pt x="15003" y="12326"/>
                  </a:lnTo>
                  <a:lnTo>
                    <a:pt x="15011" y="12343"/>
                  </a:lnTo>
                  <a:lnTo>
                    <a:pt x="15018" y="12360"/>
                  </a:lnTo>
                  <a:lnTo>
                    <a:pt x="15024" y="12377"/>
                  </a:lnTo>
                  <a:lnTo>
                    <a:pt x="15030" y="12395"/>
                  </a:lnTo>
                  <a:lnTo>
                    <a:pt x="15035" y="12412"/>
                  </a:lnTo>
                  <a:lnTo>
                    <a:pt x="15040" y="12430"/>
                  </a:lnTo>
                  <a:lnTo>
                    <a:pt x="15044" y="12448"/>
                  </a:lnTo>
                  <a:lnTo>
                    <a:pt x="15047" y="12466"/>
                  </a:lnTo>
                  <a:lnTo>
                    <a:pt x="15050" y="12484"/>
                  </a:lnTo>
                  <a:lnTo>
                    <a:pt x="15052" y="12502"/>
                  </a:lnTo>
                  <a:lnTo>
                    <a:pt x="15053" y="12520"/>
                  </a:lnTo>
                  <a:lnTo>
                    <a:pt x="15053" y="12538"/>
                  </a:lnTo>
                  <a:lnTo>
                    <a:pt x="15053" y="12556"/>
                  </a:lnTo>
                  <a:lnTo>
                    <a:pt x="15053" y="12574"/>
                  </a:lnTo>
                  <a:lnTo>
                    <a:pt x="15051" y="12593"/>
                  </a:lnTo>
                  <a:lnTo>
                    <a:pt x="15049" y="12611"/>
                  </a:lnTo>
                  <a:lnTo>
                    <a:pt x="15046" y="12629"/>
                  </a:lnTo>
                  <a:lnTo>
                    <a:pt x="15043" y="12647"/>
                  </a:lnTo>
                  <a:lnTo>
                    <a:pt x="15039" y="12666"/>
                  </a:lnTo>
                  <a:lnTo>
                    <a:pt x="15034" y="12684"/>
                  </a:lnTo>
                  <a:lnTo>
                    <a:pt x="15028" y="12702"/>
                  </a:lnTo>
                  <a:lnTo>
                    <a:pt x="15022" y="12720"/>
                  </a:lnTo>
                  <a:lnTo>
                    <a:pt x="15015" y="12738"/>
                  </a:lnTo>
                  <a:close/>
                  <a:moveTo>
                    <a:pt x="7649" y="13047"/>
                  </a:moveTo>
                  <a:lnTo>
                    <a:pt x="7635" y="13047"/>
                  </a:lnTo>
                  <a:lnTo>
                    <a:pt x="7620" y="13048"/>
                  </a:lnTo>
                  <a:lnTo>
                    <a:pt x="7605" y="13050"/>
                  </a:lnTo>
                  <a:lnTo>
                    <a:pt x="7591" y="13052"/>
                  </a:lnTo>
                  <a:lnTo>
                    <a:pt x="7563" y="13057"/>
                  </a:lnTo>
                  <a:lnTo>
                    <a:pt x="7535" y="13063"/>
                  </a:lnTo>
                  <a:lnTo>
                    <a:pt x="7507" y="13070"/>
                  </a:lnTo>
                  <a:lnTo>
                    <a:pt x="7480" y="13078"/>
                  </a:lnTo>
                  <a:lnTo>
                    <a:pt x="7452" y="13085"/>
                  </a:lnTo>
                  <a:lnTo>
                    <a:pt x="7425" y="13092"/>
                  </a:lnTo>
                  <a:lnTo>
                    <a:pt x="2966" y="8633"/>
                  </a:lnTo>
                  <a:lnTo>
                    <a:pt x="2973" y="8606"/>
                  </a:lnTo>
                  <a:lnTo>
                    <a:pt x="2980" y="8578"/>
                  </a:lnTo>
                  <a:lnTo>
                    <a:pt x="2988" y="8550"/>
                  </a:lnTo>
                  <a:lnTo>
                    <a:pt x="2995" y="8522"/>
                  </a:lnTo>
                  <a:lnTo>
                    <a:pt x="3001" y="8494"/>
                  </a:lnTo>
                  <a:lnTo>
                    <a:pt x="3006" y="8466"/>
                  </a:lnTo>
                  <a:lnTo>
                    <a:pt x="3008" y="8452"/>
                  </a:lnTo>
                  <a:lnTo>
                    <a:pt x="3009" y="8438"/>
                  </a:lnTo>
                  <a:lnTo>
                    <a:pt x="3010" y="8424"/>
                  </a:lnTo>
                  <a:lnTo>
                    <a:pt x="3011" y="8410"/>
                  </a:lnTo>
                  <a:lnTo>
                    <a:pt x="3011" y="2365"/>
                  </a:lnTo>
                  <a:lnTo>
                    <a:pt x="13693" y="13047"/>
                  </a:lnTo>
                  <a:lnTo>
                    <a:pt x="7649" y="13047"/>
                  </a:lnTo>
                  <a:close/>
                  <a:moveTo>
                    <a:pt x="6939" y="13341"/>
                  </a:moveTo>
                  <a:lnTo>
                    <a:pt x="5373" y="14908"/>
                  </a:lnTo>
                  <a:lnTo>
                    <a:pt x="5361" y="14919"/>
                  </a:lnTo>
                  <a:lnTo>
                    <a:pt x="5349" y="14930"/>
                  </a:lnTo>
                  <a:lnTo>
                    <a:pt x="5336" y="14941"/>
                  </a:lnTo>
                  <a:lnTo>
                    <a:pt x="5324" y="14951"/>
                  </a:lnTo>
                  <a:lnTo>
                    <a:pt x="5299" y="14969"/>
                  </a:lnTo>
                  <a:lnTo>
                    <a:pt x="5274" y="14984"/>
                  </a:lnTo>
                  <a:lnTo>
                    <a:pt x="5250" y="14998"/>
                  </a:lnTo>
                  <a:lnTo>
                    <a:pt x="5225" y="15010"/>
                  </a:lnTo>
                  <a:lnTo>
                    <a:pt x="5201" y="15020"/>
                  </a:lnTo>
                  <a:lnTo>
                    <a:pt x="5177" y="15029"/>
                  </a:lnTo>
                  <a:lnTo>
                    <a:pt x="5154" y="15036"/>
                  </a:lnTo>
                  <a:lnTo>
                    <a:pt x="5131" y="15041"/>
                  </a:lnTo>
                  <a:lnTo>
                    <a:pt x="5109" y="15046"/>
                  </a:lnTo>
                  <a:lnTo>
                    <a:pt x="5088" y="15049"/>
                  </a:lnTo>
                  <a:lnTo>
                    <a:pt x="5069" y="15052"/>
                  </a:lnTo>
                  <a:lnTo>
                    <a:pt x="5050" y="15053"/>
                  </a:lnTo>
                  <a:lnTo>
                    <a:pt x="5034" y="15054"/>
                  </a:lnTo>
                  <a:lnTo>
                    <a:pt x="5018" y="15054"/>
                  </a:lnTo>
                  <a:lnTo>
                    <a:pt x="5003" y="15054"/>
                  </a:lnTo>
                  <a:lnTo>
                    <a:pt x="4986" y="15053"/>
                  </a:lnTo>
                  <a:lnTo>
                    <a:pt x="4968" y="15052"/>
                  </a:lnTo>
                  <a:lnTo>
                    <a:pt x="4949" y="15049"/>
                  </a:lnTo>
                  <a:lnTo>
                    <a:pt x="4928" y="15046"/>
                  </a:lnTo>
                  <a:lnTo>
                    <a:pt x="4906" y="15041"/>
                  </a:lnTo>
                  <a:lnTo>
                    <a:pt x="4884" y="15036"/>
                  </a:lnTo>
                  <a:lnTo>
                    <a:pt x="4860" y="15029"/>
                  </a:lnTo>
                  <a:lnTo>
                    <a:pt x="4836" y="15020"/>
                  </a:lnTo>
                  <a:lnTo>
                    <a:pt x="4811" y="15010"/>
                  </a:lnTo>
                  <a:lnTo>
                    <a:pt x="4787" y="14998"/>
                  </a:lnTo>
                  <a:lnTo>
                    <a:pt x="4762" y="14984"/>
                  </a:lnTo>
                  <a:lnTo>
                    <a:pt x="4737" y="14969"/>
                  </a:lnTo>
                  <a:lnTo>
                    <a:pt x="4712" y="14951"/>
                  </a:lnTo>
                  <a:lnTo>
                    <a:pt x="4700" y="14941"/>
                  </a:lnTo>
                  <a:lnTo>
                    <a:pt x="4688" y="14930"/>
                  </a:lnTo>
                  <a:lnTo>
                    <a:pt x="4676" y="14919"/>
                  </a:lnTo>
                  <a:lnTo>
                    <a:pt x="4664" y="14908"/>
                  </a:lnTo>
                  <a:lnTo>
                    <a:pt x="1151" y="11395"/>
                  </a:lnTo>
                  <a:lnTo>
                    <a:pt x="1139" y="11383"/>
                  </a:lnTo>
                  <a:lnTo>
                    <a:pt x="1128" y="11371"/>
                  </a:lnTo>
                  <a:lnTo>
                    <a:pt x="1117" y="11358"/>
                  </a:lnTo>
                  <a:lnTo>
                    <a:pt x="1108" y="11346"/>
                  </a:lnTo>
                  <a:lnTo>
                    <a:pt x="1090" y="11321"/>
                  </a:lnTo>
                  <a:lnTo>
                    <a:pt x="1074" y="11297"/>
                  </a:lnTo>
                  <a:lnTo>
                    <a:pt x="1060" y="11271"/>
                  </a:lnTo>
                  <a:lnTo>
                    <a:pt x="1048" y="11246"/>
                  </a:lnTo>
                  <a:lnTo>
                    <a:pt x="1038" y="11222"/>
                  </a:lnTo>
                  <a:lnTo>
                    <a:pt x="1029" y="11198"/>
                  </a:lnTo>
                  <a:lnTo>
                    <a:pt x="1022" y="11175"/>
                  </a:lnTo>
                  <a:lnTo>
                    <a:pt x="1017" y="11152"/>
                  </a:lnTo>
                  <a:lnTo>
                    <a:pt x="1012" y="11131"/>
                  </a:lnTo>
                  <a:lnTo>
                    <a:pt x="1009" y="11110"/>
                  </a:lnTo>
                  <a:lnTo>
                    <a:pt x="1007" y="11091"/>
                  </a:lnTo>
                  <a:lnTo>
                    <a:pt x="1005" y="11072"/>
                  </a:lnTo>
                  <a:lnTo>
                    <a:pt x="1004" y="11056"/>
                  </a:lnTo>
                  <a:lnTo>
                    <a:pt x="1004" y="11040"/>
                  </a:lnTo>
                  <a:lnTo>
                    <a:pt x="1004" y="11025"/>
                  </a:lnTo>
                  <a:lnTo>
                    <a:pt x="1005" y="11007"/>
                  </a:lnTo>
                  <a:lnTo>
                    <a:pt x="1007" y="10989"/>
                  </a:lnTo>
                  <a:lnTo>
                    <a:pt x="1009" y="10970"/>
                  </a:lnTo>
                  <a:lnTo>
                    <a:pt x="1012" y="10949"/>
                  </a:lnTo>
                  <a:lnTo>
                    <a:pt x="1017" y="10927"/>
                  </a:lnTo>
                  <a:lnTo>
                    <a:pt x="1022" y="10905"/>
                  </a:lnTo>
                  <a:lnTo>
                    <a:pt x="1029" y="10882"/>
                  </a:lnTo>
                  <a:lnTo>
                    <a:pt x="1038" y="10858"/>
                  </a:lnTo>
                  <a:lnTo>
                    <a:pt x="1048" y="10834"/>
                  </a:lnTo>
                  <a:lnTo>
                    <a:pt x="1060" y="10809"/>
                  </a:lnTo>
                  <a:lnTo>
                    <a:pt x="1074" y="10784"/>
                  </a:lnTo>
                  <a:lnTo>
                    <a:pt x="1090" y="10760"/>
                  </a:lnTo>
                  <a:lnTo>
                    <a:pt x="1108" y="10734"/>
                  </a:lnTo>
                  <a:lnTo>
                    <a:pt x="1117" y="10722"/>
                  </a:lnTo>
                  <a:lnTo>
                    <a:pt x="1128" y="10709"/>
                  </a:lnTo>
                  <a:lnTo>
                    <a:pt x="1139" y="10697"/>
                  </a:lnTo>
                  <a:lnTo>
                    <a:pt x="1151" y="10685"/>
                  </a:lnTo>
                  <a:lnTo>
                    <a:pt x="2717" y="9119"/>
                  </a:lnTo>
                  <a:lnTo>
                    <a:pt x="2722" y="9111"/>
                  </a:lnTo>
                  <a:lnTo>
                    <a:pt x="2727" y="9103"/>
                  </a:lnTo>
                  <a:lnTo>
                    <a:pt x="6954" y="13332"/>
                  </a:lnTo>
                  <a:lnTo>
                    <a:pt x="6947" y="13336"/>
                  </a:lnTo>
                  <a:lnTo>
                    <a:pt x="6939" y="13341"/>
                  </a:lnTo>
                  <a:close/>
                  <a:moveTo>
                    <a:pt x="4578" y="442"/>
                  </a:moveTo>
                  <a:lnTo>
                    <a:pt x="4550" y="415"/>
                  </a:lnTo>
                  <a:lnTo>
                    <a:pt x="4522" y="388"/>
                  </a:lnTo>
                  <a:lnTo>
                    <a:pt x="4494" y="363"/>
                  </a:lnTo>
                  <a:lnTo>
                    <a:pt x="4465" y="339"/>
                  </a:lnTo>
                  <a:lnTo>
                    <a:pt x="4436" y="316"/>
                  </a:lnTo>
                  <a:lnTo>
                    <a:pt x="4406" y="293"/>
                  </a:lnTo>
                  <a:lnTo>
                    <a:pt x="4376" y="272"/>
                  </a:lnTo>
                  <a:lnTo>
                    <a:pt x="4345" y="251"/>
                  </a:lnTo>
                  <a:lnTo>
                    <a:pt x="4314" y="231"/>
                  </a:lnTo>
                  <a:lnTo>
                    <a:pt x="4281" y="211"/>
                  </a:lnTo>
                  <a:lnTo>
                    <a:pt x="4249" y="193"/>
                  </a:lnTo>
                  <a:lnTo>
                    <a:pt x="4217" y="175"/>
                  </a:lnTo>
                  <a:lnTo>
                    <a:pt x="4184" y="158"/>
                  </a:lnTo>
                  <a:lnTo>
                    <a:pt x="4151" y="143"/>
                  </a:lnTo>
                  <a:lnTo>
                    <a:pt x="4118" y="126"/>
                  </a:lnTo>
                  <a:lnTo>
                    <a:pt x="4084" y="112"/>
                  </a:lnTo>
                  <a:lnTo>
                    <a:pt x="4050" y="99"/>
                  </a:lnTo>
                  <a:lnTo>
                    <a:pt x="4016" y="86"/>
                  </a:lnTo>
                  <a:lnTo>
                    <a:pt x="3980" y="74"/>
                  </a:lnTo>
                  <a:lnTo>
                    <a:pt x="3945" y="63"/>
                  </a:lnTo>
                  <a:lnTo>
                    <a:pt x="3910" y="53"/>
                  </a:lnTo>
                  <a:lnTo>
                    <a:pt x="3875" y="44"/>
                  </a:lnTo>
                  <a:lnTo>
                    <a:pt x="3839" y="36"/>
                  </a:lnTo>
                  <a:lnTo>
                    <a:pt x="3804" y="28"/>
                  </a:lnTo>
                  <a:lnTo>
                    <a:pt x="3768" y="22"/>
                  </a:lnTo>
                  <a:lnTo>
                    <a:pt x="3731" y="16"/>
                  </a:lnTo>
                  <a:lnTo>
                    <a:pt x="3695" y="11"/>
                  </a:lnTo>
                  <a:lnTo>
                    <a:pt x="3658" y="7"/>
                  </a:lnTo>
                  <a:lnTo>
                    <a:pt x="3622" y="4"/>
                  </a:lnTo>
                  <a:lnTo>
                    <a:pt x="3586" y="2"/>
                  </a:lnTo>
                  <a:lnTo>
                    <a:pt x="3549" y="0"/>
                  </a:lnTo>
                  <a:lnTo>
                    <a:pt x="3513" y="0"/>
                  </a:lnTo>
                  <a:lnTo>
                    <a:pt x="3476" y="0"/>
                  </a:lnTo>
                  <a:lnTo>
                    <a:pt x="3439" y="2"/>
                  </a:lnTo>
                  <a:lnTo>
                    <a:pt x="3403" y="4"/>
                  </a:lnTo>
                  <a:lnTo>
                    <a:pt x="3367" y="7"/>
                  </a:lnTo>
                  <a:lnTo>
                    <a:pt x="3330" y="11"/>
                  </a:lnTo>
                  <a:lnTo>
                    <a:pt x="3294" y="16"/>
                  </a:lnTo>
                  <a:lnTo>
                    <a:pt x="3258" y="22"/>
                  </a:lnTo>
                  <a:lnTo>
                    <a:pt x="3222" y="28"/>
                  </a:lnTo>
                  <a:lnTo>
                    <a:pt x="3186" y="36"/>
                  </a:lnTo>
                  <a:lnTo>
                    <a:pt x="3149" y="44"/>
                  </a:lnTo>
                  <a:lnTo>
                    <a:pt x="3114" y="54"/>
                  </a:lnTo>
                  <a:lnTo>
                    <a:pt x="3078" y="64"/>
                  </a:lnTo>
                  <a:lnTo>
                    <a:pt x="3043" y="75"/>
                  </a:lnTo>
                  <a:lnTo>
                    <a:pt x="3008" y="87"/>
                  </a:lnTo>
                  <a:lnTo>
                    <a:pt x="2972" y="100"/>
                  </a:lnTo>
                  <a:lnTo>
                    <a:pt x="2938" y="115"/>
                  </a:lnTo>
                  <a:lnTo>
                    <a:pt x="2885" y="138"/>
                  </a:lnTo>
                  <a:lnTo>
                    <a:pt x="2834" y="163"/>
                  </a:lnTo>
                  <a:lnTo>
                    <a:pt x="2784" y="189"/>
                  </a:lnTo>
                  <a:lnTo>
                    <a:pt x="2736" y="217"/>
                  </a:lnTo>
                  <a:lnTo>
                    <a:pt x="2689" y="246"/>
                  </a:lnTo>
                  <a:lnTo>
                    <a:pt x="2643" y="278"/>
                  </a:lnTo>
                  <a:lnTo>
                    <a:pt x="2597" y="310"/>
                  </a:lnTo>
                  <a:lnTo>
                    <a:pt x="2554" y="344"/>
                  </a:lnTo>
                  <a:lnTo>
                    <a:pt x="2513" y="380"/>
                  </a:lnTo>
                  <a:lnTo>
                    <a:pt x="2472" y="418"/>
                  </a:lnTo>
                  <a:lnTo>
                    <a:pt x="2433" y="457"/>
                  </a:lnTo>
                  <a:lnTo>
                    <a:pt x="2396" y="497"/>
                  </a:lnTo>
                  <a:lnTo>
                    <a:pt x="2360" y="538"/>
                  </a:lnTo>
                  <a:lnTo>
                    <a:pt x="2325" y="580"/>
                  </a:lnTo>
                  <a:lnTo>
                    <a:pt x="2292" y="624"/>
                  </a:lnTo>
                  <a:lnTo>
                    <a:pt x="2261" y="669"/>
                  </a:lnTo>
                  <a:lnTo>
                    <a:pt x="2232" y="715"/>
                  </a:lnTo>
                  <a:lnTo>
                    <a:pt x="2204" y="762"/>
                  </a:lnTo>
                  <a:lnTo>
                    <a:pt x="2178" y="810"/>
                  </a:lnTo>
                  <a:lnTo>
                    <a:pt x="2153" y="859"/>
                  </a:lnTo>
                  <a:lnTo>
                    <a:pt x="2131" y="909"/>
                  </a:lnTo>
                  <a:lnTo>
                    <a:pt x="2110" y="960"/>
                  </a:lnTo>
                  <a:lnTo>
                    <a:pt x="2091" y="1012"/>
                  </a:lnTo>
                  <a:lnTo>
                    <a:pt x="2073" y="1064"/>
                  </a:lnTo>
                  <a:lnTo>
                    <a:pt x="2058" y="1117"/>
                  </a:lnTo>
                  <a:lnTo>
                    <a:pt x="2044" y="1171"/>
                  </a:lnTo>
                  <a:lnTo>
                    <a:pt x="2033" y="1226"/>
                  </a:lnTo>
                  <a:lnTo>
                    <a:pt x="2024" y="1281"/>
                  </a:lnTo>
                  <a:lnTo>
                    <a:pt x="2017" y="1336"/>
                  </a:lnTo>
                  <a:lnTo>
                    <a:pt x="2011" y="1392"/>
                  </a:lnTo>
                  <a:lnTo>
                    <a:pt x="2008" y="1448"/>
                  </a:lnTo>
                  <a:lnTo>
                    <a:pt x="2007" y="1506"/>
                  </a:lnTo>
                  <a:lnTo>
                    <a:pt x="2006" y="8410"/>
                  </a:lnTo>
                  <a:lnTo>
                    <a:pt x="442" y="9976"/>
                  </a:lnTo>
                  <a:lnTo>
                    <a:pt x="387" y="10032"/>
                  </a:lnTo>
                  <a:lnTo>
                    <a:pt x="338" y="10090"/>
                  </a:lnTo>
                  <a:lnTo>
                    <a:pt x="291" y="10150"/>
                  </a:lnTo>
                  <a:lnTo>
                    <a:pt x="248" y="10212"/>
                  </a:lnTo>
                  <a:lnTo>
                    <a:pt x="209" y="10275"/>
                  </a:lnTo>
                  <a:lnTo>
                    <a:pt x="173" y="10340"/>
                  </a:lnTo>
                  <a:lnTo>
                    <a:pt x="140" y="10406"/>
                  </a:lnTo>
                  <a:lnTo>
                    <a:pt x="110" y="10473"/>
                  </a:lnTo>
                  <a:lnTo>
                    <a:pt x="84" y="10542"/>
                  </a:lnTo>
                  <a:lnTo>
                    <a:pt x="62" y="10611"/>
                  </a:lnTo>
                  <a:lnTo>
                    <a:pt x="43" y="10681"/>
                  </a:lnTo>
                  <a:lnTo>
                    <a:pt x="28" y="10753"/>
                  </a:lnTo>
                  <a:lnTo>
                    <a:pt x="16" y="10824"/>
                  </a:lnTo>
                  <a:lnTo>
                    <a:pt x="7" y="10896"/>
                  </a:lnTo>
                  <a:lnTo>
                    <a:pt x="2" y="10967"/>
                  </a:lnTo>
                  <a:lnTo>
                    <a:pt x="0" y="11040"/>
                  </a:lnTo>
                  <a:lnTo>
                    <a:pt x="2" y="11112"/>
                  </a:lnTo>
                  <a:lnTo>
                    <a:pt x="7" y="11184"/>
                  </a:lnTo>
                  <a:lnTo>
                    <a:pt x="16" y="11256"/>
                  </a:lnTo>
                  <a:lnTo>
                    <a:pt x="28" y="11328"/>
                  </a:lnTo>
                  <a:lnTo>
                    <a:pt x="43" y="11398"/>
                  </a:lnTo>
                  <a:lnTo>
                    <a:pt x="62" y="11468"/>
                  </a:lnTo>
                  <a:lnTo>
                    <a:pt x="84" y="11538"/>
                  </a:lnTo>
                  <a:lnTo>
                    <a:pt x="110" y="11607"/>
                  </a:lnTo>
                  <a:lnTo>
                    <a:pt x="140" y="11674"/>
                  </a:lnTo>
                  <a:lnTo>
                    <a:pt x="173" y="11740"/>
                  </a:lnTo>
                  <a:lnTo>
                    <a:pt x="209" y="11804"/>
                  </a:lnTo>
                  <a:lnTo>
                    <a:pt x="248" y="11869"/>
                  </a:lnTo>
                  <a:lnTo>
                    <a:pt x="291" y="11930"/>
                  </a:lnTo>
                  <a:lnTo>
                    <a:pt x="338" y="11990"/>
                  </a:lnTo>
                  <a:lnTo>
                    <a:pt x="387" y="12048"/>
                  </a:lnTo>
                  <a:lnTo>
                    <a:pt x="442" y="12104"/>
                  </a:lnTo>
                  <a:lnTo>
                    <a:pt x="3953" y="15617"/>
                  </a:lnTo>
                  <a:lnTo>
                    <a:pt x="3981" y="15644"/>
                  </a:lnTo>
                  <a:lnTo>
                    <a:pt x="4009" y="15671"/>
                  </a:lnTo>
                  <a:lnTo>
                    <a:pt x="4039" y="15696"/>
                  </a:lnTo>
                  <a:lnTo>
                    <a:pt x="4069" y="15721"/>
                  </a:lnTo>
                  <a:lnTo>
                    <a:pt x="4098" y="15744"/>
                  </a:lnTo>
                  <a:lnTo>
                    <a:pt x="4128" y="15767"/>
                  </a:lnTo>
                  <a:lnTo>
                    <a:pt x="4159" y="15789"/>
                  </a:lnTo>
                  <a:lnTo>
                    <a:pt x="4190" y="15810"/>
                  </a:lnTo>
                  <a:lnTo>
                    <a:pt x="4222" y="15830"/>
                  </a:lnTo>
                  <a:lnTo>
                    <a:pt x="4253" y="15849"/>
                  </a:lnTo>
                  <a:lnTo>
                    <a:pt x="4286" y="15868"/>
                  </a:lnTo>
                  <a:lnTo>
                    <a:pt x="4319" y="15885"/>
                  </a:lnTo>
                  <a:lnTo>
                    <a:pt x="4352" y="15902"/>
                  </a:lnTo>
                  <a:lnTo>
                    <a:pt x="4385" y="15918"/>
                  </a:lnTo>
                  <a:lnTo>
                    <a:pt x="4418" y="15934"/>
                  </a:lnTo>
                  <a:lnTo>
                    <a:pt x="4452" y="15948"/>
                  </a:lnTo>
                  <a:lnTo>
                    <a:pt x="4486" y="15961"/>
                  </a:lnTo>
                  <a:lnTo>
                    <a:pt x="4520" y="15974"/>
                  </a:lnTo>
                  <a:lnTo>
                    <a:pt x="4555" y="15986"/>
                  </a:lnTo>
                  <a:lnTo>
                    <a:pt x="4591" y="15996"/>
                  </a:lnTo>
                  <a:lnTo>
                    <a:pt x="4625" y="16006"/>
                  </a:lnTo>
                  <a:lnTo>
                    <a:pt x="4660" y="16015"/>
                  </a:lnTo>
                  <a:lnTo>
                    <a:pt x="4696" y="16023"/>
                  </a:lnTo>
                  <a:lnTo>
                    <a:pt x="4731" y="16031"/>
                  </a:lnTo>
                  <a:lnTo>
                    <a:pt x="4767" y="16037"/>
                  </a:lnTo>
                  <a:lnTo>
                    <a:pt x="4802" y="16043"/>
                  </a:lnTo>
                  <a:lnTo>
                    <a:pt x="4838" y="16047"/>
                  </a:lnTo>
                  <a:lnTo>
                    <a:pt x="4875" y="16051"/>
                  </a:lnTo>
                  <a:lnTo>
                    <a:pt x="4911" y="16054"/>
                  </a:lnTo>
                  <a:lnTo>
                    <a:pt x="4946" y="16056"/>
                  </a:lnTo>
                  <a:lnTo>
                    <a:pt x="4982" y="16058"/>
                  </a:lnTo>
                  <a:lnTo>
                    <a:pt x="5018" y="16058"/>
                  </a:lnTo>
                  <a:lnTo>
                    <a:pt x="5054" y="16058"/>
                  </a:lnTo>
                  <a:lnTo>
                    <a:pt x="5090" y="16056"/>
                  </a:lnTo>
                  <a:lnTo>
                    <a:pt x="5127" y="16054"/>
                  </a:lnTo>
                  <a:lnTo>
                    <a:pt x="5163" y="16051"/>
                  </a:lnTo>
                  <a:lnTo>
                    <a:pt x="5199" y="16047"/>
                  </a:lnTo>
                  <a:lnTo>
                    <a:pt x="5235" y="16043"/>
                  </a:lnTo>
                  <a:lnTo>
                    <a:pt x="5270" y="16037"/>
                  </a:lnTo>
                  <a:lnTo>
                    <a:pt x="5306" y="16031"/>
                  </a:lnTo>
                  <a:lnTo>
                    <a:pt x="5341" y="16023"/>
                  </a:lnTo>
                  <a:lnTo>
                    <a:pt x="5376" y="16015"/>
                  </a:lnTo>
                  <a:lnTo>
                    <a:pt x="5413" y="16006"/>
                  </a:lnTo>
                  <a:lnTo>
                    <a:pt x="5447" y="15996"/>
                  </a:lnTo>
                  <a:lnTo>
                    <a:pt x="5482" y="15986"/>
                  </a:lnTo>
                  <a:lnTo>
                    <a:pt x="5517" y="15974"/>
                  </a:lnTo>
                  <a:lnTo>
                    <a:pt x="5551" y="15961"/>
                  </a:lnTo>
                  <a:lnTo>
                    <a:pt x="5585" y="15948"/>
                  </a:lnTo>
                  <a:lnTo>
                    <a:pt x="5618" y="15934"/>
                  </a:lnTo>
                  <a:lnTo>
                    <a:pt x="5652" y="15918"/>
                  </a:lnTo>
                  <a:lnTo>
                    <a:pt x="5686" y="15902"/>
                  </a:lnTo>
                  <a:lnTo>
                    <a:pt x="5719" y="15885"/>
                  </a:lnTo>
                  <a:lnTo>
                    <a:pt x="5751" y="15868"/>
                  </a:lnTo>
                  <a:lnTo>
                    <a:pt x="5783" y="15849"/>
                  </a:lnTo>
                  <a:lnTo>
                    <a:pt x="5815" y="15830"/>
                  </a:lnTo>
                  <a:lnTo>
                    <a:pt x="5846" y="15810"/>
                  </a:lnTo>
                  <a:lnTo>
                    <a:pt x="5877" y="15789"/>
                  </a:lnTo>
                  <a:lnTo>
                    <a:pt x="5908" y="15767"/>
                  </a:lnTo>
                  <a:lnTo>
                    <a:pt x="5938" y="15744"/>
                  </a:lnTo>
                  <a:lnTo>
                    <a:pt x="5969" y="15721"/>
                  </a:lnTo>
                  <a:lnTo>
                    <a:pt x="5998" y="15696"/>
                  </a:lnTo>
                  <a:lnTo>
                    <a:pt x="6027" y="15671"/>
                  </a:lnTo>
                  <a:lnTo>
                    <a:pt x="6055" y="15644"/>
                  </a:lnTo>
                  <a:lnTo>
                    <a:pt x="6083" y="15617"/>
                  </a:lnTo>
                  <a:lnTo>
                    <a:pt x="7649" y="14051"/>
                  </a:lnTo>
                  <a:lnTo>
                    <a:pt x="14552" y="14051"/>
                  </a:lnTo>
                  <a:lnTo>
                    <a:pt x="14609" y="14050"/>
                  </a:lnTo>
                  <a:lnTo>
                    <a:pt x="14665" y="14047"/>
                  </a:lnTo>
                  <a:lnTo>
                    <a:pt x="14721" y="14042"/>
                  </a:lnTo>
                  <a:lnTo>
                    <a:pt x="14777" y="14034"/>
                  </a:lnTo>
                  <a:lnTo>
                    <a:pt x="14832" y="14025"/>
                  </a:lnTo>
                  <a:lnTo>
                    <a:pt x="14887" y="14013"/>
                  </a:lnTo>
                  <a:lnTo>
                    <a:pt x="14940" y="14000"/>
                  </a:lnTo>
                  <a:lnTo>
                    <a:pt x="14993" y="13984"/>
                  </a:lnTo>
                  <a:lnTo>
                    <a:pt x="15046" y="13967"/>
                  </a:lnTo>
                  <a:lnTo>
                    <a:pt x="15098" y="13948"/>
                  </a:lnTo>
                  <a:lnTo>
                    <a:pt x="15149" y="13928"/>
                  </a:lnTo>
                  <a:lnTo>
                    <a:pt x="15198" y="13905"/>
                  </a:lnTo>
                  <a:lnTo>
                    <a:pt x="15247" y="13881"/>
                  </a:lnTo>
                  <a:lnTo>
                    <a:pt x="15295" y="13855"/>
                  </a:lnTo>
                  <a:lnTo>
                    <a:pt x="15342" y="13827"/>
                  </a:lnTo>
                  <a:lnTo>
                    <a:pt x="15389" y="13798"/>
                  </a:lnTo>
                  <a:lnTo>
                    <a:pt x="15434" y="13767"/>
                  </a:lnTo>
                  <a:lnTo>
                    <a:pt x="15477" y="13733"/>
                  </a:lnTo>
                  <a:lnTo>
                    <a:pt x="15520" y="13699"/>
                  </a:lnTo>
                  <a:lnTo>
                    <a:pt x="15561" y="13663"/>
                  </a:lnTo>
                  <a:lnTo>
                    <a:pt x="15601" y="13626"/>
                  </a:lnTo>
                  <a:lnTo>
                    <a:pt x="15639" y="13587"/>
                  </a:lnTo>
                  <a:lnTo>
                    <a:pt x="15677" y="13546"/>
                  </a:lnTo>
                  <a:lnTo>
                    <a:pt x="15713" y="13505"/>
                  </a:lnTo>
                  <a:lnTo>
                    <a:pt x="15747" y="13461"/>
                  </a:lnTo>
                  <a:lnTo>
                    <a:pt x="15780" y="13416"/>
                  </a:lnTo>
                  <a:lnTo>
                    <a:pt x="15811" y="13371"/>
                  </a:lnTo>
                  <a:lnTo>
                    <a:pt x="15841" y="13323"/>
                  </a:lnTo>
                  <a:lnTo>
                    <a:pt x="15869" y="13275"/>
                  </a:lnTo>
                  <a:lnTo>
                    <a:pt x="15895" y="13225"/>
                  </a:lnTo>
                  <a:lnTo>
                    <a:pt x="15919" y="13174"/>
                  </a:lnTo>
                  <a:lnTo>
                    <a:pt x="15943" y="13122"/>
                  </a:lnTo>
                  <a:lnTo>
                    <a:pt x="15964" y="13069"/>
                  </a:lnTo>
                  <a:lnTo>
                    <a:pt x="15982" y="13016"/>
                  </a:lnTo>
                  <a:lnTo>
                    <a:pt x="15999" y="12962"/>
                  </a:lnTo>
                  <a:lnTo>
                    <a:pt x="16013" y="12907"/>
                  </a:lnTo>
                  <a:lnTo>
                    <a:pt x="16026" y="12853"/>
                  </a:lnTo>
                  <a:lnTo>
                    <a:pt x="16036" y="12798"/>
                  </a:lnTo>
                  <a:lnTo>
                    <a:pt x="16044" y="12744"/>
                  </a:lnTo>
                  <a:lnTo>
                    <a:pt x="16051" y="12689"/>
                  </a:lnTo>
                  <a:lnTo>
                    <a:pt x="16055" y="12633"/>
                  </a:lnTo>
                  <a:lnTo>
                    <a:pt x="16057" y="12579"/>
                  </a:lnTo>
                  <a:lnTo>
                    <a:pt x="16057" y="12524"/>
                  </a:lnTo>
                  <a:lnTo>
                    <a:pt x="16056" y="12469"/>
                  </a:lnTo>
                  <a:lnTo>
                    <a:pt x="16052" y="12415"/>
                  </a:lnTo>
                  <a:lnTo>
                    <a:pt x="16046" y="12359"/>
                  </a:lnTo>
                  <a:lnTo>
                    <a:pt x="16038" y="12306"/>
                  </a:lnTo>
                  <a:lnTo>
                    <a:pt x="16029" y="12252"/>
                  </a:lnTo>
                  <a:lnTo>
                    <a:pt x="16017" y="12199"/>
                  </a:lnTo>
                  <a:lnTo>
                    <a:pt x="16004" y="12146"/>
                  </a:lnTo>
                  <a:lnTo>
                    <a:pt x="15988" y="12093"/>
                  </a:lnTo>
                  <a:lnTo>
                    <a:pt x="15971" y="12041"/>
                  </a:lnTo>
                  <a:lnTo>
                    <a:pt x="15951" y="11990"/>
                  </a:lnTo>
                  <a:lnTo>
                    <a:pt x="15930" y="11939"/>
                  </a:lnTo>
                  <a:lnTo>
                    <a:pt x="15906" y="11889"/>
                  </a:lnTo>
                  <a:lnTo>
                    <a:pt x="15881" y="11840"/>
                  </a:lnTo>
                  <a:lnTo>
                    <a:pt x="15855" y="11791"/>
                  </a:lnTo>
                  <a:lnTo>
                    <a:pt x="15826" y="11744"/>
                  </a:lnTo>
                  <a:lnTo>
                    <a:pt x="15796" y="11698"/>
                  </a:lnTo>
                  <a:lnTo>
                    <a:pt x="15763" y="11652"/>
                  </a:lnTo>
                  <a:lnTo>
                    <a:pt x="15729" y="11608"/>
                  </a:lnTo>
                  <a:lnTo>
                    <a:pt x="15694" y="11564"/>
                  </a:lnTo>
                  <a:lnTo>
                    <a:pt x="15656" y="11522"/>
                  </a:lnTo>
                  <a:lnTo>
                    <a:pt x="15615" y="11481"/>
                  </a:lnTo>
                  <a:lnTo>
                    <a:pt x="4578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7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0" name="îsľíďé">
              <a:extLst>
                <a:ext uri="{FF2B5EF4-FFF2-40B4-BE49-F238E27FC236}">
                  <a16:creationId xmlns:a16="http://schemas.microsoft.com/office/drawing/2014/main" id="{E8A1FC88-6C0B-422E-9BFF-02F6041F5103}"/>
                </a:ext>
              </a:extLst>
            </p:cNvPr>
            <p:cNvSpPr/>
            <p:nvPr/>
          </p:nvSpPr>
          <p:spPr bwMode="auto">
            <a:xfrm>
              <a:off x="3161856" y="39811"/>
              <a:ext cx="153089" cy="153089"/>
            </a:xfrm>
            <a:custGeom>
              <a:avLst/>
              <a:gdLst>
                <a:gd name="T0" fmla="*/ 1116 w 7527"/>
                <a:gd name="T1" fmla="*/ 1037 h 7528"/>
                <a:gd name="T2" fmla="*/ 2289 w 7527"/>
                <a:gd name="T3" fmla="*/ 1277 h 7528"/>
                <a:gd name="T4" fmla="*/ 3369 w 7527"/>
                <a:gd name="T5" fmla="*/ 1733 h 7528"/>
                <a:gd name="T6" fmla="*/ 4329 w 7527"/>
                <a:gd name="T7" fmla="*/ 2383 h 7528"/>
                <a:gd name="T8" fmla="*/ 5145 w 7527"/>
                <a:gd name="T9" fmla="*/ 3200 h 7528"/>
                <a:gd name="T10" fmla="*/ 5795 w 7527"/>
                <a:gd name="T11" fmla="*/ 4159 h 7528"/>
                <a:gd name="T12" fmla="*/ 6251 w 7527"/>
                <a:gd name="T13" fmla="*/ 5239 h 7528"/>
                <a:gd name="T14" fmla="*/ 6491 w 7527"/>
                <a:gd name="T15" fmla="*/ 6413 h 7528"/>
                <a:gd name="T16" fmla="*/ 6524 w 7527"/>
                <a:gd name="T17" fmla="*/ 7053 h 7528"/>
                <a:gd name="T18" fmla="*/ 6539 w 7527"/>
                <a:gd name="T19" fmla="*/ 7152 h 7528"/>
                <a:gd name="T20" fmla="*/ 6574 w 7527"/>
                <a:gd name="T21" fmla="*/ 7245 h 7528"/>
                <a:gd name="T22" fmla="*/ 6624 w 7527"/>
                <a:gd name="T23" fmla="*/ 7327 h 7528"/>
                <a:gd name="T24" fmla="*/ 6689 w 7527"/>
                <a:gd name="T25" fmla="*/ 7398 h 7528"/>
                <a:gd name="T26" fmla="*/ 6765 w 7527"/>
                <a:gd name="T27" fmla="*/ 7455 h 7528"/>
                <a:gd name="T28" fmla="*/ 6854 w 7527"/>
                <a:gd name="T29" fmla="*/ 7498 h 7528"/>
                <a:gd name="T30" fmla="*/ 6949 w 7527"/>
                <a:gd name="T31" fmla="*/ 7522 h 7528"/>
                <a:gd name="T32" fmla="*/ 7051 w 7527"/>
                <a:gd name="T33" fmla="*/ 7527 h 7528"/>
                <a:gd name="T34" fmla="*/ 7151 w 7527"/>
                <a:gd name="T35" fmla="*/ 7512 h 7528"/>
                <a:gd name="T36" fmla="*/ 7243 w 7527"/>
                <a:gd name="T37" fmla="*/ 7478 h 7528"/>
                <a:gd name="T38" fmla="*/ 7325 w 7527"/>
                <a:gd name="T39" fmla="*/ 7428 h 7528"/>
                <a:gd name="T40" fmla="*/ 7397 w 7527"/>
                <a:gd name="T41" fmla="*/ 7363 h 7528"/>
                <a:gd name="T42" fmla="*/ 7455 w 7527"/>
                <a:gd name="T43" fmla="*/ 7286 h 7528"/>
                <a:gd name="T44" fmla="*/ 7497 w 7527"/>
                <a:gd name="T45" fmla="*/ 7198 h 7528"/>
                <a:gd name="T46" fmla="*/ 7521 w 7527"/>
                <a:gd name="T47" fmla="*/ 7102 h 7528"/>
                <a:gd name="T48" fmla="*/ 7526 w 7527"/>
                <a:gd name="T49" fmla="*/ 7024 h 7528"/>
                <a:gd name="T50" fmla="*/ 7445 w 7527"/>
                <a:gd name="T51" fmla="*/ 5954 h 7528"/>
                <a:gd name="T52" fmla="*/ 7099 w 7527"/>
                <a:gd name="T53" fmla="*/ 4610 h 7528"/>
                <a:gd name="T54" fmla="*/ 6509 w 7527"/>
                <a:gd name="T55" fmla="*/ 3385 h 7528"/>
                <a:gd name="T56" fmla="*/ 5703 w 7527"/>
                <a:gd name="T57" fmla="*/ 2306 h 7528"/>
                <a:gd name="T58" fmla="*/ 4709 w 7527"/>
                <a:gd name="T59" fmla="*/ 1401 h 7528"/>
                <a:gd name="T60" fmla="*/ 3554 w 7527"/>
                <a:gd name="T61" fmla="*/ 699 h 7528"/>
                <a:gd name="T62" fmla="*/ 2267 w 7527"/>
                <a:gd name="T63" fmla="*/ 227 h 7528"/>
                <a:gd name="T64" fmla="*/ 875 w 7527"/>
                <a:gd name="T65" fmla="*/ 13 h 7528"/>
                <a:gd name="T66" fmla="*/ 477 w 7527"/>
                <a:gd name="T67" fmla="*/ 1 h 7528"/>
                <a:gd name="T68" fmla="*/ 376 w 7527"/>
                <a:gd name="T69" fmla="*/ 16 h 7528"/>
                <a:gd name="T70" fmla="*/ 284 w 7527"/>
                <a:gd name="T71" fmla="*/ 49 h 7528"/>
                <a:gd name="T72" fmla="*/ 202 w 7527"/>
                <a:gd name="T73" fmla="*/ 99 h 7528"/>
                <a:gd name="T74" fmla="*/ 130 w 7527"/>
                <a:gd name="T75" fmla="*/ 165 h 7528"/>
                <a:gd name="T76" fmla="*/ 73 w 7527"/>
                <a:gd name="T77" fmla="*/ 242 h 7528"/>
                <a:gd name="T78" fmla="*/ 31 w 7527"/>
                <a:gd name="T79" fmla="*/ 329 h 7528"/>
                <a:gd name="T80" fmla="*/ 6 w 7527"/>
                <a:gd name="T81" fmla="*/ 426 h 7528"/>
                <a:gd name="T82" fmla="*/ 1 w 7527"/>
                <a:gd name="T83" fmla="*/ 528 h 7528"/>
                <a:gd name="T84" fmla="*/ 16 w 7527"/>
                <a:gd name="T85" fmla="*/ 627 h 7528"/>
                <a:gd name="T86" fmla="*/ 50 w 7527"/>
                <a:gd name="T87" fmla="*/ 720 h 7528"/>
                <a:gd name="T88" fmla="*/ 100 w 7527"/>
                <a:gd name="T89" fmla="*/ 802 h 7528"/>
                <a:gd name="T90" fmla="*/ 164 w 7527"/>
                <a:gd name="T91" fmla="*/ 873 h 7528"/>
                <a:gd name="T92" fmla="*/ 242 w 7527"/>
                <a:gd name="T93" fmla="*/ 930 h 7528"/>
                <a:gd name="T94" fmla="*/ 329 w 7527"/>
                <a:gd name="T95" fmla="*/ 974 h 7528"/>
                <a:gd name="T96" fmla="*/ 424 w 7527"/>
                <a:gd name="T97" fmla="*/ 998 h 7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527" h="7528">
                  <a:moveTo>
                    <a:pt x="501" y="1004"/>
                  </a:moveTo>
                  <a:lnTo>
                    <a:pt x="501" y="1006"/>
                  </a:lnTo>
                  <a:lnTo>
                    <a:pt x="811" y="1014"/>
                  </a:lnTo>
                  <a:lnTo>
                    <a:pt x="1116" y="1037"/>
                  </a:lnTo>
                  <a:lnTo>
                    <a:pt x="1417" y="1075"/>
                  </a:lnTo>
                  <a:lnTo>
                    <a:pt x="1713" y="1128"/>
                  </a:lnTo>
                  <a:lnTo>
                    <a:pt x="2004" y="1195"/>
                  </a:lnTo>
                  <a:lnTo>
                    <a:pt x="2289" y="1277"/>
                  </a:lnTo>
                  <a:lnTo>
                    <a:pt x="2569" y="1372"/>
                  </a:lnTo>
                  <a:lnTo>
                    <a:pt x="2843" y="1479"/>
                  </a:lnTo>
                  <a:lnTo>
                    <a:pt x="3109" y="1601"/>
                  </a:lnTo>
                  <a:lnTo>
                    <a:pt x="3369" y="1733"/>
                  </a:lnTo>
                  <a:lnTo>
                    <a:pt x="3621" y="1879"/>
                  </a:lnTo>
                  <a:lnTo>
                    <a:pt x="3866" y="2035"/>
                  </a:lnTo>
                  <a:lnTo>
                    <a:pt x="4102" y="2204"/>
                  </a:lnTo>
                  <a:lnTo>
                    <a:pt x="4329" y="2383"/>
                  </a:lnTo>
                  <a:lnTo>
                    <a:pt x="4547" y="2572"/>
                  </a:lnTo>
                  <a:lnTo>
                    <a:pt x="4757" y="2771"/>
                  </a:lnTo>
                  <a:lnTo>
                    <a:pt x="4957" y="2981"/>
                  </a:lnTo>
                  <a:lnTo>
                    <a:pt x="5145" y="3200"/>
                  </a:lnTo>
                  <a:lnTo>
                    <a:pt x="5325" y="3427"/>
                  </a:lnTo>
                  <a:lnTo>
                    <a:pt x="5493" y="3663"/>
                  </a:lnTo>
                  <a:lnTo>
                    <a:pt x="5649" y="3907"/>
                  </a:lnTo>
                  <a:lnTo>
                    <a:pt x="5795" y="4159"/>
                  </a:lnTo>
                  <a:lnTo>
                    <a:pt x="5928" y="4419"/>
                  </a:lnTo>
                  <a:lnTo>
                    <a:pt x="6049" y="4686"/>
                  </a:lnTo>
                  <a:lnTo>
                    <a:pt x="6156" y="4959"/>
                  </a:lnTo>
                  <a:lnTo>
                    <a:pt x="6251" y="5239"/>
                  </a:lnTo>
                  <a:lnTo>
                    <a:pt x="6333" y="5524"/>
                  </a:lnTo>
                  <a:lnTo>
                    <a:pt x="6400" y="5815"/>
                  </a:lnTo>
                  <a:lnTo>
                    <a:pt x="6453" y="6111"/>
                  </a:lnTo>
                  <a:lnTo>
                    <a:pt x="6491" y="6413"/>
                  </a:lnTo>
                  <a:lnTo>
                    <a:pt x="6514" y="6718"/>
                  </a:lnTo>
                  <a:lnTo>
                    <a:pt x="6522" y="7028"/>
                  </a:lnTo>
                  <a:lnTo>
                    <a:pt x="6523" y="7028"/>
                  </a:lnTo>
                  <a:lnTo>
                    <a:pt x="6524" y="7053"/>
                  </a:lnTo>
                  <a:lnTo>
                    <a:pt x="6526" y="7079"/>
                  </a:lnTo>
                  <a:lnTo>
                    <a:pt x="6529" y="7104"/>
                  </a:lnTo>
                  <a:lnTo>
                    <a:pt x="6534" y="7128"/>
                  </a:lnTo>
                  <a:lnTo>
                    <a:pt x="6539" y="7152"/>
                  </a:lnTo>
                  <a:lnTo>
                    <a:pt x="6546" y="7176"/>
                  </a:lnTo>
                  <a:lnTo>
                    <a:pt x="6554" y="7199"/>
                  </a:lnTo>
                  <a:lnTo>
                    <a:pt x="6564" y="7223"/>
                  </a:lnTo>
                  <a:lnTo>
                    <a:pt x="6574" y="7245"/>
                  </a:lnTo>
                  <a:lnTo>
                    <a:pt x="6585" y="7266"/>
                  </a:lnTo>
                  <a:lnTo>
                    <a:pt x="6597" y="7287"/>
                  </a:lnTo>
                  <a:lnTo>
                    <a:pt x="6610" y="7307"/>
                  </a:lnTo>
                  <a:lnTo>
                    <a:pt x="6624" y="7327"/>
                  </a:lnTo>
                  <a:lnTo>
                    <a:pt x="6639" y="7346"/>
                  </a:lnTo>
                  <a:lnTo>
                    <a:pt x="6655" y="7364"/>
                  </a:lnTo>
                  <a:lnTo>
                    <a:pt x="6671" y="7381"/>
                  </a:lnTo>
                  <a:lnTo>
                    <a:pt x="6689" y="7398"/>
                  </a:lnTo>
                  <a:lnTo>
                    <a:pt x="6707" y="7413"/>
                  </a:lnTo>
                  <a:lnTo>
                    <a:pt x="6725" y="7428"/>
                  </a:lnTo>
                  <a:lnTo>
                    <a:pt x="6745" y="7442"/>
                  </a:lnTo>
                  <a:lnTo>
                    <a:pt x="6765" y="7455"/>
                  </a:lnTo>
                  <a:lnTo>
                    <a:pt x="6786" y="7467"/>
                  </a:lnTo>
                  <a:lnTo>
                    <a:pt x="6808" y="7478"/>
                  </a:lnTo>
                  <a:lnTo>
                    <a:pt x="6830" y="7489"/>
                  </a:lnTo>
                  <a:lnTo>
                    <a:pt x="6854" y="7498"/>
                  </a:lnTo>
                  <a:lnTo>
                    <a:pt x="6877" y="7505"/>
                  </a:lnTo>
                  <a:lnTo>
                    <a:pt x="6900" y="7512"/>
                  </a:lnTo>
                  <a:lnTo>
                    <a:pt x="6925" y="7518"/>
                  </a:lnTo>
                  <a:lnTo>
                    <a:pt x="6949" y="7522"/>
                  </a:lnTo>
                  <a:lnTo>
                    <a:pt x="6974" y="7525"/>
                  </a:lnTo>
                  <a:lnTo>
                    <a:pt x="6999" y="7527"/>
                  </a:lnTo>
                  <a:lnTo>
                    <a:pt x="7025" y="7528"/>
                  </a:lnTo>
                  <a:lnTo>
                    <a:pt x="7051" y="7527"/>
                  </a:lnTo>
                  <a:lnTo>
                    <a:pt x="7076" y="7525"/>
                  </a:lnTo>
                  <a:lnTo>
                    <a:pt x="7101" y="7522"/>
                  </a:lnTo>
                  <a:lnTo>
                    <a:pt x="7127" y="7518"/>
                  </a:lnTo>
                  <a:lnTo>
                    <a:pt x="7151" y="7512"/>
                  </a:lnTo>
                  <a:lnTo>
                    <a:pt x="7175" y="7505"/>
                  </a:lnTo>
                  <a:lnTo>
                    <a:pt x="7198" y="7497"/>
                  </a:lnTo>
                  <a:lnTo>
                    <a:pt x="7221" y="7489"/>
                  </a:lnTo>
                  <a:lnTo>
                    <a:pt x="7243" y="7478"/>
                  </a:lnTo>
                  <a:lnTo>
                    <a:pt x="7265" y="7466"/>
                  </a:lnTo>
                  <a:lnTo>
                    <a:pt x="7286" y="7454"/>
                  </a:lnTo>
                  <a:lnTo>
                    <a:pt x="7306" y="7441"/>
                  </a:lnTo>
                  <a:lnTo>
                    <a:pt x="7325" y="7428"/>
                  </a:lnTo>
                  <a:lnTo>
                    <a:pt x="7344" y="7413"/>
                  </a:lnTo>
                  <a:lnTo>
                    <a:pt x="7362" y="7397"/>
                  </a:lnTo>
                  <a:lnTo>
                    <a:pt x="7380" y="7380"/>
                  </a:lnTo>
                  <a:lnTo>
                    <a:pt x="7397" y="7363"/>
                  </a:lnTo>
                  <a:lnTo>
                    <a:pt x="7413" y="7345"/>
                  </a:lnTo>
                  <a:lnTo>
                    <a:pt x="7428" y="7326"/>
                  </a:lnTo>
                  <a:lnTo>
                    <a:pt x="7442" y="7306"/>
                  </a:lnTo>
                  <a:lnTo>
                    <a:pt x="7455" y="7286"/>
                  </a:lnTo>
                  <a:lnTo>
                    <a:pt x="7467" y="7265"/>
                  </a:lnTo>
                  <a:lnTo>
                    <a:pt x="7478" y="7244"/>
                  </a:lnTo>
                  <a:lnTo>
                    <a:pt x="7488" y="7222"/>
                  </a:lnTo>
                  <a:lnTo>
                    <a:pt x="7497" y="7198"/>
                  </a:lnTo>
                  <a:lnTo>
                    <a:pt x="7505" y="7175"/>
                  </a:lnTo>
                  <a:lnTo>
                    <a:pt x="7511" y="7151"/>
                  </a:lnTo>
                  <a:lnTo>
                    <a:pt x="7517" y="7127"/>
                  </a:lnTo>
                  <a:lnTo>
                    <a:pt x="7521" y="7102"/>
                  </a:lnTo>
                  <a:lnTo>
                    <a:pt x="7524" y="7077"/>
                  </a:lnTo>
                  <a:lnTo>
                    <a:pt x="7526" y="7052"/>
                  </a:lnTo>
                  <a:lnTo>
                    <a:pt x="7527" y="7026"/>
                  </a:lnTo>
                  <a:lnTo>
                    <a:pt x="7526" y="7024"/>
                  </a:lnTo>
                  <a:lnTo>
                    <a:pt x="7526" y="7022"/>
                  </a:lnTo>
                  <a:lnTo>
                    <a:pt x="7517" y="6660"/>
                  </a:lnTo>
                  <a:lnTo>
                    <a:pt x="7489" y="6304"/>
                  </a:lnTo>
                  <a:lnTo>
                    <a:pt x="7445" y="5954"/>
                  </a:lnTo>
                  <a:lnTo>
                    <a:pt x="7382" y="5609"/>
                  </a:lnTo>
                  <a:lnTo>
                    <a:pt x="7304" y="5269"/>
                  </a:lnTo>
                  <a:lnTo>
                    <a:pt x="7210" y="4936"/>
                  </a:lnTo>
                  <a:lnTo>
                    <a:pt x="7099" y="4610"/>
                  </a:lnTo>
                  <a:lnTo>
                    <a:pt x="6974" y="4292"/>
                  </a:lnTo>
                  <a:lnTo>
                    <a:pt x="6833" y="3982"/>
                  </a:lnTo>
                  <a:lnTo>
                    <a:pt x="6679" y="3679"/>
                  </a:lnTo>
                  <a:lnTo>
                    <a:pt x="6509" y="3385"/>
                  </a:lnTo>
                  <a:lnTo>
                    <a:pt x="6328" y="3100"/>
                  </a:lnTo>
                  <a:lnTo>
                    <a:pt x="6132" y="2825"/>
                  </a:lnTo>
                  <a:lnTo>
                    <a:pt x="5923" y="2560"/>
                  </a:lnTo>
                  <a:lnTo>
                    <a:pt x="5703" y="2306"/>
                  </a:lnTo>
                  <a:lnTo>
                    <a:pt x="5472" y="2063"/>
                  </a:lnTo>
                  <a:lnTo>
                    <a:pt x="5228" y="1830"/>
                  </a:lnTo>
                  <a:lnTo>
                    <a:pt x="4974" y="1610"/>
                  </a:lnTo>
                  <a:lnTo>
                    <a:pt x="4709" y="1401"/>
                  </a:lnTo>
                  <a:lnTo>
                    <a:pt x="4434" y="1205"/>
                  </a:lnTo>
                  <a:lnTo>
                    <a:pt x="4150" y="1023"/>
                  </a:lnTo>
                  <a:lnTo>
                    <a:pt x="3856" y="854"/>
                  </a:lnTo>
                  <a:lnTo>
                    <a:pt x="3554" y="699"/>
                  </a:lnTo>
                  <a:lnTo>
                    <a:pt x="3244" y="558"/>
                  </a:lnTo>
                  <a:lnTo>
                    <a:pt x="2925" y="433"/>
                  </a:lnTo>
                  <a:lnTo>
                    <a:pt x="2599" y="321"/>
                  </a:lnTo>
                  <a:lnTo>
                    <a:pt x="2267" y="227"/>
                  </a:lnTo>
                  <a:lnTo>
                    <a:pt x="1928" y="148"/>
                  </a:lnTo>
                  <a:lnTo>
                    <a:pt x="1583" y="85"/>
                  </a:lnTo>
                  <a:lnTo>
                    <a:pt x="1231" y="40"/>
                  </a:lnTo>
                  <a:lnTo>
                    <a:pt x="875" y="13"/>
                  </a:lnTo>
                  <a:lnTo>
                    <a:pt x="515" y="3"/>
                  </a:lnTo>
                  <a:lnTo>
                    <a:pt x="509" y="2"/>
                  </a:lnTo>
                  <a:lnTo>
                    <a:pt x="502" y="0"/>
                  </a:lnTo>
                  <a:lnTo>
                    <a:pt x="477" y="1"/>
                  </a:lnTo>
                  <a:lnTo>
                    <a:pt x="450" y="3"/>
                  </a:lnTo>
                  <a:lnTo>
                    <a:pt x="425" y="6"/>
                  </a:lnTo>
                  <a:lnTo>
                    <a:pt x="401" y="10"/>
                  </a:lnTo>
                  <a:lnTo>
                    <a:pt x="376" y="16"/>
                  </a:lnTo>
                  <a:lnTo>
                    <a:pt x="353" y="23"/>
                  </a:lnTo>
                  <a:lnTo>
                    <a:pt x="329" y="30"/>
                  </a:lnTo>
                  <a:lnTo>
                    <a:pt x="307" y="39"/>
                  </a:lnTo>
                  <a:lnTo>
                    <a:pt x="284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2" y="85"/>
                  </a:lnTo>
                  <a:lnTo>
                    <a:pt x="202" y="99"/>
                  </a:lnTo>
                  <a:lnTo>
                    <a:pt x="182" y="114"/>
                  </a:lnTo>
                  <a:lnTo>
                    <a:pt x="164" y="130"/>
                  </a:lnTo>
                  <a:lnTo>
                    <a:pt x="147" y="147"/>
                  </a:lnTo>
                  <a:lnTo>
                    <a:pt x="130" y="165"/>
                  </a:lnTo>
                  <a:lnTo>
                    <a:pt x="114" y="183"/>
                  </a:lnTo>
                  <a:lnTo>
                    <a:pt x="100" y="202"/>
                  </a:lnTo>
                  <a:lnTo>
                    <a:pt x="86" y="221"/>
                  </a:lnTo>
                  <a:lnTo>
                    <a:pt x="73" y="242"/>
                  </a:lnTo>
                  <a:lnTo>
                    <a:pt x="61" y="263"/>
                  </a:lnTo>
                  <a:lnTo>
                    <a:pt x="50" y="284"/>
                  </a:lnTo>
                  <a:lnTo>
                    <a:pt x="40" y="306"/>
                  </a:lnTo>
                  <a:lnTo>
                    <a:pt x="31" y="329"/>
                  </a:lnTo>
                  <a:lnTo>
                    <a:pt x="23" y="352"/>
                  </a:lnTo>
                  <a:lnTo>
                    <a:pt x="16" y="376"/>
                  </a:lnTo>
                  <a:lnTo>
                    <a:pt x="10" y="400"/>
                  </a:lnTo>
                  <a:lnTo>
                    <a:pt x="6" y="426"/>
                  </a:lnTo>
                  <a:lnTo>
                    <a:pt x="3" y="451"/>
                  </a:lnTo>
                  <a:lnTo>
                    <a:pt x="1" y="476"/>
                  </a:lnTo>
                  <a:lnTo>
                    <a:pt x="0" y="502"/>
                  </a:lnTo>
                  <a:lnTo>
                    <a:pt x="1" y="528"/>
                  </a:lnTo>
                  <a:lnTo>
                    <a:pt x="3" y="553"/>
                  </a:lnTo>
                  <a:lnTo>
                    <a:pt x="6" y="578"/>
                  </a:lnTo>
                  <a:lnTo>
                    <a:pt x="10" y="603"/>
                  </a:lnTo>
                  <a:lnTo>
                    <a:pt x="16" y="627"/>
                  </a:lnTo>
                  <a:lnTo>
                    <a:pt x="23" y="651"/>
                  </a:lnTo>
                  <a:lnTo>
                    <a:pt x="31" y="674"/>
                  </a:lnTo>
                  <a:lnTo>
                    <a:pt x="40" y="698"/>
                  </a:lnTo>
                  <a:lnTo>
                    <a:pt x="50" y="720"/>
                  </a:lnTo>
                  <a:lnTo>
                    <a:pt x="61" y="741"/>
                  </a:lnTo>
                  <a:lnTo>
                    <a:pt x="73" y="762"/>
                  </a:lnTo>
                  <a:lnTo>
                    <a:pt x="86" y="782"/>
                  </a:lnTo>
                  <a:lnTo>
                    <a:pt x="100" y="802"/>
                  </a:lnTo>
                  <a:lnTo>
                    <a:pt x="114" y="821"/>
                  </a:lnTo>
                  <a:lnTo>
                    <a:pt x="130" y="839"/>
                  </a:lnTo>
                  <a:lnTo>
                    <a:pt x="147" y="856"/>
                  </a:lnTo>
                  <a:lnTo>
                    <a:pt x="164" y="873"/>
                  </a:lnTo>
                  <a:lnTo>
                    <a:pt x="182" y="889"/>
                  </a:lnTo>
                  <a:lnTo>
                    <a:pt x="202" y="904"/>
                  </a:lnTo>
                  <a:lnTo>
                    <a:pt x="221" y="917"/>
                  </a:lnTo>
                  <a:lnTo>
                    <a:pt x="242" y="930"/>
                  </a:lnTo>
                  <a:lnTo>
                    <a:pt x="262" y="942"/>
                  </a:lnTo>
                  <a:lnTo>
                    <a:pt x="284" y="955"/>
                  </a:lnTo>
                  <a:lnTo>
                    <a:pt x="306" y="965"/>
                  </a:lnTo>
                  <a:lnTo>
                    <a:pt x="329" y="974"/>
                  </a:lnTo>
                  <a:lnTo>
                    <a:pt x="352" y="981"/>
                  </a:lnTo>
                  <a:lnTo>
                    <a:pt x="376" y="988"/>
                  </a:lnTo>
                  <a:lnTo>
                    <a:pt x="400" y="994"/>
                  </a:lnTo>
                  <a:lnTo>
                    <a:pt x="424" y="998"/>
                  </a:lnTo>
                  <a:lnTo>
                    <a:pt x="449" y="1001"/>
                  </a:lnTo>
                  <a:lnTo>
                    <a:pt x="476" y="1003"/>
                  </a:lnTo>
                  <a:lnTo>
                    <a:pt x="501" y="10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1" name="íṧľîḓê">
              <a:extLst>
                <a:ext uri="{FF2B5EF4-FFF2-40B4-BE49-F238E27FC236}">
                  <a16:creationId xmlns:a16="http://schemas.microsoft.com/office/drawing/2014/main" id="{413E0841-3454-4B85-AE12-EEDF3930D995}"/>
                </a:ext>
              </a:extLst>
            </p:cNvPr>
            <p:cNvSpPr/>
            <p:nvPr/>
          </p:nvSpPr>
          <p:spPr bwMode="auto">
            <a:xfrm>
              <a:off x="3282560" y="1000844"/>
              <a:ext cx="415238" cy="402829"/>
            </a:xfrm>
            <a:custGeom>
              <a:avLst/>
              <a:gdLst>
                <a:gd name="T0" fmla="*/ 11715 w 16095"/>
                <a:gd name="T1" fmla="*/ 9432 h 15614"/>
                <a:gd name="T2" fmla="*/ 11598 w 16095"/>
                <a:gd name="T3" fmla="*/ 9669 h 15614"/>
                <a:gd name="T4" fmla="*/ 11540 w 16095"/>
                <a:gd name="T5" fmla="*/ 9924 h 15614"/>
                <a:gd name="T6" fmla="*/ 11544 w 16095"/>
                <a:gd name="T7" fmla="*/ 10189 h 15614"/>
                <a:gd name="T8" fmla="*/ 8441 w 16095"/>
                <a:gd name="T9" fmla="*/ 12438 h 15614"/>
                <a:gd name="T10" fmla="*/ 8156 w 16095"/>
                <a:gd name="T11" fmla="*/ 12375 h 15614"/>
                <a:gd name="T12" fmla="*/ 7866 w 16095"/>
                <a:gd name="T13" fmla="*/ 12384 h 15614"/>
                <a:gd name="T14" fmla="*/ 7586 w 16095"/>
                <a:gd name="T15" fmla="*/ 12464 h 15614"/>
                <a:gd name="T16" fmla="*/ 4558 w 16095"/>
                <a:gd name="T17" fmla="*/ 10123 h 15614"/>
                <a:gd name="T18" fmla="*/ 4547 w 16095"/>
                <a:gd name="T19" fmla="*/ 9859 h 15614"/>
                <a:gd name="T20" fmla="*/ 4473 w 16095"/>
                <a:gd name="T21" fmla="*/ 9607 h 15614"/>
                <a:gd name="T22" fmla="*/ 4342 w 16095"/>
                <a:gd name="T23" fmla="*/ 9376 h 15614"/>
                <a:gd name="T24" fmla="*/ 5386 w 16095"/>
                <a:gd name="T25" fmla="*/ 5551 h 15614"/>
                <a:gd name="T26" fmla="*/ 5658 w 16095"/>
                <a:gd name="T27" fmla="*/ 5467 h 15614"/>
                <a:gd name="T28" fmla="*/ 5899 w 16095"/>
                <a:gd name="T29" fmla="*/ 5323 h 15614"/>
                <a:gd name="T30" fmla="*/ 6097 w 16095"/>
                <a:gd name="T31" fmla="*/ 5126 h 15614"/>
                <a:gd name="T32" fmla="*/ 8048 w 16095"/>
                <a:gd name="T33" fmla="*/ 1134 h 15614"/>
                <a:gd name="T34" fmla="*/ 9998 w 16095"/>
                <a:gd name="T35" fmla="*/ 5126 h 15614"/>
                <a:gd name="T36" fmla="*/ 10196 w 16095"/>
                <a:gd name="T37" fmla="*/ 5323 h 15614"/>
                <a:gd name="T38" fmla="*/ 10437 w 16095"/>
                <a:gd name="T39" fmla="*/ 5467 h 15614"/>
                <a:gd name="T40" fmla="*/ 10708 w 16095"/>
                <a:gd name="T41" fmla="*/ 5551 h 15614"/>
                <a:gd name="T42" fmla="*/ 15973 w 16095"/>
                <a:gd name="T43" fmla="*/ 5675 h 15614"/>
                <a:gd name="T44" fmla="*/ 15794 w 16095"/>
                <a:gd name="T45" fmla="*/ 5421 h 15614"/>
                <a:gd name="T46" fmla="*/ 15554 w 16095"/>
                <a:gd name="T47" fmla="*/ 5223 h 15614"/>
                <a:gd name="T48" fmla="*/ 15266 w 16095"/>
                <a:gd name="T49" fmla="*/ 5094 h 15614"/>
                <a:gd name="T50" fmla="*/ 9061 w 16095"/>
                <a:gd name="T51" fmla="*/ 579 h 15614"/>
                <a:gd name="T52" fmla="*/ 8861 w 16095"/>
                <a:gd name="T53" fmla="*/ 324 h 15614"/>
                <a:gd name="T54" fmla="*/ 8601 w 16095"/>
                <a:gd name="T55" fmla="*/ 137 h 15614"/>
                <a:gd name="T56" fmla="*/ 8296 w 16095"/>
                <a:gd name="T57" fmla="*/ 26 h 15614"/>
                <a:gd name="T58" fmla="*/ 7963 w 16095"/>
                <a:gd name="T59" fmla="*/ 3 h 15614"/>
                <a:gd name="T60" fmla="*/ 7642 w 16095"/>
                <a:gd name="T61" fmla="*/ 72 h 15614"/>
                <a:gd name="T62" fmla="*/ 7357 w 16095"/>
                <a:gd name="T63" fmla="*/ 222 h 15614"/>
                <a:gd name="T64" fmla="*/ 7125 w 16095"/>
                <a:gd name="T65" fmla="*/ 444 h 15614"/>
                <a:gd name="T66" fmla="*/ 987 w 16095"/>
                <a:gd name="T67" fmla="*/ 5060 h 15614"/>
                <a:gd name="T68" fmla="*/ 680 w 16095"/>
                <a:gd name="T69" fmla="*/ 5150 h 15614"/>
                <a:gd name="T70" fmla="*/ 414 w 16095"/>
                <a:gd name="T71" fmla="*/ 5314 h 15614"/>
                <a:gd name="T72" fmla="*/ 203 w 16095"/>
                <a:gd name="T73" fmla="*/ 5541 h 15614"/>
                <a:gd name="T74" fmla="*/ 60 w 16095"/>
                <a:gd name="T75" fmla="*/ 5820 h 15614"/>
                <a:gd name="T76" fmla="*/ 1 w 16095"/>
                <a:gd name="T77" fmla="*/ 6128 h 15614"/>
                <a:gd name="T78" fmla="*/ 29 w 16095"/>
                <a:gd name="T79" fmla="*/ 6434 h 15614"/>
                <a:gd name="T80" fmla="*/ 141 w 16095"/>
                <a:gd name="T81" fmla="*/ 6721 h 15614"/>
                <a:gd name="T82" fmla="*/ 330 w 16095"/>
                <a:gd name="T83" fmla="*/ 6972 h 15614"/>
                <a:gd name="T84" fmla="*/ 2674 w 16095"/>
                <a:gd name="T85" fmla="*/ 14537 h 15614"/>
                <a:gd name="T86" fmla="*/ 2734 w 16095"/>
                <a:gd name="T87" fmla="*/ 14845 h 15614"/>
                <a:gd name="T88" fmla="*/ 2878 w 16095"/>
                <a:gd name="T89" fmla="*/ 15124 h 15614"/>
                <a:gd name="T90" fmla="*/ 3098 w 16095"/>
                <a:gd name="T91" fmla="*/ 15358 h 15614"/>
                <a:gd name="T92" fmla="*/ 3402 w 16095"/>
                <a:gd name="T93" fmla="*/ 15532 h 15614"/>
                <a:gd name="T94" fmla="*/ 3746 w 16095"/>
                <a:gd name="T95" fmla="*/ 15611 h 15614"/>
                <a:gd name="T96" fmla="*/ 4051 w 16095"/>
                <a:gd name="T97" fmla="*/ 15594 h 15614"/>
                <a:gd name="T98" fmla="*/ 4330 w 16095"/>
                <a:gd name="T99" fmla="*/ 15505 h 15614"/>
                <a:gd name="T100" fmla="*/ 11834 w 16095"/>
                <a:gd name="T101" fmla="*/ 15534 h 15614"/>
                <a:gd name="T102" fmla="*/ 12117 w 16095"/>
                <a:gd name="T103" fmla="*/ 15605 h 15614"/>
                <a:gd name="T104" fmla="*/ 12436 w 16095"/>
                <a:gd name="T105" fmla="*/ 15601 h 15614"/>
                <a:gd name="T106" fmla="*/ 12774 w 16095"/>
                <a:gd name="T107" fmla="*/ 15497 h 15614"/>
                <a:gd name="T108" fmla="*/ 13058 w 16095"/>
                <a:gd name="T109" fmla="*/ 15305 h 15614"/>
                <a:gd name="T110" fmla="*/ 13260 w 16095"/>
                <a:gd name="T111" fmla="*/ 15059 h 15614"/>
                <a:gd name="T112" fmla="*/ 13384 w 16095"/>
                <a:gd name="T113" fmla="*/ 14771 h 15614"/>
                <a:gd name="T114" fmla="*/ 13422 w 16095"/>
                <a:gd name="T115" fmla="*/ 14458 h 15614"/>
                <a:gd name="T116" fmla="*/ 15819 w 16095"/>
                <a:gd name="T117" fmla="*/ 6913 h 15614"/>
                <a:gd name="T118" fmla="*/ 15989 w 16095"/>
                <a:gd name="T119" fmla="*/ 6652 h 15614"/>
                <a:gd name="T120" fmla="*/ 16080 w 16095"/>
                <a:gd name="T121" fmla="*/ 6358 h 15614"/>
                <a:gd name="T122" fmla="*/ 16087 w 16095"/>
                <a:gd name="T123" fmla="*/ 6050 h 15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095" h="15614">
                  <a:moveTo>
                    <a:pt x="11864" y="9250"/>
                  </a:moveTo>
                  <a:lnTo>
                    <a:pt x="11840" y="9274"/>
                  </a:lnTo>
                  <a:lnTo>
                    <a:pt x="11817" y="9299"/>
                  </a:lnTo>
                  <a:lnTo>
                    <a:pt x="11796" y="9324"/>
                  </a:lnTo>
                  <a:lnTo>
                    <a:pt x="11773" y="9350"/>
                  </a:lnTo>
                  <a:lnTo>
                    <a:pt x="11753" y="9376"/>
                  </a:lnTo>
                  <a:lnTo>
                    <a:pt x="11734" y="9404"/>
                  </a:lnTo>
                  <a:lnTo>
                    <a:pt x="11715" y="9432"/>
                  </a:lnTo>
                  <a:lnTo>
                    <a:pt x="11698" y="9460"/>
                  </a:lnTo>
                  <a:lnTo>
                    <a:pt x="11681" y="9488"/>
                  </a:lnTo>
                  <a:lnTo>
                    <a:pt x="11665" y="9517"/>
                  </a:lnTo>
                  <a:lnTo>
                    <a:pt x="11650" y="9547"/>
                  </a:lnTo>
                  <a:lnTo>
                    <a:pt x="11636" y="9577"/>
                  </a:lnTo>
                  <a:lnTo>
                    <a:pt x="11623" y="9607"/>
                  </a:lnTo>
                  <a:lnTo>
                    <a:pt x="11610" y="9637"/>
                  </a:lnTo>
                  <a:lnTo>
                    <a:pt x="11598" y="9669"/>
                  </a:lnTo>
                  <a:lnTo>
                    <a:pt x="11587" y="9700"/>
                  </a:lnTo>
                  <a:lnTo>
                    <a:pt x="11578" y="9731"/>
                  </a:lnTo>
                  <a:lnTo>
                    <a:pt x="11569" y="9762"/>
                  </a:lnTo>
                  <a:lnTo>
                    <a:pt x="11561" y="9795"/>
                  </a:lnTo>
                  <a:lnTo>
                    <a:pt x="11554" y="9827"/>
                  </a:lnTo>
                  <a:lnTo>
                    <a:pt x="11549" y="9859"/>
                  </a:lnTo>
                  <a:lnTo>
                    <a:pt x="11544" y="9891"/>
                  </a:lnTo>
                  <a:lnTo>
                    <a:pt x="11540" y="9924"/>
                  </a:lnTo>
                  <a:lnTo>
                    <a:pt x="11537" y="9958"/>
                  </a:lnTo>
                  <a:lnTo>
                    <a:pt x="11535" y="9990"/>
                  </a:lnTo>
                  <a:lnTo>
                    <a:pt x="11534" y="10023"/>
                  </a:lnTo>
                  <a:lnTo>
                    <a:pt x="11534" y="10056"/>
                  </a:lnTo>
                  <a:lnTo>
                    <a:pt x="11535" y="10090"/>
                  </a:lnTo>
                  <a:lnTo>
                    <a:pt x="11537" y="10123"/>
                  </a:lnTo>
                  <a:lnTo>
                    <a:pt x="11540" y="10156"/>
                  </a:lnTo>
                  <a:lnTo>
                    <a:pt x="11544" y="10189"/>
                  </a:lnTo>
                  <a:lnTo>
                    <a:pt x="11549" y="10223"/>
                  </a:lnTo>
                  <a:lnTo>
                    <a:pt x="12260" y="14481"/>
                  </a:lnTo>
                  <a:lnTo>
                    <a:pt x="8610" y="12512"/>
                  </a:lnTo>
                  <a:lnTo>
                    <a:pt x="8577" y="12495"/>
                  </a:lnTo>
                  <a:lnTo>
                    <a:pt x="8543" y="12479"/>
                  </a:lnTo>
                  <a:lnTo>
                    <a:pt x="8509" y="12464"/>
                  </a:lnTo>
                  <a:lnTo>
                    <a:pt x="8475" y="12450"/>
                  </a:lnTo>
                  <a:lnTo>
                    <a:pt x="8441" y="12438"/>
                  </a:lnTo>
                  <a:lnTo>
                    <a:pt x="8406" y="12426"/>
                  </a:lnTo>
                  <a:lnTo>
                    <a:pt x="8370" y="12416"/>
                  </a:lnTo>
                  <a:lnTo>
                    <a:pt x="8335" y="12406"/>
                  </a:lnTo>
                  <a:lnTo>
                    <a:pt x="8300" y="12398"/>
                  </a:lnTo>
                  <a:lnTo>
                    <a:pt x="8264" y="12390"/>
                  </a:lnTo>
                  <a:lnTo>
                    <a:pt x="8229" y="12384"/>
                  </a:lnTo>
                  <a:lnTo>
                    <a:pt x="8192" y="12379"/>
                  </a:lnTo>
                  <a:lnTo>
                    <a:pt x="8156" y="12375"/>
                  </a:lnTo>
                  <a:lnTo>
                    <a:pt x="8120" y="12372"/>
                  </a:lnTo>
                  <a:lnTo>
                    <a:pt x="8084" y="12371"/>
                  </a:lnTo>
                  <a:lnTo>
                    <a:pt x="8048" y="12370"/>
                  </a:lnTo>
                  <a:lnTo>
                    <a:pt x="8011" y="12371"/>
                  </a:lnTo>
                  <a:lnTo>
                    <a:pt x="7975" y="12372"/>
                  </a:lnTo>
                  <a:lnTo>
                    <a:pt x="7939" y="12375"/>
                  </a:lnTo>
                  <a:lnTo>
                    <a:pt x="7903" y="12379"/>
                  </a:lnTo>
                  <a:lnTo>
                    <a:pt x="7866" y="12384"/>
                  </a:lnTo>
                  <a:lnTo>
                    <a:pt x="7831" y="12390"/>
                  </a:lnTo>
                  <a:lnTo>
                    <a:pt x="7795" y="12398"/>
                  </a:lnTo>
                  <a:lnTo>
                    <a:pt x="7760" y="12406"/>
                  </a:lnTo>
                  <a:lnTo>
                    <a:pt x="7725" y="12416"/>
                  </a:lnTo>
                  <a:lnTo>
                    <a:pt x="7689" y="12426"/>
                  </a:lnTo>
                  <a:lnTo>
                    <a:pt x="7655" y="12438"/>
                  </a:lnTo>
                  <a:lnTo>
                    <a:pt x="7620" y="12450"/>
                  </a:lnTo>
                  <a:lnTo>
                    <a:pt x="7586" y="12464"/>
                  </a:lnTo>
                  <a:lnTo>
                    <a:pt x="7553" y="12479"/>
                  </a:lnTo>
                  <a:lnTo>
                    <a:pt x="7518" y="12495"/>
                  </a:lnTo>
                  <a:lnTo>
                    <a:pt x="7485" y="12512"/>
                  </a:lnTo>
                  <a:lnTo>
                    <a:pt x="3834" y="14481"/>
                  </a:lnTo>
                  <a:lnTo>
                    <a:pt x="4546" y="10223"/>
                  </a:lnTo>
                  <a:lnTo>
                    <a:pt x="4551" y="10189"/>
                  </a:lnTo>
                  <a:lnTo>
                    <a:pt x="4555" y="10156"/>
                  </a:lnTo>
                  <a:lnTo>
                    <a:pt x="4558" y="10123"/>
                  </a:lnTo>
                  <a:lnTo>
                    <a:pt x="4560" y="10090"/>
                  </a:lnTo>
                  <a:lnTo>
                    <a:pt x="4561" y="10056"/>
                  </a:lnTo>
                  <a:lnTo>
                    <a:pt x="4561" y="10023"/>
                  </a:lnTo>
                  <a:lnTo>
                    <a:pt x="4560" y="9990"/>
                  </a:lnTo>
                  <a:lnTo>
                    <a:pt x="4558" y="9958"/>
                  </a:lnTo>
                  <a:lnTo>
                    <a:pt x="4555" y="9924"/>
                  </a:lnTo>
                  <a:lnTo>
                    <a:pt x="4551" y="9891"/>
                  </a:lnTo>
                  <a:lnTo>
                    <a:pt x="4547" y="9859"/>
                  </a:lnTo>
                  <a:lnTo>
                    <a:pt x="4541" y="9827"/>
                  </a:lnTo>
                  <a:lnTo>
                    <a:pt x="4534" y="9795"/>
                  </a:lnTo>
                  <a:lnTo>
                    <a:pt x="4526" y="9762"/>
                  </a:lnTo>
                  <a:lnTo>
                    <a:pt x="4518" y="9731"/>
                  </a:lnTo>
                  <a:lnTo>
                    <a:pt x="4508" y="9700"/>
                  </a:lnTo>
                  <a:lnTo>
                    <a:pt x="4497" y="9669"/>
                  </a:lnTo>
                  <a:lnTo>
                    <a:pt x="4485" y="9637"/>
                  </a:lnTo>
                  <a:lnTo>
                    <a:pt x="4473" y="9607"/>
                  </a:lnTo>
                  <a:lnTo>
                    <a:pt x="4459" y="9577"/>
                  </a:lnTo>
                  <a:lnTo>
                    <a:pt x="4445" y="9547"/>
                  </a:lnTo>
                  <a:lnTo>
                    <a:pt x="4430" y="9517"/>
                  </a:lnTo>
                  <a:lnTo>
                    <a:pt x="4414" y="9488"/>
                  </a:lnTo>
                  <a:lnTo>
                    <a:pt x="4398" y="9460"/>
                  </a:lnTo>
                  <a:lnTo>
                    <a:pt x="4380" y="9432"/>
                  </a:lnTo>
                  <a:lnTo>
                    <a:pt x="4361" y="9404"/>
                  </a:lnTo>
                  <a:lnTo>
                    <a:pt x="4342" y="9376"/>
                  </a:lnTo>
                  <a:lnTo>
                    <a:pt x="4322" y="9350"/>
                  </a:lnTo>
                  <a:lnTo>
                    <a:pt x="4300" y="9324"/>
                  </a:lnTo>
                  <a:lnTo>
                    <a:pt x="4278" y="9299"/>
                  </a:lnTo>
                  <a:lnTo>
                    <a:pt x="4255" y="9274"/>
                  </a:lnTo>
                  <a:lnTo>
                    <a:pt x="4231" y="9250"/>
                  </a:lnTo>
                  <a:lnTo>
                    <a:pt x="1163" y="6180"/>
                  </a:lnTo>
                  <a:lnTo>
                    <a:pt x="5351" y="5557"/>
                  </a:lnTo>
                  <a:lnTo>
                    <a:pt x="5386" y="5551"/>
                  </a:lnTo>
                  <a:lnTo>
                    <a:pt x="5422" y="5543"/>
                  </a:lnTo>
                  <a:lnTo>
                    <a:pt x="5456" y="5535"/>
                  </a:lnTo>
                  <a:lnTo>
                    <a:pt x="5491" y="5526"/>
                  </a:lnTo>
                  <a:lnTo>
                    <a:pt x="5526" y="5516"/>
                  </a:lnTo>
                  <a:lnTo>
                    <a:pt x="5560" y="5505"/>
                  </a:lnTo>
                  <a:lnTo>
                    <a:pt x="5593" y="5493"/>
                  </a:lnTo>
                  <a:lnTo>
                    <a:pt x="5626" y="5480"/>
                  </a:lnTo>
                  <a:lnTo>
                    <a:pt x="5658" y="5467"/>
                  </a:lnTo>
                  <a:lnTo>
                    <a:pt x="5691" y="5452"/>
                  </a:lnTo>
                  <a:lnTo>
                    <a:pt x="5722" y="5436"/>
                  </a:lnTo>
                  <a:lnTo>
                    <a:pt x="5753" y="5420"/>
                  </a:lnTo>
                  <a:lnTo>
                    <a:pt x="5783" y="5401"/>
                  </a:lnTo>
                  <a:lnTo>
                    <a:pt x="5813" y="5383"/>
                  </a:lnTo>
                  <a:lnTo>
                    <a:pt x="5842" y="5364"/>
                  </a:lnTo>
                  <a:lnTo>
                    <a:pt x="5871" y="5344"/>
                  </a:lnTo>
                  <a:lnTo>
                    <a:pt x="5899" y="5323"/>
                  </a:lnTo>
                  <a:lnTo>
                    <a:pt x="5926" y="5301"/>
                  </a:lnTo>
                  <a:lnTo>
                    <a:pt x="5952" y="5279"/>
                  </a:lnTo>
                  <a:lnTo>
                    <a:pt x="5978" y="5254"/>
                  </a:lnTo>
                  <a:lnTo>
                    <a:pt x="6003" y="5230"/>
                  </a:lnTo>
                  <a:lnTo>
                    <a:pt x="6028" y="5206"/>
                  </a:lnTo>
                  <a:lnTo>
                    <a:pt x="6052" y="5180"/>
                  </a:lnTo>
                  <a:lnTo>
                    <a:pt x="6075" y="5154"/>
                  </a:lnTo>
                  <a:lnTo>
                    <a:pt x="6097" y="5126"/>
                  </a:lnTo>
                  <a:lnTo>
                    <a:pt x="6118" y="5098"/>
                  </a:lnTo>
                  <a:lnTo>
                    <a:pt x="6138" y="5070"/>
                  </a:lnTo>
                  <a:lnTo>
                    <a:pt x="6158" y="5041"/>
                  </a:lnTo>
                  <a:lnTo>
                    <a:pt x="6176" y="5011"/>
                  </a:lnTo>
                  <a:lnTo>
                    <a:pt x="6195" y="4980"/>
                  </a:lnTo>
                  <a:lnTo>
                    <a:pt x="6212" y="4949"/>
                  </a:lnTo>
                  <a:lnTo>
                    <a:pt x="6227" y="4918"/>
                  </a:lnTo>
                  <a:lnTo>
                    <a:pt x="8048" y="1134"/>
                  </a:lnTo>
                  <a:lnTo>
                    <a:pt x="9868" y="4918"/>
                  </a:lnTo>
                  <a:lnTo>
                    <a:pt x="9884" y="4949"/>
                  </a:lnTo>
                  <a:lnTo>
                    <a:pt x="9900" y="4980"/>
                  </a:lnTo>
                  <a:lnTo>
                    <a:pt x="9919" y="5011"/>
                  </a:lnTo>
                  <a:lnTo>
                    <a:pt x="9938" y="5041"/>
                  </a:lnTo>
                  <a:lnTo>
                    <a:pt x="9957" y="5070"/>
                  </a:lnTo>
                  <a:lnTo>
                    <a:pt x="9977" y="5098"/>
                  </a:lnTo>
                  <a:lnTo>
                    <a:pt x="9998" y="5126"/>
                  </a:lnTo>
                  <a:lnTo>
                    <a:pt x="10020" y="5154"/>
                  </a:lnTo>
                  <a:lnTo>
                    <a:pt x="10043" y="5180"/>
                  </a:lnTo>
                  <a:lnTo>
                    <a:pt x="10067" y="5206"/>
                  </a:lnTo>
                  <a:lnTo>
                    <a:pt x="10092" y="5230"/>
                  </a:lnTo>
                  <a:lnTo>
                    <a:pt x="10117" y="5254"/>
                  </a:lnTo>
                  <a:lnTo>
                    <a:pt x="10143" y="5279"/>
                  </a:lnTo>
                  <a:lnTo>
                    <a:pt x="10169" y="5301"/>
                  </a:lnTo>
                  <a:lnTo>
                    <a:pt x="10196" y="5323"/>
                  </a:lnTo>
                  <a:lnTo>
                    <a:pt x="10224" y="5344"/>
                  </a:lnTo>
                  <a:lnTo>
                    <a:pt x="10254" y="5364"/>
                  </a:lnTo>
                  <a:lnTo>
                    <a:pt x="10282" y="5383"/>
                  </a:lnTo>
                  <a:lnTo>
                    <a:pt x="10312" y="5401"/>
                  </a:lnTo>
                  <a:lnTo>
                    <a:pt x="10342" y="5420"/>
                  </a:lnTo>
                  <a:lnTo>
                    <a:pt x="10373" y="5436"/>
                  </a:lnTo>
                  <a:lnTo>
                    <a:pt x="10404" y="5452"/>
                  </a:lnTo>
                  <a:lnTo>
                    <a:pt x="10437" y="5467"/>
                  </a:lnTo>
                  <a:lnTo>
                    <a:pt x="10469" y="5480"/>
                  </a:lnTo>
                  <a:lnTo>
                    <a:pt x="10502" y="5493"/>
                  </a:lnTo>
                  <a:lnTo>
                    <a:pt x="10535" y="5505"/>
                  </a:lnTo>
                  <a:lnTo>
                    <a:pt x="10569" y="5516"/>
                  </a:lnTo>
                  <a:lnTo>
                    <a:pt x="10604" y="5526"/>
                  </a:lnTo>
                  <a:lnTo>
                    <a:pt x="10638" y="5535"/>
                  </a:lnTo>
                  <a:lnTo>
                    <a:pt x="10673" y="5543"/>
                  </a:lnTo>
                  <a:lnTo>
                    <a:pt x="10708" y="5551"/>
                  </a:lnTo>
                  <a:lnTo>
                    <a:pt x="10744" y="5557"/>
                  </a:lnTo>
                  <a:lnTo>
                    <a:pt x="14933" y="6180"/>
                  </a:lnTo>
                  <a:lnTo>
                    <a:pt x="11864" y="9250"/>
                  </a:lnTo>
                  <a:close/>
                  <a:moveTo>
                    <a:pt x="16035" y="5820"/>
                  </a:moveTo>
                  <a:lnTo>
                    <a:pt x="16022" y="5783"/>
                  </a:lnTo>
                  <a:lnTo>
                    <a:pt x="16006" y="5746"/>
                  </a:lnTo>
                  <a:lnTo>
                    <a:pt x="15990" y="5711"/>
                  </a:lnTo>
                  <a:lnTo>
                    <a:pt x="15973" y="5675"/>
                  </a:lnTo>
                  <a:lnTo>
                    <a:pt x="15954" y="5640"/>
                  </a:lnTo>
                  <a:lnTo>
                    <a:pt x="15935" y="5607"/>
                  </a:lnTo>
                  <a:lnTo>
                    <a:pt x="15914" y="5574"/>
                  </a:lnTo>
                  <a:lnTo>
                    <a:pt x="15892" y="5541"/>
                  </a:lnTo>
                  <a:lnTo>
                    <a:pt x="15869" y="5509"/>
                  </a:lnTo>
                  <a:lnTo>
                    <a:pt x="15846" y="5479"/>
                  </a:lnTo>
                  <a:lnTo>
                    <a:pt x="15820" y="5449"/>
                  </a:lnTo>
                  <a:lnTo>
                    <a:pt x="15794" y="5421"/>
                  </a:lnTo>
                  <a:lnTo>
                    <a:pt x="15767" y="5392"/>
                  </a:lnTo>
                  <a:lnTo>
                    <a:pt x="15739" y="5365"/>
                  </a:lnTo>
                  <a:lnTo>
                    <a:pt x="15711" y="5339"/>
                  </a:lnTo>
                  <a:lnTo>
                    <a:pt x="15681" y="5314"/>
                  </a:lnTo>
                  <a:lnTo>
                    <a:pt x="15650" y="5290"/>
                  </a:lnTo>
                  <a:lnTo>
                    <a:pt x="15619" y="5266"/>
                  </a:lnTo>
                  <a:lnTo>
                    <a:pt x="15587" y="5244"/>
                  </a:lnTo>
                  <a:lnTo>
                    <a:pt x="15554" y="5223"/>
                  </a:lnTo>
                  <a:lnTo>
                    <a:pt x="15521" y="5203"/>
                  </a:lnTo>
                  <a:lnTo>
                    <a:pt x="15485" y="5184"/>
                  </a:lnTo>
                  <a:lnTo>
                    <a:pt x="15450" y="5166"/>
                  </a:lnTo>
                  <a:lnTo>
                    <a:pt x="15415" y="5150"/>
                  </a:lnTo>
                  <a:lnTo>
                    <a:pt x="15379" y="5133"/>
                  </a:lnTo>
                  <a:lnTo>
                    <a:pt x="15342" y="5119"/>
                  </a:lnTo>
                  <a:lnTo>
                    <a:pt x="15304" y="5106"/>
                  </a:lnTo>
                  <a:lnTo>
                    <a:pt x="15266" y="5094"/>
                  </a:lnTo>
                  <a:lnTo>
                    <a:pt x="15227" y="5084"/>
                  </a:lnTo>
                  <a:lnTo>
                    <a:pt x="15188" y="5075"/>
                  </a:lnTo>
                  <a:lnTo>
                    <a:pt x="15148" y="5067"/>
                  </a:lnTo>
                  <a:lnTo>
                    <a:pt x="15108" y="5060"/>
                  </a:lnTo>
                  <a:lnTo>
                    <a:pt x="10920" y="4436"/>
                  </a:lnTo>
                  <a:lnTo>
                    <a:pt x="9100" y="652"/>
                  </a:lnTo>
                  <a:lnTo>
                    <a:pt x="9081" y="615"/>
                  </a:lnTo>
                  <a:lnTo>
                    <a:pt x="9061" y="579"/>
                  </a:lnTo>
                  <a:lnTo>
                    <a:pt x="9040" y="544"/>
                  </a:lnTo>
                  <a:lnTo>
                    <a:pt x="9018" y="510"/>
                  </a:lnTo>
                  <a:lnTo>
                    <a:pt x="8995" y="476"/>
                  </a:lnTo>
                  <a:lnTo>
                    <a:pt x="8970" y="444"/>
                  </a:lnTo>
                  <a:lnTo>
                    <a:pt x="8945" y="413"/>
                  </a:lnTo>
                  <a:lnTo>
                    <a:pt x="8918" y="383"/>
                  </a:lnTo>
                  <a:lnTo>
                    <a:pt x="8890" y="353"/>
                  </a:lnTo>
                  <a:lnTo>
                    <a:pt x="8861" y="324"/>
                  </a:lnTo>
                  <a:lnTo>
                    <a:pt x="8832" y="297"/>
                  </a:lnTo>
                  <a:lnTo>
                    <a:pt x="8802" y="271"/>
                  </a:lnTo>
                  <a:lnTo>
                    <a:pt x="8770" y="246"/>
                  </a:lnTo>
                  <a:lnTo>
                    <a:pt x="8738" y="222"/>
                  </a:lnTo>
                  <a:lnTo>
                    <a:pt x="8704" y="198"/>
                  </a:lnTo>
                  <a:lnTo>
                    <a:pt x="8671" y="177"/>
                  </a:lnTo>
                  <a:lnTo>
                    <a:pt x="8636" y="156"/>
                  </a:lnTo>
                  <a:lnTo>
                    <a:pt x="8601" y="137"/>
                  </a:lnTo>
                  <a:lnTo>
                    <a:pt x="8565" y="119"/>
                  </a:lnTo>
                  <a:lnTo>
                    <a:pt x="8528" y="102"/>
                  </a:lnTo>
                  <a:lnTo>
                    <a:pt x="8491" y="86"/>
                  </a:lnTo>
                  <a:lnTo>
                    <a:pt x="8453" y="72"/>
                  </a:lnTo>
                  <a:lnTo>
                    <a:pt x="8415" y="57"/>
                  </a:lnTo>
                  <a:lnTo>
                    <a:pt x="8375" y="46"/>
                  </a:lnTo>
                  <a:lnTo>
                    <a:pt x="8335" y="35"/>
                  </a:lnTo>
                  <a:lnTo>
                    <a:pt x="8296" y="26"/>
                  </a:lnTo>
                  <a:lnTo>
                    <a:pt x="8255" y="18"/>
                  </a:lnTo>
                  <a:lnTo>
                    <a:pt x="8214" y="12"/>
                  </a:lnTo>
                  <a:lnTo>
                    <a:pt x="8173" y="7"/>
                  </a:lnTo>
                  <a:lnTo>
                    <a:pt x="8131" y="3"/>
                  </a:lnTo>
                  <a:lnTo>
                    <a:pt x="8090" y="1"/>
                  </a:lnTo>
                  <a:lnTo>
                    <a:pt x="8048" y="0"/>
                  </a:lnTo>
                  <a:lnTo>
                    <a:pt x="8005" y="1"/>
                  </a:lnTo>
                  <a:lnTo>
                    <a:pt x="7963" y="3"/>
                  </a:lnTo>
                  <a:lnTo>
                    <a:pt x="7922" y="7"/>
                  </a:lnTo>
                  <a:lnTo>
                    <a:pt x="7881" y="12"/>
                  </a:lnTo>
                  <a:lnTo>
                    <a:pt x="7840" y="18"/>
                  </a:lnTo>
                  <a:lnTo>
                    <a:pt x="7799" y="26"/>
                  </a:lnTo>
                  <a:lnTo>
                    <a:pt x="7760" y="35"/>
                  </a:lnTo>
                  <a:lnTo>
                    <a:pt x="7720" y="46"/>
                  </a:lnTo>
                  <a:lnTo>
                    <a:pt x="7681" y="57"/>
                  </a:lnTo>
                  <a:lnTo>
                    <a:pt x="7642" y="72"/>
                  </a:lnTo>
                  <a:lnTo>
                    <a:pt x="7605" y="86"/>
                  </a:lnTo>
                  <a:lnTo>
                    <a:pt x="7567" y="102"/>
                  </a:lnTo>
                  <a:lnTo>
                    <a:pt x="7530" y="119"/>
                  </a:lnTo>
                  <a:lnTo>
                    <a:pt x="7494" y="137"/>
                  </a:lnTo>
                  <a:lnTo>
                    <a:pt x="7459" y="156"/>
                  </a:lnTo>
                  <a:lnTo>
                    <a:pt x="7424" y="177"/>
                  </a:lnTo>
                  <a:lnTo>
                    <a:pt x="7391" y="198"/>
                  </a:lnTo>
                  <a:lnTo>
                    <a:pt x="7357" y="222"/>
                  </a:lnTo>
                  <a:lnTo>
                    <a:pt x="7325" y="246"/>
                  </a:lnTo>
                  <a:lnTo>
                    <a:pt x="7293" y="271"/>
                  </a:lnTo>
                  <a:lnTo>
                    <a:pt x="7263" y="297"/>
                  </a:lnTo>
                  <a:lnTo>
                    <a:pt x="7234" y="324"/>
                  </a:lnTo>
                  <a:lnTo>
                    <a:pt x="7205" y="353"/>
                  </a:lnTo>
                  <a:lnTo>
                    <a:pt x="7177" y="383"/>
                  </a:lnTo>
                  <a:lnTo>
                    <a:pt x="7150" y="413"/>
                  </a:lnTo>
                  <a:lnTo>
                    <a:pt x="7125" y="444"/>
                  </a:lnTo>
                  <a:lnTo>
                    <a:pt x="7100" y="476"/>
                  </a:lnTo>
                  <a:lnTo>
                    <a:pt x="7077" y="510"/>
                  </a:lnTo>
                  <a:lnTo>
                    <a:pt x="7055" y="544"/>
                  </a:lnTo>
                  <a:lnTo>
                    <a:pt x="7034" y="579"/>
                  </a:lnTo>
                  <a:lnTo>
                    <a:pt x="7013" y="615"/>
                  </a:lnTo>
                  <a:lnTo>
                    <a:pt x="6995" y="652"/>
                  </a:lnTo>
                  <a:lnTo>
                    <a:pt x="5175" y="4436"/>
                  </a:lnTo>
                  <a:lnTo>
                    <a:pt x="987" y="5060"/>
                  </a:lnTo>
                  <a:lnTo>
                    <a:pt x="947" y="5067"/>
                  </a:lnTo>
                  <a:lnTo>
                    <a:pt x="907" y="5075"/>
                  </a:lnTo>
                  <a:lnTo>
                    <a:pt x="868" y="5084"/>
                  </a:lnTo>
                  <a:lnTo>
                    <a:pt x="829" y="5094"/>
                  </a:lnTo>
                  <a:lnTo>
                    <a:pt x="791" y="5106"/>
                  </a:lnTo>
                  <a:lnTo>
                    <a:pt x="753" y="5119"/>
                  </a:lnTo>
                  <a:lnTo>
                    <a:pt x="716" y="5133"/>
                  </a:lnTo>
                  <a:lnTo>
                    <a:pt x="680" y="5150"/>
                  </a:lnTo>
                  <a:lnTo>
                    <a:pt x="644" y="5166"/>
                  </a:lnTo>
                  <a:lnTo>
                    <a:pt x="610" y="5184"/>
                  </a:lnTo>
                  <a:lnTo>
                    <a:pt x="574" y="5203"/>
                  </a:lnTo>
                  <a:lnTo>
                    <a:pt x="541" y="5223"/>
                  </a:lnTo>
                  <a:lnTo>
                    <a:pt x="508" y="5244"/>
                  </a:lnTo>
                  <a:lnTo>
                    <a:pt x="476" y="5266"/>
                  </a:lnTo>
                  <a:lnTo>
                    <a:pt x="445" y="5290"/>
                  </a:lnTo>
                  <a:lnTo>
                    <a:pt x="414" y="5314"/>
                  </a:lnTo>
                  <a:lnTo>
                    <a:pt x="384" y="5339"/>
                  </a:lnTo>
                  <a:lnTo>
                    <a:pt x="356" y="5365"/>
                  </a:lnTo>
                  <a:lnTo>
                    <a:pt x="328" y="5392"/>
                  </a:lnTo>
                  <a:lnTo>
                    <a:pt x="301" y="5421"/>
                  </a:lnTo>
                  <a:lnTo>
                    <a:pt x="275" y="5449"/>
                  </a:lnTo>
                  <a:lnTo>
                    <a:pt x="250" y="5479"/>
                  </a:lnTo>
                  <a:lnTo>
                    <a:pt x="226" y="5509"/>
                  </a:lnTo>
                  <a:lnTo>
                    <a:pt x="203" y="5541"/>
                  </a:lnTo>
                  <a:lnTo>
                    <a:pt x="181" y="5574"/>
                  </a:lnTo>
                  <a:lnTo>
                    <a:pt x="160" y="5607"/>
                  </a:lnTo>
                  <a:lnTo>
                    <a:pt x="141" y="5640"/>
                  </a:lnTo>
                  <a:lnTo>
                    <a:pt x="122" y="5675"/>
                  </a:lnTo>
                  <a:lnTo>
                    <a:pt x="105" y="5711"/>
                  </a:lnTo>
                  <a:lnTo>
                    <a:pt x="89" y="5746"/>
                  </a:lnTo>
                  <a:lnTo>
                    <a:pt x="73" y="5783"/>
                  </a:lnTo>
                  <a:lnTo>
                    <a:pt x="60" y="5820"/>
                  </a:lnTo>
                  <a:lnTo>
                    <a:pt x="48" y="5859"/>
                  </a:lnTo>
                  <a:lnTo>
                    <a:pt x="37" y="5897"/>
                  </a:lnTo>
                  <a:lnTo>
                    <a:pt x="27" y="5935"/>
                  </a:lnTo>
                  <a:lnTo>
                    <a:pt x="20" y="5974"/>
                  </a:lnTo>
                  <a:lnTo>
                    <a:pt x="13" y="6012"/>
                  </a:lnTo>
                  <a:lnTo>
                    <a:pt x="8" y="6050"/>
                  </a:lnTo>
                  <a:lnTo>
                    <a:pt x="4" y="6089"/>
                  </a:lnTo>
                  <a:lnTo>
                    <a:pt x="1" y="6128"/>
                  </a:lnTo>
                  <a:lnTo>
                    <a:pt x="0" y="6167"/>
                  </a:lnTo>
                  <a:lnTo>
                    <a:pt x="0" y="6205"/>
                  </a:lnTo>
                  <a:lnTo>
                    <a:pt x="2" y="6244"/>
                  </a:lnTo>
                  <a:lnTo>
                    <a:pt x="5" y="6282"/>
                  </a:lnTo>
                  <a:lnTo>
                    <a:pt x="9" y="6320"/>
                  </a:lnTo>
                  <a:lnTo>
                    <a:pt x="14" y="6358"/>
                  </a:lnTo>
                  <a:lnTo>
                    <a:pt x="21" y="6396"/>
                  </a:lnTo>
                  <a:lnTo>
                    <a:pt x="29" y="6434"/>
                  </a:lnTo>
                  <a:lnTo>
                    <a:pt x="39" y="6471"/>
                  </a:lnTo>
                  <a:lnTo>
                    <a:pt x="49" y="6508"/>
                  </a:lnTo>
                  <a:lnTo>
                    <a:pt x="61" y="6545"/>
                  </a:lnTo>
                  <a:lnTo>
                    <a:pt x="74" y="6580"/>
                  </a:lnTo>
                  <a:lnTo>
                    <a:pt x="90" y="6616"/>
                  </a:lnTo>
                  <a:lnTo>
                    <a:pt x="106" y="6652"/>
                  </a:lnTo>
                  <a:lnTo>
                    <a:pt x="123" y="6687"/>
                  </a:lnTo>
                  <a:lnTo>
                    <a:pt x="141" y="6721"/>
                  </a:lnTo>
                  <a:lnTo>
                    <a:pt x="160" y="6754"/>
                  </a:lnTo>
                  <a:lnTo>
                    <a:pt x="181" y="6788"/>
                  </a:lnTo>
                  <a:lnTo>
                    <a:pt x="203" y="6820"/>
                  </a:lnTo>
                  <a:lnTo>
                    <a:pt x="225" y="6852"/>
                  </a:lnTo>
                  <a:lnTo>
                    <a:pt x="250" y="6883"/>
                  </a:lnTo>
                  <a:lnTo>
                    <a:pt x="276" y="6913"/>
                  </a:lnTo>
                  <a:lnTo>
                    <a:pt x="303" y="6943"/>
                  </a:lnTo>
                  <a:lnTo>
                    <a:pt x="330" y="6972"/>
                  </a:lnTo>
                  <a:lnTo>
                    <a:pt x="3399" y="10040"/>
                  </a:lnTo>
                  <a:lnTo>
                    <a:pt x="2688" y="14297"/>
                  </a:lnTo>
                  <a:lnTo>
                    <a:pt x="2682" y="14337"/>
                  </a:lnTo>
                  <a:lnTo>
                    <a:pt x="2677" y="14377"/>
                  </a:lnTo>
                  <a:lnTo>
                    <a:pt x="2674" y="14417"/>
                  </a:lnTo>
                  <a:lnTo>
                    <a:pt x="2673" y="14458"/>
                  </a:lnTo>
                  <a:lnTo>
                    <a:pt x="2673" y="14497"/>
                  </a:lnTo>
                  <a:lnTo>
                    <a:pt x="2674" y="14537"/>
                  </a:lnTo>
                  <a:lnTo>
                    <a:pt x="2677" y="14576"/>
                  </a:lnTo>
                  <a:lnTo>
                    <a:pt x="2681" y="14616"/>
                  </a:lnTo>
                  <a:lnTo>
                    <a:pt x="2686" y="14655"/>
                  </a:lnTo>
                  <a:lnTo>
                    <a:pt x="2693" y="14694"/>
                  </a:lnTo>
                  <a:lnTo>
                    <a:pt x="2701" y="14733"/>
                  </a:lnTo>
                  <a:lnTo>
                    <a:pt x="2711" y="14771"/>
                  </a:lnTo>
                  <a:lnTo>
                    <a:pt x="2722" y="14808"/>
                  </a:lnTo>
                  <a:lnTo>
                    <a:pt x="2734" y="14845"/>
                  </a:lnTo>
                  <a:lnTo>
                    <a:pt x="2747" y="14883"/>
                  </a:lnTo>
                  <a:lnTo>
                    <a:pt x="2762" y="14919"/>
                  </a:lnTo>
                  <a:lnTo>
                    <a:pt x="2778" y="14954"/>
                  </a:lnTo>
                  <a:lnTo>
                    <a:pt x="2797" y="14989"/>
                  </a:lnTo>
                  <a:lnTo>
                    <a:pt x="2815" y="15025"/>
                  </a:lnTo>
                  <a:lnTo>
                    <a:pt x="2835" y="15059"/>
                  </a:lnTo>
                  <a:lnTo>
                    <a:pt x="2856" y="15092"/>
                  </a:lnTo>
                  <a:lnTo>
                    <a:pt x="2878" y="15124"/>
                  </a:lnTo>
                  <a:lnTo>
                    <a:pt x="2902" y="15157"/>
                  </a:lnTo>
                  <a:lnTo>
                    <a:pt x="2926" y="15188"/>
                  </a:lnTo>
                  <a:lnTo>
                    <a:pt x="2952" y="15218"/>
                  </a:lnTo>
                  <a:lnTo>
                    <a:pt x="2980" y="15248"/>
                  </a:lnTo>
                  <a:lnTo>
                    <a:pt x="3008" y="15277"/>
                  </a:lnTo>
                  <a:lnTo>
                    <a:pt x="3037" y="15305"/>
                  </a:lnTo>
                  <a:lnTo>
                    <a:pt x="3067" y="15332"/>
                  </a:lnTo>
                  <a:lnTo>
                    <a:pt x="3098" y="15358"/>
                  </a:lnTo>
                  <a:lnTo>
                    <a:pt x="3131" y="15383"/>
                  </a:lnTo>
                  <a:lnTo>
                    <a:pt x="3165" y="15407"/>
                  </a:lnTo>
                  <a:lnTo>
                    <a:pt x="3203" y="15432"/>
                  </a:lnTo>
                  <a:lnTo>
                    <a:pt x="3241" y="15455"/>
                  </a:lnTo>
                  <a:lnTo>
                    <a:pt x="3280" y="15477"/>
                  </a:lnTo>
                  <a:lnTo>
                    <a:pt x="3321" y="15497"/>
                  </a:lnTo>
                  <a:lnTo>
                    <a:pt x="3361" y="15515"/>
                  </a:lnTo>
                  <a:lnTo>
                    <a:pt x="3402" y="15532"/>
                  </a:lnTo>
                  <a:lnTo>
                    <a:pt x="3444" y="15549"/>
                  </a:lnTo>
                  <a:lnTo>
                    <a:pt x="3487" y="15562"/>
                  </a:lnTo>
                  <a:lnTo>
                    <a:pt x="3529" y="15574"/>
                  </a:lnTo>
                  <a:lnTo>
                    <a:pt x="3572" y="15585"/>
                  </a:lnTo>
                  <a:lnTo>
                    <a:pt x="3615" y="15594"/>
                  </a:lnTo>
                  <a:lnTo>
                    <a:pt x="3659" y="15601"/>
                  </a:lnTo>
                  <a:lnTo>
                    <a:pt x="3702" y="15607"/>
                  </a:lnTo>
                  <a:lnTo>
                    <a:pt x="3746" y="15611"/>
                  </a:lnTo>
                  <a:lnTo>
                    <a:pt x="3790" y="15613"/>
                  </a:lnTo>
                  <a:lnTo>
                    <a:pt x="3834" y="15614"/>
                  </a:lnTo>
                  <a:lnTo>
                    <a:pt x="3870" y="15613"/>
                  </a:lnTo>
                  <a:lnTo>
                    <a:pt x="3906" y="15612"/>
                  </a:lnTo>
                  <a:lnTo>
                    <a:pt x="3942" y="15609"/>
                  </a:lnTo>
                  <a:lnTo>
                    <a:pt x="3978" y="15605"/>
                  </a:lnTo>
                  <a:lnTo>
                    <a:pt x="4015" y="15600"/>
                  </a:lnTo>
                  <a:lnTo>
                    <a:pt x="4051" y="15594"/>
                  </a:lnTo>
                  <a:lnTo>
                    <a:pt x="4086" y="15587"/>
                  </a:lnTo>
                  <a:lnTo>
                    <a:pt x="4121" y="15579"/>
                  </a:lnTo>
                  <a:lnTo>
                    <a:pt x="4158" y="15570"/>
                  </a:lnTo>
                  <a:lnTo>
                    <a:pt x="4192" y="15559"/>
                  </a:lnTo>
                  <a:lnTo>
                    <a:pt x="4227" y="15548"/>
                  </a:lnTo>
                  <a:lnTo>
                    <a:pt x="4261" y="15534"/>
                  </a:lnTo>
                  <a:lnTo>
                    <a:pt x="4295" y="15520"/>
                  </a:lnTo>
                  <a:lnTo>
                    <a:pt x="4330" y="15505"/>
                  </a:lnTo>
                  <a:lnTo>
                    <a:pt x="4363" y="15490"/>
                  </a:lnTo>
                  <a:lnTo>
                    <a:pt x="4396" y="15473"/>
                  </a:lnTo>
                  <a:lnTo>
                    <a:pt x="8048" y="13505"/>
                  </a:lnTo>
                  <a:lnTo>
                    <a:pt x="11699" y="15473"/>
                  </a:lnTo>
                  <a:lnTo>
                    <a:pt x="11732" y="15490"/>
                  </a:lnTo>
                  <a:lnTo>
                    <a:pt x="11765" y="15505"/>
                  </a:lnTo>
                  <a:lnTo>
                    <a:pt x="11800" y="15520"/>
                  </a:lnTo>
                  <a:lnTo>
                    <a:pt x="11834" y="15534"/>
                  </a:lnTo>
                  <a:lnTo>
                    <a:pt x="11868" y="15548"/>
                  </a:lnTo>
                  <a:lnTo>
                    <a:pt x="11903" y="15559"/>
                  </a:lnTo>
                  <a:lnTo>
                    <a:pt x="11938" y="15570"/>
                  </a:lnTo>
                  <a:lnTo>
                    <a:pt x="11974" y="15579"/>
                  </a:lnTo>
                  <a:lnTo>
                    <a:pt x="12009" y="15587"/>
                  </a:lnTo>
                  <a:lnTo>
                    <a:pt x="12044" y="15594"/>
                  </a:lnTo>
                  <a:lnTo>
                    <a:pt x="12080" y="15600"/>
                  </a:lnTo>
                  <a:lnTo>
                    <a:pt x="12117" y="15605"/>
                  </a:lnTo>
                  <a:lnTo>
                    <a:pt x="12153" y="15609"/>
                  </a:lnTo>
                  <a:lnTo>
                    <a:pt x="12189" y="15612"/>
                  </a:lnTo>
                  <a:lnTo>
                    <a:pt x="12224" y="15613"/>
                  </a:lnTo>
                  <a:lnTo>
                    <a:pt x="12260" y="15614"/>
                  </a:lnTo>
                  <a:lnTo>
                    <a:pt x="12305" y="15613"/>
                  </a:lnTo>
                  <a:lnTo>
                    <a:pt x="12349" y="15611"/>
                  </a:lnTo>
                  <a:lnTo>
                    <a:pt x="12393" y="15607"/>
                  </a:lnTo>
                  <a:lnTo>
                    <a:pt x="12436" y="15601"/>
                  </a:lnTo>
                  <a:lnTo>
                    <a:pt x="12480" y="15594"/>
                  </a:lnTo>
                  <a:lnTo>
                    <a:pt x="12523" y="15585"/>
                  </a:lnTo>
                  <a:lnTo>
                    <a:pt x="12566" y="15574"/>
                  </a:lnTo>
                  <a:lnTo>
                    <a:pt x="12608" y="15562"/>
                  </a:lnTo>
                  <a:lnTo>
                    <a:pt x="12651" y="15549"/>
                  </a:lnTo>
                  <a:lnTo>
                    <a:pt x="12693" y="15532"/>
                  </a:lnTo>
                  <a:lnTo>
                    <a:pt x="12734" y="15515"/>
                  </a:lnTo>
                  <a:lnTo>
                    <a:pt x="12774" y="15497"/>
                  </a:lnTo>
                  <a:lnTo>
                    <a:pt x="12815" y="15477"/>
                  </a:lnTo>
                  <a:lnTo>
                    <a:pt x="12854" y="15455"/>
                  </a:lnTo>
                  <a:lnTo>
                    <a:pt x="12893" y="15432"/>
                  </a:lnTo>
                  <a:lnTo>
                    <a:pt x="12930" y="15407"/>
                  </a:lnTo>
                  <a:lnTo>
                    <a:pt x="12965" y="15383"/>
                  </a:lnTo>
                  <a:lnTo>
                    <a:pt x="12997" y="15358"/>
                  </a:lnTo>
                  <a:lnTo>
                    <a:pt x="13028" y="15332"/>
                  </a:lnTo>
                  <a:lnTo>
                    <a:pt x="13058" y="15305"/>
                  </a:lnTo>
                  <a:lnTo>
                    <a:pt x="13087" y="15277"/>
                  </a:lnTo>
                  <a:lnTo>
                    <a:pt x="13115" y="15248"/>
                  </a:lnTo>
                  <a:lnTo>
                    <a:pt x="13143" y="15218"/>
                  </a:lnTo>
                  <a:lnTo>
                    <a:pt x="13169" y="15188"/>
                  </a:lnTo>
                  <a:lnTo>
                    <a:pt x="13194" y="15157"/>
                  </a:lnTo>
                  <a:lnTo>
                    <a:pt x="13217" y="15124"/>
                  </a:lnTo>
                  <a:lnTo>
                    <a:pt x="13239" y="15092"/>
                  </a:lnTo>
                  <a:lnTo>
                    <a:pt x="13260" y="15059"/>
                  </a:lnTo>
                  <a:lnTo>
                    <a:pt x="13280" y="15025"/>
                  </a:lnTo>
                  <a:lnTo>
                    <a:pt x="13298" y="14989"/>
                  </a:lnTo>
                  <a:lnTo>
                    <a:pt x="13317" y="14954"/>
                  </a:lnTo>
                  <a:lnTo>
                    <a:pt x="13333" y="14919"/>
                  </a:lnTo>
                  <a:lnTo>
                    <a:pt x="13347" y="14883"/>
                  </a:lnTo>
                  <a:lnTo>
                    <a:pt x="13361" y="14845"/>
                  </a:lnTo>
                  <a:lnTo>
                    <a:pt x="13373" y="14808"/>
                  </a:lnTo>
                  <a:lnTo>
                    <a:pt x="13384" y="14771"/>
                  </a:lnTo>
                  <a:lnTo>
                    <a:pt x="13394" y="14733"/>
                  </a:lnTo>
                  <a:lnTo>
                    <a:pt x="13402" y="14694"/>
                  </a:lnTo>
                  <a:lnTo>
                    <a:pt x="13409" y="14655"/>
                  </a:lnTo>
                  <a:lnTo>
                    <a:pt x="13414" y="14616"/>
                  </a:lnTo>
                  <a:lnTo>
                    <a:pt x="13418" y="14576"/>
                  </a:lnTo>
                  <a:lnTo>
                    <a:pt x="13421" y="14537"/>
                  </a:lnTo>
                  <a:lnTo>
                    <a:pt x="13422" y="14497"/>
                  </a:lnTo>
                  <a:lnTo>
                    <a:pt x="13422" y="14458"/>
                  </a:lnTo>
                  <a:lnTo>
                    <a:pt x="13421" y="14417"/>
                  </a:lnTo>
                  <a:lnTo>
                    <a:pt x="13418" y="14377"/>
                  </a:lnTo>
                  <a:lnTo>
                    <a:pt x="13413" y="14337"/>
                  </a:lnTo>
                  <a:lnTo>
                    <a:pt x="13407" y="14297"/>
                  </a:lnTo>
                  <a:lnTo>
                    <a:pt x="12695" y="10040"/>
                  </a:lnTo>
                  <a:lnTo>
                    <a:pt x="15765" y="6972"/>
                  </a:lnTo>
                  <a:lnTo>
                    <a:pt x="15793" y="6943"/>
                  </a:lnTo>
                  <a:lnTo>
                    <a:pt x="15819" y="6913"/>
                  </a:lnTo>
                  <a:lnTo>
                    <a:pt x="15845" y="6883"/>
                  </a:lnTo>
                  <a:lnTo>
                    <a:pt x="15870" y="6852"/>
                  </a:lnTo>
                  <a:lnTo>
                    <a:pt x="15893" y="6820"/>
                  </a:lnTo>
                  <a:lnTo>
                    <a:pt x="15914" y="6788"/>
                  </a:lnTo>
                  <a:lnTo>
                    <a:pt x="15935" y="6754"/>
                  </a:lnTo>
                  <a:lnTo>
                    <a:pt x="15954" y="6721"/>
                  </a:lnTo>
                  <a:lnTo>
                    <a:pt x="15973" y="6687"/>
                  </a:lnTo>
                  <a:lnTo>
                    <a:pt x="15989" y="6652"/>
                  </a:lnTo>
                  <a:lnTo>
                    <a:pt x="16005" y="6616"/>
                  </a:lnTo>
                  <a:lnTo>
                    <a:pt x="16021" y="6580"/>
                  </a:lnTo>
                  <a:lnTo>
                    <a:pt x="16034" y="6545"/>
                  </a:lnTo>
                  <a:lnTo>
                    <a:pt x="16046" y="6508"/>
                  </a:lnTo>
                  <a:lnTo>
                    <a:pt x="16056" y="6471"/>
                  </a:lnTo>
                  <a:lnTo>
                    <a:pt x="16066" y="6434"/>
                  </a:lnTo>
                  <a:lnTo>
                    <a:pt x="16074" y="6396"/>
                  </a:lnTo>
                  <a:lnTo>
                    <a:pt x="16080" y="6358"/>
                  </a:lnTo>
                  <a:lnTo>
                    <a:pt x="16086" y="6320"/>
                  </a:lnTo>
                  <a:lnTo>
                    <a:pt x="16090" y="6282"/>
                  </a:lnTo>
                  <a:lnTo>
                    <a:pt x="16093" y="6244"/>
                  </a:lnTo>
                  <a:lnTo>
                    <a:pt x="16095" y="6205"/>
                  </a:lnTo>
                  <a:lnTo>
                    <a:pt x="16095" y="6167"/>
                  </a:lnTo>
                  <a:lnTo>
                    <a:pt x="16094" y="6128"/>
                  </a:lnTo>
                  <a:lnTo>
                    <a:pt x="16091" y="6089"/>
                  </a:lnTo>
                  <a:lnTo>
                    <a:pt x="16087" y="6050"/>
                  </a:lnTo>
                  <a:lnTo>
                    <a:pt x="16082" y="6012"/>
                  </a:lnTo>
                  <a:lnTo>
                    <a:pt x="16075" y="5974"/>
                  </a:lnTo>
                  <a:lnTo>
                    <a:pt x="16067" y="5935"/>
                  </a:lnTo>
                  <a:lnTo>
                    <a:pt x="16058" y="5897"/>
                  </a:lnTo>
                  <a:lnTo>
                    <a:pt x="16047" y="5859"/>
                  </a:lnTo>
                  <a:lnTo>
                    <a:pt x="16035" y="58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2" name="ïṡļîḑè">
              <a:extLst>
                <a:ext uri="{FF2B5EF4-FFF2-40B4-BE49-F238E27FC236}">
                  <a16:creationId xmlns:a16="http://schemas.microsoft.com/office/drawing/2014/main" id="{F1081713-B62C-440D-9412-8CA3F6CA6DE9}"/>
                </a:ext>
              </a:extLst>
            </p:cNvPr>
            <p:cNvSpPr/>
            <p:nvPr/>
          </p:nvSpPr>
          <p:spPr bwMode="auto">
            <a:xfrm>
              <a:off x="707230" y="93508"/>
              <a:ext cx="318352" cy="257490"/>
            </a:xfrm>
            <a:custGeom>
              <a:avLst/>
              <a:gdLst>
                <a:gd name="T0" fmla="*/ 7283 w 10058"/>
                <a:gd name="T1" fmla="*/ 7525 h 8158"/>
                <a:gd name="T2" fmla="*/ 5279 w 10058"/>
                <a:gd name="T3" fmla="*/ 7654 h 8158"/>
                <a:gd name="T4" fmla="*/ 3276 w 10058"/>
                <a:gd name="T5" fmla="*/ 7576 h 8158"/>
                <a:gd name="T6" fmla="*/ 1272 w 10058"/>
                <a:gd name="T7" fmla="*/ 7293 h 8158"/>
                <a:gd name="T8" fmla="*/ 666 w 10058"/>
                <a:gd name="T9" fmla="*/ 5859 h 8158"/>
                <a:gd name="T10" fmla="*/ 503 w 10058"/>
                <a:gd name="T11" fmla="*/ 4276 h 8158"/>
                <a:gd name="T12" fmla="*/ 600 w 10058"/>
                <a:gd name="T13" fmla="*/ 2694 h 8158"/>
                <a:gd name="T14" fmla="*/ 959 w 10058"/>
                <a:gd name="T15" fmla="*/ 1111 h 8158"/>
                <a:gd name="T16" fmla="*/ 2775 w 10058"/>
                <a:gd name="T17" fmla="*/ 632 h 8158"/>
                <a:gd name="T18" fmla="*/ 4779 w 10058"/>
                <a:gd name="T19" fmla="*/ 504 h 8158"/>
                <a:gd name="T20" fmla="*/ 6782 w 10058"/>
                <a:gd name="T21" fmla="*/ 581 h 8158"/>
                <a:gd name="T22" fmla="*/ 8786 w 10058"/>
                <a:gd name="T23" fmla="*/ 864 h 8158"/>
                <a:gd name="T24" fmla="*/ 9392 w 10058"/>
                <a:gd name="T25" fmla="*/ 2298 h 8158"/>
                <a:gd name="T26" fmla="*/ 9555 w 10058"/>
                <a:gd name="T27" fmla="*/ 3881 h 8158"/>
                <a:gd name="T28" fmla="*/ 9458 w 10058"/>
                <a:gd name="T29" fmla="*/ 5463 h 8158"/>
                <a:gd name="T30" fmla="*/ 9099 w 10058"/>
                <a:gd name="T31" fmla="*/ 7045 h 8158"/>
                <a:gd name="T32" fmla="*/ 8369 w 10058"/>
                <a:gd name="T33" fmla="*/ 278 h 8158"/>
                <a:gd name="T34" fmla="*/ 7341 w 10058"/>
                <a:gd name="T35" fmla="*/ 133 h 8158"/>
                <a:gd name="T36" fmla="*/ 6311 w 10058"/>
                <a:gd name="T37" fmla="*/ 41 h 8158"/>
                <a:gd name="T38" fmla="*/ 5285 w 10058"/>
                <a:gd name="T39" fmla="*/ 1 h 8158"/>
                <a:gd name="T40" fmla="*/ 4260 w 10058"/>
                <a:gd name="T41" fmla="*/ 14 h 8158"/>
                <a:gd name="T42" fmla="*/ 3232 w 10058"/>
                <a:gd name="T43" fmla="*/ 80 h 8158"/>
                <a:gd name="T44" fmla="*/ 2203 w 10058"/>
                <a:gd name="T45" fmla="*/ 199 h 8158"/>
                <a:gd name="T46" fmla="*/ 1177 w 10058"/>
                <a:gd name="T47" fmla="*/ 370 h 8158"/>
                <a:gd name="T48" fmla="*/ 826 w 10058"/>
                <a:gd name="T49" fmla="*/ 451 h 8158"/>
                <a:gd name="T50" fmla="*/ 713 w 10058"/>
                <a:gd name="T51" fmla="*/ 518 h 8158"/>
                <a:gd name="T52" fmla="*/ 621 w 10058"/>
                <a:gd name="T53" fmla="*/ 610 h 8158"/>
                <a:gd name="T54" fmla="*/ 555 w 10058"/>
                <a:gd name="T55" fmla="*/ 725 h 8158"/>
                <a:gd name="T56" fmla="*/ 212 w 10058"/>
                <a:gd name="T57" fmla="*/ 2000 h 8158"/>
                <a:gd name="T58" fmla="*/ 9 w 10058"/>
                <a:gd name="T59" fmla="*/ 3663 h 8158"/>
                <a:gd name="T60" fmla="*/ 76 w 10058"/>
                <a:gd name="T61" fmla="*/ 5327 h 8158"/>
                <a:gd name="T62" fmla="*/ 416 w 10058"/>
                <a:gd name="T63" fmla="*/ 6987 h 8158"/>
                <a:gd name="T64" fmla="*/ 584 w 10058"/>
                <a:gd name="T65" fmla="*/ 7492 h 8158"/>
                <a:gd name="T66" fmla="*/ 664 w 10058"/>
                <a:gd name="T67" fmla="*/ 7596 h 8158"/>
                <a:gd name="T68" fmla="*/ 766 w 10058"/>
                <a:gd name="T69" fmla="*/ 7676 h 8158"/>
                <a:gd name="T70" fmla="*/ 888 w 10058"/>
                <a:gd name="T71" fmla="*/ 7728 h 8158"/>
                <a:gd name="T72" fmla="*/ 1689 w 10058"/>
                <a:gd name="T73" fmla="*/ 7879 h 8158"/>
                <a:gd name="T74" fmla="*/ 2717 w 10058"/>
                <a:gd name="T75" fmla="*/ 8024 h 8158"/>
                <a:gd name="T76" fmla="*/ 3746 w 10058"/>
                <a:gd name="T77" fmla="*/ 8117 h 8158"/>
                <a:gd name="T78" fmla="*/ 4773 w 10058"/>
                <a:gd name="T79" fmla="*/ 8156 h 8158"/>
                <a:gd name="T80" fmla="*/ 5798 w 10058"/>
                <a:gd name="T81" fmla="*/ 8143 h 8158"/>
                <a:gd name="T82" fmla="*/ 6826 w 10058"/>
                <a:gd name="T83" fmla="*/ 8076 h 8158"/>
                <a:gd name="T84" fmla="*/ 7855 w 10058"/>
                <a:gd name="T85" fmla="*/ 7958 h 8158"/>
                <a:gd name="T86" fmla="*/ 8881 w 10058"/>
                <a:gd name="T87" fmla="*/ 7787 h 8158"/>
                <a:gd name="T88" fmla="*/ 9232 w 10058"/>
                <a:gd name="T89" fmla="*/ 7706 h 8158"/>
                <a:gd name="T90" fmla="*/ 9345 w 10058"/>
                <a:gd name="T91" fmla="*/ 7640 h 8158"/>
                <a:gd name="T92" fmla="*/ 9438 w 10058"/>
                <a:gd name="T93" fmla="*/ 7547 h 8158"/>
                <a:gd name="T94" fmla="*/ 9502 w 10058"/>
                <a:gd name="T95" fmla="*/ 7431 h 8158"/>
                <a:gd name="T96" fmla="*/ 9846 w 10058"/>
                <a:gd name="T97" fmla="*/ 6158 h 8158"/>
                <a:gd name="T98" fmla="*/ 10050 w 10058"/>
                <a:gd name="T99" fmla="*/ 4495 h 8158"/>
                <a:gd name="T100" fmla="*/ 9982 w 10058"/>
                <a:gd name="T101" fmla="*/ 2831 h 8158"/>
                <a:gd name="T102" fmla="*/ 9642 w 10058"/>
                <a:gd name="T103" fmla="*/ 1170 h 8158"/>
                <a:gd name="T104" fmla="*/ 9474 w 10058"/>
                <a:gd name="T105" fmla="*/ 665 h 8158"/>
                <a:gd name="T106" fmla="*/ 9394 w 10058"/>
                <a:gd name="T107" fmla="*/ 561 h 8158"/>
                <a:gd name="T108" fmla="*/ 9292 w 10058"/>
                <a:gd name="T109" fmla="*/ 480 h 8158"/>
                <a:gd name="T110" fmla="*/ 9170 w 10058"/>
                <a:gd name="T111" fmla="*/ 429 h 8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058" h="8158">
                  <a:moveTo>
                    <a:pt x="9036" y="7243"/>
                  </a:moveTo>
                  <a:lnTo>
                    <a:pt x="8786" y="7293"/>
                  </a:lnTo>
                  <a:lnTo>
                    <a:pt x="8535" y="7340"/>
                  </a:lnTo>
                  <a:lnTo>
                    <a:pt x="8285" y="7383"/>
                  </a:lnTo>
                  <a:lnTo>
                    <a:pt x="8034" y="7423"/>
                  </a:lnTo>
                  <a:lnTo>
                    <a:pt x="7784" y="7461"/>
                  </a:lnTo>
                  <a:lnTo>
                    <a:pt x="7533" y="7494"/>
                  </a:lnTo>
                  <a:lnTo>
                    <a:pt x="7283" y="7525"/>
                  </a:lnTo>
                  <a:lnTo>
                    <a:pt x="7032" y="7552"/>
                  </a:lnTo>
                  <a:lnTo>
                    <a:pt x="6782" y="7576"/>
                  </a:lnTo>
                  <a:lnTo>
                    <a:pt x="6531" y="7597"/>
                  </a:lnTo>
                  <a:lnTo>
                    <a:pt x="6281" y="7615"/>
                  </a:lnTo>
                  <a:lnTo>
                    <a:pt x="6030" y="7630"/>
                  </a:lnTo>
                  <a:lnTo>
                    <a:pt x="5780" y="7641"/>
                  </a:lnTo>
                  <a:lnTo>
                    <a:pt x="5530" y="7649"/>
                  </a:lnTo>
                  <a:lnTo>
                    <a:pt x="5279" y="7654"/>
                  </a:lnTo>
                  <a:lnTo>
                    <a:pt x="5029" y="7655"/>
                  </a:lnTo>
                  <a:lnTo>
                    <a:pt x="4779" y="7654"/>
                  </a:lnTo>
                  <a:lnTo>
                    <a:pt x="4529" y="7649"/>
                  </a:lnTo>
                  <a:lnTo>
                    <a:pt x="4278" y="7641"/>
                  </a:lnTo>
                  <a:lnTo>
                    <a:pt x="4028" y="7630"/>
                  </a:lnTo>
                  <a:lnTo>
                    <a:pt x="3777" y="7615"/>
                  </a:lnTo>
                  <a:lnTo>
                    <a:pt x="3527" y="7597"/>
                  </a:lnTo>
                  <a:lnTo>
                    <a:pt x="3276" y="7576"/>
                  </a:lnTo>
                  <a:lnTo>
                    <a:pt x="3026" y="7552"/>
                  </a:lnTo>
                  <a:lnTo>
                    <a:pt x="2775" y="7525"/>
                  </a:lnTo>
                  <a:lnTo>
                    <a:pt x="2525" y="7494"/>
                  </a:lnTo>
                  <a:lnTo>
                    <a:pt x="2274" y="7461"/>
                  </a:lnTo>
                  <a:lnTo>
                    <a:pt x="2024" y="7423"/>
                  </a:lnTo>
                  <a:lnTo>
                    <a:pt x="1773" y="7383"/>
                  </a:lnTo>
                  <a:lnTo>
                    <a:pt x="1523" y="7340"/>
                  </a:lnTo>
                  <a:lnTo>
                    <a:pt x="1272" y="7293"/>
                  </a:lnTo>
                  <a:lnTo>
                    <a:pt x="1022" y="7243"/>
                  </a:lnTo>
                  <a:lnTo>
                    <a:pt x="959" y="7045"/>
                  </a:lnTo>
                  <a:lnTo>
                    <a:pt x="900" y="6848"/>
                  </a:lnTo>
                  <a:lnTo>
                    <a:pt x="845" y="6650"/>
                  </a:lnTo>
                  <a:lnTo>
                    <a:pt x="795" y="6451"/>
                  </a:lnTo>
                  <a:lnTo>
                    <a:pt x="747" y="6254"/>
                  </a:lnTo>
                  <a:lnTo>
                    <a:pt x="705" y="6056"/>
                  </a:lnTo>
                  <a:lnTo>
                    <a:pt x="666" y="5859"/>
                  </a:lnTo>
                  <a:lnTo>
                    <a:pt x="632" y="5661"/>
                  </a:lnTo>
                  <a:lnTo>
                    <a:pt x="600" y="5463"/>
                  </a:lnTo>
                  <a:lnTo>
                    <a:pt x="574" y="5265"/>
                  </a:lnTo>
                  <a:lnTo>
                    <a:pt x="552" y="5067"/>
                  </a:lnTo>
                  <a:lnTo>
                    <a:pt x="534" y="4870"/>
                  </a:lnTo>
                  <a:lnTo>
                    <a:pt x="519" y="4672"/>
                  </a:lnTo>
                  <a:lnTo>
                    <a:pt x="509" y="4474"/>
                  </a:lnTo>
                  <a:lnTo>
                    <a:pt x="503" y="4276"/>
                  </a:lnTo>
                  <a:lnTo>
                    <a:pt x="501" y="4078"/>
                  </a:lnTo>
                  <a:lnTo>
                    <a:pt x="503" y="3881"/>
                  </a:lnTo>
                  <a:lnTo>
                    <a:pt x="509" y="3683"/>
                  </a:lnTo>
                  <a:lnTo>
                    <a:pt x="519" y="3486"/>
                  </a:lnTo>
                  <a:lnTo>
                    <a:pt x="534" y="3287"/>
                  </a:lnTo>
                  <a:lnTo>
                    <a:pt x="552" y="3089"/>
                  </a:lnTo>
                  <a:lnTo>
                    <a:pt x="574" y="2892"/>
                  </a:lnTo>
                  <a:lnTo>
                    <a:pt x="600" y="2694"/>
                  </a:lnTo>
                  <a:lnTo>
                    <a:pt x="632" y="2497"/>
                  </a:lnTo>
                  <a:lnTo>
                    <a:pt x="666" y="2298"/>
                  </a:lnTo>
                  <a:lnTo>
                    <a:pt x="705" y="2100"/>
                  </a:lnTo>
                  <a:lnTo>
                    <a:pt x="747" y="1903"/>
                  </a:lnTo>
                  <a:lnTo>
                    <a:pt x="795" y="1705"/>
                  </a:lnTo>
                  <a:lnTo>
                    <a:pt x="845" y="1508"/>
                  </a:lnTo>
                  <a:lnTo>
                    <a:pt x="900" y="1309"/>
                  </a:lnTo>
                  <a:lnTo>
                    <a:pt x="959" y="1111"/>
                  </a:lnTo>
                  <a:lnTo>
                    <a:pt x="1022" y="914"/>
                  </a:lnTo>
                  <a:lnTo>
                    <a:pt x="1272" y="864"/>
                  </a:lnTo>
                  <a:lnTo>
                    <a:pt x="1523" y="817"/>
                  </a:lnTo>
                  <a:lnTo>
                    <a:pt x="1773" y="774"/>
                  </a:lnTo>
                  <a:lnTo>
                    <a:pt x="2024" y="734"/>
                  </a:lnTo>
                  <a:lnTo>
                    <a:pt x="2274" y="697"/>
                  </a:lnTo>
                  <a:lnTo>
                    <a:pt x="2525" y="663"/>
                  </a:lnTo>
                  <a:lnTo>
                    <a:pt x="2775" y="632"/>
                  </a:lnTo>
                  <a:lnTo>
                    <a:pt x="3026" y="605"/>
                  </a:lnTo>
                  <a:lnTo>
                    <a:pt x="3276" y="581"/>
                  </a:lnTo>
                  <a:lnTo>
                    <a:pt x="3527" y="560"/>
                  </a:lnTo>
                  <a:lnTo>
                    <a:pt x="3777" y="543"/>
                  </a:lnTo>
                  <a:lnTo>
                    <a:pt x="4028" y="528"/>
                  </a:lnTo>
                  <a:lnTo>
                    <a:pt x="4278" y="517"/>
                  </a:lnTo>
                  <a:lnTo>
                    <a:pt x="4529" y="509"/>
                  </a:lnTo>
                  <a:lnTo>
                    <a:pt x="4779" y="504"/>
                  </a:lnTo>
                  <a:lnTo>
                    <a:pt x="5029" y="503"/>
                  </a:lnTo>
                  <a:lnTo>
                    <a:pt x="5279" y="504"/>
                  </a:lnTo>
                  <a:lnTo>
                    <a:pt x="5530" y="509"/>
                  </a:lnTo>
                  <a:lnTo>
                    <a:pt x="5780" y="517"/>
                  </a:lnTo>
                  <a:lnTo>
                    <a:pt x="6030" y="528"/>
                  </a:lnTo>
                  <a:lnTo>
                    <a:pt x="6281" y="543"/>
                  </a:lnTo>
                  <a:lnTo>
                    <a:pt x="6531" y="560"/>
                  </a:lnTo>
                  <a:lnTo>
                    <a:pt x="6782" y="581"/>
                  </a:lnTo>
                  <a:lnTo>
                    <a:pt x="7032" y="605"/>
                  </a:lnTo>
                  <a:lnTo>
                    <a:pt x="7283" y="632"/>
                  </a:lnTo>
                  <a:lnTo>
                    <a:pt x="7533" y="663"/>
                  </a:lnTo>
                  <a:lnTo>
                    <a:pt x="7784" y="697"/>
                  </a:lnTo>
                  <a:lnTo>
                    <a:pt x="8034" y="734"/>
                  </a:lnTo>
                  <a:lnTo>
                    <a:pt x="8285" y="774"/>
                  </a:lnTo>
                  <a:lnTo>
                    <a:pt x="8535" y="817"/>
                  </a:lnTo>
                  <a:lnTo>
                    <a:pt x="8786" y="864"/>
                  </a:lnTo>
                  <a:lnTo>
                    <a:pt x="9036" y="914"/>
                  </a:lnTo>
                  <a:lnTo>
                    <a:pt x="9099" y="1111"/>
                  </a:lnTo>
                  <a:lnTo>
                    <a:pt x="9158" y="1309"/>
                  </a:lnTo>
                  <a:lnTo>
                    <a:pt x="9213" y="1508"/>
                  </a:lnTo>
                  <a:lnTo>
                    <a:pt x="9264" y="1705"/>
                  </a:lnTo>
                  <a:lnTo>
                    <a:pt x="9311" y="1903"/>
                  </a:lnTo>
                  <a:lnTo>
                    <a:pt x="9353" y="2100"/>
                  </a:lnTo>
                  <a:lnTo>
                    <a:pt x="9392" y="2298"/>
                  </a:lnTo>
                  <a:lnTo>
                    <a:pt x="9427" y="2497"/>
                  </a:lnTo>
                  <a:lnTo>
                    <a:pt x="9458" y="2694"/>
                  </a:lnTo>
                  <a:lnTo>
                    <a:pt x="9484" y="2892"/>
                  </a:lnTo>
                  <a:lnTo>
                    <a:pt x="9506" y="3089"/>
                  </a:lnTo>
                  <a:lnTo>
                    <a:pt x="9524" y="3287"/>
                  </a:lnTo>
                  <a:lnTo>
                    <a:pt x="9539" y="3486"/>
                  </a:lnTo>
                  <a:lnTo>
                    <a:pt x="9549" y="3683"/>
                  </a:lnTo>
                  <a:lnTo>
                    <a:pt x="9555" y="3881"/>
                  </a:lnTo>
                  <a:lnTo>
                    <a:pt x="9557" y="4078"/>
                  </a:lnTo>
                  <a:lnTo>
                    <a:pt x="9555" y="4276"/>
                  </a:lnTo>
                  <a:lnTo>
                    <a:pt x="9549" y="4474"/>
                  </a:lnTo>
                  <a:lnTo>
                    <a:pt x="9539" y="4672"/>
                  </a:lnTo>
                  <a:lnTo>
                    <a:pt x="9524" y="4870"/>
                  </a:lnTo>
                  <a:lnTo>
                    <a:pt x="9506" y="5067"/>
                  </a:lnTo>
                  <a:lnTo>
                    <a:pt x="9484" y="5265"/>
                  </a:lnTo>
                  <a:lnTo>
                    <a:pt x="9458" y="5463"/>
                  </a:lnTo>
                  <a:lnTo>
                    <a:pt x="9427" y="5661"/>
                  </a:lnTo>
                  <a:lnTo>
                    <a:pt x="9392" y="5859"/>
                  </a:lnTo>
                  <a:lnTo>
                    <a:pt x="9353" y="6056"/>
                  </a:lnTo>
                  <a:lnTo>
                    <a:pt x="9311" y="6254"/>
                  </a:lnTo>
                  <a:lnTo>
                    <a:pt x="9264" y="6451"/>
                  </a:lnTo>
                  <a:lnTo>
                    <a:pt x="9213" y="6650"/>
                  </a:lnTo>
                  <a:lnTo>
                    <a:pt x="9158" y="6848"/>
                  </a:lnTo>
                  <a:lnTo>
                    <a:pt x="9099" y="7045"/>
                  </a:lnTo>
                  <a:lnTo>
                    <a:pt x="9036" y="7243"/>
                  </a:lnTo>
                  <a:close/>
                  <a:moveTo>
                    <a:pt x="9137" y="421"/>
                  </a:moveTo>
                  <a:lnTo>
                    <a:pt x="9009" y="395"/>
                  </a:lnTo>
                  <a:lnTo>
                    <a:pt x="8881" y="370"/>
                  </a:lnTo>
                  <a:lnTo>
                    <a:pt x="8754" y="346"/>
                  </a:lnTo>
                  <a:lnTo>
                    <a:pt x="8625" y="322"/>
                  </a:lnTo>
                  <a:lnTo>
                    <a:pt x="8497" y="299"/>
                  </a:lnTo>
                  <a:lnTo>
                    <a:pt x="8369" y="278"/>
                  </a:lnTo>
                  <a:lnTo>
                    <a:pt x="8241" y="257"/>
                  </a:lnTo>
                  <a:lnTo>
                    <a:pt x="8112" y="237"/>
                  </a:lnTo>
                  <a:lnTo>
                    <a:pt x="7984" y="218"/>
                  </a:lnTo>
                  <a:lnTo>
                    <a:pt x="7855" y="199"/>
                  </a:lnTo>
                  <a:lnTo>
                    <a:pt x="7726" y="182"/>
                  </a:lnTo>
                  <a:lnTo>
                    <a:pt x="7598" y="165"/>
                  </a:lnTo>
                  <a:lnTo>
                    <a:pt x="7469" y="148"/>
                  </a:lnTo>
                  <a:lnTo>
                    <a:pt x="7341" y="133"/>
                  </a:lnTo>
                  <a:lnTo>
                    <a:pt x="7212" y="118"/>
                  </a:lnTo>
                  <a:lnTo>
                    <a:pt x="7084" y="105"/>
                  </a:lnTo>
                  <a:lnTo>
                    <a:pt x="6955" y="92"/>
                  </a:lnTo>
                  <a:lnTo>
                    <a:pt x="6826" y="80"/>
                  </a:lnTo>
                  <a:lnTo>
                    <a:pt x="6697" y="69"/>
                  </a:lnTo>
                  <a:lnTo>
                    <a:pt x="6569" y="59"/>
                  </a:lnTo>
                  <a:lnTo>
                    <a:pt x="6440" y="49"/>
                  </a:lnTo>
                  <a:lnTo>
                    <a:pt x="6311" y="41"/>
                  </a:lnTo>
                  <a:lnTo>
                    <a:pt x="6183" y="33"/>
                  </a:lnTo>
                  <a:lnTo>
                    <a:pt x="6055" y="26"/>
                  </a:lnTo>
                  <a:lnTo>
                    <a:pt x="5926" y="20"/>
                  </a:lnTo>
                  <a:lnTo>
                    <a:pt x="5798" y="14"/>
                  </a:lnTo>
                  <a:lnTo>
                    <a:pt x="5669" y="10"/>
                  </a:lnTo>
                  <a:lnTo>
                    <a:pt x="5542" y="6"/>
                  </a:lnTo>
                  <a:lnTo>
                    <a:pt x="5413" y="3"/>
                  </a:lnTo>
                  <a:lnTo>
                    <a:pt x="5285" y="1"/>
                  </a:lnTo>
                  <a:lnTo>
                    <a:pt x="5157" y="0"/>
                  </a:lnTo>
                  <a:lnTo>
                    <a:pt x="5029" y="0"/>
                  </a:lnTo>
                  <a:lnTo>
                    <a:pt x="4901" y="0"/>
                  </a:lnTo>
                  <a:lnTo>
                    <a:pt x="4773" y="1"/>
                  </a:lnTo>
                  <a:lnTo>
                    <a:pt x="4645" y="3"/>
                  </a:lnTo>
                  <a:lnTo>
                    <a:pt x="4517" y="6"/>
                  </a:lnTo>
                  <a:lnTo>
                    <a:pt x="4389" y="10"/>
                  </a:lnTo>
                  <a:lnTo>
                    <a:pt x="4260" y="14"/>
                  </a:lnTo>
                  <a:lnTo>
                    <a:pt x="4132" y="20"/>
                  </a:lnTo>
                  <a:lnTo>
                    <a:pt x="4004" y="26"/>
                  </a:lnTo>
                  <a:lnTo>
                    <a:pt x="3875" y="33"/>
                  </a:lnTo>
                  <a:lnTo>
                    <a:pt x="3746" y="41"/>
                  </a:lnTo>
                  <a:lnTo>
                    <a:pt x="3618" y="49"/>
                  </a:lnTo>
                  <a:lnTo>
                    <a:pt x="3489" y="59"/>
                  </a:lnTo>
                  <a:lnTo>
                    <a:pt x="3361" y="69"/>
                  </a:lnTo>
                  <a:lnTo>
                    <a:pt x="3232" y="80"/>
                  </a:lnTo>
                  <a:lnTo>
                    <a:pt x="3103" y="92"/>
                  </a:lnTo>
                  <a:lnTo>
                    <a:pt x="2974" y="105"/>
                  </a:lnTo>
                  <a:lnTo>
                    <a:pt x="2846" y="118"/>
                  </a:lnTo>
                  <a:lnTo>
                    <a:pt x="2717" y="133"/>
                  </a:lnTo>
                  <a:lnTo>
                    <a:pt x="2589" y="148"/>
                  </a:lnTo>
                  <a:lnTo>
                    <a:pt x="2460" y="165"/>
                  </a:lnTo>
                  <a:lnTo>
                    <a:pt x="2332" y="182"/>
                  </a:lnTo>
                  <a:lnTo>
                    <a:pt x="2203" y="199"/>
                  </a:lnTo>
                  <a:lnTo>
                    <a:pt x="2074" y="218"/>
                  </a:lnTo>
                  <a:lnTo>
                    <a:pt x="1946" y="237"/>
                  </a:lnTo>
                  <a:lnTo>
                    <a:pt x="1818" y="257"/>
                  </a:lnTo>
                  <a:lnTo>
                    <a:pt x="1689" y="278"/>
                  </a:lnTo>
                  <a:lnTo>
                    <a:pt x="1561" y="299"/>
                  </a:lnTo>
                  <a:lnTo>
                    <a:pt x="1433" y="322"/>
                  </a:lnTo>
                  <a:lnTo>
                    <a:pt x="1305" y="346"/>
                  </a:lnTo>
                  <a:lnTo>
                    <a:pt x="1177" y="370"/>
                  </a:lnTo>
                  <a:lnTo>
                    <a:pt x="1049" y="395"/>
                  </a:lnTo>
                  <a:lnTo>
                    <a:pt x="921" y="421"/>
                  </a:lnTo>
                  <a:lnTo>
                    <a:pt x="904" y="424"/>
                  </a:lnTo>
                  <a:lnTo>
                    <a:pt x="888" y="429"/>
                  </a:lnTo>
                  <a:lnTo>
                    <a:pt x="872" y="433"/>
                  </a:lnTo>
                  <a:lnTo>
                    <a:pt x="857" y="439"/>
                  </a:lnTo>
                  <a:lnTo>
                    <a:pt x="841" y="444"/>
                  </a:lnTo>
                  <a:lnTo>
                    <a:pt x="826" y="451"/>
                  </a:lnTo>
                  <a:lnTo>
                    <a:pt x="811" y="457"/>
                  </a:lnTo>
                  <a:lnTo>
                    <a:pt x="796" y="464"/>
                  </a:lnTo>
                  <a:lnTo>
                    <a:pt x="781" y="472"/>
                  </a:lnTo>
                  <a:lnTo>
                    <a:pt x="766" y="480"/>
                  </a:lnTo>
                  <a:lnTo>
                    <a:pt x="753" y="489"/>
                  </a:lnTo>
                  <a:lnTo>
                    <a:pt x="739" y="499"/>
                  </a:lnTo>
                  <a:lnTo>
                    <a:pt x="726" y="508"/>
                  </a:lnTo>
                  <a:lnTo>
                    <a:pt x="713" y="518"/>
                  </a:lnTo>
                  <a:lnTo>
                    <a:pt x="700" y="528"/>
                  </a:lnTo>
                  <a:lnTo>
                    <a:pt x="688" y="538"/>
                  </a:lnTo>
                  <a:lnTo>
                    <a:pt x="676" y="549"/>
                  </a:lnTo>
                  <a:lnTo>
                    <a:pt x="664" y="561"/>
                  </a:lnTo>
                  <a:lnTo>
                    <a:pt x="653" y="573"/>
                  </a:lnTo>
                  <a:lnTo>
                    <a:pt x="642" y="585"/>
                  </a:lnTo>
                  <a:lnTo>
                    <a:pt x="632" y="597"/>
                  </a:lnTo>
                  <a:lnTo>
                    <a:pt x="621" y="610"/>
                  </a:lnTo>
                  <a:lnTo>
                    <a:pt x="611" y="623"/>
                  </a:lnTo>
                  <a:lnTo>
                    <a:pt x="602" y="637"/>
                  </a:lnTo>
                  <a:lnTo>
                    <a:pt x="593" y="650"/>
                  </a:lnTo>
                  <a:lnTo>
                    <a:pt x="584" y="665"/>
                  </a:lnTo>
                  <a:lnTo>
                    <a:pt x="576" y="680"/>
                  </a:lnTo>
                  <a:lnTo>
                    <a:pt x="569" y="695"/>
                  </a:lnTo>
                  <a:lnTo>
                    <a:pt x="562" y="710"/>
                  </a:lnTo>
                  <a:lnTo>
                    <a:pt x="555" y="725"/>
                  </a:lnTo>
                  <a:lnTo>
                    <a:pt x="549" y="740"/>
                  </a:lnTo>
                  <a:lnTo>
                    <a:pt x="544" y="756"/>
                  </a:lnTo>
                  <a:lnTo>
                    <a:pt x="478" y="963"/>
                  </a:lnTo>
                  <a:lnTo>
                    <a:pt x="416" y="1170"/>
                  </a:lnTo>
                  <a:lnTo>
                    <a:pt x="359" y="1377"/>
                  </a:lnTo>
                  <a:lnTo>
                    <a:pt x="306" y="1584"/>
                  </a:lnTo>
                  <a:lnTo>
                    <a:pt x="257" y="1791"/>
                  </a:lnTo>
                  <a:lnTo>
                    <a:pt x="212" y="2000"/>
                  </a:lnTo>
                  <a:lnTo>
                    <a:pt x="172" y="2207"/>
                  </a:lnTo>
                  <a:lnTo>
                    <a:pt x="136" y="2414"/>
                  </a:lnTo>
                  <a:lnTo>
                    <a:pt x="104" y="2622"/>
                  </a:lnTo>
                  <a:lnTo>
                    <a:pt x="76" y="2831"/>
                  </a:lnTo>
                  <a:lnTo>
                    <a:pt x="53" y="3038"/>
                  </a:lnTo>
                  <a:lnTo>
                    <a:pt x="34" y="3246"/>
                  </a:lnTo>
                  <a:lnTo>
                    <a:pt x="19" y="3454"/>
                  </a:lnTo>
                  <a:lnTo>
                    <a:pt x="9" y="3663"/>
                  </a:lnTo>
                  <a:lnTo>
                    <a:pt x="2" y="3870"/>
                  </a:lnTo>
                  <a:lnTo>
                    <a:pt x="0" y="4078"/>
                  </a:lnTo>
                  <a:lnTo>
                    <a:pt x="2" y="4286"/>
                  </a:lnTo>
                  <a:lnTo>
                    <a:pt x="9" y="4495"/>
                  </a:lnTo>
                  <a:lnTo>
                    <a:pt x="19" y="4703"/>
                  </a:lnTo>
                  <a:lnTo>
                    <a:pt x="34" y="4910"/>
                  </a:lnTo>
                  <a:lnTo>
                    <a:pt x="53" y="5118"/>
                  </a:lnTo>
                  <a:lnTo>
                    <a:pt x="76" y="5327"/>
                  </a:lnTo>
                  <a:lnTo>
                    <a:pt x="104" y="5534"/>
                  </a:lnTo>
                  <a:lnTo>
                    <a:pt x="136" y="5742"/>
                  </a:lnTo>
                  <a:lnTo>
                    <a:pt x="172" y="5949"/>
                  </a:lnTo>
                  <a:lnTo>
                    <a:pt x="212" y="6158"/>
                  </a:lnTo>
                  <a:lnTo>
                    <a:pt x="257" y="6365"/>
                  </a:lnTo>
                  <a:lnTo>
                    <a:pt x="306" y="6572"/>
                  </a:lnTo>
                  <a:lnTo>
                    <a:pt x="359" y="6779"/>
                  </a:lnTo>
                  <a:lnTo>
                    <a:pt x="416" y="6987"/>
                  </a:lnTo>
                  <a:lnTo>
                    <a:pt x="478" y="7193"/>
                  </a:lnTo>
                  <a:lnTo>
                    <a:pt x="544" y="7400"/>
                  </a:lnTo>
                  <a:lnTo>
                    <a:pt x="549" y="7416"/>
                  </a:lnTo>
                  <a:lnTo>
                    <a:pt x="555" y="7431"/>
                  </a:lnTo>
                  <a:lnTo>
                    <a:pt x="562" y="7448"/>
                  </a:lnTo>
                  <a:lnTo>
                    <a:pt x="569" y="7463"/>
                  </a:lnTo>
                  <a:lnTo>
                    <a:pt x="576" y="7477"/>
                  </a:lnTo>
                  <a:lnTo>
                    <a:pt x="584" y="7492"/>
                  </a:lnTo>
                  <a:lnTo>
                    <a:pt x="593" y="7506"/>
                  </a:lnTo>
                  <a:lnTo>
                    <a:pt x="602" y="7520"/>
                  </a:lnTo>
                  <a:lnTo>
                    <a:pt x="611" y="7533"/>
                  </a:lnTo>
                  <a:lnTo>
                    <a:pt x="621" y="7547"/>
                  </a:lnTo>
                  <a:lnTo>
                    <a:pt x="632" y="7559"/>
                  </a:lnTo>
                  <a:lnTo>
                    <a:pt x="642" y="7572"/>
                  </a:lnTo>
                  <a:lnTo>
                    <a:pt x="653" y="7584"/>
                  </a:lnTo>
                  <a:lnTo>
                    <a:pt x="664" y="7596"/>
                  </a:lnTo>
                  <a:lnTo>
                    <a:pt x="676" y="7607"/>
                  </a:lnTo>
                  <a:lnTo>
                    <a:pt x="688" y="7619"/>
                  </a:lnTo>
                  <a:lnTo>
                    <a:pt x="700" y="7630"/>
                  </a:lnTo>
                  <a:lnTo>
                    <a:pt x="713" y="7640"/>
                  </a:lnTo>
                  <a:lnTo>
                    <a:pt x="726" y="7650"/>
                  </a:lnTo>
                  <a:lnTo>
                    <a:pt x="739" y="7659"/>
                  </a:lnTo>
                  <a:lnTo>
                    <a:pt x="753" y="7668"/>
                  </a:lnTo>
                  <a:lnTo>
                    <a:pt x="766" y="7676"/>
                  </a:lnTo>
                  <a:lnTo>
                    <a:pt x="781" y="7684"/>
                  </a:lnTo>
                  <a:lnTo>
                    <a:pt x="796" y="7692"/>
                  </a:lnTo>
                  <a:lnTo>
                    <a:pt x="811" y="7699"/>
                  </a:lnTo>
                  <a:lnTo>
                    <a:pt x="826" y="7706"/>
                  </a:lnTo>
                  <a:lnTo>
                    <a:pt x="841" y="7712"/>
                  </a:lnTo>
                  <a:lnTo>
                    <a:pt x="857" y="7718"/>
                  </a:lnTo>
                  <a:lnTo>
                    <a:pt x="872" y="7723"/>
                  </a:lnTo>
                  <a:lnTo>
                    <a:pt x="888" y="7728"/>
                  </a:lnTo>
                  <a:lnTo>
                    <a:pt x="904" y="7732"/>
                  </a:lnTo>
                  <a:lnTo>
                    <a:pt x="921" y="7735"/>
                  </a:lnTo>
                  <a:lnTo>
                    <a:pt x="1049" y="7761"/>
                  </a:lnTo>
                  <a:lnTo>
                    <a:pt x="1177" y="7787"/>
                  </a:lnTo>
                  <a:lnTo>
                    <a:pt x="1305" y="7811"/>
                  </a:lnTo>
                  <a:lnTo>
                    <a:pt x="1433" y="7834"/>
                  </a:lnTo>
                  <a:lnTo>
                    <a:pt x="1561" y="7857"/>
                  </a:lnTo>
                  <a:lnTo>
                    <a:pt x="1689" y="7879"/>
                  </a:lnTo>
                  <a:lnTo>
                    <a:pt x="1818" y="7900"/>
                  </a:lnTo>
                  <a:lnTo>
                    <a:pt x="1946" y="7920"/>
                  </a:lnTo>
                  <a:lnTo>
                    <a:pt x="2074" y="7939"/>
                  </a:lnTo>
                  <a:lnTo>
                    <a:pt x="2203" y="7958"/>
                  </a:lnTo>
                  <a:lnTo>
                    <a:pt x="2332" y="7976"/>
                  </a:lnTo>
                  <a:lnTo>
                    <a:pt x="2460" y="7993"/>
                  </a:lnTo>
                  <a:lnTo>
                    <a:pt x="2589" y="8009"/>
                  </a:lnTo>
                  <a:lnTo>
                    <a:pt x="2717" y="8024"/>
                  </a:lnTo>
                  <a:lnTo>
                    <a:pt x="2846" y="8038"/>
                  </a:lnTo>
                  <a:lnTo>
                    <a:pt x="2974" y="8052"/>
                  </a:lnTo>
                  <a:lnTo>
                    <a:pt x="3103" y="8064"/>
                  </a:lnTo>
                  <a:lnTo>
                    <a:pt x="3232" y="8076"/>
                  </a:lnTo>
                  <a:lnTo>
                    <a:pt x="3361" y="8088"/>
                  </a:lnTo>
                  <a:lnTo>
                    <a:pt x="3489" y="8098"/>
                  </a:lnTo>
                  <a:lnTo>
                    <a:pt x="3618" y="8107"/>
                  </a:lnTo>
                  <a:lnTo>
                    <a:pt x="3746" y="8117"/>
                  </a:lnTo>
                  <a:lnTo>
                    <a:pt x="3875" y="8125"/>
                  </a:lnTo>
                  <a:lnTo>
                    <a:pt x="4004" y="8132"/>
                  </a:lnTo>
                  <a:lnTo>
                    <a:pt x="4132" y="8138"/>
                  </a:lnTo>
                  <a:lnTo>
                    <a:pt x="4260" y="8143"/>
                  </a:lnTo>
                  <a:lnTo>
                    <a:pt x="4389" y="8148"/>
                  </a:lnTo>
                  <a:lnTo>
                    <a:pt x="4517" y="8152"/>
                  </a:lnTo>
                  <a:lnTo>
                    <a:pt x="4645" y="8154"/>
                  </a:lnTo>
                  <a:lnTo>
                    <a:pt x="4773" y="8156"/>
                  </a:lnTo>
                  <a:lnTo>
                    <a:pt x="4901" y="8158"/>
                  </a:lnTo>
                  <a:lnTo>
                    <a:pt x="5029" y="8158"/>
                  </a:lnTo>
                  <a:lnTo>
                    <a:pt x="5157" y="8158"/>
                  </a:lnTo>
                  <a:lnTo>
                    <a:pt x="5285" y="8156"/>
                  </a:lnTo>
                  <a:lnTo>
                    <a:pt x="5413" y="8154"/>
                  </a:lnTo>
                  <a:lnTo>
                    <a:pt x="5542" y="8152"/>
                  </a:lnTo>
                  <a:lnTo>
                    <a:pt x="5669" y="8148"/>
                  </a:lnTo>
                  <a:lnTo>
                    <a:pt x="5798" y="8143"/>
                  </a:lnTo>
                  <a:lnTo>
                    <a:pt x="5926" y="8138"/>
                  </a:lnTo>
                  <a:lnTo>
                    <a:pt x="6055" y="8132"/>
                  </a:lnTo>
                  <a:lnTo>
                    <a:pt x="6183" y="8125"/>
                  </a:lnTo>
                  <a:lnTo>
                    <a:pt x="6311" y="8117"/>
                  </a:lnTo>
                  <a:lnTo>
                    <a:pt x="6440" y="8107"/>
                  </a:lnTo>
                  <a:lnTo>
                    <a:pt x="6569" y="8098"/>
                  </a:lnTo>
                  <a:lnTo>
                    <a:pt x="6697" y="8088"/>
                  </a:lnTo>
                  <a:lnTo>
                    <a:pt x="6826" y="8076"/>
                  </a:lnTo>
                  <a:lnTo>
                    <a:pt x="6955" y="8064"/>
                  </a:lnTo>
                  <a:lnTo>
                    <a:pt x="7084" y="8052"/>
                  </a:lnTo>
                  <a:lnTo>
                    <a:pt x="7212" y="8038"/>
                  </a:lnTo>
                  <a:lnTo>
                    <a:pt x="7341" y="8024"/>
                  </a:lnTo>
                  <a:lnTo>
                    <a:pt x="7469" y="8009"/>
                  </a:lnTo>
                  <a:lnTo>
                    <a:pt x="7598" y="7993"/>
                  </a:lnTo>
                  <a:lnTo>
                    <a:pt x="7726" y="7976"/>
                  </a:lnTo>
                  <a:lnTo>
                    <a:pt x="7855" y="7958"/>
                  </a:lnTo>
                  <a:lnTo>
                    <a:pt x="7984" y="7939"/>
                  </a:lnTo>
                  <a:lnTo>
                    <a:pt x="8112" y="7920"/>
                  </a:lnTo>
                  <a:lnTo>
                    <a:pt x="8241" y="7900"/>
                  </a:lnTo>
                  <a:lnTo>
                    <a:pt x="8369" y="7879"/>
                  </a:lnTo>
                  <a:lnTo>
                    <a:pt x="8497" y="7857"/>
                  </a:lnTo>
                  <a:lnTo>
                    <a:pt x="8625" y="7834"/>
                  </a:lnTo>
                  <a:lnTo>
                    <a:pt x="8754" y="7811"/>
                  </a:lnTo>
                  <a:lnTo>
                    <a:pt x="8881" y="7787"/>
                  </a:lnTo>
                  <a:lnTo>
                    <a:pt x="9009" y="7761"/>
                  </a:lnTo>
                  <a:lnTo>
                    <a:pt x="9137" y="7735"/>
                  </a:lnTo>
                  <a:lnTo>
                    <a:pt x="9154" y="7732"/>
                  </a:lnTo>
                  <a:lnTo>
                    <a:pt x="9170" y="7728"/>
                  </a:lnTo>
                  <a:lnTo>
                    <a:pt x="9186" y="7723"/>
                  </a:lnTo>
                  <a:lnTo>
                    <a:pt x="9201" y="7718"/>
                  </a:lnTo>
                  <a:lnTo>
                    <a:pt x="9217" y="7712"/>
                  </a:lnTo>
                  <a:lnTo>
                    <a:pt x="9232" y="7706"/>
                  </a:lnTo>
                  <a:lnTo>
                    <a:pt x="9247" y="7699"/>
                  </a:lnTo>
                  <a:lnTo>
                    <a:pt x="9263" y="7692"/>
                  </a:lnTo>
                  <a:lnTo>
                    <a:pt x="9277" y="7684"/>
                  </a:lnTo>
                  <a:lnTo>
                    <a:pt x="9292" y="7676"/>
                  </a:lnTo>
                  <a:lnTo>
                    <a:pt x="9306" y="7668"/>
                  </a:lnTo>
                  <a:lnTo>
                    <a:pt x="9319" y="7659"/>
                  </a:lnTo>
                  <a:lnTo>
                    <a:pt x="9333" y="7650"/>
                  </a:lnTo>
                  <a:lnTo>
                    <a:pt x="9345" y="7640"/>
                  </a:lnTo>
                  <a:lnTo>
                    <a:pt x="9358" y="7630"/>
                  </a:lnTo>
                  <a:lnTo>
                    <a:pt x="9370" y="7619"/>
                  </a:lnTo>
                  <a:lnTo>
                    <a:pt x="9382" y="7607"/>
                  </a:lnTo>
                  <a:lnTo>
                    <a:pt x="9394" y="7596"/>
                  </a:lnTo>
                  <a:lnTo>
                    <a:pt x="9405" y="7584"/>
                  </a:lnTo>
                  <a:lnTo>
                    <a:pt x="9416" y="7572"/>
                  </a:lnTo>
                  <a:lnTo>
                    <a:pt x="9427" y="7559"/>
                  </a:lnTo>
                  <a:lnTo>
                    <a:pt x="9438" y="7547"/>
                  </a:lnTo>
                  <a:lnTo>
                    <a:pt x="9447" y="7533"/>
                  </a:lnTo>
                  <a:lnTo>
                    <a:pt x="9456" y="7520"/>
                  </a:lnTo>
                  <a:lnTo>
                    <a:pt x="9465" y="7506"/>
                  </a:lnTo>
                  <a:lnTo>
                    <a:pt x="9474" y="7492"/>
                  </a:lnTo>
                  <a:lnTo>
                    <a:pt x="9482" y="7477"/>
                  </a:lnTo>
                  <a:lnTo>
                    <a:pt x="9489" y="7463"/>
                  </a:lnTo>
                  <a:lnTo>
                    <a:pt x="9496" y="7448"/>
                  </a:lnTo>
                  <a:lnTo>
                    <a:pt x="9502" y="7431"/>
                  </a:lnTo>
                  <a:lnTo>
                    <a:pt x="9508" y="7416"/>
                  </a:lnTo>
                  <a:lnTo>
                    <a:pt x="9514" y="7400"/>
                  </a:lnTo>
                  <a:lnTo>
                    <a:pt x="9580" y="7193"/>
                  </a:lnTo>
                  <a:lnTo>
                    <a:pt x="9642" y="6987"/>
                  </a:lnTo>
                  <a:lnTo>
                    <a:pt x="9699" y="6779"/>
                  </a:lnTo>
                  <a:lnTo>
                    <a:pt x="9752" y="6572"/>
                  </a:lnTo>
                  <a:lnTo>
                    <a:pt x="9801" y="6365"/>
                  </a:lnTo>
                  <a:lnTo>
                    <a:pt x="9846" y="6158"/>
                  </a:lnTo>
                  <a:lnTo>
                    <a:pt x="9886" y="5949"/>
                  </a:lnTo>
                  <a:lnTo>
                    <a:pt x="9922" y="5742"/>
                  </a:lnTo>
                  <a:lnTo>
                    <a:pt x="9955" y="5534"/>
                  </a:lnTo>
                  <a:lnTo>
                    <a:pt x="9982" y="5327"/>
                  </a:lnTo>
                  <a:lnTo>
                    <a:pt x="10005" y="5118"/>
                  </a:lnTo>
                  <a:lnTo>
                    <a:pt x="10024" y="4910"/>
                  </a:lnTo>
                  <a:lnTo>
                    <a:pt x="10039" y="4703"/>
                  </a:lnTo>
                  <a:lnTo>
                    <a:pt x="10050" y="4495"/>
                  </a:lnTo>
                  <a:lnTo>
                    <a:pt x="10056" y="4286"/>
                  </a:lnTo>
                  <a:lnTo>
                    <a:pt x="10058" y="4078"/>
                  </a:lnTo>
                  <a:lnTo>
                    <a:pt x="10056" y="3870"/>
                  </a:lnTo>
                  <a:lnTo>
                    <a:pt x="10050" y="3663"/>
                  </a:lnTo>
                  <a:lnTo>
                    <a:pt x="10039" y="3454"/>
                  </a:lnTo>
                  <a:lnTo>
                    <a:pt x="10024" y="3246"/>
                  </a:lnTo>
                  <a:lnTo>
                    <a:pt x="10005" y="3038"/>
                  </a:lnTo>
                  <a:lnTo>
                    <a:pt x="9982" y="2831"/>
                  </a:lnTo>
                  <a:lnTo>
                    <a:pt x="9955" y="2622"/>
                  </a:lnTo>
                  <a:lnTo>
                    <a:pt x="9922" y="2414"/>
                  </a:lnTo>
                  <a:lnTo>
                    <a:pt x="9886" y="2207"/>
                  </a:lnTo>
                  <a:lnTo>
                    <a:pt x="9846" y="2000"/>
                  </a:lnTo>
                  <a:lnTo>
                    <a:pt x="9801" y="1791"/>
                  </a:lnTo>
                  <a:lnTo>
                    <a:pt x="9752" y="1584"/>
                  </a:lnTo>
                  <a:lnTo>
                    <a:pt x="9699" y="1377"/>
                  </a:lnTo>
                  <a:lnTo>
                    <a:pt x="9642" y="1170"/>
                  </a:lnTo>
                  <a:lnTo>
                    <a:pt x="9580" y="963"/>
                  </a:lnTo>
                  <a:lnTo>
                    <a:pt x="9514" y="756"/>
                  </a:lnTo>
                  <a:lnTo>
                    <a:pt x="9508" y="740"/>
                  </a:lnTo>
                  <a:lnTo>
                    <a:pt x="9502" y="725"/>
                  </a:lnTo>
                  <a:lnTo>
                    <a:pt x="9496" y="710"/>
                  </a:lnTo>
                  <a:lnTo>
                    <a:pt x="9489" y="695"/>
                  </a:lnTo>
                  <a:lnTo>
                    <a:pt x="9482" y="680"/>
                  </a:lnTo>
                  <a:lnTo>
                    <a:pt x="9474" y="665"/>
                  </a:lnTo>
                  <a:lnTo>
                    <a:pt x="9465" y="650"/>
                  </a:lnTo>
                  <a:lnTo>
                    <a:pt x="9456" y="637"/>
                  </a:lnTo>
                  <a:lnTo>
                    <a:pt x="9447" y="623"/>
                  </a:lnTo>
                  <a:lnTo>
                    <a:pt x="9438" y="610"/>
                  </a:lnTo>
                  <a:lnTo>
                    <a:pt x="9427" y="597"/>
                  </a:lnTo>
                  <a:lnTo>
                    <a:pt x="9416" y="585"/>
                  </a:lnTo>
                  <a:lnTo>
                    <a:pt x="9405" y="573"/>
                  </a:lnTo>
                  <a:lnTo>
                    <a:pt x="9394" y="561"/>
                  </a:lnTo>
                  <a:lnTo>
                    <a:pt x="9382" y="549"/>
                  </a:lnTo>
                  <a:lnTo>
                    <a:pt x="9370" y="538"/>
                  </a:lnTo>
                  <a:lnTo>
                    <a:pt x="9358" y="528"/>
                  </a:lnTo>
                  <a:lnTo>
                    <a:pt x="9345" y="518"/>
                  </a:lnTo>
                  <a:lnTo>
                    <a:pt x="9333" y="508"/>
                  </a:lnTo>
                  <a:lnTo>
                    <a:pt x="9319" y="499"/>
                  </a:lnTo>
                  <a:lnTo>
                    <a:pt x="9306" y="489"/>
                  </a:lnTo>
                  <a:lnTo>
                    <a:pt x="9292" y="480"/>
                  </a:lnTo>
                  <a:lnTo>
                    <a:pt x="9277" y="472"/>
                  </a:lnTo>
                  <a:lnTo>
                    <a:pt x="9263" y="464"/>
                  </a:lnTo>
                  <a:lnTo>
                    <a:pt x="9247" y="457"/>
                  </a:lnTo>
                  <a:lnTo>
                    <a:pt x="9232" y="451"/>
                  </a:lnTo>
                  <a:lnTo>
                    <a:pt x="9217" y="444"/>
                  </a:lnTo>
                  <a:lnTo>
                    <a:pt x="9201" y="439"/>
                  </a:lnTo>
                  <a:lnTo>
                    <a:pt x="9186" y="433"/>
                  </a:lnTo>
                  <a:lnTo>
                    <a:pt x="9170" y="429"/>
                  </a:lnTo>
                  <a:lnTo>
                    <a:pt x="9154" y="424"/>
                  </a:lnTo>
                  <a:lnTo>
                    <a:pt x="9137" y="4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7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3" name="îSľiďé">
              <a:extLst>
                <a:ext uri="{FF2B5EF4-FFF2-40B4-BE49-F238E27FC236}">
                  <a16:creationId xmlns:a16="http://schemas.microsoft.com/office/drawing/2014/main" id="{866CBD40-6578-4B3B-9B82-FAF55ED41C70}"/>
                </a:ext>
              </a:extLst>
            </p:cNvPr>
            <p:cNvSpPr/>
            <p:nvPr/>
          </p:nvSpPr>
          <p:spPr bwMode="auto">
            <a:xfrm>
              <a:off x="644028" y="32647"/>
              <a:ext cx="509129" cy="397939"/>
            </a:xfrm>
            <a:custGeom>
              <a:avLst/>
              <a:gdLst>
                <a:gd name="T0" fmla="*/ 11699 w 16095"/>
                <a:gd name="T1" fmla="*/ 10946 h 12580"/>
                <a:gd name="T2" fmla="*/ 8453 w 16095"/>
                <a:gd name="T3" fmla="*/ 11069 h 12580"/>
                <a:gd name="T4" fmla="*/ 5208 w 16095"/>
                <a:gd name="T5" fmla="*/ 10995 h 12580"/>
                <a:gd name="T6" fmla="*/ 1962 w 16095"/>
                <a:gd name="T7" fmla="*/ 10724 h 12580"/>
                <a:gd name="T8" fmla="*/ 1178 w 16095"/>
                <a:gd name="T9" fmla="*/ 8647 h 12580"/>
                <a:gd name="T10" fmla="*/ 1006 w 16095"/>
                <a:gd name="T11" fmla="*/ 6328 h 12580"/>
                <a:gd name="T12" fmla="*/ 1110 w 16095"/>
                <a:gd name="T13" fmla="*/ 4009 h 12580"/>
                <a:gd name="T14" fmla="*/ 1489 w 16095"/>
                <a:gd name="T15" fmla="*/ 1690 h 12580"/>
                <a:gd name="T16" fmla="*/ 4396 w 16095"/>
                <a:gd name="T17" fmla="*/ 1131 h 12580"/>
                <a:gd name="T18" fmla="*/ 7642 w 16095"/>
                <a:gd name="T19" fmla="*/ 1008 h 12580"/>
                <a:gd name="T20" fmla="*/ 10887 w 16095"/>
                <a:gd name="T21" fmla="*/ 1082 h 12580"/>
                <a:gd name="T22" fmla="*/ 14133 w 16095"/>
                <a:gd name="T23" fmla="*/ 1353 h 12580"/>
                <a:gd name="T24" fmla="*/ 14916 w 16095"/>
                <a:gd name="T25" fmla="*/ 3430 h 12580"/>
                <a:gd name="T26" fmla="*/ 15089 w 16095"/>
                <a:gd name="T27" fmla="*/ 5749 h 12580"/>
                <a:gd name="T28" fmla="*/ 14985 w 16095"/>
                <a:gd name="T29" fmla="*/ 8068 h 12580"/>
                <a:gd name="T30" fmla="*/ 14606 w 16095"/>
                <a:gd name="T31" fmla="*/ 10387 h 12580"/>
                <a:gd name="T32" fmla="*/ 15438 w 16095"/>
                <a:gd name="T33" fmla="*/ 950 h 12580"/>
                <a:gd name="T34" fmla="*/ 15263 w 16095"/>
                <a:gd name="T35" fmla="*/ 702 h 12580"/>
                <a:gd name="T36" fmla="*/ 15025 w 16095"/>
                <a:gd name="T37" fmla="*/ 519 h 12580"/>
                <a:gd name="T38" fmla="*/ 14738 w 16095"/>
                <a:gd name="T39" fmla="*/ 415 h 12580"/>
                <a:gd name="T40" fmla="*/ 13423 w 16095"/>
                <a:gd name="T41" fmla="*/ 266 h 12580"/>
                <a:gd name="T42" fmla="*/ 11768 w 16095"/>
                <a:gd name="T43" fmla="*/ 128 h 12580"/>
                <a:gd name="T44" fmla="*/ 10112 w 16095"/>
                <a:gd name="T45" fmla="*/ 39 h 12580"/>
                <a:gd name="T46" fmla="*/ 8459 w 16095"/>
                <a:gd name="T47" fmla="*/ 2 h 12580"/>
                <a:gd name="T48" fmla="*/ 6810 w 16095"/>
                <a:gd name="T49" fmla="*/ 14 h 12580"/>
                <a:gd name="T50" fmla="*/ 5154 w 16095"/>
                <a:gd name="T51" fmla="*/ 77 h 12580"/>
                <a:gd name="T52" fmla="*/ 3498 w 16095"/>
                <a:gd name="T53" fmla="*/ 190 h 12580"/>
                <a:gd name="T54" fmla="*/ 1846 w 16095"/>
                <a:gd name="T55" fmla="*/ 353 h 12580"/>
                <a:gd name="T56" fmla="*/ 1208 w 16095"/>
                <a:gd name="T57" fmla="*/ 456 h 12580"/>
                <a:gd name="T58" fmla="*/ 944 w 16095"/>
                <a:gd name="T59" fmla="*/ 602 h 12580"/>
                <a:gd name="T60" fmla="*/ 734 w 16095"/>
                <a:gd name="T61" fmla="*/ 819 h 12580"/>
                <a:gd name="T62" fmla="*/ 599 w 16095"/>
                <a:gd name="T63" fmla="*/ 1093 h 12580"/>
                <a:gd name="T64" fmla="*/ 225 w 16095"/>
                <a:gd name="T65" fmla="*/ 2990 h 12580"/>
                <a:gd name="T66" fmla="*/ 9 w 16095"/>
                <a:gd name="T67" fmla="*/ 5428 h 12580"/>
                <a:gd name="T68" fmla="*/ 81 w 16095"/>
                <a:gd name="T69" fmla="*/ 7869 h 12580"/>
                <a:gd name="T70" fmla="*/ 442 w 16095"/>
                <a:gd name="T71" fmla="*/ 10303 h 12580"/>
                <a:gd name="T72" fmla="*/ 657 w 16095"/>
                <a:gd name="T73" fmla="*/ 11128 h 12580"/>
                <a:gd name="T74" fmla="*/ 831 w 16095"/>
                <a:gd name="T75" fmla="*/ 11375 h 12580"/>
                <a:gd name="T76" fmla="*/ 1070 w 16095"/>
                <a:gd name="T77" fmla="*/ 11558 h 12580"/>
                <a:gd name="T78" fmla="*/ 1357 w 16095"/>
                <a:gd name="T79" fmla="*/ 11662 h 12580"/>
                <a:gd name="T80" fmla="*/ 2627 w 16095"/>
                <a:gd name="T81" fmla="*/ 11805 h 12580"/>
                <a:gd name="T82" fmla="*/ 4221 w 16095"/>
                <a:gd name="T83" fmla="*/ 11939 h 12580"/>
                <a:gd name="T84" fmla="*/ 4540 w 16095"/>
                <a:gd name="T85" fmla="*/ 12035 h 12580"/>
                <a:gd name="T86" fmla="*/ 4544 w 16095"/>
                <a:gd name="T87" fmla="*/ 12128 h 12580"/>
                <a:gd name="T88" fmla="*/ 4950 w 16095"/>
                <a:gd name="T89" fmla="*/ 12316 h 12580"/>
                <a:gd name="T90" fmla="*/ 5807 w 16095"/>
                <a:gd name="T91" fmla="*/ 12465 h 12580"/>
                <a:gd name="T92" fmla="*/ 7000 w 16095"/>
                <a:gd name="T93" fmla="*/ 12558 h 12580"/>
                <a:gd name="T94" fmla="*/ 8408 w 16095"/>
                <a:gd name="T95" fmla="*/ 12577 h 12580"/>
                <a:gd name="T96" fmla="*/ 9726 w 16095"/>
                <a:gd name="T97" fmla="*/ 12520 h 12580"/>
                <a:gd name="T98" fmla="*/ 10766 w 16095"/>
                <a:gd name="T99" fmla="*/ 12397 h 12580"/>
                <a:gd name="T100" fmla="*/ 11411 w 16095"/>
                <a:gd name="T101" fmla="*/ 12227 h 12580"/>
                <a:gd name="T102" fmla="*/ 11568 w 16095"/>
                <a:gd name="T103" fmla="*/ 12063 h 12580"/>
                <a:gd name="T104" fmla="*/ 11514 w 16095"/>
                <a:gd name="T105" fmla="*/ 11992 h 12580"/>
                <a:gd name="T106" fmla="*/ 12672 w 16095"/>
                <a:gd name="T107" fmla="*/ 11878 h 12580"/>
                <a:gd name="T108" fmla="*/ 14263 w 16095"/>
                <a:gd name="T109" fmla="*/ 11722 h 12580"/>
                <a:gd name="T110" fmla="*/ 14886 w 16095"/>
                <a:gd name="T111" fmla="*/ 11621 h 12580"/>
                <a:gd name="T112" fmla="*/ 15150 w 16095"/>
                <a:gd name="T113" fmla="*/ 11475 h 12580"/>
                <a:gd name="T114" fmla="*/ 15360 w 16095"/>
                <a:gd name="T115" fmla="*/ 11258 h 12580"/>
                <a:gd name="T116" fmla="*/ 15496 w 16095"/>
                <a:gd name="T117" fmla="*/ 10985 h 12580"/>
                <a:gd name="T118" fmla="*/ 15870 w 16095"/>
                <a:gd name="T119" fmla="*/ 9087 h 12580"/>
                <a:gd name="T120" fmla="*/ 16086 w 16095"/>
                <a:gd name="T121" fmla="*/ 6649 h 12580"/>
                <a:gd name="T122" fmla="*/ 16014 w 16095"/>
                <a:gd name="T123" fmla="*/ 4208 h 12580"/>
                <a:gd name="T124" fmla="*/ 15652 w 16095"/>
                <a:gd name="T125" fmla="*/ 1775 h 12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95" h="12580">
                  <a:moveTo>
                    <a:pt x="14539" y="10677"/>
                  </a:moveTo>
                  <a:lnTo>
                    <a:pt x="14133" y="10724"/>
                  </a:lnTo>
                  <a:lnTo>
                    <a:pt x="13728" y="10769"/>
                  </a:lnTo>
                  <a:lnTo>
                    <a:pt x="13322" y="10810"/>
                  </a:lnTo>
                  <a:lnTo>
                    <a:pt x="12916" y="10849"/>
                  </a:lnTo>
                  <a:lnTo>
                    <a:pt x="12510" y="10884"/>
                  </a:lnTo>
                  <a:lnTo>
                    <a:pt x="12104" y="10917"/>
                  </a:lnTo>
                  <a:lnTo>
                    <a:pt x="11699" y="10946"/>
                  </a:lnTo>
                  <a:lnTo>
                    <a:pt x="11293" y="10972"/>
                  </a:lnTo>
                  <a:lnTo>
                    <a:pt x="10887" y="10995"/>
                  </a:lnTo>
                  <a:lnTo>
                    <a:pt x="10482" y="11015"/>
                  </a:lnTo>
                  <a:lnTo>
                    <a:pt x="10075" y="11032"/>
                  </a:lnTo>
                  <a:lnTo>
                    <a:pt x="9670" y="11046"/>
                  </a:lnTo>
                  <a:lnTo>
                    <a:pt x="9265" y="11057"/>
                  </a:lnTo>
                  <a:lnTo>
                    <a:pt x="8858" y="11064"/>
                  </a:lnTo>
                  <a:lnTo>
                    <a:pt x="8453" y="11069"/>
                  </a:lnTo>
                  <a:lnTo>
                    <a:pt x="8048" y="11071"/>
                  </a:lnTo>
                  <a:lnTo>
                    <a:pt x="7642" y="11069"/>
                  </a:lnTo>
                  <a:lnTo>
                    <a:pt x="7236" y="11064"/>
                  </a:lnTo>
                  <a:lnTo>
                    <a:pt x="6830" y="11057"/>
                  </a:lnTo>
                  <a:lnTo>
                    <a:pt x="6424" y="11046"/>
                  </a:lnTo>
                  <a:lnTo>
                    <a:pt x="6019" y="11032"/>
                  </a:lnTo>
                  <a:lnTo>
                    <a:pt x="5613" y="11015"/>
                  </a:lnTo>
                  <a:lnTo>
                    <a:pt x="5208" y="10995"/>
                  </a:lnTo>
                  <a:lnTo>
                    <a:pt x="4801" y="10972"/>
                  </a:lnTo>
                  <a:lnTo>
                    <a:pt x="4396" y="10946"/>
                  </a:lnTo>
                  <a:lnTo>
                    <a:pt x="3990" y="10917"/>
                  </a:lnTo>
                  <a:lnTo>
                    <a:pt x="3584" y="10884"/>
                  </a:lnTo>
                  <a:lnTo>
                    <a:pt x="3179" y="10849"/>
                  </a:lnTo>
                  <a:lnTo>
                    <a:pt x="2772" y="10810"/>
                  </a:lnTo>
                  <a:lnTo>
                    <a:pt x="2367" y="10769"/>
                  </a:lnTo>
                  <a:lnTo>
                    <a:pt x="1962" y="10724"/>
                  </a:lnTo>
                  <a:lnTo>
                    <a:pt x="1555" y="10677"/>
                  </a:lnTo>
                  <a:lnTo>
                    <a:pt x="1489" y="10387"/>
                  </a:lnTo>
                  <a:lnTo>
                    <a:pt x="1426" y="10097"/>
                  </a:lnTo>
                  <a:lnTo>
                    <a:pt x="1368" y="9807"/>
                  </a:lnTo>
                  <a:lnTo>
                    <a:pt x="1314" y="9516"/>
                  </a:lnTo>
                  <a:lnTo>
                    <a:pt x="1264" y="9227"/>
                  </a:lnTo>
                  <a:lnTo>
                    <a:pt x="1219" y="8937"/>
                  </a:lnTo>
                  <a:lnTo>
                    <a:pt x="1178" y="8647"/>
                  </a:lnTo>
                  <a:lnTo>
                    <a:pt x="1142" y="8357"/>
                  </a:lnTo>
                  <a:lnTo>
                    <a:pt x="1110" y="8068"/>
                  </a:lnTo>
                  <a:lnTo>
                    <a:pt x="1081" y="7778"/>
                  </a:lnTo>
                  <a:lnTo>
                    <a:pt x="1057" y="7488"/>
                  </a:lnTo>
                  <a:lnTo>
                    <a:pt x="1038" y="7197"/>
                  </a:lnTo>
                  <a:lnTo>
                    <a:pt x="1023" y="6908"/>
                  </a:lnTo>
                  <a:lnTo>
                    <a:pt x="1012" y="6618"/>
                  </a:lnTo>
                  <a:lnTo>
                    <a:pt x="1006" y="6328"/>
                  </a:lnTo>
                  <a:lnTo>
                    <a:pt x="1004" y="6038"/>
                  </a:lnTo>
                  <a:lnTo>
                    <a:pt x="1006" y="5749"/>
                  </a:lnTo>
                  <a:lnTo>
                    <a:pt x="1012" y="5459"/>
                  </a:lnTo>
                  <a:lnTo>
                    <a:pt x="1023" y="5169"/>
                  </a:lnTo>
                  <a:lnTo>
                    <a:pt x="1038" y="4878"/>
                  </a:lnTo>
                  <a:lnTo>
                    <a:pt x="1057" y="4589"/>
                  </a:lnTo>
                  <a:lnTo>
                    <a:pt x="1081" y="4299"/>
                  </a:lnTo>
                  <a:lnTo>
                    <a:pt x="1110" y="4009"/>
                  </a:lnTo>
                  <a:lnTo>
                    <a:pt x="1142" y="3719"/>
                  </a:lnTo>
                  <a:lnTo>
                    <a:pt x="1178" y="3430"/>
                  </a:lnTo>
                  <a:lnTo>
                    <a:pt x="1219" y="3140"/>
                  </a:lnTo>
                  <a:lnTo>
                    <a:pt x="1264" y="2850"/>
                  </a:lnTo>
                  <a:lnTo>
                    <a:pt x="1314" y="2560"/>
                  </a:lnTo>
                  <a:lnTo>
                    <a:pt x="1368" y="2270"/>
                  </a:lnTo>
                  <a:lnTo>
                    <a:pt x="1426" y="1980"/>
                  </a:lnTo>
                  <a:lnTo>
                    <a:pt x="1489" y="1690"/>
                  </a:lnTo>
                  <a:lnTo>
                    <a:pt x="1555" y="1400"/>
                  </a:lnTo>
                  <a:lnTo>
                    <a:pt x="1962" y="1353"/>
                  </a:lnTo>
                  <a:lnTo>
                    <a:pt x="2367" y="1308"/>
                  </a:lnTo>
                  <a:lnTo>
                    <a:pt x="2772" y="1267"/>
                  </a:lnTo>
                  <a:lnTo>
                    <a:pt x="3179" y="1228"/>
                  </a:lnTo>
                  <a:lnTo>
                    <a:pt x="3584" y="1192"/>
                  </a:lnTo>
                  <a:lnTo>
                    <a:pt x="3990" y="1160"/>
                  </a:lnTo>
                  <a:lnTo>
                    <a:pt x="4396" y="1131"/>
                  </a:lnTo>
                  <a:lnTo>
                    <a:pt x="4801" y="1105"/>
                  </a:lnTo>
                  <a:lnTo>
                    <a:pt x="5208" y="1082"/>
                  </a:lnTo>
                  <a:lnTo>
                    <a:pt x="5613" y="1061"/>
                  </a:lnTo>
                  <a:lnTo>
                    <a:pt x="6019" y="1045"/>
                  </a:lnTo>
                  <a:lnTo>
                    <a:pt x="6424" y="1031"/>
                  </a:lnTo>
                  <a:lnTo>
                    <a:pt x="6830" y="1020"/>
                  </a:lnTo>
                  <a:lnTo>
                    <a:pt x="7236" y="1013"/>
                  </a:lnTo>
                  <a:lnTo>
                    <a:pt x="7642" y="1008"/>
                  </a:lnTo>
                  <a:lnTo>
                    <a:pt x="8048" y="1006"/>
                  </a:lnTo>
                  <a:lnTo>
                    <a:pt x="8453" y="1008"/>
                  </a:lnTo>
                  <a:lnTo>
                    <a:pt x="8858" y="1013"/>
                  </a:lnTo>
                  <a:lnTo>
                    <a:pt x="9265" y="1020"/>
                  </a:lnTo>
                  <a:lnTo>
                    <a:pt x="9670" y="1031"/>
                  </a:lnTo>
                  <a:lnTo>
                    <a:pt x="10075" y="1045"/>
                  </a:lnTo>
                  <a:lnTo>
                    <a:pt x="10482" y="1061"/>
                  </a:lnTo>
                  <a:lnTo>
                    <a:pt x="10887" y="1082"/>
                  </a:lnTo>
                  <a:lnTo>
                    <a:pt x="11293" y="1105"/>
                  </a:lnTo>
                  <a:lnTo>
                    <a:pt x="11699" y="1131"/>
                  </a:lnTo>
                  <a:lnTo>
                    <a:pt x="12104" y="1160"/>
                  </a:lnTo>
                  <a:lnTo>
                    <a:pt x="12510" y="1192"/>
                  </a:lnTo>
                  <a:lnTo>
                    <a:pt x="12916" y="1228"/>
                  </a:lnTo>
                  <a:lnTo>
                    <a:pt x="13322" y="1267"/>
                  </a:lnTo>
                  <a:lnTo>
                    <a:pt x="13728" y="1308"/>
                  </a:lnTo>
                  <a:lnTo>
                    <a:pt x="14133" y="1353"/>
                  </a:lnTo>
                  <a:lnTo>
                    <a:pt x="14539" y="1400"/>
                  </a:lnTo>
                  <a:lnTo>
                    <a:pt x="14606" y="1690"/>
                  </a:lnTo>
                  <a:lnTo>
                    <a:pt x="14669" y="1980"/>
                  </a:lnTo>
                  <a:lnTo>
                    <a:pt x="14727" y="2270"/>
                  </a:lnTo>
                  <a:lnTo>
                    <a:pt x="14780" y="2560"/>
                  </a:lnTo>
                  <a:lnTo>
                    <a:pt x="14831" y="2850"/>
                  </a:lnTo>
                  <a:lnTo>
                    <a:pt x="14876" y="3140"/>
                  </a:lnTo>
                  <a:lnTo>
                    <a:pt x="14916" y="3430"/>
                  </a:lnTo>
                  <a:lnTo>
                    <a:pt x="14953" y="3719"/>
                  </a:lnTo>
                  <a:lnTo>
                    <a:pt x="14985" y="4009"/>
                  </a:lnTo>
                  <a:lnTo>
                    <a:pt x="15014" y="4299"/>
                  </a:lnTo>
                  <a:lnTo>
                    <a:pt x="15037" y="4589"/>
                  </a:lnTo>
                  <a:lnTo>
                    <a:pt x="15057" y="4878"/>
                  </a:lnTo>
                  <a:lnTo>
                    <a:pt x="15072" y="5169"/>
                  </a:lnTo>
                  <a:lnTo>
                    <a:pt x="15082" y="5459"/>
                  </a:lnTo>
                  <a:lnTo>
                    <a:pt x="15089" y="5749"/>
                  </a:lnTo>
                  <a:lnTo>
                    <a:pt x="15091" y="6038"/>
                  </a:lnTo>
                  <a:lnTo>
                    <a:pt x="15089" y="6328"/>
                  </a:lnTo>
                  <a:lnTo>
                    <a:pt x="15082" y="6618"/>
                  </a:lnTo>
                  <a:lnTo>
                    <a:pt x="15072" y="6908"/>
                  </a:lnTo>
                  <a:lnTo>
                    <a:pt x="15057" y="7197"/>
                  </a:lnTo>
                  <a:lnTo>
                    <a:pt x="15037" y="7488"/>
                  </a:lnTo>
                  <a:lnTo>
                    <a:pt x="15014" y="7778"/>
                  </a:lnTo>
                  <a:lnTo>
                    <a:pt x="14985" y="8068"/>
                  </a:lnTo>
                  <a:lnTo>
                    <a:pt x="14953" y="8357"/>
                  </a:lnTo>
                  <a:lnTo>
                    <a:pt x="14916" y="8647"/>
                  </a:lnTo>
                  <a:lnTo>
                    <a:pt x="14876" y="8937"/>
                  </a:lnTo>
                  <a:lnTo>
                    <a:pt x="14831" y="9227"/>
                  </a:lnTo>
                  <a:lnTo>
                    <a:pt x="14780" y="9516"/>
                  </a:lnTo>
                  <a:lnTo>
                    <a:pt x="14727" y="9807"/>
                  </a:lnTo>
                  <a:lnTo>
                    <a:pt x="14669" y="10097"/>
                  </a:lnTo>
                  <a:lnTo>
                    <a:pt x="14606" y="10387"/>
                  </a:lnTo>
                  <a:lnTo>
                    <a:pt x="14539" y="10677"/>
                  </a:lnTo>
                  <a:close/>
                  <a:moveTo>
                    <a:pt x="15518" y="1168"/>
                  </a:moveTo>
                  <a:lnTo>
                    <a:pt x="15508" y="1130"/>
                  </a:lnTo>
                  <a:lnTo>
                    <a:pt x="15496" y="1093"/>
                  </a:lnTo>
                  <a:lnTo>
                    <a:pt x="15483" y="1055"/>
                  </a:lnTo>
                  <a:lnTo>
                    <a:pt x="15470" y="1019"/>
                  </a:lnTo>
                  <a:lnTo>
                    <a:pt x="15454" y="984"/>
                  </a:lnTo>
                  <a:lnTo>
                    <a:pt x="15438" y="950"/>
                  </a:lnTo>
                  <a:lnTo>
                    <a:pt x="15420" y="916"/>
                  </a:lnTo>
                  <a:lnTo>
                    <a:pt x="15401" y="882"/>
                  </a:lnTo>
                  <a:lnTo>
                    <a:pt x="15381" y="850"/>
                  </a:lnTo>
                  <a:lnTo>
                    <a:pt x="15360" y="819"/>
                  </a:lnTo>
                  <a:lnTo>
                    <a:pt x="15338" y="789"/>
                  </a:lnTo>
                  <a:lnTo>
                    <a:pt x="15313" y="759"/>
                  </a:lnTo>
                  <a:lnTo>
                    <a:pt x="15289" y="730"/>
                  </a:lnTo>
                  <a:lnTo>
                    <a:pt x="15263" y="702"/>
                  </a:lnTo>
                  <a:lnTo>
                    <a:pt x="15237" y="676"/>
                  </a:lnTo>
                  <a:lnTo>
                    <a:pt x="15209" y="650"/>
                  </a:lnTo>
                  <a:lnTo>
                    <a:pt x="15181" y="626"/>
                  </a:lnTo>
                  <a:lnTo>
                    <a:pt x="15150" y="602"/>
                  </a:lnTo>
                  <a:lnTo>
                    <a:pt x="15120" y="580"/>
                  </a:lnTo>
                  <a:lnTo>
                    <a:pt x="15089" y="558"/>
                  </a:lnTo>
                  <a:lnTo>
                    <a:pt x="15057" y="538"/>
                  </a:lnTo>
                  <a:lnTo>
                    <a:pt x="15025" y="519"/>
                  </a:lnTo>
                  <a:lnTo>
                    <a:pt x="14990" y="502"/>
                  </a:lnTo>
                  <a:lnTo>
                    <a:pt x="14956" y="485"/>
                  </a:lnTo>
                  <a:lnTo>
                    <a:pt x="14922" y="470"/>
                  </a:lnTo>
                  <a:lnTo>
                    <a:pt x="14886" y="456"/>
                  </a:lnTo>
                  <a:lnTo>
                    <a:pt x="14850" y="444"/>
                  </a:lnTo>
                  <a:lnTo>
                    <a:pt x="14813" y="433"/>
                  </a:lnTo>
                  <a:lnTo>
                    <a:pt x="14775" y="423"/>
                  </a:lnTo>
                  <a:lnTo>
                    <a:pt x="14738" y="415"/>
                  </a:lnTo>
                  <a:lnTo>
                    <a:pt x="14699" y="407"/>
                  </a:lnTo>
                  <a:lnTo>
                    <a:pt x="14661" y="401"/>
                  </a:lnTo>
                  <a:lnTo>
                    <a:pt x="14454" y="377"/>
                  </a:lnTo>
                  <a:lnTo>
                    <a:pt x="14248" y="353"/>
                  </a:lnTo>
                  <a:lnTo>
                    <a:pt x="14043" y="330"/>
                  </a:lnTo>
                  <a:lnTo>
                    <a:pt x="13837" y="308"/>
                  </a:lnTo>
                  <a:lnTo>
                    <a:pt x="13629" y="287"/>
                  </a:lnTo>
                  <a:lnTo>
                    <a:pt x="13423" y="266"/>
                  </a:lnTo>
                  <a:lnTo>
                    <a:pt x="13217" y="245"/>
                  </a:lnTo>
                  <a:lnTo>
                    <a:pt x="13010" y="226"/>
                  </a:lnTo>
                  <a:lnTo>
                    <a:pt x="12804" y="208"/>
                  </a:lnTo>
                  <a:lnTo>
                    <a:pt x="12596" y="190"/>
                  </a:lnTo>
                  <a:lnTo>
                    <a:pt x="12389" y="174"/>
                  </a:lnTo>
                  <a:lnTo>
                    <a:pt x="12183" y="158"/>
                  </a:lnTo>
                  <a:lnTo>
                    <a:pt x="11976" y="142"/>
                  </a:lnTo>
                  <a:lnTo>
                    <a:pt x="11768" y="128"/>
                  </a:lnTo>
                  <a:lnTo>
                    <a:pt x="11561" y="114"/>
                  </a:lnTo>
                  <a:lnTo>
                    <a:pt x="11354" y="101"/>
                  </a:lnTo>
                  <a:lnTo>
                    <a:pt x="11147" y="89"/>
                  </a:lnTo>
                  <a:lnTo>
                    <a:pt x="10940" y="77"/>
                  </a:lnTo>
                  <a:lnTo>
                    <a:pt x="10732" y="66"/>
                  </a:lnTo>
                  <a:lnTo>
                    <a:pt x="10526" y="57"/>
                  </a:lnTo>
                  <a:lnTo>
                    <a:pt x="10319" y="48"/>
                  </a:lnTo>
                  <a:lnTo>
                    <a:pt x="10112" y="39"/>
                  </a:lnTo>
                  <a:lnTo>
                    <a:pt x="9904" y="32"/>
                  </a:lnTo>
                  <a:lnTo>
                    <a:pt x="9698" y="25"/>
                  </a:lnTo>
                  <a:lnTo>
                    <a:pt x="9491" y="19"/>
                  </a:lnTo>
                  <a:lnTo>
                    <a:pt x="9285" y="14"/>
                  </a:lnTo>
                  <a:lnTo>
                    <a:pt x="9078" y="10"/>
                  </a:lnTo>
                  <a:lnTo>
                    <a:pt x="8871" y="6"/>
                  </a:lnTo>
                  <a:lnTo>
                    <a:pt x="8665" y="4"/>
                  </a:lnTo>
                  <a:lnTo>
                    <a:pt x="8459" y="2"/>
                  </a:lnTo>
                  <a:lnTo>
                    <a:pt x="8254" y="0"/>
                  </a:lnTo>
                  <a:lnTo>
                    <a:pt x="8048" y="0"/>
                  </a:lnTo>
                  <a:lnTo>
                    <a:pt x="7841" y="0"/>
                  </a:lnTo>
                  <a:lnTo>
                    <a:pt x="7636" y="2"/>
                  </a:lnTo>
                  <a:lnTo>
                    <a:pt x="7430" y="4"/>
                  </a:lnTo>
                  <a:lnTo>
                    <a:pt x="7224" y="6"/>
                  </a:lnTo>
                  <a:lnTo>
                    <a:pt x="7016" y="10"/>
                  </a:lnTo>
                  <a:lnTo>
                    <a:pt x="6810" y="14"/>
                  </a:lnTo>
                  <a:lnTo>
                    <a:pt x="6604" y="19"/>
                  </a:lnTo>
                  <a:lnTo>
                    <a:pt x="6397" y="25"/>
                  </a:lnTo>
                  <a:lnTo>
                    <a:pt x="6190" y="32"/>
                  </a:lnTo>
                  <a:lnTo>
                    <a:pt x="5983" y="39"/>
                  </a:lnTo>
                  <a:lnTo>
                    <a:pt x="5776" y="48"/>
                  </a:lnTo>
                  <a:lnTo>
                    <a:pt x="5569" y="57"/>
                  </a:lnTo>
                  <a:lnTo>
                    <a:pt x="5362" y="66"/>
                  </a:lnTo>
                  <a:lnTo>
                    <a:pt x="5154" y="77"/>
                  </a:lnTo>
                  <a:lnTo>
                    <a:pt x="4948" y="89"/>
                  </a:lnTo>
                  <a:lnTo>
                    <a:pt x="4741" y="101"/>
                  </a:lnTo>
                  <a:lnTo>
                    <a:pt x="4534" y="114"/>
                  </a:lnTo>
                  <a:lnTo>
                    <a:pt x="4327" y="128"/>
                  </a:lnTo>
                  <a:lnTo>
                    <a:pt x="4119" y="142"/>
                  </a:lnTo>
                  <a:lnTo>
                    <a:pt x="3912" y="158"/>
                  </a:lnTo>
                  <a:lnTo>
                    <a:pt x="3705" y="174"/>
                  </a:lnTo>
                  <a:lnTo>
                    <a:pt x="3498" y="190"/>
                  </a:lnTo>
                  <a:lnTo>
                    <a:pt x="3291" y="208"/>
                  </a:lnTo>
                  <a:lnTo>
                    <a:pt x="3084" y="226"/>
                  </a:lnTo>
                  <a:lnTo>
                    <a:pt x="2878" y="245"/>
                  </a:lnTo>
                  <a:lnTo>
                    <a:pt x="2671" y="266"/>
                  </a:lnTo>
                  <a:lnTo>
                    <a:pt x="2465" y="287"/>
                  </a:lnTo>
                  <a:lnTo>
                    <a:pt x="2258" y="308"/>
                  </a:lnTo>
                  <a:lnTo>
                    <a:pt x="2052" y="330"/>
                  </a:lnTo>
                  <a:lnTo>
                    <a:pt x="1846" y="353"/>
                  </a:lnTo>
                  <a:lnTo>
                    <a:pt x="1640" y="377"/>
                  </a:lnTo>
                  <a:lnTo>
                    <a:pt x="1434" y="401"/>
                  </a:lnTo>
                  <a:lnTo>
                    <a:pt x="1395" y="407"/>
                  </a:lnTo>
                  <a:lnTo>
                    <a:pt x="1357" y="415"/>
                  </a:lnTo>
                  <a:lnTo>
                    <a:pt x="1319" y="423"/>
                  </a:lnTo>
                  <a:lnTo>
                    <a:pt x="1282" y="433"/>
                  </a:lnTo>
                  <a:lnTo>
                    <a:pt x="1244" y="444"/>
                  </a:lnTo>
                  <a:lnTo>
                    <a:pt x="1208" y="456"/>
                  </a:lnTo>
                  <a:lnTo>
                    <a:pt x="1173" y="470"/>
                  </a:lnTo>
                  <a:lnTo>
                    <a:pt x="1138" y="485"/>
                  </a:lnTo>
                  <a:lnTo>
                    <a:pt x="1104" y="502"/>
                  </a:lnTo>
                  <a:lnTo>
                    <a:pt x="1070" y="519"/>
                  </a:lnTo>
                  <a:lnTo>
                    <a:pt x="1037" y="538"/>
                  </a:lnTo>
                  <a:lnTo>
                    <a:pt x="1005" y="558"/>
                  </a:lnTo>
                  <a:lnTo>
                    <a:pt x="974" y="580"/>
                  </a:lnTo>
                  <a:lnTo>
                    <a:pt x="944" y="602"/>
                  </a:lnTo>
                  <a:lnTo>
                    <a:pt x="914" y="626"/>
                  </a:lnTo>
                  <a:lnTo>
                    <a:pt x="885" y="650"/>
                  </a:lnTo>
                  <a:lnTo>
                    <a:pt x="858" y="676"/>
                  </a:lnTo>
                  <a:lnTo>
                    <a:pt x="831" y="702"/>
                  </a:lnTo>
                  <a:lnTo>
                    <a:pt x="806" y="730"/>
                  </a:lnTo>
                  <a:lnTo>
                    <a:pt x="781" y="759"/>
                  </a:lnTo>
                  <a:lnTo>
                    <a:pt x="757" y="789"/>
                  </a:lnTo>
                  <a:lnTo>
                    <a:pt x="734" y="819"/>
                  </a:lnTo>
                  <a:lnTo>
                    <a:pt x="713" y="850"/>
                  </a:lnTo>
                  <a:lnTo>
                    <a:pt x="693" y="882"/>
                  </a:lnTo>
                  <a:lnTo>
                    <a:pt x="674" y="916"/>
                  </a:lnTo>
                  <a:lnTo>
                    <a:pt x="657" y="950"/>
                  </a:lnTo>
                  <a:lnTo>
                    <a:pt x="640" y="984"/>
                  </a:lnTo>
                  <a:lnTo>
                    <a:pt x="625" y="1019"/>
                  </a:lnTo>
                  <a:lnTo>
                    <a:pt x="611" y="1055"/>
                  </a:lnTo>
                  <a:lnTo>
                    <a:pt x="599" y="1093"/>
                  </a:lnTo>
                  <a:lnTo>
                    <a:pt x="586" y="1130"/>
                  </a:lnTo>
                  <a:lnTo>
                    <a:pt x="577" y="1168"/>
                  </a:lnTo>
                  <a:lnTo>
                    <a:pt x="507" y="1471"/>
                  </a:lnTo>
                  <a:lnTo>
                    <a:pt x="442" y="1775"/>
                  </a:lnTo>
                  <a:lnTo>
                    <a:pt x="381" y="2078"/>
                  </a:lnTo>
                  <a:lnTo>
                    <a:pt x="325" y="2381"/>
                  </a:lnTo>
                  <a:lnTo>
                    <a:pt x="273" y="2686"/>
                  </a:lnTo>
                  <a:lnTo>
                    <a:pt x="225" y="2990"/>
                  </a:lnTo>
                  <a:lnTo>
                    <a:pt x="183" y="3294"/>
                  </a:lnTo>
                  <a:lnTo>
                    <a:pt x="145" y="3599"/>
                  </a:lnTo>
                  <a:lnTo>
                    <a:pt x="111" y="3904"/>
                  </a:lnTo>
                  <a:lnTo>
                    <a:pt x="81" y="4208"/>
                  </a:lnTo>
                  <a:lnTo>
                    <a:pt x="56" y="4513"/>
                  </a:lnTo>
                  <a:lnTo>
                    <a:pt x="36" y="4818"/>
                  </a:lnTo>
                  <a:lnTo>
                    <a:pt x="20" y="5123"/>
                  </a:lnTo>
                  <a:lnTo>
                    <a:pt x="9" y="5428"/>
                  </a:lnTo>
                  <a:lnTo>
                    <a:pt x="2" y="5734"/>
                  </a:lnTo>
                  <a:lnTo>
                    <a:pt x="0" y="6038"/>
                  </a:lnTo>
                  <a:lnTo>
                    <a:pt x="2" y="6343"/>
                  </a:lnTo>
                  <a:lnTo>
                    <a:pt x="9" y="6649"/>
                  </a:lnTo>
                  <a:lnTo>
                    <a:pt x="20" y="6954"/>
                  </a:lnTo>
                  <a:lnTo>
                    <a:pt x="36" y="7259"/>
                  </a:lnTo>
                  <a:lnTo>
                    <a:pt x="56" y="7564"/>
                  </a:lnTo>
                  <a:lnTo>
                    <a:pt x="81" y="7869"/>
                  </a:lnTo>
                  <a:lnTo>
                    <a:pt x="111" y="8173"/>
                  </a:lnTo>
                  <a:lnTo>
                    <a:pt x="145" y="8478"/>
                  </a:lnTo>
                  <a:lnTo>
                    <a:pt x="183" y="8783"/>
                  </a:lnTo>
                  <a:lnTo>
                    <a:pt x="225" y="9087"/>
                  </a:lnTo>
                  <a:lnTo>
                    <a:pt x="273" y="9392"/>
                  </a:lnTo>
                  <a:lnTo>
                    <a:pt x="325" y="9696"/>
                  </a:lnTo>
                  <a:lnTo>
                    <a:pt x="381" y="9999"/>
                  </a:lnTo>
                  <a:lnTo>
                    <a:pt x="442" y="10303"/>
                  </a:lnTo>
                  <a:lnTo>
                    <a:pt x="507" y="10606"/>
                  </a:lnTo>
                  <a:lnTo>
                    <a:pt x="577" y="10910"/>
                  </a:lnTo>
                  <a:lnTo>
                    <a:pt x="586" y="10947"/>
                  </a:lnTo>
                  <a:lnTo>
                    <a:pt x="599" y="10985"/>
                  </a:lnTo>
                  <a:lnTo>
                    <a:pt x="611" y="11022"/>
                  </a:lnTo>
                  <a:lnTo>
                    <a:pt x="625" y="11058"/>
                  </a:lnTo>
                  <a:lnTo>
                    <a:pt x="640" y="11093"/>
                  </a:lnTo>
                  <a:lnTo>
                    <a:pt x="657" y="11128"/>
                  </a:lnTo>
                  <a:lnTo>
                    <a:pt x="674" y="11161"/>
                  </a:lnTo>
                  <a:lnTo>
                    <a:pt x="693" y="11195"/>
                  </a:lnTo>
                  <a:lnTo>
                    <a:pt x="713" y="11227"/>
                  </a:lnTo>
                  <a:lnTo>
                    <a:pt x="734" y="11258"/>
                  </a:lnTo>
                  <a:lnTo>
                    <a:pt x="757" y="11289"/>
                  </a:lnTo>
                  <a:lnTo>
                    <a:pt x="781" y="11318"/>
                  </a:lnTo>
                  <a:lnTo>
                    <a:pt x="806" y="11348"/>
                  </a:lnTo>
                  <a:lnTo>
                    <a:pt x="831" y="11375"/>
                  </a:lnTo>
                  <a:lnTo>
                    <a:pt x="858" y="11402"/>
                  </a:lnTo>
                  <a:lnTo>
                    <a:pt x="885" y="11427"/>
                  </a:lnTo>
                  <a:lnTo>
                    <a:pt x="914" y="11451"/>
                  </a:lnTo>
                  <a:lnTo>
                    <a:pt x="944" y="11475"/>
                  </a:lnTo>
                  <a:lnTo>
                    <a:pt x="974" y="11497"/>
                  </a:lnTo>
                  <a:lnTo>
                    <a:pt x="1005" y="11519"/>
                  </a:lnTo>
                  <a:lnTo>
                    <a:pt x="1037" y="11539"/>
                  </a:lnTo>
                  <a:lnTo>
                    <a:pt x="1070" y="11558"/>
                  </a:lnTo>
                  <a:lnTo>
                    <a:pt x="1104" y="11576"/>
                  </a:lnTo>
                  <a:lnTo>
                    <a:pt x="1138" y="11592"/>
                  </a:lnTo>
                  <a:lnTo>
                    <a:pt x="1173" y="11607"/>
                  </a:lnTo>
                  <a:lnTo>
                    <a:pt x="1208" y="11621"/>
                  </a:lnTo>
                  <a:lnTo>
                    <a:pt x="1244" y="11633"/>
                  </a:lnTo>
                  <a:lnTo>
                    <a:pt x="1282" y="11644"/>
                  </a:lnTo>
                  <a:lnTo>
                    <a:pt x="1319" y="11654"/>
                  </a:lnTo>
                  <a:lnTo>
                    <a:pt x="1357" y="11662"/>
                  </a:lnTo>
                  <a:lnTo>
                    <a:pt x="1395" y="11669"/>
                  </a:lnTo>
                  <a:lnTo>
                    <a:pt x="1434" y="11676"/>
                  </a:lnTo>
                  <a:lnTo>
                    <a:pt x="1633" y="11699"/>
                  </a:lnTo>
                  <a:lnTo>
                    <a:pt x="1831" y="11722"/>
                  </a:lnTo>
                  <a:lnTo>
                    <a:pt x="2030" y="11744"/>
                  </a:lnTo>
                  <a:lnTo>
                    <a:pt x="2228" y="11765"/>
                  </a:lnTo>
                  <a:lnTo>
                    <a:pt x="2427" y="11786"/>
                  </a:lnTo>
                  <a:lnTo>
                    <a:pt x="2627" y="11805"/>
                  </a:lnTo>
                  <a:lnTo>
                    <a:pt x="2826" y="11824"/>
                  </a:lnTo>
                  <a:lnTo>
                    <a:pt x="3025" y="11844"/>
                  </a:lnTo>
                  <a:lnTo>
                    <a:pt x="3224" y="11861"/>
                  </a:lnTo>
                  <a:lnTo>
                    <a:pt x="3423" y="11878"/>
                  </a:lnTo>
                  <a:lnTo>
                    <a:pt x="3622" y="11894"/>
                  </a:lnTo>
                  <a:lnTo>
                    <a:pt x="3822" y="11910"/>
                  </a:lnTo>
                  <a:lnTo>
                    <a:pt x="4021" y="11924"/>
                  </a:lnTo>
                  <a:lnTo>
                    <a:pt x="4221" y="11939"/>
                  </a:lnTo>
                  <a:lnTo>
                    <a:pt x="4420" y="11952"/>
                  </a:lnTo>
                  <a:lnTo>
                    <a:pt x="4619" y="11965"/>
                  </a:lnTo>
                  <a:lnTo>
                    <a:pt x="4599" y="11978"/>
                  </a:lnTo>
                  <a:lnTo>
                    <a:pt x="4581" y="11992"/>
                  </a:lnTo>
                  <a:lnTo>
                    <a:pt x="4565" y="12007"/>
                  </a:lnTo>
                  <a:lnTo>
                    <a:pt x="4551" y="12021"/>
                  </a:lnTo>
                  <a:lnTo>
                    <a:pt x="4546" y="12028"/>
                  </a:lnTo>
                  <a:lnTo>
                    <a:pt x="4540" y="12035"/>
                  </a:lnTo>
                  <a:lnTo>
                    <a:pt x="4536" y="12042"/>
                  </a:lnTo>
                  <a:lnTo>
                    <a:pt x="4533" y="12049"/>
                  </a:lnTo>
                  <a:lnTo>
                    <a:pt x="4530" y="12056"/>
                  </a:lnTo>
                  <a:lnTo>
                    <a:pt x="4528" y="12063"/>
                  </a:lnTo>
                  <a:lnTo>
                    <a:pt x="4526" y="12070"/>
                  </a:lnTo>
                  <a:lnTo>
                    <a:pt x="4526" y="12077"/>
                  </a:lnTo>
                  <a:lnTo>
                    <a:pt x="4531" y="12103"/>
                  </a:lnTo>
                  <a:lnTo>
                    <a:pt x="4544" y="12128"/>
                  </a:lnTo>
                  <a:lnTo>
                    <a:pt x="4566" y="12153"/>
                  </a:lnTo>
                  <a:lnTo>
                    <a:pt x="4597" y="12179"/>
                  </a:lnTo>
                  <a:lnTo>
                    <a:pt x="4636" y="12203"/>
                  </a:lnTo>
                  <a:lnTo>
                    <a:pt x="4684" y="12227"/>
                  </a:lnTo>
                  <a:lnTo>
                    <a:pt x="4739" y="12250"/>
                  </a:lnTo>
                  <a:lnTo>
                    <a:pt x="4802" y="12273"/>
                  </a:lnTo>
                  <a:lnTo>
                    <a:pt x="4873" y="12295"/>
                  </a:lnTo>
                  <a:lnTo>
                    <a:pt x="4950" y="12316"/>
                  </a:lnTo>
                  <a:lnTo>
                    <a:pt x="5036" y="12338"/>
                  </a:lnTo>
                  <a:lnTo>
                    <a:pt x="5127" y="12359"/>
                  </a:lnTo>
                  <a:lnTo>
                    <a:pt x="5225" y="12378"/>
                  </a:lnTo>
                  <a:lnTo>
                    <a:pt x="5329" y="12397"/>
                  </a:lnTo>
                  <a:lnTo>
                    <a:pt x="5440" y="12415"/>
                  </a:lnTo>
                  <a:lnTo>
                    <a:pt x="5557" y="12433"/>
                  </a:lnTo>
                  <a:lnTo>
                    <a:pt x="5680" y="12449"/>
                  </a:lnTo>
                  <a:lnTo>
                    <a:pt x="5807" y="12465"/>
                  </a:lnTo>
                  <a:lnTo>
                    <a:pt x="5940" y="12480"/>
                  </a:lnTo>
                  <a:lnTo>
                    <a:pt x="6078" y="12494"/>
                  </a:lnTo>
                  <a:lnTo>
                    <a:pt x="6221" y="12508"/>
                  </a:lnTo>
                  <a:lnTo>
                    <a:pt x="6369" y="12520"/>
                  </a:lnTo>
                  <a:lnTo>
                    <a:pt x="6520" y="12531"/>
                  </a:lnTo>
                  <a:lnTo>
                    <a:pt x="6676" y="12541"/>
                  </a:lnTo>
                  <a:lnTo>
                    <a:pt x="6836" y="12550"/>
                  </a:lnTo>
                  <a:lnTo>
                    <a:pt x="7000" y="12558"/>
                  </a:lnTo>
                  <a:lnTo>
                    <a:pt x="7167" y="12564"/>
                  </a:lnTo>
                  <a:lnTo>
                    <a:pt x="7337" y="12570"/>
                  </a:lnTo>
                  <a:lnTo>
                    <a:pt x="7511" y="12574"/>
                  </a:lnTo>
                  <a:lnTo>
                    <a:pt x="7687" y="12577"/>
                  </a:lnTo>
                  <a:lnTo>
                    <a:pt x="7866" y="12579"/>
                  </a:lnTo>
                  <a:lnTo>
                    <a:pt x="8048" y="12580"/>
                  </a:lnTo>
                  <a:lnTo>
                    <a:pt x="8229" y="12579"/>
                  </a:lnTo>
                  <a:lnTo>
                    <a:pt x="8408" y="12577"/>
                  </a:lnTo>
                  <a:lnTo>
                    <a:pt x="8584" y="12574"/>
                  </a:lnTo>
                  <a:lnTo>
                    <a:pt x="8758" y="12570"/>
                  </a:lnTo>
                  <a:lnTo>
                    <a:pt x="8928" y="12564"/>
                  </a:lnTo>
                  <a:lnTo>
                    <a:pt x="9095" y="12558"/>
                  </a:lnTo>
                  <a:lnTo>
                    <a:pt x="9259" y="12550"/>
                  </a:lnTo>
                  <a:lnTo>
                    <a:pt x="9419" y="12541"/>
                  </a:lnTo>
                  <a:lnTo>
                    <a:pt x="9575" y="12531"/>
                  </a:lnTo>
                  <a:lnTo>
                    <a:pt x="9726" y="12520"/>
                  </a:lnTo>
                  <a:lnTo>
                    <a:pt x="9874" y="12508"/>
                  </a:lnTo>
                  <a:lnTo>
                    <a:pt x="10017" y="12494"/>
                  </a:lnTo>
                  <a:lnTo>
                    <a:pt x="10155" y="12480"/>
                  </a:lnTo>
                  <a:lnTo>
                    <a:pt x="10288" y="12465"/>
                  </a:lnTo>
                  <a:lnTo>
                    <a:pt x="10415" y="12449"/>
                  </a:lnTo>
                  <a:lnTo>
                    <a:pt x="10538" y="12433"/>
                  </a:lnTo>
                  <a:lnTo>
                    <a:pt x="10655" y="12415"/>
                  </a:lnTo>
                  <a:lnTo>
                    <a:pt x="10766" y="12397"/>
                  </a:lnTo>
                  <a:lnTo>
                    <a:pt x="10870" y="12378"/>
                  </a:lnTo>
                  <a:lnTo>
                    <a:pt x="10968" y="12359"/>
                  </a:lnTo>
                  <a:lnTo>
                    <a:pt x="11059" y="12338"/>
                  </a:lnTo>
                  <a:lnTo>
                    <a:pt x="11145" y="12316"/>
                  </a:lnTo>
                  <a:lnTo>
                    <a:pt x="11222" y="12295"/>
                  </a:lnTo>
                  <a:lnTo>
                    <a:pt x="11293" y="12273"/>
                  </a:lnTo>
                  <a:lnTo>
                    <a:pt x="11356" y="12250"/>
                  </a:lnTo>
                  <a:lnTo>
                    <a:pt x="11411" y="12227"/>
                  </a:lnTo>
                  <a:lnTo>
                    <a:pt x="11459" y="12203"/>
                  </a:lnTo>
                  <a:lnTo>
                    <a:pt x="11498" y="12179"/>
                  </a:lnTo>
                  <a:lnTo>
                    <a:pt x="11529" y="12153"/>
                  </a:lnTo>
                  <a:lnTo>
                    <a:pt x="11551" y="12128"/>
                  </a:lnTo>
                  <a:lnTo>
                    <a:pt x="11565" y="12103"/>
                  </a:lnTo>
                  <a:lnTo>
                    <a:pt x="11569" y="12077"/>
                  </a:lnTo>
                  <a:lnTo>
                    <a:pt x="11569" y="12070"/>
                  </a:lnTo>
                  <a:lnTo>
                    <a:pt x="11568" y="12063"/>
                  </a:lnTo>
                  <a:lnTo>
                    <a:pt x="11565" y="12056"/>
                  </a:lnTo>
                  <a:lnTo>
                    <a:pt x="11563" y="12049"/>
                  </a:lnTo>
                  <a:lnTo>
                    <a:pt x="11559" y="12042"/>
                  </a:lnTo>
                  <a:lnTo>
                    <a:pt x="11554" y="12035"/>
                  </a:lnTo>
                  <a:lnTo>
                    <a:pt x="11549" y="12028"/>
                  </a:lnTo>
                  <a:lnTo>
                    <a:pt x="11544" y="12021"/>
                  </a:lnTo>
                  <a:lnTo>
                    <a:pt x="11530" y="12007"/>
                  </a:lnTo>
                  <a:lnTo>
                    <a:pt x="11514" y="11992"/>
                  </a:lnTo>
                  <a:lnTo>
                    <a:pt x="11496" y="11978"/>
                  </a:lnTo>
                  <a:lnTo>
                    <a:pt x="11475" y="11965"/>
                  </a:lnTo>
                  <a:lnTo>
                    <a:pt x="11674" y="11952"/>
                  </a:lnTo>
                  <a:lnTo>
                    <a:pt x="11874" y="11939"/>
                  </a:lnTo>
                  <a:lnTo>
                    <a:pt x="12073" y="11924"/>
                  </a:lnTo>
                  <a:lnTo>
                    <a:pt x="12272" y="11910"/>
                  </a:lnTo>
                  <a:lnTo>
                    <a:pt x="12473" y="11894"/>
                  </a:lnTo>
                  <a:lnTo>
                    <a:pt x="12672" y="11878"/>
                  </a:lnTo>
                  <a:lnTo>
                    <a:pt x="12871" y="11861"/>
                  </a:lnTo>
                  <a:lnTo>
                    <a:pt x="13070" y="11844"/>
                  </a:lnTo>
                  <a:lnTo>
                    <a:pt x="13269" y="11824"/>
                  </a:lnTo>
                  <a:lnTo>
                    <a:pt x="13468" y="11805"/>
                  </a:lnTo>
                  <a:lnTo>
                    <a:pt x="13668" y="11786"/>
                  </a:lnTo>
                  <a:lnTo>
                    <a:pt x="13867" y="11765"/>
                  </a:lnTo>
                  <a:lnTo>
                    <a:pt x="14065" y="11744"/>
                  </a:lnTo>
                  <a:lnTo>
                    <a:pt x="14263" y="11722"/>
                  </a:lnTo>
                  <a:lnTo>
                    <a:pt x="14462" y="11699"/>
                  </a:lnTo>
                  <a:lnTo>
                    <a:pt x="14661" y="11676"/>
                  </a:lnTo>
                  <a:lnTo>
                    <a:pt x="14699" y="11669"/>
                  </a:lnTo>
                  <a:lnTo>
                    <a:pt x="14738" y="11662"/>
                  </a:lnTo>
                  <a:lnTo>
                    <a:pt x="14775" y="11654"/>
                  </a:lnTo>
                  <a:lnTo>
                    <a:pt x="14813" y="11644"/>
                  </a:lnTo>
                  <a:lnTo>
                    <a:pt x="14850" y="11633"/>
                  </a:lnTo>
                  <a:lnTo>
                    <a:pt x="14886" y="11621"/>
                  </a:lnTo>
                  <a:lnTo>
                    <a:pt x="14922" y="11607"/>
                  </a:lnTo>
                  <a:lnTo>
                    <a:pt x="14956" y="11592"/>
                  </a:lnTo>
                  <a:lnTo>
                    <a:pt x="14990" y="11576"/>
                  </a:lnTo>
                  <a:lnTo>
                    <a:pt x="15025" y="11558"/>
                  </a:lnTo>
                  <a:lnTo>
                    <a:pt x="15057" y="11539"/>
                  </a:lnTo>
                  <a:lnTo>
                    <a:pt x="15089" y="11519"/>
                  </a:lnTo>
                  <a:lnTo>
                    <a:pt x="15120" y="11497"/>
                  </a:lnTo>
                  <a:lnTo>
                    <a:pt x="15150" y="11475"/>
                  </a:lnTo>
                  <a:lnTo>
                    <a:pt x="15181" y="11451"/>
                  </a:lnTo>
                  <a:lnTo>
                    <a:pt x="15209" y="11427"/>
                  </a:lnTo>
                  <a:lnTo>
                    <a:pt x="15237" y="11402"/>
                  </a:lnTo>
                  <a:lnTo>
                    <a:pt x="15263" y="11375"/>
                  </a:lnTo>
                  <a:lnTo>
                    <a:pt x="15289" y="11348"/>
                  </a:lnTo>
                  <a:lnTo>
                    <a:pt x="15313" y="11318"/>
                  </a:lnTo>
                  <a:lnTo>
                    <a:pt x="15338" y="11289"/>
                  </a:lnTo>
                  <a:lnTo>
                    <a:pt x="15360" y="11258"/>
                  </a:lnTo>
                  <a:lnTo>
                    <a:pt x="15381" y="11227"/>
                  </a:lnTo>
                  <a:lnTo>
                    <a:pt x="15401" y="11195"/>
                  </a:lnTo>
                  <a:lnTo>
                    <a:pt x="15420" y="11161"/>
                  </a:lnTo>
                  <a:lnTo>
                    <a:pt x="15438" y="11128"/>
                  </a:lnTo>
                  <a:lnTo>
                    <a:pt x="15454" y="11093"/>
                  </a:lnTo>
                  <a:lnTo>
                    <a:pt x="15470" y="11058"/>
                  </a:lnTo>
                  <a:lnTo>
                    <a:pt x="15483" y="11022"/>
                  </a:lnTo>
                  <a:lnTo>
                    <a:pt x="15496" y="10985"/>
                  </a:lnTo>
                  <a:lnTo>
                    <a:pt x="15508" y="10947"/>
                  </a:lnTo>
                  <a:lnTo>
                    <a:pt x="15518" y="10910"/>
                  </a:lnTo>
                  <a:lnTo>
                    <a:pt x="15587" y="10606"/>
                  </a:lnTo>
                  <a:lnTo>
                    <a:pt x="15652" y="10303"/>
                  </a:lnTo>
                  <a:lnTo>
                    <a:pt x="15714" y="9999"/>
                  </a:lnTo>
                  <a:lnTo>
                    <a:pt x="15770" y="9696"/>
                  </a:lnTo>
                  <a:lnTo>
                    <a:pt x="15822" y="9392"/>
                  </a:lnTo>
                  <a:lnTo>
                    <a:pt x="15870" y="9087"/>
                  </a:lnTo>
                  <a:lnTo>
                    <a:pt x="15912" y="8783"/>
                  </a:lnTo>
                  <a:lnTo>
                    <a:pt x="15950" y="8478"/>
                  </a:lnTo>
                  <a:lnTo>
                    <a:pt x="15984" y="8173"/>
                  </a:lnTo>
                  <a:lnTo>
                    <a:pt x="16014" y="7869"/>
                  </a:lnTo>
                  <a:lnTo>
                    <a:pt x="16039" y="7564"/>
                  </a:lnTo>
                  <a:lnTo>
                    <a:pt x="16059" y="7259"/>
                  </a:lnTo>
                  <a:lnTo>
                    <a:pt x="16075" y="6954"/>
                  </a:lnTo>
                  <a:lnTo>
                    <a:pt x="16086" y="6649"/>
                  </a:lnTo>
                  <a:lnTo>
                    <a:pt x="16093" y="6343"/>
                  </a:lnTo>
                  <a:lnTo>
                    <a:pt x="16095" y="6038"/>
                  </a:lnTo>
                  <a:lnTo>
                    <a:pt x="16093" y="5734"/>
                  </a:lnTo>
                  <a:lnTo>
                    <a:pt x="16086" y="5428"/>
                  </a:lnTo>
                  <a:lnTo>
                    <a:pt x="16075" y="5123"/>
                  </a:lnTo>
                  <a:lnTo>
                    <a:pt x="16059" y="4818"/>
                  </a:lnTo>
                  <a:lnTo>
                    <a:pt x="16039" y="4513"/>
                  </a:lnTo>
                  <a:lnTo>
                    <a:pt x="16014" y="4208"/>
                  </a:lnTo>
                  <a:lnTo>
                    <a:pt x="15984" y="3904"/>
                  </a:lnTo>
                  <a:lnTo>
                    <a:pt x="15950" y="3599"/>
                  </a:lnTo>
                  <a:lnTo>
                    <a:pt x="15912" y="3294"/>
                  </a:lnTo>
                  <a:lnTo>
                    <a:pt x="15870" y="2990"/>
                  </a:lnTo>
                  <a:lnTo>
                    <a:pt x="15822" y="2686"/>
                  </a:lnTo>
                  <a:lnTo>
                    <a:pt x="15770" y="2381"/>
                  </a:lnTo>
                  <a:lnTo>
                    <a:pt x="15714" y="2078"/>
                  </a:lnTo>
                  <a:lnTo>
                    <a:pt x="15652" y="1775"/>
                  </a:lnTo>
                  <a:lnTo>
                    <a:pt x="15587" y="1471"/>
                  </a:lnTo>
                  <a:lnTo>
                    <a:pt x="15518" y="1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4" name="íSḻïḓé">
              <a:extLst>
                <a:ext uri="{FF2B5EF4-FFF2-40B4-BE49-F238E27FC236}">
                  <a16:creationId xmlns:a16="http://schemas.microsoft.com/office/drawing/2014/main" id="{E6146C03-EE53-4A22-923F-724BFDD49681}"/>
                </a:ext>
              </a:extLst>
            </p:cNvPr>
            <p:cNvSpPr/>
            <p:nvPr/>
          </p:nvSpPr>
          <p:spPr bwMode="auto">
            <a:xfrm>
              <a:off x="1041968" y="112235"/>
              <a:ext cx="47987" cy="47987"/>
            </a:xfrm>
            <a:custGeom>
              <a:avLst/>
              <a:gdLst>
                <a:gd name="T0" fmla="*/ 806 w 1510"/>
                <a:gd name="T1" fmla="*/ 508 h 1509"/>
                <a:gd name="T2" fmla="*/ 864 w 1510"/>
                <a:gd name="T3" fmla="*/ 528 h 1509"/>
                <a:gd name="T4" fmla="*/ 915 w 1510"/>
                <a:gd name="T5" fmla="*/ 561 h 1509"/>
                <a:gd name="T6" fmla="*/ 957 w 1510"/>
                <a:gd name="T7" fmla="*/ 605 h 1509"/>
                <a:gd name="T8" fmla="*/ 987 w 1510"/>
                <a:gd name="T9" fmla="*/ 657 h 1509"/>
                <a:gd name="T10" fmla="*/ 1004 w 1510"/>
                <a:gd name="T11" fmla="*/ 717 h 1509"/>
                <a:gd name="T12" fmla="*/ 1005 w 1510"/>
                <a:gd name="T13" fmla="*/ 781 h 1509"/>
                <a:gd name="T14" fmla="*/ 991 w 1510"/>
                <a:gd name="T15" fmla="*/ 841 h 1509"/>
                <a:gd name="T16" fmla="*/ 964 w 1510"/>
                <a:gd name="T17" fmla="*/ 896 h 1509"/>
                <a:gd name="T18" fmla="*/ 924 w 1510"/>
                <a:gd name="T19" fmla="*/ 941 h 1509"/>
                <a:gd name="T20" fmla="*/ 875 w 1510"/>
                <a:gd name="T21" fmla="*/ 976 h 1509"/>
                <a:gd name="T22" fmla="*/ 818 w 1510"/>
                <a:gd name="T23" fmla="*/ 998 h 1509"/>
                <a:gd name="T24" fmla="*/ 756 w 1510"/>
                <a:gd name="T25" fmla="*/ 1006 h 1509"/>
                <a:gd name="T26" fmla="*/ 692 w 1510"/>
                <a:gd name="T27" fmla="*/ 998 h 1509"/>
                <a:gd name="T28" fmla="*/ 636 w 1510"/>
                <a:gd name="T29" fmla="*/ 976 h 1509"/>
                <a:gd name="T30" fmla="*/ 587 w 1510"/>
                <a:gd name="T31" fmla="*/ 941 h 1509"/>
                <a:gd name="T32" fmla="*/ 546 w 1510"/>
                <a:gd name="T33" fmla="*/ 896 h 1509"/>
                <a:gd name="T34" fmla="*/ 519 w 1510"/>
                <a:gd name="T35" fmla="*/ 841 h 1509"/>
                <a:gd name="T36" fmla="*/ 505 w 1510"/>
                <a:gd name="T37" fmla="*/ 781 h 1509"/>
                <a:gd name="T38" fmla="*/ 506 w 1510"/>
                <a:gd name="T39" fmla="*/ 717 h 1509"/>
                <a:gd name="T40" fmla="*/ 523 w 1510"/>
                <a:gd name="T41" fmla="*/ 657 h 1509"/>
                <a:gd name="T42" fmla="*/ 553 w 1510"/>
                <a:gd name="T43" fmla="*/ 605 h 1509"/>
                <a:gd name="T44" fmla="*/ 596 w 1510"/>
                <a:gd name="T45" fmla="*/ 561 h 1509"/>
                <a:gd name="T46" fmla="*/ 646 w 1510"/>
                <a:gd name="T47" fmla="*/ 528 h 1509"/>
                <a:gd name="T48" fmla="*/ 704 w 1510"/>
                <a:gd name="T49" fmla="*/ 508 h 1509"/>
                <a:gd name="T50" fmla="*/ 756 w 1510"/>
                <a:gd name="T51" fmla="*/ 1509 h 1509"/>
                <a:gd name="T52" fmla="*/ 944 w 1510"/>
                <a:gd name="T53" fmla="*/ 1486 h 1509"/>
                <a:gd name="T54" fmla="*/ 1115 w 1510"/>
                <a:gd name="T55" fmla="*/ 1419 h 1509"/>
                <a:gd name="T56" fmla="*/ 1263 w 1510"/>
                <a:gd name="T57" fmla="*/ 1313 h 1509"/>
                <a:gd name="T58" fmla="*/ 1381 w 1510"/>
                <a:gd name="T59" fmla="*/ 1177 h 1509"/>
                <a:gd name="T60" fmla="*/ 1464 w 1510"/>
                <a:gd name="T61" fmla="*/ 1014 h 1509"/>
                <a:gd name="T62" fmla="*/ 1506 w 1510"/>
                <a:gd name="T63" fmla="*/ 832 h 1509"/>
                <a:gd name="T64" fmla="*/ 1501 w 1510"/>
                <a:gd name="T65" fmla="*/ 640 h 1509"/>
                <a:gd name="T66" fmla="*/ 1451 w 1510"/>
                <a:gd name="T67" fmla="*/ 461 h 1509"/>
                <a:gd name="T68" fmla="*/ 1360 w 1510"/>
                <a:gd name="T69" fmla="*/ 303 h 1509"/>
                <a:gd name="T70" fmla="*/ 1236 w 1510"/>
                <a:gd name="T71" fmla="*/ 172 h 1509"/>
                <a:gd name="T72" fmla="*/ 1083 w 1510"/>
                <a:gd name="T73" fmla="*/ 75 h 1509"/>
                <a:gd name="T74" fmla="*/ 908 w 1510"/>
                <a:gd name="T75" fmla="*/ 15 h 1509"/>
                <a:gd name="T76" fmla="*/ 716 w 1510"/>
                <a:gd name="T77" fmla="*/ 1 h 1509"/>
                <a:gd name="T78" fmla="*/ 531 w 1510"/>
                <a:gd name="T79" fmla="*/ 34 h 1509"/>
                <a:gd name="T80" fmla="*/ 364 w 1510"/>
                <a:gd name="T81" fmla="*/ 110 h 1509"/>
                <a:gd name="T82" fmla="*/ 222 w 1510"/>
                <a:gd name="T83" fmla="*/ 222 h 1509"/>
                <a:gd name="T84" fmla="*/ 110 w 1510"/>
                <a:gd name="T85" fmla="*/ 363 h 1509"/>
                <a:gd name="T86" fmla="*/ 34 w 1510"/>
                <a:gd name="T87" fmla="*/ 530 h 1509"/>
                <a:gd name="T88" fmla="*/ 1 w 1510"/>
                <a:gd name="T89" fmla="*/ 717 h 1509"/>
                <a:gd name="T90" fmla="*/ 16 w 1510"/>
                <a:gd name="T91" fmla="*/ 907 h 1509"/>
                <a:gd name="T92" fmla="*/ 75 w 1510"/>
                <a:gd name="T93" fmla="*/ 1082 h 1509"/>
                <a:gd name="T94" fmla="*/ 173 w 1510"/>
                <a:gd name="T95" fmla="*/ 1235 h 1509"/>
                <a:gd name="T96" fmla="*/ 304 w 1510"/>
                <a:gd name="T97" fmla="*/ 1359 h 1509"/>
                <a:gd name="T98" fmla="*/ 462 w 1510"/>
                <a:gd name="T99" fmla="*/ 1450 h 1509"/>
                <a:gd name="T100" fmla="*/ 640 w 1510"/>
                <a:gd name="T101" fmla="*/ 1501 h 1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10" h="1509">
                  <a:moveTo>
                    <a:pt x="756" y="503"/>
                  </a:moveTo>
                  <a:lnTo>
                    <a:pt x="769" y="503"/>
                  </a:lnTo>
                  <a:lnTo>
                    <a:pt x="781" y="504"/>
                  </a:lnTo>
                  <a:lnTo>
                    <a:pt x="794" y="506"/>
                  </a:lnTo>
                  <a:lnTo>
                    <a:pt x="806" y="508"/>
                  </a:lnTo>
                  <a:lnTo>
                    <a:pt x="818" y="511"/>
                  </a:lnTo>
                  <a:lnTo>
                    <a:pt x="830" y="514"/>
                  </a:lnTo>
                  <a:lnTo>
                    <a:pt x="841" y="518"/>
                  </a:lnTo>
                  <a:lnTo>
                    <a:pt x="853" y="523"/>
                  </a:lnTo>
                  <a:lnTo>
                    <a:pt x="864" y="528"/>
                  </a:lnTo>
                  <a:lnTo>
                    <a:pt x="875" y="533"/>
                  </a:lnTo>
                  <a:lnTo>
                    <a:pt x="885" y="539"/>
                  </a:lnTo>
                  <a:lnTo>
                    <a:pt x="896" y="547"/>
                  </a:lnTo>
                  <a:lnTo>
                    <a:pt x="906" y="554"/>
                  </a:lnTo>
                  <a:lnTo>
                    <a:pt x="915" y="561"/>
                  </a:lnTo>
                  <a:lnTo>
                    <a:pt x="924" y="569"/>
                  </a:lnTo>
                  <a:lnTo>
                    <a:pt x="933" y="578"/>
                  </a:lnTo>
                  <a:lnTo>
                    <a:pt x="941" y="586"/>
                  </a:lnTo>
                  <a:lnTo>
                    <a:pt x="949" y="595"/>
                  </a:lnTo>
                  <a:lnTo>
                    <a:pt x="957" y="605"/>
                  </a:lnTo>
                  <a:lnTo>
                    <a:pt x="964" y="615"/>
                  </a:lnTo>
                  <a:lnTo>
                    <a:pt x="970" y="625"/>
                  </a:lnTo>
                  <a:lnTo>
                    <a:pt x="976" y="635"/>
                  </a:lnTo>
                  <a:lnTo>
                    <a:pt x="982" y="646"/>
                  </a:lnTo>
                  <a:lnTo>
                    <a:pt x="987" y="657"/>
                  </a:lnTo>
                  <a:lnTo>
                    <a:pt x="991" y="668"/>
                  </a:lnTo>
                  <a:lnTo>
                    <a:pt x="995" y="680"/>
                  </a:lnTo>
                  <a:lnTo>
                    <a:pt x="999" y="692"/>
                  </a:lnTo>
                  <a:lnTo>
                    <a:pt x="1001" y="704"/>
                  </a:lnTo>
                  <a:lnTo>
                    <a:pt x="1004" y="717"/>
                  </a:lnTo>
                  <a:lnTo>
                    <a:pt x="1005" y="730"/>
                  </a:lnTo>
                  <a:lnTo>
                    <a:pt x="1006" y="742"/>
                  </a:lnTo>
                  <a:lnTo>
                    <a:pt x="1007" y="755"/>
                  </a:lnTo>
                  <a:lnTo>
                    <a:pt x="1006" y="768"/>
                  </a:lnTo>
                  <a:lnTo>
                    <a:pt x="1005" y="781"/>
                  </a:lnTo>
                  <a:lnTo>
                    <a:pt x="1004" y="793"/>
                  </a:lnTo>
                  <a:lnTo>
                    <a:pt x="1001" y="805"/>
                  </a:lnTo>
                  <a:lnTo>
                    <a:pt x="999" y="818"/>
                  </a:lnTo>
                  <a:lnTo>
                    <a:pt x="995" y="829"/>
                  </a:lnTo>
                  <a:lnTo>
                    <a:pt x="991" y="841"/>
                  </a:lnTo>
                  <a:lnTo>
                    <a:pt x="987" y="852"/>
                  </a:lnTo>
                  <a:lnTo>
                    <a:pt x="982" y="863"/>
                  </a:lnTo>
                  <a:lnTo>
                    <a:pt x="976" y="874"/>
                  </a:lnTo>
                  <a:lnTo>
                    <a:pt x="970" y="886"/>
                  </a:lnTo>
                  <a:lnTo>
                    <a:pt x="964" y="896"/>
                  </a:lnTo>
                  <a:lnTo>
                    <a:pt x="957" y="906"/>
                  </a:lnTo>
                  <a:lnTo>
                    <a:pt x="949" y="915"/>
                  </a:lnTo>
                  <a:lnTo>
                    <a:pt x="941" y="924"/>
                  </a:lnTo>
                  <a:lnTo>
                    <a:pt x="933" y="933"/>
                  </a:lnTo>
                  <a:lnTo>
                    <a:pt x="924" y="941"/>
                  </a:lnTo>
                  <a:lnTo>
                    <a:pt x="915" y="949"/>
                  </a:lnTo>
                  <a:lnTo>
                    <a:pt x="906" y="956"/>
                  </a:lnTo>
                  <a:lnTo>
                    <a:pt x="896" y="963"/>
                  </a:lnTo>
                  <a:lnTo>
                    <a:pt x="885" y="970"/>
                  </a:lnTo>
                  <a:lnTo>
                    <a:pt x="875" y="976"/>
                  </a:lnTo>
                  <a:lnTo>
                    <a:pt x="864" y="981"/>
                  </a:lnTo>
                  <a:lnTo>
                    <a:pt x="853" y="987"/>
                  </a:lnTo>
                  <a:lnTo>
                    <a:pt x="841" y="991"/>
                  </a:lnTo>
                  <a:lnTo>
                    <a:pt x="830" y="995"/>
                  </a:lnTo>
                  <a:lnTo>
                    <a:pt x="818" y="998"/>
                  </a:lnTo>
                  <a:lnTo>
                    <a:pt x="806" y="1001"/>
                  </a:lnTo>
                  <a:lnTo>
                    <a:pt x="794" y="1003"/>
                  </a:lnTo>
                  <a:lnTo>
                    <a:pt x="781" y="1005"/>
                  </a:lnTo>
                  <a:lnTo>
                    <a:pt x="769" y="1006"/>
                  </a:lnTo>
                  <a:lnTo>
                    <a:pt x="756" y="1006"/>
                  </a:lnTo>
                  <a:lnTo>
                    <a:pt x="743" y="1006"/>
                  </a:lnTo>
                  <a:lnTo>
                    <a:pt x="730" y="1005"/>
                  </a:lnTo>
                  <a:lnTo>
                    <a:pt x="717" y="1003"/>
                  </a:lnTo>
                  <a:lnTo>
                    <a:pt x="704" y="1001"/>
                  </a:lnTo>
                  <a:lnTo>
                    <a:pt x="692" y="998"/>
                  </a:lnTo>
                  <a:lnTo>
                    <a:pt x="680" y="995"/>
                  </a:lnTo>
                  <a:lnTo>
                    <a:pt x="669" y="991"/>
                  </a:lnTo>
                  <a:lnTo>
                    <a:pt x="657" y="987"/>
                  </a:lnTo>
                  <a:lnTo>
                    <a:pt x="646" y="981"/>
                  </a:lnTo>
                  <a:lnTo>
                    <a:pt x="636" y="976"/>
                  </a:lnTo>
                  <a:lnTo>
                    <a:pt x="625" y="970"/>
                  </a:lnTo>
                  <a:lnTo>
                    <a:pt x="615" y="963"/>
                  </a:lnTo>
                  <a:lnTo>
                    <a:pt x="605" y="956"/>
                  </a:lnTo>
                  <a:lnTo>
                    <a:pt x="596" y="949"/>
                  </a:lnTo>
                  <a:lnTo>
                    <a:pt x="587" y="941"/>
                  </a:lnTo>
                  <a:lnTo>
                    <a:pt x="578" y="933"/>
                  </a:lnTo>
                  <a:lnTo>
                    <a:pt x="570" y="924"/>
                  </a:lnTo>
                  <a:lnTo>
                    <a:pt x="562" y="915"/>
                  </a:lnTo>
                  <a:lnTo>
                    <a:pt x="553" y="906"/>
                  </a:lnTo>
                  <a:lnTo>
                    <a:pt x="546" y="896"/>
                  </a:lnTo>
                  <a:lnTo>
                    <a:pt x="540" y="886"/>
                  </a:lnTo>
                  <a:lnTo>
                    <a:pt x="534" y="874"/>
                  </a:lnTo>
                  <a:lnTo>
                    <a:pt x="528" y="863"/>
                  </a:lnTo>
                  <a:lnTo>
                    <a:pt x="523" y="852"/>
                  </a:lnTo>
                  <a:lnTo>
                    <a:pt x="519" y="841"/>
                  </a:lnTo>
                  <a:lnTo>
                    <a:pt x="515" y="829"/>
                  </a:lnTo>
                  <a:lnTo>
                    <a:pt x="511" y="818"/>
                  </a:lnTo>
                  <a:lnTo>
                    <a:pt x="509" y="805"/>
                  </a:lnTo>
                  <a:lnTo>
                    <a:pt x="506" y="793"/>
                  </a:lnTo>
                  <a:lnTo>
                    <a:pt x="505" y="781"/>
                  </a:lnTo>
                  <a:lnTo>
                    <a:pt x="504" y="768"/>
                  </a:lnTo>
                  <a:lnTo>
                    <a:pt x="503" y="755"/>
                  </a:lnTo>
                  <a:lnTo>
                    <a:pt x="504" y="742"/>
                  </a:lnTo>
                  <a:lnTo>
                    <a:pt x="505" y="730"/>
                  </a:lnTo>
                  <a:lnTo>
                    <a:pt x="506" y="717"/>
                  </a:lnTo>
                  <a:lnTo>
                    <a:pt x="509" y="704"/>
                  </a:lnTo>
                  <a:lnTo>
                    <a:pt x="511" y="692"/>
                  </a:lnTo>
                  <a:lnTo>
                    <a:pt x="515" y="680"/>
                  </a:lnTo>
                  <a:lnTo>
                    <a:pt x="519" y="668"/>
                  </a:lnTo>
                  <a:lnTo>
                    <a:pt x="523" y="657"/>
                  </a:lnTo>
                  <a:lnTo>
                    <a:pt x="528" y="646"/>
                  </a:lnTo>
                  <a:lnTo>
                    <a:pt x="534" y="635"/>
                  </a:lnTo>
                  <a:lnTo>
                    <a:pt x="540" y="625"/>
                  </a:lnTo>
                  <a:lnTo>
                    <a:pt x="546" y="615"/>
                  </a:lnTo>
                  <a:lnTo>
                    <a:pt x="553" y="605"/>
                  </a:lnTo>
                  <a:lnTo>
                    <a:pt x="562" y="595"/>
                  </a:lnTo>
                  <a:lnTo>
                    <a:pt x="570" y="586"/>
                  </a:lnTo>
                  <a:lnTo>
                    <a:pt x="578" y="578"/>
                  </a:lnTo>
                  <a:lnTo>
                    <a:pt x="587" y="569"/>
                  </a:lnTo>
                  <a:lnTo>
                    <a:pt x="596" y="561"/>
                  </a:lnTo>
                  <a:lnTo>
                    <a:pt x="605" y="554"/>
                  </a:lnTo>
                  <a:lnTo>
                    <a:pt x="615" y="547"/>
                  </a:lnTo>
                  <a:lnTo>
                    <a:pt x="625" y="539"/>
                  </a:lnTo>
                  <a:lnTo>
                    <a:pt x="636" y="533"/>
                  </a:lnTo>
                  <a:lnTo>
                    <a:pt x="646" y="528"/>
                  </a:lnTo>
                  <a:lnTo>
                    <a:pt x="657" y="523"/>
                  </a:lnTo>
                  <a:lnTo>
                    <a:pt x="669" y="518"/>
                  </a:lnTo>
                  <a:lnTo>
                    <a:pt x="680" y="514"/>
                  </a:lnTo>
                  <a:lnTo>
                    <a:pt x="692" y="511"/>
                  </a:lnTo>
                  <a:lnTo>
                    <a:pt x="704" y="508"/>
                  </a:lnTo>
                  <a:lnTo>
                    <a:pt x="717" y="506"/>
                  </a:lnTo>
                  <a:lnTo>
                    <a:pt x="730" y="504"/>
                  </a:lnTo>
                  <a:lnTo>
                    <a:pt x="743" y="503"/>
                  </a:lnTo>
                  <a:lnTo>
                    <a:pt x="756" y="503"/>
                  </a:lnTo>
                  <a:close/>
                  <a:moveTo>
                    <a:pt x="756" y="1509"/>
                  </a:moveTo>
                  <a:lnTo>
                    <a:pt x="794" y="1508"/>
                  </a:lnTo>
                  <a:lnTo>
                    <a:pt x="832" y="1506"/>
                  </a:lnTo>
                  <a:lnTo>
                    <a:pt x="870" y="1501"/>
                  </a:lnTo>
                  <a:lnTo>
                    <a:pt x="908" y="1494"/>
                  </a:lnTo>
                  <a:lnTo>
                    <a:pt x="944" y="1486"/>
                  </a:lnTo>
                  <a:lnTo>
                    <a:pt x="980" y="1476"/>
                  </a:lnTo>
                  <a:lnTo>
                    <a:pt x="1014" y="1464"/>
                  </a:lnTo>
                  <a:lnTo>
                    <a:pt x="1049" y="1450"/>
                  </a:lnTo>
                  <a:lnTo>
                    <a:pt x="1083" y="1435"/>
                  </a:lnTo>
                  <a:lnTo>
                    <a:pt x="1115" y="1419"/>
                  </a:lnTo>
                  <a:lnTo>
                    <a:pt x="1147" y="1401"/>
                  </a:lnTo>
                  <a:lnTo>
                    <a:pt x="1177" y="1381"/>
                  </a:lnTo>
                  <a:lnTo>
                    <a:pt x="1206" y="1359"/>
                  </a:lnTo>
                  <a:lnTo>
                    <a:pt x="1236" y="1337"/>
                  </a:lnTo>
                  <a:lnTo>
                    <a:pt x="1263" y="1313"/>
                  </a:lnTo>
                  <a:lnTo>
                    <a:pt x="1289" y="1289"/>
                  </a:lnTo>
                  <a:lnTo>
                    <a:pt x="1314" y="1263"/>
                  </a:lnTo>
                  <a:lnTo>
                    <a:pt x="1337" y="1235"/>
                  </a:lnTo>
                  <a:lnTo>
                    <a:pt x="1360" y="1206"/>
                  </a:lnTo>
                  <a:lnTo>
                    <a:pt x="1381" y="1177"/>
                  </a:lnTo>
                  <a:lnTo>
                    <a:pt x="1400" y="1146"/>
                  </a:lnTo>
                  <a:lnTo>
                    <a:pt x="1419" y="1115"/>
                  </a:lnTo>
                  <a:lnTo>
                    <a:pt x="1436" y="1082"/>
                  </a:lnTo>
                  <a:lnTo>
                    <a:pt x="1451" y="1049"/>
                  </a:lnTo>
                  <a:lnTo>
                    <a:pt x="1464" y="1014"/>
                  </a:lnTo>
                  <a:lnTo>
                    <a:pt x="1476" y="979"/>
                  </a:lnTo>
                  <a:lnTo>
                    <a:pt x="1486" y="944"/>
                  </a:lnTo>
                  <a:lnTo>
                    <a:pt x="1494" y="907"/>
                  </a:lnTo>
                  <a:lnTo>
                    <a:pt x="1501" y="869"/>
                  </a:lnTo>
                  <a:lnTo>
                    <a:pt x="1506" y="832"/>
                  </a:lnTo>
                  <a:lnTo>
                    <a:pt x="1509" y="794"/>
                  </a:lnTo>
                  <a:lnTo>
                    <a:pt x="1510" y="755"/>
                  </a:lnTo>
                  <a:lnTo>
                    <a:pt x="1509" y="717"/>
                  </a:lnTo>
                  <a:lnTo>
                    <a:pt x="1506" y="678"/>
                  </a:lnTo>
                  <a:lnTo>
                    <a:pt x="1501" y="640"/>
                  </a:lnTo>
                  <a:lnTo>
                    <a:pt x="1494" y="603"/>
                  </a:lnTo>
                  <a:lnTo>
                    <a:pt x="1486" y="567"/>
                  </a:lnTo>
                  <a:lnTo>
                    <a:pt x="1476" y="530"/>
                  </a:lnTo>
                  <a:lnTo>
                    <a:pt x="1464" y="495"/>
                  </a:lnTo>
                  <a:lnTo>
                    <a:pt x="1451" y="461"/>
                  </a:lnTo>
                  <a:lnTo>
                    <a:pt x="1436" y="428"/>
                  </a:lnTo>
                  <a:lnTo>
                    <a:pt x="1419" y="396"/>
                  </a:lnTo>
                  <a:lnTo>
                    <a:pt x="1400" y="363"/>
                  </a:lnTo>
                  <a:lnTo>
                    <a:pt x="1381" y="333"/>
                  </a:lnTo>
                  <a:lnTo>
                    <a:pt x="1360" y="303"/>
                  </a:lnTo>
                  <a:lnTo>
                    <a:pt x="1337" y="275"/>
                  </a:lnTo>
                  <a:lnTo>
                    <a:pt x="1314" y="248"/>
                  </a:lnTo>
                  <a:lnTo>
                    <a:pt x="1289" y="222"/>
                  </a:lnTo>
                  <a:lnTo>
                    <a:pt x="1263" y="196"/>
                  </a:lnTo>
                  <a:lnTo>
                    <a:pt x="1236" y="172"/>
                  </a:lnTo>
                  <a:lnTo>
                    <a:pt x="1206" y="150"/>
                  </a:lnTo>
                  <a:lnTo>
                    <a:pt x="1177" y="129"/>
                  </a:lnTo>
                  <a:lnTo>
                    <a:pt x="1147" y="110"/>
                  </a:lnTo>
                  <a:lnTo>
                    <a:pt x="1115" y="92"/>
                  </a:lnTo>
                  <a:lnTo>
                    <a:pt x="1083" y="75"/>
                  </a:lnTo>
                  <a:lnTo>
                    <a:pt x="1049" y="60"/>
                  </a:lnTo>
                  <a:lnTo>
                    <a:pt x="1014" y="46"/>
                  </a:lnTo>
                  <a:lnTo>
                    <a:pt x="980" y="34"/>
                  </a:lnTo>
                  <a:lnTo>
                    <a:pt x="944" y="24"/>
                  </a:lnTo>
                  <a:lnTo>
                    <a:pt x="908" y="15"/>
                  </a:lnTo>
                  <a:lnTo>
                    <a:pt x="870" y="9"/>
                  </a:lnTo>
                  <a:lnTo>
                    <a:pt x="832" y="4"/>
                  </a:lnTo>
                  <a:lnTo>
                    <a:pt x="794" y="1"/>
                  </a:lnTo>
                  <a:lnTo>
                    <a:pt x="756" y="0"/>
                  </a:lnTo>
                  <a:lnTo>
                    <a:pt x="716" y="1"/>
                  </a:lnTo>
                  <a:lnTo>
                    <a:pt x="678" y="4"/>
                  </a:lnTo>
                  <a:lnTo>
                    <a:pt x="640" y="9"/>
                  </a:lnTo>
                  <a:lnTo>
                    <a:pt x="604" y="15"/>
                  </a:lnTo>
                  <a:lnTo>
                    <a:pt x="567" y="24"/>
                  </a:lnTo>
                  <a:lnTo>
                    <a:pt x="531" y="34"/>
                  </a:lnTo>
                  <a:lnTo>
                    <a:pt x="496" y="46"/>
                  </a:lnTo>
                  <a:lnTo>
                    <a:pt x="462" y="60"/>
                  </a:lnTo>
                  <a:lnTo>
                    <a:pt x="428" y="75"/>
                  </a:lnTo>
                  <a:lnTo>
                    <a:pt x="396" y="92"/>
                  </a:lnTo>
                  <a:lnTo>
                    <a:pt x="364" y="110"/>
                  </a:lnTo>
                  <a:lnTo>
                    <a:pt x="333" y="129"/>
                  </a:lnTo>
                  <a:lnTo>
                    <a:pt x="304" y="150"/>
                  </a:lnTo>
                  <a:lnTo>
                    <a:pt x="276" y="172"/>
                  </a:lnTo>
                  <a:lnTo>
                    <a:pt x="248" y="196"/>
                  </a:lnTo>
                  <a:lnTo>
                    <a:pt x="222" y="222"/>
                  </a:lnTo>
                  <a:lnTo>
                    <a:pt x="196" y="248"/>
                  </a:lnTo>
                  <a:lnTo>
                    <a:pt x="173" y="275"/>
                  </a:lnTo>
                  <a:lnTo>
                    <a:pt x="150" y="303"/>
                  </a:lnTo>
                  <a:lnTo>
                    <a:pt x="130" y="333"/>
                  </a:lnTo>
                  <a:lnTo>
                    <a:pt x="110" y="363"/>
                  </a:lnTo>
                  <a:lnTo>
                    <a:pt x="92" y="396"/>
                  </a:lnTo>
                  <a:lnTo>
                    <a:pt x="75" y="428"/>
                  </a:lnTo>
                  <a:lnTo>
                    <a:pt x="60" y="461"/>
                  </a:lnTo>
                  <a:lnTo>
                    <a:pt x="46" y="495"/>
                  </a:lnTo>
                  <a:lnTo>
                    <a:pt x="34" y="530"/>
                  </a:lnTo>
                  <a:lnTo>
                    <a:pt x="24" y="567"/>
                  </a:lnTo>
                  <a:lnTo>
                    <a:pt x="16" y="603"/>
                  </a:lnTo>
                  <a:lnTo>
                    <a:pt x="9" y="640"/>
                  </a:lnTo>
                  <a:lnTo>
                    <a:pt x="4" y="678"/>
                  </a:lnTo>
                  <a:lnTo>
                    <a:pt x="1" y="717"/>
                  </a:lnTo>
                  <a:lnTo>
                    <a:pt x="0" y="755"/>
                  </a:lnTo>
                  <a:lnTo>
                    <a:pt x="1" y="794"/>
                  </a:lnTo>
                  <a:lnTo>
                    <a:pt x="4" y="832"/>
                  </a:lnTo>
                  <a:lnTo>
                    <a:pt x="9" y="869"/>
                  </a:lnTo>
                  <a:lnTo>
                    <a:pt x="16" y="907"/>
                  </a:lnTo>
                  <a:lnTo>
                    <a:pt x="24" y="944"/>
                  </a:lnTo>
                  <a:lnTo>
                    <a:pt x="34" y="979"/>
                  </a:lnTo>
                  <a:lnTo>
                    <a:pt x="46" y="1014"/>
                  </a:lnTo>
                  <a:lnTo>
                    <a:pt x="60" y="1049"/>
                  </a:lnTo>
                  <a:lnTo>
                    <a:pt x="75" y="1082"/>
                  </a:lnTo>
                  <a:lnTo>
                    <a:pt x="92" y="1115"/>
                  </a:lnTo>
                  <a:lnTo>
                    <a:pt x="110" y="1146"/>
                  </a:lnTo>
                  <a:lnTo>
                    <a:pt x="130" y="1177"/>
                  </a:lnTo>
                  <a:lnTo>
                    <a:pt x="150" y="1206"/>
                  </a:lnTo>
                  <a:lnTo>
                    <a:pt x="173" y="1235"/>
                  </a:lnTo>
                  <a:lnTo>
                    <a:pt x="196" y="1263"/>
                  </a:lnTo>
                  <a:lnTo>
                    <a:pt x="222" y="1289"/>
                  </a:lnTo>
                  <a:lnTo>
                    <a:pt x="248" y="1313"/>
                  </a:lnTo>
                  <a:lnTo>
                    <a:pt x="276" y="1337"/>
                  </a:lnTo>
                  <a:lnTo>
                    <a:pt x="304" y="1359"/>
                  </a:lnTo>
                  <a:lnTo>
                    <a:pt x="333" y="1381"/>
                  </a:lnTo>
                  <a:lnTo>
                    <a:pt x="364" y="1401"/>
                  </a:lnTo>
                  <a:lnTo>
                    <a:pt x="396" y="1419"/>
                  </a:lnTo>
                  <a:lnTo>
                    <a:pt x="428" y="1435"/>
                  </a:lnTo>
                  <a:lnTo>
                    <a:pt x="462" y="1450"/>
                  </a:lnTo>
                  <a:lnTo>
                    <a:pt x="496" y="1464"/>
                  </a:lnTo>
                  <a:lnTo>
                    <a:pt x="531" y="1476"/>
                  </a:lnTo>
                  <a:lnTo>
                    <a:pt x="567" y="1486"/>
                  </a:lnTo>
                  <a:lnTo>
                    <a:pt x="604" y="1494"/>
                  </a:lnTo>
                  <a:lnTo>
                    <a:pt x="640" y="1501"/>
                  </a:lnTo>
                  <a:lnTo>
                    <a:pt x="678" y="1506"/>
                  </a:lnTo>
                  <a:lnTo>
                    <a:pt x="716" y="1508"/>
                  </a:lnTo>
                  <a:lnTo>
                    <a:pt x="756" y="15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5" name="íṩļïḋè">
              <a:extLst>
                <a:ext uri="{FF2B5EF4-FFF2-40B4-BE49-F238E27FC236}">
                  <a16:creationId xmlns:a16="http://schemas.microsoft.com/office/drawing/2014/main" id="{B9E25515-C33E-4E04-ABBC-D5730B6A1FB4}"/>
                </a:ext>
              </a:extLst>
            </p:cNvPr>
            <p:cNvSpPr/>
            <p:nvPr/>
          </p:nvSpPr>
          <p:spPr bwMode="auto">
            <a:xfrm>
              <a:off x="1025582" y="319398"/>
              <a:ext cx="64372" cy="15216"/>
            </a:xfrm>
            <a:custGeom>
              <a:avLst/>
              <a:gdLst>
                <a:gd name="T0" fmla="*/ 239 w 2013"/>
                <a:gd name="T1" fmla="*/ 0 h 503"/>
                <a:gd name="T2" fmla="*/ 201 w 2013"/>
                <a:gd name="T3" fmla="*/ 5 h 503"/>
                <a:gd name="T4" fmla="*/ 165 w 2013"/>
                <a:gd name="T5" fmla="*/ 15 h 503"/>
                <a:gd name="T6" fmla="*/ 132 w 2013"/>
                <a:gd name="T7" fmla="*/ 30 h 503"/>
                <a:gd name="T8" fmla="*/ 102 w 2013"/>
                <a:gd name="T9" fmla="*/ 50 h 503"/>
                <a:gd name="T10" fmla="*/ 74 w 2013"/>
                <a:gd name="T11" fmla="*/ 73 h 503"/>
                <a:gd name="T12" fmla="*/ 51 w 2013"/>
                <a:gd name="T13" fmla="*/ 100 h 503"/>
                <a:gd name="T14" fmla="*/ 30 w 2013"/>
                <a:gd name="T15" fmla="*/ 132 h 503"/>
                <a:gd name="T16" fmla="*/ 15 w 2013"/>
                <a:gd name="T17" fmla="*/ 165 h 503"/>
                <a:gd name="T18" fmla="*/ 5 w 2013"/>
                <a:gd name="T19" fmla="*/ 201 h 503"/>
                <a:gd name="T20" fmla="*/ 0 w 2013"/>
                <a:gd name="T21" fmla="*/ 238 h 503"/>
                <a:gd name="T22" fmla="*/ 1 w 2013"/>
                <a:gd name="T23" fmla="*/ 277 h 503"/>
                <a:gd name="T24" fmla="*/ 8 w 2013"/>
                <a:gd name="T25" fmla="*/ 315 h 503"/>
                <a:gd name="T26" fmla="*/ 20 w 2013"/>
                <a:gd name="T27" fmla="*/ 349 h 503"/>
                <a:gd name="T28" fmla="*/ 36 w 2013"/>
                <a:gd name="T29" fmla="*/ 382 h 503"/>
                <a:gd name="T30" fmla="*/ 58 w 2013"/>
                <a:gd name="T31" fmla="*/ 411 h 503"/>
                <a:gd name="T32" fmla="*/ 83 w 2013"/>
                <a:gd name="T33" fmla="*/ 437 h 503"/>
                <a:gd name="T34" fmla="*/ 111 w 2013"/>
                <a:gd name="T35" fmla="*/ 459 h 503"/>
                <a:gd name="T36" fmla="*/ 143 w 2013"/>
                <a:gd name="T37" fmla="*/ 478 h 503"/>
                <a:gd name="T38" fmla="*/ 177 w 2013"/>
                <a:gd name="T39" fmla="*/ 492 h 503"/>
                <a:gd name="T40" fmla="*/ 214 w 2013"/>
                <a:gd name="T41" fmla="*/ 500 h 503"/>
                <a:gd name="T42" fmla="*/ 252 w 2013"/>
                <a:gd name="T43" fmla="*/ 503 h 503"/>
                <a:gd name="T44" fmla="*/ 1787 w 2013"/>
                <a:gd name="T45" fmla="*/ 502 h 503"/>
                <a:gd name="T46" fmla="*/ 1824 w 2013"/>
                <a:gd name="T47" fmla="*/ 495 h 503"/>
                <a:gd name="T48" fmla="*/ 1859 w 2013"/>
                <a:gd name="T49" fmla="*/ 483 h 503"/>
                <a:gd name="T50" fmla="*/ 1891 w 2013"/>
                <a:gd name="T51" fmla="*/ 467 h 503"/>
                <a:gd name="T52" fmla="*/ 1922 w 2013"/>
                <a:gd name="T53" fmla="*/ 445 h 503"/>
                <a:gd name="T54" fmla="*/ 1948 w 2013"/>
                <a:gd name="T55" fmla="*/ 420 h 503"/>
                <a:gd name="T56" fmla="*/ 1970 w 2013"/>
                <a:gd name="T57" fmla="*/ 392 h 503"/>
                <a:gd name="T58" fmla="*/ 1988 w 2013"/>
                <a:gd name="T59" fmla="*/ 360 h 503"/>
                <a:gd name="T60" fmla="*/ 2001 w 2013"/>
                <a:gd name="T61" fmla="*/ 326 h 503"/>
                <a:gd name="T62" fmla="*/ 2010 w 2013"/>
                <a:gd name="T63" fmla="*/ 289 h 503"/>
                <a:gd name="T64" fmla="*/ 2013 w 2013"/>
                <a:gd name="T65" fmla="*/ 251 h 503"/>
                <a:gd name="T66" fmla="*/ 2010 w 2013"/>
                <a:gd name="T67" fmla="*/ 213 h 503"/>
                <a:gd name="T68" fmla="*/ 2001 w 2013"/>
                <a:gd name="T69" fmla="*/ 177 h 503"/>
                <a:gd name="T70" fmla="*/ 1988 w 2013"/>
                <a:gd name="T71" fmla="*/ 143 h 503"/>
                <a:gd name="T72" fmla="*/ 1970 w 2013"/>
                <a:gd name="T73" fmla="*/ 110 h 503"/>
                <a:gd name="T74" fmla="*/ 1948 w 2013"/>
                <a:gd name="T75" fmla="*/ 82 h 503"/>
                <a:gd name="T76" fmla="*/ 1922 w 2013"/>
                <a:gd name="T77" fmla="*/ 57 h 503"/>
                <a:gd name="T78" fmla="*/ 1891 w 2013"/>
                <a:gd name="T79" fmla="*/ 36 h 503"/>
                <a:gd name="T80" fmla="*/ 1859 w 2013"/>
                <a:gd name="T81" fmla="*/ 20 h 503"/>
                <a:gd name="T82" fmla="*/ 1824 w 2013"/>
                <a:gd name="T83" fmla="*/ 8 h 503"/>
                <a:gd name="T84" fmla="*/ 1787 w 2013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13" h="503">
                  <a:moveTo>
                    <a:pt x="1762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1" y="43"/>
                  </a:lnTo>
                  <a:lnTo>
                    <a:pt x="102" y="50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4" y="73"/>
                  </a:lnTo>
                  <a:lnTo>
                    <a:pt x="66" y="82"/>
                  </a:lnTo>
                  <a:lnTo>
                    <a:pt x="58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6" y="120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6"/>
                  </a:lnTo>
                  <a:lnTo>
                    <a:pt x="0" y="238"/>
                  </a:lnTo>
                  <a:lnTo>
                    <a:pt x="0" y="251"/>
                  </a:lnTo>
                  <a:lnTo>
                    <a:pt x="0" y="264"/>
                  </a:lnTo>
                  <a:lnTo>
                    <a:pt x="1" y="277"/>
                  </a:lnTo>
                  <a:lnTo>
                    <a:pt x="3" y="289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4" y="392"/>
                  </a:lnTo>
                  <a:lnTo>
                    <a:pt x="51" y="402"/>
                  </a:lnTo>
                  <a:lnTo>
                    <a:pt x="58" y="411"/>
                  </a:lnTo>
                  <a:lnTo>
                    <a:pt x="66" y="420"/>
                  </a:lnTo>
                  <a:lnTo>
                    <a:pt x="74" y="429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3"/>
                  </a:lnTo>
                  <a:lnTo>
                    <a:pt x="111" y="459"/>
                  </a:lnTo>
                  <a:lnTo>
                    <a:pt x="122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1762" y="503"/>
                  </a:lnTo>
                  <a:lnTo>
                    <a:pt x="1775" y="503"/>
                  </a:lnTo>
                  <a:lnTo>
                    <a:pt x="1787" y="502"/>
                  </a:lnTo>
                  <a:lnTo>
                    <a:pt x="1800" y="500"/>
                  </a:lnTo>
                  <a:lnTo>
                    <a:pt x="1812" y="498"/>
                  </a:lnTo>
                  <a:lnTo>
                    <a:pt x="1824" y="495"/>
                  </a:lnTo>
                  <a:lnTo>
                    <a:pt x="1836" y="492"/>
                  </a:lnTo>
                  <a:lnTo>
                    <a:pt x="1848" y="488"/>
                  </a:lnTo>
                  <a:lnTo>
                    <a:pt x="1859" y="483"/>
                  </a:lnTo>
                  <a:lnTo>
                    <a:pt x="1870" y="478"/>
                  </a:lnTo>
                  <a:lnTo>
                    <a:pt x="1881" y="473"/>
                  </a:lnTo>
                  <a:lnTo>
                    <a:pt x="1891" y="467"/>
                  </a:lnTo>
                  <a:lnTo>
                    <a:pt x="1902" y="459"/>
                  </a:lnTo>
                  <a:lnTo>
                    <a:pt x="1912" y="453"/>
                  </a:lnTo>
                  <a:lnTo>
                    <a:pt x="1922" y="445"/>
                  </a:lnTo>
                  <a:lnTo>
                    <a:pt x="1931" y="437"/>
                  </a:lnTo>
                  <a:lnTo>
                    <a:pt x="1939" y="429"/>
                  </a:lnTo>
                  <a:lnTo>
                    <a:pt x="1948" y="420"/>
                  </a:lnTo>
                  <a:lnTo>
                    <a:pt x="1956" y="411"/>
                  </a:lnTo>
                  <a:lnTo>
                    <a:pt x="1963" y="402"/>
                  </a:lnTo>
                  <a:lnTo>
                    <a:pt x="1970" y="392"/>
                  </a:lnTo>
                  <a:lnTo>
                    <a:pt x="1977" y="382"/>
                  </a:lnTo>
                  <a:lnTo>
                    <a:pt x="1983" y="371"/>
                  </a:lnTo>
                  <a:lnTo>
                    <a:pt x="1988" y="360"/>
                  </a:lnTo>
                  <a:lnTo>
                    <a:pt x="1993" y="349"/>
                  </a:lnTo>
                  <a:lnTo>
                    <a:pt x="1998" y="338"/>
                  </a:lnTo>
                  <a:lnTo>
                    <a:pt x="2001" y="326"/>
                  </a:lnTo>
                  <a:lnTo>
                    <a:pt x="2005" y="315"/>
                  </a:lnTo>
                  <a:lnTo>
                    <a:pt x="2008" y="303"/>
                  </a:lnTo>
                  <a:lnTo>
                    <a:pt x="2010" y="289"/>
                  </a:lnTo>
                  <a:lnTo>
                    <a:pt x="2011" y="277"/>
                  </a:lnTo>
                  <a:lnTo>
                    <a:pt x="2012" y="264"/>
                  </a:lnTo>
                  <a:lnTo>
                    <a:pt x="2013" y="251"/>
                  </a:lnTo>
                  <a:lnTo>
                    <a:pt x="2012" y="238"/>
                  </a:lnTo>
                  <a:lnTo>
                    <a:pt x="2011" y="226"/>
                  </a:lnTo>
                  <a:lnTo>
                    <a:pt x="2010" y="213"/>
                  </a:lnTo>
                  <a:lnTo>
                    <a:pt x="2008" y="201"/>
                  </a:lnTo>
                  <a:lnTo>
                    <a:pt x="2005" y="189"/>
                  </a:lnTo>
                  <a:lnTo>
                    <a:pt x="2001" y="177"/>
                  </a:lnTo>
                  <a:lnTo>
                    <a:pt x="1998" y="165"/>
                  </a:lnTo>
                  <a:lnTo>
                    <a:pt x="1993" y="154"/>
                  </a:lnTo>
                  <a:lnTo>
                    <a:pt x="1988" y="143"/>
                  </a:lnTo>
                  <a:lnTo>
                    <a:pt x="1983" y="132"/>
                  </a:lnTo>
                  <a:lnTo>
                    <a:pt x="1977" y="120"/>
                  </a:lnTo>
                  <a:lnTo>
                    <a:pt x="1970" y="110"/>
                  </a:lnTo>
                  <a:lnTo>
                    <a:pt x="1963" y="100"/>
                  </a:lnTo>
                  <a:lnTo>
                    <a:pt x="1956" y="91"/>
                  </a:lnTo>
                  <a:lnTo>
                    <a:pt x="1948" y="82"/>
                  </a:lnTo>
                  <a:lnTo>
                    <a:pt x="1939" y="73"/>
                  </a:lnTo>
                  <a:lnTo>
                    <a:pt x="1931" y="65"/>
                  </a:lnTo>
                  <a:lnTo>
                    <a:pt x="1922" y="57"/>
                  </a:lnTo>
                  <a:lnTo>
                    <a:pt x="1912" y="50"/>
                  </a:lnTo>
                  <a:lnTo>
                    <a:pt x="1902" y="43"/>
                  </a:lnTo>
                  <a:lnTo>
                    <a:pt x="1891" y="36"/>
                  </a:lnTo>
                  <a:lnTo>
                    <a:pt x="1881" y="30"/>
                  </a:lnTo>
                  <a:lnTo>
                    <a:pt x="1870" y="25"/>
                  </a:lnTo>
                  <a:lnTo>
                    <a:pt x="1859" y="20"/>
                  </a:lnTo>
                  <a:lnTo>
                    <a:pt x="1848" y="15"/>
                  </a:lnTo>
                  <a:lnTo>
                    <a:pt x="1836" y="11"/>
                  </a:lnTo>
                  <a:lnTo>
                    <a:pt x="1824" y="8"/>
                  </a:lnTo>
                  <a:lnTo>
                    <a:pt x="1812" y="5"/>
                  </a:lnTo>
                  <a:lnTo>
                    <a:pt x="1800" y="3"/>
                  </a:lnTo>
                  <a:lnTo>
                    <a:pt x="1787" y="1"/>
                  </a:lnTo>
                  <a:lnTo>
                    <a:pt x="1775" y="0"/>
                  </a:lnTo>
                  <a:lnTo>
                    <a:pt x="17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6" name="ïşḻiḑè">
              <a:extLst>
                <a:ext uri="{FF2B5EF4-FFF2-40B4-BE49-F238E27FC236}">
                  <a16:creationId xmlns:a16="http://schemas.microsoft.com/office/drawing/2014/main" id="{007B40C1-CBA4-45CD-846F-CC03762C02EE}"/>
                </a:ext>
              </a:extLst>
            </p:cNvPr>
            <p:cNvSpPr/>
            <p:nvPr/>
          </p:nvSpPr>
          <p:spPr bwMode="auto">
            <a:xfrm>
              <a:off x="1041968" y="271410"/>
              <a:ext cx="63202" cy="16386"/>
            </a:xfrm>
            <a:custGeom>
              <a:avLst/>
              <a:gdLst>
                <a:gd name="T0" fmla="*/ 240 w 2013"/>
                <a:gd name="T1" fmla="*/ 0 h 503"/>
                <a:gd name="T2" fmla="*/ 201 w 2013"/>
                <a:gd name="T3" fmla="*/ 5 h 503"/>
                <a:gd name="T4" fmla="*/ 165 w 2013"/>
                <a:gd name="T5" fmla="*/ 15 h 503"/>
                <a:gd name="T6" fmla="*/ 132 w 2013"/>
                <a:gd name="T7" fmla="*/ 30 h 503"/>
                <a:gd name="T8" fmla="*/ 102 w 2013"/>
                <a:gd name="T9" fmla="*/ 49 h 503"/>
                <a:gd name="T10" fmla="*/ 75 w 2013"/>
                <a:gd name="T11" fmla="*/ 73 h 503"/>
                <a:gd name="T12" fmla="*/ 51 w 2013"/>
                <a:gd name="T13" fmla="*/ 100 h 503"/>
                <a:gd name="T14" fmla="*/ 31 w 2013"/>
                <a:gd name="T15" fmla="*/ 130 h 503"/>
                <a:gd name="T16" fmla="*/ 16 w 2013"/>
                <a:gd name="T17" fmla="*/ 165 h 503"/>
                <a:gd name="T18" fmla="*/ 5 w 2013"/>
                <a:gd name="T19" fmla="*/ 200 h 503"/>
                <a:gd name="T20" fmla="*/ 1 w 2013"/>
                <a:gd name="T21" fmla="*/ 238 h 503"/>
                <a:gd name="T22" fmla="*/ 2 w 2013"/>
                <a:gd name="T23" fmla="*/ 276 h 503"/>
                <a:gd name="T24" fmla="*/ 8 w 2013"/>
                <a:gd name="T25" fmla="*/ 314 h 503"/>
                <a:gd name="T26" fmla="*/ 20 w 2013"/>
                <a:gd name="T27" fmla="*/ 349 h 503"/>
                <a:gd name="T28" fmla="*/ 37 w 2013"/>
                <a:gd name="T29" fmla="*/ 381 h 503"/>
                <a:gd name="T30" fmla="*/ 58 w 2013"/>
                <a:gd name="T31" fmla="*/ 411 h 503"/>
                <a:gd name="T32" fmla="*/ 83 w 2013"/>
                <a:gd name="T33" fmla="*/ 437 h 503"/>
                <a:gd name="T34" fmla="*/ 112 w 2013"/>
                <a:gd name="T35" fmla="*/ 459 h 503"/>
                <a:gd name="T36" fmla="*/ 143 w 2013"/>
                <a:gd name="T37" fmla="*/ 477 h 503"/>
                <a:gd name="T38" fmla="*/ 177 w 2013"/>
                <a:gd name="T39" fmla="*/ 491 h 503"/>
                <a:gd name="T40" fmla="*/ 213 w 2013"/>
                <a:gd name="T41" fmla="*/ 500 h 503"/>
                <a:gd name="T42" fmla="*/ 252 w 2013"/>
                <a:gd name="T43" fmla="*/ 503 h 503"/>
                <a:gd name="T44" fmla="*/ 1787 w 2013"/>
                <a:gd name="T45" fmla="*/ 501 h 503"/>
                <a:gd name="T46" fmla="*/ 1824 w 2013"/>
                <a:gd name="T47" fmla="*/ 495 h 503"/>
                <a:gd name="T48" fmla="*/ 1859 w 2013"/>
                <a:gd name="T49" fmla="*/ 483 h 503"/>
                <a:gd name="T50" fmla="*/ 1892 w 2013"/>
                <a:gd name="T51" fmla="*/ 465 h 503"/>
                <a:gd name="T52" fmla="*/ 1922 w 2013"/>
                <a:gd name="T53" fmla="*/ 445 h 503"/>
                <a:gd name="T54" fmla="*/ 1948 w 2013"/>
                <a:gd name="T55" fmla="*/ 420 h 503"/>
                <a:gd name="T56" fmla="*/ 1970 w 2013"/>
                <a:gd name="T57" fmla="*/ 391 h 503"/>
                <a:gd name="T58" fmla="*/ 1988 w 2013"/>
                <a:gd name="T59" fmla="*/ 360 h 503"/>
                <a:gd name="T60" fmla="*/ 2002 w 2013"/>
                <a:gd name="T61" fmla="*/ 326 h 503"/>
                <a:gd name="T62" fmla="*/ 2010 w 2013"/>
                <a:gd name="T63" fmla="*/ 289 h 503"/>
                <a:gd name="T64" fmla="*/ 2013 w 2013"/>
                <a:gd name="T65" fmla="*/ 251 h 503"/>
                <a:gd name="T66" fmla="*/ 2010 w 2013"/>
                <a:gd name="T67" fmla="*/ 213 h 503"/>
                <a:gd name="T68" fmla="*/ 2002 w 2013"/>
                <a:gd name="T69" fmla="*/ 176 h 503"/>
                <a:gd name="T70" fmla="*/ 1988 w 2013"/>
                <a:gd name="T71" fmla="*/ 141 h 503"/>
                <a:gd name="T72" fmla="*/ 1970 w 2013"/>
                <a:gd name="T73" fmla="*/ 110 h 503"/>
                <a:gd name="T74" fmla="*/ 1948 w 2013"/>
                <a:gd name="T75" fmla="*/ 82 h 503"/>
                <a:gd name="T76" fmla="*/ 1922 w 2013"/>
                <a:gd name="T77" fmla="*/ 57 h 503"/>
                <a:gd name="T78" fmla="*/ 1892 w 2013"/>
                <a:gd name="T79" fmla="*/ 36 h 503"/>
                <a:gd name="T80" fmla="*/ 1859 w 2013"/>
                <a:gd name="T81" fmla="*/ 19 h 503"/>
                <a:gd name="T82" fmla="*/ 1824 w 2013"/>
                <a:gd name="T83" fmla="*/ 7 h 503"/>
                <a:gd name="T84" fmla="*/ 1787 w 2013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13" h="503">
                  <a:moveTo>
                    <a:pt x="1762" y="0"/>
                  </a:move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3" y="2"/>
                  </a:lnTo>
                  <a:lnTo>
                    <a:pt x="201" y="5"/>
                  </a:lnTo>
                  <a:lnTo>
                    <a:pt x="189" y="7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8" y="91"/>
                  </a:lnTo>
                  <a:lnTo>
                    <a:pt x="51" y="100"/>
                  </a:lnTo>
                  <a:lnTo>
                    <a:pt x="43" y="110"/>
                  </a:lnTo>
                  <a:lnTo>
                    <a:pt x="37" y="120"/>
                  </a:lnTo>
                  <a:lnTo>
                    <a:pt x="31" y="130"/>
                  </a:lnTo>
                  <a:lnTo>
                    <a:pt x="25" y="141"/>
                  </a:lnTo>
                  <a:lnTo>
                    <a:pt x="20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5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5" y="301"/>
                  </a:lnTo>
                  <a:lnTo>
                    <a:pt x="8" y="314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1" y="371"/>
                  </a:lnTo>
                  <a:lnTo>
                    <a:pt x="37" y="381"/>
                  </a:lnTo>
                  <a:lnTo>
                    <a:pt x="43" y="391"/>
                  </a:lnTo>
                  <a:lnTo>
                    <a:pt x="51" y="401"/>
                  </a:lnTo>
                  <a:lnTo>
                    <a:pt x="58" y="411"/>
                  </a:lnTo>
                  <a:lnTo>
                    <a:pt x="66" y="420"/>
                  </a:lnTo>
                  <a:lnTo>
                    <a:pt x="75" y="428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2"/>
                  </a:lnTo>
                  <a:lnTo>
                    <a:pt x="112" y="459"/>
                  </a:lnTo>
                  <a:lnTo>
                    <a:pt x="122" y="465"/>
                  </a:lnTo>
                  <a:lnTo>
                    <a:pt x="132" y="471"/>
                  </a:lnTo>
                  <a:lnTo>
                    <a:pt x="143" y="477"/>
                  </a:lnTo>
                  <a:lnTo>
                    <a:pt x="154" y="483"/>
                  </a:lnTo>
                  <a:lnTo>
                    <a:pt x="165" y="487"/>
                  </a:lnTo>
                  <a:lnTo>
                    <a:pt x="177" y="491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7" y="501"/>
                  </a:lnTo>
                  <a:lnTo>
                    <a:pt x="240" y="502"/>
                  </a:lnTo>
                  <a:lnTo>
                    <a:pt x="252" y="503"/>
                  </a:lnTo>
                  <a:lnTo>
                    <a:pt x="1762" y="503"/>
                  </a:lnTo>
                  <a:lnTo>
                    <a:pt x="1775" y="502"/>
                  </a:lnTo>
                  <a:lnTo>
                    <a:pt x="1787" y="501"/>
                  </a:lnTo>
                  <a:lnTo>
                    <a:pt x="1800" y="500"/>
                  </a:lnTo>
                  <a:lnTo>
                    <a:pt x="1812" y="498"/>
                  </a:lnTo>
                  <a:lnTo>
                    <a:pt x="1824" y="495"/>
                  </a:lnTo>
                  <a:lnTo>
                    <a:pt x="1836" y="491"/>
                  </a:lnTo>
                  <a:lnTo>
                    <a:pt x="1848" y="487"/>
                  </a:lnTo>
                  <a:lnTo>
                    <a:pt x="1859" y="483"/>
                  </a:lnTo>
                  <a:lnTo>
                    <a:pt x="1870" y="477"/>
                  </a:lnTo>
                  <a:lnTo>
                    <a:pt x="1881" y="471"/>
                  </a:lnTo>
                  <a:lnTo>
                    <a:pt x="1892" y="465"/>
                  </a:lnTo>
                  <a:lnTo>
                    <a:pt x="1902" y="459"/>
                  </a:lnTo>
                  <a:lnTo>
                    <a:pt x="1912" y="452"/>
                  </a:lnTo>
                  <a:lnTo>
                    <a:pt x="1922" y="445"/>
                  </a:lnTo>
                  <a:lnTo>
                    <a:pt x="1931" y="437"/>
                  </a:lnTo>
                  <a:lnTo>
                    <a:pt x="1940" y="428"/>
                  </a:lnTo>
                  <a:lnTo>
                    <a:pt x="1948" y="420"/>
                  </a:lnTo>
                  <a:lnTo>
                    <a:pt x="1956" y="411"/>
                  </a:lnTo>
                  <a:lnTo>
                    <a:pt x="1963" y="401"/>
                  </a:lnTo>
                  <a:lnTo>
                    <a:pt x="1970" y="391"/>
                  </a:lnTo>
                  <a:lnTo>
                    <a:pt x="1977" y="381"/>
                  </a:lnTo>
                  <a:lnTo>
                    <a:pt x="1983" y="371"/>
                  </a:lnTo>
                  <a:lnTo>
                    <a:pt x="1988" y="360"/>
                  </a:lnTo>
                  <a:lnTo>
                    <a:pt x="1993" y="349"/>
                  </a:lnTo>
                  <a:lnTo>
                    <a:pt x="1998" y="338"/>
                  </a:lnTo>
                  <a:lnTo>
                    <a:pt x="2002" y="326"/>
                  </a:lnTo>
                  <a:lnTo>
                    <a:pt x="2005" y="314"/>
                  </a:lnTo>
                  <a:lnTo>
                    <a:pt x="2008" y="301"/>
                  </a:lnTo>
                  <a:lnTo>
                    <a:pt x="2010" y="289"/>
                  </a:lnTo>
                  <a:lnTo>
                    <a:pt x="2012" y="276"/>
                  </a:lnTo>
                  <a:lnTo>
                    <a:pt x="2013" y="264"/>
                  </a:lnTo>
                  <a:lnTo>
                    <a:pt x="2013" y="251"/>
                  </a:lnTo>
                  <a:lnTo>
                    <a:pt x="2013" y="238"/>
                  </a:lnTo>
                  <a:lnTo>
                    <a:pt x="2012" y="225"/>
                  </a:lnTo>
                  <a:lnTo>
                    <a:pt x="2010" y="213"/>
                  </a:lnTo>
                  <a:lnTo>
                    <a:pt x="2008" y="200"/>
                  </a:lnTo>
                  <a:lnTo>
                    <a:pt x="2005" y="188"/>
                  </a:lnTo>
                  <a:lnTo>
                    <a:pt x="2002" y="176"/>
                  </a:lnTo>
                  <a:lnTo>
                    <a:pt x="1998" y="165"/>
                  </a:lnTo>
                  <a:lnTo>
                    <a:pt x="1993" y="153"/>
                  </a:lnTo>
                  <a:lnTo>
                    <a:pt x="1988" y="141"/>
                  </a:lnTo>
                  <a:lnTo>
                    <a:pt x="1983" y="130"/>
                  </a:lnTo>
                  <a:lnTo>
                    <a:pt x="1977" y="120"/>
                  </a:lnTo>
                  <a:lnTo>
                    <a:pt x="1970" y="110"/>
                  </a:lnTo>
                  <a:lnTo>
                    <a:pt x="1963" y="100"/>
                  </a:lnTo>
                  <a:lnTo>
                    <a:pt x="1956" y="91"/>
                  </a:lnTo>
                  <a:lnTo>
                    <a:pt x="1948" y="82"/>
                  </a:lnTo>
                  <a:lnTo>
                    <a:pt x="1940" y="73"/>
                  </a:lnTo>
                  <a:lnTo>
                    <a:pt x="1931" y="65"/>
                  </a:lnTo>
                  <a:lnTo>
                    <a:pt x="1922" y="57"/>
                  </a:lnTo>
                  <a:lnTo>
                    <a:pt x="1912" y="49"/>
                  </a:lnTo>
                  <a:lnTo>
                    <a:pt x="1902" y="42"/>
                  </a:lnTo>
                  <a:lnTo>
                    <a:pt x="1892" y="36"/>
                  </a:lnTo>
                  <a:lnTo>
                    <a:pt x="1881" y="30"/>
                  </a:lnTo>
                  <a:lnTo>
                    <a:pt x="1870" y="24"/>
                  </a:lnTo>
                  <a:lnTo>
                    <a:pt x="1859" y="19"/>
                  </a:lnTo>
                  <a:lnTo>
                    <a:pt x="1848" y="15"/>
                  </a:lnTo>
                  <a:lnTo>
                    <a:pt x="1836" y="11"/>
                  </a:lnTo>
                  <a:lnTo>
                    <a:pt x="1824" y="7"/>
                  </a:lnTo>
                  <a:lnTo>
                    <a:pt x="1812" y="5"/>
                  </a:lnTo>
                  <a:lnTo>
                    <a:pt x="1800" y="2"/>
                  </a:lnTo>
                  <a:lnTo>
                    <a:pt x="1787" y="1"/>
                  </a:lnTo>
                  <a:lnTo>
                    <a:pt x="1775" y="0"/>
                  </a:lnTo>
                  <a:lnTo>
                    <a:pt x="17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7" name="iṩľiďê">
              <a:extLst>
                <a:ext uri="{FF2B5EF4-FFF2-40B4-BE49-F238E27FC236}">
                  <a16:creationId xmlns:a16="http://schemas.microsoft.com/office/drawing/2014/main" id="{222D004F-3438-4725-9BA9-CC76C38001A1}"/>
                </a:ext>
              </a:extLst>
            </p:cNvPr>
            <p:cNvSpPr/>
            <p:nvPr/>
          </p:nvSpPr>
          <p:spPr bwMode="auto">
            <a:xfrm>
              <a:off x="1041968" y="223424"/>
              <a:ext cx="63202" cy="16386"/>
            </a:xfrm>
            <a:custGeom>
              <a:avLst/>
              <a:gdLst>
                <a:gd name="T0" fmla="*/ 240 w 2013"/>
                <a:gd name="T1" fmla="*/ 0 h 504"/>
                <a:gd name="T2" fmla="*/ 201 w 2013"/>
                <a:gd name="T3" fmla="*/ 6 h 504"/>
                <a:gd name="T4" fmla="*/ 165 w 2013"/>
                <a:gd name="T5" fmla="*/ 16 h 504"/>
                <a:gd name="T6" fmla="*/ 132 w 2013"/>
                <a:gd name="T7" fmla="*/ 31 h 504"/>
                <a:gd name="T8" fmla="*/ 102 w 2013"/>
                <a:gd name="T9" fmla="*/ 51 h 504"/>
                <a:gd name="T10" fmla="*/ 75 w 2013"/>
                <a:gd name="T11" fmla="*/ 74 h 504"/>
                <a:gd name="T12" fmla="*/ 51 w 2013"/>
                <a:gd name="T13" fmla="*/ 102 h 504"/>
                <a:gd name="T14" fmla="*/ 31 w 2013"/>
                <a:gd name="T15" fmla="*/ 132 h 504"/>
                <a:gd name="T16" fmla="*/ 16 w 2013"/>
                <a:gd name="T17" fmla="*/ 165 h 504"/>
                <a:gd name="T18" fmla="*/ 5 w 2013"/>
                <a:gd name="T19" fmla="*/ 202 h 504"/>
                <a:gd name="T20" fmla="*/ 1 w 2013"/>
                <a:gd name="T21" fmla="*/ 239 h 504"/>
                <a:gd name="T22" fmla="*/ 2 w 2013"/>
                <a:gd name="T23" fmla="*/ 278 h 504"/>
                <a:gd name="T24" fmla="*/ 8 w 2013"/>
                <a:gd name="T25" fmla="*/ 315 h 504"/>
                <a:gd name="T26" fmla="*/ 20 w 2013"/>
                <a:gd name="T27" fmla="*/ 350 h 504"/>
                <a:gd name="T28" fmla="*/ 37 w 2013"/>
                <a:gd name="T29" fmla="*/ 383 h 504"/>
                <a:gd name="T30" fmla="*/ 58 w 2013"/>
                <a:gd name="T31" fmla="*/ 412 h 504"/>
                <a:gd name="T32" fmla="*/ 83 w 2013"/>
                <a:gd name="T33" fmla="*/ 438 h 504"/>
                <a:gd name="T34" fmla="*/ 112 w 2013"/>
                <a:gd name="T35" fmla="*/ 460 h 504"/>
                <a:gd name="T36" fmla="*/ 143 w 2013"/>
                <a:gd name="T37" fmla="*/ 479 h 504"/>
                <a:gd name="T38" fmla="*/ 177 w 2013"/>
                <a:gd name="T39" fmla="*/ 492 h 504"/>
                <a:gd name="T40" fmla="*/ 213 w 2013"/>
                <a:gd name="T41" fmla="*/ 501 h 504"/>
                <a:gd name="T42" fmla="*/ 252 w 2013"/>
                <a:gd name="T43" fmla="*/ 504 h 504"/>
                <a:gd name="T44" fmla="*/ 1787 w 2013"/>
                <a:gd name="T45" fmla="*/ 503 h 504"/>
                <a:gd name="T46" fmla="*/ 1824 w 2013"/>
                <a:gd name="T47" fmla="*/ 495 h 504"/>
                <a:gd name="T48" fmla="*/ 1859 w 2013"/>
                <a:gd name="T49" fmla="*/ 484 h 504"/>
                <a:gd name="T50" fmla="*/ 1892 w 2013"/>
                <a:gd name="T51" fmla="*/ 467 h 504"/>
                <a:gd name="T52" fmla="*/ 1922 w 2013"/>
                <a:gd name="T53" fmla="*/ 446 h 504"/>
                <a:gd name="T54" fmla="*/ 1948 w 2013"/>
                <a:gd name="T55" fmla="*/ 421 h 504"/>
                <a:gd name="T56" fmla="*/ 1970 w 2013"/>
                <a:gd name="T57" fmla="*/ 393 h 504"/>
                <a:gd name="T58" fmla="*/ 1988 w 2013"/>
                <a:gd name="T59" fmla="*/ 362 h 504"/>
                <a:gd name="T60" fmla="*/ 2002 w 2013"/>
                <a:gd name="T61" fmla="*/ 326 h 504"/>
                <a:gd name="T62" fmla="*/ 2010 w 2013"/>
                <a:gd name="T63" fmla="*/ 290 h 504"/>
                <a:gd name="T64" fmla="*/ 2013 w 2013"/>
                <a:gd name="T65" fmla="*/ 252 h 504"/>
                <a:gd name="T66" fmla="*/ 2010 w 2013"/>
                <a:gd name="T67" fmla="*/ 214 h 504"/>
                <a:gd name="T68" fmla="*/ 2002 w 2013"/>
                <a:gd name="T69" fmla="*/ 178 h 504"/>
                <a:gd name="T70" fmla="*/ 1988 w 2013"/>
                <a:gd name="T71" fmla="*/ 143 h 504"/>
                <a:gd name="T72" fmla="*/ 1970 w 2013"/>
                <a:gd name="T73" fmla="*/ 111 h 504"/>
                <a:gd name="T74" fmla="*/ 1948 w 2013"/>
                <a:gd name="T75" fmla="*/ 83 h 504"/>
                <a:gd name="T76" fmla="*/ 1922 w 2013"/>
                <a:gd name="T77" fmla="*/ 58 h 504"/>
                <a:gd name="T78" fmla="*/ 1892 w 2013"/>
                <a:gd name="T79" fmla="*/ 37 h 504"/>
                <a:gd name="T80" fmla="*/ 1859 w 2013"/>
                <a:gd name="T81" fmla="*/ 21 h 504"/>
                <a:gd name="T82" fmla="*/ 1824 w 2013"/>
                <a:gd name="T83" fmla="*/ 9 h 504"/>
                <a:gd name="T84" fmla="*/ 1787 w 2013"/>
                <a:gd name="T85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13" h="504">
                  <a:moveTo>
                    <a:pt x="1762" y="0"/>
                  </a:move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3" y="3"/>
                  </a:lnTo>
                  <a:lnTo>
                    <a:pt x="201" y="6"/>
                  </a:lnTo>
                  <a:lnTo>
                    <a:pt x="189" y="9"/>
                  </a:lnTo>
                  <a:lnTo>
                    <a:pt x="177" y="12"/>
                  </a:lnTo>
                  <a:lnTo>
                    <a:pt x="165" y="16"/>
                  </a:lnTo>
                  <a:lnTo>
                    <a:pt x="154" y="21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2" y="37"/>
                  </a:lnTo>
                  <a:lnTo>
                    <a:pt x="112" y="44"/>
                  </a:lnTo>
                  <a:lnTo>
                    <a:pt x="102" y="51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5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3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6" y="165"/>
                  </a:lnTo>
                  <a:lnTo>
                    <a:pt x="12" y="178"/>
                  </a:lnTo>
                  <a:lnTo>
                    <a:pt x="8" y="190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2" y="227"/>
                  </a:lnTo>
                  <a:lnTo>
                    <a:pt x="1" y="239"/>
                  </a:lnTo>
                  <a:lnTo>
                    <a:pt x="0" y="252"/>
                  </a:lnTo>
                  <a:lnTo>
                    <a:pt x="1" y="265"/>
                  </a:lnTo>
                  <a:lnTo>
                    <a:pt x="2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2" y="326"/>
                  </a:lnTo>
                  <a:lnTo>
                    <a:pt x="16" y="339"/>
                  </a:lnTo>
                  <a:lnTo>
                    <a:pt x="20" y="350"/>
                  </a:lnTo>
                  <a:lnTo>
                    <a:pt x="25" y="362"/>
                  </a:lnTo>
                  <a:lnTo>
                    <a:pt x="31" y="372"/>
                  </a:lnTo>
                  <a:lnTo>
                    <a:pt x="37" y="383"/>
                  </a:lnTo>
                  <a:lnTo>
                    <a:pt x="43" y="393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5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4"/>
                  </a:lnTo>
                  <a:lnTo>
                    <a:pt x="112" y="460"/>
                  </a:lnTo>
                  <a:lnTo>
                    <a:pt x="122" y="467"/>
                  </a:lnTo>
                  <a:lnTo>
                    <a:pt x="132" y="473"/>
                  </a:lnTo>
                  <a:lnTo>
                    <a:pt x="143" y="479"/>
                  </a:lnTo>
                  <a:lnTo>
                    <a:pt x="154" y="484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1"/>
                  </a:lnTo>
                  <a:lnTo>
                    <a:pt x="227" y="503"/>
                  </a:lnTo>
                  <a:lnTo>
                    <a:pt x="240" y="504"/>
                  </a:lnTo>
                  <a:lnTo>
                    <a:pt x="252" y="504"/>
                  </a:lnTo>
                  <a:lnTo>
                    <a:pt x="1762" y="504"/>
                  </a:lnTo>
                  <a:lnTo>
                    <a:pt x="1775" y="504"/>
                  </a:lnTo>
                  <a:lnTo>
                    <a:pt x="1787" y="503"/>
                  </a:lnTo>
                  <a:lnTo>
                    <a:pt x="1800" y="501"/>
                  </a:lnTo>
                  <a:lnTo>
                    <a:pt x="1812" y="498"/>
                  </a:lnTo>
                  <a:lnTo>
                    <a:pt x="1824" y="495"/>
                  </a:lnTo>
                  <a:lnTo>
                    <a:pt x="1836" y="492"/>
                  </a:lnTo>
                  <a:lnTo>
                    <a:pt x="1848" y="488"/>
                  </a:lnTo>
                  <a:lnTo>
                    <a:pt x="1859" y="484"/>
                  </a:lnTo>
                  <a:lnTo>
                    <a:pt x="1870" y="479"/>
                  </a:lnTo>
                  <a:lnTo>
                    <a:pt x="1881" y="473"/>
                  </a:lnTo>
                  <a:lnTo>
                    <a:pt x="1892" y="467"/>
                  </a:lnTo>
                  <a:lnTo>
                    <a:pt x="1902" y="460"/>
                  </a:lnTo>
                  <a:lnTo>
                    <a:pt x="1912" y="454"/>
                  </a:lnTo>
                  <a:lnTo>
                    <a:pt x="1922" y="446"/>
                  </a:lnTo>
                  <a:lnTo>
                    <a:pt x="1931" y="438"/>
                  </a:lnTo>
                  <a:lnTo>
                    <a:pt x="1940" y="430"/>
                  </a:lnTo>
                  <a:lnTo>
                    <a:pt x="1948" y="421"/>
                  </a:lnTo>
                  <a:lnTo>
                    <a:pt x="1956" y="412"/>
                  </a:lnTo>
                  <a:lnTo>
                    <a:pt x="1963" y="403"/>
                  </a:lnTo>
                  <a:lnTo>
                    <a:pt x="1970" y="393"/>
                  </a:lnTo>
                  <a:lnTo>
                    <a:pt x="1977" y="383"/>
                  </a:lnTo>
                  <a:lnTo>
                    <a:pt x="1983" y="372"/>
                  </a:lnTo>
                  <a:lnTo>
                    <a:pt x="1988" y="362"/>
                  </a:lnTo>
                  <a:lnTo>
                    <a:pt x="1993" y="350"/>
                  </a:lnTo>
                  <a:lnTo>
                    <a:pt x="1998" y="339"/>
                  </a:lnTo>
                  <a:lnTo>
                    <a:pt x="2002" y="326"/>
                  </a:lnTo>
                  <a:lnTo>
                    <a:pt x="2005" y="315"/>
                  </a:lnTo>
                  <a:lnTo>
                    <a:pt x="2008" y="303"/>
                  </a:lnTo>
                  <a:lnTo>
                    <a:pt x="2010" y="290"/>
                  </a:lnTo>
                  <a:lnTo>
                    <a:pt x="2012" y="278"/>
                  </a:lnTo>
                  <a:lnTo>
                    <a:pt x="2013" y="265"/>
                  </a:lnTo>
                  <a:lnTo>
                    <a:pt x="2013" y="252"/>
                  </a:lnTo>
                  <a:lnTo>
                    <a:pt x="2013" y="239"/>
                  </a:lnTo>
                  <a:lnTo>
                    <a:pt x="2012" y="227"/>
                  </a:lnTo>
                  <a:lnTo>
                    <a:pt x="2010" y="214"/>
                  </a:lnTo>
                  <a:lnTo>
                    <a:pt x="2008" y="202"/>
                  </a:lnTo>
                  <a:lnTo>
                    <a:pt x="2005" y="190"/>
                  </a:lnTo>
                  <a:lnTo>
                    <a:pt x="2002" y="178"/>
                  </a:lnTo>
                  <a:lnTo>
                    <a:pt x="1998" y="165"/>
                  </a:lnTo>
                  <a:lnTo>
                    <a:pt x="1993" y="154"/>
                  </a:lnTo>
                  <a:lnTo>
                    <a:pt x="1988" y="143"/>
                  </a:lnTo>
                  <a:lnTo>
                    <a:pt x="1983" y="132"/>
                  </a:lnTo>
                  <a:lnTo>
                    <a:pt x="1977" y="122"/>
                  </a:lnTo>
                  <a:lnTo>
                    <a:pt x="1970" y="111"/>
                  </a:lnTo>
                  <a:lnTo>
                    <a:pt x="1963" y="102"/>
                  </a:lnTo>
                  <a:lnTo>
                    <a:pt x="1956" y="92"/>
                  </a:lnTo>
                  <a:lnTo>
                    <a:pt x="1948" y="83"/>
                  </a:lnTo>
                  <a:lnTo>
                    <a:pt x="1940" y="74"/>
                  </a:lnTo>
                  <a:lnTo>
                    <a:pt x="1931" y="66"/>
                  </a:lnTo>
                  <a:lnTo>
                    <a:pt x="1922" y="58"/>
                  </a:lnTo>
                  <a:lnTo>
                    <a:pt x="1912" y="51"/>
                  </a:lnTo>
                  <a:lnTo>
                    <a:pt x="1902" y="44"/>
                  </a:lnTo>
                  <a:lnTo>
                    <a:pt x="1892" y="37"/>
                  </a:lnTo>
                  <a:lnTo>
                    <a:pt x="1881" y="31"/>
                  </a:lnTo>
                  <a:lnTo>
                    <a:pt x="1870" y="26"/>
                  </a:lnTo>
                  <a:lnTo>
                    <a:pt x="1859" y="21"/>
                  </a:lnTo>
                  <a:lnTo>
                    <a:pt x="1848" y="16"/>
                  </a:lnTo>
                  <a:lnTo>
                    <a:pt x="1836" y="12"/>
                  </a:lnTo>
                  <a:lnTo>
                    <a:pt x="1824" y="9"/>
                  </a:lnTo>
                  <a:lnTo>
                    <a:pt x="1812" y="6"/>
                  </a:lnTo>
                  <a:lnTo>
                    <a:pt x="1800" y="3"/>
                  </a:lnTo>
                  <a:lnTo>
                    <a:pt x="1787" y="1"/>
                  </a:lnTo>
                  <a:lnTo>
                    <a:pt x="1775" y="0"/>
                  </a:lnTo>
                  <a:lnTo>
                    <a:pt x="17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8" name="íṧlïḍê">
              <a:extLst>
                <a:ext uri="{FF2B5EF4-FFF2-40B4-BE49-F238E27FC236}">
                  <a16:creationId xmlns:a16="http://schemas.microsoft.com/office/drawing/2014/main" id="{15591E16-A4A7-4583-A9D5-1CADBFC6071C}"/>
                </a:ext>
              </a:extLst>
            </p:cNvPr>
            <p:cNvSpPr/>
            <p:nvPr/>
          </p:nvSpPr>
          <p:spPr bwMode="auto">
            <a:xfrm>
              <a:off x="771603" y="156710"/>
              <a:ext cx="94803" cy="66714"/>
            </a:xfrm>
            <a:custGeom>
              <a:avLst/>
              <a:gdLst>
                <a:gd name="T0" fmla="*/ 420 w 3005"/>
                <a:gd name="T1" fmla="*/ 185 h 2110"/>
                <a:gd name="T2" fmla="*/ 370 w 3005"/>
                <a:gd name="T3" fmla="*/ 200 h 2110"/>
                <a:gd name="T4" fmla="*/ 323 w 3005"/>
                <a:gd name="T5" fmla="*/ 224 h 2110"/>
                <a:gd name="T6" fmla="*/ 257 w 3005"/>
                <a:gd name="T7" fmla="*/ 273 h 2110"/>
                <a:gd name="T8" fmla="*/ 205 w 3005"/>
                <a:gd name="T9" fmla="*/ 336 h 2110"/>
                <a:gd name="T10" fmla="*/ 178 w 3005"/>
                <a:gd name="T11" fmla="*/ 383 h 2110"/>
                <a:gd name="T12" fmla="*/ 160 w 3005"/>
                <a:gd name="T13" fmla="*/ 432 h 2110"/>
                <a:gd name="T14" fmla="*/ 0 w 3005"/>
                <a:gd name="T15" fmla="*/ 1872 h 2110"/>
                <a:gd name="T16" fmla="*/ 5 w 3005"/>
                <a:gd name="T17" fmla="*/ 1922 h 2110"/>
                <a:gd name="T18" fmla="*/ 20 w 3005"/>
                <a:gd name="T19" fmla="*/ 1968 h 2110"/>
                <a:gd name="T20" fmla="*/ 43 w 3005"/>
                <a:gd name="T21" fmla="*/ 2009 h 2110"/>
                <a:gd name="T22" fmla="*/ 74 w 3005"/>
                <a:gd name="T23" fmla="*/ 2045 h 2110"/>
                <a:gd name="T24" fmla="*/ 111 w 3005"/>
                <a:gd name="T25" fmla="*/ 2074 h 2110"/>
                <a:gd name="T26" fmla="*/ 154 w 3005"/>
                <a:gd name="T27" fmla="*/ 2095 h 2110"/>
                <a:gd name="T28" fmla="*/ 201 w 3005"/>
                <a:gd name="T29" fmla="*/ 2107 h 2110"/>
                <a:gd name="T30" fmla="*/ 251 w 3005"/>
                <a:gd name="T31" fmla="*/ 2110 h 2110"/>
                <a:gd name="T32" fmla="*/ 302 w 3005"/>
                <a:gd name="T33" fmla="*/ 2102 h 2110"/>
                <a:gd name="T34" fmla="*/ 348 w 3005"/>
                <a:gd name="T35" fmla="*/ 2085 h 2110"/>
                <a:gd name="T36" fmla="*/ 390 w 3005"/>
                <a:gd name="T37" fmla="*/ 2060 h 2110"/>
                <a:gd name="T38" fmla="*/ 427 w 3005"/>
                <a:gd name="T39" fmla="*/ 2028 h 2110"/>
                <a:gd name="T40" fmla="*/ 458 w 3005"/>
                <a:gd name="T41" fmla="*/ 1989 h 2110"/>
                <a:gd name="T42" fmla="*/ 481 w 3005"/>
                <a:gd name="T43" fmla="*/ 1945 h 2110"/>
                <a:gd name="T44" fmla="*/ 495 w 3005"/>
                <a:gd name="T45" fmla="*/ 1897 h 2110"/>
                <a:gd name="T46" fmla="*/ 583 w 3005"/>
                <a:gd name="T47" fmla="*/ 906 h 2110"/>
                <a:gd name="T48" fmla="*/ 595 w 3005"/>
                <a:gd name="T49" fmla="*/ 855 h 2110"/>
                <a:gd name="T50" fmla="*/ 616 w 3005"/>
                <a:gd name="T51" fmla="*/ 807 h 2110"/>
                <a:gd name="T52" fmla="*/ 646 w 3005"/>
                <a:gd name="T53" fmla="*/ 762 h 2110"/>
                <a:gd name="T54" fmla="*/ 681 w 3005"/>
                <a:gd name="T55" fmla="*/ 722 h 2110"/>
                <a:gd name="T56" fmla="*/ 722 w 3005"/>
                <a:gd name="T57" fmla="*/ 688 h 2110"/>
                <a:gd name="T58" fmla="*/ 767 w 3005"/>
                <a:gd name="T59" fmla="*/ 661 h 2110"/>
                <a:gd name="T60" fmla="*/ 817 w 3005"/>
                <a:gd name="T61" fmla="*/ 642 h 2110"/>
                <a:gd name="T62" fmla="*/ 867 w 3005"/>
                <a:gd name="T63" fmla="*/ 632 h 2110"/>
                <a:gd name="T64" fmla="*/ 2791 w 3005"/>
                <a:gd name="T65" fmla="*/ 498 h 2110"/>
                <a:gd name="T66" fmla="*/ 2840 w 3005"/>
                <a:gd name="T67" fmla="*/ 484 h 2110"/>
                <a:gd name="T68" fmla="*/ 2884 w 3005"/>
                <a:gd name="T69" fmla="*/ 461 h 2110"/>
                <a:gd name="T70" fmla="*/ 2922 w 3005"/>
                <a:gd name="T71" fmla="*/ 430 h 2110"/>
                <a:gd name="T72" fmla="*/ 2955 w 3005"/>
                <a:gd name="T73" fmla="*/ 393 h 2110"/>
                <a:gd name="T74" fmla="*/ 2980 w 3005"/>
                <a:gd name="T75" fmla="*/ 351 h 2110"/>
                <a:gd name="T76" fmla="*/ 2998 w 3005"/>
                <a:gd name="T77" fmla="*/ 305 h 2110"/>
                <a:gd name="T78" fmla="*/ 3005 w 3005"/>
                <a:gd name="T79" fmla="*/ 254 h 2110"/>
                <a:gd name="T80" fmla="*/ 3003 w 3005"/>
                <a:gd name="T81" fmla="*/ 203 h 2110"/>
                <a:gd name="T82" fmla="*/ 2989 w 3005"/>
                <a:gd name="T83" fmla="*/ 156 h 2110"/>
                <a:gd name="T84" fmla="*/ 2968 w 3005"/>
                <a:gd name="T85" fmla="*/ 112 h 2110"/>
                <a:gd name="T86" fmla="*/ 2939 w 3005"/>
                <a:gd name="T87" fmla="*/ 74 h 2110"/>
                <a:gd name="T88" fmla="*/ 2904 w 3005"/>
                <a:gd name="T89" fmla="*/ 44 h 2110"/>
                <a:gd name="T90" fmla="*/ 2863 w 3005"/>
                <a:gd name="T91" fmla="*/ 20 h 2110"/>
                <a:gd name="T92" fmla="*/ 2816 w 3005"/>
                <a:gd name="T93" fmla="*/ 5 h 2110"/>
                <a:gd name="T94" fmla="*/ 2766 w 3005"/>
                <a:gd name="T95" fmla="*/ 0 h 2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005" h="2110">
                  <a:moveTo>
                    <a:pt x="2753" y="0"/>
                  </a:moveTo>
                  <a:lnTo>
                    <a:pt x="446" y="180"/>
                  </a:lnTo>
                  <a:lnTo>
                    <a:pt x="433" y="182"/>
                  </a:lnTo>
                  <a:lnTo>
                    <a:pt x="420" y="185"/>
                  </a:lnTo>
                  <a:lnTo>
                    <a:pt x="408" y="188"/>
                  </a:lnTo>
                  <a:lnTo>
                    <a:pt x="395" y="191"/>
                  </a:lnTo>
                  <a:lnTo>
                    <a:pt x="383" y="195"/>
                  </a:lnTo>
                  <a:lnTo>
                    <a:pt x="370" y="200"/>
                  </a:lnTo>
                  <a:lnTo>
                    <a:pt x="358" y="205"/>
                  </a:lnTo>
                  <a:lnTo>
                    <a:pt x="346" y="211"/>
                  </a:lnTo>
                  <a:lnTo>
                    <a:pt x="334" y="217"/>
                  </a:lnTo>
                  <a:lnTo>
                    <a:pt x="323" y="224"/>
                  </a:lnTo>
                  <a:lnTo>
                    <a:pt x="311" y="231"/>
                  </a:lnTo>
                  <a:lnTo>
                    <a:pt x="300" y="239"/>
                  </a:lnTo>
                  <a:lnTo>
                    <a:pt x="277" y="255"/>
                  </a:lnTo>
                  <a:lnTo>
                    <a:pt x="257" y="273"/>
                  </a:lnTo>
                  <a:lnTo>
                    <a:pt x="238" y="294"/>
                  </a:lnTo>
                  <a:lnTo>
                    <a:pt x="220" y="314"/>
                  </a:lnTo>
                  <a:lnTo>
                    <a:pt x="212" y="325"/>
                  </a:lnTo>
                  <a:lnTo>
                    <a:pt x="205" y="336"/>
                  </a:lnTo>
                  <a:lnTo>
                    <a:pt x="197" y="347"/>
                  </a:lnTo>
                  <a:lnTo>
                    <a:pt x="190" y="359"/>
                  </a:lnTo>
                  <a:lnTo>
                    <a:pt x="184" y="371"/>
                  </a:lnTo>
                  <a:lnTo>
                    <a:pt x="178" y="383"/>
                  </a:lnTo>
                  <a:lnTo>
                    <a:pt x="173" y="395"/>
                  </a:lnTo>
                  <a:lnTo>
                    <a:pt x="168" y="407"/>
                  </a:lnTo>
                  <a:lnTo>
                    <a:pt x="164" y="419"/>
                  </a:lnTo>
                  <a:lnTo>
                    <a:pt x="160" y="432"/>
                  </a:lnTo>
                  <a:lnTo>
                    <a:pt x="157" y="444"/>
                  </a:lnTo>
                  <a:lnTo>
                    <a:pt x="155" y="457"/>
                  </a:lnTo>
                  <a:lnTo>
                    <a:pt x="1" y="1859"/>
                  </a:lnTo>
                  <a:lnTo>
                    <a:pt x="0" y="1872"/>
                  </a:lnTo>
                  <a:lnTo>
                    <a:pt x="1" y="1885"/>
                  </a:lnTo>
                  <a:lnTo>
                    <a:pt x="2" y="1897"/>
                  </a:lnTo>
                  <a:lnTo>
                    <a:pt x="3" y="1910"/>
                  </a:lnTo>
                  <a:lnTo>
                    <a:pt x="5" y="1922"/>
                  </a:lnTo>
                  <a:lnTo>
                    <a:pt x="8" y="1933"/>
                  </a:lnTo>
                  <a:lnTo>
                    <a:pt x="12" y="1945"/>
                  </a:lnTo>
                  <a:lnTo>
                    <a:pt x="16" y="1957"/>
                  </a:lnTo>
                  <a:lnTo>
                    <a:pt x="20" y="1968"/>
                  </a:lnTo>
                  <a:lnTo>
                    <a:pt x="25" y="1979"/>
                  </a:lnTo>
                  <a:lnTo>
                    <a:pt x="31" y="1990"/>
                  </a:lnTo>
                  <a:lnTo>
                    <a:pt x="37" y="2000"/>
                  </a:lnTo>
                  <a:lnTo>
                    <a:pt x="43" y="2009"/>
                  </a:lnTo>
                  <a:lnTo>
                    <a:pt x="50" y="2019"/>
                  </a:lnTo>
                  <a:lnTo>
                    <a:pt x="57" y="2028"/>
                  </a:lnTo>
                  <a:lnTo>
                    <a:pt x="65" y="2037"/>
                  </a:lnTo>
                  <a:lnTo>
                    <a:pt x="74" y="2045"/>
                  </a:lnTo>
                  <a:lnTo>
                    <a:pt x="82" y="2053"/>
                  </a:lnTo>
                  <a:lnTo>
                    <a:pt x="91" y="2060"/>
                  </a:lnTo>
                  <a:lnTo>
                    <a:pt x="101" y="2067"/>
                  </a:lnTo>
                  <a:lnTo>
                    <a:pt x="111" y="2074"/>
                  </a:lnTo>
                  <a:lnTo>
                    <a:pt x="122" y="2080"/>
                  </a:lnTo>
                  <a:lnTo>
                    <a:pt x="132" y="2085"/>
                  </a:lnTo>
                  <a:lnTo>
                    <a:pt x="143" y="2090"/>
                  </a:lnTo>
                  <a:lnTo>
                    <a:pt x="154" y="2095"/>
                  </a:lnTo>
                  <a:lnTo>
                    <a:pt x="165" y="2099"/>
                  </a:lnTo>
                  <a:lnTo>
                    <a:pt x="177" y="2102"/>
                  </a:lnTo>
                  <a:lnTo>
                    <a:pt x="189" y="2105"/>
                  </a:lnTo>
                  <a:lnTo>
                    <a:pt x="201" y="2107"/>
                  </a:lnTo>
                  <a:lnTo>
                    <a:pt x="213" y="2109"/>
                  </a:lnTo>
                  <a:lnTo>
                    <a:pt x="226" y="2110"/>
                  </a:lnTo>
                  <a:lnTo>
                    <a:pt x="239" y="2110"/>
                  </a:lnTo>
                  <a:lnTo>
                    <a:pt x="251" y="2110"/>
                  </a:lnTo>
                  <a:lnTo>
                    <a:pt x="264" y="2109"/>
                  </a:lnTo>
                  <a:lnTo>
                    <a:pt x="276" y="2107"/>
                  </a:lnTo>
                  <a:lnTo>
                    <a:pt x="290" y="2105"/>
                  </a:lnTo>
                  <a:lnTo>
                    <a:pt x="302" y="2102"/>
                  </a:lnTo>
                  <a:lnTo>
                    <a:pt x="314" y="2099"/>
                  </a:lnTo>
                  <a:lnTo>
                    <a:pt x="325" y="2095"/>
                  </a:lnTo>
                  <a:lnTo>
                    <a:pt x="337" y="2090"/>
                  </a:lnTo>
                  <a:lnTo>
                    <a:pt x="348" y="2085"/>
                  </a:lnTo>
                  <a:lnTo>
                    <a:pt x="359" y="2080"/>
                  </a:lnTo>
                  <a:lnTo>
                    <a:pt x="370" y="2074"/>
                  </a:lnTo>
                  <a:lnTo>
                    <a:pt x="380" y="2067"/>
                  </a:lnTo>
                  <a:lnTo>
                    <a:pt x="390" y="2060"/>
                  </a:lnTo>
                  <a:lnTo>
                    <a:pt x="400" y="2053"/>
                  </a:lnTo>
                  <a:lnTo>
                    <a:pt x="409" y="2045"/>
                  </a:lnTo>
                  <a:lnTo>
                    <a:pt x="418" y="2037"/>
                  </a:lnTo>
                  <a:lnTo>
                    <a:pt x="427" y="2028"/>
                  </a:lnTo>
                  <a:lnTo>
                    <a:pt x="435" y="2019"/>
                  </a:lnTo>
                  <a:lnTo>
                    <a:pt x="443" y="2009"/>
                  </a:lnTo>
                  <a:lnTo>
                    <a:pt x="450" y="2000"/>
                  </a:lnTo>
                  <a:lnTo>
                    <a:pt x="458" y="1989"/>
                  </a:lnTo>
                  <a:lnTo>
                    <a:pt x="465" y="1979"/>
                  </a:lnTo>
                  <a:lnTo>
                    <a:pt x="471" y="1968"/>
                  </a:lnTo>
                  <a:lnTo>
                    <a:pt x="476" y="1957"/>
                  </a:lnTo>
                  <a:lnTo>
                    <a:pt x="481" y="1945"/>
                  </a:lnTo>
                  <a:lnTo>
                    <a:pt x="485" y="1933"/>
                  </a:lnTo>
                  <a:lnTo>
                    <a:pt x="489" y="1921"/>
                  </a:lnTo>
                  <a:lnTo>
                    <a:pt x="493" y="1909"/>
                  </a:lnTo>
                  <a:lnTo>
                    <a:pt x="495" y="1897"/>
                  </a:lnTo>
                  <a:lnTo>
                    <a:pt x="497" y="1884"/>
                  </a:lnTo>
                  <a:lnTo>
                    <a:pt x="499" y="1872"/>
                  </a:lnTo>
                  <a:lnTo>
                    <a:pt x="500" y="1859"/>
                  </a:lnTo>
                  <a:lnTo>
                    <a:pt x="583" y="906"/>
                  </a:lnTo>
                  <a:lnTo>
                    <a:pt x="585" y="893"/>
                  </a:lnTo>
                  <a:lnTo>
                    <a:pt x="588" y="880"/>
                  </a:lnTo>
                  <a:lnTo>
                    <a:pt x="591" y="868"/>
                  </a:lnTo>
                  <a:lnTo>
                    <a:pt x="595" y="855"/>
                  </a:lnTo>
                  <a:lnTo>
                    <a:pt x="600" y="843"/>
                  </a:lnTo>
                  <a:lnTo>
                    <a:pt x="605" y="831"/>
                  </a:lnTo>
                  <a:lnTo>
                    <a:pt x="610" y="819"/>
                  </a:lnTo>
                  <a:lnTo>
                    <a:pt x="616" y="807"/>
                  </a:lnTo>
                  <a:lnTo>
                    <a:pt x="622" y="796"/>
                  </a:lnTo>
                  <a:lnTo>
                    <a:pt x="630" y="784"/>
                  </a:lnTo>
                  <a:lnTo>
                    <a:pt x="638" y="773"/>
                  </a:lnTo>
                  <a:lnTo>
                    <a:pt x="646" y="762"/>
                  </a:lnTo>
                  <a:lnTo>
                    <a:pt x="654" y="751"/>
                  </a:lnTo>
                  <a:lnTo>
                    <a:pt x="663" y="741"/>
                  </a:lnTo>
                  <a:lnTo>
                    <a:pt x="672" y="731"/>
                  </a:lnTo>
                  <a:lnTo>
                    <a:pt x="681" y="722"/>
                  </a:lnTo>
                  <a:lnTo>
                    <a:pt x="691" y="713"/>
                  </a:lnTo>
                  <a:lnTo>
                    <a:pt x="701" y="704"/>
                  </a:lnTo>
                  <a:lnTo>
                    <a:pt x="711" y="696"/>
                  </a:lnTo>
                  <a:lnTo>
                    <a:pt x="722" y="688"/>
                  </a:lnTo>
                  <a:lnTo>
                    <a:pt x="733" y="680"/>
                  </a:lnTo>
                  <a:lnTo>
                    <a:pt x="744" y="673"/>
                  </a:lnTo>
                  <a:lnTo>
                    <a:pt x="756" y="667"/>
                  </a:lnTo>
                  <a:lnTo>
                    <a:pt x="767" y="661"/>
                  </a:lnTo>
                  <a:lnTo>
                    <a:pt x="779" y="655"/>
                  </a:lnTo>
                  <a:lnTo>
                    <a:pt x="791" y="650"/>
                  </a:lnTo>
                  <a:lnTo>
                    <a:pt x="804" y="646"/>
                  </a:lnTo>
                  <a:lnTo>
                    <a:pt x="817" y="642"/>
                  </a:lnTo>
                  <a:lnTo>
                    <a:pt x="829" y="638"/>
                  </a:lnTo>
                  <a:lnTo>
                    <a:pt x="842" y="635"/>
                  </a:lnTo>
                  <a:lnTo>
                    <a:pt x="855" y="633"/>
                  </a:lnTo>
                  <a:lnTo>
                    <a:pt x="867" y="632"/>
                  </a:lnTo>
                  <a:lnTo>
                    <a:pt x="2753" y="502"/>
                  </a:lnTo>
                  <a:lnTo>
                    <a:pt x="2766" y="501"/>
                  </a:lnTo>
                  <a:lnTo>
                    <a:pt x="2779" y="500"/>
                  </a:lnTo>
                  <a:lnTo>
                    <a:pt x="2791" y="498"/>
                  </a:lnTo>
                  <a:lnTo>
                    <a:pt x="2804" y="495"/>
                  </a:lnTo>
                  <a:lnTo>
                    <a:pt x="2816" y="492"/>
                  </a:lnTo>
                  <a:lnTo>
                    <a:pt x="2829" y="488"/>
                  </a:lnTo>
                  <a:lnTo>
                    <a:pt x="2840" y="484"/>
                  </a:lnTo>
                  <a:lnTo>
                    <a:pt x="2851" y="479"/>
                  </a:lnTo>
                  <a:lnTo>
                    <a:pt x="2863" y="473"/>
                  </a:lnTo>
                  <a:lnTo>
                    <a:pt x="2873" y="467"/>
                  </a:lnTo>
                  <a:lnTo>
                    <a:pt x="2884" y="461"/>
                  </a:lnTo>
                  <a:lnTo>
                    <a:pt x="2894" y="453"/>
                  </a:lnTo>
                  <a:lnTo>
                    <a:pt x="2904" y="446"/>
                  </a:lnTo>
                  <a:lnTo>
                    <a:pt x="2913" y="438"/>
                  </a:lnTo>
                  <a:lnTo>
                    <a:pt x="2922" y="430"/>
                  </a:lnTo>
                  <a:lnTo>
                    <a:pt x="2931" y="421"/>
                  </a:lnTo>
                  <a:lnTo>
                    <a:pt x="2939" y="412"/>
                  </a:lnTo>
                  <a:lnTo>
                    <a:pt x="2947" y="403"/>
                  </a:lnTo>
                  <a:lnTo>
                    <a:pt x="2955" y="393"/>
                  </a:lnTo>
                  <a:lnTo>
                    <a:pt x="2962" y="383"/>
                  </a:lnTo>
                  <a:lnTo>
                    <a:pt x="2968" y="373"/>
                  </a:lnTo>
                  <a:lnTo>
                    <a:pt x="2974" y="362"/>
                  </a:lnTo>
                  <a:lnTo>
                    <a:pt x="2980" y="351"/>
                  </a:lnTo>
                  <a:lnTo>
                    <a:pt x="2985" y="340"/>
                  </a:lnTo>
                  <a:lnTo>
                    <a:pt x="2989" y="328"/>
                  </a:lnTo>
                  <a:lnTo>
                    <a:pt x="2993" y="317"/>
                  </a:lnTo>
                  <a:lnTo>
                    <a:pt x="2998" y="305"/>
                  </a:lnTo>
                  <a:lnTo>
                    <a:pt x="3000" y="291"/>
                  </a:lnTo>
                  <a:lnTo>
                    <a:pt x="3003" y="279"/>
                  </a:lnTo>
                  <a:lnTo>
                    <a:pt x="3004" y="267"/>
                  </a:lnTo>
                  <a:lnTo>
                    <a:pt x="3005" y="254"/>
                  </a:lnTo>
                  <a:lnTo>
                    <a:pt x="3005" y="241"/>
                  </a:lnTo>
                  <a:lnTo>
                    <a:pt x="3005" y="228"/>
                  </a:lnTo>
                  <a:lnTo>
                    <a:pt x="3004" y="215"/>
                  </a:lnTo>
                  <a:lnTo>
                    <a:pt x="3003" y="203"/>
                  </a:lnTo>
                  <a:lnTo>
                    <a:pt x="3000" y="191"/>
                  </a:lnTo>
                  <a:lnTo>
                    <a:pt x="2998" y="179"/>
                  </a:lnTo>
                  <a:lnTo>
                    <a:pt x="2993" y="167"/>
                  </a:lnTo>
                  <a:lnTo>
                    <a:pt x="2989" y="156"/>
                  </a:lnTo>
                  <a:lnTo>
                    <a:pt x="2985" y="145"/>
                  </a:lnTo>
                  <a:lnTo>
                    <a:pt x="2980" y="134"/>
                  </a:lnTo>
                  <a:lnTo>
                    <a:pt x="2974" y="122"/>
                  </a:lnTo>
                  <a:lnTo>
                    <a:pt x="2968" y="112"/>
                  </a:lnTo>
                  <a:lnTo>
                    <a:pt x="2962" y="102"/>
                  </a:lnTo>
                  <a:lnTo>
                    <a:pt x="2955" y="92"/>
                  </a:lnTo>
                  <a:lnTo>
                    <a:pt x="2947" y="83"/>
                  </a:lnTo>
                  <a:lnTo>
                    <a:pt x="2939" y="74"/>
                  </a:lnTo>
                  <a:lnTo>
                    <a:pt x="2931" y="66"/>
                  </a:lnTo>
                  <a:lnTo>
                    <a:pt x="2922" y="58"/>
                  </a:lnTo>
                  <a:lnTo>
                    <a:pt x="2913" y="51"/>
                  </a:lnTo>
                  <a:lnTo>
                    <a:pt x="2904" y="44"/>
                  </a:lnTo>
                  <a:lnTo>
                    <a:pt x="2894" y="37"/>
                  </a:lnTo>
                  <a:lnTo>
                    <a:pt x="2884" y="31"/>
                  </a:lnTo>
                  <a:lnTo>
                    <a:pt x="2873" y="25"/>
                  </a:lnTo>
                  <a:lnTo>
                    <a:pt x="2863" y="20"/>
                  </a:lnTo>
                  <a:lnTo>
                    <a:pt x="2851" y="16"/>
                  </a:lnTo>
                  <a:lnTo>
                    <a:pt x="2840" y="12"/>
                  </a:lnTo>
                  <a:lnTo>
                    <a:pt x="2829" y="8"/>
                  </a:lnTo>
                  <a:lnTo>
                    <a:pt x="2816" y="5"/>
                  </a:lnTo>
                  <a:lnTo>
                    <a:pt x="2804" y="3"/>
                  </a:lnTo>
                  <a:lnTo>
                    <a:pt x="2791" y="1"/>
                  </a:lnTo>
                  <a:lnTo>
                    <a:pt x="2779" y="0"/>
                  </a:lnTo>
                  <a:lnTo>
                    <a:pt x="2766" y="0"/>
                  </a:lnTo>
                  <a:lnTo>
                    <a:pt x="275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9" name="ïŝlîďê">
              <a:extLst>
                <a:ext uri="{FF2B5EF4-FFF2-40B4-BE49-F238E27FC236}">
                  <a16:creationId xmlns:a16="http://schemas.microsoft.com/office/drawing/2014/main" id="{7E5BE295-7EF4-4AE7-9CAD-B2FAC33BE01E}"/>
                </a:ext>
              </a:extLst>
            </p:cNvPr>
            <p:cNvSpPr/>
            <p:nvPr/>
          </p:nvSpPr>
          <p:spPr bwMode="auto">
            <a:xfrm>
              <a:off x="870985" y="772660"/>
              <a:ext cx="404054" cy="361004"/>
            </a:xfrm>
            <a:custGeom>
              <a:avLst/>
              <a:gdLst>
                <a:gd name="T0" fmla="*/ 8326 w 16095"/>
                <a:gd name="T1" fmla="*/ 13008 h 14096"/>
                <a:gd name="T2" fmla="*/ 8191 w 16095"/>
                <a:gd name="T3" fmla="*/ 13069 h 14096"/>
                <a:gd name="T4" fmla="*/ 8048 w 16095"/>
                <a:gd name="T5" fmla="*/ 13090 h 14096"/>
                <a:gd name="T6" fmla="*/ 7903 w 16095"/>
                <a:gd name="T7" fmla="*/ 13069 h 14096"/>
                <a:gd name="T8" fmla="*/ 7768 w 16095"/>
                <a:gd name="T9" fmla="*/ 13008 h 14096"/>
                <a:gd name="T10" fmla="*/ 1995 w 16095"/>
                <a:gd name="T11" fmla="*/ 7293 h 14096"/>
                <a:gd name="T12" fmla="*/ 1368 w 16095"/>
                <a:gd name="T13" fmla="*/ 6355 h 14096"/>
                <a:gd name="T14" fmla="*/ 1055 w 16095"/>
                <a:gd name="T15" fmla="*/ 5309 h 14096"/>
                <a:gd name="T16" fmla="*/ 1055 w 16095"/>
                <a:gd name="T17" fmla="*/ 4226 h 14096"/>
                <a:gd name="T18" fmla="*/ 1368 w 16095"/>
                <a:gd name="T19" fmla="*/ 3179 h 14096"/>
                <a:gd name="T20" fmla="*/ 1995 w 16095"/>
                <a:gd name="T21" fmla="*/ 2241 h 14096"/>
                <a:gd name="T22" fmla="*/ 2857 w 16095"/>
                <a:gd name="T23" fmla="*/ 1536 h 14096"/>
                <a:gd name="T24" fmla="*/ 3845 w 16095"/>
                <a:gd name="T25" fmla="*/ 1126 h 14096"/>
                <a:gd name="T26" fmla="*/ 4896 w 16095"/>
                <a:gd name="T27" fmla="*/ 1005 h 14096"/>
                <a:gd name="T28" fmla="*/ 5943 w 16095"/>
                <a:gd name="T29" fmla="*/ 1178 h 14096"/>
                <a:gd name="T30" fmla="*/ 6922 w 16095"/>
                <a:gd name="T31" fmla="*/ 1644 h 14096"/>
                <a:gd name="T32" fmla="*/ 8873 w 16095"/>
                <a:gd name="T33" fmla="*/ 1866 h 14096"/>
                <a:gd name="T34" fmla="*/ 9814 w 16095"/>
                <a:gd name="T35" fmla="*/ 1301 h 14096"/>
                <a:gd name="T36" fmla="*/ 10846 w 16095"/>
                <a:gd name="T37" fmla="*/ 1030 h 14096"/>
                <a:gd name="T38" fmla="*/ 11903 w 16095"/>
                <a:gd name="T39" fmla="*/ 1053 h 14096"/>
                <a:gd name="T40" fmla="*/ 12919 w 16095"/>
                <a:gd name="T41" fmla="*/ 1367 h 14096"/>
                <a:gd name="T42" fmla="*/ 13830 w 16095"/>
                <a:gd name="T43" fmla="*/ 1971 h 14096"/>
                <a:gd name="T44" fmla="*/ 14553 w 16095"/>
                <a:gd name="T45" fmla="*/ 2850 h 14096"/>
                <a:gd name="T46" fmla="*/ 14970 w 16095"/>
                <a:gd name="T47" fmla="*/ 3868 h 14096"/>
                <a:gd name="T48" fmla="*/ 15074 w 16095"/>
                <a:gd name="T49" fmla="*/ 4948 h 14096"/>
                <a:gd name="T50" fmla="*/ 14866 w 16095"/>
                <a:gd name="T51" fmla="*/ 6015 h 14096"/>
                <a:gd name="T52" fmla="*/ 14344 w 16095"/>
                <a:gd name="T53" fmla="*/ 6997 h 14096"/>
                <a:gd name="T54" fmla="*/ 14329 w 16095"/>
                <a:gd name="T55" fmla="*/ 1071 h 14096"/>
                <a:gd name="T56" fmla="*/ 13143 w 16095"/>
                <a:gd name="T57" fmla="*/ 364 h 14096"/>
                <a:gd name="T58" fmla="*/ 11837 w 16095"/>
                <a:gd name="T59" fmla="*/ 29 h 14096"/>
                <a:gd name="T60" fmla="*/ 10497 w 16095"/>
                <a:gd name="T61" fmla="*/ 65 h 14096"/>
                <a:gd name="T62" fmla="*/ 9205 w 16095"/>
                <a:gd name="T63" fmla="*/ 471 h 14096"/>
                <a:gd name="T64" fmla="*/ 8046 w 16095"/>
                <a:gd name="T65" fmla="*/ 1245 h 14096"/>
                <a:gd name="T66" fmla="*/ 6889 w 16095"/>
                <a:gd name="T67" fmla="*/ 471 h 14096"/>
                <a:gd name="T68" fmla="*/ 5598 w 16095"/>
                <a:gd name="T69" fmla="*/ 65 h 14096"/>
                <a:gd name="T70" fmla="*/ 4258 w 16095"/>
                <a:gd name="T71" fmla="*/ 29 h 14096"/>
                <a:gd name="T72" fmla="*/ 2953 w 16095"/>
                <a:gd name="T73" fmla="*/ 364 h 14096"/>
                <a:gd name="T74" fmla="*/ 1766 w 16095"/>
                <a:gd name="T75" fmla="*/ 1071 h 14096"/>
                <a:gd name="T76" fmla="*/ 794 w 16095"/>
                <a:gd name="T77" fmla="*/ 2140 h 14096"/>
                <a:gd name="T78" fmla="*/ 198 w 16095"/>
                <a:gd name="T79" fmla="*/ 3407 h 14096"/>
                <a:gd name="T80" fmla="*/ 0 w 16095"/>
                <a:gd name="T81" fmla="*/ 4767 h 14096"/>
                <a:gd name="T82" fmla="*/ 198 w 16095"/>
                <a:gd name="T83" fmla="*/ 6127 h 14096"/>
                <a:gd name="T84" fmla="*/ 794 w 16095"/>
                <a:gd name="T85" fmla="*/ 7395 h 14096"/>
                <a:gd name="T86" fmla="*/ 1805 w 16095"/>
                <a:gd name="T87" fmla="*/ 8534 h 14096"/>
                <a:gd name="T88" fmla="*/ 4393 w 16095"/>
                <a:gd name="T89" fmla="*/ 11099 h 14096"/>
                <a:gd name="T90" fmla="*/ 6755 w 16095"/>
                <a:gd name="T91" fmla="*/ 13439 h 14096"/>
                <a:gd name="T92" fmla="*/ 7211 w 16095"/>
                <a:gd name="T93" fmla="*/ 13847 h 14096"/>
                <a:gd name="T94" fmla="*/ 7614 w 16095"/>
                <a:gd name="T95" fmla="*/ 14034 h 14096"/>
                <a:gd name="T96" fmla="*/ 8048 w 16095"/>
                <a:gd name="T97" fmla="*/ 14096 h 14096"/>
                <a:gd name="T98" fmla="*/ 8480 w 16095"/>
                <a:gd name="T99" fmla="*/ 14034 h 14096"/>
                <a:gd name="T100" fmla="*/ 8884 w 16095"/>
                <a:gd name="T101" fmla="*/ 13847 h 14096"/>
                <a:gd name="T102" fmla="*/ 9360 w 16095"/>
                <a:gd name="T103" fmla="*/ 13419 h 14096"/>
                <a:gd name="T104" fmla="*/ 11881 w 16095"/>
                <a:gd name="T105" fmla="*/ 10921 h 14096"/>
                <a:gd name="T106" fmla="*/ 14427 w 16095"/>
                <a:gd name="T107" fmla="*/ 8398 h 14096"/>
                <a:gd name="T108" fmla="*/ 15301 w 16095"/>
                <a:gd name="T109" fmla="*/ 7395 h 14096"/>
                <a:gd name="T110" fmla="*/ 15897 w 16095"/>
                <a:gd name="T111" fmla="*/ 6127 h 14096"/>
                <a:gd name="T112" fmla="*/ 16095 w 16095"/>
                <a:gd name="T113" fmla="*/ 4767 h 14096"/>
                <a:gd name="T114" fmla="*/ 15897 w 16095"/>
                <a:gd name="T115" fmla="*/ 3407 h 14096"/>
                <a:gd name="T116" fmla="*/ 15301 w 16095"/>
                <a:gd name="T117" fmla="*/ 2140 h 14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095" h="14096">
                  <a:moveTo>
                    <a:pt x="13965" y="7434"/>
                  </a:moveTo>
                  <a:lnTo>
                    <a:pt x="8406" y="12943"/>
                  </a:lnTo>
                  <a:lnTo>
                    <a:pt x="8387" y="12960"/>
                  </a:lnTo>
                  <a:lnTo>
                    <a:pt x="8367" y="12977"/>
                  </a:lnTo>
                  <a:lnTo>
                    <a:pt x="8347" y="12992"/>
                  </a:lnTo>
                  <a:lnTo>
                    <a:pt x="8326" y="13008"/>
                  </a:lnTo>
                  <a:lnTo>
                    <a:pt x="8305" y="13021"/>
                  </a:lnTo>
                  <a:lnTo>
                    <a:pt x="8283" y="13033"/>
                  </a:lnTo>
                  <a:lnTo>
                    <a:pt x="8261" y="13044"/>
                  </a:lnTo>
                  <a:lnTo>
                    <a:pt x="8239" y="13053"/>
                  </a:lnTo>
                  <a:lnTo>
                    <a:pt x="8215" y="13062"/>
                  </a:lnTo>
                  <a:lnTo>
                    <a:pt x="8191" y="13069"/>
                  </a:lnTo>
                  <a:lnTo>
                    <a:pt x="8168" y="13076"/>
                  </a:lnTo>
                  <a:lnTo>
                    <a:pt x="8144" y="13081"/>
                  </a:lnTo>
                  <a:lnTo>
                    <a:pt x="8120" y="13085"/>
                  </a:lnTo>
                  <a:lnTo>
                    <a:pt x="8096" y="13088"/>
                  </a:lnTo>
                  <a:lnTo>
                    <a:pt x="8072" y="13089"/>
                  </a:lnTo>
                  <a:lnTo>
                    <a:pt x="8048" y="13090"/>
                  </a:lnTo>
                  <a:lnTo>
                    <a:pt x="8023" y="13089"/>
                  </a:lnTo>
                  <a:lnTo>
                    <a:pt x="7998" y="13088"/>
                  </a:lnTo>
                  <a:lnTo>
                    <a:pt x="7974" y="13085"/>
                  </a:lnTo>
                  <a:lnTo>
                    <a:pt x="7950" y="13081"/>
                  </a:lnTo>
                  <a:lnTo>
                    <a:pt x="7927" y="13076"/>
                  </a:lnTo>
                  <a:lnTo>
                    <a:pt x="7903" y="13069"/>
                  </a:lnTo>
                  <a:lnTo>
                    <a:pt x="7880" y="13062"/>
                  </a:lnTo>
                  <a:lnTo>
                    <a:pt x="7856" y="13053"/>
                  </a:lnTo>
                  <a:lnTo>
                    <a:pt x="7833" y="13044"/>
                  </a:lnTo>
                  <a:lnTo>
                    <a:pt x="7811" y="13033"/>
                  </a:lnTo>
                  <a:lnTo>
                    <a:pt x="7790" y="13021"/>
                  </a:lnTo>
                  <a:lnTo>
                    <a:pt x="7768" y="13008"/>
                  </a:lnTo>
                  <a:lnTo>
                    <a:pt x="7748" y="12992"/>
                  </a:lnTo>
                  <a:lnTo>
                    <a:pt x="7728" y="12977"/>
                  </a:lnTo>
                  <a:lnTo>
                    <a:pt x="7707" y="12960"/>
                  </a:lnTo>
                  <a:lnTo>
                    <a:pt x="7689" y="12943"/>
                  </a:lnTo>
                  <a:lnTo>
                    <a:pt x="2130" y="7434"/>
                  </a:lnTo>
                  <a:lnTo>
                    <a:pt x="1995" y="7293"/>
                  </a:lnTo>
                  <a:lnTo>
                    <a:pt x="1868" y="7148"/>
                  </a:lnTo>
                  <a:lnTo>
                    <a:pt x="1751" y="6997"/>
                  </a:lnTo>
                  <a:lnTo>
                    <a:pt x="1643" y="6843"/>
                  </a:lnTo>
                  <a:lnTo>
                    <a:pt x="1542" y="6684"/>
                  </a:lnTo>
                  <a:lnTo>
                    <a:pt x="1452" y="6521"/>
                  </a:lnTo>
                  <a:lnTo>
                    <a:pt x="1368" y="6355"/>
                  </a:lnTo>
                  <a:lnTo>
                    <a:pt x="1295" y="6186"/>
                  </a:lnTo>
                  <a:lnTo>
                    <a:pt x="1229" y="6015"/>
                  </a:lnTo>
                  <a:lnTo>
                    <a:pt x="1173" y="5841"/>
                  </a:lnTo>
                  <a:lnTo>
                    <a:pt x="1125" y="5666"/>
                  </a:lnTo>
                  <a:lnTo>
                    <a:pt x="1085" y="5487"/>
                  </a:lnTo>
                  <a:lnTo>
                    <a:pt x="1055" y="5309"/>
                  </a:lnTo>
                  <a:lnTo>
                    <a:pt x="1034" y="5129"/>
                  </a:lnTo>
                  <a:lnTo>
                    <a:pt x="1021" y="4948"/>
                  </a:lnTo>
                  <a:lnTo>
                    <a:pt x="1016" y="4767"/>
                  </a:lnTo>
                  <a:lnTo>
                    <a:pt x="1021" y="4586"/>
                  </a:lnTo>
                  <a:lnTo>
                    <a:pt x="1034" y="4405"/>
                  </a:lnTo>
                  <a:lnTo>
                    <a:pt x="1055" y="4226"/>
                  </a:lnTo>
                  <a:lnTo>
                    <a:pt x="1085" y="4047"/>
                  </a:lnTo>
                  <a:lnTo>
                    <a:pt x="1125" y="3868"/>
                  </a:lnTo>
                  <a:lnTo>
                    <a:pt x="1173" y="3693"/>
                  </a:lnTo>
                  <a:lnTo>
                    <a:pt x="1229" y="3519"/>
                  </a:lnTo>
                  <a:lnTo>
                    <a:pt x="1295" y="3348"/>
                  </a:lnTo>
                  <a:lnTo>
                    <a:pt x="1368" y="3179"/>
                  </a:lnTo>
                  <a:lnTo>
                    <a:pt x="1452" y="3013"/>
                  </a:lnTo>
                  <a:lnTo>
                    <a:pt x="1542" y="2850"/>
                  </a:lnTo>
                  <a:lnTo>
                    <a:pt x="1643" y="2691"/>
                  </a:lnTo>
                  <a:lnTo>
                    <a:pt x="1751" y="2537"/>
                  </a:lnTo>
                  <a:lnTo>
                    <a:pt x="1868" y="2386"/>
                  </a:lnTo>
                  <a:lnTo>
                    <a:pt x="1995" y="2241"/>
                  </a:lnTo>
                  <a:lnTo>
                    <a:pt x="2130" y="2100"/>
                  </a:lnTo>
                  <a:lnTo>
                    <a:pt x="2265" y="1971"/>
                  </a:lnTo>
                  <a:lnTo>
                    <a:pt x="2407" y="1851"/>
                  </a:lnTo>
                  <a:lnTo>
                    <a:pt x="2553" y="1738"/>
                  </a:lnTo>
                  <a:lnTo>
                    <a:pt x="2703" y="1633"/>
                  </a:lnTo>
                  <a:lnTo>
                    <a:pt x="2857" y="1536"/>
                  </a:lnTo>
                  <a:lnTo>
                    <a:pt x="3015" y="1448"/>
                  </a:lnTo>
                  <a:lnTo>
                    <a:pt x="3176" y="1367"/>
                  </a:lnTo>
                  <a:lnTo>
                    <a:pt x="3339" y="1295"/>
                  </a:lnTo>
                  <a:lnTo>
                    <a:pt x="3506" y="1230"/>
                  </a:lnTo>
                  <a:lnTo>
                    <a:pt x="3675" y="1174"/>
                  </a:lnTo>
                  <a:lnTo>
                    <a:pt x="3845" y="1126"/>
                  </a:lnTo>
                  <a:lnTo>
                    <a:pt x="4018" y="1085"/>
                  </a:lnTo>
                  <a:lnTo>
                    <a:pt x="4192" y="1053"/>
                  </a:lnTo>
                  <a:lnTo>
                    <a:pt x="4367" y="1029"/>
                  </a:lnTo>
                  <a:lnTo>
                    <a:pt x="4543" y="1013"/>
                  </a:lnTo>
                  <a:lnTo>
                    <a:pt x="4719" y="1005"/>
                  </a:lnTo>
                  <a:lnTo>
                    <a:pt x="4896" y="1005"/>
                  </a:lnTo>
                  <a:lnTo>
                    <a:pt x="5072" y="1014"/>
                  </a:lnTo>
                  <a:lnTo>
                    <a:pt x="5249" y="1030"/>
                  </a:lnTo>
                  <a:lnTo>
                    <a:pt x="5424" y="1055"/>
                  </a:lnTo>
                  <a:lnTo>
                    <a:pt x="5599" y="1087"/>
                  </a:lnTo>
                  <a:lnTo>
                    <a:pt x="5772" y="1129"/>
                  </a:lnTo>
                  <a:lnTo>
                    <a:pt x="5943" y="1178"/>
                  </a:lnTo>
                  <a:lnTo>
                    <a:pt x="6113" y="1235"/>
                  </a:lnTo>
                  <a:lnTo>
                    <a:pt x="6281" y="1301"/>
                  </a:lnTo>
                  <a:lnTo>
                    <a:pt x="6446" y="1374"/>
                  </a:lnTo>
                  <a:lnTo>
                    <a:pt x="6608" y="1456"/>
                  </a:lnTo>
                  <a:lnTo>
                    <a:pt x="6767" y="1547"/>
                  </a:lnTo>
                  <a:lnTo>
                    <a:pt x="6922" y="1644"/>
                  </a:lnTo>
                  <a:lnTo>
                    <a:pt x="7074" y="1751"/>
                  </a:lnTo>
                  <a:lnTo>
                    <a:pt x="7222" y="1866"/>
                  </a:lnTo>
                  <a:lnTo>
                    <a:pt x="7365" y="1989"/>
                  </a:lnTo>
                  <a:lnTo>
                    <a:pt x="8046" y="2603"/>
                  </a:lnTo>
                  <a:lnTo>
                    <a:pt x="8730" y="1989"/>
                  </a:lnTo>
                  <a:lnTo>
                    <a:pt x="8873" y="1866"/>
                  </a:lnTo>
                  <a:lnTo>
                    <a:pt x="9021" y="1751"/>
                  </a:lnTo>
                  <a:lnTo>
                    <a:pt x="9173" y="1644"/>
                  </a:lnTo>
                  <a:lnTo>
                    <a:pt x="9328" y="1547"/>
                  </a:lnTo>
                  <a:lnTo>
                    <a:pt x="9487" y="1456"/>
                  </a:lnTo>
                  <a:lnTo>
                    <a:pt x="9649" y="1374"/>
                  </a:lnTo>
                  <a:lnTo>
                    <a:pt x="9814" y="1301"/>
                  </a:lnTo>
                  <a:lnTo>
                    <a:pt x="9982" y="1235"/>
                  </a:lnTo>
                  <a:lnTo>
                    <a:pt x="10152" y="1178"/>
                  </a:lnTo>
                  <a:lnTo>
                    <a:pt x="10323" y="1129"/>
                  </a:lnTo>
                  <a:lnTo>
                    <a:pt x="10496" y="1087"/>
                  </a:lnTo>
                  <a:lnTo>
                    <a:pt x="10671" y="1055"/>
                  </a:lnTo>
                  <a:lnTo>
                    <a:pt x="10846" y="1030"/>
                  </a:lnTo>
                  <a:lnTo>
                    <a:pt x="11023" y="1014"/>
                  </a:lnTo>
                  <a:lnTo>
                    <a:pt x="11199" y="1005"/>
                  </a:lnTo>
                  <a:lnTo>
                    <a:pt x="11376" y="1005"/>
                  </a:lnTo>
                  <a:lnTo>
                    <a:pt x="11552" y="1013"/>
                  </a:lnTo>
                  <a:lnTo>
                    <a:pt x="11728" y="1029"/>
                  </a:lnTo>
                  <a:lnTo>
                    <a:pt x="11903" y="1053"/>
                  </a:lnTo>
                  <a:lnTo>
                    <a:pt x="12077" y="1085"/>
                  </a:lnTo>
                  <a:lnTo>
                    <a:pt x="12250" y="1126"/>
                  </a:lnTo>
                  <a:lnTo>
                    <a:pt x="12420" y="1174"/>
                  </a:lnTo>
                  <a:lnTo>
                    <a:pt x="12589" y="1230"/>
                  </a:lnTo>
                  <a:lnTo>
                    <a:pt x="12756" y="1295"/>
                  </a:lnTo>
                  <a:lnTo>
                    <a:pt x="12919" y="1367"/>
                  </a:lnTo>
                  <a:lnTo>
                    <a:pt x="13080" y="1448"/>
                  </a:lnTo>
                  <a:lnTo>
                    <a:pt x="13238" y="1536"/>
                  </a:lnTo>
                  <a:lnTo>
                    <a:pt x="13392" y="1633"/>
                  </a:lnTo>
                  <a:lnTo>
                    <a:pt x="13542" y="1738"/>
                  </a:lnTo>
                  <a:lnTo>
                    <a:pt x="13688" y="1851"/>
                  </a:lnTo>
                  <a:lnTo>
                    <a:pt x="13830" y="1971"/>
                  </a:lnTo>
                  <a:lnTo>
                    <a:pt x="13965" y="2100"/>
                  </a:lnTo>
                  <a:lnTo>
                    <a:pt x="14100" y="2241"/>
                  </a:lnTo>
                  <a:lnTo>
                    <a:pt x="14227" y="2386"/>
                  </a:lnTo>
                  <a:lnTo>
                    <a:pt x="14344" y="2537"/>
                  </a:lnTo>
                  <a:lnTo>
                    <a:pt x="14452" y="2691"/>
                  </a:lnTo>
                  <a:lnTo>
                    <a:pt x="14553" y="2850"/>
                  </a:lnTo>
                  <a:lnTo>
                    <a:pt x="14643" y="3013"/>
                  </a:lnTo>
                  <a:lnTo>
                    <a:pt x="14727" y="3179"/>
                  </a:lnTo>
                  <a:lnTo>
                    <a:pt x="14800" y="3348"/>
                  </a:lnTo>
                  <a:lnTo>
                    <a:pt x="14866" y="3519"/>
                  </a:lnTo>
                  <a:lnTo>
                    <a:pt x="14922" y="3693"/>
                  </a:lnTo>
                  <a:lnTo>
                    <a:pt x="14970" y="3868"/>
                  </a:lnTo>
                  <a:lnTo>
                    <a:pt x="15010" y="4047"/>
                  </a:lnTo>
                  <a:lnTo>
                    <a:pt x="15040" y="4226"/>
                  </a:lnTo>
                  <a:lnTo>
                    <a:pt x="15061" y="4405"/>
                  </a:lnTo>
                  <a:lnTo>
                    <a:pt x="15074" y="4586"/>
                  </a:lnTo>
                  <a:lnTo>
                    <a:pt x="15079" y="4767"/>
                  </a:lnTo>
                  <a:lnTo>
                    <a:pt x="15074" y="4948"/>
                  </a:lnTo>
                  <a:lnTo>
                    <a:pt x="15061" y="5129"/>
                  </a:lnTo>
                  <a:lnTo>
                    <a:pt x="15040" y="5309"/>
                  </a:lnTo>
                  <a:lnTo>
                    <a:pt x="15010" y="5487"/>
                  </a:lnTo>
                  <a:lnTo>
                    <a:pt x="14970" y="5666"/>
                  </a:lnTo>
                  <a:lnTo>
                    <a:pt x="14922" y="5841"/>
                  </a:lnTo>
                  <a:lnTo>
                    <a:pt x="14866" y="6015"/>
                  </a:lnTo>
                  <a:lnTo>
                    <a:pt x="14800" y="6186"/>
                  </a:lnTo>
                  <a:lnTo>
                    <a:pt x="14727" y="6355"/>
                  </a:lnTo>
                  <a:lnTo>
                    <a:pt x="14643" y="6521"/>
                  </a:lnTo>
                  <a:lnTo>
                    <a:pt x="14553" y="6684"/>
                  </a:lnTo>
                  <a:lnTo>
                    <a:pt x="14452" y="6843"/>
                  </a:lnTo>
                  <a:lnTo>
                    <a:pt x="14344" y="6997"/>
                  </a:lnTo>
                  <a:lnTo>
                    <a:pt x="14227" y="7148"/>
                  </a:lnTo>
                  <a:lnTo>
                    <a:pt x="14100" y="7293"/>
                  </a:lnTo>
                  <a:lnTo>
                    <a:pt x="13965" y="7434"/>
                  </a:lnTo>
                  <a:close/>
                  <a:moveTo>
                    <a:pt x="14684" y="1390"/>
                  </a:moveTo>
                  <a:lnTo>
                    <a:pt x="14510" y="1225"/>
                  </a:lnTo>
                  <a:lnTo>
                    <a:pt x="14329" y="1071"/>
                  </a:lnTo>
                  <a:lnTo>
                    <a:pt x="14142" y="927"/>
                  </a:lnTo>
                  <a:lnTo>
                    <a:pt x="13951" y="794"/>
                  </a:lnTo>
                  <a:lnTo>
                    <a:pt x="13755" y="672"/>
                  </a:lnTo>
                  <a:lnTo>
                    <a:pt x="13555" y="559"/>
                  </a:lnTo>
                  <a:lnTo>
                    <a:pt x="13351" y="456"/>
                  </a:lnTo>
                  <a:lnTo>
                    <a:pt x="13143" y="364"/>
                  </a:lnTo>
                  <a:lnTo>
                    <a:pt x="12930" y="282"/>
                  </a:lnTo>
                  <a:lnTo>
                    <a:pt x="12716" y="211"/>
                  </a:lnTo>
                  <a:lnTo>
                    <a:pt x="12499" y="150"/>
                  </a:lnTo>
                  <a:lnTo>
                    <a:pt x="12280" y="100"/>
                  </a:lnTo>
                  <a:lnTo>
                    <a:pt x="12059" y="59"/>
                  </a:lnTo>
                  <a:lnTo>
                    <a:pt x="11837" y="29"/>
                  </a:lnTo>
                  <a:lnTo>
                    <a:pt x="11614" y="9"/>
                  </a:lnTo>
                  <a:lnTo>
                    <a:pt x="11390" y="0"/>
                  </a:lnTo>
                  <a:lnTo>
                    <a:pt x="11166" y="1"/>
                  </a:lnTo>
                  <a:lnTo>
                    <a:pt x="10943" y="12"/>
                  </a:lnTo>
                  <a:lnTo>
                    <a:pt x="10719" y="33"/>
                  </a:lnTo>
                  <a:lnTo>
                    <a:pt x="10497" y="65"/>
                  </a:lnTo>
                  <a:lnTo>
                    <a:pt x="10276" y="107"/>
                  </a:lnTo>
                  <a:lnTo>
                    <a:pt x="10056" y="159"/>
                  </a:lnTo>
                  <a:lnTo>
                    <a:pt x="9840" y="222"/>
                  </a:lnTo>
                  <a:lnTo>
                    <a:pt x="9625" y="295"/>
                  </a:lnTo>
                  <a:lnTo>
                    <a:pt x="9414" y="378"/>
                  </a:lnTo>
                  <a:lnTo>
                    <a:pt x="9205" y="471"/>
                  </a:lnTo>
                  <a:lnTo>
                    <a:pt x="9001" y="574"/>
                  </a:lnTo>
                  <a:lnTo>
                    <a:pt x="8800" y="688"/>
                  </a:lnTo>
                  <a:lnTo>
                    <a:pt x="8605" y="812"/>
                  </a:lnTo>
                  <a:lnTo>
                    <a:pt x="8413" y="946"/>
                  </a:lnTo>
                  <a:lnTo>
                    <a:pt x="8228" y="1090"/>
                  </a:lnTo>
                  <a:lnTo>
                    <a:pt x="8046" y="1245"/>
                  </a:lnTo>
                  <a:lnTo>
                    <a:pt x="7866" y="1090"/>
                  </a:lnTo>
                  <a:lnTo>
                    <a:pt x="7681" y="946"/>
                  </a:lnTo>
                  <a:lnTo>
                    <a:pt x="7490" y="812"/>
                  </a:lnTo>
                  <a:lnTo>
                    <a:pt x="7294" y="688"/>
                  </a:lnTo>
                  <a:lnTo>
                    <a:pt x="7094" y="574"/>
                  </a:lnTo>
                  <a:lnTo>
                    <a:pt x="6889" y="471"/>
                  </a:lnTo>
                  <a:lnTo>
                    <a:pt x="6680" y="378"/>
                  </a:lnTo>
                  <a:lnTo>
                    <a:pt x="6469" y="295"/>
                  </a:lnTo>
                  <a:lnTo>
                    <a:pt x="6255" y="222"/>
                  </a:lnTo>
                  <a:lnTo>
                    <a:pt x="6038" y="159"/>
                  </a:lnTo>
                  <a:lnTo>
                    <a:pt x="5819" y="107"/>
                  </a:lnTo>
                  <a:lnTo>
                    <a:pt x="5598" y="65"/>
                  </a:lnTo>
                  <a:lnTo>
                    <a:pt x="5376" y="33"/>
                  </a:lnTo>
                  <a:lnTo>
                    <a:pt x="5152" y="12"/>
                  </a:lnTo>
                  <a:lnTo>
                    <a:pt x="4929" y="1"/>
                  </a:lnTo>
                  <a:lnTo>
                    <a:pt x="4705" y="0"/>
                  </a:lnTo>
                  <a:lnTo>
                    <a:pt x="4481" y="9"/>
                  </a:lnTo>
                  <a:lnTo>
                    <a:pt x="4258" y="29"/>
                  </a:lnTo>
                  <a:lnTo>
                    <a:pt x="4036" y="59"/>
                  </a:lnTo>
                  <a:lnTo>
                    <a:pt x="3816" y="100"/>
                  </a:lnTo>
                  <a:lnTo>
                    <a:pt x="3596" y="150"/>
                  </a:lnTo>
                  <a:lnTo>
                    <a:pt x="3379" y="211"/>
                  </a:lnTo>
                  <a:lnTo>
                    <a:pt x="3165" y="282"/>
                  </a:lnTo>
                  <a:lnTo>
                    <a:pt x="2953" y="364"/>
                  </a:lnTo>
                  <a:lnTo>
                    <a:pt x="2744" y="456"/>
                  </a:lnTo>
                  <a:lnTo>
                    <a:pt x="2540" y="559"/>
                  </a:lnTo>
                  <a:lnTo>
                    <a:pt x="2340" y="672"/>
                  </a:lnTo>
                  <a:lnTo>
                    <a:pt x="2144" y="794"/>
                  </a:lnTo>
                  <a:lnTo>
                    <a:pt x="1953" y="927"/>
                  </a:lnTo>
                  <a:lnTo>
                    <a:pt x="1766" y="1071"/>
                  </a:lnTo>
                  <a:lnTo>
                    <a:pt x="1586" y="1225"/>
                  </a:lnTo>
                  <a:lnTo>
                    <a:pt x="1411" y="1390"/>
                  </a:lnTo>
                  <a:lnTo>
                    <a:pt x="1240" y="1569"/>
                  </a:lnTo>
                  <a:lnTo>
                    <a:pt x="1080" y="1753"/>
                  </a:lnTo>
                  <a:lnTo>
                    <a:pt x="931" y="1943"/>
                  </a:lnTo>
                  <a:lnTo>
                    <a:pt x="794" y="2140"/>
                  </a:lnTo>
                  <a:lnTo>
                    <a:pt x="667" y="2340"/>
                  </a:lnTo>
                  <a:lnTo>
                    <a:pt x="551" y="2546"/>
                  </a:lnTo>
                  <a:lnTo>
                    <a:pt x="447" y="2756"/>
                  </a:lnTo>
                  <a:lnTo>
                    <a:pt x="353" y="2970"/>
                  </a:lnTo>
                  <a:lnTo>
                    <a:pt x="271" y="3187"/>
                  </a:lnTo>
                  <a:lnTo>
                    <a:pt x="198" y="3407"/>
                  </a:lnTo>
                  <a:lnTo>
                    <a:pt x="138" y="3630"/>
                  </a:lnTo>
                  <a:lnTo>
                    <a:pt x="89" y="3855"/>
                  </a:lnTo>
                  <a:lnTo>
                    <a:pt x="49" y="4082"/>
                  </a:lnTo>
                  <a:lnTo>
                    <a:pt x="22" y="4309"/>
                  </a:lnTo>
                  <a:lnTo>
                    <a:pt x="6" y="4538"/>
                  </a:lnTo>
                  <a:lnTo>
                    <a:pt x="0" y="4767"/>
                  </a:lnTo>
                  <a:lnTo>
                    <a:pt x="6" y="4996"/>
                  </a:lnTo>
                  <a:lnTo>
                    <a:pt x="22" y="5225"/>
                  </a:lnTo>
                  <a:lnTo>
                    <a:pt x="49" y="5453"/>
                  </a:lnTo>
                  <a:lnTo>
                    <a:pt x="89" y="5680"/>
                  </a:lnTo>
                  <a:lnTo>
                    <a:pt x="138" y="5904"/>
                  </a:lnTo>
                  <a:lnTo>
                    <a:pt x="198" y="6127"/>
                  </a:lnTo>
                  <a:lnTo>
                    <a:pt x="271" y="6347"/>
                  </a:lnTo>
                  <a:lnTo>
                    <a:pt x="353" y="6565"/>
                  </a:lnTo>
                  <a:lnTo>
                    <a:pt x="447" y="6778"/>
                  </a:lnTo>
                  <a:lnTo>
                    <a:pt x="551" y="6989"/>
                  </a:lnTo>
                  <a:lnTo>
                    <a:pt x="667" y="7194"/>
                  </a:lnTo>
                  <a:lnTo>
                    <a:pt x="794" y="7395"/>
                  </a:lnTo>
                  <a:lnTo>
                    <a:pt x="931" y="7591"/>
                  </a:lnTo>
                  <a:lnTo>
                    <a:pt x="1080" y="7782"/>
                  </a:lnTo>
                  <a:lnTo>
                    <a:pt x="1240" y="7966"/>
                  </a:lnTo>
                  <a:lnTo>
                    <a:pt x="1411" y="8144"/>
                  </a:lnTo>
                  <a:lnTo>
                    <a:pt x="1562" y="8294"/>
                  </a:lnTo>
                  <a:lnTo>
                    <a:pt x="1805" y="8534"/>
                  </a:lnTo>
                  <a:lnTo>
                    <a:pt x="2125" y="8850"/>
                  </a:lnTo>
                  <a:lnTo>
                    <a:pt x="2507" y="9230"/>
                  </a:lnTo>
                  <a:lnTo>
                    <a:pt x="2939" y="9659"/>
                  </a:lnTo>
                  <a:lnTo>
                    <a:pt x="3407" y="10122"/>
                  </a:lnTo>
                  <a:lnTo>
                    <a:pt x="3896" y="10606"/>
                  </a:lnTo>
                  <a:lnTo>
                    <a:pt x="4393" y="11099"/>
                  </a:lnTo>
                  <a:lnTo>
                    <a:pt x="4884" y="11585"/>
                  </a:lnTo>
                  <a:lnTo>
                    <a:pt x="5354" y="12051"/>
                  </a:lnTo>
                  <a:lnTo>
                    <a:pt x="5790" y="12483"/>
                  </a:lnTo>
                  <a:lnTo>
                    <a:pt x="6178" y="12868"/>
                  </a:lnTo>
                  <a:lnTo>
                    <a:pt x="6504" y="13191"/>
                  </a:lnTo>
                  <a:lnTo>
                    <a:pt x="6755" y="13439"/>
                  </a:lnTo>
                  <a:lnTo>
                    <a:pt x="6915" y="13598"/>
                  </a:lnTo>
                  <a:lnTo>
                    <a:pt x="6971" y="13654"/>
                  </a:lnTo>
                  <a:lnTo>
                    <a:pt x="7028" y="13707"/>
                  </a:lnTo>
                  <a:lnTo>
                    <a:pt x="7087" y="13758"/>
                  </a:lnTo>
                  <a:lnTo>
                    <a:pt x="7148" y="13804"/>
                  </a:lnTo>
                  <a:lnTo>
                    <a:pt x="7211" y="13847"/>
                  </a:lnTo>
                  <a:lnTo>
                    <a:pt x="7274" y="13887"/>
                  </a:lnTo>
                  <a:lnTo>
                    <a:pt x="7340" y="13923"/>
                  </a:lnTo>
                  <a:lnTo>
                    <a:pt x="7407" y="13956"/>
                  </a:lnTo>
                  <a:lnTo>
                    <a:pt x="7475" y="13985"/>
                  </a:lnTo>
                  <a:lnTo>
                    <a:pt x="7545" y="14011"/>
                  </a:lnTo>
                  <a:lnTo>
                    <a:pt x="7614" y="14034"/>
                  </a:lnTo>
                  <a:lnTo>
                    <a:pt x="7685" y="14053"/>
                  </a:lnTo>
                  <a:lnTo>
                    <a:pt x="7757" y="14068"/>
                  </a:lnTo>
                  <a:lnTo>
                    <a:pt x="7829" y="14080"/>
                  </a:lnTo>
                  <a:lnTo>
                    <a:pt x="7902" y="14089"/>
                  </a:lnTo>
                  <a:lnTo>
                    <a:pt x="7974" y="14094"/>
                  </a:lnTo>
                  <a:lnTo>
                    <a:pt x="8048" y="14096"/>
                  </a:lnTo>
                  <a:lnTo>
                    <a:pt x="8120" y="14094"/>
                  </a:lnTo>
                  <a:lnTo>
                    <a:pt x="8193" y="14089"/>
                  </a:lnTo>
                  <a:lnTo>
                    <a:pt x="8266" y="14080"/>
                  </a:lnTo>
                  <a:lnTo>
                    <a:pt x="8338" y="14068"/>
                  </a:lnTo>
                  <a:lnTo>
                    <a:pt x="8410" y="14053"/>
                  </a:lnTo>
                  <a:lnTo>
                    <a:pt x="8480" y="14034"/>
                  </a:lnTo>
                  <a:lnTo>
                    <a:pt x="8550" y="14011"/>
                  </a:lnTo>
                  <a:lnTo>
                    <a:pt x="8620" y="13985"/>
                  </a:lnTo>
                  <a:lnTo>
                    <a:pt x="8688" y="13956"/>
                  </a:lnTo>
                  <a:lnTo>
                    <a:pt x="8755" y="13923"/>
                  </a:lnTo>
                  <a:lnTo>
                    <a:pt x="8820" y="13887"/>
                  </a:lnTo>
                  <a:lnTo>
                    <a:pt x="8884" y="13847"/>
                  </a:lnTo>
                  <a:lnTo>
                    <a:pt x="8947" y="13804"/>
                  </a:lnTo>
                  <a:lnTo>
                    <a:pt x="9008" y="13758"/>
                  </a:lnTo>
                  <a:lnTo>
                    <a:pt x="9067" y="13707"/>
                  </a:lnTo>
                  <a:lnTo>
                    <a:pt x="9124" y="13654"/>
                  </a:lnTo>
                  <a:lnTo>
                    <a:pt x="9185" y="13593"/>
                  </a:lnTo>
                  <a:lnTo>
                    <a:pt x="9360" y="13419"/>
                  </a:lnTo>
                  <a:lnTo>
                    <a:pt x="9632" y="13151"/>
                  </a:lnTo>
                  <a:lnTo>
                    <a:pt x="9984" y="12801"/>
                  </a:lnTo>
                  <a:lnTo>
                    <a:pt x="10400" y="12388"/>
                  </a:lnTo>
                  <a:lnTo>
                    <a:pt x="10867" y="11926"/>
                  </a:lnTo>
                  <a:lnTo>
                    <a:pt x="11365" y="11432"/>
                  </a:lnTo>
                  <a:lnTo>
                    <a:pt x="11881" y="10921"/>
                  </a:lnTo>
                  <a:lnTo>
                    <a:pt x="12397" y="10410"/>
                  </a:lnTo>
                  <a:lnTo>
                    <a:pt x="12897" y="9915"/>
                  </a:lnTo>
                  <a:lnTo>
                    <a:pt x="13367" y="9449"/>
                  </a:lnTo>
                  <a:lnTo>
                    <a:pt x="13789" y="9031"/>
                  </a:lnTo>
                  <a:lnTo>
                    <a:pt x="14148" y="8675"/>
                  </a:lnTo>
                  <a:lnTo>
                    <a:pt x="14427" y="8398"/>
                  </a:lnTo>
                  <a:lnTo>
                    <a:pt x="14611" y="8216"/>
                  </a:lnTo>
                  <a:lnTo>
                    <a:pt x="14684" y="8144"/>
                  </a:lnTo>
                  <a:lnTo>
                    <a:pt x="14855" y="7966"/>
                  </a:lnTo>
                  <a:lnTo>
                    <a:pt x="15015" y="7782"/>
                  </a:lnTo>
                  <a:lnTo>
                    <a:pt x="15164" y="7591"/>
                  </a:lnTo>
                  <a:lnTo>
                    <a:pt x="15301" y="7395"/>
                  </a:lnTo>
                  <a:lnTo>
                    <a:pt x="15428" y="7194"/>
                  </a:lnTo>
                  <a:lnTo>
                    <a:pt x="15544" y="6989"/>
                  </a:lnTo>
                  <a:lnTo>
                    <a:pt x="15648" y="6778"/>
                  </a:lnTo>
                  <a:lnTo>
                    <a:pt x="15742" y="6565"/>
                  </a:lnTo>
                  <a:lnTo>
                    <a:pt x="15824" y="6347"/>
                  </a:lnTo>
                  <a:lnTo>
                    <a:pt x="15897" y="6127"/>
                  </a:lnTo>
                  <a:lnTo>
                    <a:pt x="15957" y="5904"/>
                  </a:lnTo>
                  <a:lnTo>
                    <a:pt x="16006" y="5680"/>
                  </a:lnTo>
                  <a:lnTo>
                    <a:pt x="16046" y="5453"/>
                  </a:lnTo>
                  <a:lnTo>
                    <a:pt x="16073" y="5225"/>
                  </a:lnTo>
                  <a:lnTo>
                    <a:pt x="16089" y="4996"/>
                  </a:lnTo>
                  <a:lnTo>
                    <a:pt x="16095" y="4767"/>
                  </a:lnTo>
                  <a:lnTo>
                    <a:pt x="16089" y="4538"/>
                  </a:lnTo>
                  <a:lnTo>
                    <a:pt x="16073" y="4309"/>
                  </a:lnTo>
                  <a:lnTo>
                    <a:pt x="16046" y="4082"/>
                  </a:lnTo>
                  <a:lnTo>
                    <a:pt x="16006" y="3855"/>
                  </a:lnTo>
                  <a:lnTo>
                    <a:pt x="15957" y="3630"/>
                  </a:lnTo>
                  <a:lnTo>
                    <a:pt x="15897" y="3407"/>
                  </a:lnTo>
                  <a:lnTo>
                    <a:pt x="15824" y="3187"/>
                  </a:lnTo>
                  <a:lnTo>
                    <a:pt x="15742" y="2970"/>
                  </a:lnTo>
                  <a:lnTo>
                    <a:pt x="15648" y="2756"/>
                  </a:lnTo>
                  <a:lnTo>
                    <a:pt x="15544" y="2546"/>
                  </a:lnTo>
                  <a:lnTo>
                    <a:pt x="15428" y="2340"/>
                  </a:lnTo>
                  <a:lnTo>
                    <a:pt x="15301" y="2140"/>
                  </a:lnTo>
                  <a:lnTo>
                    <a:pt x="15164" y="1943"/>
                  </a:lnTo>
                  <a:lnTo>
                    <a:pt x="15015" y="1753"/>
                  </a:lnTo>
                  <a:lnTo>
                    <a:pt x="14855" y="1569"/>
                  </a:lnTo>
                  <a:lnTo>
                    <a:pt x="14684" y="13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0" name="îṣḻïḍè">
              <a:extLst>
                <a:ext uri="{FF2B5EF4-FFF2-40B4-BE49-F238E27FC236}">
                  <a16:creationId xmlns:a16="http://schemas.microsoft.com/office/drawing/2014/main" id="{684007A2-2997-43EB-AA78-5E9CDAE591F6}"/>
                </a:ext>
              </a:extLst>
            </p:cNvPr>
            <p:cNvSpPr/>
            <p:nvPr/>
          </p:nvSpPr>
          <p:spPr bwMode="auto">
            <a:xfrm>
              <a:off x="934148" y="837091"/>
              <a:ext cx="60376" cy="61589"/>
            </a:xfrm>
            <a:custGeom>
              <a:avLst/>
              <a:gdLst>
                <a:gd name="T0" fmla="*/ 2026 w 2389"/>
                <a:gd name="T1" fmla="*/ 3 h 2391"/>
                <a:gd name="T2" fmla="*/ 1602 w 2389"/>
                <a:gd name="T3" fmla="*/ 69 h 2391"/>
                <a:gd name="T4" fmla="*/ 1210 w 2389"/>
                <a:gd name="T5" fmla="*/ 213 h 2391"/>
                <a:gd name="T6" fmla="*/ 858 w 2389"/>
                <a:gd name="T7" fmla="*/ 426 h 2391"/>
                <a:gd name="T8" fmla="*/ 554 w 2389"/>
                <a:gd name="T9" fmla="*/ 702 h 2391"/>
                <a:gd name="T10" fmla="*/ 309 w 2389"/>
                <a:gd name="T11" fmla="*/ 1031 h 2391"/>
                <a:gd name="T12" fmla="*/ 130 w 2389"/>
                <a:gd name="T13" fmla="*/ 1405 h 2391"/>
                <a:gd name="T14" fmla="*/ 24 w 2389"/>
                <a:gd name="T15" fmla="*/ 1814 h 2391"/>
                <a:gd name="T16" fmla="*/ 0 w 2389"/>
                <a:gd name="T17" fmla="*/ 2153 h 2391"/>
                <a:gd name="T18" fmla="*/ 8 w 2389"/>
                <a:gd name="T19" fmla="*/ 2203 h 2391"/>
                <a:gd name="T20" fmla="*/ 25 w 2389"/>
                <a:gd name="T21" fmla="*/ 2249 h 2391"/>
                <a:gd name="T22" fmla="*/ 50 w 2389"/>
                <a:gd name="T23" fmla="*/ 2291 h 2391"/>
                <a:gd name="T24" fmla="*/ 82 w 2389"/>
                <a:gd name="T25" fmla="*/ 2327 h 2391"/>
                <a:gd name="T26" fmla="*/ 121 w 2389"/>
                <a:gd name="T27" fmla="*/ 2355 h 2391"/>
                <a:gd name="T28" fmla="*/ 165 w 2389"/>
                <a:gd name="T29" fmla="*/ 2376 h 2391"/>
                <a:gd name="T30" fmla="*/ 213 w 2389"/>
                <a:gd name="T31" fmla="*/ 2389 h 2391"/>
                <a:gd name="T32" fmla="*/ 264 w 2389"/>
                <a:gd name="T33" fmla="*/ 2391 h 2391"/>
                <a:gd name="T34" fmla="*/ 314 w 2389"/>
                <a:gd name="T35" fmla="*/ 2384 h 2391"/>
                <a:gd name="T36" fmla="*/ 360 w 2389"/>
                <a:gd name="T37" fmla="*/ 2367 h 2391"/>
                <a:gd name="T38" fmla="*/ 402 w 2389"/>
                <a:gd name="T39" fmla="*/ 2342 h 2391"/>
                <a:gd name="T40" fmla="*/ 437 w 2389"/>
                <a:gd name="T41" fmla="*/ 2310 h 2391"/>
                <a:gd name="T42" fmla="*/ 467 w 2389"/>
                <a:gd name="T43" fmla="*/ 2271 h 2391"/>
                <a:gd name="T44" fmla="*/ 488 w 2389"/>
                <a:gd name="T45" fmla="*/ 2226 h 2391"/>
                <a:gd name="T46" fmla="*/ 500 w 2389"/>
                <a:gd name="T47" fmla="*/ 2178 h 2391"/>
                <a:gd name="T48" fmla="*/ 503 w 2389"/>
                <a:gd name="T49" fmla="*/ 2140 h 2391"/>
                <a:gd name="T50" fmla="*/ 536 w 2389"/>
                <a:gd name="T51" fmla="*/ 1810 h 2391"/>
                <a:gd name="T52" fmla="*/ 632 w 2389"/>
                <a:gd name="T53" fmla="*/ 1503 h 2391"/>
                <a:gd name="T54" fmla="*/ 782 w 2389"/>
                <a:gd name="T55" fmla="*/ 1225 h 2391"/>
                <a:gd name="T56" fmla="*/ 982 w 2389"/>
                <a:gd name="T57" fmla="*/ 983 h 2391"/>
                <a:gd name="T58" fmla="*/ 1223 w 2389"/>
                <a:gd name="T59" fmla="*/ 783 h 2391"/>
                <a:gd name="T60" fmla="*/ 1501 w 2389"/>
                <a:gd name="T61" fmla="*/ 632 h 2391"/>
                <a:gd name="T62" fmla="*/ 1808 w 2389"/>
                <a:gd name="T63" fmla="*/ 537 h 2391"/>
                <a:gd name="T64" fmla="*/ 2137 w 2389"/>
                <a:gd name="T65" fmla="*/ 504 h 2391"/>
                <a:gd name="T66" fmla="*/ 2176 w 2389"/>
                <a:gd name="T67" fmla="*/ 501 h 2391"/>
                <a:gd name="T68" fmla="*/ 2224 w 2389"/>
                <a:gd name="T69" fmla="*/ 488 h 2391"/>
                <a:gd name="T70" fmla="*/ 2268 w 2389"/>
                <a:gd name="T71" fmla="*/ 467 h 2391"/>
                <a:gd name="T72" fmla="*/ 2306 w 2389"/>
                <a:gd name="T73" fmla="*/ 438 h 2391"/>
                <a:gd name="T74" fmla="*/ 2340 w 2389"/>
                <a:gd name="T75" fmla="*/ 403 h 2391"/>
                <a:gd name="T76" fmla="*/ 2365 w 2389"/>
                <a:gd name="T77" fmla="*/ 362 h 2391"/>
                <a:gd name="T78" fmla="*/ 2381 w 2389"/>
                <a:gd name="T79" fmla="*/ 315 h 2391"/>
                <a:gd name="T80" fmla="*/ 2389 w 2389"/>
                <a:gd name="T81" fmla="*/ 265 h 2391"/>
                <a:gd name="T82" fmla="*/ 2386 w 2389"/>
                <a:gd name="T83" fmla="*/ 214 h 2391"/>
                <a:gd name="T84" fmla="*/ 2374 w 2389"/>
                <a:gd name="T85" fmla="*/ 165 h 2391"/>
                <a:gd name="T86" fmla="*/ 2353 w 2389"/>
                <a:gd name="T87" fmla="*/ 122 h 2391"/>
                <a:gd name="T88" fmla="*/ 2324 w 2389"/>
                <a:gd name="T89" fmla="*/ 83 h 2391"/>
                <a:gd name="T90" fmla="*/ 2288 w 2389"/>
                <a:gd name="T91" fmla="*/ 50 h 2391"/>
                <a:gd name="T92" fmla="*/ 2247 w 2389"/>
                <a:gd name="T93" fmla="*/ 25 h 2391"/>
                <a:gd name="T94" fmla="*/ 2201 w 2389"/>
                <a:gd name="T95" fmla="*/ 8 h 2391"/>
                <a:gd name="T96" fmla="*/ 2151 w 2389"/>
                <a:gd name="T97" fmla="*/ 0 h 2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389" h="2391">
                  <a:moveTo>
                    <a:pt x="2137" y="0"/>
                  </a:moveTo>
                  <a:lnTo>
                    <a:pt x="2136" y="0"/>
                  </a:lnTo>
                  <a:lnTo>
                    <a:pt x="2135" y="1"/>
                  </a:lnTo>
                  <a:lnTo>
                    <a:pt x="2026" y="3"/>
                  </a:lnTo>
                  <a:lnTo>
                    <a:pt x="1917" y="12"/>
                  </a:lnTo>
                  <a:lnTo>
                    <a:pt x="1811" y="25"/>
                  </a:lnTo>
                  <a:lnTo>
                    <a:pt x="1705" y="44"/>
                  </a:lnTo>
                  <a:lnTo>
                    <a:pt x="1602" y="69"/>
                  </a:lnTo>
                  <a:lnTo>
                    <a:pt x="1501" y="97"/>
                  </a:lnTo>
                  <a:lnTo>
                    <a:pt x="1401" y="131"/>
                  </a:lnTo>
                  <a:lnTo>
                    <a:pt x="1305" y="169"/>
                  </a:lnTo>
                  <a:lnTo>
                    <a:pt x="1210" y="213"/>
                  </a:lnTo>
                  <a:lnTo>
                    <a:pt x="1117" y="259"/>
                  </a:lnTo>
                  <a:lnTo>
                    <a:pt x="1028" y="311"/>
                  </a:lnTo>
                  <a:lnTo>
                    <a:pt x="941" y="367"/>
                  </a:lnTo>
                  <a:lnTo>
                    <a:pt x="858" y="426"/>
                  </a:lnTo>
                  <a:lnTo>
                    <a:pt x="777" y="489"/>
                  </a:lnTo>
                  <a:lnTo>
                    <a:pt x="700" y="557"/>
                  </a:lnTo>
                  <a:lnTo>
                    <a:pt x="626" y="627"/>
                  </a:lnTo>
                  <a:lnTo>
                    <a:pt x="554" y="702"/>
                  </a:lnTo>
                  <a:lnTo>
                    <a:pt x="488" y="779"/>
                  </a:lnTo>
                  <a:lnTo>
                    <a:pt x="424" y="861"/>
                  </a:lnTo>
                  <a:lnTo>
                    <a:pt x="365" y="945"/>
                  </a:lnTo>
                  <a:lnTo>
                    <a:pt x="309" y="1031"/>
                  </a:lnTo>
                  <a:lnTo>
                    <a:pt x="257" y="1121"/>
                  </a:lnTo>
                  <a:lnTo>
                    <a:pt x="210" y="1213"/>
                  </a:lnTo>
                  <a:lnTo>
                    <a:pt x="168" y="1308"/>
                  </a:lnTo>
                  <a:lnTo>
                    <a:pt x="130" y="1405"/>
                  </a:lnTo>
                  <a:lnTo>
                    <a:pt x="95" y="1504"/>
                  </a:lnTo>
                  <a:lnTo>
                    <a:pt x="67" y="1606"/>
                  </a:lnTo>
                  <a:lnTo>
                    <a:pt x="43" y="1709"/>
                  </a:lnTo>
                  <a:lnTo>
                    <a:pt x="24" y="1814"/>
                  </a:lnTo>
                  <a:lnTo>
                    <a:pt x="11" y="1921"/>
                  </a:lnTo>
                  <a:lnTo>
                    <a:pt x="3" y="2030"/>
                  </a:lnTo>
                  <a:lnTo>
                    <a:pt x="0" y="2140"/>
                  </a:lnTo>
                  <a:lnTo>
                    <a:pt x="0" y="2153"/>
                  </a:lnTo>
                  <a:lnTo>
                    <a:pt x="1" y="2166"/>
                  </a:lnTo>
                  <a:lnTo>
                    <a:pt x="3" y="2178"/>
                  </a:lnTo>
                  <a:lnTo>
                    <a:pt x="5" y="2191"/>
                  </a:lnTo>
                  <a:lnTo>
                    <a:pt x="8" y="2203"/>
                  </a:lnTo>
                  <a:lnTo>
                    <a:pt x="11" y="2215"/>
                  </a:lnTo>
                  <a:lnTo>
                    <a:pt x="15" y="2226"/>
                  </a:lnTo>
                  <a:lnTo>
                    <a:pt x="20" y="2238"/>
                  </a:lnTo>
                  <a:lnTo>
                    <a:pt x="25" y="2249"/>
                  </a:lnTo>
                  <a:lnTo>
                    <a:pt x="30" y="2261"/>
                  </a:lnTo>
                  <a:lnTo>
                    <a:pt x="36" y="2271"/>
                  </a:lnTo>
                  <a:lnTo>
                    <a:pt x="43" y="2281"/>
                  </a:lnTo>
                  <a:lnTo>
                    <a:pt x="50" y="2291"/>
                  </a:lnTo>
                  <a:lnTo>
                    <a:pt x="57" y="2300"/>
                  </a:lnTo>
                  <a:lnTo>
                    <a:pt x="65" y="2310"/>
                  </a:lnTo>
                  <a:lnTo>
                    <a:pt x="73" y="2318"/>
                  </a:lnTo>
                  <a:lnTo>
                    <a:pt x="82" y="2327"/>
                  </a:lnTo>
                  <a:lnTo>
                    <a:pt x="91" y="2334"/>
                  </a:lnTo>
                  <a:lnTo>
                    <a:pt x="100" y="2342"/>
                  </a:lnTo>
                  <a:lnTo>
                    <a:pt x="110" y="2349"/>
                  </a:lnTo>
                  <a:lnTo>
                    <a:pt x="121" y="2355"/>
                  </a:lnTo>
                  <a:lnTo>
                    <a:pt x="132" y="2361"/>
                  </a:lnTo>
                  <a:lnTo>
                    <a:pt x="143" y="2367"/>
                  </a:lnTo>
                  <a:lnTo>
                    <a:pt x="154" y="2372"/>
                  </a:lnTo>
                  <a:lnTo>
                    <a:pt x="165" y="2376"/>
                  </a:lnTo>
                  <a:lnTo>
                    <a:pt x="177" y="2380"/>
                  </a:lnTo>
                  <a:lnTo>
                    <a:pt x="188" y="2384"/>
                  </a:lnTo>
                  <a:lnTo>
                    <a:pt x="201" y="2386"/>
                  </a:lnTo>
                  <a:lnTo>
                    <a:pt x="213" y="2389"/>
                  </a:lnTo>
                  <a:lnTo>
                    <a:pt x="225" y="2390"/>
                  </a:lnTo>
                  <a:lnTo>
                    <a:pt x="238" y="2391"/>
                  </a:lnTo>
                  <a:lnTo>
                    <a:pt x="251" y="2391"/>
                  </a:lnTo>
                  <a:lnTo>
                    <a:pt x="264" y="2391"/>
                  </a:lnTo>
                  <a:lnTo>
                    <a:pt x="277" y="2390"/>
                  </a:lnTo>
                  <a:lnTo>
                    <a:pt x="290" y="2389"/>
                  </a:lnTo>
                  <a:lnTo>
                    <a:pt x="302" y="2386"/>
                  </a:lnTo>
                  <a:lnTo>
                    <a:pt x="314" y="2384"/>
                  </a:lnTo>
                  <a:lnTo>
                    <a:pt x="326" y="2380"/>
                  </a:lnTo>
                  <a:lnTo>
                    <a:pt x="338" y="2376"/>
                  </a:lnTo>
                  <a:lnTo>
                    <a:pt x="349" y="2372"/>
                  </a:lnTo>
                  <a:lnTo>
                    <a:pt x="360" y="2367"/>
                  </a:lnTo>
                  <a:lnTo>
                    <a:pt x="371" y="2361"/>
                  </a:lnTo>
                  <a:lnTo>
                    <a:pt x="382" y="2355"/>
                  </a:lnTo>
                  <a:lnTo>
                    <a:pt x="392" y="2349"/>
                  </a:lnTo>
                  <a:lnTo>
                    <a:pt x="402" y="2342"/>
                  </a:lnTo>
                  <a:lnTo>
                    <a:pt x="411" y="2334"/>
                  </a:lnTo>
                  <a:lnTo>
                    <a:pt x="420" y="2327"/>
                  </a:lnTo>
                  <a:lnTo>
                    <a:pt x="429" y="2318"/>
                  </a:lnTo>
                  <a:lnTo>
                    <a:pt x="437" y="2310"/>
                  </a:lnTo>
                  <a:lnTo>
                    <a:pt x="445" y="2300"/>
                  </a:lnTo>
                  <a:lnTo>
                    <a:pt x="453" y="2291"/>
                  </a:lnTo>
                  <a:lnTo>
                    <a:pt x="460" y="2281"/>
                  </a:lnTo>
                  <a:lnTo>
                    <a:pt x="467" y="2271"/>
                  </a:lnTo>
                  <a:lnTo>
                    <a:pt x="473" y="2261"/>
                  </a:lnTo>
                  <a:lnTo>
                    <a:pt x="478" y="2249"/>
                  </a:lnTo>
                  <a:lnTo>
                    <a:pt x="483" y="2238"/>
                  </a:lnTo>
                  <a:lnTo>
                    <a:pt x="488" y="2226"/>
                  </a:lnTo>
                  <a:lnTo>
                    <a:pt x="492" y="2215"/>
                  </a:lnTo>
                  <a:lnTo>
                    <a:pt x="495" y="2203"/>
                  </a:lnTo>
                  <a:lnTo>
                    <a:pt x="498" y="2191"/>
                  </a:lnTo>
                  <a:lnTo>
                    <a:pt x="500" y="2178"/>
                  </a:lnTo>
                  <a:lnTo>
                    <a:pt x="502" y="2166"/>
                  </a:lnTo>
                  <a:lnTo>
                    <a:pt x="503" y="2153"/>
                  </a:lnTo>
                  <a:lnTo>
                    <a:pt x="503" y="2140"/>
                  </a:lnTo>
                  <a:lnTo>
                    <a:pt x="503" y="2140"/>
                  </a:lnTo>
                  <a:lnTo>
                    <a:pt x="505" y="2055"/>
                  </a:lnTo>
                  <a:lnTo>
                    <a:pt x="511" y="1973"/>
                  </a:lnTo>
                  <a:lnTo>
                    <a:pt x="522" y="1890"/>
                  </a:lnTo>
                  <a:lnTo>
                    <a:pt x="536" y="1810"/>
                  </a:lnTo>
                  <a:lnTo>
                    <a:pt x="554" y="1731"/>
                  </a:lnTo>
                  <a:lnTo>
                    <a:pt x="576" y="1653"/>
                  </a:lnTo>
                  <a:lnTo>
                    <a:pt x="602" y="1577"/>
                  </a:lnTo>
                  <a:lnTo>
                    <a:pt x="632" y="1503"/>
                  </a:lnTo>
                  <a:lnTo>
                    <a:pt x="664" y="1431"/>
                  </a:lnTo>
                  <a:lnTo>
                    <a:pt x="700" y="1360"/>
                  </a:lnTo>
                  <a:lnTo>
                    <a:pt x="739" y="1292"/>
                  </a:lnTo>
                  <a:lnTo>
                    <a:pt x="782" y="1225"/>
                  </a:lnTo>
                  <a:lnTo>
                    <a:pt x="828" y="1161"/>
                  </a:lnTo>
                  <a:lnTo>
                    <a:pt x="876" y="1100"/>
                  </a:lnTo>
                  <a:lnTo>
                    <a:pt x="927" y="1040"/>
                  </a:lnTo>
                  <a:lnTo>
                    <a:pt x="982" y="983"/>
                  </a:lnTo>
                  <a:lnTo>
                    <a:pt x="1038" y="928"/>
                  </a:lnTo>
                  <a:lnTo>
                    <a:pt x="1097" y="877"/>
                  </a:lnTo>
                  <a:lnTo>
                    <a:pt x="1160" y="829"/>
                  </a:lnTo>
                  <a:lnTo>
                    <a:pt x="1223" y="783"/>
                  </a:lnTo>
                  <a:lnTo>
                    <a:pt x="1289" y="741"/>
                  </a:lnTo>
                  <a:lnTo>
                    <a:pt x="1358" y="701"/>
                  </a:lnTo>
                  <a:lnTo>
                    <a:pt x="1428" y="666"/>
                  </a:lnTo>
                  <a:lnTo>
                    <a:pt x="1501" y="632"/>
                  </a:lnTo>
                  <a:lnTo>
                    <a:pt x="1575" y="603"/>
                  </a:lnTo>
                  <a:lnTo>
                    <a:pt x="1652" y="577"/>
                  </a:lnTo>
                  <a:lnTo>
                    <a:pt x="1729" y="555"/>
                  </a:lnTo>
                  <a:lnTo>
                    <a:pt x="1808" y="537"/>
                  </a:lnTo>
                  <a:lnTo>
                    <a:pt x="1888" y="523"/>
                  </a:lnTo>
                  <a:lnTo>
                    <a:pt x="1970" y="513"/>
                  </a:lnTo>
                  <a:lnTo>
                    <a:pt x="2053" y="506"/>
                  </a:lnTo>
                  <a:lnTo>
                    <a:pt x="2137" y="504"/>
                  </a:lnTo>
                  <a:lnTo>
                    <a:pt x="2137" y="504"/>
                  </a:lnTo>
                  <a:lnTo>
                    <a:pt x="2151" y="504"/>
                  </a:lnTo>
                  <a:lnTo>
                    <a:pt x="2164" y="503"/>
                  </a:lnTo>
                  <a:lnTo>
                    <a:pt x="2176" y="501"/>
                  </a:lnTo>
                  <a:lnTo>
                    <a:pt x="2189" y="499"/>
                  </a:lnTo>
                  <a:lnTo>
                    <a:pt x="2201" y="496"/>
                  </a:lnTo>
                  <a:lnTo>
                    <a:pt x="2213" y="492"/>
                  </a:lnTo>
                  <a:lnTo>
                    <a:pt x="2224" y="488"/>
                  </a:lnTo>
                  <a:lnTo>
                    <a:pt x="2235" y="484"/>
                  </a:lnTo>
                  <a:lnTo>
                    <a:pt x="2247" y="479"/>
                  </a:lnTo>
                  <a:lnTo>
                    <a:pt x="2257" y="473"/>
                  </a:lnTo>
                  <a:lnTo>
                    <a:pt x="2268" y="467"/>
                  </a:lnTo>
                  <a:lnTo>
                    <a:pt x="2278" y="461"/>
                  </a:lnTo>
                  <a:lnTo>
                    <a:pt x="2288" y="454"/>
                  </a:lnTo>
                  <a:lnTo>
                    <a:pt x="2297" y="446"/>
                  </a:lnTo>
                  <a:lnTo>
                    <a:pt x="2306" y="438"/>
                  </a:lnTo>
                  <a:lnTo>
                    <a:pt x="2316" y="430"/>
                  </a:lnTo>
                  <a:lnTo>
                    <a:pt x="2324" y="421"/>
                  </a:lnTo>
                  <a:lnTo>
                    <a:pt x="2332" y="412"/>
                  </a:lnTo>
                  <a:lnTo>
                    <a:pt x="2340" y="403"/>
                  </a:lnTo>
                  <a:lnTo>
                    <a:pt x="2347" y="393"/>
                  </a:lnTo>
                  <a:lnTo>
                    <a:pt x="2353" y="383"/>
                  </a:lnTo>
                  <a:lnTo>
                    <a:pt x="2359" y="372"/>
                  </a:lnTo>
                  <a:lnTo>
                    <a:pt x="2365" y="362"/>
                  </a:lnTo>
                  <a:lnTo>
                    <a:pt x="2370" y="350"/>
                  </a:lnTo>
                  <a:lnTo>
                    <a:pt x="2374" y="338"/>
                  </a:lnTo>
                  <a:lnTo>
                    <a:pt x="2378" y="326"/>
                  </a:lnTo>
                  <a:lnTo>
                    <a:pt x="2381" y="315"/>
                  </a:lnTo>
                  <a:lnTo>
                    <a:pt x="2384" y="303"/>
                  </a:lnTo>
                  <a:lnTo>
                    <a:pt x="2386" y="290"/>
                  </a:lnTo>
                  <a:lnTo>
                    <a:pt x="2388" y="278"/>
                  </a:lnTo>
                  <a:lnTo>
                    <a:pt x="2389" y="265"/>
                  </a:lnTo>
                  <a:lnTo>
                    <a:pt x="2389" y="252"/>
                  </a:lnTo>
                  <a:lnTo>
                    <a:pt x="2389" y="239"/>
                  </a:lnTo>
                  <a:lnTo>
                    <a:pt x="2388" y="227"/>
                  </a:lnTo>
                  <a:lnTo>
                    <a:pt x="2386" y="214"/>
                  </a:lnTo>
                  <a:lnTo>
                    <a:pt x="2384" y="202"/>
                  </a:lnTo>
                  <a:lnTo>
                    <a:pt x="2381" y="189"/>
                  </a:lnTo>
                  <a:lnTo>
                    <a:pt x="2378" y="177"/>
                  </a:lnTo>
                  <a:lnTo>
                    <a:pt x="2374" y="165"/>
                  </a:lnTo>
                  <a:lnTo>
                    <a:pt x="2370" y="154"/>
                  </a:lnTo>
                  <a:lnTo>
                    <a:pt x="2365" y="143"/>
                  </a:lnTo>
                  <a:lnTo>
                    <a:pt x="2359" y="132"/>
                  </a:lnTo>
                  <a:lnTo>
                    <a:pt x="2353" y="122"/>
                  </a:lnTo>
                  <a:lnTo>
                    <a:pt x="2347" y="111"/>
                  </a:lnTo>
                  <a:lnTo>
                    <a:pt x="2340" y="102"/>
                  </a:lnTo>
                  <a:lnTo>
                    <a:pt x="2332" y="92"/>
                  </a:lnTo>
                  <a:lnTo>
                    <a:pt x="2324" y="83"/>
                  </a:lnTo>
                  <a:lnTo>
                    <a:pt x="2316" y="74"/>
                  </a:lnTo>
                  <a:lnTo>
                    <a:pt x="2306" y="66"/>
                  </a:lnTo>
                  <a:lnTo>
                    <a:pt x="2297" y="58"/>
                  </a:lnTo>
                  <a:lnTo>
                    <a:pt x="2288" y="50"/>
                  </a:lnTo>
                  <a:lnTo>
                    <a:pt x="2278" y="43"/>
                  </a:lnTo>
                  <a:lnTo>
                    <a:pt x="2268" y="36"/>
                  </a:lnTo>
                  <a:lnTo>
                    <a:pt x="2257" y="30"/>
                  </a:lnTo>
                  <a:lnTo>
                    <a:pt x="2247" y="25"/>
                  </a:lnTo>
                  <a:lnTo>
                    <a:pt x="2235" y="20"/>
                  </a:lnTo>
                  <a:lnTo>
                    <a:pt x="2224" y="15"/>
                  </a:lnTo>
                  <a:lnTo>
                    <a:pt x="2213" y="11"/>
                  </a:lnTo>
                  <a:lnTo>
                    <a:pt x="2201" y="8"/>
                  </a:lnTo>
                  <a:lnTo>
                    <a:pt x="2189" y="5"/>
                  </a:lnTo>
                  <a:lnTo>
                    <a:pt x="2176" y="3"/>
                  </a:lnTo>
                  <a:lnTo>
                    <a:pt x="2164" y="1"/>
                  </a:lnTo>
                  <a:lnTo>
                    <a:pt x="2151" y="0"/>
                  </a:lnTo>
                  <a:lnTo>
                    <a:pt x="213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1" name="í$liďé">
              <a:extLst>
                <a:ext uri="{FF2B5EF4-FFF2-40B4-BE49-F238E27FC236}">
                  <a16:creationId xmlns:a16="http://schemas.microsoft.com/office/drawing/2014/main" id="{056F5DD1-5D1D-4B05-A047-641F85C2B67A}"/>
                </a:ext>
              </a:extLst>
            </p:cNvPr>
            <p:cNvSpPr/>
            <p:nvPr/>
          </p:nvSpPr>
          <p:spPr bwMode="auto">
            <a:xfrm>
              <a:off x="5152220" y="41104"/>
              <a:ext cx="265011" cy="190515"/>
            </a:xfrm>
            <a:custGeom>
              <a:avLst/>
              <a:gdLst>
                <a:gd name="T0" fmla="*/ 2486 w 16058"/>
                <a:gd name="T1" fmla="*/ 10403 h 11544"/>
                <a:gd name="T2" fmla="*/ 1591 w 16058"/>
                <a:gd name="T3" fmla="*/ 9798 h 11544"/>
                <a:gd name="T4" fmla="*/ 1075 w 16058"/>
                <a:gd name="T5" fmla="*/ 8845 h 11544"/>
                <a:gd name="T6" fmla="*/ 1034 w 16058"/>
                <a:gd name="T7" fmla="*/ 7911 h 11544"/>
                <a:gd name="T8" fmla="*/ 1269 w 16058"/>
                <a:gd name="T9" fmla="*/ 7227 h 11544"/>
                <a:gd name="T10" fmla="*/ 1712 w 16058"/>
                <a:gd name="T11" fmla="*/ 6654 h 11544"/>
                <a:gd name="T12" fmla="*/ 2311 w 16058"/>
                <a:gd name="T13" fmla="*/ 6236 h 11544"/>
                <a:gd name="T14" fmla="*/ 2677 w 16058"/>
                <a:gd name="T15" fmla="*/ 5951 h 11544"/>
                <a:gd name="T16" fmla="*/ 2739 w 16058"/>
                <a:gd name="T17" fmla="*/ 5626 h 11544"/>
                <a:gd name="T18" fmla="*/ 2564 w 16058"/>
                <a:gd name="T19" fmla="*/ 5102 h 11544"/>
                <a:gd name="T20" fmla="*/ 2509 w 16058"/>
                <a:gd name="T21" fmla="*/ 4790 h 11544"/>
                <a:gd name="T22" fmla="*/ 2634 w 16058"/>
                <a:gd name="T23" fmla="*/ 4225 h 11544"/>
                <a:gd name="T24" fmla="*/ 3014 w 16058"/>
                <a:gd name="T25" fmla="*/ 3763 h 11544"/>
                <a:gd name="T26" fmla="*/ 3573 w 16058"/>
                <a:gd name="T27" fmla="*/ 3528 h 11544"/>
                <a:gd name="T28" fmla="*/ 4022 w 16058"/>
                <a:gd name="T29" fmla="*/ 3524 h 11544"/>
                <a:gd name="T30" fmla="*/ 4410 w 16058"/>
                <a:gd name="T31" fmla="*/ 3616 h 11544"/>
                <a:gd name="T32" fmla="*/ 4822 w 16058"/>
                <a:gd name="T33" fmla="*/ 3718 h 11544"/>
                <a:gd name="T34" fmla="*/ 5077 w 16058"/>
                <a:gd name="T35" fmla="*/ 3578 h 11544"/>
                <a:gd name="T36" fmla="*/ 5304 w 16058"/>
                <a:gd name="T37" fmla="*/ 3154 h 11544"/>
                <a:gd name="T38" fmla="*/ 5986 w 16058"/>
                <a:gd name="T39" fmla="*/ 2112 h 11544"/>
                <a:gd name="T40" fmla="*/ 6970 w 16058"/>
                <a:gd name="T41" fmla="*/ 1377 h 11544"/>
                <a:gd name="T42" fmla="*/ 8153 w 16058"/>
                <a:gd name="T43" fmla="*/ 1025 h 11544"/>
                <a:gd name="T44" fmla="*/ 9661 w 16058"/>
                <a:gd name="T45" fmla="*/ 1190 h 11544"/>
                <a:gd name="T46" fmla="*/ 10994 w 16058"/>
                <a:gd name="T47" fmla="*/ 2023 h 11544"/>
                <a:gd name="T48" fmla="*/ 11831 w 16058"/>
                <a:gd name="T49" fmla="*/ 3370 h 11544"/>
                <a:gd name="T50" fmla="*/ 12046 w 16058"/>
                <a:gd name="T51" fmla="*/ 4561 h 11544"/>
                <a:gd name="T52" fmla="*/ 12173 w 16058"/>
                <a:gd name="T53" fmla="*/ 4853 h 11544"/>
                <a:gd name="T54" fmla="*/ 12517 w 16058"/>
                <a:gd name="T55" fmla="*/ 5002 h 11544"/>
                <a:gd name="T56" fmla="*/ 13610 w 16058"/>
                <a:gd name="T57" fmla="*/ 5356 h 11544"/>
                <a:gd name="T58" fmla="*/ 14494 w 16058"/>
                <a:gd name="T59" fmla="*/ 6116 h 11544"/>
                <a:gd name="T60" fmla="*/ 14988 w 16058"/>
                <a:gd name="T61" fmla="*/ 7177 h 11544"/>
                <a:gd name="T62" fmla="*/ 14968 w 16058"/>
                <a:gd name="T63" fmla="*/ 8469 h 11544"/>
                <a:gd name="T64" fmla="*/ 14337 w 16058"/>
                <a:gd name="T65" fmla="*/ 9634 h 11544"/>
                <a:gd name="T66" fmla="*/ 13243 w 16058"/>
                <a:gd name="T67" fmla="*/ 10372 h 11544"/>
                <a:gd name="T68" fmla="*/ 12944 w 16058"/>
                <a:gd name="T69" fmla="*/ 3664 h 11544"/>
                <a:gd name="T70" fmla="*/ 12111 w 16058"/>
                <a:gd name="T71" fmla="*/ 1788 h 11544"/>
                <a:gd name="T72" fmla="*/ 10564 w 16058"/>
                <a:gd name="T73" fmla="*/ 487 h 11544"/>
                <a:gd name="T74" fmla="*/ 8531 w 16058"/>
                <a:gd name="T75" fmla="*/ 0 h 11544"/>
                <a:gd name="T76" fmla="*/ 6922 w 16058"/>
                <a:gd name="T77" fmla="*/ 297 h 11544"/>
                <a:gd name="T78" fmla="*/ 5572 w 16058"/>
                <a:gd name="T79" fmla="*/ 1115 h 11544"/>
                <a:gd name="T80" fmla="*/ 4587 w 16058"/>
                <a:gd name="T81" fmla="*/ 2341 h 11544"/>
                <a:gd name="T82" fmla="*/ 4112 w 16058"/>
                <a:gd name="T83" fmla="*/ 2541 h 11544"/>
                <a:gd name="T84" fmla="*/ 3533 w 16058"/>
                <a:gd name="T85" fmla="*/ 2521 h 11544"/>
                <a:gd name="T86" fmla="*/ 2501 w 16058"/>
                <a:gd name="T87" fmla="*/ 2896 h 11544"/>
                <a:gd name="T88" fmla="*/ 1778 w 16058"/>
                <a:gd name="T89" fmla="*/ 3692 h 11544"/>
                <a:gd name="T90" fmla="*/ 1505 w 16058"/>
                <a:gd name="T91" fmla="*/ 4768 h 11544"/>
                <a:gd name="T92" fmla="*/ 1558 w 16058"/>
                <a:gd name="T93" fmla="*/ 5217 h 11544"/>
                <a:gd name="T94" fmla="*/ 1281 w 16058"/>
                <a:gd name="T95" fmla="*/ 5706 h 11544"/>
                <a:gd name="T96" fmla="*/ 564 w 16058"/>
                <a:gd name="T97" fmla="*/ 6461 h 11544"/>
                <a:gd name="T98" fmla="*/ 118 w 16058"/>
                <a:gd name="T99" fmla="*/ 7414 h 11544"/>
                <a:gd name="T100" fmla="*/ 17 w 16058"/>
                <a:gd name="T101" fmla="*/ 8615 h 11544"/>
                <a:gd name="T102" fmla="*/ 557 w 16058"/>
                <a:gd name="T103" fmla="*/ 10106 h 11544"/>
                <a:gd name="T104" fmla="*/ 1707 w 16058"/>
                <a:gd name="T105" fmla="*/ 11150 h 11544"/>
                <a:gd name="T106" fmla="*/ 3262 w 16058"/>
                <a:gd name="T107" fmla="*/ 11543 h 11544"/>
                <a:gd name="T108" fmla="*/ 13589 w 16058"/>
                <a:gd name="T109" fmla="*/ 11315 h 11544"/>
                <a:gd name="T110" fmla="*/ 15080 w 16058"/>
                <a:gd name="T111" fmla="*/ 10310 h 11544"/>
                <a:gd name="T112" fmla="*/ 15940 w 16058"/>
                <a:gd name="T113" fmla="*/ 8720 h 11544"/>
                <a:gd name="T114" fmla="*/ 15965 w 16058"/>
                <a:gd name="T115" fmla="*/ 6945 h 11544"/>
                <a:gd name="T116" fmla="*/ 15283 w 16058"/>
                <a:gd name="T117" fmla="*/ 5493 h 11544"/>
                <a:gd name="T118" fmla="*/ 14075 w 16058"/>
                <a:gd name="T119" fmla="*/ 4467 h 11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58" h="11544">
                  <a:moveTo>
                    <a:pt x="12294" y="10539"/>
                  </a:moveTo>
                  <a:lnTo>
                    <a:pt x="12294" y="10540"/>
                  </a:lnTo>
                  <a:lnTo>
                    <a:pt x="3262" y="10540"/>
                  </a:lnTo>
                  <a:lnTo>
                    <a:pt x="3145" y="10537"/>
                  </a:lnTo>
                  <a:lnTo>
                    <a:pt x="3031" y="10528"/>
                  </a:lnTo>
                  <a:lnTo>
                    <a:pt x="2919" y="10514"/>
                  </a:lnTo>
                  <a:lnTo>
                    <a:pt x="2807" y="10494"/>
                  </a:lnTo>
                  <a:lnTo>
                    <a:pt x="2698" y="10469"/>
                  </a:lnTo>
                  <a:lnTo>
                    <a:pt x="2591" y="10438"/>
                  </a:lnTo>
                  <a:lnTo>
                    <a:pt x="2486" y="10403"/>
                  </a:lnTo>
                  <a:lnTo>
                    <a:pt x="2384" y="10363"/>
                  </a:lnTo>
                  <a:lnTo>
                    <a:pt x="2284" y="10316"/>
                  </a:lnTo>
                  <a:lnTo>
                    <a:pt x="2187" y="10267"/>
                  </a:lnTo>
                  <a:lnTo>
                    <a:pt x="2092" y="10212"/>
                  </a:lnTo>
                  <a:lnTo>
                    <a:pt x="2000" y="10154"/>
                  </a:lnTo>
                  <a:lnTo>
                    <a:pt x="1912" y="10091"/>
                  </a:lnTo>
                  <a:lnTo>
                    <a:pt x="1827" y="10023"/>
                  </a:lnTo>
                  <a:lnTo>
                    <a:pt x="1744" y="9952"/>
                  </a:lnTo>
                  <a:lnTo>
                    <a:pt x="1666" y="9878"/>
                  </a:lnTo>
                  <a:lnTo>
                    <a:pt x="1591" y="9798"/>
                  </a:lnTo>
                  <a:lnTo>
                    <a:pt x="1520" y="9717"/>
                  </a:lnTo>
                  <a:lnTo>
                    <a:pt x="1453" y="9632"/>
                  </a:lnTo>
                  <a:lnTo>
                    <a:pt x="1390" y="9543"/>
                  </a:lnTo>
                  <a:lnTo>
                    <a:pt x="1331" y="9451"/>
                  </a:lnTo>
                  <a:lnTo>
                    <a:pt x="1277" y="9357"/>
                  </a:lnTo>
                  <a:lnTo>
                    <a:pt x="1226" y="9259"/>
                  </a:lnTo>
                  <a:lnTo>
                    <a:pt x="1181" y="9159"/>
                  </a:lnTo>
                  <a:lnTo>
                    <a:pt x="1141" y="9057"/>
                  </a:lnTo>
                  <a:lnTo>
                    <a:pt x="1105" y="8952"/>
                  </a:lnTo>
                  <a:lnTo>
                    <a:pt x="1075" y="8845"/>
                  </a:lnTo>
                  <a:lnTo>
                    <a:pt x="1050" y="8736"/>
                  </a:lnTo>
                  <a:lnTo>
                    <a:pt x="1030" y="8624"/>
                  </a:lnTo>
                  <a:lnTo>
                    <a:pt x="1016" y="8512"/>
                  </a:lnTo>
                  <a:lnTo>
                    <a:pt x="1007" y="8397"/>
                  </a:lnTo>
                  <a:lnTo>
                    <a:pt x="1004" y="8281"/>
                  </a:lnTo>
                  <a:lnTo>
                    <a:pt x="1005" y="8207"/>
                  </a:lnTo>
                  <a:lnTo>
                    <a:pt x="1009" y="8131"/>
                  </a:lnTo>
                  <a:lnTo>
                    <a:pt x="1015" y="8057"/>
                  </a:lnTo>
                  <a:lnTo>
                    <a:pt x="1024" y="7984"/>
                  </a:lnTo>
                  <a:lnTo>
                    <a:pt x="1034" y="7911"/>
                  </a:lnTo>
                  <a:lnTo>
                    <a:pt x="1048" y="7839"/>
                  </a:lnTo>
                  <a:lnTo>
                    <a:pt x="1063" y="7768"/>
                  </a:lnTo>
                  <a:lnTo>
                    <a:pt x="1081" y="7697"/>
                  </a:lnTo>
                  <a:lnTo>
                    <a:pt x="1101" y="7627"/>
                  </a:lnTo>
                  <a:lnTo>
                    <a:pt x="1123" y="7558"/>
                  </a:lnTo>
                  <a:lnTo>
                    <a:pt x="1148" y="7490"/>
                  </a:lnTo>
                  <a:lnTo>
                    <a:pt x="1175" y="7423"/>
                  </a:lnTo>
                  <a:lnTo>
                    <a:pt x="1203" y="7356"/>
                  </a:lnTo>
                  <a:lnTo>
                    <a:pt x="1235" y="7291"/>
                  </a:lnTo>
                  <a:lnTo>
                    <a:pt x="1269" y="7227"/>
                  </a:lnTo>
                  <a:lnTo>
                    <a:pt x="1304" y="7165"/>
                  </a:lnTo>
                  <a:lnTo>
                    <a:pt x="1341" y="7102"/>
                  </a:lnTo>
                  <a:lnTo>
                    <a:pt x="1381" y="7041"/>
                  </a:lnTo>
                  <a:lnTo>
                    <a:pt x="1422" y="6982"/>
                  </a:lnTo>
                  <a:lnTo>
                    <a:pt x="1465" y="6924"/>
                  </a:lnTo>
                  <a:lnTo>
                    <a:pt x="1511" y="6867"/>
                  </a:lnTo>
                  <a:lnTo>
                    <a:pt x="1559" y="6811"/>
                  </a:lnTo>
                  <a:lnTo>
                    <a:pt x="1608" y="6757"/>
                  </a:lnTo>
                  <a:lnTo>
                    <a:pt x="1659" y="6705"/>
                  </a:lnTo>
                  <a:lnTo>
                    <a:pt x="1712" y="6654"/>
                  </a:lnTo>
                  <a:lnTo>
                    <a:pt x="1767" y="6604"/>
                  </a:lnTo>
                  <a:lnTo>
                    <a:pt x="1825" y="6555"/>
                  </a:lnTo>
                  <a:lnTo>
                    <a:pt x="1883" y="6509"/>
                  </a:lnTo>
                  <a:lnTo>
                    <a:pt x="1943" y="6464"/>
                  </a:lnTo>
                  <a:lnTo>
                    <a:pt x="2005" y="6421"/>
                  </a:lnTo>
                  <a:lnTo>
                    <a:pt x="2069" y="6380"/>
                  </a:lnTo>
                  <a:lnTo>
                    <a:pt x="2135" y="6341"/>
                  </a:lnTo>
                  <a:lnTo>
                    <a:pt x="2198" y="6304"/>
                  </a:lnTo>
                  <a:lnTo>
                    <a:pt x="2256" y="6269"/>
                  </a:lnTo>
                  <a:lnTo>
                    <a:pt x="2311" y="6236"/>
                  </a:lnTo>
                  <a:lnTo>
                    <a:pt x="2364" y="6205"/>
                  </a:lnTo>
                  <a:lnTo>
                    <a:pt x="2412" y="6174"/>
                  </a:lnTo>
                  <a:lnTo>
                    <a:pt x="2456" y="6145"/>
                  </a:lnTo>
                  <a:lnTo>
                    <a:pt x="2498" y="6116"/>
                  </a:lnTo>
                  <a:lnTo>
                    <a:pt x="2535" y="6088"/>
                  </a:lnTo>
                  <a:lnTo>
                    <a:pt x="2570" y="6061"/>
                  </a:lnTo>
                  <a:lnTo>
                    <a:pt x="2601" y="6033"/>
                  </a:lnTo>
                  <a:lnTo>
                    <a:pt x="2629" y="6006"/>
                  </a:lnTo>
                  <a:lnTo>
                    <a:pt x="2655" y="5979"/>
                  </a:lnTo>
                  <a:lnTo>
                    <a:pt x="2677" y="5951"/>
                  </a:lnTo>
                  <a:lnTo>
                    <a:pt x="2696" y="5923"/>
                  </a:lnTo>
                  <a:lnTo>
                    <a:pt x="2712" y="5895"/>
                  </a:lnTo>
                  <a:lnTo>
                    <a:pt x="2725" y="5866"/>
                  </a:lnTo>
                  <a:lnTo>
                    <a:pt x="2735" y="5836"/>
                  </a:lnTo>
                  <a:lnTo>
                    <a:pt x="2742" y="5805"/>
                  </a:lnTo>
                  <a:lnTo>
                    <a:pt x="2747" y="5773"/>
                  </a:lnTo>
                  <a:lnTo>
                    <a:pt x="2748" y="5738"/>
                  </a:lnTo>
                  <a:lnTo>
                    <a:pt x="2748" y="5703"/>
                  </a:lnTo>
                  <a:lnTo>
                    <a:pt x="2744" y="5665"/>
                  </a:lnTo>
                  <a:lnTo>
                    <a:pt x="2739" y="5626"/>
                  </a:lnTo>
                  <a:lnTo>
                    <a:pt x="2730" y="5585"/>
                  </a:lnTo>
                  <a:lnTo>
                    <a:pt x="2720" y="5542"/>
                  </a:lnTo>
                  <a:lnTo>
                    <a:pt x="2707" y="5495"/>
                  </a:lnTo>
                  <a:lnTo>
                    <a:pt x="2691" y="5446"/>
                  </a:lnTo>
                  <a:lnTo>
                    <a:pt x="2674" y="5395"/>
                  </a:lnTo>
                  <a:lnTo>
                    <a:pt x="2654" y="5340"/>
                  </a:lnTo>
                  <a:lnTo>
                    <a:pt x="2632" y="5282"/>
                  </a:lnTo>
                  <a:lnTo>
                    <a:pt x="2607" y="5220"/>
                  </a:lnTo>
                  <a:lnTo>
                    <a:pt x="2581" y="5156"/>
                  </a:lnTo>
                  <a:lnTo>
                    <a:pt x="2564" y="5102"/>
                  </a:lnTo>
                  <a:lnTo>
                    <a:pt x="2549" y="5050"/>
                  </a:lnTo>
                  <a:lnTo>
                    <a:pt x="2537" y="5000"/>
                  </a:lnTo>
                  <a:lnTo>
                    <a:pt x="2527" y="4950"/>
                  </a:lnTo>
                  <a:lnTo>
                    <a:pt x="2523" y="4926"/>
                  </a:lnTo>
                  <a:lnTo>
                    <a:pt x="2519" y="4903"/>
                  </a:lnTo>
                  <a:lnTo>
                    <a:pt x="2516" y="4880"/>
                  </a:lnTo>
                  <a:lnTo>
                    <a:pt x="2514" y="4857"/>
                  </a:lnTo>
                  <a:lnTo>
                    <a:pt x="2512" y="4834"/>
                  </a:lnTo>
                  <a:lnTo>
                    <a:pt x="2510" y="4812"/>
                  </a:lnTo>
                  <a:lnTo>
                    <a:pt x="2509" y="4790"/>
                  </a:lnTo>
                  <a:lnTo>
                    <a:pt x="2509" y="4768"/>
                  </a:lnTo>
                  <a:lnTo>
                    <a:pt x="2511" y="4704"/>
                  </a:lnTo>
                  <a:lnTo>
                    <a:pt x="2516" y="4640"/>
                  </a:lnTo>
                  <a:lnTo>
                    <a:pt x="2524" y="4577"/>
                  </a:lnTo>
                  <a:lnTo>
                    <a:pt x="2535" y="4516"/>
                  </a:lnTo>
                  <a:lnTo>
                    <a:pt x="2549" y="4455"/>
                  </a:lnTo>
                  <a:lnTo>
                    <a:pt x="2565" y="4395"/>
                  </a:lnTo>
                  <a:lnTo>
                    <a:pt x="2585" y="4337"/>
                  </a:lnTo>
                  <a:lnTo>
                    <a:pt x="2608" y="4280"/>
                  </a:lnTo>
                  <a:lnTo>
                    <a:pt x="2634" y="4225"/>
                  </a:lnTo>
                  <a:lnTo>
                    <a:pt x="2661" y="4171"/>
                  </a:lnTo>
                  <a:lnTo>
                    <a:pt x="2691" y="4118"/>
                  </a:lnTo>
                  <a:lnTo>
                    <a:pt x="2724" y="4067"/>
                  </a:lnTo>
                  <a:lnTo>
                    <a:pt x="2759" y="4018"/>
                  </a:lnTo>
                  <a:lnTo>
                    <a:pt x="2796" y="3971"/>
                  </a:lnTo>
                  <a:lnTo>
                    <a:pt x="2835" y="3925"/>
                  </a:lnTo>
                  <a:lnTo>
                    <a:pt x="2877" y="3881"/>
                  </a:lnTo>
                  <a:lnTo>
                    <a:pt x="2921" y="3839"/>
                  </a:lnTo>
                  <a:lnTo>
                    <a:pt x="2966" y="3800"/>
                  </a:lnTo>
                  <a:lnTo>
                    <a:pt x="3014" y="3763"/>
                  </a:lnTo>
                  <a:lnTo>
                    <a:pt x="3063" y="3728"/>
                  </a:lnTo>
                  <a:lnTo>
                    <a:pt x="3113" y="3696"/>
                  </a:lnTo>
                  <a:lnTo>
                    <a:pt x="3166" y="3665"/>
                  </a:lnTo>
                  <a:lnTo>
                    <a:pt x="3221" y="3638"/>
                  </a:lnTo>
                  <a:lnTo>
                    <a:pt x="3276" y="3612"/>
                  </a:lnTo>
                  <a:lnTo>
                    <a:pt x="3333" y="3589"/>
                  </a:lnTo>
                  <a:lnTo>
                    <a:pt x="3391" y="3570"/>
                  </a:lnTo>
                  <a:lnTo>
                    <a:pt x="3450" y="3553"/>
                  </a:lnTo>
                  <a:lnTo>
                    <a:pt x="3512" y="3539"/>
                  </a:lnTo>
                  <a:lnTo>
                    <a:pt x="3573" y="3528"/>
                  </a:lnTo>
                  <a:lnTo>
                    <a:pt x="3636" y="3520"/>
                  </a:lnTo>
                  <a:lnTo>
                    <a:pt x="3699" y="3515"/>
                  </a:lnTo>
                  <a:lnTo>
                    <a:pt x="3764" y="3513"/>
                  </a:lnTo>
                  <a:lnTo>
                    <a:pt x="3779" y="3513"/>
                  </a:lnTo>
                  <a:lnTo>
                    <a:pt x="3821" y="3512"/>
                  </a:lnTo>
                  <a:lnTo>
                    <a:pt x="3851" y="3512"/>
                  </a:lnTo>
                  <a:lnTo>
                    <a:pt x="3886" y="3513"/>
                  </a:lnTo>
                  <a:lnTo>
                    <a:pt x="3927" y="3515"/>
                  </a:lnTo>
                  <a:lnTo>
                    <a:pt x="3972" y="3519"/>
                  </a:lnTo>
                  <a:lnTo>
                    <a:pt x="4022" y="3524"/>
                  </a:lnTo>
                  <a:lnTo>
                    <a:pt x="4074" y="3531"/>
                  </a:lnTo>
                  <a:lnTo>
                    <a:pt x="4130" y="3540"/>
                  </a:lnTo>
                  <a:lnTo>
                    <a:pt x="4189" y="3552"/>
                  </a:lnTo>
                  <a:lnTo>
                    <a:pt x="4219" y="3559"/>
                  </a:lnTo>
                  <a:lnTo>
                    <a:pt x="4250" y="3566"/>
                  </a:lnTo>
                  <a:lnTo>
                    <a:pt x="4281" y="3575"/>
                  </a:lnTo>
                  <a:lnTo>
                    <a:pt x="4314" y="3584"/>
                  </a:lnTo>
                  <a:lnTo>
                    <a:pt x="4345" y="3594"/>
                  </a:lnTo>
                  <a:lnTo>
                    <a:pt x="4378" y="3604"/>
                  </a:lnTo>
                  <a:lnTo>
                    <a:pt x="4410" y="3616"/>
                  </a:lnTo>
                  <a:lnTo>
                    <a:pt x="4443" y="3629"/>
                  </a:lnTo>
                  <a:lnTo>
                    <a:pt x="4495" y="3649"/>
                  </a:lnTo>
                  <a:lnTo>
                    <a:pt x="4544" y="3667"/>
                  </a:lnTo>
                  <a:lnTo>
                    <a:pt x="4592" y="3682"/>
                  </a:lnTo>
                  <a:lnTo>
                    <a:pt x="4636" y="3694"/>
                  </a:lnTo>
                  <a:lnTo>
                    <a:pt x="4678" y="3704"/>
                  </a:lnTo>
                  <a:lnTo>
                    <a:pt x="4717" y="3711"/>
                  </a:lnTo>
                  <a:lnTo>
                    <a:pt x="4754" y="3716"/>
                  </a:lnTo>
                  <a:lnTo>
                    <a:pt x="4789" y="3718"/>
                  </a:lnTo>
                  <a:lnTo>
                    <a:pt x="4822" y="3718"/>
                  </a:lnTo>
                  <a:lnTo>
                    <a:pt x="4855" y="3715"/>
                  </a:lnTo>
                  <a:lnTo>
                    <a:pt x="4884" y="3710"/>
                  </a:lnTo>
                  <a:lnTo>
                    <a:pt x="4912" y="3702"/>
                  </a:lnTo>
                  <a:lnTo>
                    <a:pt x="4939" y="3692"/>
                  </a:lnTo>
                  <a:lnTo>
                    <a:pt x="4964" y="3679"/>
                  </a:lnTo>
                  <a:lnTo>
                    <a:pt x="4989" y="3664"/>
                  </a:lnTo>
                  <a:lnTo>
                    <a:pt x="5012" y="3646"/>
                  </a:lnTo>
                  <a:lnTo>
                    <a:pt x="5034" y="3626"/>
                  </a:lnTo>
                  <a:lnTo>
                    <a:pt x="5056" y="3603"/>
                  </a:lnTo>
                  <a:lnTo>
                    <a:pt x="5077" y="3578"/>
                  </a:lnTo>
                  <a:lnTo>
                    <a:pt x="5097" y="3551"/>
                  </a:lnTo>
                  <a:lnTo>
                    <a:pt x="5117" y="3522"/>
                  </a:lnTo>
                  <a:lnTo>
                    <a:pt x="5138" y="3490"/>
                  </a:lnTo>
                  <a:lnTo>
                    <a:pt x="5158" y="3456"/>
                  </a:lnTo>
                  <a:lnTo>
                    <a:pt x="5177" y="3420"/>
                  </a:lnTo>
                  <a:lnTo>
                    <a:pt x="5197" y="3382"/>
                  </a:lnTo>
                  <a:lnTo>
                    <a:pt x="5218" y="3340"/>
                  </a:lnTo>
                  <a:lnTo>
                    <a:pt x="5238" y="3297"/>
                  </a:lnTo>
                  <a:lnTo>
                    <a:pt x="5260" y="3251"/>
                  </a:lnTo>
                  <a:lnTo>
                    <a:pt x="5304" y="3154"/>
                  </a:lnTo>
                  <a:lnTo>
                    <a:pt x="5353" y="3047"/>
                  </a:lnTo>
                  <a:lnTo>
                    <a:pt x="5409" y="2932"/>
                  </a:lnTo>
                  <a:lnTo>
                    <a:pt x="5469" y="2820"/>
                  </a:lnTo>
                  <a:lnTo>
                    <a:pt x="5532" y="2710"/>
                  </a:lnTo>
                  <a:lnTo>
                    <a:pt x="5599" y="2603"/>
                  </a:lnTo>
                  <a:lnTo>
                    <a:pt x="5669" y="2499"/>
                  </a:lnTo>
                  <a:lnTo>
                    <a:pt x="5744" y="2398"/>
                  </a:lnTo>
                  <a:lnTo>
                    <a:pt x="5821" y="2300"/>
                  </a:lnTo>
                  <a:lnTo>
                    <a:pt x="5902" y="2204"/>
                  </a:lnTo>
                  <a:lnTo>
                    <a:pt x="5986" y="2112"/>
                  </a:lnTo>
                  <a:lnTo>
                    <a:pt x="6072" y="2024"/>
                  </a:lnTo>
                  <a:lnTo>
                    <a:pt x="6161" y="1938"/>
                  </a:lnTo>
                  <a:lnTo>
                    <a:pt x="6255" y="1856"/>
                  </a:lnTo>
                  <a:lnTo>
                    <a:pt x="6349" y="1777"/>
                  </a:lnTo>
                  <a:lnTo>
                    <a:pt x="6447" y="1701"/>
                  </a:lnTo>
                  <a:lnTo>
                    <a:pt x="6547" y="1629"/>
                  </a:lnTo>
                  <a:lnTo>
                    <a:pt x="6650" y="1560"/>
                  </a:lnTo>
                  <a:lnTo>
                    <a:pt x="6754" y="1496"/>
                  </a:lnTo>
                  <a:lnTo>
                    <a:pt x="6862" y="1434"/>
                  </a:lnTo>
                  <a:lnTo>
                    <a:pt x="6970" y="1377"/>
                  </a:lnTo>
                  <a:lnTo>
                    <a:pt x="7082" y="1323"/>
                  </a:lnTo>
                  <a:lnTo>
                    <a:pt x="7195" y="1274"/>
                  </a:lnTo>
                  <a:lnTo>
                    <a:pt x="7309" y="1228"/>
                  </a:lnTo>
                  <a:lnTo>
                    <a:pt x="7426" y="1186"/>
                  </a:lnTo>
                  <a:lnTo>
                    <a:pt x="7543" y="1148"/>
                  </a:lnTo>
                  <a:lnTo>
                    <a:pt x="7663" y="1115"/>
                  </a:lnTo>
                  <a:lnTo>
                    <a:pt x="7784" y="1086"/>
                  </a:lnTo>
                  <a:lnTo>
                    <a:pt x="7906" y="1061"/>
                  </a:lnTo>
                  <a:lnTo>
                    <a:pt x="8029" y="1041"/>
                  </a:lnTo>
                  <a:lnTo>
                    <a:pt x="8153" y="1025"/>
                  </a:lnTo>
                  <a:lnTo>
                    <a:pt x="8278" y="1013"/>
                  </a:lnTo>
                  <a:lnTo>
                    <a:pt x="8404" y="1007"/>
                  </a:lnTo>
                  <a:lnTo>
                    <a:pt x="8531" y="1004"/>
                  </a:lnTo>
                  <a:lnTo>
                    <a:pt x="8699" y="1008"/>
                  </a:lnTo>
                  <a:lnTo>
                    <a:pt x="8866" y="1020"/>
                  </a:lnTo>
                  <a:lnTo>
                    <a:pt x="9030" y="1039"/>
                  </a:lnTo>
                  <a:lnTo>
                    <a:pt x="9192" y="1066"/>
                  </a:lnTo>
                  <a:lnTo>
                    <a:pt x="9351" y="1100"/>
                  </a:lnTo>
                  <a:lnTo>
                    <a:pt x="9507" y="1142"/>
                  </a:lnTo>
                  <a:lnTo>
                    <a:pt x="9661" y="1190"/>
                  </a:lnTo>
                  <a:lnTo>
                    <a:pt x="9811" y="1246"/>
                  </a:lnTo>
                  <a:lnTo>
                    <a:pt x="9959" y="1308"/>
                  </a:lnTo>
                  <a:lnTo>
                    <a:pt x="10102" y="1376"/>
                  </a:lnTo>
                  <a:lnTo>
                    <a:pt x="10242" y="1451"/>
                  </a:lnTo>
                  <a:lnTo>
                    <a:pt x="10378" y="1532"/>
                  </a:lnTo>
                  <a:lnTo>
                    <a:pt x="10510" y="1619"/>
                  </a:lnTo>
                  <a:lnTo>
                    <a:pt x="10638" y="1711"/>
                  </a:lnTo>
                  <a:lnTo>
                    <a:pt x="10761" y="1810"/>
                  </a:lnTo>
                  <a:lnTo>
                    <a:pt x="10880" y="1914"/>
                  </a:lnTo>
                  <a:lnTo>
                    <a:pt x="10994" y="2023"/>
                  </a:lnTo>
                  <a:lnTo>
                    <a:pt x="11103" y="2137"/>
                  </a:lnTo>
                  <a:lnTo>
                    <a:pt x="11207" y="2256"/>
                  </a:lnTo>
                  <a:lnTo>
                    <a:pt x="11306" y="2381"/>
                  </a:lnTo>
                  <a:lnTo>
                    <a:pt x="11398" y="2509"/>
                  </a:lnTo>
                  <a:lnTo>
                    <a:pt x="11486" y="2643"/>
                  </a:lnTo>
                  <a:lnTo>
                    <a:pt x="11568" y="2780"/>
                  </a:lnTo>
                  <a:lnTo>
                    <a:pt x="11643" y="2922"/>
                  </a:lnTo>
                  <a:lnTo>
                    <a:pt x="11712" y="3067"/>
                  </a:lnTo>
                  <a:lnTo>
                    <a:pt x="11775" y="3217"/>
                  </a:lnTo>
                  <a:lnTo>
                    <a:pt x="11831" y="3370"/>
                  </a:lnTo>
                  <a:lnTo>
                    <a:pt x="11880" y="3526"/>
                  </a:lnTo>
                  <a:lnTo>
                    <a:pt x="11922" y="3686"/>
                  </a:lnTo>
                  <a:lnTo>
                    <a:pt x="11957" y="3848"/>
                  </a:lnTo>
                  <a:lnTo>
                    <a:pt x="11985" y="4014"/>
                  </a:lnTo>
                  <a:lnTo>
                    <a:pt x="12005" y="4183"/>
                  </a:lnTo>
                  <a:lnTo>
                    <a:pt x="12016" y="4309"/>
                  </a:lnTo>
                  <a:lnTo>
                    <a:pt x="12027" y="4420"/>
                  </a:lnTo>
                  <a:lnTo>
                    <a:pt x="12032" y="4471"/>
                  </a:lnTo>
                  <a:lnTo>
                    <a:pt x="12038" y="4517"/>
                  </a:lnTo>
                  <a:lnTo>
                    <a:pt x="12046" y="4561"/>
                  </a:lnTo>
                  <a:lnTo>
                    <a:pt x="12053" y="4601"/>
                  </a:lnTo>
                  <a:lnTo>
                    <a:pt x="12061" y="4638"/>
                  </a:lnTo>
                  <a:lnTo>
                    <a:pt x="12070" y="4673"/>
                  </a:lnTo>
                  <a:lnTo>
                    <a:pt x="12081" y="4706"/>
                  </a:lnTo>
                  <a:lnTo>
                    <a:pt x="12092" y="4736"/>
                  </a:lnTo>
                  <a:lnTo>
                    <a:pt x="12105" y="4763"/>
                  </a:lnTo>
                  <a:lnTo>
                    <a:pt x="12119" y="4788"/>
                  </a:lnTo>
                  <a:lnTo>
                    <a:pt x="12135" y="4812"/>
                  </a:lnTo>
                  <a:lnTo>
                    <a:pt x="12153" y="4833"/>
                  </a:lnTo>
                  <a:lnTo>
                    <a:pt x="12173" y="4853"/>
                  </a:lnTo>
                  <a:lnTo>
                    <a:pt x="12195" y="4872"/>
                  </a:lnTo>
                  <a:lnTo>
                    <a:pt x="12220" y="4889"/>
                  </a:lnTo>
                  <a:lnTo>
                    <a:pt x="12247" y="4905"/>
                  </a:lnTo>
                  <a:lnTo>
                    <a:pt x="12276" y="4920"/>
                  </a:lnTo>
                  <a:lnTo>
                    <a:pt x="12308" y="4935"/>
                  </a:lnTo>
                  <a:lnTo>
                    <a:pt x="12344" y="4949"/>
                  </a:lnTo>
                  <a:lnTo>
                    <a:pt x="12383" y="4962"/>
                  </a:lnTo>
                  <a:lnTo>
                    <a:pt x="12424" y="4976"/>
                  </a:lnTo>
                  <a:lnTo>
                    <a:pt x="12468" y="4989"/>
                  </a:lnTo>
                  <a:lnTo>
                    <a:pt x="12517" y="5002"/>
                  </a:lnTo>
                  <a:lnTo>
                    <a:pt x="12568" y="5015"/>
                  </a:lnTo>
                  <a:lnTo>
                    <a:pt x="12684" y="5043"/>
                  </a:lnTo>
                  <a:lnTo>
                    <a:pt x="12816" y="5073"/>
                  </a:lnTo>
                  <a:lnTo>
                    <a:pt x="12937" y="5099"/>
                  </a:lnTo>
                  <a:lnTo>
                    <a:pt x="13055" y="5129"/>
                  </a:lnTo>
                  <a:lnTo>
                    <a:pt x="13171" y="5165"/>
                  </a:lnTo>
                  <a:lnTo>
                    <a:pt x="13285" y="5206"/>
                  </a:lnTo>
                  <a:lnTo>
                    <a:pt x="13395" y="5252"/>
                  </a:lnTo>
                  <a:lnTo>
                    <a:pt x="13505" y="5302"/>
                  </a:lnTo>
                  <a:lnTo>
                    <a:pt x="13610" y="5356"/>
                  </a:lnTo>
                  <a:lnTo>
                    <a:pt x="13714" y="5415"/>
                  </a:lnTo>
                  <a:lnTo>
                    <a:pt x="13813" y="5477"/>
                  </a:lnTo>
                  <a:lnTo>
                    <a:pt x="13910" y="5545"/>
                  </a:lnTo>
                  <a:lnTo>
                    <a:pt x="14004" y="5615"/>
                  </a:lnTo>
                  <a:lnTo>
                    <a:pt x="14095" y="5690"/>
                  </a:lnTo>
                  <a:lnTo>
                    <a:pt x="14181" y="5768"/>
                  </a:lnTo>
                  <a:lnTo>
                    <a:pt x="14266" y="5850"/>
                  </a:lnTo>
                  <a:lnTo>
                    <a:pt x="14346" y="5935"/>
                  </a:lnTo>
                  <a:lnTo>
                    <a:pt x="14422" y="6024"/>
                  </a:lnTo>
                  <a:lnTo>
                    <a:pt x="14494" y="6116"/>
                  </a:lnTo>
                  <a:lnTo>
                    <a:pt x="14564" y="6210"/>
                  </a:lnTo>
                  <a:lnTo>
                    <a:pt x="14628" y="6307"/>
                  </a:lnTo>
                  <a:lnTo>
                    <a:pt x="14689" y="6408"/>
                  </a:lnTo>
                  <a:lnTo>
                    <a:pt x="14745" y="6511"/>
                  </a:lnTo>
                  <a:lnTo>
                    <a:pt x="14796" y="6617"/>
                  </a:lnTo>
                  <a:lnTo>
                    <a:pt x="14845" y="6724"/>
                  </a:lnTo>
                  <a:lnTo>
                    <a:pt x="14888" y="6834"/>
                  </a:lnTo>
                  <a:lnTo>
                    <a:pt x="14926" y="6947"/>
                  </a:lnTo>
                  <a:lnTo>
                    <a:pt x="14959" y="7060"/>
                  </a:lnTo>
                  <a:lnTo>
                    <a:pt x="14988" y="7177"/>
                  </a:lnTo>
                  <a:lnTo>
                    <a:pt x="15012" y="7294"/>
                  </a:lnTo>
                  <a:lnTo>
                    <a:pt x="15030" y="7414"/>
                  </a:lnTo>
                  <a:lnTo>
                    <a:pt x="15044" y="7534"/>
                  </a:lnTo>
                  <a:lnTo>
                    <a:pt x="15052" y="7656"/>
                  </a:lnTo>
                  <a:lnTo>
                    <a:pt x="15055" y="7779"/>
                  </a:lnTo>
                  <a:lnTo>
                    <a:pt x="15051" y="7922"/>
                  </a:lnTo>
                  <a:lnTo>
                    <a:pt x="15040" y="8061"/>
                  </a:lnTo>
                  <a:lnTo>
                    <a:pt x="15023" y="8199"/>
                  </a:lnTo>
                  <a:lnTo>
                    <a:pt x="14999" y="8335"/>
                  </a:lnTo>
                  <a:lnTo>
                    <a:pt x="14968" y="8469"/>
                  </a:lnTo>
                  <a:lnTo>
                    <a:pt x="14931" y="8599"/>
                  </a:lnTo>
                  <a:lnTo>
                    <a:pt x="14887" y="8728"/>
                  </a:lnTo>
                  <a:lnTo>
                    <a:pt x="14838" y="8853"/>
                  </a:lnTo>
                  <a:lnTo>
                    <a:pt x="14782" y="8975"/>
                  </a:lnTo>
                  <a:lnTo>
                    <a:pt x="14721" y="9094"/>
                  </a:lnTo>
                  <a:lnTo>
                    <a:pt x="14655" y="9209"/>
                  </a:lnTo>
                  <a:lnTo>
                    <a:pt x="14583" y="9322"/>
                  </a:lnTo>
                  <a:lnTo>
                    <a:pt x="14505" y="9430"/>
                  </a:lnTo>
                  <a:lnTo>
                    <a:pt x="14424" y="9535"/>
                  </a:lnTo>
                  <a:lnTo>
                    <a:pt x="14337" y="9634"/>
                  </a:lnTo>
                  <a:lnTo>
                    <a:pt x="14245" y="9730"/>
                  </a:lnTo>
                  <a:lnTo>
                    <a:pt x="14150" y="9822"/>
                  </a:lnTo>
                  <a:lnTo>
                    <a:pt x="14050" y="9909"/>
                  </a:lnTo>
                  <a:lnTo>
                    <a:pt x="13945" y="9990"/>
                  </a:lnTo>
                  <a:lnTo>
                    <a:pt x="13837" y="10068"/>
                  </a:lnTo>
                  <a:lnTo>
                    <a:pt x="13725" y="10140"/>
                  </a:lnTo>
                  <a:lnTo>
                    <a:pt x="13609" y="10206"/>
                  </a:lnTo>
                  <a:lnTo>
                    <a:pt x="13491" y="10267"/>
                  </a:lnTo>
                  <a:lnTo>
                    <a:pt x="13368" y="10322"/>
                  </a:lnTo>
                  <a:lnTo>
                    <a:pt x="13243" y="10372"/>
                  </a:lnTo>
                  <a:lnTo>
                    <a:pt x="13114" y="10416"/>
                  </a:lnTo>
                  <a:lnTo>
                    <a:pt x="12984" y="10453"/>
                  </a:lnTo>
                  <a:lnTo>
                    <a:pt x="12850" y="10484"/>
                  </a:lnTo>
                  <a:lnTo>
                    <a:pt x="12715" y="10508"/>
                  </a:lnTo>
                  <a:lnTo>
                    <a:pt x="12576" y="10525"/>
                  </a:lnTo>
                  <a:lnTo>
                    <a:pt x="12437" y="10536"/>
                  </a:lnTo>
                  <a:lnTo>
                    <a:pt x="12294" y="10539"/>
                  </a:lnTo>
                  <a:close/>
                  <a:moveTo>
                    <a:pt x="13004" y="4087"/>
                  </a:moveTo>
                  <a:lnTo>
                    <a:pt x="12979" y="3874"/>
                  </a:lnTo>
                  <a:lnTo>
                    <a:pt x="12944" y="3664"/>
                  </a:lnTo>
                  <a:lnTo>
                    <a:pt x="12899" y="3457"/>
                  </a:lnTo>
                  <a:lnTo>
                    <a:pt x="12845" y="3254"/>
                  </a:lnTo>
                  <a:lnTo>
                    <a:pt x="12782" y="3054"/>
                  </a:lnTo>
                  <a:lnTo>
                    <a:pt x="12711" y="2860"/>
                  </a:lnTo>
                  <a:lnTo>
                    <a:pt x="12631" y="2669"/>
                  </a:lnTo>
                  <a:lnTo>
                    <a:pt x="12542" y="2482"/>
                  </a:lnTo>
                  <a:lnTo>
                    <a:pt x="12446" y="2301"/>
                  </a:lnTo>
                  <a:lnTo>
                    <a:pt x="12343" y="2124"/>
                  </a:lnTo>
                  <a:lnTo>
                    <a:pt x="12230" y="1953"/>
                  </a:lnTo>
                  <a:lnTo>
                    <a:pt x="12111" y="1788"/>
                  </a:lnTo>
                  <a:lnTo>
                    <a:pt x="11985" y="1628"/>
                  </a:lnTo>
                  <a:lnTo>
                    <a:pt x="11852" y="1473"/>
                  </a:lnTo>
                  <a:lnTo>
                    <a:pt x="11711" y="1326"/>
                  </a:lnTo>
                  <a:lnTo>
                    <a:pt x="11566" y="1184"/>
                  </a:lnTo>
                  <a:lnTo>
                    <a:pt x="11413" y="1050"/>
                  </a:lnTo>
                  <a:lnTo>
                    <a:pt x="11254" y="922"/>
                  </a:lnTo>
                  <a:lnTo>
                    <a:pt x="11090" y="802"/>
                  </a:lnTo>
                  <a:lnTo>
                    <a:pt x="10919" y="690"/>
                  </a:lnTo>
                  <a:lnTo>
                    <a:pt x="10745" y="584"/>
                  </a:lnTo>
                  <a:lnTo>
                    <a:pt x="10564" y="487"/>
                  </a:lnTo>
                  <a:lnTo>
                    <a:pt x="10378" y="397"/>
                  </a:lnTo>
                  <a:lnTo>
                    <a:pt x="10189" y="316"/>
                  </a:lnTo>
                  <a:lnTo>
                    <a:pt x="9995" y="244"/>
                  </a:lnTo>
                  <a:lnTo>
                    <a:pt x="9796" y="181"/>
                  </a:lnTo>
                  <a:lnTo>
                    <a:pt x="9594" y="126"/>
                  </a:lnTo>
                  <a:lnTo>
                    <a:pt x="9388" y="81"/>
                  </a:lnTo>
                  <a:lnTo>
                    <a:pt x="9178" y="46"/>
                  </a:lnTo>
                  <a:lnTo>
                    <a:pt x="8965" y="21"/>
                  </a:lnTo>
                  <a:lnTo>
                    <a:pt x="8750" y="5"/>
                  </a:lnTo>
                  <a:lnTo>
                    <a:pt x="8531" y="0"/>
                  </a:lnTo>
                  <a:lnTo>
                    <a:pt x="8361" y="3"/>
                  </a:lnTo>
                  <a:lnTo>
                    <a:pt x="8194" y="12"/>
                  </a:lnTo>
                  <a:lnTo>
                    <a:pt x="8027" y="28"/>
                  </a:lnTo>
                  <a:lnTo>
                    <a:pt x="7863" y="49"/>
                  </a:lnTo>
                  <a:lnTo>
                    <a:pt x="7701" y="76"/>
                  </a:lnTo>
                  <a:lnTo>
                    <a:pt x="7540" y="109"/>
                  </a:lnTo>
                  <a:lnTo>
                    <a:pt x="7383" y="149"/>
                  </a:lnTo>
                  <a:lnTo>
                    <a:pt x="7227" y="193"/>
                  </a:lnTo>
                  <a:lnTo>
                    <a:pt x="7074" y="242"/>
                  </a:lnTo>
                  <a:lnTo>
                    <a:pt x="6922" y="297"/>
                  </a:lnTo>
                  <a:lnTo>
                    <a:pt x="6773" y="357"/>
                  </a:lnTo>
                  <a:lnTo>
                    <a:pt x="6628" y="423"/>
                  </a:lnTo>
                  <a:lnTo>
                    <a:pt x="6485" y="493"/>
                  </a:lnTo>
                  <a:lnTo>
                    <a:pt x="6345" y="568"/>
                  </a:lnTo>
                  <a:lnTo>
                    <a:pt x="6208" y="648"/>
                  </a:lnTo>
                  <a:lnTo>
                    <a:pt x="6075" y="733"/>
                  </a:lnTo>
                  <a:lnTo>
                    <a:pt x="5943" y="821"/>
                  </a:lnTo>
                  <a:lnTo>
                    <a:pt x="5817" y="915"/>
                  </a:lnTo>
                  <a:lnTo>
                    <a:pt x="5693" y="1013"/>
                  </a:lnTo>
                  <a:lnTo>
                    <a:pt x="5572" y="1115"/>
                  </a:lnTo>
                  <a:lnTo>
                    <a:pt x="5456" y="1221"/>
                  </a:lnTo>
                  <a:lnTo>
                    <a:pt x="5342" y="1331"/>
                  </a:lnTo>
                  <a:lnTo>
                    <a:pt x="5234" y="1444"/>
                  </a:lnTo>
                  <a:lnTo>
                    <a:pt x="5129" y="1562"/>
                  </a:lnTo>
                  <a:lnTo>
                    <a:pt x="5027" y="1683"/>
                  </a:lnTo>
                  <a:lnTo>
                    <a:pt x="4931" y="1809"/>
                  </a:lnTo>
                  <a:lnTo>
                    <a:pt x="4837" y="1936"/>
                  </a:lnTo>
                  <a:lnTo>
                    <a:pt x="4750" y="2068"/>
                  </a:lnTo>
                  <a:lnTo>
                    <a:pt x="4666" y="2203"/>
                  </a:lnTo>
                  <a:lnTo>
                    <a:pt x="4587" y="2341"/>
                  </a:lnTo>
                  <a:lnTo>
                    <a:pt x="4512" y="2481"/>
                  </a:lnTo>
                  <a:lnTo>
                    <a:pt x="4443" y="2625"/>
                  </a:lnTo>
                  <a:lnTo>
                    <a:pt x="4402" y="2613"/>
                  </a:lnTo>
                  <a:lnTo>
                    <a:pt x="4362" y="2601"/>
                  </a:lnTo>
                  <a:lnTo>
                    <a:pt x="4321" y="2589"/>
                  </a:lnTo>
                  <a:lnTo>
                    <a:pt x="4279" y="2579"/>
                  </a:lnTo>
                  <a:lnTo>
                    <a:pt x="4237" y="2568"/>
                  </a:lnTo>
                  <a:lnTo>
                    <a:pt x="4196" y="2559"/>
                  </a:lnTo>
                  <a:lnTo>
                    <a:pt x="4154" y="2549"/>
                  </a:lnTo>
                  <a:lnTo>
                    <a:pt x="4112" y="2541"/>
                  </a:lnTo>
                  <a:lnTo>
                    <a:pt x="4070" y="2534"/>
                  </a:lnTo>
                  <a:lnTo>
                    <a:pt x="4027" y="2528"/>
                  </a:lnTo>
                  <a:lnTo>
                    <a:pt x="3983" y="2522"/>
                  </a:lnTo>
                  <a:lnTo>
                    <a:pt x="3940" y="2518"/>
                  </a:lnTo>
                  <a:lnTo>
                    <a:pt x="3896" y="2514"/>
                  </a:lnTo>
                  <a:lnTo>
                    <a:pt x="3853" y="2511"/>
                  </a:lnTo>
                  <a:lnTo>
                    <a:pt x="3809" y="2510"/>
                  </a:lnTo>
                  <a:lnTo>
                    <a:pt x="3764" y="2509"/>
                  </a:lnTo>
                  <a:lnTo>
                    <a:pt x="3647" y="2512"/>
                  </a:lnTo>
                  <a:lnTo>
                    <a:pt x="3533" y="2521"/>
                  </a:lnTo>
                  <a:lnTo>
                    <a:pt x="3420" y="2535"/>
                  </a:lnTo>
                  <a:lnTo>
                    <a:pt x="3309" y="2556"/>
                  </a:lnTo>
                  <a:lnTo>
                    <a:pt x="3200" y="2581"/>
                  </a:lnTo>
                  <a:lnTo>
                    <a:pt x="3092" y="2611"/>
                  </a:lnTo>
                  <a:lnTo>
                    <a:pt x="2988" y="2647"/>
                  </a:lnTo>
                  <a:lnTo>
                    <a:pt x="2884" y="2687"/>
                  </a:lnTo>
                  <a:lnTo>
                    <a:pt x="2785" y="2732"/>
                  </a:lnTo>
                  <a:lnTo>
                    <a:pt x="2688" y="2782"/>
                  </a:lnTo>
                  <a:lnTo>
                    <a:pt x="2593" y="2837"/>
                  </a:lnTo>
                  <a:lnTo>
                    <a:pt x="2501" y="2896"/>
                  </a:lnTo>
                  <a:lnTo>
                    <a:pt x="2413" y="2958"/>
                  </a:lnTo>
                  <a:lnTo>
                    <a:pt x="2327" y="3025"/>
                  </a:lnTo>
                  <a:lnTo>
                    <a:pt x="2245" y="3097"/>
                  </a:lnTo>
                  <a:lnTo>
                    <a:pt x="2167" y="3172"/>
                  </a:lnTo>
                  <a:lnTo>
                    <a:pt x="2093" y="3250"/>
                  </a:lnTo>
                  <a:lnTo>
                    <a:pt x="2021" y="3331"/>
                  </a:lnTo>
                  <a:lnTo>
                    <a:pt x="1954" y="3417"/>
                  </a:lnTo>
                  <a:lnTo>
                    <a:pt x="1891" y="3506"/>
                  </a:lnTo>
                  <a:lnTo>
                    <a:pt x="1833" y="3597"/>
                  </a:lnTo>
                  <a:lnTo>
                    <a:pt x="1778" y="3692"/>
                  </a:lnTo>
                  <a:lnTo>
                    <a:pt x="1728" y="3789"/>
                  </a:lnTo>
                  <a:lnTo>
                    <a:pt x="1683" y="3889"/>
                  </a:lnTo>
                  <a:lnTo>
                    <a:pt x="1643" y="3992"/>
                  </a:lnTo>
                  <a:lnTo>
                    <a:pt x="1607" y="4097"/>
                  </a:lnTo>
                  <a:lnTo>
                    <a:pt x="1577" y="4204"/>
                  </a:lnTo>
                  <a:lnTo>
                    <a:pt x="1552" y="4313"/>
                  </a:lnTo>
                  <a:lnTo>
                    <a:pt x="1532" y="4424"/>
                  </a:lnTo>
                  <a:lnTo>
                    <a:pt x="1517" y="4537"/>
                  </a:lnTo>
                  <a:lnTo>
                    <a:pt x="1508" y="4652"/>
                  </a:lnTo>
                  <a:lnTo>
                    <a:pt x="1505" y="4768"/>
                  </a:lnTo>
                  <a:lnTo>
                    <a:pt x="1506" y="4815"/>
                  </a:lnTo>
                  <a:lnTo>
                    <a:pt x="1507" y="4860"/>
                  </a:lnTo>
                  <a:lnTo>
                    <a:pt x="1510" y="4906"/>
                  </a:lnTo>
                  <a:lnTo>
                    <a:pt x="1514" y="4951"/>
                  </a:lnTo>
                  <a:lnTo>
                    <a:pt x="1519" y="4997"/>
                  </a:lnTo>
                  <a:lnTo>
                    <a:pt x="1526" y="5042"/>
                  </a:lnTo>
                  <a:lnTo>
                    <a:pt x="1532" y="5086"/>
                  </a:lnTo>
                  <a:lnTo>
                    <a:pt x="1540" y="5130"/>
                  </a:lnTo>
                  <a:lnTo>
                    <a:pt x="1548" y="5174"/>
                  </a:lnTo>
                  <a:lnTo>
                    <a:pt x="1558" y="5217"/>
                  </a:lnTo>
                  <a:lnTo>
                    <a:pt x="1568" y="5261"/>
                  </a:lnTo>
                  <a:lnTo>
                    <a:pt x="1579" y="5304"/>
                  </a:lnTo>
                  <a:lnTo>
                    <a:pt x="1590" y="5347"/>
                  </a:lnTo>
                  <a:lnTo>
                    <a:pt x="1603" y="5389"/>
                  </a:lnTo>
                  <a:lnTo>
                    <a:pt x="1616" y="5431"/>
                  </a:lnTo>
                  <a:lnTo>
                    <a:pt x="1629" y="5473"/>
                  </a:lnTo>
                  <a:lnTo>
                    <a:pt x="1539" y="5528"/>
                  </a:lnTo>
                  <a:lnTo>
                    <a:pt x="1451" y="5585"/>
                  </a:lnTo>
                  <a:lnTo>
                    <a:pt x="1365" y="5644"/>
                  </a:lnTo>
                  <a:lnTo>
                    <a:pt x="1281" y="5706"/>
                  </a:lnTo>
                  <a:lnTo>
                    <a:pt x="1198" y="5771"/>
                  </a:lnTo>
                  <a:lnTo>
                    <a:pt x="1118" y="5839"/>
                  </a:lnTo>
                  <a:lnTo>
                    <a:pt x="1041" y="5909"/>
                  </a:lnTo>
                  <a:lnTo>
                    <a:pt x="965" y="5981"/>
                  </a:lnTo>
                  <a:lnTo>
                    <a:pt x="892" y="6056"/>
                  </a:lnTo>
                  <a:lnTo>
                    <a:pt x="821" y="6133"/>
                  </a:lnTo>
                  <a:lnTo>
                    <a:pt x="753" y="6211"/>
                  </a:lnTo>
                  <a:lnTo>
                    <a:pt x="687" y="6292"/>
                  </a:lnTo>
                  <a:lnTo>
                    <a:pt x="624" y="6376"/>
                  </a:lnTo>
                  <a:lnTo>
                    <a:pt x="564" y="6461"/>
                  </a:lnTo>
                  <a:lnTo>
                    <a:pt x="506" y="6548"/>
                  </a:lnTo>
                  <a:lnTo>
                    <a:pt x="451" y="6638"/>
                  </a:lnTo>
                  <a:lnTo>
                    <a:pt x="398" y="6729"/>
                  </a:lnTo>
                  <a:lnTo>
                    <a:pt x="349" y="6821"/>
                  </a:lnTo>
                  <a:lnTo>
                    <a:pt x="303" y="6917"/>
                  </a:lnTo>
                  <a:lnTo>
                    <a:pt x="260" y="7013"/>
                  </a:lnTo>
                  <a:lnTo>
                    <a:pt x="220" y="7110"/>
                  </a:lnTo>
                  <a:lnTo>
                    <a:pt x="183" y="7210"/>
                  </a:lnTo>
                  <a:lnTo>
                    <a:pt x="149" y="7311"/>
                  </a:lnTo>
                  <a:lnTo>
                    <a:pt x="118" y="7414"/>
                  </a:lnTo>
                  <a:lnTo>
                    <a:pt x="91" y="7518"/>
                  </a:lnTo>
                  <a:lnTo>
                    <a:pt x="67" y="7623"/>
                  </a:lnTo>
                  <a:lnTo>
                    <a:pt x="47" y="7730"/>
                  </a:lnTo>
                  <a:lnTo>
                    <a:pt x="30" y="7838"/>
                  </a:lnTo>
                  <a:lnTo>
                    <a:pt x="17" y="7948"/>
                  </a:lnTo>
                  <a:lnTo>
                    <a:pt x="8" y="8057"/>
                  </a:lnTo>
                  <a:lnTo>
                    <a:pt x="2" y="8168"/>
                  </a:lnTo>
                  <a:lnTo>
                    <a:pt x="0" y="8281"/>
                  </a:lnTo>
                  <a:lnTo>
                    <a:pt x="4" y="8449"/>
                  </a:lnTo>
                  <a:lnTo>
                    <a:pt x="17" y="8615"/>
                  </a:lnTo>
                  <a:lnTo>
                    <a:pt x="37" y="8778"/>
                  </a:lnTo>
                  <a:lnTo>
                    <a:pt x="66" y="8938"/>
                  </a:lnTo>
                  <a:lnTo>
                    <a:pt x="102" y="9097"/>
                  </a:lnTo>
                  <a:lnTo>
                    <a:pt x="147" y="9251"/>
                  </a:lnTo>
                  <a:lnTo>
                    <a:pt x="198" y="9403"/>
                  </a:lnTo>
                  <a:lnTo>
                    <a:pt x="256" y="9551"/>
                  </a:lnTo>
                  <a:lnTo>
                    <a:pt x="322" y="9695"/>
                  </a:lnTo>
                  <a:lnTo>
                    <a:pt x="393" y="9837"/>
                  </a:lnTo>
                  <a:lnTo>
                    <a:pt x="473" y="9973"/>
                  </a:lnTo>
                  <a:lnTo>
                    <a:pt x="557" y="10106"/>
                  </a:lnTo>
                  <a:lnTo>
                    <a:pt x="648" y="10233"/>
                  </a:lnTo>
                  <a:lnTo>
                    <a:pt x="745" y="10357"/>
                  </a:lnTo>
                  <a:lnTo>
                    <a:pt x="847" y="10475"/>
                  </a:lnTo>
                  <a:lnTo>
                    <a:pt x="955" y="10588"/>
                  </a:lnTo>
                  <a:lnTo>
                    <a:pt x="1069" y="10696"/>
                  </a:lnTo>
                  <a:lnTo>
                    <a:pt x="1187" y="10798"/>
                  </a:lnTo>
                  <a:lnTo>
                    <a:pt x="1310" y="10896"/>
                  </a:lnTo>
                  <a:lnTo>
                    <a:pt x="1438" y="10986"/>
                  </a:lnTo>
                  <a:lnTo>
                    <a:pt x="1571" y="11071"/>
                  </a:lnTo>
                  <a:lnTo>
                    <a:pt x="1707" y="11150"/>
                  </a:lnTo>
                  <a:lnTo>
                    <a:pt x="1848" y="11222"/>
                  </a:lnTo>
                  <a:lnTo>
                    <a:pt x="1992" y="11287"/>
                  </a:lnTo>
                  <a:lnTo>
                    <a:pt x="2141" y="11345"/>
                  </a:lnTo>
                  <a:lnTo>
                    <a:pt x="2292" y="11396"/>
                  </a:lnTo>
                  <a:lnTo>
                    <a:pt x="2447" y="11441"/>
                  </a:lnTo>
                  <a:lnTo>
                    <a:pt x="2604" y="11478"/>
                  </a:lnTo>
                  <a:lnTo>
                    <a:pt x="2765" y="11506"/>
                  </a:lnTo>
                  <a:lnTo>
                    <a:pt x="2929" y="11527"/>
                  </a:lnTo>
                  <a:lnTo>
                    <a:pt x="3094" y="11539"/>
                  </a:lnTo>
                  <a:lnTo>
                    <a:pt x="3262" y="11543"/>
                  </a:lnTo>
                  <a:lnTo>
                    <a:pt x="3262" y="11544"/>
                  </a:lnTo>
                  <a:lnTo>
                    <a:pt x="12294" y="11544"/>
                  </a:lnTo>
                  <a:lnTo>
                    <a:pt x="12294" y="11543"/>
                  </a:lnTo>
                  <a:lnTo>
                    <a:pt x="12488" y="11539"/>
                  </a:lnTo>
                  <a:lnTo>
                    <a:pt x="12680" y="11524"/>
                  </a:lnTo>
                  <a:lnTo>
                    <a:pt x="12867" y="11500"/>
                  </a:lnTo>
                  <a:lnTo>
                    <a:pt x="13053" y="11467"/>
                  </a:lnTo>
                  <a:lnTo>
                    <a:pt x="13236" y="11425"/>
                  </a:lnTo>
                  <a:lnTo>
                    <a:pt x="13414" y="11374"/>
                  </a:lnTo>
                  <a:lnTo>
                    <a:pt x="13589" y="11315"/>
                  </a:lnTo>
                  <a:lnTo>
                    <a:pt x="13760" y="11248"/>
                  </a:lnTo>
                  <a:lnTo>
                    <a:pt x="13926" y="11173"/>
                  </a:lnTo>
                  <a:lnTo>
                    <a:pt x="14089" y="11089"/>
                  </a:lnTo>
                  <a:lnTo>
                    <a:pt x="14246" y="10999"/>
                  </a:lnTo>
                  <a:lnTo>
                    <a:pt x="14399" y="10901"/>
                  </a:lnTo>
                  <a:lnTo>
                    <a:pt x="14547" y="10796"/>
                  </a:lnTo>
                  <a:lnTo>
                    <a:pt x="14689" y="10684"/>
                  </a:lnTo>
                  <a:lnTo>
                    <a:pt x="14826" y="10565"/>
                  </a:lnTo>
                  <a:lnTo>
                    <a:pt x="14956" y="10441"/>
                  </a:lnTo>
                  <a:lnTo>
                    <a:pt x="15080" y="10310"/>
                  </a:lnTo>
                  <a:lnTo>
                    <a:pt x="15199" y="10174"/>
                  </a:lnTo>
                  <a:lnTo>
                    <a:pt x="15310" y="10031"/>
                  </a:lnTo>
                  <a:lnTo>
                    <a:pt x="15416" y="9884"/>
                  </a:lnTo>
                  <a:lnTo>
                    <a:pt x="15513" y="9731"/>
                  </a:lnTo>
                  <a:lnTo>
                    <a:pt x="15604" y="9574"/>
                  </a:lnTo>
                  <a:lnTo>
                    <a:pt x="15687" y="9411"/>
                  </a:lnTo>
                  <a:lnTo>
                    <a:pt x="15762" y="9244"/>
                  </a:lnTo>
                  <a:lnTo>
                    <a:pt x="15830" y="9074"/>
                  </a:lnTo>
                  <a:lnTo>
                    <a:pt x="15888" y="8899"/>
                  </a:lnTo>
                  <a:lnTo>
                    <a:pt x="15940" y="8720"/>
                  </a:lnTo>
                  <a:lnTo>
                    <a:pt x="15982" y="8538"/>
                  </a:lnTo>
                  <a:lnTo>
                    <a:pt x="16015" y="8352"/>
                  </a:lnTo>
                  <a:lnTo>
                    <a:pt x="16039" y="8164"/>
                  </a:lnTo>
                  <a:lnTo>
                    <a:pt x="16053" y="7973"/>
                  </a:lnTo>
                  <a:lnTo>
                    <a:pt x="16058" y="7779"/>
                  </a:lnTo>
                  <a:lnTo>
                    <a:pt x="16054" y="7608"/>
                  </a:lnTo>
                  <a:lnTo>
                    <a:pt x="16043" y="7439"/>
                  </a:lnTo>
                  <a:lnTo>
                    <a:pt x="16024" y="7272"/>
                  </a:lnTo>
                  <a:lnTo>
                    <a:pt x="15998" y="7107"/>
                  </a:lnTo>
                  <a:lnTo>
                    <a:pt x="15965" y="6945"/>
                  </a:lnTo>
                  <a:lnTo>
                    <a:pt x="15926" y="6785"/>
                  </a:lnTo>
                  <a:lnTo>
                    <a:pt x="15878" y="6629"/>
                  </a:lnTo>
                  <a:lnTo>
                    <a:pt x="15825" y="6475"/>
                  </a:lnTo>
                  <a:lnTo>
                    <a:pt x="15766" y="6324"/>
                  </a:lnTo>
                  <a:lnTo>
                    <a:pt x="15700" y="6176"/>
                  </a:lnTo>
                  <a:lnTo>
                    <a:pt x="15628" y="6032"/>
                  </a:lnTo>
                  <a:lnTo>
                    <a:pt x="15550" y="5892"/>
                  </a:lnTo>
                  <a:lnTo>
                    <a:pt x="15467" y="5755"/>
                  </a:lnTo>
                  <a:lnTo>
                    <a:pt x="15378" y="5623"/>
                  </a:lnTo>
                  <a:lnTo>
                    <a:pt x="15283" y="5493"/>
                  </a:lnTo>
                  <a:lnTo>
                    <a:pt x="15183" y="5369"/>
                  </a:lnTo>
                  <a:lnTo>
                    <a:pt x="15078" y="5250"/>
                  </a:lnTo>
                  <a:lnTo>
                    <a:pt x="14968" y="5134"/>
                  </a:lnTo>
                  <a:lnTo>
                    <a:pt x="14854" y="5023"/>
                  </a:lnTo>
                  <a:lnTo>
                    <a:pt x="14734" y="4917"/>
                  </a:lnTo>
                  <a:lnTo>
                    <a:pt x="14611" y="4817"/>
                  </a:lnTo>
                  <a:lnTo>
                    <a:pt x="14483" y="4721"/>
                  </a:lnTo>
                  <a:lnTo>
                    <a:pt x="14351" y="4630"/>
                  </a:lnTo>
                  <a:lnTo>
                    <a:pt x="14215" y="4546"/>
                  </a:lnTo>
                  <a:lnTo>
                    <a:pt x="14075" y="4467"/>
                  </a:lnTo>
                  <a:lnTo>
                    <a:pt x="13931" y="4394"/>
                  </a:lnTo>
                  <a:lnTo>
                    <a:pt x="13785" y="4327"/>
                  </a:lnTo>
                  <a:lnTo>
                    <a:pt x="13634" y="4266"/>
                  </a:lnTo>
                  <a:lnTo>
                    <a:pt x="13482" y="4212"/>
                  </a:lnTo>
                  <a:lnTo>
                    <a:pt x="13325" y="4164"/>
                  </a:lnTo>
                  <a:lnTo>
                    <a:pt x="13166" y="4121"/>
                  </a:lnTo>
                  <a:lnTo>
                    <a:pt x="13004" y="408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2" name="îṡļiďè">
              <a:extLst>
                <a:ext uri="{FF2B5EF4-FFF2-40B4-BE49-F238E27FC236}">
                  <a16:creationId xmlns:a16="http://schemas.microsoft.com/office/drawing/2014/main" id="{A0797A3B-0F0B-4F92-953A-F4AFB8921475}"/>
                </a:ext>
              </a:extLst>
            </p:cNvPr>
            <p:cNvSpPr/>
            <p:nvPr/>
          </p:nvSpPr>
          <p:spPr bwMode="auto">
            <a:xfrm>
              <a:off x="1884528" y="39811"/>
              <a:ext cx="251320" cy="188780"/>
            </a:xfrm>
            <a:custGeom>
              <a:avLst/>
              <a:gdLst>
                <a:gd name="T0" fmla="*/ 3355 w 16058"/>
                <a:gd name="T1" fmla="*/ 1202 h 12062"/>
                <a:gd name="T2" fmla="*/ 12900 w 16058"/>
                <a:gd name="T3" fmla="*/ 3520 h 12062"/>
                <a:gd name="T4" fmla="*/ 6375 w 16058"/>
                <a:gd name="T5" fmla="*/ 9292 h 12062"/>
                <a:gd name="T6" fmla="*/ 7499 w 16058"/>
                <a:gd name="T7" fmla="*/ 10191 h 12062"/>
                <a:gd name="T8" fmla="*/ 3867 w 16058"/>
                <a:gd name="T9" fmla="*/ 3520 h 12062"/>
                <a:gd name="T10" fmla="*/ 4867 w 16058"/>
                <a:gd name="T11" fmla="*/ 1808 h 12062"/>
                <a:gd name="T12" fmla="*/ 10392 w 16058"/>
                <a:gd name="T13" fmla="*/ 1006 h 12062"/>
                <a:gd name="T14" fmla="*/ 11161 w 16058"/>
                <a:gd name="T15" fmla="*/ 2489 h 12062"/>
                <a:gd name="T16" fmla="*/ 8559 w 16058"/>
                <a:gd name="T17" fmla="*/ 10191 h 12062"/>
                <a:gd name="T18" fmla="*/ 9279 w 16058"/>
                <a:gd name="T19" fmla="*/ 4022 h 12062"/>
                <a:gd name="T20" fmla="*/ 6524 w 16058"/>
                <a:gd name="T21" fmla="*/ 3192 h 12062"/>
                <a:gd name="T22" fmla="*/ 8421 w 16058"/>
                <a:gd name="T23" fmla="*/ 2263 h 12062"/>
                <a:gd name="T24" fmla="*/ 15764 w 16058"/>
                <a:gd name="T25" fmla="*/ 2849 h 12062"/>
                <a:gd name="T26" fmla="*/ 13141 w 16058"/>
                <a:gd name="T27" fmla="*/ 228 h 12062"/>
                <a:gd name="T28" fmla="*/ 13041 w 16058"/>
                <a:gd name="T29" fmla="*/ 156 h 12062"/>
                <a:gd name="T30" fmla="*/ 12934 w 16058"/>
                <a:gd name="T31" fmla="*/ 97 h 12062"/>
                <a:gd name="T32" fmla="*/ 12820 w 16058"/>
                <a:gd name="T33" fmla="*/ 51 h 12062"/>
                <a:gd name="T34" fmla="*/ 12702 w 16058"/>
                <a:gd name="T35" fmla="*/ 19 h 12062"/>
                <a:gd name="T36" fmla="*/ 12579 w 16058"/>
                <a:gd name="T37" fmla="*/ 3 h 12062"/>
                <a:gd name="T38" fmla="*/ 3529 w 16058"/>
                <a:gd name="T39" fmla="*/ 0 h 12062"/>
                <a:gd name="T40" fmla="*/ 3405 w 16058"/>
                <a:gd name="T41" fmla="*/ 11 h 12062"/>
                <a:gd name="T42" fmla="*/ 3285 w 16058"/>
                <a:gd name="T43" fmla="*/ 36 h 12062"/>
                <a:gd name="T44" fmla="*/ 3169 w 16058"/>
                <a:gd name="T45" fmla="*/ 76 h 12062"/>
                <a:gd name="T46" fmla="*/ 3059 w 16058"/>
                <a:gd name="T47" fmla="*/ 131 h 12062"/>
                <a:gd name="T48" fmla="*/ 2957 w 16058"/>
                <a:gd name="T49" fmla="*/ 197 h 12062"/>
                <a:gd name="T50" fmla="*/ 2861 w 16058"/>
                <a:gd name="T51" fmla="*/ 278 h 12062"/>
                <a:gd name="T52" fmla="*/ 242 w 16058"/>
                <a:gd name="T53" fmla="*/ 2906 h 12062"/>
                <a:gd name="T54" fmla="*/ 166 w 16058"/>
                <a:gd name="T55" fmla="*/ 3008 h 12062"/>
                <a:gd name="T56" fmla="*/ 103 w 16058"/>
                <a:gd name="T57" fmla="*/ 3116 h 12062"/>
                <a:gd name="T58" fmla="*/ 56 w 16058"/>
                <a:gd name="T59" fmla="*/ 3231 h 12062"/>
                <a:gd name="T60" fmla="*/ 23 w 16058"/>
                <a:gd name="T61" fmla="*/ 3349 h 12062"/>
                <a:gd name="T62" fmla="*/ 5 w 16058"/>
                <a:gd name="T63" fmla="*/ 3469 h 12062"/>
                <a:gd name="T64" fmla="*/ 1 w 16058"/>
                <a:gd name="T65" fmla="*/ 3611 h 12062"/>
                <a:gd name="T66" fmla="*/ 37 w 16058"/>
                <a:gd name="T67" fmla="*/ 3830 h 12062"/>
                <a:gd name="T68" fmla="*/ 90 w 16058"/>
                <a:gd name="T69" fmla="*/ 3978 h 12062"/>
                <a:gd name="T70" fmla="*/ 144 w 16058"/>
                <a:gd name="T71" fmla="*/ 4079 h 12062"/>
                <a:gd name="T72" fmla="*/ 209 w 16058"/>
                <a:gd name="T73" fmla="*/ 4174 h 12062"/>
                <a:gd name="T74" fmla="*/ 7297 w 16058"/>
                <a:gd name="T75" fmla="*/ 11744 h 12062"/>
                <a:gd name="T76" fmla="*/ 7395 w 16058"/>
                <a:gd name="T77" fmla="*/ 11836 h 12062"/>
                <a:gd name="T78" fmla="*/ 7502 w 16058"/>
                <a:gd name="T79" fmla="*/ 11912 h 12062"/>
                <a:gd name="T80" fmla="*/ 7618 w 16058"/>
                <a:gd name="T81" fmla="*/ 11974 h 12062"/>
                <a:gd name="T82" fmla="*/ 7741 w 16058"/>
                <a:gd name="T83" fmla="*/ 12020 h 12062"/>
                <a:gd name="T84" fmla="*/ 7869 w 16058"/>
                <a:gd name="T85" fmla="*/ 12049 h 12062"/>
                <a:gd name="T86" fmla="*/ 8002 w 16058"/>
                <a:gd name="T87" fmla="*/ 12062 h 12062"/>
                <a:gd name="T88" fmla="*/ 8135 w 16058"/>
                <a:gd name="T89" fmla="*/ 12056 h 12062"/>
                <a:gd name="T90" fmla="*/ 8266 w 16058"/>
                <a:gd name="T91" fmla="*/ 12034 h 12062"/>
                <a:gd name="T92" fmla="*/ 8392 w 16058"/>
                <a:gd name="T93" fmla="*/ 11994 h 12062"/>
                <a:gd name="T94" fmla="*/ 8511 w 16058"/>
                <a:gd name="T95" fmla="*/ 11938 h 12062"/>
                <a:gd name="T96" fmla="*/ 8622 w 16058"/>
                <a:gd name="T97" fmla="*/ 11868 h 12062"/>
                <a:gd name="T98" fmla="*/ 8724 w 16058"/>
                <a:gd name="T99" fmla="*/ 11782 h 12062"/>
                <a:gd name="T100" fmla="*/ 15821 w 16058"/>
                <a:gd name="T101" fmla="*/ 4210 h 12062"/>
                <a:gd name="T102" fmla="*/ 15892 w 16058"/>
                <a:gd name="T103" fmla="*/ 4115 h 12062"/>
                <a:gd name="T104" fmla="*/ 15951 w 16058"/>
                <a:gd name="T105" fmla="*/ 4014 h 12062"/>
                <a:gd name="T106" fmla="*/ 15997 w 16058"/>
                <a:gd name="T107" fmla="*/ 3908 h 12062"/>
                <a:gd name="T108" fmla="*/ 16030 w 16058"/>
                <a:gd name="T109" fmla="*/ 3799 h 12062"/>
                <a:gd name="T110" fmla="*/ 16050 w 16058"/>
                <a:gd name="T111" fmla="*/ 3686 h 12062"/>
                <a:gd name="T112" fmla="*/ 16058 w 16058"/>
                <a:gd name="T113" fmla="*/ 3574 h 12062"/>
                <a:gd name="T114" fmla="*/ 16053 w 16058"/>
                <a:gd name="T115" fmla="*/ 3456 h 12062"/>
                <a:gd name="T116" fmla="*/ 16034 w 16058"/>
                <a:gd name="T117" fmla="*/ 3338 h 12062"/>
                <a:gd name="T118" fmla="*/ 16000 w 16058"/>
                <a:gd name="T119" fmla="*/ 3222 h 12062"/>
                <a:gd name="T120" fmla="*/ 15953 w 16058"/>
                <a:gd name="T121" fmla="*/ 3111 h 12062"/>
                <a:gd name="T122" fmla="*/ 15891 w 16058"/>
                <a:gd name="T123" fmla="*/ 3005 h 12062"/>
                <a:gd name="T124" fmla="*/ 15816 w 16058"/>
                <a:gd name="T125" fmla="*/ 2905 h 1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58" h="12062">
                  <a:moveTo>
                    <a:pt x="3355" y="1202"/>
                  </a:moveTo>
                  <a:lnTo>
                    <a:pt x="4509" y="2165"/>
                  </a:lnTo>
                  <a:lnTo>
                    <a:pt x="3157" y="3520"/>
                  </a:lnTo>
                  <a:lnTo>
                    <a:pt x="1007" y="3520"/>
                  </a:lnTo>
                  <a:lnTo>
                    <a:pt x="3355" y="1202"/>
                  </a:lnTo>
                  <a:close/>
                  <a:moveTo>
                    <a:pt x="12900" y="3520"/>
                  </a:moveTo>
                  <a:lnTo>
                    <a:pt x="11549" y="2165"/>
                  </a:lnTo>
                  <a:lnTo>
                    <a:pt x="12702" y="1203"/>
                  </a:lnTo>
                  <a:lnTo>
                    <a:pt x="15013" y="3520"/>
                  </a:lnTo>
                  <a:lnTo>
                    <a:pt x="12900" y="3520"/>
                  </a:lnTo>
                  <a:close/>
                  <a:moveTo>
                    <a:pt x="12837" y="4022"/>
                  </a:moveTo>
                  <a:lnTo>
                    <a:pt x="14621" y="4022"/>
                  </a:lnTo>
                  <a:lnTo>
                    <a:pt x="9682" y="9292"/>
                  </a:lnTo>
                  <a:lnTo>
                    <a:pt x="12837" y="4022"/>
                  </a:lnTo>
                  <a:close/>
                  <a:moveTo>
                    <a:pt x="6375" y="9292"/>
                  </a:moveTo>
                  <a:lnTo>
                    <a:pt x="1438" y="4022"/>
                  </a:lnTo>
                  <a:lnTo>
                    <a:pt x="3221" y="4022"/>
                  </a:lnTo>
                  <a:lnTo>
                    <a:pt x="6375" y="9292"/>
                  </a:lnTo>
                  <a:close/>
                  <a:moveTo>
                    <a:pt x="6268" y="4022"/>
                  </a:moveTo>
                  <a:lnTo>
                    <a:pt x="7499" y="10191"/>
                  </a:lnTo>
                  <a:lnTo>
                    <a:pt x="3806" y="4022"/>
                  </a:lnTo>
                  <a:lnTo>
                    <a:pt x="6268" y="4022"/>
                  </a:lnTo>
                  <a:close/>
                  <a:moveTo>
                    <a:pt x="4897" y="2489"/>
                  </a:moveTo>
                  <a:lnTo>
                    <a:pt x="6132" y="3520"/>
                  </a:lnTo>
                  <a:lnTo>
                    <a:pt x="3867" y="3520"/>
                  </a:lnTo>
                  <a:lnTo>
                    <a:pt x="4897" y="2489"/>
                  </a:lnTo>
                  <a:close/>
                  <a:moveTo>
                    <a:pt x="4867" y="1808"/>
                  </a:moveTo>
                  <a:lnTo>
                    <a:pt x="3905" y="1006"/>
                  </a:lnTo>
                  <a:lnTo>
                    <a:pt x="5666" y="1006"/>
                  </a:lnTo>
                  <a:lnTo>
                    <a:pt x="4867" y="1808"/>
                  </a:lnTo>
                  <a:close/>
                  <a:moveTo>
                    <a:pt x="8029" y="1936"/>
                  </a:moveTo>
                  <a:lnTo>
                    <a:pt x="6915" y="1006"/>
                  </a:lnTo>
                  <a:lnTo>
                    <a:pt x="9143" y="1006"/>
                  </a:lnTo>
                  <a:lnTo>
                    <a:pt x="8029" y="1936"/>
                  </a:lnTo>
                  <a:close/>
                  <a:moveTo>
                    <a:pt x="10392" y="1006"/>
                  </a:moveTo>
                  <a:lnTo>
                    <a:pt x="12154" y="1006"/>
                  </a:lnTo>
                  <a:lnTo>
                    <a:pt x="11192" y="1808"/>
                  </a:lnTo>
                  <a:lnTo>
                    <a:pt x="10392" y="1006"/>
                  </a:lnTo>
                  <a:close/>
                  <a:moveTo>
                    <a:pt x="9926" y="3520"/>
                  </a:moveTo>
                  <a:lnTo>
                    <a:pt x="11161" y="2489"/>
                  </a:lnTo>
                  <a:lnTo>
                    <a:pt x="12190" y="3520"/>
                  </a:lnTo>
                  <a:lnTo>
                    <a:pt x="9926" y="3520"/>
                  </a:lnTo>
                  <a:close/>
                  <a:moveTo>
                    <a:pt x="9790" y="4022"/>
                  </a:moveTo>
                  <a:lnTo>
                    <a:pt x="12252" y="4022"/>
                  </a:lnTo>
                  <a:lnTo>
                    <a:pt x="8559" y="10191"/>
                  </a:lnTo>
                  <a:lnTo>
                    <a:pt x="9790" y="4022"/>
                  </a:lnTo>
                  <a:close/>
                  <a:moveTo>
                    <a:pt x="9279" y="4022"/>
                  </a:moveTo>
                  <a:lnTo>
                    <a:pt x="8029" y="10283"/>
                  </a:lnTo>
                  <a:lnTo>
                    <a:pt x="6779" y="4022"/>
                  </a:lnTo>
                  <a:lnTo>
                    <a:pt x="9279" y="4022"/>
                  </a:lnTo>
                  <a:close/>
                  <a:moveTo>
                    <a:pt x="6524" y="3192"/>
                  </a:moveTo>
                  <a:lnTo>
                    <a:pt x="5253" y="2132"/>
                  </a:lnTo>
                  <a:lnTo>
                    <a:pt x="6266" y="1117"/>
                  </a:lnTo>
                  <a:lnTo>
                    <a:pt x="7637" y="2263"/>
                  </a:lnTo>
                  <a:lnTo>
                    <a:pt x="6524" y="3192"/>
                  </a:lnTo>
                  <a:close/>
                  <a:moveTo>
                    <a:pt x="8421" y="2263"/>
                  </a:moveTo>
                  <a:lnTo>
                    <a:pt x="9792" y="1117"/>
                  </a:lnTo>
                  <a:lnTo>
                    <a:pt x="10806" y="2132"/>
                  </a:lnTo>
                  <a:lnTo>
                    <a:pt x="9534" y="3192"/>
                  </a:lnTo>
                  <a:lnTo>
                    <a:pt x="8421" y="2263"/>
                  </a:lnTo>
                  <a:close/>
                  <a:moveTo>
                    <a:pt x="9143" y="3520"/>
                  </a:moveTo>
                  <a:lnTo>
                    <a:pt x="6915" y="3520"/>
                  </a:lnTo>
                  <a:lnTo>
                    <a:pt x="8029" y="2589"/>
                  </a:lnTo>
                  <a:lnTo>
                    <a:pt x="9143" y="3520"/>
                  </a:lnTo>
                  <a:close/>
                  <a:moveTo>
                    <a:pt x="15764" y="2849"/>
                  </a:moveTo>
                  <a:lnTo>
                    <a:pt x="13215" y="295"/>
                  </a:lnTo>
                  <a:lnTo>
                    <a:pt x="13197" y="278"/>
                  </a:lnTo>
                  <a:lnTo>
                    <a:pt x="13179" y="260"/>
                  </a:lnTo>
                  <a:lnTo>
                    <a:pt x="13160" y="243"/>
                  </a:lnTo>
                  <a:lnTo>
                    <a:pt x="13141" y="228"/>
                  </a:lnTo>
                  <a:lnTo>
                    <a:pt x="13121" y="212"/>
                  </a:lnTo>
                  <a:lnTo>
                    <a:pt x="13102" y="197"/>
                  </a:lnTo>
                  <a:lnTo>
                    <a:pt x="13082" y="183"/>
                  </a:lnTo>
                  <a:lnTo>
                    <a:pt x="13062" y="169"/>
                  </a:lnTo>
                  <a:lnTo>
                    <a:pt x="13041" y="156"/>
                  </a:lnTo>
                  <a:lnTo>
                    <a:pt x="13020" y="143"/>
                  </a:lnTo>
                  <a:lnTo>
                    <a:pt x="12999" y="131"/>
                  </a:lnTo>
                  <a:lnTo>
                    <a:pt x="12978" y="119"/>
                  </a:lnTo>
                  <a:lnTo>
                    <a:pt x="12956" y="108"/>
                  </a:lnTo>
                  <a:lnTo>
                    <a:pt x="12934" y="97"/>
                  </a:lnTo>
                  <a:lnTo>
                    <a:pt x="12912" y="86"/>
                  </a:lnTo>
                  <a:lnTo>
                    <a:pt x="12890" y="76"/>
                  </a:lnTo>
                  <a:lnTo>
                    <a:pt x="12866" y="67"/>
                  </a:lnTo>
                  <a:lnTo>
                    <a:pt x="12843" y="59"/>
                  </a:lnTo>
                  <a:lnTo>
                    <a:pt x="12820" y="51"/>
                  </a:lnTo>
                  <a:lnTo>
                    <a:pt x="12797" y="43"/>
                  </a:lnTo>
                  <a:lnTo>
                    <a:pt x="12773" y="36"/>
                  </a:lnTo>
                  <a:lnTo>
                    <a:pt x="12750" y="30"/>
                  </a:lnTo>
                  <a:lnTo>
                    <a:pt x="12726" y="25"/>
                  </a:lnTo>
                  <a:lnTo>
                    <a:pt x="12702" y="19"/>
                  </a:lnTo>
                  <a:lnTo>
                    <a:pt x="12678" y="15"/>
                  </a:lnTo>
                  <a:lnTo>
                    <a:pt x="12654" y="11"/>
                  </a:lnTo>
                  <a:lnTo>
                    <a:pt x="12629" y="8"/>
                  </a:lnTo>
                  <a:lnTo>
                    <a:pt x="12605" y="5"/>
                  </a:lnTo>
                  <a:lnTo>
                    <a:pt x="12579" y="3"/>
                  </a:lnTo>
                  <a:lnTo>
                    <a:pt x="12555" y="1"/>
                  </a:lnTo>
                  <a:lnTo>
                    <a:pt x="12530" y="0"/>
                  </a:lnTo>
                  <a:lnTo>
                    <a:pt x="12505" y="0"/>
                  </a:lnTo>
                  <a:lnTo>
                    <a:pt x="3554" y="0"/>
                  </a:lnTo>
                  <a:lnTo>
                    <a:pt x="3529" y="0"/>
                  </a:lnTo>
                  <a:lnTo>
                    <a:pt x="3504" y="1"/>
                  </a:lnTo>
                  <a:lnTo>
                    <a:pt x="3480" y="3"/>
                  </a:lnTo>
                  <a:lnTo>
                    <a:pt x="3454" y="5"/>
                  </a:lnTo>
                  <a:lnTo>
                    <a:pt x="3430" y="8"/>
                  </a:lnTo>
                  <a:lnTo>
                    <a:pt x="3405" y="11"/>
                  </a:lnTo>
                  <a:lnTo>
                    <a:pt x="3381" y="15"/>
                  </a:lnTo>
                  <a:lnTo>
                    <a:pt x="3357" y="19"/>
                  </a:lnTo>
                  <a:lnTo>
                    <a:pt x="3333" y="25"/>
                  </a:lnTo>
                  <a:lnTo>
                    <a:pt x="3309" y="30"/>
                  </a:lnTo>
                  <a:lnTo>
                    <a:pt x="3285" y="36"/>
                  </a:lnTo>
                  <a:lnTo>
                    <a:pt x="3262" y="43"/>
                  </a:lnTo>
                  <a:lnTo>
                    <a:pt x="3239" y="51"/>
                  </a:lnTo>
                  <a:lnTo>
                    <a:pt x="3216" y="59"/>
                  </a:lnTo>
                  <a:lnTo>
                    <a:pt x="3193" y="67"/>
                  </a:lnTo>
                  <a:lnTo>
                    <a:pt x="3169" y="76"/>
                  </a:lnTo>
                  <a:lnTo>
                    <a:pt x="3147" y="86"/>
                  </a:lnTo>
                  <a:lnTo>
                    <a:pt x="3124" y="97"/>
                  </a:lnTo>
                  <a:lnTo>
                    <a:pt x="3103" y="108"/>
                  </a:lnTo>
                  <a:lnTo>
                    <a:pt x="3081" y="119"/>
                  </a:lnTo>
                  <a:lnTo>
                    <a:pt x="3059" y="131"/>
                  </a:lnTo>
                  <a:lnTo>
                    <a:pt x="3038" y="143"/>
                  </a:lnTo>
                  <a:lnTo>
                    <a:pt x="3017" y="156"/>
                  </a:lnTo>
                  <a:lnTo>
                    <a:pt x="2997" y="169"/>
                  </a:lnTo>
                  <a:lnTo>
                    <a:pt x="2977" y="183"/>
                  </a:lnTo>
                  <a:lnTo>
                    <a:pt x="2957" y="197"/>
                  </a:lnTo>
                  <a:lnTo>
                    <a:pt x="2937" y="212"/>
                  </a:lnTo>
                  <a:lnTo>
                    <a:pt x="2918" y="228"/>
                  </a:lnTo>
                  <a:lnTo>
                    <a:pt x="2898" y="243"/>
                  </a:lnTo>
                  <a:lnTo>
                    <a:pt x="2880" y="260"/>
                  </a:lnTo>
                  <a:lnTo>
                    <a:pt x="2861" y="278"/>
                  </a:lnTo>
                  <a:lnTo>
                    <a:pt x="2844" y="295"/>
                  </a:lnTo>
                  <a:lnTo>
                    <a:pt x="295" y="2849"/>
                  </a:lnTo>
                  <a:lnTo>
                    <a:pt x="277" y="2868"/>
                  </a:lnTo>
                  <a:lnTo>
                    <a:pt x="259" y="2887"/>
                  </a:lnTo>
                  <a:lnTo>
                    <a:pt x="242" y="2906"/>
                  </a:lnTo>
                  <a:lnTo>
                    <a:pt x="226" y="2926"/>
                  </a:lnTo>
                  <a:lnTo>
                    <a:pt x="210" y="2946"/>
                  </a:lnTo>
                  <a:lnTo>
                    <a:pt x="195" y="2966"/>
                  </a:lnTo>
                  <a:lnTo>
                    <a:pt x="180" y="2987"/>
                  </a:lnTo>
                  <a:lnTo>
                    <a:pt x="166" y="3008"/>
                  </a:lnTo>
                  <a:lnTo>
                    <a:pt x="152" y="3029"/>
                  </a:lnTo>
                  <a:lnTo>
                    <a:pt x="140" y="3051"/>
                  </a:lnTo>
                  <a:lnTo>
                    <a:pt x="126" y="3072"/>
                  </a:lnTo>
                  <a:lnTo>
                    <a:pt x="114" y="3094"/>
                  </a:lnTo>
                  <a:lnTo>
                    <a:pt x="103" y="3116"/>
                  </a:lnTo>
                  <a:lnTo>
                    <a:pt x="93" y="3139"/>
                  </a:lnTo>
                  <a:lnTo>
                    <a:pt x="83" y="3162"/>
                  </a:lnTo>
                  <a:lnTo>
                    <a:pt x="73" y="3185"/>
                  </a:lnTo>
                  <a:lnTo>
                    <a:pt x="64" y="3208"/>
                  </a:lnTo>
                  <a:lnTo>
                    <a:pt x="56" y="3231"/>
                  </a:lnTo>
                  <a:lnTo>
                    <a:pt x="48" y="3254"/>
                  </a:lnTo>
                  <a:lnTo>
                    <a:pt x="41" y="3277"/>
                  </a:lnTo>
                  <a:lnTo>
                    <a:pt x="34" y="3301"/>
                  </a:lnTo>
                  <a:lnTo>
                    <a:pt x="28" y="3324"/>
                  </a:lnTo>
                  <a:lnTo>
                    <a:pt x="23" y="3349"/>
                  </a:lnTo>
                  <a:lnTo>
                    <a:pt x="18" y="3373"/>
                  </a:lnTo>
                  <a:lnTo>
                    <a:pt x="14" y="3397"/>
                  </a:lnTo>
                  <a:lnTo>
                    <a:pt x="10" y="3421"/>
                  </a:lnTo>
                  <a:lnTo>
                    <a:pt x="7" y="3445"/>
                  </a:lnTo>
                  <a:lnTo>
                    <a:pt x="5" y="3469"/>
                  </a:lnTo>
                  <a:lnTo>
                    <a:pt x="3" y="3493"/>
                  </a:lnTo>
                  <a:lnTo>
                    <a:pt x="1" y="3518"/>
                  </a:lnTo>
                  <a:lnTo>
                    <a:pt x="0" y="3543"/>
                  </a:lnTo>
                  <a:lnTo>
                    <a:pt x="0" y="3567"/>
                  </a:lnTo>
                  <a:lnTo>
                    <a:pt x="1" y="3611"/>
                  </a:lnTo>
                  <a:lnTo>
                    <a:pt x="5" y="3655"/>
                  </a:lnTo>
                  <a:lnTo>
                    <a:pt x="10" y="3700"/>
                  </a:lnTo>
                  <a:lnTo>
                    <a:pt x="17" y="3743"/>
                  </a:lnTo>
                  <a:lnTo>
                    <a:pt x="26" y="3787"/>
                  </a:lnTo>
                  <a:lnTo>
                    <a:pt x="37" y="3830"/>
                  </a:lnTo>
                  <a:lnTo>
                    <a:pt x="49" y="3874"/>
                  </a:lnTo>
                  <a:lnTo>
                    <a:pt x="64" y="3916"/>
                  </a:lnTo>
                  <a:lnTo>
                    <a:pt x="72" y="3936"/>
                  </a:lnTo>
                  <a:lnTo>
                    <a:pt x="81" y="3957"/>
                  </a:lnTo>
                  <a:lnTo>
                    <a:pt x="90" y="3978"/>
                  </a:lnTo>
                  <a:lnTo>
                    <a:pt x="100" y="3998"/>
                  </a:lnTo>
                  <a:lnTo>
                    <a:pt x="110" y="4018"/>
                  </a:lnTo>
                  <a:lnTo>
                    <a:pt x="120" y="4039"/>
                  </a:lnTo>
                  <a:lnTo>
                    <a:pt x="132" y="4059"/>
                  </a:lnTo>
                  <a:lnTo>
                    <a:pt x="144" y="4079"/>
                  </a:lnTo>
                  <a:lnTo>
                    <a:pt x="156" y="4099"/>
                  </a:lnTo>
                  <a:lnTo>
                    <a:pt x="169" y="4118"/>
                  </a:lnTo>
                  <a:lnTo>
                    <a:pt x="182" y="4137"/>
                  </a:lnTo>
                  <a:lnTo>
                    <a:pt x="195" y="4156"/>
                  </a:lnTo>
                  <a:lnTo>
                    <a:pt x="209" y="4174"/>
                  </a:lnTo>
                  <a:lnTo>
                    <a:pt x="224" y="4193"/>
                  </a:lnTo>
                  <a:lnTo>
                    <a:pt x="239" y="4211"/>
                  </a:lnTo>
                  <a:lnTo>
                    <a:pt x="254" y="4228"/>
                  </a:lnTo>
                  <a:lnTo>
                    <a:pt x="7278" y="11724"/>
                  </a:lnTo>
                  <a:lnTo>
                    <a:pt x="7297" y="11744"/>
                  </a:lnTo>
                  <a:lnTo>
                    <a:pt x="7315" y="11763"/>
                  </a:lnTo>
                  <a:lnTo>
                    <a:pt x="7334" y="11782"/>
                  </a:lnTo>
                  <a:lnTo>
                    <a:pt x="7354" y="11801"/>
                  </a:lnTo>
                  <a:lnTo>
                    <a:pt x="7374" y="11819"/>
                  </a:lnTo>
                  <a:lnTo>
                    <a:pt x="7395" y="11836"/>
                  </a:lnTo>
                  <a:lnTo>
                    <a:pt x="7415" y="11852"/>
                  </a:lnTo>
                  <a:lnTo>
                    <a:pt x="7436" y="11868"/>
                  </a:lnTo>
                  <a:lnTo>
                    <a:pt x="7458" y="11883"/>
                  </a:lnTo>
                  <a:lnTo>
                    <a:pt x="7480" y="11898"/>
                  </a:lnTo>
                  <a:lnTo>
                    <a:pt x="7502" y="11912"/>
                  </a:lnTo>
                  <a:lnTo>
                    <a:pt x="7524" y="11925"/>
                  </a:lnTo>
                  <a:lnTo>
                    <a:pt x="7547" y="11938"/>
                  </a:lnTo>
                  <a:lnTo>
                    <a:pt x="7570" y="11950"/>
                  </a:lnTo>
                  <a:lnTo>
                    <a:pt x="7594" y="11962"/>
                  </a:lnTo>
                  <a:lnTo>
                    <a:pt x="7618" y="11974"/>
                  </a:lnTo>
                  <a:lnTo>
                    <a:pt x="7642" y="11985"/>
                  </a:lnTo>
                  <a:lnTo>
                    <a:pt x="7667" y="11994"/>
                  </a:lnTo>
                  <a:lnTo>
                    <a:pt x="7691" y="12004"/>
                  </a:lnTo>
                  <a:lnTo>
                    <a:pt x="7716" y="12012"/>
                  </a:lnTo>
                  <a:lnTo>
                    <a:pt x="7741" y="12020"/>
                  </a:lnTo>
                  <a:lnTo>
                    <a:pt x="7766" y="12027"/>
                  </a:lnTo>
                  <a:lnTo>
                    <a:pt x="7792" y="12034"/>
                  </a:lnTo>
                  <a:lnTo>
                    <a:pt x="7817" y="12040"/>
                  </a:lnTo>
                  <a:lnTo>
                    <a:pt x="7843" y="12045"/>
                  </a:lnTo>
                  <a:lnTo>
                    <a:pt x="7869" y="12049"/>
                  </a:lnTo>
                  <a:lnTo>
                    <a:pt x="7896" y="12053"/>
                  </a:lnTo>
                  <a:lnTo>
                    <a:pt x="7923" y="12056"/>
                  </a:lnTo>
                  <a:lnTo>
                    <a:pt x="7949" y="12059"/>
                  </a:lnTo>
                  <a:lnTo>
                    <a:pt x="7976" y="12061"/>
                  </a:lnTo>
                  <a:lnTo>
                    <a:pt x="8002" y="12062"/>
                  </a:lnTo>
                  <a:lnTo>
                    <a:pt x="8029" y="12062"/>
                  </a:lnTo>
                  <a:lnTo>
                    <a:pt x="8056" y="12062"/>
                  </a:lnTo>
                  <a:lnTo>
                    <a:pt x="8082" y="12061"/>
                  </a:lnTo>
                  <a:lnTo>
                    <a:pt x="8109" y="12059"/>
                  </a:lnTo>
                  <a:lnTo>
                    <a:pt x="8135" y="12056"/>
                  </a:lnTo>
                  <a:lnTo>
                    <a:pt x="8162" y="12053"/>
                  </a:lnTo>
                  <a:lnTo>
                    <a:pt x="8189" y="12049"/>
                  </a:lnTo>
                  <a:lnTo>
                    <a:pt x="8215" y="12045"/>
                  </a:lnTo>
                  <a:lnTo>
                    <a:pt x="8241" y="12040"/>
                  </a:lnTo>
                  <a:lnTo>
                    <a:pt x="8266" y="12034"/>
                  </a:lnTo>
                  <a:lnTo>
                    <a:pt x="8292" y="12027"/>
                  </a:lnTo>
                  <a:lnTo>
                    <a:pt x="8317" y="12020"/>
                  </a:lnTo>
                  <a:lnTo>
                    <a:pt x="8342" y="12012"/>
                  </a:lnTo>
                  <a:lnTo>
                    <a:pt x="8367" y="12004"/>
                  </a:lnTo>
                  <a:lnTo>
                    <a:pt x="8392" y="11994"/>
                  </a:lnTo>
                  <a:lnTo>
                    <a:pt x="8416" y="11985"/>
                  </a:lnTo>
                  <a:lnTo>
                    <a:pt x="8440" y="11974"/>
                  </a:lnTo>
                  <a:lnTo>
                    <a:pt x="8465" y="11962"/>
                  </a:lnTo>
                  <a:lnTo>
                    <a:pt x="8488" y="11950"/>
                  </a:lnTo>
                  <a:lnTo>
                    <a:pt x="8511" y="11938"/>
                  </a:lnTo>
                  <a:lnTo>
                    <a:pt x="8534" y="11925"/>
                  </a:lnTo>
                  <a:lnTo>
                    <a:pt x="8557" y="11912"/>
                  </a:lnTo>
                  <a:lnTo>
                    <a:pt x="8579" y="11898"/>
                  </a:lnTo>
                  <a:lnTo>
                    <a:pt x="8601" y="11883"/>
                  </a:lnTo>
                  <a:lnTo>
                    <a:pt x="8622" y="11868"/>
                  </a:lnTo>
                  <a:lnTo>
                    <a:pt x="8643" y="11852"/>
                  </a:lnTo>
                  <a:lnTo>
                    <a:pt x="8664" y="11836"/>
                  </a:lnTo>
                  <a:lnTo>
                    <a:pt x="8684" y="11819"/>
                  </a:lnTo>
                  <a:lnTo>
                    <a:pt x="8704" y="11801"/>
                  </a:lnTo>
                  <a:lnTo>
                    <a:pt x="8724" y="11782"/>
                  </a:lnTo>
                  <a:lnTo>
                    <a:pt x="8743" y="11763"/>
                  </a:lnTo>
                  <a:lnTo>
                    <a:pt x="8762" y="11744"/>
                  </a:lnTo>
                  <a:lnTo>
                    <a:pt x="8780" y="11724"/>
                  </a:lnTo>
                  <a:lnTo>
                    <a:pt x="15805" y="4228"/>
                  </a:lnTo>
                  <a:lnTo>
                    <a:pt x="15821" y="4210"/>
                  </a:lnTo>
                  <a:lnTo>
                    <a:pt x="15836" y="4192"/>
                  </a:lnTo>
                  <a:lnTo>
                    <a:pt x="15851" y="4173"/>
                  </a:lnTo>
                  <a:lnTo>
                    <a:pt x="15865" y="4154"/>
                  </a:lnTo>
                  <a:lnTo>
                    <a:pt x="15878" y="4135"/>
                  </a:lnTo>
                  <a:lnTo>
                    <a:pt x="15892" y="4115"/>
                  </a:lnTo>
                  <a:lnTo>
                    <a:pt x="15904" y="4096"/>
                  </a:lnTo>
                  <a:lnTo>
                    <a:pt x="15917" y="4076"/>
                  </a:lnTo>
                  <a:lnTo>
                    <a:pt x="15929" y="4056"/>
                  </a:lnTo>
                  <a:lnTo>
                    <a:pt x="15940" y="4034"/>
                  </a:lnTo>
                  <a:lnTo>
                    <a:pt x="15951" y="4014"/>
                  </a:lnTo>
                  <a:lnTo>
                    <a:pt x="15961" y="3993"/>
                  </a:lnTo>
                  <a:lnTo>
                    <a:pt x="15971" y="3972"/>
                  </a:lnTo>
                  <a:lnTo>
                    <a:pt x="15980" y="3951"/>
                  </a:lnTo>
                  <a:lnTo>
                    <a:pt x="15989" y="3930"/>
                  </a:lnTo>
                  <a:lnTo>
                    <a:pt x="15997" y="3908"/>
                  </a:lnTo>
                  <a:lnTo>
                    <a:pt x="16004" y="3887"/>
                  </a:lnTo>
                  <a:lnTo>
                    <a:pt x="16011" y="3864"/>
                  </a:lnTo>
                  <a:lnTo>
                    <a:pt x="16018" y="3842"/>
                  </a:lnTo>
                  <a:lnTo>
                    <a:pt x="16024" y="3820"/>
                  </a:lnTo>
                  <a:lnTo>
                    <a:pt x="16030" y="3799"/>
                  </a:lnTo>
                  <a:lnTo>
                    <a:pt x="16035" y="3776"/>
                  </a:lnTo>
                  <a:lnTo>
                    <a:pt x="16039" y="3754"/>
                  </a:lnTo>
                  <a:lnTo>
                    <a:pt x="16044" y="3732"/>
                  </a:lnTo>
                  <a:lnTo>
                    <a:pt x="16047" y="3710"/>
                  </a:lnTo>
                  <a:lnTo>
                    <a:pt x="16050" y="3686"/>
                  </a:lnTo>
                  <a:lnTo>
                    <a:pt x="16053" y="3664"/>
                  </a:lnTo>
                  <a:lnTo>
                    <a:pt x="16055" y="3642"/>
                  </a:lnTo>
                  <a:lnTo>
                    <a:pt x="16056" y="3619"/>
                  </a:lnTo>
                  <a:lnTo>
                    <a:pt x="16057" y="3597"/>
                  </a:lnTo>
                  <a:lnTo>
                    <a:pt x="16058" y="3574"/>
                  </a:lnTo>
                  <a:lnTo>
                    <a:pt x="16058" y="3552"/>
                  </a:lnTo>
                  <a:lnTo>
                    <a:pt x="16057" y="3528"/>
                  </a:lnTo>
                  <a:lnTo>
                    <a:pt x="16056" y="3503"/>
                  </a:lnTo>
                  <a:lnTo>
                    <a:pt x="16055" y="3479"/>
                  </a:lnTo>
                  <a:lnTo>
                    <a:pt x="16053" y="3456"/>
                  </a:lnTo>
                  <a:lnTo>
                    <a:pt x="16050" y="3432"/>
                  </a:lnTo>
                  <a:lnTo>
                    <a:pt x="16047" y="3408"/>
                  </a:lnTo>
                  <a:lnTo>
                    <a:pt x="16043" y="3385"/>
                  </a:lnTo>
                  <a:lnTo>
                    <a:pt x="16039" y="3362"/>
                  </a:lnTo>
                  <a:lnTo>
                    <a:pt x="16034" y="3338"/>
                  </a:lnTo>
                  <a:lnTo>
                    <a:pt x="16028" y="3314"/>
                  </a:lnTo>
                  <a:lnTo>
                    <a:pt x="16022" y="3291"/>
                  </a:lnTo>
                  <a:lnTo>
                    <a:pt x="16015" y="3268"/>
                  </a:lnTo>
                  <a:lnTo>
                    <a:pt x="16008" y="3245"/>
                  </a:lnTo>
                  <a:lnTo>
                    <a:pt x="16000" y="3222"/>
                  </a:lnTo>
                  <a:lnTo>
                    <a:pt x="15992" y="3200"/>
                  </a:lnTo>
                  <a:lnTo>
                    <a:pt x="15983" y="3178"/>
                  </a:lnTo>
                  <a:lnTo>
                    <a:pt x="15974" y="3155"/>
                  </a:lnTo>
                  <a:lnTo>
                    <a:pt x="15964" y="3132"/>
                  </a:lnTo>
                  <a:lnTo>
                    <a:pt x="15953" y="3111"/>
                  </a:lnTo>
                  <a:lnTo>
                    <a:pt x="15942" y="3089"/>
                  </a:lnTo>
                  <a:lnTo>
                    <a:pt x="15930" y="3068"/>
                  </a:lnTo>
                  <a:lnTo>
                    <a:pt x="15917" y="3047"/>
                  </a:lnTo>
                  <a:lnTo>
                    <a:pt x="15904" y="3026"/>
                  </a:lnTo>
                  <a:lnTo>
                    <a:pt x="15891" y="3005"/>
                  </a:lnTo>
                  <a:lnTo>
                    <a:pt x="15877" y="2985"/>
                  </a:lnTo>
                  <a:lnTo>
                    <a:pt x="15863" y="2964"/>
                  </a:lnTo>
                  <a:lnTo>
                    <a:pt x="15848" y="2944"/>
                  </a:lnTo>
                  <a:lnTo>
                    <a:pt x="15832" y="2924"/>
                  </a:lnTo>
                  <a:lnTo>
                    <a:pt x="15816" y="2905"/>
                  </a:lnTo>
                  <a:lnTo>
                    <a:pt x="15799" y="2886"/>
                  </a:lnTo>
                  <a:lnTo>
                    <a:pt x="15782" y="2868"/>
                  </a:lnTo>
                  <a:lnTo>
                    <a:pt x="15764" y="284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3" name="íśliḋê">
              <a:extLst>
                <a:ext uri="{FF2B5EF4-FFF2-40B4-BE49-F238E27FC236}">
                  <a16:creationId xmlns:a16="http://schemas.microsoft.com/office/drawing/2014/main" id="{6F480E80-C2CF-463F-BE28-3482DF5A1592}"/>
                </a:ext>
              </a:extLst>
            </p:cNvPr>
            <p:cNvSpPr/>
            <p:nvPr/>
          </p:nvSpPr>
          <p:spPr bwMode="auto">
            <a:xfrm>
              <a:off x="1692438" y="703594"/>
              <a:ext cx="516942" cy="387410"/>
            </a:xfrm>
            <a:custGeom>
              <a:avLst/>
              <a:gdLst>
                <a:gd name="T0" fmla="*/ 12346 w 16095"/>
                <a:gd name="T1" fmla="*/ 10690 h 12062"/>
                <a:gd name="T2" fmla="*/ 12211 w 16095"/>
                <a:gd name="T3" fmla="*/ 10826 h 12062"/>
                <a:gd name="T4" fmla="*/ 12056 w 16095"/>
                <a:gd name="T5" fmla="*/ 10931 h 12062"/>
                <a:gd name="T6" fmla="*/ 11883 w 16095"/>
                <a:gd name="T7" fmla="*/ 11007 h 12062"/>
                <a:gd name="T8" fmla="*/ 11697 w 16095"/>
                <a:gd name="T9" fmla="*/ 11049 h 12062"/>
                <a:gd name="T10" fmla="*/ 1961 w 16095"/>
                <a:gd name="T11" fmla="*/ 11056 h 12062"/>
                <a:gd name="T12" fmla="*/ 1666 w 16095"/>
                <a:gd name="T13" fmla="*/ 10996 h 12062"/>
                <a:gd name="T14" fmla="*/ 1410 w 16095"/>
                <a:gd name="T15" fmla="*/ 10857 h 12062"/>
                <a:gd name="T16" fmla="*/ 1206 w 16095"/>
                <a:gd name="T17" fmla="*/ 10653 h 12062"/>
                <a:gd name="T18" fmla="*/ 1067 w 16095"/>
                <a:gd name="T19" fmla="*/ 10396 h 12062"/>
                <a:gd name="T20" fmla="*/ 1007 w 16095"/>
                <a:gd name="T21" fmla="*/ 10103 h 12062"/>
                <a:gd name="T22" fmla="*/ 1026 w 16095"/>
                <a:gd name="T23" fmla="*/ 1808 h 12062"/>
                <a:gd name="T24" fmla="*/ 1128 w 16095"/>
                <a:gd name="T25" fmla="*/ 1532 h 12062"/>
                <a:gd name="T26" fmla="*/ 1301 w 16095"/>
                <a:gd name="T27" fmla="*/ 1300 h 12062"/>
                <a:gd name="T28" fmla="*/ 1533 w 16095"/>
                <a:gd name="T29" fmla="*/ 1127 h 12062"/>
                <a:gd name="T30" fmla="*/ 1810 w 16095"/>
                <a:gd name="T31" fmla="*/ 1025 h 12062"/>
                <a:gd name="T32" fmla="*/ 11600 w 16095"/>
                <a:gd name="T33" fmla="*/ 1006 h 12062"/>
                <a:gd name="T34" fmla="*/ 11792 w 16095"/>
                <a:gd name="T35" fmla="*/ 1030 h 12062"/>
                <a:gd name="T36" fmla="*/ 11972 w 16095"/>
                <a:gd name="T37" fmla="*/ 1089 h 12062"/>
                <a:gd name="T38" fmla="*/ 12137 w 16095"/>
                <a:gd name="T39" fmla="*/ 1180 h 12062"/>
                <a:gd name="T40" fmla="*/ 12281 w 16095"/>
                <a:gd name="T41" fmla="*/ 1302 h 12062"/>
                <a:gd name="T42" fmla="*/ 12403 w 16095"/>
                <a:gd name="T43" fmla="*/ 1450 h 12062"/>
                <a:gd name="T44" fmla="*/ 15003 w 16095"/>
                <a:gd name="T45" fmla="*/ 5624 h 12062"/>
                <a:gd name="T46" fmla="*/ 15066 w 16095"/>
                <a:gd name="T47" fmla="*/ 5824 h 12062"/>
                <a:gd name="T48" fmla="*/ 15088 w 16095"/>
                <a:gd name="T49" fmla="*/ 6031 h 12062"/>
                <a:gd name="T50" fmla="*/ 15066 w 16095"/>
                <a:gd name="T51" fmla="*/ 6238 h 12062"/>
                <a:gd name="T52" fmla="*/ 15003 w 16095"/>
                <a:gd name="T53" fmla="*/ 6438 h 12062"/>
                <a:gd name="T54" fmla="*/ 13274 w 16095"/>
                <a:gd name="T55" fmla="*/ 945 h 12062"/>
                <a:gd name="T56" fmla="*/ 13040 w 16095"/>
                <a:gd name="T57" fmla="*/ 639 h 12062"/>
                <a:gd name="T58" fmla="*/ 12755 w 16095"/>
                <a:gd name="T59" fmla="*/ 388 h 12062"/>
                <a:gd name="T60" fmla="*/ 12431 w 16095"/>
                <a:gd name="T61" fmla="*/ 195 h 12062"/>
                <a:gd name="T62" fmla="*/ 12076 w 16095"/>
                <a:gd name="T63" fmla="*/ 65 h 12062"/>
                <a:gd name="T64" fmla="*/ 11698 w 16095"/>
                <a:gd name="T65" fmla="*/ 4 h 12062"/>
                <a:gd name="T66" fmla="*/ 1705 w 16095"/>
                <a:gd name="T67" fmla="*/ 23 h 12062"/>
                <a:gd name="T68" fmla="*/ 1140 w 16095"/>
                <a:gd name="T69" fmla="*/ 198 h 12062"/>
                <a:gd name="T70" fmla="*/ 659 w 16095"/>
                <a:gd name="T71" fmla="*/ 523 h 12062"/>
                <a:gd name="T72" fmla="*/ 292 w 16095"/>
                <a:gd name="T73" fmla="*/ 968 h 12062"/>
                <a:gd name="T74" fmla="*/ 63 w 16095"/>
                <a:gd name="T75" fmla="*/ 1508 h 12062"/>
                <a:gd name="T76" fmla="*/ 0 w 16095"/>
                <a:gd name="T77" fmla="*/ 10052 h 12062"/>
                <a:gd name="T78" fmla="*/ 91 w 16095"/>
                <a:gd name="T79" fmla="*/ 10650 h 12062"/>
                <a:gd name="T80" fmla="*/ 344 w 16095"/>
                <a:gd name="T81" fmla="*/ 11175 h 12062"/>
                <a:gd name="T82" fmla="*/ 732 w 16095"/>
                <a:gd name="T83" fmla="*/ 11603 h 12062"/>
                <a:gd name="T84" fmla="*/ 1228 w 16095"/>
                <a:gd name="T85" fmla="*/ 11904 h 12062"/>
                <a:gd name="T86" fmla="*/ 1806 w 16095"/>
                <a:gd name="T87" fmla="*/ 12052 h 12062"/>
                <a:gd name="T88" fmla="*/ 11761 w 16095"/>
                <a:gd name="T89" fmla="*/ 12053 h 12062"/>
                <a:gd name="T90" fmla="*/ 12137 w 16095"/>
                <a:gd name="T91" fmla="*/ 11981 h 12062"/>
                <a:gd name="T92" fmla="*/ 12488 w 16095"/>
                <a:gd name="T93" fmla="*/ 11840 h 12062"/>
                <a:gd name="T94" fmla="*/ 12807 w 16095"/>
                <a:gd name="T95" fmla="*/ 11637 h 12062"/>
                <a:gd name="T96" fmla="*/ 13082 w 16095"/>
                <a:gd name="T97" fmla="*/ 11375 h 12062"/>
                <a:gd name="T98" fmla="*/ 15788 w 16095"/>
                <a:gd name="T99" fmla="*/ 7097 h 12062"/>
                <a:gd name="T100" fmla="*/ 15975 w 16095"/>
                <a:gd name="T101" fmla="*/ 6715 h 12062"/>
                <a:gd name="T102" fmla="*/ 16076 w 16095"/>
                <a:gd name="T103" fmla="*/ 6308 h 12062"/>
                <a:gd name="T104" fmla="*/ 16090 w 16095"/>
                <a:gd name="T105" fmla="*/ 5892 h 12062"/>
                <a:gd name="T106" fmla="*/ 16019 w 16095"/>
                <a:gd name="T107" fmla="*/ 5482 h 12062"/>
                <a:gd name="T108" fmla="*/ 15861 w 16095"/>
                <a:gd name="T109" fmla="*/ 5090 h 1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095" h="12062">
                  <a:moveTo>
                    <a:pt x="14936" y="6564"/>
                  </a:moveTo>
                  <a:lnTo>
                    <a:pt x="12420" y="10585"/>
                  </a:lnTo>
                  <a:lnTo>
                    <a:pt x="12403" y="10613"/>
                  </a:lnTo>
                  <a:lnTo>
                    <a:pt x="12385" y="10639"/>
                  </a:lnTo>
                  <a:lnTo>
                    <a:pt x="12365" y="10665"/>
                  </a:lnTo>
                  <a:lnTo>
                    <a:pt x="12346" y="10690"/>
                  </a:lnTo>
                  <a:lnTo>
                    <a:pt x="12325" y="10714"/>
                  </a:lnTo>
                  <a:lnTo>
                    <a:pt x="12304" y="10738"/>
                  </a:lnTo>
                  <a:lnTo>
                    <a:pt x="12281" y="10761"/>
                  </a:lnTo>
                  <a:lnTo>
                    <a:pt x="12258" y="10783"/>
                  </a:lnTo>
                  <a:lnTo>
                    <a:pt x="12235" y="10805"/>
                  </a:lnTo>
                  <a:lnTo>
                    <a:pt x="12211" y="10826"/>
                  </a:lnTo>
                  <a:lnTo>
                    <a:pt x="12187" y="10845"/>
                  </a:lnTo>
                  <a:lnTo>
                    <a:pt x="12162" y="10864"/>
                  </a:lnTo>
                  <a:lnTo>
                    <a:pt x="12137" y="10882"/>
                  </a:lnTo>
                  <a:lnTo>
                    <a:pt x="12110" y="10900"/>
                  </a:lnTo>
                  <a:lnTo>
                    <a:pt x="12083" y="10916"/>
                  </a:lnTo>
                  <a:lnTo>
                    <a:pt x="12056" y="10931"/>
                  </a:lnTo>
                  <a:lnTo>
                    <a:pt x="12028" y="10946"/>
                  </a:lnTo>
                  <a:lnTo>
                    <a:pt x="12001" y="10960"/>
                  </a:lnTo>
                  <a:lnTo>
                    <a:pt x="11972" y="10973"/>
                  </a:lnTo>
                  <a:lnTo>
                    <a:pt x="11942" y="10985"/>
                  </a:lnTo>
                  <a:lnTo>
                    <a:pt x="11913" y="10997"/>
                  </a:lnTo>
                  <a:lnTo>
                    <a:pt x="11883" y="11007"/>
                  </a:lnTo>
                  <a:lnTo>
                    <a:pt x="11853" y="11017"/>
                  </a:lnTo>
                  <a:lnTo>
                    <a:pt x="11823" y="11025"/>
                  </a:lnTo>
                  <a:lnTo>
                    <a:pt x="11792" y="11032"/>
                  </a:lnTo>
                  <a:lnTo>
                    <a:pt x="11760" y="11039"/>
                  </a:lnTo>
                  <a:lnTo>
                    <a:pt x="11729" y="11044"/>
                  </a:lnTo>
                  <a:lnTo>
                    <a:pt x="11697" y="11049"/>
                  </a:lnTo>
                  <a:lnTo>
                    <a:pt x="11666" y="11052"/>
                  </a:lnTo>
                  <a:lnTo>
                    <a:pt x="11634" y="11055"/>
                  </a:lnTo>
                  <a:lnTo>
                    <a:pt x="11600" y="11056"/>
                  </a:lnTo>
                  <a:lnTo>
                    <a:pt x="11568" y="11057"/>
                  </a:lnTo>
                  <a:lnTo>
                    <a:pt x="2012" y="11057"/>
                  </a:lnTo>
                  <a:lnTo>
                    <a:pt x="1961" y="11056"/>
                  </a:lnTo>
                  <a:lnTo>
                    <a:pt x="1909" y="11052"/>
                  </a:lnTo>
                  <a:lnTo>
                    <a:pt x="1859" y="11045"/>
                  </a:lnTo>
                  <a:lnTo>
                    <a:pt x="1810" y="11037"/>
                  </a:lnTo>
                  <a:lnTo>
                    <a:pt x="1760" y="11025"/>
                  </a:lnTo>
                  <a:lnTo>
                    <a:pt x="1713" y="11012"/>
                  </a:lnTo>
                  <a:lnTo>
                    <a:pt x="1666" y="10996"/>
                  </a:lnTo>
                  <a:lnTo>
                    <a:pt x="1621" y="10977"/>
                  </a:lnTo>
                  <a:lnTo>
                    <a:pt x="1576" y="10957"/>
                  </a:lnTo>
                  <a:lnTo>
                    <a:pt x="1533" y="10935"/>
                  </a:lnTo>
                  <a:lnTo>
                    <a:pt x="1491" y="10911"/>
                  </a:lnTo>
                  <a:lnTo>
                    <a:pt x="1450" y="10885"/>
                  </a:lnTo>
                  <a:lnTo>
                    <a:pt x="1410" y="10857"/>
                  </a:lnTo>
                  <a:lnTo>
                    <a:pt x="1372" y="10827"/>
                  </a:lnTo>
                  <a:lnTo>
                    <a:pt x="1336" y="10795"/>
                  </a:lnTo>
                  <a:lnTo>
                    <a:pt x="1301" y="10762"/>
                  </a:lnTo>
                  <a:lnTo>
                    <a:pt x="1267" y="10727"/>
                  </a:lnTo>
                  <a:lnTo>
                    <a:pt x="1236" y="10691"/>
                  </a:lnTo>
                  <a:lnTo>
                    <a:pt x="1206" y="10653"/>
                  </a:lnTo>
                  <a:lnTo>
                    <a:pt x="1178" y="10614"/>
                  </a:lnTo>
                  <a:lnTo>
                    <a:pt x="1152" y="10572"/>
                  </a:lnTo>
                  <a:lnTo>
                    <a:pt x="1128" y="10530"/>
                  </a:lnTo>
                  <a:lnTo>
                    <a:pt x="1106" y="10487"/>
                  </a:lnTo>
                  <a:lnTo>
                    <a:pt x="1085" y="10443"/>
                  </a:lnTo>
                  <a:lnTo>
                    <a:pt x="1067" y="10396"/>
                  </a:lnTo>
                  <a:lnTo>
                    <a:pt x="1051" y="10350"/>
                  </a:lnTo>
                  <a:lnTo>
                    <a:pt x="1038" y="10303"/>
                  </a:lnTo>
                  <a:lnTo>
                    <a:pt x="1026" y="10254"/>
                  </a:lnTo>
                  <a:lnTo>
                    <a:pt x="1018" y="10204"/>
                  </a:lnTo>
                  <a:lnTo>
                    <a:pt x="1011" y="10154"/>
                  </a:lnTo>
                  <a:lnTo>
                    <a:pt x="1007" y="10103"/>
                  </a:lnTo>
                  <a:lnTo>
                    <a:pt x="1006" y="10052"/>
                  </a:lnTo>
                  <a:lnTo>
                    <a:pt x="1006" y="2010"/>
                  </a:lnTo>
                  <a:lnTo>
                    <a:pt x="1007" y="1959"/>
                  </a:lnTo>
                  <a:lnTo>
                    <a:pt x="1011" y="1908"/>
                  </a:lnTo>
                  <a:lnTo>
                    <a:pt x="1018" y="1858"/>
                  </a:lnTo>
                  <a:lnTo>
                    <a:pt x="1026" y="1808"/>
                  </a:lnTo>
                  <a:lnTo>
                    <a:pt x="1038" y="1760"/>
                  </a:lnTo>
                  <a:lnTo>
                    <a:pt x="1051" y="1712"/>
                  </a:lnTo>
                  <a:lnTo>
                    <a:pt x="1067" y="1666"/>
                  </a:lnTo>
                  <a:lnTo>
                    <a:pt x="1085" y="1619"/>
                  </a:lnTo>
                  <a:lnTo>
                    <a:pt x="1106" y="1575"/>
                  </a:lnTo>
                  <a:lnTo>
                    <a:pt x="1128" y="1532"/>
                  </a:lnTo>
                  <a:lnTo>
                    <a:pt x="1152" y="1490"/>
                  </a:lnTo>
                  <a:lnTo>
                    <a:pt x="1178" y="1449"/>
                  </a:lnTo>
                  <a:lnTo>
                    <a:pt x="1206" y="1409"/>
                  </a:lnTo>
                  <a:lnTo>
                    <a:pt x="1236" y="1372"/>
                  </a:lnTo>
                  <a:lnTo>
                    <a:pt x="1267" y="1335"/>
                  </a:lnTo>
                  <a:lnTo>
                    <a:pt x="1301" y="1300"/>
                  </a:lnTo>
                  <a:lnTo>
                    <a:pt x="1336" y="1267"/>
                  </a:lnTo>
                  <a:lnTo>
                    <a:pt x="1372" y="1235"/>
                  </a:lnTo>
                  <a:lnTo>
                    <a:pt x="1410" y="1205"/>
                  </a:lnTo>
                  <a:lnTo>
                    <a:pt x="1450" y="1177"/>
                  </a:lnTo>
                  <a:lnTo>
                    <a:pt x="1491" y="1151"/>
                  </a:lnTo>
                  <a:lnTo>
                    <a:pt x="1533" y="1127"/>
                  </a:lnTo>
                  <a:lnTo>
                    <a:pt x="1576" y="1105"/>
                  </a:lnTo>
                  <a:lnTo>
                    <a:pt x="1621" y="1085"/>
                  </a:lnTo>
                  <a:lnTo>
                    <a:pt x="1666" y="1066"/>
                  </a:lnTo>
                  <a:lnTo>
                    <a:pt x="1713" y="1050"/>
                  </a:lnTo>
                  <a:lnTo>
                    <a:pt x="1760" y="1037"/>
                  </a:lnTo>
                  <a:lnTo>
                    <a:pt x="1810" y="1025"/>
                  </a:lnTo>
                  <a:lnTo>
                    <a:pt x="1859" y="1017"/>
                  </a:lnTo>
                  <a:lnTo>
                    <a:pt x="1909" y="1010"/>
                  </a:lnTo>
                  <a:lnTo>
                    <a:pt x="1961" y="1006"/>
                  </a:lnTo>
                  <a:lnTo>
                    <a:pt x="2012" y="1005"/>
                  </a:lnTo>
                  <a:lnTo>
                    <a:pt x="11568" y="1005"/>
                  </a:lnTo>
                  <a:lnTo>
                    <a:pt x="11600" y="1006"/>
                  </a:lnTo>
                  <a:lnTo>
                    <a:pt x="11634" y="1007"/>
                  </a:lnTo>
                  <a:lnTo>
                    <a:pt x="11666" y="1010"/>
                  </a:lnTo>
                  <a:lnTo>
                    <a:pt x="11697" y="1013"/>
                  </a:lnTo>
                  <a:lnTo>
                    <a:pt x="11729" y="1018"/>
                  </a:lnTo>
                  <a:lnTo>
                    <a:pt x="11760" y="1023"/>
                  </a:lnTo>
                  <a:lnTo>
                    <a:pt x="11792" y="1030"/>
                  </a:lnTo>
                  <a:lnTo>
                    <a:pt x="11823" y="1037"/>
                  </a:lnTo>
                  <a:lnTo>
                    <a:pt x="11853" y="1046"/>
                  </a:lnTo>
                  <a:lnTo>
                    <a:pt x="11883" y="1055"/>
                  </a:lnTo>
                  <a:lnTo>
                    <a:pt x="11913" y="1065"/>
                  </a:lnTo>
                  <a:lnTo>
                    <a:pt x="11942" y="1077"/>
                  </a:lnTo>
                  <a:lnTo>
                    <a:pt x="11972" y="1089"/>
                  </a:lnTo>
                  <a:lnTo>
                    <a:pt x="12001" y="1102"/>
                  </a:lnTo>
                  <a:lnTo>
                    <a:pt x="12028" y="1116"/>
                  </a:lnTo>
                  <a:lnTo>
                    <a:pt x="12056" y="1131"/>
                  </a:lnTo>
                  <a:lnTo>
                    <a:pt x="12083" y="1146"/>
                  </a:lnTo>
                  <a:lnTo>
                    <a:pt x="12110" y="1163"/>
                  </a:lnTo>
                  <a:lnTo>
                    <a:pt x="12137" y="1180"/>
                  </a:lnTo>
                  <a:lnTo>
                    <a:pt x="12162" y="1198"/>
                  </a:lnTo>
                  <a:lnTo>
                    <a:pt x="12187" y="1217"/>
                  </a:lnTo>
                  <a:lnTo>
                    <a:pt x="12211" y="1237"/>
                  </a:lnTo>
                  <a:lnTo>
                    <a:pt x="12235" y="1257"/>
                  </a:lnTo>
                  <a:lnTo>
                    <a:pt x="12258" y="1280"/>
                  </a:lnTo>
                  <a:lnTo>
                    <a:pt x="12281" y="1302"/>
                  </a:lnTo>
                  <a:lnTo>
                    <a:pt x="12304" y="1324"/>
                  </a:lnTo>
                  <a:lnTo>
                    <a:pt x="12325" y="1348"/>
                  </a:lnTo>
                  <a:lnTo>
                    <a:pt x="12346" y="1372"/>
                  </a:lnTo>
                  <a:lnTo>
                    <a:pt x="12365" y="1398"/>
                  </a:lnTo>
                  <a:lnTo>
                    <a:pt x="12385" y="1423"/>
                  </a:lnTo>
                  <a:lnTo>
                    <a:pt x="12403" y="1450"/>
                  </a:lnTo>
                  <a:lnTo>
                    <a:pt x="12420" y="1478"/>
                  </a:lnTo>
                  <a:lnTo>
                    <a:pt x="14935" y="5498"/>
                  </a:lnTo>
                  <a:lnTo>
                    <a:pt x="14954" y="5528"/>
                  </a:lnTo>
                  <a:lnTo>
                    <a:pt x="14971" y="5560"/>
                  </a:lnTo>
                  <a:lnTo>
                    <a:pt x="14987" y="5592"/>
                  </a:lnTo>
                  <a:lnTo>
                    <a:pt x="15003" y="5624"/>
                  </a:lnTo>
                  <a:lnTo>
                    <a:pt x="15016" y="5656"/>
                  </a:lnTo>
                  <a:lnTo>
                    <a:pt x="15029" y="5689"/>
                  </a:lnTo>
                  <a:lnTo>
                    <a:pt x="15040" y="5722"/>
                  </a:lnTo>
                  <a:lnTo>
                    <a:pt x="15050" y="5756"/>
                  </a:lnTo>
                  <a:lnTo>
                    <a:pt x="15059" y="5790"/>
                  </a:lnTo>
                  <a:lnTo>
                    <a:pt x="15066" y="5824"/>
                  </a:lnTo>
                  <a:lnTo>
                    <a:pt x="15073" y="5858"/>
                  </a:lnTo>
                  <a:lnTo>
                    <a:pt x="15078" y="5892"/>
                  </a:lnTo>
                  <a:lnTo>
                    <a:pt x="15082" y="5926"/>
                  </a:lnTo>
                  <a:lnTo>
                    <a:pt x="15085" y="5962"/>
                  </a:lnTo>
                  <a:lnTo>
                    <a:pt x="15087" y="5996"/>
                  </a:lnTo>
                  <a:lnTo>
                    <a:pt x="15088" y="6031"/>
                  </a:lnTo>
                  <a:lnTo>
                    <a:pt x="15087" y="6066"/>
                  </a:lnTo>
                  <a:lnTo>
                    <a:pt x="15085" y="6100"/>
                  </a:lnTo>
                  <a:lnTo>
                    <a:pt x="15082" y="6136"/>
                  </a:lnTo>
                  <a:lnTo>
                    <a:pt x="15078" y="6170"/>
                  </a:lnTo>
                  <a:lnTo>
                    <a:pt x="15073" y="6204"/>
                  </a:lnTo>
                  <a:lnTo>
                    <a:pt x="15066" y="6238"/>
                  </a:lnTo>
                  <a:lnTo>
                    <a:pt x="15059" y="6272"/>
                  </a:lnTo>
                  <a:lnTo>
                    <a:pt x="15050" y="6306"/>
                  </a:lnTo>
                  <a:lnTo>
                    <a:pt x="15040" y="6340"/>
                  </a:lnTo>
                  <a:lnTo>
                    <a:pt x="15029" y="6373"/>
                  </a:lnTo>
                  <a:lnTo>
                    <a:pt x="15016" y="6406"/>
                  </a:lnTo>
                  <a:lnTo>
                    <a:pt x="15003" y="6438"/>
                  </a:lnTo>
                  <a:lnTo>
                    <a:pt x="14987" y="6470"/>
                  </a:lnTo>
                  <a:lnTo>
                    <a:pt x="14971" y="6502"/>
                  </a:lnTo>
                  <a:lnTo>
                    <a:pt x="14954" y="6534"/>
                  </a:lnTo>
                  <a:lnTo>
                    <a:pt x="14936" y="6564"/>
                  </a:lnTo>
                  <a:close/>
                  <a:moveTo>
                    <a:pt x="15788" y="4966"/>
                  </a:moveTo>
                  <a:lnTo>
                    <a:pt x="13274" y="945"/>
                  </a:lnTo>
                  <a:lnTo>
                    <a:pt x="13239" y="891"/>
                  </a:lnTo>
                  <a:lnTo>
                    <a:pt x="13202" y="837"/>
                  </a:lnTo>
                  <a:lnTo>
                    <a:pt x="13164" y="786"/>
                  </a:lnTo>
                  <a:lnTo>
                    <a:pt x="13123" y="736"/>
                  </a:lnTo>
                  <a:lnTo>
                    <a:pt x="13082" y="687"/>
                  </a:lnTo>
                  <a:lnTo>
                    <a:pt x="13040" y="639"/>
                  </a:lnTo>
                  <a:lnTo>
                    <a:pt x="12996" y="594"/>
                  </a:lnTo>
                  <a:lnTo>
                    <a:pt x="12950" y="550"/>
                  </a:lnTo>
                  <a:lnTo>
                    <a:pt x="12903" y="507"/>
                  </a:lnTo>
                  <a:lnTo>
                    <a:pt x="12855" y="465"/>
                  </a:lnTo>
                  <a:lnTo>
                    <a:pt x="12807" y="426"/>
                  </a:lnTo>
                  <a:lnTo>
                    <a:pt x="12755" y="388"/>
                  </a:lnTo>
                  <a:lnTo>
                    <a:pt x="12704" y="352"/>
                  </a:lnTo>
                  <a:lnTo>
                    <a:pt x="12652" y="317"/>
                  </a:lnTo>
                  <a:lnTo>
                    <a:pt x="12598" y="283"/>
                  </a:lnTo>
                  <a:lnTo>
                    <a:pt x="12543" y="252"/>
                  </a:lnTo>
                  <a:lnTo>
                    <a:pt x="12488" y="222"/>
                  </a:lnTo>
                  <a:lnTo>
                    <a:pt x="12431" y="195"/>
                  </a:lnTo>
                  <a:lnTo>
                    <a:pt x="12374" y="169"/>
                  </a:lnTo>
                  <a:lnTo>
                    <a:pt x="12316" y="144"/>
                  </a:lnTo>
                  <a:lnTo>
                    <a:pt x="12257" y="122"/>
                  </a:lnTo>
                  <a:lnTo>
                    <a:pt x="12197" y="101"/>
                  </a:lnTo>
                  <a:lnTo>
                    <a:pt x="12137" y="82"/>
                  </a:lnTo>
                  <a:lnTo>
                    <a:pt x="12076" y="65"/>
                  </a:lnTo>
                  <a:lnTo>
                    <a:pt x="12014" y="50"/>
                  </a:lnTo>
                  <a:lnTo>
                    <a:pt x="11952" y="37"/>
                  </a:lnTo>
                  <a:lnTo>
                    <a:pt x="11889" y="26"/>
                  </a:lnTo>
                  <a:lnTo>
                    <a:pt x="11826" y="16"/>
                  </a:lnTo>
                  <a:lnTo>
                    <a:pt x="11761" y="9"/>
                  </a:lnTo>
                  <a:lnTo>
                    <a:pt x="11698" y="4"/>
                  </a:lnTo>
                  <a:lnTo>
                    <a:pt x="11633" y="1"/>
                  </a:lnTo>
                  <a:lnTo>
                    <a:pt x="11568" y="0"/>
                  </a:lnTo>
                  <a:lnTo>
                    <a:pt x="2012" y="0"/>
                  </a:lnTo>
                  <a:lnTo>
                    <a:pt x="1908" y="3"/>
                  </a:lnTo>
                  <a:lnTo>
                    <a:pt x="1806" y="10"/>
                  </a:lnTo>
                  <a:lnTo>
                    <a:pt x="1705" y="23"/>
                  </a:lnTo>
                  <a:lnTo>
                    <a:pt x="1606" y="41"/>
                  </a:lnTo>
                  <a:lnTo>
                    <a:pt x="1509" y="63"/>
                  </a:lnTo>
                  <a:lnTo>
                    <a:pt x="1413" y="90"/>
                  </a:lnTo>
                  <a:lnTo>
                    <a:pt x="1320" y="122"/>
                  </a:lnTo>
                  <a:lnTo>
                    <a:pt x="1228" y="158"/>
                  </a:lnTo>
                  <a:lnTo>
                    <a:pt x="1140" y="198"/>
                  </a:lnTo>
                  <a:lnTo>
                    <a:pt x="1053" y="242"/>
                  </a:lnTo>
                  <a:lnTo>
                    <a:pt x="969" y="291"/>
                  </a:lnTo>
                  <a:lnTo>
                    <a:pt x="887" y="344"/>
                  </a:lnTo>
                  <a:lnTo>
                    <a:pt x="808" y="399"/>
                  </a:lnTo>
                  <a:lnTo>
                    <a:pt x="732" y="459"/>
                  </a:lnTo>
                  <a:lnTo>
                    <a:pt x="659" y="523"/>
                  </a:lnTo>
                  <a:lnTo>
                    <a:pt x="589" y="589"/>
                  </a:lnTo>
                  <a:lnTo>
                    <a:pt x="523" y="658"/>
                  </a:lnTo>
                  <a:lnTo>
                    <a:pt x="460" y="732"/>
                  </a:lnTo>
                  <a:lnTo>
                    <a:pt x="399" y="807"/>
                  </a:lnTo>
                  <a:lnTo>
                    <a:pt x="344" y="887"/>
                  </a:lnTo>
                  <a:lnTo>
                    <a:pt x="292" y="968"/>
                  </a:lnTo>
                  <a:lnTo>
                    <a:pt x="242" y="1052"/>
                  </a:lnTo>
                  <a:lnTo>
                    <a:pt x="198" y="1139"/>
                  </a:lnTo>
                  <a:lnTo>
                    <a:pt x="158" y="1228"/>
                  </a:lnTo>
                  <a:lnTo>
                    <a:pt x="122" y="1319"/>
                  </a:lnTo>
                  <a:lnTo>
                    <a:pt x="91" y="1412"/>
                  </a:lnTo>
                  <a:lnTo>
                    <a:pt x="63" y="1508"/>
                  </a:lnTo>
                  <a:lnTo>
                    <a:pt x="41" y="1605"/>
                  </a:lnTo>
                  <a:lnTo>
                    <a:pt x="23" y="1704"/>
                  </a:lnTo>
                  <a:lnTo>
                    <a:pt x="10" y="1805"/>
                  </a:lnTo>
                  <a:lnTo>
                    <a:pt x="3" y="1907"/>
                  </a:lnTo>
                  <a:lnTo>
                    <a:pt x="0" y="2010"/>
                  </a:lnTo>
                  <a:lnTo>
                    <a:pt x="0" y="10052"/>
                  </a:lnTo>
                  <a:lnTo>
                    <a:pt x="3" y="10155"/>
                  </a:lnTo>
                  <a:lnTo>
                    <a:pt x="10" y="10257"/>
                  </a:lnTo>
                  <a:lnTo>
                    <a:pt x="23" y="10358"/>
                  </a:lnTo>
                  <a:lnTo>
                    <a:pt x="41" y="10457"/>
                  </a:lnTo>
                  <a:lnTo>
                    <a:pt x="63" y="10554"/>
                  </a:lnTo>
                  <a:lnTo>
                    <a:pt x="91" y="10650"/>
                  </a:lnTo>
                  <a:lnTo>
                    <a:pt x="122" y="10743"/>
                  </a:lnTo>
                  <a:lnTo>
                    <a:pt x="158" y="10834"/>
                  </a:lnTo>
                  <a:lnTo>
                    <a:pt x="198" y="10923"/>
                  </a:lnTo>
                  <a:lnTo>
                    <a:pt x="242" y="11010"/>
                  </a:lnTo>
                  <a:lnTo>
                    <a:pt x="292" y="11094"/>
                  </a:lnTo>
                  <a:lnTo>
                    <a:pt x="344" y="11175"/>
                  </a:lnTo>
                  <a:lnTo>
                    <a:pt x="399" y="11255"/>
                  </a:lnTo>
                  <a:lnTo>
                    <a:pt x="460" y="11330"/>
                  </a:lnTo>
                  <a:lnTo>
                    <a:pt x="523" y="11404"/>
                  </a:lnTo>
                  <a:lnTo>
                    <a:pt x="589" y="11473"/>
                  </a:lnTo>
                  <a:lnTo>
                    <a:pt x="659" y="11539"/>
                  </a:lnTo>
                  <a:lnTo>
                    <a:pt x="732" y="11603"/>
                  </a:lnTo>
                  <a:lnTo>
                    <a:pt x="808" y="11663"/>
                  </a:lnTo>
                  <a:lnTo>
                    <a:pt x="887" y="11718"/>
                  </a:lnTo>
                  <a:lnTo>
                    <a:pt x="969" y="11771"/>
                  </a:lnTo>
                  <a:lnTo>
                    <a:pt x="1053" y="11820"/>
                  </a:lnTo>
                  <a:lnTo>
                    <a:pt x="1140" y="11864"/>
                  </a:lnTo>
                  <a:lnTo>
                    <a:pt x="1228" y="11904"/>
                  </a:lnTo>
                  <a:lnTo>
                    <a:pt x="1320" y="11940"/>
                  </a:lnTo>
                  <a:lnTo>
                    <a:pt x="1413" y="11972"/>
                  </a:lnTo>
                  <a:lnTo>
                    <a:pt x="1509" y="11999"/>
                  </a:lnTo>
                  <a:lnTo>
                    <a:pt x="1606" y="12021"/>
                  </a:lnTo>
                  <a:lnTo>
                    <a:pt x="1705" y="12039"/>
                  </a:lnTo>
                  <a:lnTo>
                    <a:pt x="1806" y="12052"/>
                  </a:lnTo>
                  <a:lnTo>
                    <a:pt x="1908" y="12059"/>
                  </a:lnTo>
                  <a:lnTo>
                    <a:pt x="2012" y="12062"/>
                  </a:lnTo>
                  <a:lnTo>
                    <a:pt x="11568" y="12062"/>
                  </a:lnTo>
                  <a:lnTo>
                    <a:pt x="11633" y="12061"/>
                  </a:lnTo>
                  <a:lnTo>
                    <a:pt x="11698" y="12058"/>
                  </a:lnTo>
                  <a:lnTo>
                    <a:pt x="11761" y="12053"/>
                  </a:lnTo>
                  <a:lnTo>
                    <a:pt x="11826" y="12046"/>
                  </a:lnTo>
                  <a:lnTo>
                    <a:pt x="11889" y="12036"/>
                  </a:lnTo>
                  <a:lnTo>
                    <a:pt x="11952" y="12025"/>
                  </a:lnTo>
                  <a:lnTo>
                    <a:pt x="12014" y="12012"/>
                  </a:lnTo>
                  <a:lnTo>
                    <a:pt x="12076" y="11997"/>
                  </a:lnTo>
                  <a:lnTo>
                    <a:pt x="12137" y="11981"/>
                  </a:lnTo>
                  <a:lnTo>
                    <a:pt x="12197" y="11961"/>
                  </a:lnTo>
                  <a:lnTo>
                    <a:pt x="12257" y="11940"/>
                  </a:lnTo>
                  <a:lnTo>
                    <a:pt x="12316" y="11918"/>
                  </a:lnTo>
                  <a:lnTo>
                    <a:pt x="12374" y="11893"/>
                  </a:lnTo>
                  <a:lnTo>
                    <a:pt x="12431" y="11868"/>
                  </a:lnTo>
                  <a:lnTo>
                    <a:pt x="12488" y="11840"/>
                  </a:lnTo>
                  <a:lnTo>
                    <a:pt x="12543" y="11810"/>
                  </a:lnTo>
                  <a:lnTo>
                    <a:pt x="12598" y="11779"/>
                  </a:lnTo>
                  <a:lnTo>
                    <a:pt x="12652" y="11745"/>
                  </a:lnTo>
                  <a:lnTo>
                    <a:pt x="12704" y="11711"/>
                  </a:lnTo>
                  <a:lnTo>
                    <a:pt x="12755" y="11674"/>
                  </a:lnTo>
                  <a:lnTo>
                    <a:pt x="12807" y="11637"/>
                  </a:lnTo>
                  <a:lnTo>
                    <a:pt x="12855" y="11597"/>
                  </a:lnTo>
                  <a:lnTo>
                    <a:pt x="12903" y="11555"/>
                  </a:lnTo>
                  <a:lnTo>
                    <a:pt x="12950" y="11513"/>
                  </a:lnTo>
                  <a:lnTo>
                    <a:pt x="12996" y="11469"/>
                  </a:lnTo>
                  <a:lnTo>
                    <a:pt x="13040" y="11423"/>
                  </a:lnTo>
                  <a:lnTo>
                    <a:pt x="13082" y="11375"/>
                  </a:lnTo>
                  <a:lnTo>
                    <a:pt x="13123" y="11327"/>
                  </a:lnTo>
                  <a:lnTo>
                    <a:pt x="13164" y="11277"/>
                  </a:lnTo>
                  <a:lnTo>
                    <a:pt x="13202" y="11225"/>
                  </a:lnTo>
                  <a:lnTo>
                    <a:pt x="13239" y="11172"/>
                  </a:lnTo>
                  <a:lnTo>
                    <a:pt x="13274" y="11117"/>
                  </a:lnTo>
                  <a:lnTo>
                    <a:pt x="15788" y="7097"/>
                  </a:lnTo>
                  <a:lnTo>
                    <a:pt x="15825" y="7035"/>
                  </a:lnTo>
                  <a:lnTo>
                    <a:pt x="15861" y="6973"/>
                  </a:lnTo>
                  <a:lnTo>
                    <a:pt x="15893" y="6910"/>
                  </a:lnTo>
                  <a:lnTo>
                    <a:pt x="15923" y="6845"/>
                  </a:lnTo>
                  <a:lnTo>
                    <a:pt x="15950" y="6780"/>
                  </a:lnTo>
                  <a:lnTo>
                    <a:pt x="15975" y="6715"/>
                  </a:lnTo>
                  <a:lnTo>
                    <a:pt x="15998" y="6647"/>
                  </a:lnTo>
                  <a:lnTo>
                    <a:pt x="16019" y="6581"/>
                  </a:lnTo>
                  <a:lnTo>
                    <a:pt x="16037" y="6513"/>
                  </a:lnTo>
                  <a:lnTo>
                    <a:pt x="16052" y="6445"/>
                  </a:lnTo>
                  <a:lnTo>
                    <a:pt x="16065" y="6377"/>
                  </a:lnTo>
                  <a:lnTo>
                    <a:pt x="16076" y="6308"/>
                  </a:lnTo>
                  <a:lnTo>
                    <a:pt x="16084" y="6239"/>
                  </a:lnTo>
                  <a:lnTo>
                    <a:pt x="16090" y="6170"/>
                  </a:lnTo>
                  <a:lnTo>
                    <a:pt x="16094" y="6100"/>
                  </a:lnTo>
                  <a:lnTo>
                    <a:pt x="16095" y="6031"/>
                  </a:lnTo>
                  <a:lnTo>
                    <a:pt x="16094" y="5962"/>
                  </a:lnTo>
                  <a:lnTo>
                    <a:pt x="16090" y="5892"/>
                  </a:lnTo>
                  <a:lnTo>
                    <a:pt x="16084" y="5824"/>
                  </a:lnTo>
                  <a:lnTo>
                    <a:pt x="16076" y="5755"/>
                  </a:lnTo>
                  <a:lnTo>
                    <a:pt x="16065" y="5686"/>
                  </a:lnTo>
                  <a:lnTo>
                    <a:pt x="16052" y="5618"/>
                  </a:lnTo>
                  <a:lnTo>
                    <a:pt x="16037" y="5550"/>
                  </a:lnTo>
                  <a:lnTo>
                    <a:pt x="16019" y="5482"/>
                  </a:lnTo>
                  <a:lnTo>
                    <a:pt x="15998" y="5415"/>
                  </a:lnTo>
                  <a:lnTo>
                    <a:pt x="15975" y="5348"/>
                  </a:lnTo>
                  <a:lnTo>
                    <a:pt x="15950" y="5282"/>
                  </a:lnTo>
                  <a:lnTo>
                    <a:pt x="15923" y="5218"/>
                  </a:lnTo>
                  <a:lnTo>
                    <a:pt x="15893" y="5153"/>
                  </a:lnTo>
                  <a:lnTo>
                    <a:pt x="15861" y="5090"/>
                  </a:lnTo>
                  <a:lnTo>
                    <a:pt x="15825" y="5027"/>
                  </a:lnTo>
                  <a:lnTo>
                    <a:pt x="15788" y="49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4" name="íś1ïďé">
              <a:extLst>
                <a:ext uri="{FF2B5EF4-FFF2-40B4-BE49-F238E27FC236}">
                  <a16:creationId xmlns:a16="http://schemas.microsoft.com/office/drawing/2014/main" id="{1EEEF6C2-2CCB-4C51-A3BC-73F10E181E11}"/>
                </a:ext>
              </a:extLst>
            </p:cNvPr>
            <p:cNvSpPr/>
            <p:nvPr/>
          </p:nvSpPr>
          <p:spPr bwMode="auto">
            <a:xfrm>
              <a:off x="2015676" y="848576"/>
              <a:ext cx="96258" cy="97447"/>
            </a:xfrm>
            <a:custGeom>
              <a:avLst/>
              <a:gdLst>
                <a:gd name="T0" fmla="*/ 1306 w 3018"/>
                <a:gd name="T1" fmla="*/ 2493 h 3016"/>
                <a:gd name="T2" fmla="*/ 1073 w 3018"/>
                <a:gd name="T3" fmla="*/ 2415 h 3016"/>
                <a:gd name="T4" fmla="*/ 870 w 3018"/>
                <a:gd name="T5" fmla="*/ 2284 h 3016"/>
                <a:gd name="T6" fmla="*/ 704 w 3018"/>
                <a:gd name="T7" fmla="*/ 2109 h 3016"/>
                <a:gd name="T8" fmla="*/ 582 w 3018"/>
                <a:gd name="T9" fmla="*/ 1899 h 3016"/>
                <a:gd name="T10" fmla="*/ 514 w 3018"/>
                <a:gd name="T11" fmla="*/ 1661 h 3016"/>
                <a:gd name="T12" fmla="*/ 508 w 3018"/>
                <a:gd name="T13" fmla="*/ 1405 h 3016"/>
                <a:gd name="T14" fmla="*/ 565 w 3018"/>
                <a:gd name="T15" fmla="*/ 1162 h 3016"/>
                <a:gd name="T16" fmla="*/ 675 w 3018"/>
                <a:gd name="T17" fmla="*/ 946 h 3016"/>
                <a:gd name="T18" fmla="*/ 833 w 3018"/>
                <a:gd name="T19" fmla="*/ 764 h 3016"/>
                <a:gd name="T20" fmla="*/ 1029 w 3018"/>
                <a:gd name="T21" fmla="*/ 624 h 3016"/>
                <a:gd name="T22" fmla="*/ 1258 w 3018"/>
                <a:gd name="T23" fmla="*/ 535 h 3016"/>
                <a:gd name="T24" fmla="*/ 1509 w 3018"/>
                <a:gd name="T25" fmla="*/ 503 h 3016"/>
                <a:gd name="T26" fmla="*/ 1761 w 3018"/>
                <a:gd name="T27" fmla="*/ 535 h 3016"/>
                <a:gd name="T28" fmla="*/ 1988 w 3018"/>
                <a:gd name="T29" fmla="*/ 624 h 3016"/>
                <a:gd name="T30" fmla="*/ 2185 w 3018"/>
                <a:gd name="T31" fmla="*/ 764 h 3016"/>
                <a:gd name="T32" fmla="*/ 2343 w 3018"/>
                <a:gd name="T33" fmla="*/ 946 h 3016"/>
                <a:gd name="T34" fmla="*/ 2454 w 3018"/>
                <a:gd name="T35" fmla="*/ 1162 h 3016"/>
                <a:gd name="T36" fmla="*/ 2510 w 3018"/>
                <a:gd name="T37" fmla="*/ 1405 h 3016"/>
                <a:gd name="T38" fmla="*/ 2503 w 3018"/>
                <a:gd name="T39" fmla="*/ 1661 h 3016"/>
                <a:gd name="T40" fmla="*/ 2436 w 3018"/>
                <a:gd name="T41" fmla="*/ 1899 h 3016"/>
                <a:gd name="T42" fmla="*/ 2315 w 3018"/>
                <a:gd name="T43" fmla="*/ 2109 h 3016"/>
                <a:gd name="T44" fmla="*/ 2149 w 3018"/>
                <a:gd name="T45" fmla="*/ 2284 h 3016"/>
                <a:gd name="T46" fmla="*/ 1945 w 3018"/>
                <a:gd name="T47" fmla="*/ 2415 h 3016"/>
                <a:gd name="T48" fmla="*/ 1711 w 3018"/>
                <a:gd name="T49" fmla="*/ 2493 h 3016"/>
                <a:gd name="T50" fmla="*/ 1509 w 3018"/>
                <a:gd name="T51" fmla="*/ 0 h 3016"/>
                <a:gd name="T52" fmla="*/ 1132 w 3018"/>
                <a:gd name="T53" fmla="*/ 47 h 3016"/>
                <a:gd name="T54" fmla="*/ 790 w 3018"/>
                <a:gd name="T55" fmla="*/ 182 h 3016"/>
                <a:gd name="T56" fmla="*/ 494 w 3018"/>
                <a:gd name="T57" fmla="*/ 392 h 3016"/>
                <a:gd name="T58" fmla="*/ 258 w 3018"/>
                <a:gd name="T59" fmla="*/ 666 h 3016"/>
                <a:gd name="T60" fmla="*/ 92 w 3018"/>
                <a:gd name="T61" fmla="*/ 989 h 3016"/>
                <a:gd name="T62" fmla="*/ 7 w 3018"/>
                <a:gd name="T63" fmla="*/ 1354 h 3016"/>
                <a:gd name="T64" fmla="*/ 17 w 3018"/>
                <a:gd name="T65" fmla="*/ 1738 h 3016"/>
                <a:gd name="T66" fmla="*/ 119 w 3018"/>
                <a:gd name="T67" fmla="*/ 2095 h 3016"/>
                <a:gd name="T68" fmla="*/ 300 w 3018"/>
                <a:gd name="T69" fmla="*/ 2411 h 3016"/>
                <a:gd name="T70" fmla="*/ 550 w 3018"/>
                <a:gd name="T71" fmla="*/ 2672 h 3016"/>
                <a:gd name="T72" fmla="*/ 854 w 3018"/>
                <a:gd name="T73" fmla="*/ 2867 h 3016"/>
                <a:gd name="T74" fmla="*/ 1204 w 3018"/>
                <a:gd name="T75" fmla="*/ 2986 h 3016"/>
                <a:gd name="T76" fmla="*/ 1587 w 3018"/>
                <a:gd name="T77" fmla="*/ 3014 h 3016"/>
                <a:gd name="T78" fmla="*/ 1958 w 3018"/>
                <a:gd name="T79" fmla="*/ 2948 h 3016"/>
                <a:gd name="T80" fmla="*/ 2292 w 3018"/>
                <a:gd name="T81" fmla="*/ 2798 h 3016"/>
                <a:gd name="T82" fmla="*/ 2577 w 3018"/>
                <a:gd name="T83" fmla="*/ 2574 h 3016"/>
                <a:gd name="T84" fmla="*/ 2800 w 3018"/>
                <a:gd name="T85" fmla="*/ 2290 h 3016"/>
                <a:gd name="T86" fmla="*/ 2950 w 3018"/>
                <a:gd name="T87" fmla="*/ 1956 h 3016"/>
                <a:gd name="T88" fmla="*/ 3016 w 3018"/>
                <a:gd name="T89" fmla="*/ 1585 h 3016"/>
                <a:gd name="T90" fmla="*/ 2987 w 3018"/>
                <a:gd name="T91" fmla="*/ 1204 h 3016"/>
                <a:gd name="T92" fmla="*/ 2869 w 3018"/>
                <a:gd name="T93" fmla="*/ 855 h 3016"/>
                <a:gd name="T94" fmla="*/ 2673 w 3018"/>
                <a:gd name="T95" fmla="*/ 549 h 3016"/>
                <a:gd name="T96" fmla="*/ 2412 w 3018"/>
                <a:gd name="T97" fmla="*/ 300 h 3016"/>
                <a:gd name="T98" fmla="*/ 2097 w 3018"/>
                <a:gd name="T99" fmla="*/ 119 h 3016"/>
                <a:gd name="T100" fmla="*/ 1739 w 3018"/>
                <a:gd name="T101" fmla="*/ 18 h 3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018" h="3016">
                  <a:moveTo>
                    <a:pt x="1509" y="2513"/>
                  </a:moveTo>
                  <a:lnTo>
                    <a:pt x="1457" y="2512"/>
                  </a:lnTo>
                  <a:lnTo>
                    <a:pt x="1407" y="2508"/>
                  </a:lnTo>
                  <a:lnTo>
                    <a:pt x="1356" y="2502"/>
                  </a:lnTo>
                  <a:lnTo>
                    <a:pt x="1306" y="2493"/>
                  </a:lnTo>
                  <a:lnTo>
                    <a:pt x="1258" y="2482"/>
                  </a:lnTo>
                  <a:lnTo>
                    <a:pt x="1211" y="2468"/>
                  </a:lnTo>
                  <a:lnTo>
                    <a:pt x="1163" y="2452"/>
                  </a:lnTo>
                  <a:lnTo>
                    <a:pt x="1118" y="2435"/>
                  </a:lnTo>
                  <a:lnTo>
                    <a:pt x="1073" y="2415"/>
                  </a:lnTo>
                  <a:lnTo>
                    <a:pt x="1029" y="2392"/>
                  </a:lnTo>
                  <a:lnTo>
                    <a:pt x="987" y="2367"/>
                  </a:lnTo>
                  <a:lnTo>
                    <a:pt x="947" y="2341"/>
                  </a:lnTo>
                  <a:lnTo>
                    <a:pt x="908" y="2313"/>
                  </a:lnTo>
                  <a:lnTo>
                    <a:pt x="870" y="2284"/>
                  </a:lnTo>
                  <a:lnTo>
                    <a:pt x="833" y="2252"/>
                  </a:lnTo>
                  <a:lnTo>
                    <a:pt x="798" y="2219"/>
                  </a:lnTo>
                  <a:lnTo>
                    <a:pt x="765" y="2183"/>
                  </a:lnTo>
                  <a:lnTo>
                    <a:pt x="733" y="2147"/>
                  </a:lnTo>
                  <a:lnTo>
                    <a:pt x="704" y="2109"/>
                  </a:lnTo>
                  <a:lnTo>
                    <a:pt x="675" y="2070"/>
                  </a:lnTo>
                  <a:lnTo>
                    <a:pt x="649" y="2030"/>
                  </a:lnTo>
                  <a:lnTo>
                    <a:pt x="625" y="1987"/>
                  </a:lnTo>
                  <a:lnTo>
                    <a:pt x="603" y="1944"/>
                  </a:lnTo>
                  <a:lnTo>
                    <a:pt x="582" y="1899"/>
                  </a:lnTo>
                  <a:lnTo>
                    <a:pt x="565" y="1854"/>
                  </a:lnTo>
                  <a:lnTo>
                    <a:pt x="549" y="1808"/>
                  </a:lnTo>
                  <a:lnTo>
                    <a:pt x="535" y="1759"/>
                  </a:lnTo>
                  <a:lnTo>
                    <a:pt x="523" y="1711"/>
                  </a:lnTo>
                  <a:lnTo>
                    <a:pt x="514" y="1661"/>
                  </a:lnTo>
                  <a:lnTo>
                    <a:pt x="508" y="1611"/>
                  </a:lnTo>
                  <a:lnTo>
                    <a:pt x="504" y="1560"/>
                  </a:lnTo>
                  <a:lnTo>
                    <a:pt x="503" y="1508"/>
                  </a:lnTo>
                  <a:lnTo>
                    <a:pt x="504" y="1457"/>
                  </a:lnTo>
                  <a:lnTo>
                    <a:pt x="508" y="1405"/>
                  </a:lnTo>
                  <a:lnTo>
                    <a:pt x="514" y="1355"/>
                  </a:lnTo>
                  <a:lnTo>
                    <a:pt x="523" y="1306"/>
                  </a:lnTo>
                  <a:lnTo>
                    <a:pt x="535" y="1257"/>
                  </a:lnTo>
                  <a:lnTo>
                    <a:pt x="549" y="1209"/>
                  </a:lnTo>
                  <a:lnTo>
                    <a:pt x="565" y="1162"/>
                  </a:lnTo>
                  <a:lnTo>
                    <a:pt x="582" y="1117"/>
                  </a:lnTo>
                  <a:lnTo>
                    <a:pt x="603" y="1073"/>
                  </a:lnTo>
                  <a:lnTo>
                    <a:pt x="625" y="1030"/>
                  </a:lnTo>
                  <a:lnTo>
                    <a:pt x="649" y="987"/>
                  </a:lnTo>
                  <a:lnTo>
                    <a:pt x="675" y="946"/>
                  </a:lnTo>
                  <a:lnTo>
                    <a:pt x="704" y="907"/>
                  </a:lnTo>
                  <a:lnTo>
                    <a:pt x="733" y="869"/>
                  </a:lnTo>
                  <a:lnTo>
                    <a:pt x="765" y="833"/>
                  </a:lnTo>
                  <a:lnTo>
                    <a:pt x="798" y="797"/>
                  </a:lnTo>
                  <a:lnTo>
                    <a:pt x="833" y="764"/>
                  </a:lnTo>
                  <a:lnTo>
                    <a:pt x="870" y="733"/>
                  </a:lnTo>
                  <a:lnTo>
                    <a:pt x="908" y="703"/>
                  </a:lnTo>
                  <a:lnTo>
                    <a:pt x="947" y="675"/>
                  </a:lnTo>
                  <a:lnTo>
                    <a:pt x="987" y="649"/>
                  </a:lnTo>
                  <a:lnTo>
                    <a:pt x="1029" y="624"/>
                  </a:lnTo>
                  <a:lnTo>
                    <a:pt x="1073" y="602"/>
                  </a:lnTo>
                  <a:lnTo>
                    <a:pt x="1118" y="582"/>
                  </a:lnTo>
                  <a:lnTo>
                    <a:pt x="1163" y="564"/>
                  </a:lnTo>
                  <a:lnTo>
                    <a:pt x="1211" y="548"/>
                  </a:lnTo>
                  <a:lnTo>
                    <a:pt x="1258" y="535"/>
                  </a:lnTo>
                  <a:lnTo>
                    <a:pt x="1306" y="524"/>
                  </a:lnTo>
                  <a:lnTo>
                    <a:pt x="1356" y="515"/>
                  </a:lnTo>
                  <a:lnTo>
                    <a:pt x="1407" y="508"/>
                  </a:lnTo>
                  <a:lnTo>
                    <a:pt x="1457" y="505"/>
                  </a:lnTo>
                  <a:lnTo>
                    <a:pt x="1509" y="503"/>
                  </a:lnTo>
                  <a:lnTo>
                    <a:pt x="1561" y="505"/>
                  </a:lnTo>
                  <a:lnTo>
                    <a:pt x="1612" y="508"/>
                  </a:lnTo>
                  <a:lnTo>
                    <a:pt x="1662" y="515"/>
                  </a:lnTo>
                  <a:lnTo>
                    <a:pt x="1711" y="524"/>
                  </a:lnTo>
                  <a:lnTo>
                    <a:pt x="1761" y="535"/>
                  </a:lnTo>
                  <a:lnTo>
                    <a:pt x="1808" y="548"/>
                  </a:lnTo>
                  <a:lnTo>
                    <a:pt x="1855" y="564"/>
                  </a:lnTo>
                  <a:lnTo>
                    <a:pt x="1901" y="582"/>
                  </a:lnTo>
                  <a:lnTo>
                    <a:pt x="1945" y="602"/>
                  </a:lnTo>
                  <a:lnTo>
                    <a:pt x="1988" y="624"/>
                  </a:lnTo>
                  <a:lnTo>
                    <a:pt x="2030" y="649"/>
                  </a:lnTo>
                  <a:lnTo>
                    <a:pt x="2072" y="675"/>
                  </a:lnTo>
                  <a:lnTo>
                    <a:pt x="2111" y="703"/>
                  </a:lnTo>
                  <a:lnTo>
                    <a:pt x="2149" y="733"/>
                  </a:lnTo>
                  <a:lnTo>
                    <a:pt x="2185" y="764"/>
                  </a:lnTo>
                  <a:lnTo>
                    <a:pt x="2220" y="797"/>
                  </a:lnTo>
                  <a:lnTo>
                    <a:pt x="2254" y="833"/>
                  </a:lnTo>
                  <a:lnTo>
                    <a:pt x="2285" y="869"/>
                  </a:lnTo>
                  <a:lnTo>
                    <a:pt x="2315" y="907"/>
                  </a:lnTo>
                  <a:lnTo>
                    <a:pt x="2343" y="946"/>
                  </a:lnTo>
                  <a:lnTo>
                    <a:pt x="2369" y="987"/>
                  </a:lnTo>
                  <a:lnTo>
                    <a:pt x="2394" y="1030"/>
                  </a:lnTo>
                  <a:lnTo>
                    <a:pt x="2416" y="1073"/>
                  </a:lnTo>
                  <a:lnTo>
                    <a:pt x="2436" y="1117"/>
                  </a:lnTo>
                  <a:lnTo>
                    <a:pt x="2454" y="1162"/>
                  </a:lnTo>
                  <a:lnTo>
                    <a:pt x="2470" y="1209"/>
                  </a:lnTo>
                  <a:lnTo>
                    <a:pt x="2483" y="1257"/>
                  </a:lnTo>
                  <a:lnTo>
                    <a:pt x="2494" y="1306"/>
                  </a:lnTo>
                  <a:lnTo>
                    <a:pt x="2503" y="1355"/>
                  </a:lnTo>
                  <a:lnTo>
                    <a:pt x="2510" y="1405"/>
                  </a:lnTo>
                  <a:lnTo>
                    <a:pt x="2513" y="1457"/>
                  </a:lnTo>
                  <a:lnTo>
                    <a:pt x="2515" y="1508"/>
                  </a:lnTo>
                  <a:lnTo>
                    <a:pt x="2513" y="1560"/>
                  </a:lnTo>
                  <a:lnTo>
                    <a:pt x="2510" y="1611"/>
                  </a:lnTo>
                  <a:lnTo>
                    <a:pt x="2503" y="1661"/>
                  </a:lnTo>
                  <a:lnTo>
                    <a:pt x="2494" y="1711"/>
                  </a:lnTo>
                  <a:lnTo>
                    <a:pt x="2483" y="1759"/>
                  </a:lnTo>
                  <a:lnTo>
                    <a:pt x="2470" y="1808"/>
                  </a:lnTo>
                  <a:lnTo>
                    <a:pt x="2454" y="1854"/>
                  </a:lnTo>
                  <a:lnTo>
                    <a:pt x="2436" y="1899"/>
                  </a:lnTo>
                  <a:lnTo>
                    <a:pt x="2416" y="1944"/>
                  </a:lnTo>
                  <a:lnTo>
                    <a:pt x="2394" y="1987"/>
                  </a:lnTo>
                  <a:lnTo>
                    <a:pt x="2369" y="2030"/>
                  </a:lnTo>
                  <a:lnTo>
                    <a:pt x="2343" y="2070"/>
                  </a:lnTo>
                  <a:lnTo>
                    <a:pt x="2315" y="2109"/>
                  </a:lnTo>
                  <a:lnTo>
                    <a:pt x="2285" y="2147"/>
                  </a:lnTo>
                  <a:lnTo>
                    <a:pt x="2254" y="2183"/>
                  </a:lnTo>
                  <a:lnTo>
                    <a:pt x="2220" y="2219"/>
                  </a:lnTo>
                  <a:lnTo>
                    <a:pt x="2185" y="2252"/>
                  </a:lnTo>
                  <a:lnTo>
                    <a:pt x="2149" y="2284"/>
                  </a:lnTo>
                  <a:lnTo>
                    <a:pt x="2111" y="2313"/>
                  </a:lnTo>
                  <a:lnTo>
                    <a:pt x="2072" y="2341"/>
                  </a:lnTo>
                  <a:lnTo>
                    <a:pt x="2030" y="2367"/>
                  </a:lnTo>
                  <a:lnTo>
                    <a:pt x="1988" y="2392"/>
                  </a:lnTo>
                  <a:lnTo>
                    <a:pt x="1945" y="2415"/>
                  </a:lnTo>
                  <a:lnTo>
                    <a:pt x="1901" y="2435"/>
                  </a:lnTo>
                  <a:lnTo>
                    <a:pt x="1855" y="2452"/>
                  </a:lnTo>
                  <a:lnTo>
                    <a:pt x="1808" y="2468"/>
                  </a:lnTo>
                  <a:lnTo>
                    <a:pt x="1761" y="2482"/>
                  </a:lnTo>
                  <a:lnTo>
                    <a:pt x="1711" y="2493"/>
                  </a:lnTo>
                  <a:lnTo>
                    <a:pt x="1662" y="2502"/>
                  </a:lnTo>
                  <a:lnTo>
                    <a:pt x="1612" y="2508"/>
                  </a:lnTo>
                  <a:lnTo>
                    <a:pt x="1561" y="2512"/>
                  </a:lnTo>
                  <a:lnTo>
                    <a:pt x="1509" y="2513"/>
                  </a:lnTo>
                  <a:close/>
                  <a:moveTo>
                    <a:pt x="1509" y="0"/>
                  </a:moveTo>
                  <a:lnTo>
                    <a:pt x="1432" y="2"/>
                  </a:lnTo>
                  <a:lnTo>
                    <a:pt x="1354" y="8"/>
                  </a:lnTo>
                  <a:lnTo>
                    <a:pt x="1279" y="18"/>
                  </a:lnTo>
                  <a:lnTo>
                    <a:pt x="1204" y="31"/>
                  </a:lnTo>
                  <a:lnTo>
                    <a:pt x="1132" y="47"/>
                  </a:lnTo>
                  <a:lnTo>
                    <a:pt x="1061" y="69"/>
                  </a:lnTo>
                  <a:lnTo>
                    <a:pt x="990" y="92"/>
                  </a:lnTo>
                  <a:lnTo>
                    <a:pt x="922" y="119"/>
                  </a:lnTo>
                  <a:lnTo>
                    <a:pt x="854" y="149"/>
                  </a:lnTo>
                  <a:lnTo>
                    <a:pt x="790" y="182"/>
                  </a:lnTo>
                  <a:lnTo>
                    <a:pt x="727" y="218"/>
                  </a:lnTo>
                  <a:lnTo>
                    <a:pt x="665" y="258"/>
                  </a:lnTo>
                  <a:lnTo>
                    <a:pt x="606" y="300"/>
                  </a:lnTo>
                  <a:lnTo>
                    <a:pt x="550" y="345"/>
                  </a:lnTo>
                  <a:lnTo>
                    <a:pt x="494" y="392"/>
                  </a:lnTo>
                  <a:lnTo>
                    <a:pt x="442" y="443"/>
                  </a:lnTo>
                  <a:lnTo>
                    <a:pt x="392" y="495"/>
                  </a:lnTo>
                  <a:lnTo>
                    <a:pt x="344" y="549"/>
                  </a:lnTo>
                  <a:lnTo>
                    <a:pt x="300" y="606"/>
                  </a:lnTo>
                  <a:lnTo>
                    <a:pt x="258" y="666"/>
                  </a:lnTo>
                  <a:lnTo>
                    <a:pt x="219" y="726"/>
                  </a:lnTo>
                  <a:lnTo>
                    <a:pt x="182" y="789"/>
                  </a:lnTo>
                  <a:lnTo>
                    <a:pt x="149" y="855"/>
                  </a:lnTo>
                  <a:lnTo>
                    <a:pt x="119" y="921"/>
                  </a:lnTo>
                  <a:lnTo>
                    <a:pt x="92" y="989"/>
                  </a:lnTo>
                  <a:lnTo>
                    <a:pt x="68" y="1060"/>
                  </a:lnTo>
                  <a:lnTo>
                    <a:pt x="48" y="1131"/>
                  </a:lnTo>
                  <a:lnTo>
                    <a:pt x="31" y="1204"/>
                  </a:lnTo>
                  <a:lnTo>
                    <a:pt x="17" y="1279"/>
                  </a:lnTo>
                  <a:lnTo>
                    <a:pt x="7" y="1354"/>
                  </a:lnTo>
                  <a:lnTo>
                    <a:pt x="2" y="1431"/>
                  </a:lnTo>
                  <a:lnTo>
                    <a:pt x="0" y="1508"/>
                  </a:lnTo>
                  <a:lnTo>
                    <a:pt x="2" y="1585"/>
                  </a:lnTo>
                  <a:lnTo>
                    <a:pt x="7" y="1663"/>
                  </a:lnTo>
                  <a:lnTo>
                    <a:pt x="17" y="1738"/>
                  </a:lnTo>
                  <a:lnTo>
                    <a:pt x="31" y="1813"/>
                  </a:lnTo>
                  <a:lnTo>
                    <a:pt x="48" y="1885"/>
                  </a:lnTo>
                  <a:lnTo>
                    <a:pt x="68" y="1956"/>
                  </a:lnTo>
                  <a:lnTo>
                    <a:pt x="92" y="2027"/>
                  </a:lnTo>
                  <a:lnTo>
                    <a:pt x="119" y="2095"/>
                  </a:lnTo>
                  <a:lnTo>
                    <a:pt x="149" y="2162"/>
                  </a:lnTo>
                  <a:lnTo>
                    <a:pt x="182" y="2227"/>
                  </a:lnTo>
                  <a:lnTo>
                    <a:pt x="219" y="2290"/>
                  </a:lnTo>
                  <a:lnTo>
                    <a:pt x="258" y="2351"/>
                  </a:lnTo>
                  <a:lnTo>
                    <a:pt x="300" y="2411"/>
                  </a:lnTo>
                  <a:lnTo>
                    <a:pt x="344" y="2467"/>
                  </a:lnTo>
                  <a:lnTo>
                    <a:pt x="392" y="2522"/>
                  </a:lnTo>
                  <a:lnTo>
                    <a:pt x="442" y="2574"/>
                  </a:lnTo>
                  <a:lnTo>
                    <a:pt x="494" y="2624"/>
                  </a:lnTo>
                  <a:lnTo>
                    <a:pt x="550" y="2672"/>
                  </a:lnTo>
                  <a:lnTo>
                    <a:pt x="606" y="2716"/>
                  </a:lnTo>
                  <a:lnTo>
                    <a:pt x="665" y="2758"/>
                  </a:lnTo>
                  <a:lnTo>
                    <a:pt x="727" y="2798"/>
                  </a:lnTo>
                  <a:lnTo>
                    <a:pt x="790" y="2834"/>
                  </a:lnTo>
                  <a:lnTo>
                    <a:pt x="854" y="2867"/>
                  </a:lnTo>
                  <a:lnTo>
                    <a:pt x="922" y="2897"/>
                  </a:lnTo>
                  <a:lnTo>
                    <a:pt x="990" y="2924"/>
                  </a:lnTo>
                  <a:lnTo>
                    <a:pt x="1061" y="2948"/>
                  </a:lnTo>
                  <a:lnTo>
                    <a:pt x="1132" y="2969"/>
                  </a:lnTo>
                  <a:lnTo>
                    <a:pt x="1204" y="2986"/>
                  </a:lnTo>
                  <a:lnTo>
                    <a:pt x="1279" y="2999"/>
                  </a:lnTo>
                  <a:lnTo>
                    <a:pt x="1354" y="3008"/>
                  </a:lnTo>
                  <a:lnTo>
                    <a:pt x="1432" y="3014"/>
                  </a:lnTo>
                  <a:lnTo>
                    <a:pt x="1509" y="3016"/>
                  </a:lnTo>
                  <a:lnTo>
                    <a:pt x="1587" y="3014"/>
                  </a:lnTo>
                  <a:lnTo>
                    <a:pt x="1663" y="3008"/>
                  </a:lnTo>
                  <a:lnTo>
                    <a:pt x="1739" y="2999"/>
                  </a:lnTo>
                  <a:lnTo>
                    <a:pt x="1813" y="2986"/>
                  </a:lnTo>
                  <a:lnTo>
                    <a:pt x="1887" y="2969"/>
                  </a:lnTo>
                  <a:lnTo>
                    <a:pt x="1958" y="2948"/>
                  </a:lnTo>
                  <a:lnTo>
                    <a:pt x="2028" y="2924"/>
                  </a:lnTo>
                  <a:lnTo>
                    <a:pt x="2097" y="2897"/>
                  </a:lnTo>
                  <a:lnTo>
                    <a:pt x="2163" y="2867"/>
                  </a:lnTo>
                  <a:lnTo>
                    <a:pt x="2229" y="2834"/>
                  </a:lnTo>
                  <a:lnTo>
                    <a:pt x="2292" y="2798"/>
                  </a:lnTo>
                  <a:lnTo>
                    <a:pt x="2353" y="2758"/>
                  </a:lnTo>
                  <a:lnTo>
                    <a:pt x="2412" y="2716"/>
                  </a:lnTo>
                  <a:lnTo>
                    <a:pt x="2469" y="2672"/>
                  </a:lnTo>
                  <a:lnTo>
                    <a:pt x="2523" y="2624"/>
                  </a:lnTo>
                  <a:lnTo>
                    <a:pt x="2577" y="2574"/>
                  </a:lnTo>
                  <a:lnTo>
                    <a:pt x="2626" y="2522"/>
                  </a:lnTo>
                  <a:lnTo>
                    <a:pt x="2673" y="2467"/>
                  </a:lnTo>
                  <a:lnTo>
                    <a:pt x="2718" y="2411"/>
                  </a:lnTo>
                  <a:lnTo>
                    <a:pt x="2761" y="2351"/>
                  </a:lnTo>
                  <a:lnTo>
                    <a:pt x="2800" y="2290"/>
                  </a:lnTo>
                  <a:lnTo>
                    <a:pt x="2836" y="2227"/>
                  </a:lnTo>
                  <a:lnTo>
                    <a:pt x="2869" y="2162"/>
                  </a:lnTo>
                  <a:lnTo>
                    <a:pt x="2899" y="2095"/>
                  </a:lnTo>
                  <a:lnTo>
                    <a:pt x="2927" y="2027"/>
                  </a:lnTo>
                  <a:lnTo>
                    <a:pt x="2950" y="1956"/>
                  </a:lnTo>
                  <a:lnTo>
                    <a:pt x="2971" y="1885"/>
                  </a:lnTo>
                  <a:lnTo>
                    <a:pt x="2987" y="1813"/>
                  </a:lnTo>
                  <a:lnTo>
                    <a:pt x="3001" y="1738"/>
                  </a:lnTo>
                  <a:lnTo>
                    <a:pt x="3010" y="1663"/>
                  </a:lnTo>
                  <a:lnTo>
                    <a:pt x="3016" y="1585"/>
                  </a:lnTo>
                  <a:lnTo>
                    <a:pt x="3018" y="1508"/>
                  </a:lnTo>
                  <a:lnTo>
                    <a:pt x="3016" y="1431"/>
                  </a:lnTo>
                  <a:lnTo>
                    <a:pt x="3010" y="1354"/>
                  </a:lnTo>
                  <a:lnTo>
                    <a:pt x="3001" y="1279"/>
                  </a:lnTo>
                  <a:lnTo>
                    <a:pt x="2987" y="1204"/>
                  </a:lnTo>
                  <a:lnTo>
                    <a:pt x="2971" y="1131"/>
                  </a:lnTo>
                  <a:lnTo>
                    <a:pt x="2950" y="1060"/>
                  </a:lnTo>
                  <a:lnTo>
                    <a:pt x="2927" y="989"/>
                  </a:lnTo>
                  <a:lnTo>
                    <a:pt x="2899" y="921"/>
                  </a:lnTo>
                  <a:lnTo>
                    <a:pt x="2869" y="855"/>
                  </a:lnTo>
                  <a:lnTo>
                    <a:pt x="2836" y="789"/>
                  </a:lnTo>
                  <a:lnTo>
                    <a:pt x="2800" y="726"/>
                  </a:lnTo>
                  <a:lnTo>
                    <a:pt x="2761" y="666"/>
                  </a:lnTo>
                  <a:lnTo>
                    <a:pt x="2718" y="606"/>
                  </a:lnTo>
                  <a:lnTo>
                    <a:pt x="2673" y="549"/>
                  </a:lnTo>
                  <a:lnTo>
                    <a:pt x="2626" y="495"/>
                  </a:lnTo>
                  <a:lnTo>
                    <a:pt x="2577" y="443"/>
                  </a:lnTo>
                  <a:lnTo>
                    <a:pt x="2523" y="392"/>
                  </a:lnTo>
                  <a:lnTo>
                    <a:pt x="2469" y="345"/>
                  </a:lnTo>
                  <a:lnTo>
                    <a:pt x="2412" y="300"/>
                  </a:lnTo>
                  <a:lnTo>
                    <a:pt x="2353" y="258"/>
                  </a:lnTo>
                  <a:lnTo>
                    <a:pt x="2292" y="218"/>
                  </a:lnTo>
                  <a:lnTo>
                    <a:pt x="2229" y="182"/>
                  </a:lnTo>
                  <a:lnTo>
                    <a:pt x="2163" y="149"/>
                  </a:lnTo>
                  <a:lnTo>
                    <a:pt x="2097" y="119"/>
                  </a:lnTo>
                  <a:lnTo>
                    <a:pt x="2028" y="92"/>
                  </a:lnTo>
                  <a:lnTo>
                    <a:pt x="1958" y="69"/>
                  </a:lnTo>
                  <a:lnTo>
                    <a:pt x="1887" y="47"/>
                  </a:lnTo>
                  <a:lnTo>
                    <a:pt x="1813" y="31"/>
                  </a:lnTo>
                  <a:lnTo>
                    <a:pt x="1739" y="18"/>
                  </a:lnTo>
                  <a:lnTo>
                    <a:pt x="1663" y="8"/>
                  </a:lnTo>
                  <a:lnTo>
                    <a:pt x="1587" y="2"/>
                  </a:lnTo>
                  <a:lnTo>
                    <a:pt x="150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5" name="íS1iḑê">
              <a:extLst>
                <a:ext uri="{FF2B5EF4-FFF2-40B4-BE49-F238E27FC236}">
                  <a16:creationId xmlns:a16="http://schemas.microsoft.com/office/drawing/2014/main" id="{69D9EBFF-A444-4862-A52D-19AC933F5AC5}"/>
                </a:ext>
              </a:extLst>
            </p:cNvPr>
            <p:cNvSpPr/>
            <p:nvPr/>
          </p:nvSpPr>
          <p:spPr bwMode="auto">
            <a:xfrm>
              <a:off x="2443223" y="163016"/>
              <a:ext cx="305965" cy="307374"/>
            </a:xfrm>
            <a:custGeom>
              <a:avLst/>
              <a:gdLst>
                <a:gd name="T0" fmla="*/ 5872 w 8047"/>
                <a:gd name="T1" fmla="*/ 6409 h 8046"/>
                <a:gd name="T2" fmla="*/ 5238 w 8047"/>
                <a:gd name="T3" fmla="*/ 6786 h 8046"/>
                <a:gd name="T4" fmla="*/ 4543 w 8047"/>
                <a:gd name="T5" fmla="*/ 6995 h 8046"/>
                <a:gd name="T6" fmla="*/ 3820 w 8047"/>
                <a:gd name="T7" fmla="*/ 7033 h 8046"/>
                <a:gd name="T8" fmla="*/ 3106 w 8047"/>
                <a:gd name="T9" fmla="*/ 6898 h 8046"/>
                <a:gd name="T10" fmla="*/ 2431 w 8047"/>
                <a:gd name="T11" fmla="*/ 6587 h 8046"/>
                <a:gd name="T12" fmla="*/ 1836 w 8047"/>
                <a:gd name="T13" fmla="*/ 6102 h 8046"/>
                <a:gd name="T14" fmla="*/ 1391 w 8047"/>
                <a:gd name="T15" fmla="*/ 5499 h 8046"/>
                <a:gd name="T16" fmla="*/ 1113 w 8047"/>
                <a:gd name="T17" fmla="*/ 4824 h 8046"/>
                <a:gd name="T18" fmla="*/ 1007 w 8047"/>
                <a:gd name="T19" fmla="*/ 4110 h 8046"/>
                <a:gd name="T20" fmla="*/ 1073 w 8047"/>
                <a:gd name="T21" fmla="*/ 3388 h 8046"/>
                <a:gd name="T22" fmla="*/ 1314 w 8047"/>
                <a:gd name="T23" fmla="*/ 2694 h 8046"/>
                <a:gd name="T24" fmla="*/ 1733 w 8047"/>
                <a:gd name="T25" fmla="*/ 2059 h 8046"/>
                <a:gd name="T26" fmla="*/ 2295 w 8047"/>
                <a:gd name="T27" fmla="*/ 1548 h 8046"/>
                <a:gd name="T28" fmla="*/ 2945 w 8047"/>
                <a:gd name="T29" fmla="*/ 1204 h 8046"/>
                <a:gd name="T30" fmla="*/ 3647 w 8047"/>
                <a:gd name="T31" fmla="*/ 1029 h 8046"/>
                <a:gd name="T32" fmla="*/ 4371 w 8047"/>
                <a:gd name="T33" fmla="*/ 1025 h 8046"/>
                <a:gd name="T34" fmla="*/ 5081 w 8047"/>
                <a:gd name="T35" fmla="*/ 1196 h 8046"/>
                <a:gd name="T36" fmla="*/ 5743 w 8047"/>
                <a:gd name="T37" fmla="*/ 1543 h 8046"/>
                <a:gd name="T38" fmla="*/ 6314 w 8047"/>
                <a:gd name="T39" fmla="*/ 2057 h 8046"/>
                <a:gd name="T40" fmla="*/ 6724 w 8047"/>
                <a:gd name="T41" fmla="*/ 2677 h 8046"/>
                <a:gd name="T42" fmla="*/ 6968 w 8047"/>
                <a:gd name="T43" fmla="*/ 3362 h 8046"/>
                <a:gd name="T44" fmla="*/ 7040 w 8047"/>
                <a:gd name="T45" fmla="*/ 4081 h 8046"/>
                <a:gd name="T46" fmla="*/ 6940 w 8047"/>
                <a:gd name="T47" fmla="*/ 4799 h 8046"/>
                <a:gd name="T48" fmla="*/ 6663 w 8047"/>
                <a:gd name="T49" fmla="*/ 5485 h 8046"/>
                <a:gd name="T50" fmla="*/ 4024 w 8047"/>
                <a:gd name="T51" fmla="*/ 0 h 8046"/>
                <a:gd name="T52" fmla="*/ 3018 w 8047"/>
                <a:gd name="T53" fmla="*/ 125 h 8046"/>
                <a:gd name="T54" fmla="*/ 2105 w 8047"/>
                <a:gd name="T55" fmla="*/ 485 h 8046"/>
                <a:gd name="T56" fmla="*/ 1318 w 8047"/>
                <a:gd name="T57" fmla="*/ 1044 h 8046"/>
                <a:gd name="T58" fmla="*/ 687 w 8047"/>
                <a:gd name="T59" fmla="*/ 1773 h 8046"/>
                <a:gd name="T60" fmla="*/ 243 w 8047"/>
                <a:gd name="T61" fmla="*/ 2639 h 8046"/>
                <a:gd name="T62" fmla="*/ 20 w 8047"/>
                <a:gd name="T63" fmla="*/ 3611 h 8046"/>
                <a:gd name="T64" fmla="*/ 46 w 8047"/>
                <a:gd name="T65" fmla="*/ 4636 h 8046"/>
                <a:gd name="T66" fmla="*/ 316 w 8047"/>
                <a:gd name="T67" fmla="*/ 5590 h 8046"/>
                <a:gd name="T68" fmla="*/ 798 w 8047"/>
                <a:gd name="T69" fmla="*/ 6431 h 8046"/>
                <a:gd name="T70" fmla="*/ 1463 w 8047"/>
                <a:gd name="T71" fmla="*/ 7128 h 8046"/>
                <a:gd name="T72" fmla="*/ 2278 w 8047"/>
                <a:gd name="T73" fmla="*/ 7650 h 8046"/>
                <a:gd name="T74" fmla="*/ 3212 w 8047"/>
                <a:gd name="T75" fmla="*/ 7965 h 8046"/>
                <a:gd name="T76" fmla="*/ 4231 w 8047"/>
                <a:gd name="T77" fmla="*/ 8041 h 8046"/>
                <a:gd name="T78" fmla="*/ 5220 w 8047"/>
                <a:gd name="T79" fmla="*/ 7866 h 8046"/>
                <a:gd name="T80" fmla="*/ 6110 w 8047"/>
                <a:gd name="T81" fmla="*/ 7464 h 8046"/>
                <a:gd name="T82" fmla="*/ 6868 w 8047"/>
                <a:gd name="T83" fmla="*/ 6868 h 8046"/>
                <a:gd name="T84" fmla="*/ 7465 w 8047"/>
                <a:gd name="T85" fmla="*/ 6110 h 8046"/>
                <a:gd name="T86" fmla="*/ 7866 w 8047"/>
                <a:gd name="T87" fmla="*/ 5220 h 8046"/>
                <a:gd name="T88" fmla="*/ 8042 w 8047"/>
                <a:gd name="T89" fmla="*/ 4230 h 8046"/>
                <a:gd name="T90" fmla="*/ 7966 w 8047"/>
                <a:gd name="T91" fmla="*/ 3212 h 8046"/>
                <a:gd name="T92" fmla="*/ 7650 w 8047"/>
                <a:gd name="T93" fmla="*/ 2278 h 8046"/>
                <a:gd name="T94" fmla="*/ 7128 w 8047"/>
                <a:gd name="T95" fmla="*/ 1463 h 8046"/>
                <a:gd name="T96" fmla="*/ 6431 w 8047"/>
                <a:gd name="T97" fmla="*/ 798 h 8046"/>
                <a:gd name="T98" fmla="*/ 5590 w 8047"/>
                <a:gd name="T99" fmla="*/ 316 h 8046"/>
                <a:gd name="T100" fmla="*/ 4636 w 8047"/>
                <a:gd name="T101" fmla="*/ 46 h 80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047" h="8046">
                  <a:moveTo>
                    <a:pt x="6314" y="5986"/>
                  </a:moveTo>
                  <a:lnTo>
                    <a:pt x="6210" y="6102"/>
                  </a:lnTo>
                  <a:lnTo>
                    <a:pt x="6102" y="6210"/>
                  </a:lnTo>
                  <a:lnTo>
                    <a:pt x="5989" y="6313"/>
                  </a:lnTo>
                  <a:lnTo>
                    <a:pt x="5872" y="6409"/>
                  </a:lnTo>
                  <a:lnTo>
                    <a:pt x="5752" y="6497"/>
                  </a:lnTo>
                  <a:lnTo>
                    <a:pt x="5627" y="6580"/>
                  </a:lnTo>
                  <a:lnTo>
                    <a:pt x="5500" y="6655"/>
                  </a:lnTo>
                  <a:lnTo>
                    <a:pt x="5370" y="6724"/>
                  </a:lnTo>
                  <a:lnTo>
                    <a:pt x="5238" y="6786"/>
                  </a:lnTo>
                  <a:lnTo>
                    <a:pt x="5102" y="6842"/>
                  </a:lnTo>
                  <a:lnTo>
                    <a:pt x="4964" y="6890"/>
                  </a:lnTo>
                  <a:lnTo>
                    <a:pt x="4825" y="6933"/>
                  </a:lnTo>
                  <a:lnTo>
                    <a:pt x="4684" y="6967"/>
                  </a:lnTo>
                  <a:lnTo>
                    <a:pt x="4543" y="6995"/>
                  </a:lnTo>
                  <a:lnTo>
                    <a:pt x="4399" y="7017"/>
                  </a:lnTo>
                  <a:lnTo>
                    <a:pt x="4255" y="7031"/>
                  </a:lnTo>
                  <a:lnTo>
                    <a:pt x="4110" y="7039"/>
                  </a:lnTo>
                  <a:lnTo>
                    <a:pt x="3965" y="7039"/>
                  </a:lnTo>
                  <a:lnTo>
                    <a:pt x="3820" y="7033"/>
                  </a:lnTo>
                  <a:lnTo>
                    <a:pt x="3676" y="7020"/>
                  </a:lnTo>
                  <a:lnTo>
                    <a:pt x="3533" y="7000"/>
                  </a:lnTo>
                  <a:lnTo>
                    <a:pt x="3389" y="6973"/>
                  </a:lnTo>
                  <a:lnTo>
                    <a:pt x="3247" y="6940"/>
                  </a:lnTo>
                  <a:lnTo>
                    <a:pt x="3106" y="6898"/>
                  </a:lnTo>
                  <a:lnTo>
                    <a:pt x="2966" y="6850"/>
                  </a:lnTo>
                  <a:lnTo>
                    <a:pt x="2829" y="6795"/>
                  </a:lnTo>
                  <a:lnTo>
                    <a:pt x="2695" y="6732"/>
                  </a:lnTo>
                  <a:lnTo>
                    <a:pt x="2562" y="6663"/>
                  </a:lnTo>
                  <a:lnTo>
                    <a:pt x="2431" y="6587"/>
                  </a:lnTo>
                  <a:lnTo>
                    <a:pt x="2304" y="6503"/>
                  </a:lnTo>
                  <a:lnTo>
                    <a:pt x="2181" y="6412"/>
                  </a:lnTo>
                  <a:lnTo>
                    <a:pt x="2060" y="6314"/>
                  </a:lnTo>
                  <a:lnTo>
                    <a:pt x="1944" y="6209"/>
                  </a:lnTo>
                  <a:lnTo>
                    <a:pt x="1836" y="6102"/>
                  </a:lnTo>
                  <a:lnTo>
                    <a:pt x="1733" y="5988"/>
                  </a:lnTo>
                  <a:lnTo>
                    <a:pt x="1637" y="5871"/>
                  </a:lnTo>
                  <a:lnTo>
                    <a:pt x="1549" y="5751"/>
                  </a:lnTo>
                  <a:lnTo>
                    <a:pt x="1466" y="5627"/>
                  </a:lnTo>
                  <a:lnTo>
                    <a:pt x="1391" y="5499"/>
                  </a:lnTo>
                  <a:lnTo>
                    <a:pt x="1322" y="5369"/>
                  </a:lnTo>
                  <a:lnTo>
                    <a:pt x="1260" y="5237"/>
                  </a:lnTo>
                  <a:lnTo>
                    <a:pt x="1204" y="5101"/>
                  </a:lnTo>
                  <a:lnTo>
                    <a:pt x="1156" y="4964"/>
                  </a:lnTo>
                  <a:lnTo>
                    <a:pt x="1113" y="4824"/>
                  </a:lnTo>
                  <a:lnTo>
                    <a:pt x="1079" y="4683"/>
                  </a:lnTo>
                  <a:lnTo>
                    <a:pt x="1050" y="4542"/>
                  </a:lnTo>
                  <a:lnTo>
                    <a:pt x="1029" y="4399"/>
                  </a:lnTo>
                  <a:lnTo>
                    <a:pt x="1015" y="4254"/>
                  </a:lnTo>
                  <a:lnTo>
                    <a:pt x="1007" y="4110"/>
                  </a:lnTo>
                  <a:lnTo>
                    <a:pt x="1006" y="3965"/>
                  </a:lnTo>
                  <a:lnTo>
                    <a:pt x="1013" y="3820"/>
                  </a:lnTo>
                  <a:lnTo>
                    <a:pt x="1026" y="3675"/>
                  </a:lnTo>
                  <a:lnTo>
                    <a:pt x="1046" y="3532"/>
                  </a:lnTo>
                  <a:lnTo>
                    <a:pt x="1073" y="3388"/>
                  </a:lnTo>
                  <a:lnTo>
                    <a:pt x="1107" y="3246"/>
                  </a:lnTo>
                  <a:lnTo>
                    <a:pt x="1149" y="3105"/>
                  </a:lnTo>
                  <a:lnTo>
                    <a:pt x="1197" y="2966"/>
                  </a:lnTo>
                  <a:lnTo>
                    <a:pt x="1251" y="2828"/>
                  </a:lnTo>
                  <a:lnTo>
                    <a:pt x="1314" y="2694"/>
                  </a:lnTo>
                  <a:lnTo>
                    <a:pt x="1384" y="2561"/>
                  </a:lnTo>
                  <a:lnTo>
                    <a:pt x="1460" y="2430"/>
                  </a:lnTo>
                  <a:lnTo>
                    <a:pt x="1544" y="2303"/>
                  </a:lnTo>
                  <a:lnTo>
                    <a:pt x="1634" y="2180"/>
                  </a:lnTo>
                  <a:lnTo>
                    <a:pt x="1733" y="2059"/>
                  </a:lnTo>
                  <a:lnTo>
                    <a:pt x="1837" y="1943"/>
                  </a:lnTo>
                  <a:lnTo>
                    <a:pt x="1945" y="1835"/>
                  </a:lnTo>
                  <a:lnTo>
                    <a:pt x="2058" y="1732"/>
                  </a:lnTo>
                  <a:lnTo>
                    <a:pt x="2175" y="1637"/>
                  </a:lnTo>
                  <a:lnTo>
                    <a:pt x="2295" y="1548"/>
                  </a:lnTo>
                  <a:lnTo>
                    <a:pt x="2419" y="1465"/>
                  </a:lnTo>
                  <a:lnTo>
                    <a:pt x="2547" y="1390"/>
                  </a:lnTo>
                  <a:lnTo>
                    <a:pt x="2677" y="1322"/>
                  </a:lnTo>
                  <a:lnTo>
                    <a:pt x="2809" y="1259"/>
                  </a:lnTo>
                  <a:lnTo>
                    <a:pt x="2945" y="1204"/>
                  </a:lnTo>
                  <a:lnTo>
                    <a:pt x="3082" y="1156"/>
                  </a:lnTo>
                  <a:lnTo>
                    <a:pt x="3222" y="1113"/>
                  </a:lnTo>
                  <a:lnTo>
                    <a:pt x="3363" y="1078"/>
                  </a:lnTo>
                  <a:lnTo>
                    <a:pt x="3504" y="1050"/>
                  </a:lnTo>
                  <a:lnTo>
                    <a:pt x="3647" y="1029"/>
                  </a:lnTo>
                  <a:lnTo>
                    <a:pt x="3792" y="1014"/>
                  </a:lnTo>
                  <a:lnTo>
                    <a:pt x="3936" y="1007"/>
                  </a:lnTo>
                  <a:lnTo>
                    <a:pt x="4081" y="1006"/>
                  </a:lnTo>
                  <a:lnTo>
                    <a:pt x="4226" y="1012"/>
                  </a:lnTo>
                  <a:lnTo>
                    <a:pt x="4371" y="1025"/>
                  </a:lnTo>
                  <a:lnTo>
                    <a:pt x="4514" y="1045"/>
                  </a:lnTo>
                  <a:lnTo>
                    <a:pt x="4658" y="1072"/>
                  </a:lnTo>
                  <a:lnTo>
                    <a:pt x="4800" y="1106"/>
                  </a:lnTo>
                  <a:lnTo>
                    <a:pt x="4941" y="1148"/>
                  </a:lnTo>
                  <a:lnTo>
                    <a:pt x="5081" y="1196"/>
                  </a:lnTo>
                  <a:lnTo>
                    <a:pt x="5218" y="1251"/>
                  </a:lnTo>
                  <a:lnTo>
                    <a:pt x="5353" y="1313"/>
                  </a:lnTo>
                  <a:lnTo>
                    <a:pt x="5486" y="1383"/>
                  </a:lnTo>
                  <a:lnTo>
                    <a:pt x="5616" y="1459"/>
                  </a:lnTo>
                  <a:lnTo>
                    <a:pt x="5743" y="1543"/>
                  </a:lnTo>
                  <a:lnTo>
                    <a:pt x="5866" y="1633"/>
                  </a:lnTo>
                  <a:lnTo>
                    <a:pt x="5987" y="1732"/>
                  </a:lnTo>
                  <a:lnTo>
                    <a:pt x="6103" y="1836"/>
                  </a:lnTo>
                  <a:lnTo>
                    <a:pt x="6211" y="1944"/>
                  </a:lnTo>
                  <a:lnTo>
                    <a:pt x="6314" y="2057"/>
                  </a:lnTo>
                  <a:lnTo>
                    <a:pt x="6409" y="2174"/>
                  </a:lnTo>
                  <a:lnTo>
                    <a:pt x="6498" y="2294"/>
                  </a:lnTo>
                  <a:lnTo>
                    <a:pt x="6581" y="2419"/>
                  </a:lnTo>
                  <a:lnTo>
                    <a:pt x="6656" y="2546"/>
                  </a:lnTo>
                  <a:lnTo>
                    <a:pt x="6724" y="2677"/>
                  </a:lnTo>
                  <a:lnTo>
                    <a:pt x="6787" y="2809"/>
                  </a:lnTo>
                  <a:lnTo>
                    <a:pt x="6842" y="2944"/>
                  </a:lnTo>
                  <a:lnTo>
                    <a:pt x="6890" y="3082"/>
                  </a:lnTo>
                  <a:lnTo>
                    <a:pt x="6933" y="3221"/>
                  </a:lnTo>
                  <a:lnTo>
                    <a:pt x="6968" y="3362"/>
                  </a:lnTo>
                  <a:lnTo>
                    <a:pt x="6996" y="3503"/>
                  </a:lnTo>
                  <a:lnTo>
                    <a:pt x="7017" y="3647"/>
                  </a:lnTo>
                  <a:lnTo>
                    <a:pt x="7032" y="3791"/>
                  </a:lnTo>
                  <a:lnTo>
                    <a:pt x="7039" y="3936"/>
                  </a:lnTo>
                  <a:lnTo>
                    <a:pt x="7040" y="4081"/>
                  </a:lnTo>
                  <a:lnTo>
                    <a:pt x="7034" y="4226"/>
                  </a:lnTo>
                  <a:lnTo>
                    <a:pt x="7021" y="4369"/>
                  </a:lnTo>
                  <a:lnTo>
                    <a:pt x="7001" y="4514"/>
                  </a:lnTo>
                  <a:lnTo>
                    <a:pt x="6974" y="4657"/>
                  </a:lnTo>
                  <a:lnTo>
                    <a:pt x="6940" y="4799"/>
                  </a:lnTo>
                  <a:lnTo>
                    <a:pt x="6898" y="4940"/>
                  </a:lnTo>
                  <a:lnTo>
                    <a:pt x="6850" y="5080"/>
                  </a:lnTo>
                  <a:lnTo>
                    <a:pt x="6795" y="5216"/>
                  </a:lnTo>
                  <a:lnTo>
                    <a:pt x="6732" y="5352"/>
                  </a:lnTo>
                  <a:lnTo>
                    <a:pt x="6663" y="5485"/>
                  </a:lnTo>
                  <a:lnTo>
                    <a:pt x="6587" y="5615"/>
                  </a:lnTo>
                  <a:lnTo>
                    <a:pt x="6503" y="5742"/>
                  </a:lnTo>
                  <a:lnTo>
                    <a:pt x="6413" y="5866"/>
                  </a:lnTo>
                  <a:lnTo>
                    <a:pt x="6314" y="5986"/>
                  </a:lnTo>
                  <a:close/>
                  <a:moveTo>
                    <a:pt x="4024" y="0"/>
                  </a:moveTo>
                  <a:lnTo>
                    <a:pt x="3816" y="5"/>
                  </a:lnTo>
                  <a:lnTo>
                    <a:pt x="3612" y="20"/>
                  </a:lnTo>
                  <a:lnTo>
                    <a:pt x="3410" y="46"/>
                  </a:lnTo>
                  <a:lnTo>
                    <a:pt x="3212" y="81"/>
                  </a:lnTo>
                  <a:lnTo>
                    <a:pt x="3018" y="125"/>
                  </a:lnTo>
                  <a:lnTo>
                    <a:pt x="2826" y="180"/>
                  </a:lnTo>
                  <a:lnTo>
                    <a:pt x="2639" y="243"/>
                  </a:lnTo>
                  <a:lnTo>
                    <a:pt x="2456" y="316"/>
                  </a:lnTo>
                  <a:lnTo>
                    <a:pt x="2278" y="396"/>
                  </a:lnTo>
                  <a:lnTo>
                    <a:pt x="2105" y="485"/>
                  </a:lnTo>
                  <a:lnTo>
                    <a:pt x="1936" y="582"/>
                  </a:lnTo>
                  <a:lnTo>
                    <a:pt x="1773" y="687"/>
                  </a:lnTo>
                  <a:lnTo>
                    <a:pt x="1615" y="798"/>
                  </a:lnTo>
                  <a:lnTo>
                    <a:pt x="1463" y="918"/>
                  </a:lnTo>
                  <a:lnTo>
                    <a:pt x="1318" y="1044"/>
                  </a:lnTo>
                  <a:lnTo>
                    <a:pt x="1178" y="1178"/>
                  </a:lnTo>
                  <a:lnTo>
                    <a:pt x="1045" y="1318"/>
                  </a:lnTo>
                  <a:lnTo>
                    <a:pt x="918" y="1463"/>
                  </a:lnTo>
                  <a:lnTo>
                    <a:pt x="798" y="1615"/>
                  </a:lnTo>
                  <a:lnTo>
                    <a:pt x="687" y="1773"/>
                  </a:lnTo>
                  <a:lnTo>
                    <a:pt x="582" y="1936"/>
                  </a:lnTo>
                  <a:lnTo>
                    <a:pt x="485" y="2105"/>
                  </a:lnTo>
                  <a:lnTo>
                    <a:pt x="396" y="2278"/>
                  </a:lnTo>
                  <a:lnTo>
                    <a:pt x="316" y="2456"/>
                  </a:lnTo>
                  <a:lnTo>
                    <a:pt x="243" y="2639"/>
                  </a:lnTo>
                  <a:lnTo>
                    <a:pt x="181" y="2826"/>
                  </a:lnTo>
                  <a:lnTo>
                    <a:pt x="126" y="3018"/>
                  </a:lnTo>
                  <a:lnTo>
                    <a:pt x="81" y="3212"/>
                  </a:lnTo>
                  <a:lnTo>
                    <a:pt x="46" y="3410"/>
                  </a:lnTo>
                  <a:lnTo>
                    <a:pt x="20" y="3611"/>
                  </a:lnTo>
                  <a:lnTo>
                    <a:pt x="5" y="3816"/>
                  </a:lnTo>
                  <a:lnTo>
                    <a:pt x="0" y="4022"/>
                  </a:lnTo>
                  <a:lnTo>
                    <a:pt x="5" y="4230"/>
                  </a:lnTo>
                  <a:lnTo>
                    <a:pt x="20" y="4434"/>
                  </a:lnTo>
                  <a:lnTo>
                    <a:pt x="46" y="4636"/>
                  </a:lnTo>
                  <a:lnTo>
                    <a:pt x="81" y="4834"/>
                  </a:lnTo>
                  <a:lnTo>
                    <a:pt x="126" y="5028"/>
                  </a:lnTo>
                  <a:lnTo>
                    <a:pt x="181" y="5220"/>
                  </a:lnTo>
                  <a:lnTo>
                    <a:pt x="243" y="5407"/>
                  </a:lnTo>
                  <a:lnTo>
                    <a:pt x="316" y="5590"/>
                  </a:lnTo>
                  <a:lnTo>
                    <a:pt x="396" y="5768"/>
                  </a:lnTo>
                  <a:lnTo>
                    <a:pt x="485" y="5941"/>
                  </a:lnTo>
                  <a:lnTo>
                    <a:pt x="582" y="6110"/>
                  </a:lnTo>
                  <a:lnTo>
                    <a:pt x="687" y="6273"/>
                  </a:lnTo>
                  <a:lnTo>
                    <a:pt x="798" y="6431"/>
                  </a:lnTo>
                  <a:lnTo>
                    <a:pt x="918" y="6583"/>
                  </a:lnTo>
                  <a:lnTo>
                    <a:pt x="1045" y="6728"/>
                  </a:lnTo>
                  <a:lnTo>
                    <a:pt x="1178" y="6868"/>
                  </a:lnTo>
                  <a:lnTo>
                    <a:pt x="1318" y="7001"/>
                  </a:lnTo>
                  <a:lnTo>
                    <a:pt x="1463" y="7128"/>
                  </a:lnTo>
                  <a:lnTo>
                    <a:pt x="1615" y="7247"/>
                  </a:lnTo>
                  <a:lnTo>
                    <a:pt x="1773" y="7359"/>
                  </a:lnTo>
                  <a:lnTo>
                    <a:pt x="1936" y="7464"/>
                  </a:lnTo>
                  <a:lnTo>
                    <a:pt x="2105" y="7561"/>
                  </a:lnTo>
                  <a:lnTo>
                    <a:pt x="2278" y="7650"/>
                  </a:lnTo>
                  <a:lnTo>
                    <a:pt x="2456" y="7730"/>
                  </a:lnTo>
                  <a:lnTo>
                    <a:pt x="2639" y="7803"/>
                  </a:lnTo>
                  <a:lnTo>
                    <a:pt x="2826" y="7866"/>
                  </a:lnTo>
                  <a:lnTo>
                    <a:pt x="3018" y="7919"/>
                  </a:lnTo>
                  <a:lnTo>
                    <a:pt x="3212" y="7965"/>
                  </a:lnTo>
                  <a:lnTo>
                    <a:pt x="3410" y="8000"/>
                  </a:lnTo>
                  <a:lnTo>
                    <a:pt x="3612" y="8026"/>
                  </a:lnTo>
                  <a:lnTo>
                    <a:pt x="3816" y="8041"/>
                  </a:lnTo>
                  <a:lnTo>
                    <a:pt x="4024" y="8046"/>
                  </a:lnTo>
                  <a:lnTo>
                    <a:pt x="4231" y="8041"/>
                  </a:lnTo>
                  <a:lnTo>
                    <a:pt x="4435" y="8026"/>
                  </a:lnTo>
                  <a:lnTo>
                    <a:pt x="4636" y="8000"/>
                  </a:lnTo>
                  <a:lnTo>
                    <a:pt x="4834" y="7965"/>
                  </a:lnTo>
                  <a:lnTo>
                    <a:pt x="5028" y="7919"/>
                  </a:lnTo>
                  <a:lnTo>
                    <a:pt x="5220" y="7866"/>
                  </a:lnTo>
                  <a:lnTo>
                    <a:pt x="5407" y="7803"/>
                  </a:lnTo>
                  <a:lnTo>
                    <a:pt x="5590" y="7730"/>
                  </a:lnTo>
                  <a:lnTo>
                    <a:pt x="5768" y="7650"/>
                  </a:lnTo>
                  <a:lnTo>
                    <a:pt x="5941" y="7561"/>
                  </a:lnTo>
                  <a:lnTo>
                    <a:pt x="6110" y="7464"/>
                  </a:lnTo>
                  <a:lnTo>
                    <a:pt x="6273" y="7359"/>
                  </a:lnTo>
                  <a:lnTo>
                    <a:pt x="6431" y="7247"/>
                  </a:lnTo>
                  <a:lnTo>
                    <a:pt x="6583" y="7128"/>
                  </a:lnTo>
                  <a:lnTo>
                    <a:pt x="6728" y="7001"/>
                  </a:lnTo>
                  <a:lnTo>
                    <a:pt x="6868" y="6868"/>
                  </a:lnTo>
                  <a:lnTo>
                    <a:pt x="7002" y="6728"/>
                  </a:lnTo>
                  <a:lnTo>
                    <a:pt x="7128" y="6583"/>
                  </a:lnTo>
                  <a:lnTo>
                    <a:pt x="7248" y="6431"/>
                  </a:lnTo>
                  <a:lnTo>
                    <a:pt x="7360" y="6273"/>
                  </a:lnTo>
                  <a:lnTo>
                    <a:pt x="7465" y="6110"/>
                  </a:lnTo>
                  <a:lnTo>
                    <a:pt x="7561" y="5941"/>
                  </a:lnTo>
                  <a:lnTo>
                    <a:pt x="7650" y="5768"/>
                  </a:lnTo>
                  <a:lnTo>
                    <a:pt x="7730" y="5590"/>
                  </a:lnTo>
                  <a:lnTo>
                    <a:pt x="7803" y="5407"/>
                  </a:lnTo>
                  <a:lnTo>
                    <a:pt x="7866" y="5220"/>
                  </a:lnTo>
                  <a:lnTo>
                    <a:pt x="7921" y="5028"/>
                  </a:lnTo>
                  <a:lnTo>
                    <a:pt x="7966" y="4834"/>
                  </a:lnTo>
                  <a:lnTo>
                    <a:pt x="8001" y="4636"/>
                  </a:lnTo>
                  <a:lnTo>
                    <a:pt x="8026" y="4434"/>
                  </a:lnTo>
                  <a:lnTo>
                    <a:pt x="8042" y="4230"/>
                  </a:lnTo>
                  <a:lnTo>
                    <a:pt x="8047" y="4022"/>
                  </a:lnTo>
                  <a:lnTo>
                    <a:pt x="8042" y="3816"/>
                  </a:lnTo>
                  <a:lnTo>
                    <a:pt x="8026" y="3611"/>
                  </a:lnTo>
                  <a:lnTo>
                    <a:pt x="8001" y="3410"/>
                  </a:lnTo>
                  <a:lnTo>
                    <a:pt x="7966" y="3212"/>
                  </a:lnTo>
                  <a:lnTo>
                    <a:pt x="7921" y="3018"/>
                  </a:lnTo>
                  <a:lnTo>
                    <a:pt x="7866" y="2826"/>
                  </a:lnTo>
                  <a:lnTo>
                    <a:pt x="7803" y="2639"/>
                  </a:lnTo>
                  <a:lnTo>
                    <a:pt x="7730" y="2456"/>
                  </a:lnTo>
                  <a:lnTo>
                    <a:pt x="7650" y="2278"/>
                  </a:lnTo>
                  <a:lnTo>
                    <a:pt x="7561" y="2105"/>
                  </a:lnTo>
                  <a:lnTo>
                    <a:pt x="7465" y="1936"/>
                  </a:lnTo>
                  <a:lnTo>
                    <a:pt x="7360" y="1773"/>
                  </a:lnTo>
                  <a:lnTo>
                    <a:pt x="7248" y="1615"/>
                  </a:lnTo>
                  <a:lnTo>
                    <a:pt x="7128" y="1463"/>
                  </a:lnTo>
                  <a:lnTo>
                    <a:pt x="7002" y="1318"/>
                  </a:lnTo>
                  <a:lnTo>
                    <a:pt x="6868" y="1178"/>
                  </a:lnTo>
                  <a:lnTo>
                    <a:pt x="6728" y="1044"/>
                  </a:lnTo>
                  <a:lnTo>
                    <a:pt x="6583" y="918"/>
                  </a:lnTo>
                  <a:lnTo>
                    <a:pt x="6431" y="798"/>
                  </a:lnTo>
                  <a:lnTo>
                    <a:pt x="6273" y="687"/>
                  </a:lnTo>
                  <a:lnTo>
                    <a:pt x="6110" y="582"/>
                  </a:lnTo>
                  <a:lnTo>
                    <a:pt x="5941" y="485"/>
                  </a:lnTo>
                  <a:lnTo>
                    <a:pt x="5768" y="396"/>
                  </a:lnTo>
                  <a:lnTo>
                    <a:pt x="5590" y="316"/>
                  </a:lnTo>
                  <a:lnTo>
                    <a:pt x="5407" y="243"/>
                  </a:lnTo>
                  <a:lnTo>
                    <a:pt x="5220" y="180"/>
                  </a:lnTo>
                  <a:lnTo>
                    <a:pt x="5028" y="125"/>
                  </a:lnTo>
                  <a:lnTo>
                    <a:pt x="4834" y="81"/>
                  </a:lnTo>
                  <a:lnTo>
                    <a:pt x="4636" y="46"/>
                  </a:lnTo>
                  <a:lnTo>
                    <a:pt x="4435" y="20"/>
                  </a:lnTo>
                  <a:lnTo>
                    <a:pt x="4231" y="5"/>
                  </a:lnTo>
                  <a:lnTo>
                    <a:pt x="402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6" name="í$1iďé">
              <a:extLst>
                <a:ext uri="{FF2B5EF4-FFF2-40B4-BE49-F238E27FC236}">
                  <a16:creationId xmlns:a16="http://schemas.microsoft.com/office/drawing/2014/main" id="{70D6BF58-FEA5-40D5-B24A-8A8BCDC71DAA}"/>
                </a:ext>
              </a:extLst>
            </p:cNvPr>
            <p:cNvSpPr/>
            <p:nvPr/>
          </p:nvSpPr>
          <p:spPr bwMode="auto">
            <a:xfrm>
              <a:off x="2519361" y="240564"/>
              <a:ext cx="86009" cy="86009"/>
            </a:xfrm>
            <a:custGeom>
              <a:avLst/>
              <a:gdLst>
                <a:gd name="T0" fmla="*/ 1705 w 2263"/>
                <a:gd name="T1" fmla="*/ 23 h 2263"/>
                <a:gd name="T2" fmla="*/ 1319 w 2263"/>
                <a:gd name="T3" fmla="*/ 122 h 2263"/>
                <a:gd name="T4" fmla="*/ 968 w 2263"/>
                <a:gd name="T5" fmla="*/ 291 h 2263"/>
                <a:gd name="T6" fmla="*/ 659 w 2263"/>
                <a:gd name="T7" fmla="*/ 523 h 2263"/>
                <a:gd name="T8" fmla="*/ 399 w 2263"/>
                <a:gd name="T9" fmla="*/ 808 h 2263"/>
                <a:gd name="T10" fmla="*/ 198 w 2263"/>
                <a:gd name="T11" fmla="*/ 1139 h 2263"/>
                <a:gd name="T12" fmla="*/ 63 w 2263"/>
                <a:gd name="T13" fmla="*/ 1508 h 2263"/>
                <a:gd name="T14" fmla="*/ 3 w 2263"/>
                <a:gd name="T15" fmla="*/ 1908 h 2263"/>
                <a:gd name="T16" fmla="*/ 1 w 2263"/>
                <a:gd name="T17" fmla="*/ 2038 h 2263"/>
                <a:gd name="T18" fmla="*/ 11 w 2263"/>
                <a:gd name="T19" fmla="*/ 2087 h 2263"/>
                <a:gd name="T20" fmla="*/ 30 w 2263"/>
                <a:gd name="T21" fmla="*/ 2131 h 2263"/>
                <a:gd name="T22" fmla="*/ 57 w 2263"/>
                <a:gd name="T23" fmla="*/ 2171 h 2263"/>
                <a:gd name="T24" fmla="*/ 91 w 2263"/>
                <a:gd name="T25" fmla="*/ 2206 h 2263"/>
                <a:gd name="T26" fmla="*/ 131 w 2263"/>
                <a:gd name="T27" fmla="*/ 2233 h 2263"/>
                <a:gd name="T28" fmla="*/ 177 w 2263"/>
                <a:gd name="T29" fmla="*/ 2252 h 2263"/>
                <a:gd name="T30" fmla="*/ 225 w 2263"/>
                <a:gd name="T31" fmla="*/ 2262 h 2263"/>
                <a:gd name="T32" fmla="*/ 276 w 2263"/>
                <a:gd name="T33" fmla="*/ 2262 h 2263"/>
                <a:gd name="T34" fmla="*/ 326 w 2263"/>
                <a:gd name="T35" fmla="*/ 2252 h 2263"/>
                <a:gd name="T36" fmla="*/ 371 w 2263"/>
                <a:gd name="T37" fmla="*/ 2233 h 2263"/>
                <a:gd name="T38" fmla="*/ 411 w 2263"/>
                <a:gd name="T39" fmla="*/ 2206 h 2263"/>
                <a:gd name="T40" fmla="*/ 445 w 2263"/>
                <a:gd name="T41" fmla="*/ 2171 h 2263"/>
                <a:gd name="T42" fmla="*/ 472 w 2263"/>
                <a:gd name="T43" fmla="*/ 2131 h 2263"/>
                <a:gd name="T44" fmla="*/ 492 w 2263"/>
                <a:gd name="T45" fmla="*/ 2087 h 2263"/>
                <a:gd name="T46" fmla="*/ 502 w 2263"/>
                <a:gd name="T47" fmla="*/ 2038 h 2263"/>
                <a:gd name="T48" fmla="*/ 505 w 2263"/>
                <a:gd name="T49" fmla="*/ 1934 h 2263"/>
                <a:gd name="T50" fmla="*/ 550 w 2263"/>
                <a:gd name="T51" fmla="*/ 1634 h 2263"/>
                <a:gd name="T52" fmla="*/ 651 w 2263"/>
                <a:gd name="T53" fmla="*/ 1358 h 2263"/>
                <a:gd name="T54" fmla="*/ 802 w 2263"/>
                <a:gd name="T55" fmla="*/ 1109 h 2263"/>
                <a:gd name="T56" fmla="*/ 997 w 2263"/>
                <a:gd name="T57" fmla="*/ 895 h 2263"/>
                <a:gd name="T58" fmla="*/ 1229 w 2263"/>
                <a:gd name="T59" fmla="*/ 721 h 2263"/>
                <a:gd name="T60" fmla="*/ 1492 w 2263"/>
                <a:gd name="T61" fmla="*/ 594 h 2263"/>
                <a:gd name="T62" fmla="*/ 1781 w 2263"/>
                <a:gd name="T63" fmla="*/ 521 h 2263"/>
                <a:gd name="T64" fmla="*/ 2025 w 2263"/>
                <a:gd name="T65" fmla="*/ 503 h 2263"/>
                <a:gd name="T66" fmla="*/ 2074 w 2263"/>
                <a:gd name="T67" fmla="*/ 496 h 2263"/>
                <a:gd name="T68" fmla="*/ 2120 w 2263"/>
                <a:gd name="T69" fmla="*/ 478 h 2263"/>
                <a:gd name="T70" fmla="*/ 2161 w 2263"/>
                <a:gd name="T71" fmla="*/ 453 h 2263"/>
                <a:gd name="T72" fmla="*/ 2198 w 2263"/>
                <a:gd name="T73" fmla="*/ 420 h 2263"/>
                <a:gd name="T74" fmla="*/ 2227 w 2263"/>
                <a:gd name="T75" fmla="*/ 382 h 2263"/>
                <a:gd name="T76" fmla="*/ 2248 w 2263"/>
                <a:gd name="T77" fmla="*/ 338 h 2263"/>
                <a:gd name="T78" fmla="*/ 2260 w 2263"/>
                <a:gd name="T79" fmla="*/ 289 h 2263"/>
                <a:gd name="T80" fmla="*/ 2263 w 2263"/>
                <a:gd name="T81" fmla="*/ 239 h 2263"/>
                <a:gd name="T82" fmla="*/ 2255 w 2263"/>
                <a:gd name="T83" fmla="*/ 189 h 2263"/>
                <a:gd name="T84" fmla="*/ 2238 w 2263"/>
                <a:gd name="T85" fmla="*/ 142 h 2263"/>
                <a:gd name="T86" fmla="*/ 2213 w 2263"/>
                <a:gd name="T87" fmla="*/ 101 h 2263"/>
                <a:gd name="T88" fmla="*/ 2180 w 2263"/>
                <a:gd name="T89" fmla="*/ 65 h 2263"/>
                <a:gd name="T90" fmla="*/ 2141 w 2263"/>
                <a:gd name="T91" fmla="*/ 36 h 2263"/>
                <a:gd name="T92" fmla="*/ 2098 w 2263"/>
                <a:gd name="T93" fmla="*/ 15 h 2263"/>
                <a:gd name="T94" fmla="*/ 2050 w 2263"/>
                <a:gd name="T95" fmla="*/ 3 h 2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263" h="2263">
                  <a:moveTo>
                    <a:pt x="2012" y="0"/>
                  </a:moveTo>
                  <a:lnTo>
                    <a:pt x="1908" y="3"/>
                  </a:lnTo>
                  <a:lnTo>
                    <a:pt x="1806" y="11"/>
                  </a:lnTo>
                  <a:lnTo>
                    <a:pt x="1705" y="23"/>
                  </a:lnTo>
                  <a:lnTo>
                    <a:pt x="1606" y="41"/>
                  </a:lnTo>
                  <a:lnTo>
                    <a:pt x="1509" y="63"/>
                  </a:lnTo>
                  <a:lnTo>
                    <a:pt x="1413" y="90"/>
                  </a:lnTo>
                  <a:lnTo>
                    <a:pt x="1319" y="122"/>
                  </a:lnTo>
                  <a:lnTo>
                    <a:pt x="1229" y="158"/>
                  </a:lnTo>
                  <a:lnTo>
                    <a:pt x="1139" y="198"/>
                  </a:lnTo>
                  <a:lnTo>
                    <a:pt x="1053" y="243"/>
                  </a:lnTo>
                  <a:lnTo>
                    <a:pt x="968" y="291"/>
                  </a:lnTo>
                  <a:lnTo>
                    <a:pt x="887" y="344"/>
                  </a:lnTo>
                  <a:lnTo>
                    <a:pt x="807" y="400"/>
                  </a:lnTo>
                  <a:lnTo>
                    <a:pt x="732" y="459"/>
                  </a:lnTo>
                  <a:lnTo>
                    <a:pt x="659" y="523"/>
                  </a:lnTo>
                  <a:lnTo>
                    <a:pt x="589" y="589"/>
                  </a:lnTo>
                  <a:lnTo>
                    <a:pt x="523" y="658"/>
                  </a:lnTo>
                  <a:lnTo>
                    <a:pt x="459" y="732"/>
                  </a:lnTo>
                  <a:lnTo>
                    <a:pt x="399" y="808"/>
                  </a:lnTo>
                  <a:lnTo>
                    <a:pt x="344" y="887"/>
                  </a:lnTo>
                  <a:lnTo>
                    <a:pt x="290" y="968"/>
                  </a:lnTo>
                  <a:lnTo>
                    <a:pt x="242" y="1053"/>
                  </a:lnTo>
                  <a:lnTo>
                    <a:pt x="198" y="1139"/>
                  </a:lnTo>
                  <a:lnTo>
                    <a:pt x="158" y="1229"/>
                  </a:lnTo>
                  <a:lnTo>
                    <a:pt x="121" y="1319"/>
                  </a:lnTo>
                  <a:lnTo>
                    <a:pt x="90" y="1413"/>
                  </a:lnTo>
                  <a:lnTo>
                    <a:pt x="63" y="1508"/>
                  </a:lnTo>
                  <a:lnTo>
                    <a:pt x="41" y="1606"/>
                  </a:lnTo>
                  <a:lnTo>
                    <a:pt x="23" y="1705"/>
                  </a:lnTo>
                  <a:lnTo>
                    <a:pt x="10" y="1805"/>
                  </a:lnTo>
                  <a:lnTo>
                    <a:pt x="3" y="1908"/>
                  </a:lnTo>
                  <a:lnTo>
                    <a:pt x="0" y="2011"/>
                  </a:lnTo>
                  <a:lnTo>
                    <a:pt x="0" y="2011"/>
                  </a:lnTo>
                  <a:lnTo>
                    <a:pt x="0" y="2025"/>
                  </a:lnTo>
                  <a:lnTo>
                    <a:pt x="1" y="2038"/>
                  </a:lnTo>
                  <a:lnTo>
                    <a:pt x="3" y="2050"/>
                  </a:lnTo>
                  <a:lnTo>
                    <a:pt x="5" y="2063"/>
                  </a:lnTo>
                  <a:lnTo>
                    <a:pt x="8" y="2075"/>
                  </a:lnTo>
                  <a:lnTo>
                    <a:pt x="11" y="2087"/>
                  </a:lnTo>
                  <a:lnTo>
                    <a:pt x="15" y="2098"/>
                  </a:lnTo>
                  <a:lnTo>
                    <a:pt x="20" y="2110"/>
                  </a:lnTo>
                  <a:lnTo>
                    <a:pt x="25" y="2121"/>
                  </a:lnTo>
                  <a:lnTo>
                    <a:pt x="30" y="2131"/>
                  </a:lnTo>
                  <a:lnTo>
                    <a:pt x="36" y="2142"/>
                  </a:lnTo>
                  <a:lnTo>
                    <a:pt x="43" y="2152"/>
                  </a:lnTo>
                  <a:lnTo>
                    <a:pt x="49" y="2162"/>
                  </a:lnTo>
                  <a:lnTo>
                    <a:pt x="57" y="2171"/>
                  </a:lnTo>
                  <a:lnTo>
                    <a:pt x="65" y="2180"/>
                  </a:lnTo>
                  <a:lnTo>
                    <a:pt x="73" y="2189"/>
                  </a:lnTo>
                  <a:lnTo>
                    <a:pt x="82" y="2198"/>
                  </a:lnTo>
                  <a:lnTo>
                    <a:pt x="91" y="2206"/>
                  </a:lnTo>
                  <a:lnTo>
                    <a:pt x="100" y="2214"/>
                  </a:lnTo>
                  <a:lnTo>
                    <a:pt x="110" y="2221"/>
                  </a:lnTo>
                  <a:lnTo>
                    <a:pt x="120" y="2227"/>
                  </a:lnTo>
                  <a:lnTo>
                    <a:pt x="131" y="2233"/>
                  </a:lnTo>
                  <a:lnTo>
                    <a:pt x="141" y="2239"/>
                  </a:lnTo>
                  <a:lnTo>
                    <a:pt x="153" y="2244"/>
                  </a:lnTo>
                  <a:lnTo>
                    <a:pt x="165" y="2248"/>
                  </a:lnTo>
                  <a:lnTo>
                    <a:pt x="177" y="2252"/>
                  </a:lnTo>
                  <a:lnTo>
                    <a:pt x="188" y="2255"/>
                  </a:lnTo>
                  <a:lnTo>
                    <a:pt x="201" y="2258"/>
                  </a:lnTo>
                  <a:lnTo>
                    <a:pt x="213" y="2260"/>
                  </a:lnTo>
                  <a:lnTo>
                    <a:pt x="225" y="2262"/>
                  </a:lnTo>
                  <a:lnTo>
                    <a:pt x="238" y="2263"/>
                  </a:lnTo>
                  <a:lnTo>
                    <a:pt x="251" y="2263"/>
                  </a:lnTo>
                  <a:lnTo>
                    <a:pt x="264" y="2263"/>
                  </a:lnTo>
                  <a:lnTo>
                    <a:pt x="276" y="2262"/>
                  </a:lnTo>
                  <a:lnTo>
                    <a:pt x="289" y="2260"/>
                  </a:lnTo>
                  <a:lnTo>
                    <a:pt x="301" y="2258"/>
                  </a:lnTo>
                  <a:lnTo>
                    <a:pt x="313" y="2255"/>
                  </a:lnTo>
                  <a:lnTo>
                    <a:pt x="326" y="2252"/>
                  </a:lnTo>
                  <a:lnTo>
                    <a:pt x="338" y="2248"/>
                  </a:lnTo>
                  <a:lnTo>
                    <a:pt x="349" y="2244"/>
                  </a:lnTo>
                  <a:lnTo>
                    <a:pt x="360" y="2239"/>
                  </a:lnTo>
                  <a:lnTo>
                    <a:pt x="371" y="2233"/>
                  </a:lnTo>
                  <a:lnTo>
                    <a:pt x="381" y="2227"/>
                  </a:lnTo>
                  <a:lnTo>
                    <a:pt x="391" y="2221"/>
                  </a:lnTo>
                  <a:lnTo>
                    <a:pt x="401" y="2214"/>
                  </a:lnTo>
                  <a:lnTo>
                    <a:pt x="411" y="2206"/>
                  </a:lnTo>
                  <a:lnTo>
                    <a:pt x="420" y="2198"/>
                  </a:lnTo>
                  <a:lnTo>
                    <a:pt x="429" y="2189"/>
                  </a:lnTo>
                  <a:lnTo>
                    <a:pt x="437" y="2180"/>
                  </a:lnTo>
                  <a:lnTo>
                    <a:pt x="445" y="2171"/>
                  </a:lnTo>
                  <a:lnTo>
                    <a:pt x="452" y="2162"/>
                  </a:lnTo>
                  <a:lnTo>
                    <a:pt x="459" y="2152"/>
                  </a:lnTo>
                  <a:lnTo>
                    <a:pt x="466" y="2142"/>
                  </a:lnTo>
                  <a:lnTo>
                    <a:pt x="472" y="2131"/>
                  </a:lnTo>
                  <a:lnTo>
                    <a:pt x="477" y="2121"/>
                  </a:lnTo>
                  <a:lnTo>
                    <a:pt x="482" y="2110"/>
                  </a:lnTo>
                  <a:lnTo>
                    <a:pt x="488" y="2098"/>
                  </a:lnTo>
                  <a:lnTo>
                    <a:pt x="492" y="2087"/>
                  </a:lnTo>
                  <a:lnTo>
                    <a:pt x="495" y="2075"/>
                  </a:lnTo>
                  <a:lnTo>
                    <a:pt x="498" y="2063"/>
                  </a:lnTo>
                  <a:lnTo>
                    <a:pt x="500" y="2050"/>
                  </a:lnTo>
                  <a:lnTo>
                    <a:pt x="502" y="2038"/>
                  </a:lnTo>
                  <a:lnTo>
                    <a:pt x="503" y="2025"/>
                  </a:lnTo>
                  <a:lnTo>
                    <a:pt x="503" y="2011"/>
                  </a:lnTo>
                  <a:lnTo>
                    <a:pt x="503" y="2011"/>
                  </a:lnTo>
                  <a:lnTo>
                    <a:pt x="505" y="1934"/>
                  </a:lnTo>
                  <a:lnTo>
                    <a:pt x="511" y="1858"/>
                  </a:lnTo>
                  <a:lnTo>
                    <a:pt x="520" y="1782"/>
                  </a:lnTo>
                  <a:lnTo>
                    <a:pt x="533" y="1708"/>
                  </a:lnTo>
                  <a:lnTo>
                    <a:pt x="550" y="1634"/>
                  </a:lnTo>
                  <a:lnTo>
                    <a:pt x="570" y="1563"/>
                  </a:lnTo>
                  <a:lnTo>
                    <a:pt x="594" y="1492"/>
                  </a:lnTo>
                  <a:lnTo>
                    <a:pt x="621" y="1424"/>
                  </a:lnTo>
                  <a:lnTo>
                    <a:pt x="651" y="1358"/>
                  </a:lnTo>
                  <a:lnTo>
                    <a:pt x="685" y="1292"/>
                  </a:lnTo>
                  <a:lnTo>
                    <a:pt x="721" y="1229"/>
                  </a:lnTo>
                  <a:lnTo>
                    <a:pt x="760" y="1167"/>
                  </a:lnTo>
                  <a:lnTo>
                    <a:pt x="802" y="1109"/>
                  </a:lnTo>
                  <a:lnTo>
                    <a:pt x="847" y="1052"/>
                  </a:lnTo>
                  <a:lnTo>
                    <a:pt x="894" y="997"/>
                  </a:lnTo>
                  <a:lnTo>
                    <a:pt x="944" y="945"/>
                  </a:lnTo>
                  <a:lnTo>
                    <a:pt x="997" y="895"/>
                  </a:lnTo>
                  <a:lnTo>
                    <a:pt x="1052" y="848"/>
                  </a:lnTo>
                  <a:lnTo>
                    <a:pt x="1108" y="802"/>
                  </a:lnTo>
                  <a:lnTo>
                    <a:pt x="1168" y="761"/>
                  </a:lnTo>
                  <a:lnTo>
                    <a:pt x="1229" y="721"/>
                  </a:lnTo>
                  <a:lnTo>
                    <a:pt x="1292" y="685"/>
                  </a:lnTo>
                  <a:lnTo>
                    <a:pt x="1357" y="651"/>
                  </a:lnTo>
                  <a:lnTo>
                    <a:pt x="1424" y="621"/>
                  </a:lnTo>
                  <a:lnTo>
                    <a:pt x="1492" y="594"/>
                  </a:lnTo>
                  <a:lnTo>
                    <a:pt x="1563" y="571"/>
                  </a:lnTo>
                  <a:lnTo>
                    <a:pt x="1634" y="551"/>
                  </a:lnTo>
                  <a:lnTo>
                    <a:pt x="1707" y="534"/>
                  </a:lnTo>
                  <a:lnTo>
                    <a:pt x="1781" y="521"/>
                  </a:lnTo>
                  <a:lnTo>
                    <a:pt x="1857" y="511"/>
                  </a:lnTo>
                  <a:lnTo>
                    <a:pt x="1934" y="505"/>
                  </a:lnTo>
                  <a:lnTo>
                    <a:pt x="2012" y="503"/>
                  </a:lnTo>
                  <a:lnTo>
                    <a:pt x="2025" y="503"/>
                  </a:lnTo>
                  <a:lnTo>
                    <a:pt x="2037" y="502"/>
                  </a:lnTo>
                  <a:lnTo>
                    <a:pt x="2050" y="500"/>
                  </a:lnTo>
                  <a:lnTo>
                    <a:pt x="2062" y="498"/>
                  </a:lnTo>
                  <a:lnTo>
                    <a:pt x="2074" y="496"/>
                  </a:lnTo>
                  <a:lnTo>
                    <a:pt x="2086" y="491"/>
                  </a:lnTo>
                  <a:lnTo>
                    <a:pt x="2098" y="487"/>
                  </a:lnTo>
                  <a:lnTo>
                    <a:pt x="2109" y="483"/>
                  </a:lnTo>
                  <a:lnTo>
                    <a:pt x="2120" y="478"/>
                  </a:lnTo>
                  <a:lnTo>
                    <a:pt x="2131" y="472"/>
                  </a:lnTo>
                  <a:lnTo>
                    <a:pt x="2141" y="466"/>
                  </a:lnTo>
                  <a:lnTo>
                    <a:pt x="2151" y="460"/>
                  </a:lnTo>
                  <a:lnTo>
                    <a:pt x="2161" y="453"/>
                  </a:lnTo>
                  <a:lnTo>
                    <a:pt x="2171" y="445"/>
                  </a:lnTo>
                  <a:lnTo>
                    <a:pt x="2180" y="437"/>
                  </a:lnTo>
                  <a:lnTo>
                    <a:pt x="2190" y="429"/>
                  </a:lnTo>
                  <a:lnTo>
                    <a:pt x="2198" y="420"/>
                  </a:lnTo>
                  <a:lnTo>
                    <a:pt x="2206" y="411"/>
                  </a:lnTo>
                  <a:lnTo>
                    <a:pt x="2213" y="402"/>
                  </a:lnTo>
                  <a:lnTo>
                    <a:pt x="2220" y="392"/>
                  </a:lnTo>
                  <a:lnTo>
                    <a:pt x="2227" y="382"/>
                  </a:lnTo>
                  <a:lnTo>
                    <a:pt x="2233" y="371"/>
                  </a:lnTo>
                  <a:lnTo>
                    <a:pt x="2238" y="361"/>
                  </a:lnTo>
                  <a:lnTo>
                    <a:pt x="2243" y="350"/>
                  </a:lnTo>
                  <a:lnTo>
                    <a:pt x="2248" y="338"/>
                  </a:lnTo>
                  <a:lnTo>
                    <a:pt x="2252" y="327"/>
                  </a:lnTo>
                  <a:lnTo>
                    <a:pt x="2255" y="314"/>
                  </a:lnTo>
                  <a:lnTo>
                    <a:pt x="2258" y="302"/>
                  </a:lnTo>
                  <a:lnTo>
                    <a:pt x="2260" y="289"/>
                  </a:lnTo>
                  <a:lnTo>
                    <a:pt x="2262" y="277"/>
                  </a:lnTo>
                  <a:lnTo>
                    <a:pt x="2263" y="264"/>
                  </a:lnTo>
                  <a:lnTo>
                    <a:pt x="2263" y="251"/>
                  </a:lnTo>
                  <a:lnTo>
                    <a:pt x="2263" y="239"/>
                  </a:lnTo>
                  <a:lnTo>
                    <a:pt x="2262" y="226"/>
                  </a:lnTo>
                  <a:lnTo>
                    <a:pt x="2260" y="213"/>
                  </a:lnTo>
                  <a:lnTo>
                    <a:pt x="2258" y="201"/>
                  </a:lnTo>
                  <a:lnTo>
                    <a:pt x="2255" y="189"/>
                  </a:lnTo>
                  <a:lnTo>
                    <a:pt x="2252" y="177"/>
                  </a:lnTo>
                  <a:lnTo>
                    <a:pt x="2248" y="165"/>
                  </a:lnTo>
                  <a:lnTo>
                    <a:pt x="2243" y="154"/>
                  </a:lnTo>
                  <a:lnTo>
                    <a:pt x="2238" y="142"/>
                  </a:lnTo>
                  <a:lnTo>
                    <a:pt x="2233" y="131"/>
                  </a:lnTo>
                  <a:lnTo>
                    <a:pt x="2227" y="121"/>
                  </a:lnTo>
                  <a:lnTo>
                    <a:pt x="2220" y="111"/>
                  </a:lnTo>
                  <a:lnTo>
                    <a:pt x="2213" y="101"/>
                  </a:lnTo>
                  <a:lnTo>
                    <a:pt x="2206" y="91"/>
                  </a:lnTo>
                  <a:lnTo>
                    <a:pt x="2198" y="82"/>
                  </a:lnTo>
                  <a:lnTo>
                    <a:pt x="2190" y="74"/>
                  </a:lnTo>
                  <a:lnTo>
                    <a:pt x="2180" y="65"/>
                  </a:lnTo>
                  <a:lnTo>
                    <a:pt x="2171" y="57"/>
                  </a:lnTo>
                  <a:lnTo>
                    <a:pt x="2161" y="50"/>
                  </a:lnTo>
                  <a:lnTo>
                    <a:pt x="2151" y="43"/>
                  </a:lnTo>
                  <a:lnTo>
                    <a:pt x="2141" y="36"/>
                  </a:lnTo>
                  <a:lnTo>
                    <a:pt x="2131" y="30"/>
                  </a:lnTo>
                  <a:lnTo>
                    <a:pt x="2120" y="25"/>
                  </a:lnTo>
                  <a:lnTo>
                    <a:pt x="2109" y="20"/>
                  </a:lnTo>
                  <a:lnTo>
                    <a:pt x="2098" y="15"/>
                  </a:lnTo>
                  <a:lnTo>
                    <a:pt x="2086" y="12"/>
                  </a:lnTo>
                  <a:lnTo>
                    <a:pt x="2074" y="8"/>
                  </a:lnTo>
                  <a:lnTo>
                    <a:pt x="2062" y="5"/>
                  </a:lnTo>
                  <a:lnTo>
                    <a:pt x="2050" y="3"/>
                  </a:lnTo>
                  <a:lnTo>
                    <a:pt x="2037" y="2"/>
                  </a:lnTo>
                  <a:lnTo>
                    <a:pt x="2025" y="1"/>
                  </a:lnTo>
                  <a:lnTo>
                    <a:pt x="20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7" name="îṩḻîḍe">
              <a:extLst>
                <a:ext uri="{FF2B5EF4-FFF2-40B4-BE49-F238E27FC236}">
                  <a16:creationId xmlns:a16="http://schemas.microsoft.com/office/drawing/2014/main" id="{7B7A2B46-FD28-49A4-8ADE-5A15767EB61C}"/>
                </a:ext>
              </a:extLst>
            </p:cNvPr>
            <p:cNvSpPr/>
            <p:nvPr/>
          </p:nvSpPr>
          <p:spPr bwMode="auto">
            <a:xfrm>
              <a:off x="2289535" y="29068"/>
              <a:ext cx="613339" cy="517461"/>
            </a:xfrm>
            <a:custGeom>
              <a:avLst/>
              <a:gdLst>
                <a:gd name="T0" fmla="*/ 15067 w 16095"/>
                <a:gd name="T1" fmla="*/ 12220 h 13579"/>
                <a:gd name="T2" fmla="*/ 14989 w 16095"/>
                <a:gd name="T3" fmla="*/ 12371 h 13579"/>
                <a:gd name="T4" fmla="*/ 14868 w 16095"/>
                <a:gd name="T5" fmla="*/ 12488 h 13579"/>
                <a:gd name="T6" fmla="*/ 14712 w 16095"/>
                <a:gd name="T7" fmla="*/ 12557 h 13579"/>
                <a:gd name="T8" fmla="*/ 1483 w 16095"/>
                <a:gd name="T9" fmla="*/ 12572 h 13579"/>
                <a:gd name="T10" fmla="*/ 1313 w 16095"/>
                <a:gd name="T11" fmla="*/ 12534 h 13579"/>
                <a:gd name="T12" fmla="*/ 1171 w 16095"/>
                <a:gd name="T13" fmla="*/ 12442 h 13579"/>
                <a:gd name="T14" fmla="*/ 1066 w 16095"/>
                <a:gd name="T15" fmla="*/ 12311 h 13579"/>
                <a:gd name="T16" fmla="*/ 1012 w 16095"/>
                <a:gd name="T17" fmla="*/ 12147 h 13579"/>
                <a:gd name="T18" fmla="*/ 1011 w 16095"/>
                <a:gd name="T19" fmla="*/ 4458 h 13579"/>
                <a:gd name="T20" fmla="*/ 1054 w 16095"/>
                <a:gd name="T21" fmla="*/ 4310 h 13579"/>
                <a:gd name="T22" fmla="*/ 1140 w 16095"/>
                <a:gd name="T23" fmla="*/ 4186 h 13579"/>
                <a:gd name="T24" fmla="*/ 1258 w 16095"/>
                <a:gd name="T25" fmla="*/ 4090 h 13579"/>
                <a:gd name="T26" fmla="*/ 1404 w 16095"/>
                <a:gd name="T27" fmla="*/ 4035 h 13579"/>
                <a:gd name="T28" fmla="*/ 5099 w 16095"/>
                <a:gd name="T29" fmla="*/ 1253 h 13579"/>
                <a:gd name="T30" fmla="*/ 5179 w 16095"/>
                <a:gd name="T31" fmla="*/ 1151 h 13579"/>
                <a:gd name="T32" fmla="*/ 5281 w 16095"/>
                <a:gd name="T33" fmla="*/ 1073 h 13579"/>
                <a:gd name="T34" fmla="*/ 5401 w 16095"/>
                <a:gd name="T35" fmla="*/ 1023 h 13579"/>
                <a:gd name="T36" fmla="*/ 5533 w 16095"/>
                <a:gd name="T37" fmla="*/ 1006 h 13579"/>
                <a:gd name="T38" fmla="*/ 10675 w 16095"/>
                <a:gd name="T39" fmla="*/ 1019 h 13579"/>
                <a:gd name="T40" fmla="*/ 10797 w 16095"/>
                <a:gd name="T41" fmla="*/ 1064 h 13579"/>
                <a:gd name="T42" fmla="*/ 10901 w 16095"/>
                <a:gd name="T43" fmla="*/ 1138 h 13579"/>
                <a:gd name="T44" fmla="*/ 10986 w 16095"/>
                <a:gd name="T45" fmla="*/ 1237 h 13579"/>
                <a:gd name="T46" fmla="*/ 14669 w 16095"/>
                <a:gd name="T47" fmla="*/ 4031 h 13579"/>
                <a:gd name="T48" fmla="*/ 14817 w 16095"/>
                <a:gd name="T49" fmla="*/ 4080 h 13579"/>
                <a:gd name="T50" fmla="*/ 14940 w 16095"/>
                <a:gd name="T51" fmla="*/ 4170 h 13579"/>
                <a:gd name="T52" fmla="*/ 15031 w 16095"/>
                <a:gd name="T53" fmla="*/ 4291 h 13579"/>
                <a:gd name="T54" fmla="*/ 15081 w 16095"/>
                <a:gd name="T55" fmla="*/ 4436 h 13579"/>
                <a:gd name="T56" fmla="*/ 12654 w 16095"/>
                <a:gd name="T57" fmla="*/ 2675 h 13579"/>
                <a:gd name="T58" fmla="*/ 11802 w 16095"/>
                <a:gd name="T59" fmla="*/ 647 h 13579"/>
                <a:gd name="T60" fmla="*/ 11540 w 16095"/>
                <a:gd name="T61" fmla="*/ 358 h 13579"/>
                <a:gd name="T62" fmla="*/ 11217 w 16095"/>
                <a:gd name="T63" fmla="*/ 148 h 13579"/>
                <a:gd name="T64" fmla="*/ 10847 w 16095"/>
                <a:gd name="T65" fmla="*/ 26 h 13579"/>
                <a:gd name="T66" fmla="*/ 5474 w 16095"/>
                <a:gd name="T67" fmla="*/ 1 h 13579"/>
                <a:gd name="T68" fmla="*/ 5085 w 16095"/>
                <a:gd name="T69" fmla="*/ 67 h 13579"/>
                <a:gd name="T70" fmla="*/ 4733 w 16095"/>
                <a:gd name="T71" fmla="*/ 227 h 13579"/>
                <a:gd name="T72" fmla="*/ 4434 w 16095"/>
                <a:gd name="T73" fmla="*/ 473 h 13579"/>
                <a:gd name="T74" fmla="*/ 4204 w 16095"/>
                <a:gd name="T75" fmla="*/ 792 h 13579"/>
                <a:gd name="T76" fmla="*/ 1127 w 16095"/>
                <a:gd name="T77" fmla="*/ 3067 h 13579"/>
                <a:gd name="T78" fmla="*/ 700 w 16095"/>
                <a:gd name="T79" fmla="*/ 3251 h 13579"/>
                <a:gd name="T80" fmla="*/ 357 w 16095"/>
                <a:gd name="T81" fmla="*/ 3550 h 13579"/>
                <a:gd name="T82" fmla="*/ 119 w 16095"/>
                <a:gd name="T83" fmla="*/ 3937 h 13579"/>
                <a:gd name="T84" fmla="*/ 6 w 16095"/>
                <a:gd name="T85" fmla="*/ 4389 h 13579"/>
                <a:gd name="T86" fmla="*/ 31 w 16095"/>
                <a:gd name="T87" fmla="*/ 12374 h 13579"/>
                <a:gd name="T88" fmla="*/ 218 w 16095"/>
                <a:gd name="T89" fmla="*/ 12852 h 13579"/>
                <a:gd name="T90" fmla="*/ 549 w 16095"/>
                <a:gd name="T91" fmla="*/ 13234 h 13579"/>
                <a:gd name="T92" fmla="*/ 991 w 16095"/>
                <a:gd name="T93" fmla="*/ 13487 h 13579"/>
                <a:gd name="T94" fmla="*/ 1509 w 16095"/>
                <a:gd name="T95" fmla="*/ 13579 h 13579"/>
                <a:gd name="T96" fmla="*/ 15034 w 16095"/>
                <a:gd name="T97" fmla="*/ 13511 h 13579"/>
                <a:gd name="T98" fmla="*/ 15488 w 16095"/>
                <a:gd name="T99" fmla="*/ 13279 h 13579"/>
                <a:gd name="T100" fmla="*/ 15836 w 16095"/>
                <a:gd name="T101" fmla="*/ 12913 h 13579"/>
                <a:gd name="T102" fmla="*/ 16048 w 16095"/>
                <a:gd name="T103" fmla="*/ 12446 h 13579"/>
                <a:gd name="T104" fmla="*/ 16093 w 16095"/>
                <a:gd name="T105" fmla="*/ 4457 h 13579"/>
                <a:gd name="T106" fmla="*/ 16000 w 16095"/>
                <a:gd name="T107" fmla="*/ 3999 h 13579"/>
                <a:gd name="T108" fmla="*/ 15779 w 16095"/>
                <a:gd name="T109" fmla="*/ 3600 h 13579"/>
                <a:gd name="T110" fmla="*/ 15450 w 16095"/>
                <a:gd name="T111" fmla="*/ 3287 h 13579"/>
                <a:gd name="T112" fmla="*/ 15034 w 16095"/>
                <a:gd name="T113" fmla="*/ 3085 h 135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3579">
                  <a:moveTo>
                    <a:pt x="15089" y="12070"/>
                  </a:moveTo>
                  <a:lnTo>
                    <a:pt x="15088" y="12096"/>
                  </a:lnTo>
                  <a:lnTo>
                    <a:pt x="15086" y="12121"/>
                  </a:lnTo>
                  <a:lnTo>
                    <a:pt x="15083" y="12147"/>
                  </a:lnTo>
                  <a:lnTo>
                    <a:pt x="15079" y="12172"/>
                  </a:lnTo>
                  <a:lnTo>
                    <a:pt x="15073" y="12196"/>
                  </a:lnTo>
                  <a:lnTo>
                    <a:pt x="15067" y="12220"/>
                  </a:lnTo>
                  <a:lnTo>
                    <a:pt x="15059" y="12243"/>
                  </a:lnTo>
                  <a:lnTo>
                    <a:pt x="15050" y="12266"/>
                  </a:lnTo>
                  <a:lnTo>
                    <a:pt x="15040" y="12288"/>
                  </a:lnTo>
                  <a:lnTo>
                    <a:pt x="15029" y="12311"/>
                  </a:lnTo>
                  <a:lnTo>
                    <a:pt x="15017" y="12331"/>
                  </a:lnTo>
                  <a:lnTo>
                    <a:pt x="15004" y="12352"/>
                  </a:lnTo>
                  <a:lnTo>
                    <a:pt x="14989" y="12371"/>
                  </a:lnTo>
                  <a:lnTo>
                    <a:pt x="14974" y="12390"/>
                  </a:lnTo>
                  <a:lnTo>
                    <a:pt x="14958" y="12408"/>
                  </a:lnTo>
                  <a:lnTo>
                    <a:pt x="14942" y="12426"/>
                  </a:lnTo>
                  <a:lnTo>
                    <a:pt x="14924" y="12442"/>
                  </a:lnTo>
                  <a:lnTo>
                    <a:pt x="14906" y="12458"/>
                  </a:lnTo>
                  <a:lnTo>
                    <a:pt x="14887" y="12473"/>
                  </a:lnTo>
                  <a:lnTo>
                    <a:pt x="14868" y="12488"/>
                  </a:lnTo>
                  <a:lnTo>
                    <a:pt x="14847" y="12501"/>
                  </a:lnTo>
                  <a:lnTo>
                    <a:pt x="14826" y="12513"/>
                  </a:lnTo>
                  <a:lnTo>
                    <a:pt x="14804" y="12524"/>
                  </a:lnTo>
                  <a:lnTo>
                    <a:pt x="14782" y="12534"/>
                  </a:lnTo>
                  <a:lnTo>
                    <a:pt x="14759" y="12543"/>
                  </a:lnTo>
                  <a:lnTo>
                    <a:pt x="14736" y="12551"/>
                  </a:lnTo>
                  <a:lnTo>
                    <a:pt x="14712" y="12557"/>
                  </a:lnTo>
                  <a:lnTo>
                    <a:pt x="14688" y="12563"/>
                  </a:lnTo>
                  <a:lnTo>
                    <a:pt x="14663" y="12567"/>
                  </a:lnTo>
                  <a:lnTo>
                    <a:pt x="14637" y="12570"/>
                  </a:lnTo>
                  <a:lnTo>
                    <a:pt x="14612" y="12572"/>
                  </a:lnTo>
                  <a:lnTo>
                    <a:pt x="14586" y="12573"/>
                  </a:lnTo>
                  <a:lnTo>
                    <a:pt x="1509" y="12573"/>
                  </a:lnTo>
                  <a:lnTo>
                    <a:pt x="1483" y="12572"/>
                  </a:lnTo>
                  <a:lnTo>
                    <a:pt x="1458" y="12570"/>
                  </a:lnTo>
                  <a:lnTo>
                    <a:pt x="1432" y="12567"/>
                  </a:lnTo>
                  <a:lnTo>
                    <a:pt x="1407" y="12563"/>
                  </a:lnTo>
                  <a:lnTo>
                    <a:pt x="1383" y="12557"/>
                  </a:lnTo>
                  <a:lnTo>
                    <a:pt x="1359" y="12551"/>
                  </a:lnTo>
                  <a:lnTo>
                    <a:pt x="1336" y="12543"/>
                  </a:lnTo>
                  <a:lnTo>
                    <a:pt x="1313" y="12534"/>
                  </a:lnTo>
                  <a:lnTo>
                    <a:pt x="1291" y="12524"/>
                  </a:lnTo>
                  <a:lnTo>
                    <a:pt x="1268" y="12513"/>
                  </a:lnTo>
                  <a:lnTo>
                    <a:pt x="1248" y="12501"/>
                  </a:lnTo>
                  <a:lnTo>
                    <a:pt x="1227" y="12488"/>
                  </a:lnTo>
                  <a:lnTo>
                    <a:pt x="1208" y="12473"/>
                  </a:lnTo>
                  <a:lnTo>
                    <a:pt x="1189" y="12458"/>
                  </a:lnTo>
                  <a:lnTo>
                    <a:pt x="1171" y="12442"/>
                  </a:lnTo>
                  <a:lnTo>
                    <a:pt x="1153" y="12426"/>
                  </a:lnTo>
                  <a:lnTo>
                    <a:pt x="1137" y="12408"/>
                  </a:lnTo>
                  <a:lnTo>
                    <a:pt x="1121" y="12390"/>
                  </a:lnTo>
                  <a:lnTo>
                    <a:pt x="1106" y="12371"/>
                  </a:lnTo>
                  <a:lnTo>
                    <a:pt x="1091" y="12352"/>
                  </a:lnTo>
                  <a:lnTo>
                    <a:pt x="1078" y="12331"/>
                  </a:lnTo>
                  <a:lnTo>
                    <a:pt x="1066" y="12311"/>
                  </a:lnTo>
                  <a:lnTo>
                    <a:pt x="1055" y="12288"/>
                  </a:lnTo>
                  <a:lnTo>
                    <a:pt x="1045" y="12266"/>
                  </a:lnTo>
                  <a:lnTo>
                    <a:pt x="1036" y="12243"/>
                  </a:lnTo>
                  <a:lnTo>
                    <a:pt x="1028" y="12220"/>
                  </a:lnTo>
                  <a:lnTo>
                    <a:pt x="1022" y="12196"/>
                  </a:lnTo>
                  <a:lnTo>
                    <a:pt x="1016" y="12172"/>
                  </a:lnTo>
                  <a:lnTo>
                    <a:pt x="1012" y="12147"/>
                  </a:lnTo>
                  <a:lnTo>
                    <a:pt x="1009" y="12121"/>
                  </a:lnTo>
                  <a:lnTo>
                    <a:pt x="1007" y="12096"/>
                  </a:lnTo>
                  <a:lnTo>
                    <a:pt x="1006" y="12070"/>
                  </a:lnTo>
                  <a:lnTo>
                    <a:pt x="1006" y="4527"/>
                  </a:lnTo>
                  <a:lnTo>
                    <a:pt x="1006" y="4504"/>
                  </a:lnTo>
                  <a:lnTo>
                    <a:pt x="1008" y="4480"/>
                  </a:lnTo>
                  <a:lnTo>
                    <a:pt x="1011" y="4458"/>
                  </a:lnTo>
                  <a:lnTo>
                    <a:pt x="1014" y="4436"/>
                  </a:lnTo>
                  <a:lnTo>
                    <a:pt x="1018" y="4414"/>
                  </a:lnTo>
                  <a:lnTo>
                    <a:pt x="1024" y="4393"/>
                  </a:lnTo>
                  <a:lnTo>
                    <a:pt x="1030" y="4372"/>
                  </a:lnTo>
                  <a:lnTo>
                    <a:pt x="1037" y="4351"/>
                  </a:lnTo>
                  <a:lnTo>
                    <a:pt x="1045" y="4331"/>
                  </a:lnTo>
                  <a:lnTo>
                    <a:pt x="1054" y="4310"/>
                  </a:lnTo>
                  <a:lnTo>
                    <a:pt x="1064" y="4291"/>
                  </a:lnTo>
                  <a:lnTo>
                    <a:pt x="1075" y="4272"/>
                  </a:lnTo>
                  <a:lnTo>
                    <a:pt x="1086" y="4254"/>
                  </a:lnTo>
                  <a:lnTo>
                    <a:pt x="1098" y="4236"/>
                  </a:lnTo>
                  <a:lnTo>
                    <a:pt x="1112" y="4218"/>
                  </a:lnTo>
                  <a:lnTo>
                    <a:pt x="1126" y="4202"/>
                  </a:lnTo>
                  <a:lnTo>
                    <a:pt x="1140" y="4186"/>
                  </a:lnTo>
                  <a:lnTo>
                    <a:pt x="1155" y="4170"/>
                  </a:lnTo>
                  <a:lnTo>
                    <a:pt x="1171" y="4154"/>
                  </a:lnTo>
                  <a:lnTo>
                    <a:pt x="1187" y="4140"/>
                  </a:lnTo>
                  <a:lnTo>
                    <a:pt x="1204" y="4126"/>
                  </a:lnTo>
                  <a:lnTo>
                    <a:pt x="1221" y="4114"/>
                  </a:lnTo>
                  <a:lnTo>
                    <a:pt x="1239" y="4102"/>
                  </a:lnTo>
                  <a:lnTo>
                    <a:pt x="1258" y="4090"/>
                  </a:lnTo>
                  <a:lnTo>
                    <a:pt x="1278" y="4080"/>
                  </a:lnTo>
                  <a:lnTo>
                    <a:pt x="1298" y="4070"/>
                  </a:lnTo>
                  <a:lnTo>
                    <a:pt x="1318" y="4061"/>
                  </a:lnTo>
                  <a:lnTo>
                    <a:pt x="1339" y="4054"/>
                  </a:lnTo>
                  <a:lnTo>
                    <a:pt x="1360" y="4046"/>
                  </a:lnTo>
                  <a:lnTo>
                    <a:pt x="1382" y="4040"/>
                  </a:lnTo>
                  <a:lnTo>
                    <a:pt x="1404" y="4035"/>
                  </a:lnTo>
                  <a:lnTo>
                    <a:pt x="1426" y="4031"/>
                  </a:lnTo>
                  <a:lnTo>
                    <a:pt x="4164" y="3574"/>
                  </a:lnTo>
                  <a:lnTo>
                    <a:pt x="5065" y="1322"/>
                  </a:lnTo>
                  <a:lnTo>
                    <a:pt x="5073" y="1305"/>
                  </a:lnTo>
                  <a:lnTo>
                    <a:pt x="5081" y="1288"/>
                  </a:lnTo>
                  <a:lnTo>
                    <a:pt x="5089" y="1270"/>
                  </a:lnTo>
                  <a:lnTo>
                    <a:pt x="5099" y="1253"/>
                  </a:lnTo>
                  <a:lnTo>
                    <a:pt x="5108" y="1237"/>
                  </a:lnTo>
                  <a:lnTo>
                    <a:pt x="5119" y="1222"/>
                  </a:lnTo>
                  <a:lnTo>
                    <a:pt x="5130" y="1207"/>
                  </a:lnTo>
                  <a:lnTo>
                    <a:pt x="5141" y="1192"/>
                  </a:lnTo>
                  <a:lnTo>
                    <a:pt x="5153" y="1178"/>
                  </a:lnTo>
                  <a:lnTo>
                    <a:pt x="5165" y="1164"/>
                  </a:lnTo>
                  <a:lnTo>
                    <a:pt x="5179" y="1151"/>
                  </a:lnTo>
                  <a:lnTo>
                    <a:pt x="5193" y="1138"/>
                  </a:lnTo>
                  <a:lnTo>
                    <a:pt x="5206" y="1126"/>
                  </a:lnTo>
                  <a:lnTo>
                    <a:pt x="5221" y="1115"/>
                  </a:lnTo>
                  <a:lnTo>
                    <a:pt x="5235" y="1102"/>
                  </a:lnTo>
                  <a:lnTo>
                    <a:pt x="5250" y="1092"/>
                  </a:lnTo>
                  <a:lnTo>
                    <a:pt x="5266" y="1082"/>
                  </a:lnTo>
                  <a:lnTo>
                    <a:pt x="5281" y="1073"/>
                  </a:lnTo>
                  <a:lnTo>
                    <a:pt x="5298" y="1064"/>
                  </a:lnTo>
                  <a:lnTo>
                    <a:pt x="5314" y="1055"/>
                  </a:lnTo>
                  <a:lnTo>
                    <a:pt x="5331" y="1048"/>
                  </a:lnTo>
                  <a:lnTo>
                    <a:pt x="5349" y="1041"/>
                  </a:lnTo>
                  <a:lnTo>
                    <a:pt x="5366" y="1034"/>
                  </a:lnTo>
                  <a:lnTo>
                    <a:pt x="5384" y="1028"/>
                  </a:lnTo>
                  <a:lnTo>
                    <a:pt x="5401" y="1023"/>
                  </a:lnTo>
                  <a:lnTo>
                    <a:pt x="5419" y="1019"/>
                  </a:lnTo>
                  <a:lnTo>
                    <a:pt x="5438" y="1015"/>
                  </a:lnTo>
                  <a:lnTo>
                    <a:pt x="5456" y="1012"/>
                  </a:lnTo>
                  <a:lnTo>
                    <a:pt x="5475" y="1009"/>
                  </a:lnTo>
                  <a:lnTo>
                    <a:pt x="5494" y="1007"/>
                  </a:lnTo>
                  <a:lnTo>
                    <a:pt x="5514" y="1006"/>
                  </a:lnTo>
                  <a:lnTo>
                    <a:pt x="5533" y="1006"/>
                  </a:lnTo>
                  <a:lnTo>
                    <a:pt x="10562" y="1006"/>
                  </a:lnTo>
                  <a:lnTo>
                    <a:pt x="10581" y="1006"/>
                  </a:lnTo>
                  <a:lnTo>
                    <a:pt x="10601" y="1007"/>
                  </a:lnTo>
                  <a:lnTo>
                    <a:pt x="10620" y="1009"/>
                  </a:lnTo>
                  <a:lnTo>
                    <a:pt x="10638" y="1012"/>
                  </a:lnTo>
                  <a:lnTo>
                    <a:pt x="10657" y="1015"/>
                  </a:lnTo>
                  <a:lnTo>
                    <a:pt x="10675" y="1019"/>
                  </a:lnTo>
                  <a:lnTo>
                    <a:pt x="10693" y="1023"/>
                  </a:lnTo>
                  <a:lnTo>
                    <a:pt x="10711" y="1028"/>
                  </a:lnTo>
                  <a:lnTo>
                    <a:pt x="10728" y="1034"/>
                  </a:lnTo>
                  <a:lnTo>
                    <a:pt x="10746" y="1041"/>
                  </a:lnTo>
                  <a:lnTo>
                    <a:pt x="10764" y="1048"/>
                  </a:lnTo>
                  <a:lnTo>
                    <a:pt x="10780" y="1055"/>
                  </a:lnTo>
                  <a:lnTo>
                    <a:pt x="10797" y="1064"/>
                  </a:lnTo>
                  <a:lnTo>
                    <a:pt x="10813" y="1073"/>
                  </a:lnTo>
                  <a:lnTo>
                    <a:pt x="10828" y="1082"/>
                  </a:lnTo>
                  <a:lnTo>
                    <a:pt x="10844" y="1092"/>
                  </a:lnTo>
                  <a:lnTo>
                    <a:pt x="10859" y="1102"/>
                  </a:lnTo>
                  <a:lnTo>
                    <a:pt x="10873" y="1115"/>
                  </a:lnTo>
                  <a:lnTo>
                    <a:pt x="10888" y="1126"/>
                  </a:lnTo>
                  <a:lnTo>
                    <a:pt x="10901" y="1138"/>
                  </a:lnTo>
                  <a:lnTo>
                    <a:pt x="10915" y="1151"/>
                  </a:lnTo>
                  <a:lnTo>
                    <a:pt x="10929" y="1164"/>
                  </a:lnTo>
                  <a:lnTo>
                    <a:pt x="10941" y="1178"/>
                  </a:lnTo>
                  <a:lnTo>
                    <a:pt x="10953" y="1192"/>
                  </a:lnTo>
                  <a:lnTo>
                    <a:pt x="10964" y="1207"/>
                  </a:lnTo>
                  <a:lnTo>
                    <a:pt x="10975" y="1222"/>
                  </a:lnTo>
                  <a:lnTo>
                    <a:pt x="10986" y="1237"/>
                  </a:lnTo>
                  <a:lnTo>
                    <a:pt x="10995" y="1253"/>
                  </a:lnTo>
                  <a:lnTo>
                    <a:pt x="11005" y="1270"/>
                  </a:lnTo>
                  <a:lnTo>
                    <a:pt x="11013" y="1288"/>
                  </a:lnTo>
                  <a:lnTo>
                    <a:pt x="11021" y="1305"/>
                  </a:lnTo>
                  <a:lnTo>
                    <a:pt x="11029" y="1322"/>
                  </a:lnTo>
                  <a:lnTo>
                    <a:pt x="11929" y="3574"/>
                  </a:lnTo>
                  <a:lnTo>
                    <a:pt x="14669" y="4031"/>
                  </a:lnTo>
                  <a:lnTo>
                    <a:pt x="14691" y="4035"/>
                  </a:lnTo>
                  <a:lnTo>
                    <a:pt x="14713" y="4040"/>
                  </a:lnTo>
                  <a:lnTo>
                    <a:pt x="14735" y="4046"/>
                  </a:lnTo>
                  <a:lnTo>
                    <a:pt x="14756" y="4054"/>
                  </a:lnTo>
                  <a:lnTo>
                    <a:pt x="14777" y="4061"/>
                  </a:lnTo>
                  <a:lnTo>
                    <a:pt x="14797" y="4070"/>
                  </a:lnTo>
                  <a:lnTo>
                    <a:pt x="14817" y="4080"/>
                  </a:lnTo>
                  <a:lnTo>
                    <a:pt x="14837" y="4090"/>
                  </a:lnTo>
                  <a:lnTo>
                    <a:pt x="14856" y="4102"/>
                  </a:lnTo>
                  <a:lnTo>
                    <a:pt x="14874" y="4114"/>
                  </a:lnTo>
                  <a:lnTo>
                    <a:pt x="14891" y="4126"/>
                  </a:lnTo>
                  <a:lnTo>
                    <a:pt x="14908" y="4140"/>
                  </a:lnTo>
                  <a:lnTo>
                    <a:pt x="14924" y="4154"/>
                  </a:lnTo>
                  <a:lnTo>
                    <a:pt x="14940" y="4170"/>
                  </a:lnTo>
                  <a:lnTo>
                    <a:pt x="14955" y="4186"/>
                  </a:lnTo>
                  <a:lnTo>
                    <a:pt x="14969" y="4202"/>
                  </a:lnTo>
                  <a:lnTo>
                    <a:pt x="14983" y="4218"/>
                  </a:lnTo>
                  <a:lnTo>
                    <a:pt x="14997" y="4236"/>
                  </a:lnTo>
                  <a:lnTo>
                    <a:pt x="15009" y="4254"/>
                  </a:lnTo>
                  <a:lnTo>
                    <a:pt x="15020" y="4272"/>
                  </a:lnTo>
                  <a:lnTo>
                    <a:pt x="15031" y="4291"/>
                  </a:lnTo>
                  <a:lnTo>
                    <a:pt x="15041" y="4310"/>
                  </a:lnTo>
                  <a:lnTo>
                    <a:pt x="15050" y="4331"/>
                  </a:lnTo>
                  <a:lnTo>
                    <a:pt x="15058" y="4351"/>
                  </a:lnTo>
                  <a:lnTo>
                    <a:pt x="15065" y="4372"/>
                  </a:lnTo>
                  <a:lnTo>
                    <a:pt x="15071" y="4393"/>
                  </a:lnTo>
                  <a:lnTo>
                    <a:pt x="15076" y="4414"/>
                  </a:lnTo>
                  <a:lnTo>
                    <a:pt x="15081" y="4436"/>
                  </a:lnTo>
                  <a:lnTo>
                    <a:pt x="15084" y="4458"/>
                  </a:lnTo>
                  <a:lnTo>
                    <a:pt x="15087" y="4480"/>
                  </a:lnTo>
                  <a:lnTo>
                    <a:pt x="15088" y="4504"/>
                  </a:lnTo>
                  <a:lnTo>
                    <a:pt x="15089" y="4527"/>
                  </a:lnTo>
                  <a:lnTo>
                    <a:pt x="15089" y="12070"/>
                  </a:lnTo>
                  <a:close/>
                  <a:moveTo>
                    <a:pt x="14834" y="3038"/>
                  </a:moveTo>
                  <a:lnTo>
                    <a:pt x="12654" y="2675"/>
                  </a:lnTo>
                  <a:lnTo>
                    <a:pt x="11963" y="948"/>
                  </a:lnTo>
                  <a:lnTo>
                    <a:pt x="11940" y="894"/>
                  </a:lnTo>
                  <a:lnTo>
                    <a:pt x="11916" y="842"/>
                  </a:lnTo>
                  <a:lnTo>
                    <a:pt x="11890" y="792"/>
                  </a:lnTo>
                  <a:lnTo>
                    <a:pt x="11862" y="741"/>
                  </a:lnTo>
                  <a:lnTo>
                    <a:pt x="11833" y="693"/>
                  </a:lnTo>
                  <a:lnTo>
                    <a:pt x="11802" y="647"/>
                  </a:lnTo>
                  <a:lnTo>
                    <a:pt x="11768" y="601"/>
                  </a:lnTo>
                  <a:lnTo>
                    <a:pt x="11734" y="556"/>
                  </a:lnTo>
                  <a:lnTo>
                    <a:pt x="11698" y="514"/>
                  </a:lnTo>
                  <a:lnTo>
                    <a:pt x="11661" y="473"/>
                  </a:lnTo>
                  <a:lnTo>
                    <a:pt x="11622" y="433"/>
                  </a:lnTo>
                  <a:lnTo>
                    <a:pt x="11581" y="394"/>
                  </a:lnTo>
                  <a:lnTo>
                    <a:pt x="11540" y="358"/>
                  </a:lnTo>
                  <a:lnTo>
                    <a:pt x="11498" y="323"/>
                  </a:lnTo>
                  <a:lnTo>
                    <a:pt x="11454" y="290"/>
                  </a:lnTo>
                  <a:lnTo>
                    <a:pt x="11408" y="258"/>
                  </a:lnTo>
                  <a:lnTo>
                    <a:pt x="11362" y="227"/>
                  </a:lnTo>
                  <a:lnTo>
                    <a:pt x="11315" y="199"/>
                  </a:lnTo>
                  <a:lnTo>
                    <a:pt x="11267" y="173"/>
                  </a:lnTo>
                  <a:lnTo>
                    <a:pt x="11217" y="148"/>
                  </a:lnTo>
                  <a:lnTo>
                    <a:pt x="11167" y="125"/>
                  </a:lnTo>
                  <a:lnTo>
                    <a:pt x="11116" y="104"/>
                  </a:lnTo>
                  <a:lnTo>
                    <a:pt x="11063" y="84"/>
                  </a:lnTo>
                  <a:lnTo>
                    <a:pt x="11010" y="67"/>
                  </a:lnTo>
                  <a:lnTo>
                    <a:pt x="10957" y="51"/>
                  </a:lnTo>
                  <a:lnTo>
                    <a:pt x="10902" y="38"/>
                  </a:lnTo>
                  <a:lnTo>
                    <a:pt x="10847" y="26"/>
                  </a:lnTo>
                  <a:lnTo>
                    <a:pt x="10791" y="17"/>
                  </a:lnTo>
                  <a:lnTo>
                    <a:pt x="10734" y="10"/>
                  </a:lnTo>
                  <a:lnTo>
                    <a:pt x="10678" y="4"/>
                  </a:lnTo>
                  <a:lnTo>
                    <a:pt x="10621" y="1"/>
                  </a:lnTo>
                  <a:lnTo>
                    <a:pt x="10562" y="0"/>
                  </a:lnTo>
                  <a:lnTo>
                    <a:pt x="5533" y="0"/>
                  </a:lnTo>
                  <a:lnTo>
                    <a:pt x="5474" y="1"/>
                  </a:lnTo>
                  <a:lnTo>
                    <a:pt x="5417" y="4"/>
                  </a:lnTo>
                  <a:lnTo>
                    <a:pt x="5361" y="10"/>
                  </a:lnTo>
                  <a:lnTo>
                    <a:pt x="5304" y="17"/>
                  </a:lnTo>
                  <a:lnTo>
                    <a:pt x="5248" y="26"/>
                  </a:lnTo>
                  <a:lnTo>
                    <a:pt x="5193" y="38"/>
                  </a:lnTo>
                  <a:lnTo>
                    <a:pt x="5138" y="51"/>
                  </a:lnTo>
                  <a:lnTo>
                    <a:pt x="5085" y="67"/>
                  </a:lnTo>
                  <a:lnTo>
                    <a:pt x="5032" y="84"/>
                  </a:lnTo>
                  <a:lnTo>
                    <a:pt x="4979" y="104"/>
                  </a:lnTo>
                  <a:lnTo>
                    <a:pt x="4928" y="125"/>
                  </a:lnTo>
                  <a:lnTo>
                    <a:pt x="4878" y="148"/>
                  </a:lnTo>
                  <a:lnTo>
                    <a:pt x="4829" y="173"/>
                  </a:lnTo>
                  <a:lnTo>
                    <a:pt x="4780" y="199"/>
                  </a:lnTo>
                  <a:lnTo>
                    <a:pt x="4733" y="227"/>
                  </a:lnTo>
                  <a:lnTo>
                    <a:pt x="4687" y="258"/>
                  </a:lnTo>
                  <a:lnTo>
                    <a:pt x="4641" y="290"/>
                  </a:lnTo>
                  <a:lnTo>
                    <a:pt x="4597" y="323"/>
                  </a:lnTo>
                  <a:lnTo>
                    <a:pt x="4555" y="358"/>
                  </a:lnTo>
                  <a:lnTo>
                    <a:pt x="4513" y="395"/>
                  </a:lnTo>
                  <a:lnTo>
                    <a:pt x="4472" y="434"/>
                  </a:lnTo>
                  <a:lnTo>
                    <a:pt x="4434" y="473"/>
                  </a:lnTo>
                  <a:lnTo>
                    <a:pt x="4397" y="514"/>
                  </a:lnTo>
                  <a:lnTo>
                    <a:pt x="4361" y="557"/>
                  </a:lnTo>
                  <a:lnTo>
                    <a:pt x="4327" y="602"/>
                  </a:lnTo>
                  <a:lnTo>
                    <a:pt x="4293" y="647"/>
                  </a:lnTo>
                  <a:lnTo>
                    <a:pt x="4262" y="694"/>
                  </a:lnTo>
                  <a:lnTo>
                    <a:pt x="4232" y="742"/>
                  </a:lnTo>
                  <a:lnTo>
                    <a:pt x="4204" y="792"/>
                  </a:lnTo>
                  <a:lnTo>
                    <a:pt x="4178" y="843"/>
                  </a:lnTo>
                  <a:lnTo>
                    <a:pt x="4154" y="895"/>
                  </a:lnTo>
                  <a:lnTo>
                    <a:pt x="4130" y="949"/>
                  </a:lnTo>
                  <a:lnTo>
                    <a:pt x="3441" y="2675"/>
                  </a:lnTo>
                  <a:lnTo>
                    <a:pt x="1261" y="3038"/>
                  </a:lnTo>
                  <a:lnTo>
                    <a:pt x="1193" y="3051"/>
                  </a:lnTo>
                  <a:lnTo>
                    <a:pt x="1127" y="3067"/>
                  </a:lnTo>
                  <a:lnTo>
                    <a:pt x="1061" y="3085"/>
                  </a:lnTo>
                  <a:lnTo>
                    <a:pt x="998" y="3106"/>
                  </a:lnTo>
                  <a:lnTo>
                    <a:pt x="935" y="3130"/>
                  </a:lnTo>
                  <a:lnTo>
                    <a:pt x="873" y="3158"/>
                  </a:lnTo>
                  <a:lnTo>
                    <a:pt x="814" y="3186"/>
                  </a:lnTo>
                  <a:lnTo>
                    <a:pt x="756" y="3218"/>
                  </a:lnTo>
                  <a:lnTo>
                    <a:pt x="700" y="3251"/>
                  </a:lnTo>
                  <a:lnTo>
                    <a:pt x="645" y="3287"/>
                  </a:lnTo>
                  <a:lnTo>
                    <a:pt x="592" y="3327"/>
                  </a:lnTo>
                  <a:lnTo>
                    <a:pt x="541" y="3367"/>
                  </a:lnTo>
                  <a:lnTo>
                    <a:pt x="492" y="3410"/>
                  </a:lnTo>
                  <a:lnTo>
                    <a:pt x="445" y="3454"/>
                  </a:lnTo>
                  <a:lnTo>
                    <a:pt x="399" y="3502"/>
                  </a:lnTo>
                  <a:lnTo>
                    <a:pt x="357" y="3550"/>
                  </a:lnTo>
                  <a:lnTo>
                    <a:pt x="316" y="3600"/>
                  </a:lnTo>
                  <a:lnTo>
                    <a:pt x="277" y="3653"/>
                  </a:lnTo>
                  <a:lnTo>
                    <a:pt x="240" y="3707"/>
                  </a:lnTo>
                  <a:lnTo>
                    <a:pt x="206" y="3762"/>
                  </a:lnTo>
                  <a:lnTo>
                    <a:pt x="175" y="3818"/>
                  </a:lnTo>
                  <a:lnTo>
                    <a:pt x="145" y="3877"/>
                  </a:lnTo>
                  <a:lnTo>
                    <a:pt x="119" y="3937"/>
                  </a:lnTo>
                  <a:lnTo>
                    <a:pt x="95" y="3999"/>
                  </a:lnTo>
                  <a:lnTo>
                    <a:pt x="72" y="4061"/>
                  </a:lnTo>
                  <a:lnTo>
                    <a:pt x="53" y="4124"/>
                  </a:lnTo>
                  <a:lnTo>
                    <a:pt x="37" y="4189"/>
                  </a:lnTo>
                  <a:lnTo>
                    <a:pt x="24" y="4255"/>
                  </a:lnTo>
                  <a:lnTo>
                    <a:pt x="14" y="4321"/>
                  </a:lnTo>
                  <a:lnTo>
                    <a:pt x="6" y="4389"/>
                  </a:lnTo>
                  <a:lnTo>
                    <a:pt x="2" y="4457"/>
                  </a:lnTo>
                  <a:lnTo>
                    <a:pt x="0" y="4527"/>
                  </a:lnTo>
                  <a:lnTo>
                    <a:pt x="0" y="12070"/>
                  </a:lnTo>
                  <a:lnTo>
                    <a:pt x="2" y="12148"/>
                  </a:lnTo>
                  <a:lnTo>
                    <a:pt x="8" y="12224"/>
                  </a:lnTo>
                  <a:lnTo>
                    <a:pt x="17" y="12299"/>
                  </a:lnTo>
                  <a:lnTo>
                    <a:pt x="31" y="12374"/>
                  </a:lnTo>
                  <a:lnTo>
                    <a:pt x="47" y="12446"/>
                  </a:lnTo>
                  <a:lnTo>
                    <a:pt x="68" y="12519"/>
                  </a:lnTo>
                  <a:lnTo>
                    <a:pt x="92" y="12588"/>
                  </a:lnTo>
                  <a:lnTo>
                    <a:pt x="119" y="12657"/>
                  </a:lnTo>
                  <a:lnTo>
                    <a:pt x="149" y="12724"/>
                  </a:lnTo>
                  <a:lnTo>
                    <a:pt x="182" y="12788"/>
                  </a:lnTo>
                  <a:lnTo>
                    <a:pt x="218" y="12852"/>
                  </a:lnTo>
                  <a:lnTo>
                    <a:pt x="259" y="12913"/>
                  </a:lnTo>
                  <a:lnTo>
                    <a:pt x="300" y="12972"/>
                  </a:lnTo>
                  <a:lnTo>
                    <a:pt x="345" y="13030"/>
                  </a:lnTo>
                  <a:lnTo>
                    <a:pt x="392" y="13084"/>
                  </a:lnTo>
                  <a:lnTo>
                    <a:pt x="443" y="13136"/>
                  </a:lnTo>
                  <a:lnTo>
                    <a:pt x="495" y="13187"/>
                  </a:lnTo>
                  <a:lnTo>
                    <a:pt x="549" y="13234"/>
                  </a:lnTo>
                  <a:lnTo>
                    <a:pt x="607" y="13279"/>
                  </a:lnTo>
                  <a:lnTo>
                    <a:pt x="666" y="13320"/>
                  </a:lnTo>
                  <a:lnTo>
                    <a:pt x="727" y="13361"/>
                  </a:lnTo>
                  <a:lnTo>
                    <a:pt x="791" y="13397"/>
                  </a:lnTo>
                  <a:lnTo>
                    <a:pt x="855" y="13430"/>
                  </a:lnTo>
                  <a:lnTo>
                    <a:pt x="922" y="13460"/>
                  </a:lnTo>
                  <a:lnTo>
                    <a:pt x="991" y="13487"/>
                  </a:lnTo>
                  <a:lnTo>
                    <a:pt x="1060" y="13511"/>
                  </a:lnTo>
                  <a:lnTo>
                    <a:pt x="1133" y="13532"/>
                  </a:lnTo>
                  <a:lnTo>
                    <a:pt x="1205" y="13548"/>
                  </a:lnTo>
                  <a:lnTo>
                    <a:pt x="1280" y="13562"/>
                  </a:lnTo>
                  <a:lnTo>
                    <a:pt x="1355" y="13571"/>
                  </a:lnTo>
                  <a:lnTo>
                    <a:pt x="1431" y="13577"/>
                  </a:lnTo>
                  <a:lnTo>
                    <a:pt x="1509" y="13579"/>
                  </a:lnTo>
                  <a:lnTo>
                    <a:pt x="14586" y="13579"/>
                  </a:lnTo>
                  <a:lnTo>
                    <a:pt x="14664" y="13577"/>
                  </a:lnTo>
                  <a:lnTo>
                    <a:pt x="14740" y="13571"/>
                  </a:lnTo>
                  <a:lnTo>
                    <a:pt x="14815" y="13562"/>
                  </a:lnTo>
                  <a:lnTo>
                    <a:pt x="14890" y="13548"/>
                  </a:lnTo>
                  <a:lnTo>
                    <a:pt x="14962" y="13532"/>
                  </a:lnTo>
                  <a:lnTo>
                    <a:pt x="15034" y="13511"/>
                  </a:lnTo>
                  <a:lnTo>
                    <a:pt x="15104" y="13487"/>
                  </a:lnTo>
                  <a:lnTo>
                    <a:pt x="15173" y="13460"/>
                  </a:lnTo>
                  <a:lnTo>
                    <a:pt x="15240" y="13430"/>
                  </a:lnTo>
                  <a:lnTo>
                    <a:pt x="15304" y="13397"/>
                  </a:lnTo>
                  <a:lnTo>
                    <a:pt x="15368" y="13361"/>
                  </a:lnTo>
                  <a:lnTo>
                    <a:pt x="15429" y="13320"/>
                  </a:lnTo>
                  <a:lnTo>
                    <a:pt x="15488" y="13279"/>
                  </a:lnTo>
                  <a:lnTo>
                    <a:pt x="15546" y="13234"/>
                  </a:lnTo>
                  <a:lnTo>
                    <a:pt x="15600" y="13187"/>
                  </a:lnTo>
                  <a:lnTo>
                    <a:pt x="15652" y="13136"/>
                  </a:lnTo>
                  <a:lnTo>
                    <a:pt x="15703" y="13084"/>
                  </a:lnTo>
                  <a:lnTo>
                    <a:pt x="15750" y="13030"/>
                  </a:lnTo>
                  <a:lnTo>
                    <a:pt x="15795" y="12972"/>
                  </a:lnTo>
                  <a:lnTo>
                    <a:pt x="15836" y="12913"/>
                  </a:lnTo>
                  <a:lnTo>
                    <a:pt x="15877" y="12852"/>
                  </a:lnTo>
                  <a:lnTo>
                    <a:pt x="15913" y="12788"/>
                  </a:lnTo>
                  <a:lnTo>
                    <a:pt x="15946" y="12724"/>
                  </a:lnTo>
                  <a:lnTo>
                    <a:pt x="15976" y="12657"/>
                  </a:lnTo>
                  <a:lnTo>
                    <a:pt x="16003" y="12588"/>
                  </a:lnTo>
                  <a:lnTo>
                    <a:pt x="16027" y="12519"/>
                  </a:lnTo>
                  <a:lnTo>
                    <a:pt x="16048" y="12446"/>
                  </a:lnTo>
                  <a:lnTo>
                    <a:pt x="16064" y="12374"/>
                  </a:lnTo>
                  <a:lnTo>
                    <a:pt x="16078" y="12299"/>
                  </a:lnTo>
                  <a:lnTo>
                    <a:pt x="16087" y="12224"/>
                  </a:lnTo>
                  <a:lnTo>
                    <a:pt x="16093" y="12148"/>
                  </a:lnTo>
                  <a:lnTo>
                    <a:pt x="16095" y="12070"/>
                  </a:lnTo>
                  <a:lnTo>
                    <a:pt x="16095" y="4527"/>
                  </a:lnTo>
                  <a:lnTo>
                    <a:pt x="16093" y="4457"/>
                  </a:lnTo>
                  <a:lnTo>
                    <a:pt x="16089" y="4389"/>
                  </a:lnTo>
                  <a:lnTo>
                    <a:pt x="16081" y="4321"/>
                  </a:lnTo>
                  <a:lnTo>
                    <a:pt x="16071" y="4255"/>
                  </a:lnTo>
                  <a:lnTo>
                    <a:pt x="16058" y="4189"/>
                  </a:lnTo>
                  <a:lnTo>
                    <a:pt x="16042" y="4124"/>
                  </a:lnTo>
                  <a:lnTo>
                    <a:pt x="16023" y="4061"/>
                  </a:lnTo>
                  <a:lnTo>
                    <a:pt x="16000" y="3999"/>
                  </a:lnTo>
                  <a:lnTo>
                    <a:pt x="15976" y="3937"/>
                  </a:lnTo>
                  <a:lnTo>
                    <a:pt x="15949" y="3877"/>
                  </a:lnTo>
                  <a:lnTo>
                    <a:pt x="15920" y="3818"/>
                  </a:lnTo>
                  <a:lnTo>
                    <a:pt x="15889" y="3762"/>
                  </a:lnTo>
                  <a:lnTo>
                    <a:pt x="15855" y="3707"/>
                  </a:lnTo>
                  <a:lnTo>
                    <a:pt x="15818" y="3653"/>
                  </a:lnTo>
                  <a:lnTo>
                    <a:pt x="15779" y="3600"/>
                  </a:lnTo>
                  <a:lnTo>
                    <a:pt x="15738" y="3550"/>
                  </a:lnTo>
                  <a:lnTo>
                    <a:pt x="15696" y="3502"/>
                  </a:lnTo>
                  <a:lnTo>
                    <a:pt x="15650" y="3454"/>
                  </a:lnTo>
                  <a:lnTo>
                    <a:pt x="15603" y="3410"/>
                  </a:lnTo>
                  <a:lnTo>
                    <a:pt x="15554" y="3367"/>
                  </a:lnTo>
                  <a:lnTo>
                    <a:pt x="15503" y="3327"/>
                  </a:lnTo>
                  <a:lnTo>
                    <a:pt x="15450" y="3287"/>
                  </a:lnTo>
                  <a:lnTo>
                    <a:pt x="15395" y="3251"/>
                  </a:lnTo>
                  <a:lnTo>
                    <a:pt x="15339" y="3218"/>
                  </a:lnTo>
                  <a:lnTo>
                    <a:pt x="15281" y="3186"/>
                  </a:lnTo>
                  <a:lnTo>
                    <a:pt x="15221" y="3158"/>
                  </a:lnTo>
                  <a:lnTo>
                    <a:pt x="15160" y="3130"/>
                  </a:lnTo>
                  <a:lnTo>
                    <a:pt x="15097" y="3106"/>
                  </a:lnTo>
                  <a:lnTo>
                    <a:pt x="15034" y="3085"/>
                  </a:lnTo>
                  <a:lnTo>
                    <a:pt x="14968" y="3067"/>
                  </a:lnTo>
                  <a:lnTo>
                    <a:pt x="14901" y="3051"/>
                  </a:lnTo>
                  <a:lnTo>
                    <a:pt x="14834" y="30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8" name="iṧḷîḍé">
              <a:extLst>
                <a:ext uri="{FF2B5EF4-FFF2-40B4-BE49-F238E27FC236}">
                  <a16:creationId xmlns:a16="http://schemas.microsoft.com/office/drawing/2014/main" id="{0ED45A8D-044E-40E2-8B16-C829C0308C55}"/>
                </a:ext>
              </a:extLst>
            </p:cNvPr>
            <p:cNvSpPr/>
            <p:nvPr/>
          </p:nvSpPr>
          <p:spPr bwMode="auto">
            <a:xfrm>
              <a:off x="1115242" y="1091004"/>
              <a:ext cx="271169" cy="270546"/>
            </a:xfrm>
            <a:custGeom>
              <a:avLst/>
              <a:gdLst>
                <a:gd name="T0" fmla="*/ 13014 w 16095"/>
                <a:gd name="T1" fmla="*/ 9314 h 16058"/>
                <a:gd name="T2" fmla="*/ 12601 w 16095"/>
                <a:gd name="T3" fmla="*/ 10148 h 16058"/>
                <a:gd name="T4" fmla="*/ 12483 w 16095"/>
                <a:gd name="T5" fmla="*/ 10816 h 16058"/>
                <a:gd name="T6" fmla="*/ 11103 w 16095"/>
                <a:gd name="T7" fmla="*/ 12535 h 16058"/>
                <a:gd name="T8" fmla="*/ 10453 w 16095"/>
                <a:gd name="T9" fmla="*/ 12465 h 16058"/>
                <a:gd name="T10" fmla="*/ 9575 w 16095"/>
                <a:gd name="T11" fmla="*/ 12816 h 16058"/>
                <a:gd name="T12" fmla="*/ 9126 w 16095"/>
                <a:gd name="T13" fmla="*/ 13268 h 16058"/>
                <a:gd name="T14" fmla="*/ 6955 w 16095"/>
                <a:gd name="T15" fmla="*/ 13239 h 16058"/>
                <a:gd name="T16" fmla="*/ 6491 w 16095"/>
                <a:gd name="T17" fmla="*/ 12802 h 16058"/>
                <a:gd name="T18" fmla="*/ 5615 w 16095"/>
                <a:gd name="T19" fmla="*/ 12459 h 16058"/>
                <a:gd name="T20" fmla="*/ 4959 w 16095"/>
                <a:gd name="T21" fmla="*/ 12551 h 16058"/>
                <a:gd name="T22" fmla="*/ 3617 w 16095"/>
                <a:gd name="T23" fmla="*/ 10784 h 16058"/>
                <a:gd name="T24" fmla="*/ 3464 w 16095"/>
                <a:gd name="T25" fmla="*/ 10082 h 16058"/>
                <a:gd name="T26" fmla="*/ 3059 w 16095"/>
                <a:gd name="T27" fmla="*/ 9291 h 16058"/>
                <a:gd name="T28" fmla="*/ 1006 w 16095"/>
                <a:gd name="T29" fmla="*/ 7347 h 16058"/>
                <a:gd name="T30" fmla="*/ 3081 w 16095"/>
                <a:gd name="T31" fmla="*/ 6745 h 16058"/>
                <a:gd name="T32" fmla="*/ 3495 w 16095"/>
                <a:gd name="T33" fmla="*/ 5911 h 16058"/>
                <a:gd name="T34" fmla="*/ 3613 w 16095"/>
                <a:gd name="T35" fmla="*/ 5243 h 16058"/>
                <a:gd name="T36" fmla="*/ 4992 w 16095"/>
                <a:gd name="T37" fmla="*/ 3523 h 16058"/>
                <a:gd name="T38" fmla="*/ 5643 w 16095"/>
                <a:gd name="T39" fmla="*/ 3593 h 16058"/>
                <a:gd name="T40" fmla="*/ 6520 w 16095"/>
                <a:gd name="T41" fmla="*/ 3242 h 16058"/>
                <a:gd name="T42" fmla="*/ 6970 w 16095"/>
                <a:gd name="T43" fmla="*/ 2790 h 16058"/>
                <a:gd name="T44" fmla="*/ 9140 w 16095"/>
                <a:gd name="T45" fmla="*/ 2819 h 16058"/>
                <a:gd name="T46" fmla="*/ 9604 w 16095"/>
                <a:gd name="T47" fmla="*/ 3256 h 16058"/>
                <a:gd name="T48" fmla="*/ 10480 w 16095"/>
                <a:gd name="T49" fmla="*/ 3599 h 16058"/>
                <a:gd name="T50" fmla="*/ 11137 w 16095"/>
                <a:gd name="T51" fmla="*/ 3507 h 16058"/>
                <a:gd name="T52" fmla="*/ 12478 w 16095"/>
                <a:gd name="T53" fmla="*/ 5274 h 16058"/>
                <a:gd name="T54" fmla="*/ 12631 w 16095"/>
                <a:gd name="T55" fmla="*/ 5976 h 16058"/>
                <a:gd name="T56" fmla="*/ 13036 w 16095"/>
                <a:gd name="T57" fmla="*/ 6767 h 16058"/>
                <a:gd name="T58" fmla="*/ 15089 w 16095"/>
                <a:gd name="T59" fmla="*/ 8712 h 16058"/>
                <a:gd name="T60" fmla="*/ 14489 w 16095"/>
                <a:gd name="T61" fmla="*/ 3783 h 16058"/>
                <a:gd name="T62" fmla="*/ 14336 w 16095"/>
                <a:gd name="T63" fmla="*/ 2970 h 16058"/>
                <a:gd name="T64" fmla="*/ 12945 w 16095"/>
                <a:gd name="T65" fmla="*/ 1659 h 16058"/>
                <a:gd name="T66" fmla="*/ 12433 w 16095"/>
                <a:gd name="T67" fmla="*/ 1581 h 16058"/>
                <a:gd name="T68" fmla="*/ 10192 w 16095"/>
                <a:gd name="T69" fmla="*/ 2406 h 16058"/>
                <a:gd name="T70" fmla="*/ 9336 w 16095"/>
                <a:gd name="T71" fmla="*/ 202 h 16058"/>
                <a:gd name="T72" fmla="*/ 7187 w 16095"/>
                <a:gd name="T73" fmla="*/ 15 h 16058"/>
                <a:gd name="T74" fmla="*/ 6503 w 16095"/>
                <a:gd name="T75" fmla="*/ 483 h 16058"/>
                <a:gd name="T76" fmla="*/ 4046 w 16095"/>
                <a:gd name="T77" fmla="*/ 1704 h 16058"/>
                <a:gd name="T78" fmla="*/ 3407 w 16095"/>
                <a:gd name="T79" fmla="*/ 1586 h 16058"/>
                <a:gd name="T80" fmla="*/ 2956 w 16095"/>
                <a:gd name="T81" fmla="*/ 1771 h 16058"/>
                <a:gd name="T82" fmla="*/ 1604 w 16095"/>
                <a:gd name="T83" fmla="*/ 3320 h 16058"/>
                <a:gd name="T84" fmla="*/ 2620 w 16095"/>
                <a:gd name="T85" fmla="*/ 5408 h 16058"/>
                <a:gd name="T86" fmla="*/ 379 w 16095"/>
                <a:gd name="T87" fmla="*/ 6562 h 16058"/>
                <a:gd name="T88" fmla="*/ 1 w 16095"/>
                <a:gd name="T89" fmla="*/ 7302 h 16058"/>
                <a:gd name="T90" fmla="*/ 285 w 16095"/>
                <a:gd name="T91" fmla="*/ 9412 h 16058"/>
                <a:gd name="T92" fmla="*/ 2511 w 16095"/>
                <a:gd name="T93" fmla="*/ 10413 h 16058"/>
                <a:gd name="T94" fmla="*/ 1583 w 16095"/>
                <a:gd name="T95" fmla="*/ 12613 h 16058"/>
                <a:gd name="T96" fmla="*/ 2897 w 16095"/>
                <a:gd name="T97" fmla="*/ 14241 h 16058"/>
                <a:gd name="T98" fmla="*/ 3336 w 16095"/>
                <a:gd name="T99" fmla="*/ 14459 h 16058"/>
                <a:gd name="T100" fmla="*/ 3944 w 16095"/>
                <a:gd name="T101" fmla="*/ 14404 h 16058"/>
                <a:gd name="T102" fmla="*/ 6444 w 16095"/>
                <a:gd name="T103" fmla="*/ 15461 h 16058"/>
                <a:gd name="T104" fmla="*/ 7061 w 16095"/>
                <a:gd name="T105" fmla="*/ 16012 h 16058"/>
                <a:gd name="T106" fmla="*/ 9229 w 16095"/>
                <a:gd name="T107" fmla="*/ 15927 h 16058"/>
                <a:gd name="T108" fmla="*/ 9718 w 16095"/>
                <a:gd name="T109" fmla="*/ 15251 h 16058"/>
                <a:gd name="T110" fmla="*/ 12326 w 16095"/>
                <a:gd name="T111" fmla="*/ 14460 h 16058"/>
                <a:gd name="T112" fmla="*/ 12877 w 16095"/>
                <a:gd name="T113" fmla="*/ 14426 h 16058"/>
                <a:gd name="T114" fmla="*/ 14253 w 16095"/>
                <a:gd name="T115" fmla="*/ 13191 h 16058"/>
                <a:gd name="T116" fmla="*/ 14511 w 16095"/>
                <a:gd name="T117" fmla="*/ 12402 h 16058"/>
                <a:gd name="T118" fmla="*/ 13745 w 16095"/>
                <a:gd name="T119" fmla="*/ 10004 h 16058"/>
                <a:gd name="T120" fmla="*/ 15941 w 16095"/>
                <a:gd name="T121" fmla="*/ 9245 h 16058"/>
                <a:gd name="T122" fmla="*/ 16061 w 16095"/>
                <a:gd name="T123" fmla="*/ 7086 h 16058"/>
                <a:gd name="T124" fmla="*/ 15536 w 16095"/>
                <a:gd name="T125" fmla="*/ 6448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95" h="16058">
                  <a:moveTo>
                    <a:pt x="13547" y="9020"/>
                  </a:moveTo>
                  <a:lnTo>
                    <a:pt x="13515" y="9027"/>
                  </a:lnTo>
                  <a:lnTo>
                    <a:pt x="13483" y="9035"/>
                  </a:lnTo>
                  <a:lnTo>
                    <a:pt x="13450" y="9044"/>
                  </a:lnTo>
                  <a:lnTo>
                    <a:pt x="13419" y="9054"/>
                  </a:lnTo>
                  <a:lnTo>
                    <a:pt x="13388" y="9065"/>
                  </a:lnTo>
                  <a:lnTo>
                    <a:pt x="13358" y="9077"/>
                  </a:lnTo>
                  <a:lnTo>
                    <a:pt x="13328" y="9090"/>
                  </a:lnTo>
                  <a:lnTo>
                    <a:pt x="13298" y="9104"/>
                  </a:lnTo>
                  <a:lnTo>
                    <a:pt x="13269" y="9120"/>
                  </a:lnTo>
                  <a:lnTo>
                    <a:pt x="13241" y="9135"/>
                  </a:lnTo>
                  <a:lnTo>
                    <a:pt x="13213" y="9152"/>
                  </a:lnTo>
                  <a:lnTo>
                    <a:pt x="13186" y="9169"/>
                  </a:lnTo>
                  <a:lnTo>
                    <a:pt x="13160" y="9187"/>
                  </a:lnTo>
                  <a:lnTo>
                    <a:pt x="13134" y="9207"/>
                  </a:lnTo>
                  <a:lnTo>
                    <a:pt x="13108" y="9226"/>
                  </a:lnTo>
                  <a:lnTo>
                    <a:pt x="13083" y="9247"/>
                  </a:lnTo>
                  <a:lnTo>
                    <a:pt x="13059" y="9269"/>
                  </a:lnTo>
                  <a:lnTo>
                    <a:pt x="13036" y="9291"/>
                  </a:lnTo>
                  <a:lnTo>
                    <a:pt x="13014" y="9314"/>
                  </a:lnTo>
                  <a:lnTo>
                    <a:pt x="12992" y="9338"/>
                  </a:lnTo>
                  <a:lnTo>
                    <a:pt x="12971" y="9362"/>
                  </a:lnTo>
                  <a:lnTo>
                    <a:pt x="12950" y="9387"/>
                  </a:lnTo>
                  <a:lnTo>
                    <a:pt x="12931" y="9414"/>
                  </a:lnTo>
                  <a:lnTo>
                    <a:pt x="12912" y="9440"/>
                  </a:lnTo>
                  <a:lnTo>
                    <a:pt x="12894" y="9467"/>
                  </a:lnTo>
                  <a:lnTo>
                    <a:pt x="12877" y="9495"/>
                  </a:lnTo>
                  <a:lnTo>
                    <a:pt x="12861" y="9523"/>
                  </a:lnTo>
                  <a:lnTo>
                    <a:pt x="12846" y="9552"/>
                  </a:lnTo>
                  <a:lnTo>
                    <a:pt x="12832" y="9582"/>
                  </a:lnTo>
                  <a:lnTo>
                    <a:pt x="12819" y="9612"/>
                  </a:lnTo>
                  <a:lnTo>
                    <a:pt x="12807" y="9642"/>
                  </a:lnTo>
                  <a:lnTo>
                    <a:pt x="12795" y="9674"/>
                  </a:lnTo>
                  <a:lnTo>
                    <a:pt x="12769" y="9743"/>
                  </a:lnTo>
                  <a:lnTo>
                    <a:pt x="12744" y="9812"/>
                  </a:lnTo>
                  <a:lnTo>
                    <a:pt x="12717" y="9880"/>
                  </a:lnTo>
                  <a:lnTo>
                    <a:pt x="12690" y="9948"/>
                  </a:lnTo>
                  <a:lnTo>
                    <a:pt x="12661" y="10015"/>
                  </a:lnTo>
                  <a:lnTo>
                    <a:pt x="12632" y="10082"/>
                  </a:lnTo>
                  <a:lnTo>
                    <a:pt x="12601" y="10148"/>
                  </a:lnTo>
                  <a:lnTo>
                    <a:pt x="12570" y="10214"/>
                  </a:lnTo>
                  <a:lnTo>
                    <a:pt x="12556" y="10244"/>
                  </a:lnTo>
                  <a:lnTo>
                    <a:pt x="12543" y="10274"/>
                  </a:lnTo>
                  <a:lnTo>
                    <a:pt x="12531" y="10305"/>
                  </a:lnTo>
                  <a:lnTo>
                    <a:pt x="12520" y="10336"/>
                  </a:lnTo>
                  <a:lnTo>
                    <a:pt x="12510" y="10367"/>
                  </a:lnTo>
                  <a:lnTo>
                    <a:pt x="12501" y="10399"/>
                  </a:lnTo>
                  <a:lnTo>
                    <a:pt x="12494" y="10430"/>
                  </a:lnTo>
                  <a:lnTo>
                    <a:pt x="12487" y="10462"/>
                  </a:lnTo>
                  <a:lnTo>
                    <a:pt x="12481" y="10495"/>
                  </a:lnTo>
                  <a:lnTo>
                    <a:pt x="12477" y="10527"/>
                  </a:lnTo>
                  <a:lnTo>
                    <a:pt x="12473" y="10559"/>
                  </a:lnTo>
                  <a:lnTo>
                    <a:pt x="12471" y="10591"/>
                  </a:lnTo>
                  <a:lnTo>
                    <a:pt x="12469" y="10623"/>
                  </a:lnTo>
                  <a:lnTo>
                    <a:pt x="12469" y="10655"/>
                  </a:lnTo>
                  <a:lnTo>
                    <a:pt x="12470" y="10687"/>
                  </a:lnTo>
                  <a:lnTo>
                    <a:pt x="12471" y="10719"/>
                  </a:lnTo>
                  <a:lnTo>
                    <a:pt x="12474" y="10752"/>
                  </a:lnTo>
                  <a:lnTo>
                    <a:pt x="12478" y="10784"/>
                  </a:lnTo>
                  <a:lnTo>
                    <a:pt x="12483" y="10816"/>
                  </a:lnTo>
                  <a:lnTo>
                    <a:pt x="12488" y="10848"/>
                  </a:lnTo>
                  <a:lnTo>
                    <a:pt x="12495" y="10879"/>
                  </a:lnTo>
                  <a:lnTo>
                    <a:pt x="12503" y="10911"/>
                  </a:lnTo>
                  <a:lnTo>
                    <a:pt x="12512" y="10942"/>
                  </a:lnTo>
                  <a:lnTo>
                    <a:pt x="12522" y="10972"/>
                  </a:lnTo>
                  <a:lnTo>
                    <a:pt x="12532" y="11003"/>
                  </a:lnTo>
                  <a:lnTo>
                    <a:pt x="12544" y="11034"/>
                  </a:lnTo>
                  <a:lnTo>
                    <a:pt x="12557" y="11064"/>
                  </a:lnTo>
                  <a:lnTo>
                    <a:pt x="12571" y="11093"/>
                  </a:lnTo>
                  <a:lnTo>
                    <a:pt x="12586" y="11123"/>
                  </a:lnTo>
                  <a:lnTo>
                    <a:pt x="12602" y="11151"/>
                  </a:lnTo>
                  <a:lnTo>
                    <a:pt x="12619" y="11180"/>
                  </a:lnTo>
                  <a:lnTo>
                    <a:pt x="12638" y="11207"/>
                  </a:lnTo>
                  <a:lnTo>
                    <a:pt x="13511" y="12514"/>
                  </a:lnTo>
                  <a:lnTo>
                    <a:pt x="12543" y="13480"/>
                  </a:lnTo>
                  <a:lnTo>
                    <a:pt x="11233" y="12608"/>
                  </a:lnTo>
                  <a:lnTo>
                    <a:pt x="11202" y="12588"/>
                  </a:lnTo>
                  <a:lnTo>
                    <a:pt x="11169" y="12569"/>
                  </a:lnTo>
                  <a:lnTo>
                    <a:pt x="11137" y="12551"/>
                  </a:lnTo>
                  <a:lnTo>
                    <a:pt x="11103" y="12535"/>
                  </a:lnTo>
                  <a:lnTo>
                    <a:pt x="11069" y="12520"/>
                  </a:lnTo>
                  <a:lnTo>
                    <a:pt x="11035" y="12506"/>
                  </a:lnTo>
                  <a:lnTo>
                    <a:pt x="11000" y="12494"/>
                  </a:lnTo>
                  <a:lnTo>
                    <a:pt x="10965" y="12483"/>
                  </a:lnTo>
                  <a:lnTo>
                    <a:pt x="10930" y="12473"/>
                  </a:lnTo>
                  <a:lnTo>
                    <a:pt x="10894" y="12464"/>
                  </a:lnTo>
                  <a:lnTo>
                    <a:pt x="10858" y="12457"/>
                  </a:lnTo>
                  <a:lnTo>
                    <a:pt x="10822" y="12451"/>
                  </a:lnTo>
                  <a:lnTo>
                    <a:pt x="10786" y="12446"/>
                  </a:lnTo>
                  <a:lnTo>
                    <a:pt x="10748" y="12443"/>
                  </a:lnTo>
                  <a:lnTo>
                    <a:pt x="10712" y="12441"/>
                  </a:lnTo>
                  <a:lnTo>
                    <a:pt x="10676" y="12440"/>
                  </a:lnTo>
                  <a:lnTo>
                    <a:pt x="10648" y="12441"/>
                  </a:lnTo>
                  <a:lnTo>
                    <a:pt x="10620" y="12442"/>
                  </a:lnTo>
                  <a:lnTo>
                    <a:pt x="10592" y="12444"/>
                  </a:lnTo>
                  <a:lnTo>
                    <a:pt x="10563" y="12446"/>
                  </a:lnTo>
                  <a:lnTo>
                    <a:pt x="10536" y="12450"/>
                  </a:lnTo>
                  <a:lnTo>
                    <a:pt x="10508" y="12454"/>
                  </a:lnTo>
                  <a:lnTo>
                    <a:pt x="10480" y="12459"/>
                  </a:lnTo>
                  <a:lnTo>
                    <a:pt x="10453" y="12465"/>
                  </a:lnTo>
                  <a:lnTo>
                    <a:pt x="10425" y="12472"/>
                  </a:lnTo>
                  <a:lnTo>
                    <a:pt x="10397" y="12479"/>
                  </a:lnTo>
                  <a:lnTo>
                    <a:pt x="10370" y="12488"/>
                  </a:lnTo>
                  <a:lnTo>
                    <a:pt x="10343" y="12497"/>
                  </a:lnTo>
                  <a:lnTo>
                    <a:pt x="10317" y="12506"/>
                  </a:lnTo>
                  <a:lnTo>
                    <a:pt x="10290" y="12517"/>
                  </a:lnTo>
                  <a:lnTo>
                    <a:pt x="10264" y="12528"/>
                  </a:lnTo>
                  <a:lnTo>
                    <a:pt x="10237" y="12540"/>
                  </a:lnTo>
                  <a:lnTo>
                    <a:pt x="10172" y="12571"/>
                  </a:lnTo>
                  <a:lnTo>
                    <a:pt x="10106" y="12602"/>
                  </a:lnTo>
                  <a:lnTo>
                    <a:pt x="10038" y="12631"/>
                  </a:lnTo>
                  <a:lnTo>
                    <a:pt x="9971" y="12661"/>
                  </a:lnTo>
                  <a:lnTo>
                    <a:pt x="9903" y="12688"/>
                  </a:lnTo>
                  <a:lnTo>
                    <a:pt x="9835" y="12715"/>
                  </a:lnTo>
                  <a:lnTo>
                    <a:pt x="9766" y="12740"/>
                  </a:lnTo>
                  <a:lnTo>
                    <a:pt x="9696" y="12765"/>
                  </a:lnTo>
                  <a:lnTo>
                    <a:pt x="9665" y="12777"/>
                  </a:lnTo>
                  <a:lnTo>
                    <a:pt x="9635" y="12789"/>
                  </a:lnTo>
                  <a:lnTo>
                    <a:pt x="9605" y="12802"/>
                  </a:lnTo>
                  <a:lnTo>
                    <a:pt x="9575" y="12816"/>
                  </a:lnTo>
                  <a:lnTo>
                    <a:pt x="9545" y="12832"/>
                  </a:lnTo>
                  <a:lnTo>
                    <a:pt x="9517" y="12848"/>
                  </a:lnTo>
                  <a:lnTo>
                    <a:pt x="9489" y="12864"/>
                  </a:lnTo>
                  <a:lnTo>
                    <a:pt x="9462" y="12882"/>
                  </a:lnTo>
                  <a:lnTo>
                    <a:pt x="9436" y="12901"/>
                  </a:lnTo>
                  <a:lnTo>
                    <a:pt x="9410" y="12920"/>
                  </a:lnTo>
                  <a:lnTo>
                    <a:pt x="9384" y="12941"/>
                  </a:lnTo>
                  <a:lnTo>
                    <a:pt x="9360" y="12962"/>
                  </a:lnTo>
                  <a:lnTo>
                    <a:pt x="9336" y="12984"/>
                  </a:lnTo>
                  <a:lnTo>
                    <a:pt x="9313" y="13007"/>
                  </a:lnTo>
                  <a:lnTo>
                    <a:pt x="9291" y="13030"/>
                  </a:lnTo>
                  <a:lnTo>
                    <a:pt x="9269" y="13054"/>
                  </a:lnTo>
                  <a:lnTo>
                    <a:pt x="9249" y="13078"/>
                  </a:lnTo>
                  <a:lnTo>
                    <a:pt x="9228" y="13103"/>
                  </a:lnTo>
                  <a:lnTo>
                    <a:pt x="9209" y="13129"/>
                  </a:lnTo>
                  <a:lnTo>
                    <a:pt x="9190" y="13156"/>
                  </a:lnTo>
                  <a:lnTo>
                    <a:pt x="9173" y="13183"/>
                  </a:lnTo>
                  <a:lnTo>
                    <a:pt x="9156" y="13211"/>
                  </a:lnTo>
                  <a:lnTo>
                    <a:pt x="9141" y="13239"/>
                  </a:lnTo>
                  <a:lnTo>
                    <a:pt x="9126" y="13268"/>
                  </a:lnTo>
                  <a:lnTo>
                    <a:pt x="9112" y="13297"/>
                  </a:lnTo>
                  <a:lnTo>
                    <a:pt x="9099" y="13327"/>
                  </a:lnTo>
                  <a:lnTo>
                    <a:pt x="9087" y="13357"/>
                  </a:lnTo>
                  <a:lnTo>
                    <a:pt x="9076" y="13388"/>
                  </a:lnTo>
                  <a:lnTo>
                    <a:pt x="9066" y="13419"/>
                  </a:lnTo>
                  <a:lnTo>
                    <a:pt x="9056" y="13451"/>
                  </a:lnTo>
                  <a:lnTo>
                    <a:pt x="9048" y="13484"/>
                  </a:lnTo>
                  <a:lnTo>
                    <a:pt x="9041" y="13516"/>
                  </a:lnTo>
                  <a:lnTo>
                    <a:pt x="8732" y="15054"/>
                  </a:lnTo>
                  <a:lnTo>
                    <a:pt x="7363" y="15054"/>
                  </a:lnTo>
                  <a:lnTo>
                    <a:pt x="7055" y="13516"/>
                  </a:lnTo>
                  <a:lnTo>
                    <a:pt x="7048" y="13484"/>
                  </a:lnTo>
                  <a:lnTo>
                    <a:pt x="7040" y="13451"/>
                  </a:lnTo>
                  <a:lnTo>
                    <a:pt x="7030" y="13419"/>
                  </a:lnTo>
                  <a:lnTo>
                    <a:pt x="7020" y="13388"/>
                  </a:lnTo>
                  <a:lnTo>
                    <a:pt x="7009" y="13357"/>
                  </a:lnTo>
                  <a:lnTo>
                    <a:pt x="6997" y="13327"/>
                  </a:lnTo>
                  <a:lnTo>
                    <a:pt x="6984" y="13297"/>
                  </a:lnTo>
                  <a:lnTo>
                    <a:pt x="6970" y="13268"/>
                  </a:lnTo>
                  <a:lnTo>
                    <a:pt x="6955" y="13239"/>
                  </a:lnTo>
                  <a:lnTo>
                    <a:pt x="6940" y="13211"/>
                  </a:lnTo>
                  <a:lnTo>
                    <a:pt x="6923" y="13183"/>
                  </a:lnTo>
                  <a:lnTo>
                    <a:pt x="6906" y="13156"/>
                  </a:lnTo>
                  <a:lnTo>
                    <a:pt x="6887" y="13129"/>
                  </a:lnTo>
                  <a:lnTo>
                    <a:pt x="6868" y="13103"/>
                  </a:lnTo>
                  <a:lnTo>
                    <a:pt x="6847" y="13078"/>
                  </a:lnTo>
                  <a:lnTo>
                    <a:pt x="6827" y="13054"/>
                  </a:lnTo>
                  <a:lnTo>
                    <a:pt x="6805" y="13030"/>
                  </a:lnTo>
                  <a:lnTo>
                    <a:pt x="6783" y="13007"/>
                  </a:lnTo>
                  <a:lnTo>
                    <a:pt x="6760" y="12984"/>
                  </a:lnTo>
                  <a:lnTo>
                    <a:pt x="6736" y="12962"/>
                  </a:lnTo>
                  <a:lnTo>
                    <a:pt x="6712" y="12941"/>
                  </a:lnTo>
                  <a:lnTo>
                    <a:pt x="6686" y="12920"/>
                  </a:lnTo>
                  <a:lnTo>
                    <a:pt x="6660" y="12901"/>
                  </a:lnTo>
                  <a:lnTo>
                    <a:pt x="6634" y="12882"/>
                  </a:lnTo>
                  <a:lnTo>
                    <a:pt x="6607" y="12864"/>
                  </a:lnTo>
                  <a:lnTo>
                    <a:pt x="6579" y="12848"/>
                  </a:lnTo>
                  <a:lnTo>
                    <a:pt x="6551" y="12832"/>
                  </a:lnTo>
                  <a:lnTo>
                    <a:pt x="6521" y="12816"/>
                  </a:lnTo>
                  <a:lnTo>
                    <a:pt x="6491" y="12802"/>
                  </a:lnTo>
                  <a:lnTo>
                    <a:pt x="6461" y="12789"/>
                  </a:lnTo>
                  <a:lnTo>
                    <a:pt x="6431" y="12777"/>
                  </a:lnTo>
                  <a:lnTo>
                    <a:pt x="6400" y="12765"/>
                  </a:lnTo>
                  <a:lnTo>
                    <a:pt x="6330" y="12740"/>
                  </a:lnTo>
                  <a:lnTo>
                    <a:pt x="6261" y="12715"/>
                  </a:lnTo>
                  <a:lnTo>
                    <a:pt x="6193" y="12688"/>
                  </a:lnTo>
                  <a:lnTo>
                    <a:pt x="6125" y="12661"/>
                  </a:lnTo>
                  <a:lnTo>
                    <a:pt x="6058" y="12632"/>
                  </a:lnTo>
                  <a:lnTo>
                    <a:pt x="5990" y="12602"/>
                  </a:lnTo>
                  <a:lnTo>
                    <a:pt x="5924" y="12572"/>
                  </a:lnTo>
                  <a:lnTo>
                    <a:pt x="5859" y="12541"/>
                  </a:lnTo>
                  <a:lnTo>
                    <a:pt x="5832" y="12529"/>
                  </a:lnTo>
                  <a:lnTo>
                    <a:pt x="5806" y="12517"/>
                  </a:lnTo>
                  <a:lnTo>
                    <a:pt x="5779" y="12507"/>
                  </a:lnTo>
                  <a:lnTo>
                    <a:pt x="5752" y="12497"/>
                  </a:lnTo>
                  <a:lnTo>
                    <a:pt x="5725" y="12488"/>
                  </a:lnTo>
                  <a:lnTo>
                    <a:pt x="5698" y="12479"/>
                  </a:lnTo>
                  <a:lnTo>
                    <a:pt x="5670" y="12472"/>
                  </a:lnTo>
                  <a:lnTo>
                    <a:pt x="5643" y="12465"/>
                  </a:lnTo>
                  <a:lnTo>
                    <a:pt x="5615" y="12459"/>
                  </a:lnTo>
                  <a:lnTo>
                    <a:pt x="5588" y="12454"/>
                  </a:lnTo>
                  <a:lnTo>
                    <a:pt x="5560" y="12450"/>
                  </a:lnTo>
                  <a:lnTo>
                    <a:pt x="5533" y="12446"/>
                  </a:lnTo>
                  <a:lnTo>
                    <a:pt x="5504" y="12444"/>
                  </a:lnTo>
                  <a:lnTo>
                    <a:pt x="5476" y="12442"/>
                  </a:lnTo>
                  <a:lnTo>
                    <a:pt x="5448" y="12441"/>
                  </a:lnTo>
                  <a:lnTo>
                    <a:pt x="5420" y="12440"/>
                  </a:lnTo>
                  <a:lnTo>
                    <a:pt x="5384" y="12441"/>
                  </a:lnTo>
                  <a:lnTo>
                    <a:pt x="5347" y="12443"/>
                  </a:lnTo>
                  <a:lnTo>
                    <a:pt x="5310" y="12446"/>
                  </a:lnTo>
                  <a:lnTo>
                    <a:pt x="5274" y="12451"/>
                  </a:lnTo>
                  <a:lnTo>
                    <a:pt x="5238" y="12457"/>
                  </a:lnTo>
                  <a:lnTo>
                    <a:pt x="5202" y="12464"/>
                  </a:lnTo>
                  <a:lnTo>
                    <a:pt x="5166" y="12473"/>
                  </a:lnTo>
                  <a:lnTo>
                    <a:pt x="5130" y="12483"/>
                  </a:lnTo>
                  <a:lnTo>
                    <a:pt x="5096" y="12494"/>
                  </a:lnTo>
                  <a:lnTo>
                    <a:pt x="5061" y="12506"/>
                  </a:lnTo>
                  <a:lnTo>
                    <a:pt x="5027" y="12520"/>
                  </a:lnTo>
                  <a:lnTo>
                    <a:pt x="4992" y="12535"/>
                  </a:lnTo>
                  <a:lnTo>
                    <a:pt x="4959" y="12551"/>
                  </a:lnTo>
                  <a:lnTo>
                    <a:pt x="4926" y="12569"/>
                  </a:lnTo>
                  <a:lnTo>
                    <a:pt x="4894" y="12588"/>
                  </a:lnTo>
                  <a:lnTo>
                    <a:pt x="4862" y="12608"/>
                  </a:lnTo>
                  <a:lnTo>
                    <a:pt x="3552" y="13480"/>
                  </a:lnTo>
                  <a:lnTo>
                    <a:pt x="2584" y="12514"/>
                  </a:lnTo>
                  <a:lnTo>
                    <a:pt x="3457" y="11207"/>
                  </a:lnTo>
                  <a:lnTo>
                    <a:pt x="3476" y="11180"/>
                  </a:lnTo>
                  <a:lnTo>
                    <a:pt x="3493" y="11151"/>
                  </a:lnTo>
                  <a:lnTo>
                    <a:pt x="3509" y="11123"/>
                  </a:lnTo>
                  <a:lnTo>
                    <a:pt x="3524" y="11093"/>
                  </a:lnTo>
                  <a:lnTo>
                    <a:pt x="3537" y="11064"/>
                  </a:lnTo>
                  <a:lnTo>
                    <a:pt x="3550" y="11034"/>
                  </a:lnTo>
                  <a:lnTo>
                    <a:pt x="3562" y="11003"/>
                  </a:lnTo>
                  <a:lnTo>
                    <a:pt x="3573" y="10972"/>
                  </a:lnTo>
                  <a:lnTo>
                    <a:pt x="3583" y="10942"/>
                  </a:lnTo>
                  <a:lnTo>
                    <a:pt x="3592" y="10911"/>
                  </a:lnTo>
                  <a:lnTo>
                    <a:pt x="3600" y="10879"/>
                  </a:lnTo>
                  <a:lnTo>
                    <a:pt x="3606" y="10848"/>
                  </a:lnTo>
                  <a:lnTo>
                    <a:pt x="3612" y="10816"/>
                  </a:lnTo>
                  <a:lnTo>
                    <a:pt x="3617" y="10784"/>
                  </a:lnTo>
                  <a:lnTo>
                    <a:pt x="3621" y="10753"/>
                  </a:lnTo>
                  <a:lnTo>
                    <a:pt x="3624" y="10720"/>
                  </a:lnTo>
                  <a:lnTo>
                    <a:pt x="3625" y="10688"/>
                  </a:lnTo>
                  <a:lnTo>
                    <a:pt x="3626" y="10655"/>
                  </a:lnTo>
                  <a:lnTo>
                    <a:pt x="3626" y="10623"/>
                  </a:lnTo>
                  <a:lnTo>
                    <a:pt x="3624" y="10591"/>
                  </a:lnTo>
                  <a:lnTo>
                    <a:pt x="3622" y="10559"/>
                  </a:lnTo>
                  <a:lnTo>
                    <a:pt x="3618" y="10527"/>
                  </a:lnTo>
                  <a:lnTo>
                    <a:pt x="3614" y="10495"/>
                  </a:lnTo>
                  <a:lnTo>
                    <a:pt x="3608" y="10462"/>
                  </a:lnTo>
                  <a:lnTo>
                    <a:pt x="3602" y="10431"/>
                  </a:lnTo>
                  <a:lnTo>
                    <a:pt x="3594" y="10399"/>
                  </a:lnTo>
                  <a:lnTo>
                    <a:pt x="3585" y="10368"/>
                  </a:lnTo>
                  <a:lnTo>
                    <a:pt x="3576" y="10337"/>
                  </a:lnTo>
                  <a:lnTo>
                    <a:pt x="3565" y="10306"/>
                  </a:lnTo>
                  <a:lnTo>
                    <a:pt x="3553" y="10275"/>
                  </a:lnTo>
                  <a:lnTo>
                    <a:pt x="3540" y="10245"/>
                  </a:lnTo>
                  <a:lnTo>
                    <a:pt x="3526" y="10215"/>
                  </a:lnTo>
                  <a:lnTo>
                    <a:pt x="3495" y="10148"/>
                  </a:lnTo>
                  <a:lnTo>
                    <a:pt x="3464" y="10082"/>
                  </a:lnTo>
                  <a:lnTo>
                    <a:pt x="3435" y="10016"/>
                  </a:lnTo>
                  <a:lnTo>
                    <a:pt x="3406" y="9949"/>
                  </a:lnTo>
                  <a:lnTo>
                    <a:pt x="3378" y="9881"/>
                  </a:lnTo>
                  <a:lnTo>
                    <a:pt x="3352" y="9813"/>
                  </a:lnTo>
                  <a:lnTo>
                    <a:pt x="3326" y="9744"/>
                  </a:lnTo>
                  <a:lnTo>
                    <a:pt x="3300" y="9675"/>
                  </a:lnTo>
                  <a:lnTo>
                    <a:pt x="3289" y="9643"/>
                  </a:lnTo>
                  <a:lnTo>
                    <a:pt x="3277" y="9612"/>
                  </a:lnTo>
                  <a:lnTo>
                    <a:pt x="3263" y="9582"/>
                  </a:lnTo>
                  <a:lnTo>
                    <a:pt x="3249" y="9553"/>
                  </a:lnTo>
                  <a:lnTo>
                    <a:pt x="3234" y="9524"/>
                  </a:lnTo>
                  <a:lnTo>
                    <a:pt x="3218" y="9496"/>
                  </a:lnTo>
                  <a:lnTo>
                    <a:pt x="3201" y="9468"/>
                  </a:lnTo>
                  <a:lnTo>
                    <a:pt x="3183" y="9441"/>
                  </a:lnTo>
                  <a:lnTo>
                    <a:pt x="3165" y="9414"/>
                  </a:lnTo>
                  <a:lnTo>
                    <a:pt x="3145" y="9388"/>
                  </a:lnTo>
                  <a:lnTo>
                    <a:pt x="3124" y="9362"/>
                  </a:lnTo>
                  <a:lnTo>
                    <a:pt x="3103" y="9338"/>
                  </a:lnTo>
                  <a:lnTo>
                    <a:pt x="3081" y="9314"/>
                  </a:lnTo>
                  <a:lnTo>
                    <a:pt x="3059" y="9291"/>
                  </a:lnTo>
                  <a:lnTo>
                    <a:pt x="3036" y="9269"/>
                  </a:lnTo>
                  <a:lnTo>
                    <a:pt x="3012" y="9248"/>
                  </a:lnTo>
                  <a:lnTo>
                    <a:pt x="2987" y="9227"/>
                  </a:lnTo>
                  <a:lnTo>
                    <a:pt x="2961" y="9207"/>
                  </a:lnTo>
                  <a:lnTo>
                    <a:pt x="2935" y="9188"/>
                  </a:lnTo>
                  <a:lnTo>
                    <a:pt x="2909" y="9170"/>
                  </a:lnTo>
                  <a:lnTo>
                    <a:pt x="2882" y="9152"/>
                  </a:lnTo>
                  <a:lnTo>
                    <a:pt x="2854" y="9136"/>
                  </a:lnTo>
                  <a:lnTo>
                    <a:pt x="2826" y="9120"/>
                  </a:lnTo>
                  <a:lnTo>
                    <a:pt x="2797" y="9104"/>
                  </a:lnTo>
                  <a:lnTo>
                    <a:pt x="2767" y="9090"/>
                  </a:lnTo>
                  <a:lnTo>
                    <a:pt x="2737" y="9077"/>
                  </a:lnTo>
                  <a:lnTo>
                    <a:pt x="2707" y="9065"/>
                  </a:lnTo>
                  <a:lnTo>
                    <a:pt x="2676" y="9054"/>
                  </a:lnTo>
                  <a:lnTo>
                    <a:pt x="2645" y="9044"/>
                  </a:lnTo>
                  <a:lnTo>
                    <a:pt x="2613" y="9035"/>
                  </a:lnTo>
                  <a:lnTo>
                    <a:pt x="2581" y="9027"/>
                  </a:lnTo>
                  <a:lnTo>
                    <a:pt x="2548" y="9020"/>
                  </a:lnTo>
                  <a:lnTo>
                    <a:pt x="1006" y="8712"/>
                  </a:lnTo>
                  <a:lnTo>
                    <a:pt x="1006" y="7347"/>
                  </a:lnTo>
                  <a:lnTo>
                    <a:pt x="2548" y="7039"/>
                  </a:lnTo>
                  <a:lnTo>
                    <a:pt x="2581" y="7032"/>
                  </a:lnTo>
                  <a:lnTo>
                    <a:pt x="2613" y="7024"/>
                  </a:lnTo>
                  <a:lnTo>
                    <a:pt x="2645" y="7015"/>
                  </a:lnTo>
                  <a:lnTo>
                    <a:pt x="2676" y="7005"/>
                  </a:lnTo>
                  <a:lnTo>
                    <a:pt x="2707" y="6994"/>
                  </a:lnTo>
                  <a:lnTo>
                    <a:pt x="2737" y="6982"/>
                  </a:lnTo>
                  <a:lnTo>
                    <a:pt x="2767" y="6969"/>
                  </a:lnTo>
                  <a:lnTo>
                    <a:pt x="2797" y="6955"/>
                  </a:lnTo>
                  <a:lnTo>
                    <a:pt x="2826" y="6939"/>
                  </a:lnTo>
                  <a:lnTo>
                    <a:pt x="2854" y="6923"/>
                  </a:lnTo>
                  <a:lnTo>
                    <a:pt x="2882" y="6907"/>
                  </a:lnTo>
                  <a:lnTo>
                    <a:pt x="2909" y="6889"/>
                  </a:lnTo>
                  <a:lnTo>
                    <a:pt x="2935" y="6871"/>
                  </a:lnTo>
                  <a:lnTo>
                    <a:pt x="2961" y="6852"/>
                  </a:lnTo>
                  <a:lnTo>
                    <a:pt x="2987" y="6832"/>
                  </a:lnTo>
                  <a:lnTo>
                    <a:pt x="3012" y="6812"/>
                  </a:lnTo>
                  <a:lnTo>
                    <a:pt x="3036" y="6790"/>
                  </a:lnTo>
                  <a:lnTo>
                    <a:pt x="3059" y="6768"/>
                  </a:lnTo>
                  <a:lnTo>
                    <a:pt x="3081" y="6745"/>
                  </a:lnTo>
                  <a:lnTo>
                    <a:pt x="3103" y="6721"/>
                  </a:lnTo>
                  <a:lnTo>
                    <a:pt x="3124" y="6697"/>
                  </a:lnTo>
                  <a:lnTo>
                    <a:pt x="3145" y="6672"/>
                  </a:lnTo>
                  <a:lnTo>
                    <a:pt x="3165" y="6645"/>
                  </a:lnTo>
                  <a:lnTo>
                    <a:pt x="3183" y="6618"/>
                  </a:lnTo>
                  <a:lnTo>
                    <a:pt x="3201" y="6591"/>
                  </a:lnTo>
                  <a:lnTo>
                    <a:pt x="3218" y="6564"/>
                  </a:lnTo>
                  <a:lnTo>
                    <a:pt x="3234" y="6535"/>
                  </a:lnTo>
                  <a:lnTo>
                    <a:pt x="3249" y="6506"/>
                  </a:lnTo>
                  <a:lnTo>
                    <a:pt x="3263" y="6477"/>
                  </a:lnTo>
                  <a:lnTo>
                    <a:pt x="3277" y="6447"/>
                  </a:lnTo>
                  <a:lnTo>
                    <a:pt x="3289" y="6416"/>
                  </a:lnTo>
                  <a:lnTo>
                    <a:pt x="3300" y="6384"/>
                  </a:lnTo>
                  <a:lnTo>
                    <a:pt x="3326" y="6315"/>
                  </a:lnTo>
                  <a:lnTo>
                    <a:pt x="3351" y="6247"/>
                  </a:lnTo>
                  <a:lnTo>
                    <a:pt x="3378" y="6179"/>
                  </a:lnTo>
                  <a:lnTo>
                    <a:pt x="3406" y="6110"/>
                  </a:lnTo>
                  <a:lnTo>
                    <a:pt x="3434" y="6043"/>
                  </a:lnTo>
                  <a:lnTo>
                    <a:pt x="3463" y="5977"/>
                  </a:lnTo>
                  <a:lnTo>
                    <a:pt x="3495" y="5911"/>
                  </a:lnTo>
                  <a:lnTo>
                    <a:pt x="3526" y="5845"/>
                  </a:lnTo>
                  <a:lnTo>
                    <a:pt x="3540" y="5815"/>
                  </a:lnTo>
                  <a:lnTo>
                    <a:pt x="3553" y="5784"/>
                  </a:lnTo>
                  <a:lnTo>
                    <a:pt x="3565" y="5754"/>
                  </a:lnTo>
                  <a:lnTo>
                    <a:pt x="3575" y="5723"/>
                  </a:lnTo>
                  <a:lnTo>
                    <a:pt x="3585" y="5692"/>
                  </a:lnTo>
                  <a:lnTo>
                    <a:pt x="3594" y="5660"/>
                  </a:lnTo>
                  <a:lnTo>
                    <a:pt x="3602" y="5629"/>
                  </a:lnTo>
                  <a:lnTo>
                    <a:pt x="3608" y="5597"/>
                  </a:lnTo>
                  <a:lnTo>
                    <a:pt x="3614" y="5564"/>
                  </a:lnTo>
                  <a:lnTo>
                    <a:pt x="3618" y="5532"/>
                  </a:lnTo>
                  <a:lnTo>
                    <a:pt x="3622" y="5500"/>
                  </a:lnTo>
                  <a:lnTo>
                    <a:pt x="3624" y="5468"/>
                  </a:lnTo>
                  <a:lnTo>
                    <a:pt x="3626" y="5436"/>
                  </a:lnTo>
                  <a:lnTo>
                    <a:pt x="3626" y="5403"/>
                  </a:lnTo>
                  <a:lnTo>
                    <a:pt x="3625" y="5371"/>
                  </a:lnTo>
                  <a:lnTo>
                    <a:pt x="3624" y="5339"/>
                  </a:lnTo>
                  <a:lnTo>
                    <a:pt x="3621" y="5306"/>
                  </a:lnTo>
                  <a:lnTo>
                    <a:pt x="3617" y="5274"/>
                  </a:lnTo>
                  <a:lnTo>
                    <a:pt x="3613" y="5243"/>
                  </a:lnTo>
                  <a:lnTo>
                    <a:pt x="3607" y="5211"/>
                  </a:lnTo>
                  <a:lnTo>
                    <a:pt x="3600" y="5179"/>
                  </a:lnTo>
                  <a:lnTo>
                    <a:pt x="3592" y="5148"/>
                  </a:lnTo>
                  <a:lnTo>
                    <a:pt x="3583" y="5117"/>
                  </a:lnTo>
                  <a:lnTo>
                    <a:pt x="3573" y="5086"/>
                  </a:lnTo>
                  <a:lnTo>
                    <a:pt x="3562" y="5056"/>
                  </a:lnTo>
                  <a:lnTo>
                    <a:pt x="3551" y="5024"/>
                  </a:lnTo>
                  <a:lnTo>
                    <a:pt x="3538" y="4995"/>
                  </a:lnTo>
                  <a:lnTo>
                    <a:pt x="3524" y="4965"/>
                  </a:lnTo>
                  <a:lnTo>
                    <a:pt x="3509" y="4936"/>
                  </a:lnTo>
                  <a:lnTo>
                    <a:pt x="3493" y="4907"/>
                  </a:lnTo>
                  <a:lnTo>
                    <a:pt x="3476" y="4879"/>
                  </a:lnTo>
                  <a:lnTo>
                    <a:pt x="3457" y="4851"/>
                  </a:lnTo>
                  <a:lnTo>
                    <a:pt x="2584" y="3544"/>
                  </a:lnTo>
                  <a:lnTo>
                    <a:pt x="3552" y="2578"/>
                  </a:lnTo>
                  <a:lnTo>
                    <a:pt x="4862" y="3450"/>
                  </a:lnTo>
                  <a:lnTo>
                    <a:pt x="4894" y="3470"/>
                  </a:lnTo>
                  <a:lnTo>
                    <a:pt x="4926" y="3489"/>
                  </a:lnTo>
                  <a:lnTo>
                    <a:pt x="4959" y="3507"/>
                  </a:lnTo>
                  <a:lnTo>
                    <a:pt x="4992" y="3523"/>
                  </a:lnTo>
                  <a:lnTo>
                    <a:pt x="5027" y="3538"/>
                  </a:lnTo>
                  <a:lnTo>
                    <a:pt x="5061" y="3552"/>
                  </a:lnTo>
                  <a:lnTo>
                    <a:pt x="5096" y="3564"/>
                  </a:lnTo>
                  <a:lnTo>
                    <a:pt x="5130" y="3576"/>
                  </a:lnTo>
                  <a:lnTo>
                    <a:pt x="5166" y="3586"/>
                  </a:lnTo>
                  <a:lnTo>
                    <a:pt x="5202" y="3594"/>
                  </a:lnTo>
                  <a:lnTo>
                    <a:pt x="5238" y="3601"/>
                  </a:lnTo>
                  <a:lnTo>
                    <a:pt x="5274" y="3607"/>
                  </a:lnTo>
                  <a:lnTo>
                    <a:pt x="5310" y="3612"/>
                  </a:lnTo>
                  <a:lnTo>
                    <a:pt x="5347" y="3615"/>
                  </a:lnTo>
                  <a:lnTo>
                    <a:pt x="5384" y="3617"/>
                  </a:lnTo>
                  <a:lnTo>
                    <a:pt x="5420" y="3618"/>
                  </a:lnTo>
                  <a:lnTo>
                    <a:pt x="5448" y="3617"/>
                  </a:lnTo>
                  <a:lnTo>
                    <a:pt x="5476" y="3616"/>
                  </a:lnTo>
                  <a:lnTo>
                    <a:pt x="5504" y="3614"/>
                  </a:lnTo>
                  <a:lnTo>
                    <a:pt x="5532" y="3612"/>
                  </a:lnTo>
                  <a:lnTo>
                    <a:pt x="5560" y="3608"/>
                  </a:lnTo>
                  <a:lnTo>
                    <a:pt x="5588" y="3604"/>
                  </a:lnTo>
                  <a:lnTo>
                    <a:pt x="5615" y="3599"/>
                  </a:lnTo>
                  <a:lnTo>
                    <a:pt x="5643" y="3593"/>
                  </a:lnTo>
                  <a:lnTo>
                    <a:pt x="5670" y="3586"/>
                  </a:lnTo>
                  <a:lnTo>
                    <a:pt x="5698" y="3579"/>
                  </a:lnTo>
                  <a:lnTo>
                    <a:pt x="5725" y="3571"/>
                  </a:lnTo>
                  <a:lnTo>
                    <a:pt x="5752" y="3562"/>
                  </a:lnTo>
                  <a:lnTo>
                    <a:pt x="5779" y="3552"/>
                  </a:lnTo>
                  <a:lnTo>
                    <a:pt x="5805" y="3542"/>
                  </a:lnTo>
                  <a:lnTo>
                    <a:pt x="5832" y="3531"/>
                  </a:lnTo>
                  <a:lnTo>
                    <a:pt x="5859" y="3518"/>
                  </a:lnTo>
                  <a:lnTo>
                    <a:pt x="5924" y="3487"/>
                  </a:lnTo>
                  <a:lnTo>
                    <a:pt x="5990" y="3457"/>
                  </a:lnTo>
                  <a:lnTo>
                    <a:pt x="6057" y="3428"/>
                  </a:lnTo>
                  <a:lnTo>
                    <a:pt x="6124" y="3398"/>
                  </a:lnTo>
                  <a:lnTo>
                    <a:pt x="6192" y="3370"/>
                  </a:lnTo>
                  <a:lnTo>
                    <a:pt x="6260" y="3344"/>
                  </a:lnTo>
                  <a:lnTo>
                    <a:pt x="6329" y="3318"/>
                  </a:lnTo>
                  <a:lnTo>
                    <a:pt x="6399" y="3293"/>
                  </a:lnTo>
                  <a:lnTo>
                    <a:pt x="6430" y="3282"/>
                  </a:lnTo>
                  <a:lnTo>
                    <a:pt x="6461" y="3270"/>
                  </a:lnTo>
                  <a:lnTo>
                    <a:pt x="6491" y="3256"/>
                  </a:lnTo>
                  <a:lnTo>
                    <a:pt x="6520" y="3242"/>
                  </a:lnTo>
                  <a:lnTo>
                    <a:pt x="6550" y="3227"/>
                  </a:lnTo>
                  <a:lnTo>
                    <a:pt x="6578" y="3211"/>
                  </a:lnTo>
                  <a:lnTo>
                    <a:pt x="6606" y="3194"/>
                  </a:lnTo>
                  <a:lnTo>
                    <a:pt x="6633" y="3176"/>
                  </a:lnTo>
                  <a:lnTo>
                    <a:pt x="6660" y="3158"/>
                  </a:lnTo>
                  <a:lnTo>
                    <a:pt x="6686" y="3138"/>
                  </a:lnTo>
                  <a:lnTo>
                    <a:pt x="6712" y="3117"/>
                  </a:lnTo>
                  <a:lnTo>
                    <a:pt x="6736" y="3096"/>
                  </a:lnTo>
                  <a:lnTo>
                    <a:pt x="6760" y="3074"/>
                  </a:lnTo>
                  <a:lnTo>
                    <a:pt x="6783" y="3052"/>
                  </a:lnTo>
                  <a:lnTo>
                    <a:pt x="6805" y="3029"/>
                  </a:lnTo>
                  <a:lnTo>
                    <a:pt x="6827" y="3005"/>
                  </a:lnTo>
                  <a:lnTo>
                    <a:pt x="6847" y="2980"/>
                  </a:lnTo>
                  <a:lnTo>
                    <a:pt x="6868" y="2955"/>
                  </a:lnTo>
                  <a:lnTo>
                    <a:pt x="6887" y="2929"/>
                  </a:lnTo>
                  <a:lnTo>
                    <a:pt x="6906" y="2903"/>
                  </a:lnTo>
                  <a:lnTo>
                    <a:pt x="6923" y="2876"/>
                  </a:lnTo>
                  <a:lnTo>
                    <a:pt x="6940" y="2847"/>
                  </a:lnTo>
                  <a:lnTo>
                    <a:pt x="6955" y="2819"/>
                  </a:lnTo>
                  <a:lnTo>
                    <a:pt x="6970" y="2790"/>
                  </a:lnTo>
                  <a:lnTo>
                    <a:pt x="6984" y="2761"/>
                  </a:lnTo>
                  <a:lnTo>
                    <a:pt x="6997" y="2731"/>
                  </a:lnTo>
                  <a:lnTo>
                    <a:pt x="7009" y="2701"/>
                  </a:lnTo>
                  <a:lnTo>
                    <a:pt x="7020" y="2670"/>
                  </a:lnTo>
                  <a:lnTo>
                    <a:pt x="7030" y="2639"/>
                  </a:lnTo>
                  <a:lnTo>
                    <a:pt x="7040" y="2608"/>
                  </a:lnTo>
                  <a:lnTo>
                    <a:pt x="7048" y="2575"/>
                  </a:lnTo>
                  <a:lnTo>
                    <a:pt x="7055" y="2542"/>
                  </a:lnTo>
                  <a:lnTo>
                    <a:pt x="7363" y="1004"/>
                  </a:lnTo>
                  <a:lnTo>
                    <a:pt x="8732" y="1004"/>
                  </a:lnTo>
                  <a:lnTo>
                    <a:pt x="9040" y="2542"/>
                  </a:lnTo>
                  <a:lnTo>
                    <a:pt x="9047" y="2575"/>
                  </a:lnTo>
                  <a:lnTo>
                    <a:pt x="9055" y="2608"/>
                  </a:lnTo>
                  <a:lnTo>
                    <a:pt x="9065" y="2639"/>
                  </a:lnTo>
                  <a:lnTo>
                    <a:pt x="9075" y="2670"/>
                  </a:lnTo>
                  <a:lnTo>
                    <a:pt x="9086" y="2701"/>
                  </a:lnTo>
                  <a:lnTo>
                    <a:pt x="9098" y="2731"/>
                  </a:lnTo>
                  <a:lnTo>
                    <a:pt x="9111" y="2761"/>
                  </a:lnTo>
                  <a:lnTo>
                    <a:pt x="9125" y="2790"/>
                  </a:lnTo>
                  <a:lnTo>
                    <a:pt x="9140" y="2819"/>
                  </a:lnTo>
                  <a:lnTo>
                    <a:pt x="9155" y="2847"/>
                  </a:lnTo>
                  <a:lnTo>
                    <a:pt x="9172" y="2876"/>
                  </a:lnTo>
                  <a:lnTo>
                    <a:pt x="9189" y="2903"/>
                  </a:lnTo>
                  <a:lnTo>
                    <a:pt x="9208" y="2929"/>
                  </a:lnTo>
                  <a:lnTo>
                    <a:pt x="9227" y="2955"/>
                  </a:lnTo>
                  <a:lnTo>
                    <a:pt x="9248" y="2980"/>
                  </a:lnTo>
                  <a:lnTo>
                    <a:pt x="9268" y="3005"/>
                  </a:lnTo>
                  <a:lnTo>
                    <a:pt x="9290" y="3029"/>
                  </a:lnTo>
                  <a:lnTo>
                    <a:pt x="9312" y="3052"/>
                  </a:lnTo>
                  <a:lnTo>
                    <a:pt x="9335" y="3074"/>
                  </a:lnTo>
                  <a:lnTo>
                    <a:pt x="9359" y="3096"/>
                  </a:lnTo>
                  <a:lnTo>
                    <a:pt x="9383" y="3117"/>
                  </a:lnTo>
                  <a:lnTo>
                    <a:pt x="9409" y="3138"/>
                  </a:lnTo>
                  <a:lnTo>
                    <a:pt x="9435" y="3158"/>
                  </a:lnTo>
                  <a:lnTo>
                    <a:pt x="9462" y="3176"/>
                  </a:lnTo>
                  <a:lnTo>
                    <a:pt x="9489" y="3194"/>
                  </a:lnTo>
                  <a:lnTo>
                    <a:pt x="9517" y="3211"/>
                  </a:lnTo>
                  <a:lnTo>
                    <a:pt x="9545" y="3227"/>
                  </a:lnTo>
                  <a:lnTo>
                    <a:pt x="9575" y="3242"/>
                  </a:lnTo>
                  <a:lnTo>
                    <a:pt x="9604" y="3256"/>
                  </a:lnTo>
                  <a:lnTo>
                    <a:pt x="9634" y="3270"/>
                  </a:lnTo>
                  <a:lnTo>
                    <a:pt x="9665" y="3282"/>
                  </a:lnTo>
                  <a:lnTo>
                    <a:pt x="9696" y="3293"/>
                  </a:lnTo>
                  <a:lnTo>
                    <a:pt x="9766" y="3318"/>
                  </a:lnTo>
                  <a:lnTo>
                    <a:pt x="9834" y="3344"/>
                  </a:lnTo>
                  <a:lnTo>
                    <a:pt x="9902" y="3370"/>
                  </a:lnTo>
                  <a:lnTo>
                    <a:pt x="9971" y="3398"/>
                  </a:lnTo>
                  <a:lnTo>
                    <a:pt x="10037" y="3427"/>
                  </a:lnTo>
                  <a:lnTo>
                    <a:pt x="10105" y="3456"/>
                  </a:lnTo>
                  <a:lnTo>
                    <a:pt x="10171" y="3487"/>
                  </a:lnTo>
                  <a:lnTo>
                    <a:pt x="10236" y="3518"/>
                  </a:lnTo>
                  <a:lnTo>
                    <a:pt x="10263" y="3530"/>
                  </a:lnTo>
                  <a:lnTo>
                    <a:pt x="10290" y="3541"/>
                  </a:lnTo>
                  <a:lnTo>
                    <a:pt x="10316" y="3552"/>
                  </a:lnTo>
                  <a:lnTo>
                    <a:pt x="10343" y="3562"/>
                  </a:lnTo>
                  <a:lnTo>
                    <a:pt x="10370" y="3571"/>
                  </a:lnTo>
                  <a:lnTo>
                    <a:pt x="10397" y="3579"/>
                  </a:lnTo>
                  <a:lnTo>
                    <a:pt x="10425" y="3586"/>
                  </a:lnTo>
                  <a:lnTo>
                    <a:pt x="10452" y="3593"/>
                  </a:lnTo>
                  <a:lnTo>
                    <a:pt x="10480" y="3599"/>
                  </a:lnTo>
                  <a:lnTo>
                    <a:pt x="10507" y="3604"/>
                  </a:lnTo>
                  <a:lnTo>
                    <a:pt x="10535" y="3608"/>
                  </a:lnTo>
                  <a:lnTo>
                    <a:pt x="10563" y="3612"/>
                  </a:lnTo>
                  <a:lnTo>
                    <a:pt x="10592" y="3614"/>
                  </a:lnTo>
                  <a:lnTo>
                    <a:pt x="10620" y="3616"/>
                  </a:lnTo>
                  <a:lnTo>
                    <a:pt x="10648" y="3617"/>
                  </a:lnTo>
                  <a:lnTo>
                    <a:pt x="10676" y="3618"/>
                  </a:lnTo>
                  <a:lnTo>
                    <a:pt x="10712" y="3617"/>
                  </a:lnTo>
                  <a:lnTo>
                    <a:pt x="10748" y="3615"/>
                  </a:lnTo>
                  <a:lnTo>
                    <a:pt x="10786" y="3612"/>
                  </a:lnTo>
                  <a:lnTo>
                    <a:pt x="10822" y="3607"/>
                  </a:lnTo>
                  <a:lnTo>
                    <a:pt x="10858" y="3601"/>
                  </a:lnTo>
                  <a:lnTo>
                    <a:pt x="10894" y="3594"/>
                  </a:lnTo>
                  <a:lnTo>
                    <a:pt x="10930" y="3586"/>
                  </a:lnTo>
                  <a:lnTo>
                    <a:pt x="10965" y="3576"/>
                  </a:lnTo>
                  <a:lnTo>
                    <a:pt x="11000" y="3564"/>
                  </a:lnTo>
                  <a:lnTo>
                    <a:pt x="11035" y="3552"/>
                  </a:lnTo>
                  <a:lnTo>
                    <a:pt x="11069" y="3538"/>
                  </a:lnTo>
                  <a:lnTo>
                    <a:pt x="11103" y="3523"/>
                  </a:lnTo>
                  <a:lnTo>
                    <a:pt x="11137" y="3507"/>
                  </a:lnTo>
                  <a:lnTo>
                    <a:pt x="11169" y="3489"/>
                  </a:lnTo>
                  <a:lnTo>
                    <a:pt x="11202" y="3470"/>
                  </a:lnTo>
                  <a:lnTo>
                    <a:pt x="11233" y="3450"/>
                  </a:lnTo>
                  <a:lnTo>
                    <a:pt x="12543" y="2578"/>
                  </a:lnTo>
                  <a:lnTo>
                    <a:pt x="13511" y="3544"/>
                  </a:lnTo>
                  <a:lnTo>
                    <a:pt x="12638" y="4851"/>
                  </a:lnTo>
                  <a:lnTo>
                    <a:pt x="12619" y="4879"/>
                  </a:lnTo>
                  <a:lnTo>
                    <a:pt x="12602" y="4907"/>
                  </a:lnTo>
                  <a:lnTo>
                    <a:pt x="12586" y="4936"/>
                  </a:lnTo>
                  <a:lnTo>
                    <a:pt x="12571" y="4965"/>
                  </a:lnTo>
                  <a:lnTo>
                    <a:pt x="12557" y="4995"/>
                  </a:lnTo>
                  <a:lnTo>
                    <a:pt x="12544" y="5024"/>
                  </a:lnTo>
                  <a:lnTo>
                    <a:pt x="12533" y="5056"/>
                  </a:lnTo>
                  <a:lnTo>
                    <a:pt x="12522" y="5086"/>
                  </a:lnTo>
                  <a:lnTo>
                    <a:pt x="12512" y="5117"/>
                  </a:lnTo>
                  <a:lnTo>
                    <a:pt x="12503" y="5148"/>
                  </a:lnTo>
                  <a:lnTo>
                    <a:pt x="12495" y="5179"/>
                  </a:lnTo>
                  <a:lnTo>
                    <a:pt x="12489" y="5211"/>
                  </a:lnTo>
                  <a:lnTo>
                    <a:pt x="12483" y="5242"/>
                  </a:lnTo>
                  <a:lnTo>
                    <a:pt x="12478" y="5274"/>
                  </a:lnTo>
                  <a:lnTo>
                    <a:pt x="12474" y="5306"/>
                  </a:lnTo>
                  <a:lnTo>
                    <a:pt x="12472" y="5339"/>
                  </a:lnTo>
                  <a:lnTo>
                    <a:pt x="12470" y="5371"/>
                  </a:lnTo>
                  <a:lnTo>
                    <a:pt x="12469" y="5403"/>
                  </a:lnTo>
                  <a:lnTo>
                    <a:pt x="12470" y="5435"/>
                  </a:lnTo>
                  <a:lnTo>
                    <a:pt x="12471" y="5467"/>
                  </a:lnTo>
                  <a:lnTo>
                    <a:pt x="12473" y="5500"/>
                  </a:lnTo>
                  <a:lnTo>
                    <a:pt x="12477" y="5532"/>
                  </a:lnTo>
                  <a:lnTo>
                    <a:pt x="12481" y="5563"/>
                  </a:lnTo>
                  <a:lnTo>
                    <a:pt x="12487" y="5596"/>
                  </a:lnTo>
                  <a:lnTo>
                    <a:pt x="12494" y="5628"/>
                  </a:lnTo>
                  <a:lnTo>
                    <a:pt x="12501" y="5660"/>
                  </a:lnTo>
                  <a:lnTo>
                    <a:pt x="12510" y="5691"/>
                  </a:lnTo>
                  <a:lnTo>
                    <a:pt x="12519" y="5722"/>
                  </a:lnTo>
                  <a:lnTo>
                    <a:pt x="12530" y="5753"/>
                  </a:lnTo>
                  <a:lnTo>
                    <a:pt x="12542" y="5784"/>
                  </a:lnTo>
                  <a:lnTo>
                    <a:pt x="12555" y="5814"/>
                  </a:lnTo>
                  <a:lnTo>
                    <a:pt x="12569" y="5844"/>
                  </a:lnTo>
                  <a:lnTo>
                    <a:pt x="12600" y="5910"/>
                  </a:lnTo>
                  <a:lnTo>
                    <a:pt x="12631" y="5976"/>
                  </a:lnTo>
                  <a:lnTo>
                    <a:pt x="12661" y="6043"/>
                  </a:lnTo>
                  <a:lnTo>
                    <a:pt x="12689" y="6110"/>
                  </a:lnTo>
                  <a:lnTo>
                    <a:pt x="12717" y="6178"/>
                  </a:lnTo>
                  <a:lnTo>
                    <a:pt x="12744" y="6246"/>
                  </a:lnTo>
                  <a:lnTo>
                    <a:pt x="12769" y="6315"/>
                  </a:lnTo>
                  <a:lnTo>
                    <a:pt x="12795" y="6384"/>
                  </a:lnTo>
                  <a:lnTo>
                    <a:pt x="12807" y="6416"/>
                  </a:lnTo>
                  <a:lnTo>
                    <a:pt x="12819" y="6446"/>
                  </a:lnTo>
                  <a:lnTo>
                    <a:pt x="12832" y="6476"/>
                  </a:lnTo>
                  <a:lnTo>
                    <a:pt x="12846" y="6506"/>
                  </a:lnTo>
                  <a:lnTo>
                    <a:pt x="12861" y="6535"/>
                  </a:lnTo>
                  <a:lnTo>
                    <a:pt x="12877" y="6563"/>
                  </a:lnTo>
                  <a:lnTo>
                    <a:pt x="12894" y="6591"/>
                  </a:lnTo>
                  <a:lnTo>
                    <a:pt x="12912" y="6618"/>
                  </a:lnTo>
                  <a:lnTo>
                    <a:pt x="12931" y="6644"/>
                  </a:lnTo>
                  <a:lnTo>
                    <a:pt x="12950" y="6671"/>
                  </a:lnTo>
                  <a:lnTo>
                    <a:pt x="12971" y="6696"/>
                  </a:lnTo>
                  <a:lnTo>
                    <a:pt x="12992" y="6721"/>
                  </a:lnTo>
                  <a:lnTo>
                    <a:pt x="13014" y="6744"/>
                  </a:lnTo>
                  <a:lnTo>
                    <a:pt x="13036" y="6767"/>
                  </a:lnTo>
                  <a:lnTo>
                    <a:pt x="13059" y="6790"/>
                  </a:lnTo>
                  <a:lnTo>
                    <a:pt x="13083" y="6811"/>
                  </a:lnTo>
                  <a:lnTo>
                    <a:pt x="13108" y="6832"/>
                  </a:lnTo>
                  <a:lnTo>
                    <a:pt x="13134" y="6852"/>
                  </a:lnTo>
                  <a:lnTo>
                    <a:pt x="13160" y="6871"/>
                  </a:lnTo>
                  <a:lnTo>
                    <a:pt x="13186" y="6889"/>
                  </a:lnTo>
                  <a:lnTo>
                    <a:pt x="13213" y="6907"/>
                  </a:lnTo>
                  <a:lnTo>
                    <a:pt x="13241" y="6923"/>
                  </a:lnTo>
                  <a:lnTo>
                    <a:pt x="13269" y="6939"/>
                  </a:lnTo>
                  <a:lnTo>
                    <a:pt x="13298" y="6955"/>
                  </a:lnTo>
                  <a:lnTo>
                    <a:pt x="13328" y="6968"/>
                  </a:lnTo>
                  <a:lnTo>
                    <a:pt x="13358" y="6981"/>
                  </a:lnTo>
                  <a:lnTo>
                    <a:pt x="13388" y="6993"/>
                  </a:lnTo>
                  <a:lnTo>
                    <a:pt x="13419" y="7004"/>
                  </a:lnTo>
                  <a:lnTo>
                    <a:pt x="13450" y="7014"/>
                  </a:lnTo>
                  <a:lnTo>
                    <a:pt x="13483" y="7024"/>
                  </a:lnTo>
                  <a:lnTo>
                    <a:pt x="13515" y="7032"/>
                  </a:lnTo>
                  <a:lnTo>
                    <a:pt x="13547" y="7039"/>
                  </a:lnTo>
                  <a:lnTo>
                    <a:pt x="15088" y="7347"/>
                  </a:lnTo>
                  <a:lnTo>
                    <a:pt x="15089" y="8712"/>
                  </a:lnTo>
                  <a:lnTo>
                    <a:pt x="13547" y="9020"/>
                  </a:lnTo>
                  <a:close/>
                  <a:moveTo>
                    <a:pt x="15286" y="6362"/>
                  </a:moveTo>
                  <a:lnTo>
                    <a:pt x="13745" y="6054"/>
                  </a:lnTo>
                  <a:lnTo>
                    <a:pt x="13715" y="5971"/>
                  </a:lnTo>
                  <a:lnTo>
                    <a:pt x="13684" y="5889"/>
                  </a:lnTo>
                  <a:lnTo>
                    <a:pt x="13652" y="5807"/>
                  </a:lnTo>
                  <a:lnTo>
                    <a:pt x="13618" y="5726"/>
                  </a:lnTo>
                  <a:lnTo>
                    <a:pt x="13584" y="5646"/>
                  </a:lnTo>
                  <a:lnTo>
                    <a:pt x="13548" y="5565"/>
                  </a:lnTo>
                  <a:lnTo>
                    <a:pt x="13512" y="5486"/>
                  </a:lnTo>
                  <a:lnTo>
                    <a:pt x="13475" y="5408"/>
                  </a:lnTo>
                  <a:lnTo>
                    <a:pt x="14348" y="4101"/>
                  </a:lnTo>
                  <a:lnTo>
                    <a:pt x="14372" y="4063"/>
                  </a:lnTo>
                  <a:lnTo>
                    <a:pt x="14394" y="4025"/>
                  </a:lnTo>
                  <a:lnTo>
                    <a:pt x="14414" y="3986"/>
                  </a:lnTo>
                  <a:lnTo>
                    <a:pt x="14433" y="3947"/>
                  </a:lnTo>
                  <a:lnTo>
                    <a:pt x="14449" y="3906"/>
                  </a:lnTo>
                  <a:lnTo>
                    <a:pt x="14464" y="3865"/>
                  </a:lnTo>
                  <a:lnTo>
                    <a:pt x="14476" y="3824"/>
                  </a:lnTo>
                  <a:lnTo>
                    <a:pt x="14489" y="3783"/>
                  </a:lnTo>
                  <a:lnTo>
                    <a:pt x="14498" y="3741"/>
                  </a:lnTo>
                  <a:lnTo>
                    <a:pt x="14505" y="3699"/>
                  </a:lnTo>
                  <a:lnTo>
                    <a:pt x="14511" y="3656"/>
                  </a:lnTo>
                  <a:lnTo>
                    <a:pt x="14515" y="3614"/>
                  </a:lnTo>
                  <a:lnTo>
                    <a:pt x="14517" y="3572"/>
                  </a:lnTo>
                  <a:lnTo>
                    <a:pt x="14517" y="3530"/>
                  </a:lnTo>
                  <a:lnTo>
                    <a:pt x="14515" y="3488"/>
                  </a:lnTo>
                  <a:lnTo>
                    <a:pt x="14512" y="3446"/>
                  </a:lnTo>
                  <a:lnTo>
                    <a:pt x="14507" y="3404"/>
                  </a:lnTo>
                  <a:lnTo>
                    <a:pt x="14500" y="3361"/>
                  </a:lnTo>
                  <a:lnTo>
                    <a:pt x="14492" y="3320"/>
                  </a:lnTo>
                  <a:lnTo>
                    <a:pt x="14480" y="3279"/>
                  </a:lnTo>
                  <a:lnTo>
                    <a:pt x="14468" y="3239"/>
                  </a:lnTo>
                  <a:lnTo>
                    <a:pt x="14455" y="3198"/>
                  </a:lnTo>
                  <a:lnTo>
                    <a:pt x="14439" y="3159"/>
                  </a:lnTo>
                  <a:lnTo>
                    <a:pt x="14422" y="3119"/>
                  </a:lnTo>
                  <a:lnTo>
                    <a:pt x="14403" y="3081"/>
                  </a:lnTo>
                  <a:lnTo>
                    <a:pt x="14382" y="3043"/>
                  </a:lnTo>
                  <a:lnTo>
                    <a:pt x="14360" y="3006"/>
                  </a:lnTo>
                  <a:lnTo>
                    <a:pt x="14336" y="2970"/>
                  </a:lnTo>
                  <a:lnTo>
                    <a:pt x="14309" y="2935"/>
                  </a:lnTo>
                  <a:lnTo>
                    <a:pt x="14282" y="2901"/>
                  </a:lnTo>
                  <a:lnTo>
                    <a:pt x="14253" y="2868"/>
                  </a:lnTo>
                  <a:lnTo>
                    <a:pt x="14222" y="2834"/>
                  </a:lnTo>
                  <a:lnTo>
                    <a:pt x="13254" y="1869"/>
                  </a:lnTo>
                  <a:lnTo>
                    <a:pt x="13236" y="1852"/>
                  </a:lnTo>
                  <a:lnTo>
                    <a:pt x="13217" y="1834"/>
                  </a:lnTo>
                  <a:lnTo>
                    <a:pt x="13198" y="1817"/>
                  </a:lnTo>
                  <a:lnTo>
                    <a:pt x="13179" y="1801"/>
                  </a:lnTo>
                  <a:lnTo>
                    <a:pt x="13159" y="1786"/>
                  </a:lnTo>
                  <a:lnTo>
                    <a:pt x="13139" y="1771"/>
                  </a:lnTo>
                  <a:lnTo>
                    <a:pt x="13118" y="1755"/>
                  </a:lnTo>
                  <a:lnTo>
                    <a:pt x="13097" y="1741"/>
                  </a:lnTo>
                  <a:lnTo>
                    <a:pt x="13076" y="1728"/>
                  </a:lnTo>
                  <a:lnTo>
                    <a:pt x="13055" y="1715"/>
                  </a:lnTo>
                  <a:lnTo>
                    <a:pt x="13034" y="1702"/>
                  </a:lnTo>
                  <a:lnTo>
                    <a:pt x="13012" y="1691"/>
                  </a:lnTo>
                  <a:lnTo>
                    <a:pt x="12990" y="1680"/>
                  </a:lnTo>
                  <a:lnTo>
                    <a:pt x="12968" y="1669"/>
                  </a:lnTo>
                  <a:lnTo>
                    <a:pt x="12945" y="1659"/>
                  </a:lnTo>
                  <a:lnTo>
                    <a:pt x="12923" y="1649"/>
                  </a:lnTo>
                  <a:lnTo>
                    <a:pt x="12900" y="1640"/>
                  </a:lnTo>
                  <a:lnTo>
                    <a:pt x="12877" y="1632"/>
                  </a:lnTo>
                  <a:lnTo>
                    <a:pt x="12854" y="1624"/>
                  </a:lnTo>
                  <a:lnTo>
                    <a:pt x="12831" y="1617"/>
                  </a:lnTo>
                  <a:lnTo>
                    <a:pt x="12808" y="1610"/>
                  </a:lnTo>
                  <a:lnTo>
                    <a:pt x="12783" y="1604"/>
                  </a:lnTo>
                  <a:lnTo>
                    <a:pt x="12759" y="1599"/>
                  </a:lnTo>
                  <a:lnTo>
                    <a:pt x="12736" y="1594"/>
                  </a:lnTo>
                  <a:lnTo>
                    <a:pt x="12712" y="1590"/>
                  </a:lnTo>
                  <a:lnTo>
                    <a:pt x="12688" y="1586"/>
                  </a:lnTo>
                  <a:lnTo>
                    <a:pt x="12664" y="1583"/>
                  </a:lnTo>
                  <a:lnTo>
                    <a:pt x="12640" y="1580"/>
                  </a:lnTo>
                  <a:lnTo>
                    <a:pt x="12615" y="1578"/>
                  </a:lnTo>
                  <a:lnTo>
                    <a:pt x="12591" y="1577"/>
                  </a:lnTo>
                  <a:lnTo>
                    <a:pt x="12566" y="1576"/>
                  </a:lnTo>
                  <a:lnTo>
                    <a:pt x="12542" y="1575"/>
                  </a:lnTo>
                  <a:lnTo>
                    <a:pt x="12506" y="1576"/>
                  </a:lnTo>
                  <a:lnTo>
                    <a:pt x="12470" y="1578"/>
                  </a:lnTo>
                  <a:lnTo>
                    <a:pt x="12433" y="1581"/>
                  </a:lnTo>
                  <a:lnTo>
                    <a:pt x="12398" y="1586"/>
                  </a:lnTo>
                  <a:lnTo>
                    <a:pt x="12362" y="1592"/>
                  </a:lnTo>
                  <a:lnTo>
                    <a:pt x="12326" y="1599"/>
                  </a:lnTo>
                  <a:lnTo>
                    <a:pt x="12291" y="1607"/>
                  </a:lnTo>
                  <a:lnTo>
                    <a:pt x="12255" y="1617"/>
                  </a:lnTo>
                  <a:lnTo>
                    <a:pt x="12220" y="1628"/>
                  </a:lnTo>
                  <a:lnTo>
                    <a:pt x="12185" y="1641"/>
                  </a:lnTo>
                  <a:lnTo>
                    <a:pt x="12151" y="1654"/>
                  </a:lnTo>
                  <a:lnTo>
                    <a:pt x="12117" y="1670"/>
                  </a:lnTo>
                  <a:lnTo>
                    <a:pt x="12083" y="1686"/>
                  </a:lnTo>
                  <a:lnTo>
                    <a:pt x="12050" y="1704"/>
                  </a:lnTo>
                  <a:lnTo>
                    <a:pt x="12018" y="1723"/>
                  </a:lnTo>
                  <a:lnTo>
                    <a:pt x="11986" y="1743"/>
                  </a:lnTo>
                  <a:lnTo>
                    <a:pt x="10676" y="2615"/>
                  </a:lnTo>
                  <a:lnTo>
                    <a:pt x="10597" y="2577"/>
                  </a:lnTo>
                  <a:lnTo>
                    <a:pt x="10517" y="2540"/>
                  </a:lnTo>
                  <a:lnTo>
                    <a:pt x="10437" y="2505"/>
                  </a:lnTo>
                  <a:lnTo>
                    <a:pt x="10356" y="2471"/>
                  </a:lnTo>
                  <a:lnTo>
                    <a:pt x="10275" y="2438"/>
                  </a:lnTo>
                  <a:lnTo>
                    <a:pt x="10192" y="2406"/>
                  </a:lnTo>
                  <a:lnTo>
                    <a:pt x="10110" y="2375"/>
                  </a:lnTo>
                  <a:lnTo>
                    <a:pt x="10026" y="2346"/>
                  </a:lnTo>
                  <a:lnTo>
                    <a:pt x="9718" y="808"/>
                  </a:lnTo>
                  <a:lnTo>
                    <a:pt x="9708" y="764"/>
                  </a:lnTo>
                  <a:lnTo>
                    <a:pt x="9697" y="721"/>
                  </a:lnTo>
                  <a:lnTo>
                    <a:pt x="9683" y="679"/>
                  </a:lnTo>
                  <a:lnTo>
                    <a:pt x="9668" y="638"/>
                  </a:lnTo>
                  <a:lnTo>
                    <a:pt x="9652" y="598"/>
                  </a:lnTo>
                  <a:lnTo>
                    <a:pt x="9633" y="559"/>
                  </a:lnTo>
                  <a:lnTo>
                    <a:pt x="9614" y="520"/>
                  </a:lnTo>
                  <a:lnTo>
                    <a:pt x="9592" y="483"/>
                  </a:lnTo>
                  <a:lnTo>
                    <a:pt x="9568" y="447"/>
                  </a:lnTo>
                  <a:lnTo>
                    <a:pt x="9544" y="413"/>
                  </a:lnTo>
                  <a:lnTo>
                    <a:pt x="9518" y="378"/>
                  </a:lnTo>
                  <a:lnTo>
                    <a:pt x="9491" y="345"/>
                  </a:lnTo>
                  <a:lnTo>
                    <a:pt x="9463" y="314"/>
                  </a:lnTo>
                  <a:lnTo>
                    <a:pt x="9433" y="284"/>
                  </a:lnTo>
                  <a:lnTo>
                    <a:pt x="9401" y="255"/>
                  </a:lnTo>
                  <a:lnTo>
                    <a:pt x="9369" y="228"/>
                  </a:lnTo>
                  <a:lnTo>
                    <a:pt x="9336" y="202"/>
                  </a:lnTo>
                  <a:lnTo>
                    <a:pt x="9302" y="177"/>
                  </a:lnTo>
                  <a:lnTo>
                    <a:pt x="9267" y="154"/>
                  </a:lnTo>
                  <a:lnTo>
                    <a:pt x="9229" y="131"/>
                  </a:lnTo>
                  <a:lnTo>
                    <a:pt x="9192" y="111"/>
                  </a:lnTo>
                  <a:lnTo>
                    <a:pt x="9154" y="92"/>
                  </a:lnTo>
                  <a:lnTo>
                    <a:pt x="9115" y="75"/>
                  </a:lnTo>
                  <a:lnTo>
                    <a:pt x="9075" y="60"/>
                  </a:lnTo>
                  <a:lnTo>
                    <a:pt x="9034" y="46"/>
                  </a:lnTo>
                  <a:lnTo>
                    <a:pt x="8993" y="34"/>
                  </a:lnTo>
                  <a:lnTo>
                    <a:pt x="8951" y="24"/>
                  </a:lnTo>
                  <a:lnTo>
                    <a:pt x="8908" y="15"/>
                  </a:lnTo>
                  <a:lnTo>
                    <a:pt x="8864" y="9"/>
                  </a:lnTo>
                  <a:lnTo>
                    <a:pt x="8821" y="4"/>
                  </a:lnTo>
                  <a:lnTo>
                    <a:pt x="8777" y="1"/>
                  </a:lnTo>
                  <a:lnTo>
                    <a:pt x="8732" y="0"/>
                  </a:lnTo>
                  <a:lnTo>
                    <a:pt x="7363" y="0"/>
                  </a:lnTo>
                  <a:lnTo>
                    <a:pt x="7318" y="1"/>
                  </a:lnTo>
                  <a:lnTo>
                    <a:pt x="7274" y="4"/>
                  </a:lnTo>
                  <a:lnTo>
                    <a:pt x="7231" y="9"/>
                  </a:lnTo>
                  <a:lnTo>
                    <a:pt x="7187" y="15"/>
                  </a:lnTo>
                  <a:lnTo>
                    <a:pt x="7144" y="24"/>
                  </a:lnTo>
                  <a:lnTo>
                    <a:pt x="7102" y="34"/>
                  </a:lnTo>
                  <a:lnTo>
                    <a:pt x="7061" y="46"/>
                  </a:lnTo>
                  <a:lnTo>
                    <a:pt x="7020" y="60"/>
                  </a:lnTo>
                  <a:lnTo>
                    <a:pt x="6980" y="75"/>
                  </a:lnTo>
                  <a:lnTo>
                    <a:pt x="6941" y="92"/>
                  </a:lnTo>
                  <a:lnTo>
                    <a:pt x="6903" y="111"/>
                  </a:lnTo>
                  <a:lnTo>
                    <a:pt x="6866" y="131"/>
                  </a:lnTo>
                  <a:lnTo>
                    <a:pt x="6829" y="154"/>
                  </a:lnTo>
                  <a:lnTo>
                    <a:pt x="6793" y="177"/>
                  </a:lnTo>
                  <a:lnTo>
                    <a:pt x="6759" y="202"/>
                  </a:lnTo>
                  <a:lnTo>
                    <a:pt x="6726" y="228"/>
                  </a:lnTo>
                  <a:lnTo>
                    <a:pt x="6694" y="255"/>
                  </a:lnTo>
                  <a:lnTo>
                    <a:pt x="6662" y="284"/>
                  </a:lnTo>
                  <a:lnTo>
                    <a:pt x="6633" y="314"/>
                  </a:lnTo>
                  <a:lnTo>
                    <a:pt x="6604" y="345"/>
                  </a:lnTo>
                  <a:lnTo>
                    <a:pt x="6577" y="378"/>
                  </a:lnTo>
                  <a:lnTo>
                    <a:pt x="6551" y="413"/>
                  </a:lnTo>
                  <a:lnTo>
                    <a:pt x="6527" y="447"/>
                  </a:lnTo>
                  <a:lnTo>
                    <a:pt x="6503" y="483"/>
                  </a:lnTo>
                  <a:lnTo>
                    <a:pt x="6482" y="520"/>
                  </a:lnTo>
                  <a:lnTo>
                    <a:pt x="6462" y="559"/>
                  </a:lnTo>
                  <a:lnTo>
                    <a:pt x="6444" y="598"/>
                  </a:lnTo>
                  <a:lnTo>
                    <a:pt x="6427" y="638"/>
                  </a:lnTo>
                  <a:lnTo>
                    <a:pt x="6412" y="679"/>
                  </a:lnTo>
                  <a:lnTo>
                    <a:pt x="6398" y="721"/>
                  </a:lnTo>
                  <a:lnTo>
                    <a:pt x="6387" y="764"/>
                  </a:lnTo>
                  <a:lnTo>
                    <a:pt x="6377" y="808"/>
                  </a:lnTo>
                  <a:lnTo>
                    <a:pt x="6069" y="2346"/>
                  </a:lnTo>
                  <a:lnTo>
                    <a:pt x="5985" y="2375"/>
                  </a:lnTo>
                  <a:lnTo>
                    <a:pt x="5903" y="2406"/>
                  </a:lnTo>
                  <a:lnTo>
                    <a:pt x="5820" y="2438"/>
                  </a:lnTo>
                  <a:lnTo>
                    <a:pt x="5739" y="2471"/>
                  </a:lnTo>
                  <a:lnTo>
                    <a:pt x="5658" y="2505"/>
                  </a:lnTo>
                  <a:lnTo>
                    <a:pt x="5578" y="2540"/>
                  </a:lnTo>
                  <a:lnTo>
                    <a:pt x="5499" y="2577"/>
                  </a:lnTo>
                  <a:lnTo>
                    <a:pt x="5420" y="2615"/>
                  </a:lnTo>
                  <a:lnTo>
                    <a:pt x="4110" y="1743"/>
                  </a:lnTo>
                  <a:lnTo>
                    <a:pt x="4078" y="1723"/>
                  </a:lnTo>
                  <a:lnTo>
                    <a:pt x="4046" y="1704"/>
                  </a:lnTo>
                  <a:lnTo>
                    <a:pt x="4012" y="1686"/>
                  </a:lnTo>
                  <a:lnTo>
                    <a:pt x="3978" y="1670"/>
                  </a:lnTo>
                  <a:lnTo>
                    <a:pt x="3944" y="1654"/>
                  </a:lnTo>
                  <a:lnTo>
                    <a:pt x="3910" y="1641"/>
                  </a:lnTo>
                  <a:lnTo>
                    <a:pt x="3875" y="1628"/>
                  </a:lnTo>
                  <a:lnTo>
                    <a:pt x="3840" y="1617"/>
                  </a:lnTo>
                  <a:lnTo>
                    <a:pt x="3804" y="1607"/>
                  </a:lnTo>
                  <a:lnTo>
                    <a:pt x="3769" y="1599"/>
                  </a:lnTo>
                  <a:lnTo>
                    <a:pt x="3733" y="1592"/>
                  </a:lnTo>
                  <a:lnTo>
                    <a:pt x="3698" y="1586"/>
                  </a:lnTo>
                  <a:lnTo>
                    <a:pt x="3662" y="1581"/>
                  </a:lnTo>
                  <a:lnTo>
                    <a:pt x="3625" y="1578"/>
                  </a:lnTo>
                  <a:lnTo>
                    <a:pt x="3589" y="1576"/>
                  </a:lnTo>
                  <a:lnTo>
                    <a:pt x="3553" y="1575"/>
                  </a:lnTo>
                  <a:lnTo>
                    <a:pt x="3529" y="1576"/>
                  </a:lnTo>
                  <a:lnTo>
                    <a:pt x="3504" y="1577"/>
                  </a:lnTo>
                  <a:lnTo>
                    <a:pt x="3480" y="1578"/>
                  </a:lnTo>
                  <a:lnTo>
                    <a:pt x="3455" y="1580"/>
                  </a:lnTo>
                  <a:lnTo>
                    <a:pt x="3431" y="1583"/>
                  </a:lnTo>
                  <a:lnTo>
                    <a:pt x="3407" y="1586"/>
                  </a:lnTo>
                  <a:lnTo>
                    <a:pt x="3383" y="1590"/>
                  </a:lnTo>
                  <a:lnTo>
                    <a:pt x="3359" y="1594"/>
                  </a:lnTo>
                  <a:lnTo>
                    <a:pt x="3336" y="1599"/>
                  </a:lnTo>
                  <a:lnTo>
                    <a:pt x="3312" y="1604"/>
                  </a:lnTo>
                  <a:lnTo>
                    <a:pt x="3288" y="1610"/>
                  </a:lnTo>
                  <a:lnTo>
                    <a:pt x="3264" y="1617"/>
                  </a:lnTo>
                  <a:lnTo>
                    <a:pt x="3241" y="1624"/>
                  </a:lnTo>
                  <a:lnTo>
                    <a:pt x="3218" y="1632"/>
                  </a:lnTo>
                  <a:lnTo>
                    <a:pt x="3195" y="1640"/>
                  </a:lnTo>
                  <a:lnTo>
                    <a:pt x="3173" y="1649"/>
                  </a:lnTo>
                  <a:lnTo>
                    <a:pt x="3150" y="1659"/>
                  </a:lnTo>
                  <a:lnTo>
                    <a:pt x="3127" y="1669"/>
                  </a:lnTo>
                  <a:lnTo>
                    <a:pt x="3105" y="1680"/>
                  </a:lnTo>
                  <a:lnTo>
                    <a:pt x="3083" y="1691"/>
                  </a:lnTo>
                  <a:lnTo>
                    <a:pt x="3061" y="1702"/>
                  </a:lnTo>
                  <a:lnTo>
                    <a:pt x="3040" y="1715"/>
                  </a:lnTo>
                  <a:lnTo>
                    <a:pt x="3019" y="1728"/>
                  </a:lnTo>
                  <a:lnTo>
                    <a:pt x="2998" y="1741"/>
                  </a:lnTo>
                  <a:lnTo>
                    <a:pt x="2978" y="1755"/>
                  </a:lnTo>
                  <a:lnTo>
                    <a:pt x="2956" y="1771"/>
                  </a:lnTo>
                  <a:lnTo>
                    <a:pt x="2936" y="1786"/>
                  </a:lnTo>
                  <a:lnTo>
                    <a:pt x="2917" y="1801"/>
                  </a:lnTo>
                  <a:lnTo>
                    <a:pt x="2897" y="1817"/>
                  </a:lnTo>
                  <a:lnTo>
                    <a:pt x="2878" y="1834"/>
                  </a:lnTo>
                  <a:lnTo>
                    <a:pt x="2860" y="1852"/>
                  </a:lnTo>
                  <a:lnTo>
                    <a:pt x="2841" y="1869"/>
                  </a:lnTo>
                  <a:lnTo>
                    <a:pt x="1873" y="2834"/>
                  </a:lnTo>
                  <a:lnTo>
                    <a:pt x="1843" y="2868"/>
                  </a:lnTo>
                  <a:lnTo>
                    <a:pt x="1814" y="2901"/>
                  </a:lnTo>
                  <a:lnTo>
                    <a:pt x="1786" y="2935"/>
                  </a:lnTo>
                  <a:lnTo>
                    <a:pt x="1759" y="2970"/>
                  </a:lnTo>
                  <a:lnTo>
                    <a:pt x="1735" y="3006"/>
                  </a:lnTo>
                  <a:lnTo>
                    <a:pt x="1713" y="3043"/>
                  </a:lnTo>
                  <a:lnTo>
                    <a:pt x="1692" y="3081"/>
                  </a:lnTo>
                  <a:lnTo>
                    <a:pt x="1673" y="3119"/>
                  </a:lnTo>
                  <a:lnTo>
                    <a:pt x="1656" y="3159"/>
                  </a:lnTo>
                  <a:lnTo>
                    <a:pt x="1641" y="3198"/>
                  </a:lnTo>
                  <a:lnTo>
                    <a:pt x="1627" y="3239"/>
                  </a:lnTo>
                  <a:lnTo>
                    <a:pt x="1615" y="3279"/>
                  </a:lnTo>
                  <a:lnTo>
                    <a:pt x="1604" y="3320"/>
                  </a:lnTo>
                  <a:lnTo>
                    <a:pt x="1595" y="3361"/>
                  </a:lnTo>
                  <a:lnTo>
                    <a:pt x="1588" y="3404"/>
                  </a:lnTo>
                  <a:lnTo>
                    <a:pt x="1583" y="3446"/>
                  </a:lnTo>
                  <a:lnTo>
                    <a:pt x="1580" y="3488"/>
                  </a:lnTo>
                  <a:lnTo>
                    <a:pt x="1579" y="3530"/>
                  </a:lnTo>
                  <a:lnTo>
                    <a:pt x="1579" y="3572"/>
                  </a:lnTo>
                  <a:lnTo>
                    <a:pt x="1581" y="3614"/>
                  </a:lnTo>
                  <a:lnTo>
                    <a:pt x="1585" y="3656"/>
                  </a:lnTo>
                  <a:lnTo>
                    <a:pt x="1590" y="3699"/>
                  </a:lnTo>
                  <a:lnTo>
                    <a:pt x="1598" y="3741"/>
                  </a:lnTo>
                  <a:lnTo>
                    <a:pt x="1607" y="3783"/>
                  </a:lnTo>
                  <a:lnTo>
                    <a:pt x="1619" y="3824"/>
                  </a:lnTo>
                  <a:lnTo>
                    <a:pt x="1632" y="3865"/>
                  </a:lnTo>
                  <a:lnTo>
                    <a:pt x="1646" y="3906"/>
                  </a:lnTo>
                  <a:lnTo>
                    <a:pt x="1663" y="3947"/>
                  </a:lnTo>
                  <a:lnTo>
                    <a:pt x="1681" y="3986"/>
                  </a:lnTo>
                  <a:lnTo>
                    <a:pt x="1702" y="4025"/>
                  </a:lnTo>
                  <a:lnTo>
                    <a:pt x="1724" y="4063"/>
                  </a:lnTo>
                  <a:lnTo>
                    <a:pt x="1747" y="4101"/>
                  </a:lnTo>
                  <a:lnTo>
                    <a:pt x="2620" y="5408"/>
                  </a:lnTo>
                  <a:lnTo>
                    <a:pt x="2583" y="5486"/>
                  </a:lnTo>
                  <a:lnTo>
                    <a:pt x="2546" y="5565"/>
                  </a:lnTo>
                  <a:lnTo>
                    <a:pt x="2511" y="5646"/>
                  </a:lnTo>
                  <a:lnTo>
                    <a:pt x="2477" y="5726"/>
                  </a:lnTo>
                  <a:lnTo>
                    <a:pt x="2443" y="5807"/>
                  </a:lnTo>
                  <a:lnTo>
                    <a:pt x="2411" y="5890"/>
                  </a:lnTo>
                  <a:lnTo>
                    <a:pt x="2380" y="5972"/>
                  </a:lnTo>
                  <a:lnTo>
                    <a:pt x="2351" y="6055"/>
                  </a:lnTo>
                  <a:lnTo>
                    <a:pt x="809" y="6362"/>
                  </a:lnTo>
                  <a:lnTo>
                    <a:pt x="766" y="6372"/>
                  </a:lnTo>
                  <a:lnTo>
                    <a:pt x="722" y="6383"/>
                  </a:lnTo>
                  <a:lnTo>
                    <a:pt x="681" y="6398"/>
                  </a:lnTo>
                  <a:lnTo>
                    <a:pt x="640" y="6413"/>
                  </a:lnTo>
                  <a:lnTo>
                    <a:pt x="600" y="6429"/>
                  </a:lnTo>
                  <a:lnTo>
                    <a:pt x="559" y="6448"/>
                  </a:lnTo>
                  <a:lnTo>
                    <a:pt x="521" y="6467"/>
                  </a:lnTo>
                  <a:lnTo>
                    <a:pt x="484" y="6489"/>
                  </a:lnTo>
                  <a:lnTo>
                    <a:pt x="448" y="6512"/>
                  </a:lnTo>
                  <a:lnTo>
                    <a:pt x="412" y="6536"/>
                  </a:lnTo>
                  <a:lnTo>
                    <a:pt x="379" y="6562"/>
                  </a:lnTo>
                  <a:lnTo>
                    <a:pt x="346" y="6589"/>
                  </a:lnTo>
                  <a:lnTo>
                    <a:pt x="315" y="6617"/>
                  </a:lnTo>
                  <a:lnTo>
                    <a:pt x="285" y="6647"/>
                  </a:lnTo>
                  <a:lnTo>
                    <a:pt x="256" y="6679"/>
                  </a:lnTo>
                  <a:lnTo>
                    <a:pt x="228" y="6711"/>
                  </a:lnTo>
                  <a:lnTo>
                    <a:pt x="202" y="6744"/>
                  </a:lnTo>
                  <a:lnTo>
                    <a:pt x="177" y="6778"/>
                  </a:lnTo>
                  <a:lnTo>
                    <a:pt x="154" y="6813"/>
                  </a:lnTo>
                  <a:lnTo>
                    <a:pt x="132" y="6850"/>
                  </a:lnTo>
                  <a:lnTo>
                    <a:pt x="112" y="6887"/>
                  </a:lnTo>
                  <a:lnTo>
                    <a:pt x="93" y="6925"/>
                  </a:lnTo>
                  <a:lnTo>
                    <a:pt x="75" y="6965"/>
                  </a:lnTo>
                  <a:lnTo>
                    <a:pt x="60" y="7005"/>
                  </a:lnTo>
                  <a:lnTo>
                    <a:pt x="46" y="7045"/>
                  </a:lnTo>
                  <a:lnTo>
                    <a:pt x="34" y="7086"/>
                  </a:lnTo>
                  <a:lnTo>
                    <a:pt x="24" y="7128"/>
                  </a:lnTo>
                  <a:lnTo>
                    <a:pt x="15" y="7171"/>
                  </a:lnTo>
                  <a:lnTo>
                    <a:pt x="9" y="7215"/>
                  </a:lnTo>
                  <a:lnTo>
                    <a:pt x="4" y="7258"/>
                  </a:lnTo>
                  <a:lnTo>
                    <a:pt x="1" y="7302"/>
                  </a:lnTo>
                  <a:lnTo>
                    <a:pt x="0" y="7347"/>
                  </a:lnTo>
                  <a:lnTo>
                    <a:pt x="0" y="8712"/>
                  </a:lnTo>
                  <a:lnTo>
                    <a:pt x="1" y="8757"/>
                  </a:lnTo>
                  <a:lnTo>
                    <a:pt x="4" y="8801"/>
                  </a:lnTo>
                  <a:lnTo>
                    <a:pt x="9" y="8844"/>
                  </a:lnTo>
                  <a:lnTo>
                    <a:pt x="15" y="8888"/>
                  </a:lnTo>
                  <a:lnTo>
                    <a:pt x="24" y="8931"/>
                  </a:lnTo>
                  <a:lnTo>
                    <a:pt x="34" y="8972"/>
                  </a:lnTo>
                  <a:lnTo>
                    <a:pt x="46" y="9014"/>
                  </a:lnTo>
                  <a:lnTo>
                    <a:pt x="60" y="9054"/>
                  </a:lnTo>
                  <a:lnTo>
                    <a:pt x="75" y="9094"/>
                  </a:lnTo>
                  <a:lnTo>
                    <a:pt x="93" y="9134"/>
                  </a:lnTo>
                  <a:lnTo>
                    <a:pt x="112" y="9172"/>
                  </a:lnTo>
                  <a:lnTo>
                    <a:pt x="132" y="9209"/>
                  </a:lnTo>
                  <a:lnTo>
                    <a:pt x="154" y="9245"/>
                  </a:lnTo>
                  <a:lnTo>
                    <a:pt x="177" y="9280"/>
                  </a:lnTo>
                  <a:lnTo>
                    <a:pt x="202" y="9315"/>
                  </a:lnTo>
                  <a:lnTo>
                    <a:pt x="228" y="9348"/>
                  </a:lnTo>
                  <a:lnTo>
                    <a:pt x="256" y="9380"/>
                  </a:lnTo>
                  <a:lnTo>
                    <a:pt x="285" y="9412"/>
                  </a:lnTo>
                  <a:lnTo>
                    <a:pt x="315" y="9441"/>
                  </a:lnTo>
                  <a:lnTo>
                    <a:pt x="346" y="9470"/>
                  </a:lnTo>
                  <a:lnTo>
                    <a:pt x="379" y="9497"/>
                  </a:lnTo>
                  <a:lnTo>
                    <a:pt x="412" y="9523"/>
                  </a:lnTo>
                  <a:lnTo>
                    <a:pt x="448" y="9547"/>
                  </a:lnTo>
                  <a:lnTo>
                    <a:pt x="484" y="9570"/>
                  </a:lnTo>
                  <a:lnTo>
                    <a:pt x="521" y="9591"/>
                  </a:lnTo>
                  <a:lnTo>
                    <a:pt x="559" y="9611"/>
                  </a:lnTo>
                  <a:lnTo>
                    <a:pt x="600" y="9629"/>
                  </a:lnTo>
                  <a:lnTo>
                    <a:pt x="640" y="9646"/>
                  </a:lnTo>
                  <a:lnTo>
                    <a:pt x="681" y="9661"/>
                  </a:lnTo>
                  <a:lnTo>
                    <a:pt x="722" y="9675"/>
                  </a:lnTo>
                  <a:lnTo>
                    <a:pt x="766" y="9687"/>
                  </a:lnTo>
                  <a:lnTo>
                    <a:pt x="809" y="9697"/>
                  </a:lnTo>
                  <a:lnTo>
                    <a:pt x="2351" y="10004"/>
                  </a:lnTo>
                  <a:lnTo>
                    <a:pt x="2380" y="10087"/>
                  </a:lnTo>
                  <a:lnTo>
                    <a:pt x="2411" y="10169"/>
                  </a:lnTo>
                  <a:lnTo>
                    <a:pt x="2443" y="10252"/>
                  </a:lnTo>
                  <a:lnTo>
                    <a:pt x="2477" y="10333"/>
                  </a:lnTo>
                  <a:lnTo>
                    <a:pt x="2511" y="10413"/>
                  </a:lnTo>
                  <a:lnTo>
                    <a:pt x="2546" y="10494"/>
                  </a:lnTo>
                  <a:lnTo>
                    <a:pt x="2583" y="10573"/>
                  </a:lnTo>
                  <a:lnTo>
                    <a:pt x="2620" y="10651"/>
                  </a:lnTo>
                  <a:lnTo>
                    <a:pt x="1747" y="11957"/>
                  </a:lnTo>
                  <a:lnTo>
                    <a:pt x="1724" y="11995"/>
                  </a:lnTo>
                  <a:lnTo>
                    <a:pt x="1702" y="12033"/>
                  </a:lnTo>
                  <a:lnTo>
                    <a:pt x="1681" y="12072"/>
                  </a:lnTo>
                  <a:lnTo>
                    <a:pt x="1663" y="12111"/>
                  </a:lnTo>
                  <a:lnTo>
                    <a:pt x="1646" y="12153"/>
                  </a:lnTo>
                  <a:lnTo>
                    <a:pt x="1632" y="12193"/>
                  </a:lnTo>
                  <a:lnTo>
                    <a:pt x="1619" y="12234"/>
                  </a:lnTo>
                  <a:lnTo>
                    <a:pt x="1607" y="12275"/>
                  </a:lnTo>
                  <a:lnTo>
                    <a:pt x="1598" y="12317"/>
                  </a:lnTo>
                  <a:lnTo>
                    <a:pt x="1590" y="12359"/>
                  </a:lnTo>
                  <a:lnTo>
                    <a:pt x="1585" y="12402"/>
                  </a:lnTo>
                  <a:lnTo>
                    <a:pt x="1581" y="12444"/>
                  </a:lnTo>
                  <a:lnTo>
                    <a:pt x="1579" y="12486"/>
                  </a:lnTo>
                  <a:lnTo>
                    <a:pt x="1579" y="12528"/>
                  </a:lnTo>
                  <a:lnTo>
                    <a:pt x="1580" y="12571"/>
                  </a:lnTo>
                  <a:lnTo>
                    <a:pt x="1583" y="12613"/>
                  </a:lnTo>
                  <a:lnTo>
                    <a:pt x="1588" y="12654"/>
                  </a:lnTo>
                  <a:lnTo>
                    <a:pt x="1595" y="12697"/>
                  </a:lnTo>
                  <a:lnTo>
                    <a:pt x="1604" y="12738"/>
                  </a:lnTo>
                  <a:lnTo>
                    <a:pt x="1615" y="12779"/>
                  </a:lnTo>
                  <a:lnTo>
                    <a:pt x="1627" y="12820"/>
                  </a:lnTo>
                  <a:lnTo>
                    <a:pt x="1641" y="12860"/>
                  </a:lnTo>
                  <a:lnTo>
                    <a:pt x="1656" y="12900"/>
                  </a:lnTo>
                  <a:lnTo>
                    <a:pt x="1673" y="12940"/>
                  </a:lnTo>
                  <a:lnTo>
                    <a:pt x="1692" y="12978"/>
                  </a:lnTo>
                  <a:lnTo>
                    <a:pt x="1713" y="13016"/>
                  </a:lnTo>
                  <a:lnTo>
                    <a:pt x="1735" y="13052"/>
                  </a:lnTo>
                  <a:lnTo>
                    <a:pt x="1759" y="13088"/>
                  </a:lnTo>
                  <a:lnTo>
                    <a:pt x="1786" y="13124"/>
                  </a:lnTo>
                  <a:lnTo>
                    <a:pt x="1814" y="13158"/>
                  </a:lnTo>
                  <a:lnTo>
                    <a:pt x="1843" y="13191"/>
                  </a:lnTo>
                  <a:lnTo>
                    <a:pt x="1873" y="13224"/>
                  </a:lnTo>
                  <a:lnTo>
                    <a:pt x="2841" y="14189"/>
                  </a:lnTo>
                  <a:lnTo>
                    <a:pt x="2860" y="14207"/>
                  </a:lnTo>
                  <a:lnTo>
                    <a:pt x="2878" y="14224"/>
                  </a:lnTo>
                  <a:lnTo>
                    <a:pt x="2897" y="14241"/>
                  </a:lnTo>
                  <a:lnTo>
                    <a:pt x="2917" y="14257"/>
                  </a:lnTo>
                  <a:lnTo>
                    <a:pt x="2936" y="14273"/>
                  </a:lnTo>
                  <a:lnTo>
                    <a:pt x="2956" y="14288"/>
                  </a:lnTo>
                  <a:lnTo>
                    <a:pt x="2978" y="14303"/>
                  </a:lnTo>
                  <a:lnTo>
                    <a:pt x="2998" y="14317"/>
                  </a:lnTo>
                  <a:lnTo>
                    <a:pt x="3019" y="14331"/>
                  </a:lnTo>
                  <a:lnTo>
                    <a:pt x="3040" y="14344"/>
                  </a:lnTo>
                  <a:lnTo>
                    <a:pt x="3061" y="14356"/>
                  </a:lnTo>
                  <a:lnTo>
                    <a:pt x="3083" y="14368"/>
                  </a:lnTo>
                  <a:lnTo>
                    <a:pt x="3105" y="14379"/>
                  </a:lnTo>
                  <a:lnTo>
                    <a:pt x="3127" y="14389"/>
                  </a:lnTo>
                  <a:lnTo>
                    <a:pt x="3150" y="14399"/>
                  </a:lnTo>
                  <a:lnTo>
                    <a:pt x="3173" y="14409"/>
                  </a:lnTo>
                  <a:lnTo>
                    <a:pt x="3195" y="14418"/>
                  </a:lnTo>
                  <a:lnTo>
                    <a:pt x="3218" y="14426"/>
                  </a:lnTo>
                  <a:lnTo>
                    <a:pt x="3241" y="14434"/>
                  </a:lnTo>
                  <a:lnTo>
                    <a:pt x="3264" y="14441"/>
                  </a:lnTo>
                  <a:lnTo>
                    <a:pt x="3288" y="14448"/>
                  </a:lnTo>
                  <a:lnTo>
                    <a:pt x="3312" y="14454"/>
                  </a:lnTo>
                  <a:lnTo>
                    <a:pt x="3336" y="14459"/>
                  </a:lnTo>
                  <a:lnTo>
                    <a:pt x="3359" y="14464"/>
                  </a:lnTo>
                  <a:lnTo>
                    <a:pt x="3383" y="14469"/>
                  </a:lnTo>
                  <a:lnTo>
                    <a:pt x="3407" y="14473"/>
                  </a:lnTo>
                  <a:lnTo>
                    <a:pt x="3431" y="14476"/>
                  </a:lnTo>
                  <a:lnTo>
                    <a:pt x="3455" y="14478"/>
                  </a:lnTo>
                  <a:lnTo>
                    <a:pt x="3480" y="14480"/>
                  </a:lnTo>
                  <a:lnTo>
                    <a:pt x="3504" y="14482"/>
                  </a:lnTo>
                  <a:lnTo>
                    <a:pt x="3529" y="14483"/>
                  </a:lnTo>
                  <a:lnTo>
                    <a:pt x="3553" y="14483"/>
                  </a:lnTo>
                  <a:lnTo>
                    <a:pt x="3589" y="14482"/>
                  </a:lnTo>
                  <a:lnTo>
                    <a:pt x="3625" y="14480"/>
                  </a:lnTo>
                  <a:lnTo>
                    <a:pt x="3662" y="14477"/>
                  </a:lnTo>
                  <a:lnTo>
                    <a:pt x="3698" y="14473"/>
                  </a:lnTo>
                  <a:lnTo>
                    <a:pt x="3733" y="14467"/>
                  </a:lnTo>
                  <a:lnTo>
                    <a:pt x="3769" y="14460"/>
                  </a:lnTo>
                  <a:lnTo>
                    <a:pt x="3804" y="14451"/>
                  </a:lnTo>
                  <a:lnTo>
                    <a:pt x="3840" y="14441"/>
                  </a:lnTo>
                  <a:lnTo>
                    <a:pt x="3875" y="14430"/>
                  </a:lnTo>
                  <a:lnTo>
                    <a:pt x="3910" y="14418"/>
                  </a:lnTo>
                  <a:lnTo>
                    <a:pt x="3944" y="14404"/>
                  </a:lnTo>
                  <a:lnTo>
                    <a:pt x="3978" y="14389"/>
                  </a:lnTo>
                  <a:lnTo>
                    <a:pt x="4013" y="14372"/>
                  </a:lnTo>
                  <a:lnTo>
                    <a:pt x="4046" y="14355"/>
                  </a:lnTo>
                  <a:lnTo>
                    <a:pt x="4078" y="14336"/>
                  </a:lnTo>
                  <a:lnTo>
                    <a:pt x="4110" y="14315"/>
                  </a:lnTo>
                  <a:lnTo>
                    <a:pt x="5420" y="13443"/>
                  </a:lnTo>
                  <a:lnTo>
                    <a:pt x="5499" y="13482"/>
                  </a:lnTo>
                  <a:lnTo>
                    <a:pt x="5578" y="13518"/>
                  </a:lnTo>
                  <a:lnTo>
                    <a:pt x="5658" y="13553"/>
                  </a:lnTo>
                  <a:lnTo>
                    <a:pt x="5739" y="13587"/>
                  </a:lnTo>
                  <a:lnTo>
                    <a:pt x="5820" y="13620"/>
                  </a:lnTo>
                  <a:lnTo>
                    <a:pt x="5903" y="13652"/>
                  </a:lnTo>
                  <a:lnTo>
                    <a:pt x="5985" y="13683"/>
                  </a:lnTo>
                  <a:lnTo>
                    <a:pt x="6069" y="13713"/>
                  </a:lnTo>
                  <a:lnTo>
                    <a:pt x="6377" y="15251"/>
                  </a:lnTo>
                  <a:lnTo>
                    <a:pt x="6387" y="15295"/>
                  </a:lnTo>
                  <a:lnTo>
                    <a:pt x="6398" y="15337"/>
                  </a:lnTo>
                  <a:lnTo>
                    <a:pt x="6412" y="15380"/>
                  </a:lnTo>
                  <a:lnTo>
                    <a:pt x="6427" y="15421"/>
                  </a:lnTo>
                  <a:lnTo>
                    <a:pt x="6444" y="15461"/>
                  </a:lnTo>
                  <a:lnTo>
                    <a:pt x="6462" y="15500"/>
                  </a:lnTo>
                  <a:lnTo>
                    <a:pt x="6482" y="15538"/>
                  </a:lnTo>
                  <a:lnTo>
                    <a:pt x="6503" y="15575"/>
                  </a:lnTo>
                  <a:lnTo>
                    <a:pt x="6527" y="15611"/>
                  </a:lnTo>
                  <a:lnTo>
                    <a:pt x="6551" y="15646"/>
                  </a:lnTo>
                  <a:lnTo>
                    <a:pt x="6577" y="15681"/>
                  </a:lnTo>
                  <a:lnTo>
                    <a:pt x="6604" y="15713"/>
                  </a:lnTo>
                  <a:lnTo>
                    <a:pt x="6633" y="15744"/>
                  </a:lnTo>
                  <a:lnTo>
                    <a:pt x="6662" y="15774"/>
                  </a:lnTo>
                  <a:lnTo>
                    <a:pt x="6694" y="15803"/>
                  </a:lnTo>
                  <a:lnTo>
                    <a:pt x="6726" y="15831"/>
                  </a:lnTo>
                  <a:lnTo>
                    <a:pt x="6759" y="15857"/>
                  </a:lnTo>
                  <a:lnTo>
                    <a:pt x="6793" y="15881"/>
                  </a:lnTo>
                  <a:lnTo>
                    <a:pt x="6829" y="15904"/>
                  </a:lnTo>
                  <a:lnTo>
                    <a:pt x="6866" y="15927"/>
                  </a:lnTo>
                  <a:lnTo>
                    <a:pt x="6903" y="15947"/>
                  </a:lnTo>
                  <a:lnTo>
                    <a:pt x="6941" y="15966"/>
                  </a:lnTo>
                  <a:lnTo>
                    <a:pt x="6980" y="15983"/>
                  </a:lnTo>
                  <a:lnTo>
                    <a:pt x="7020" y="15998"/>
                  </a:lnTo>
                  <a:lnTo>
                    <a:pt x="7061" y="16012"/>
                  </a:lnTo>
                  <a:lnTo>
                    <a:pt x="7102" y="16024"/>
                  </a:lnTo>
                  <a:lnTo>
                    <a:pt x="7144" y="16034"/>
                  </a:lnTo>
                  <a:lnTo>
                    <a:pt x="7187" y="16043"/>
                  </a:lnTo>
                  <a:lnTo>
                    <a:pt x="7231" y="16049"/>
                  </a:lnTo>
                  <a:lnTo>
                    <a:pt x="7274" y="16054"/>
                  </a:lnTo>
                  <a:lnTo>
                    <a:pt x="7318" y="16057"/>
                  </a:lnTo>
                  <a:lnTo>
                    <a:pt x="7363" y="16058"/>
                  </a:lnTo>
                  <a:lnTo>
                    <a:pt x="8732" y="16058"/>
                  </a:lnTo>
                  <a:lnTo>
                    <a:pt x="8777" y="16057"/>
                  </a:lnTo>
                  <a:lnTo>
                    <a:pt x="8821" y="16054"/>
                  </a:lnTo>
                  <a:lnTo>
                    <a:pt x="8864" y="16049"/>
                  </a:lnTo>
                  <a:lnTo>
                    <a:pt x="8908" y="16043"/>
                  </a:lnTo>
                  <a:lnTo>
                    <a:pt x="8951" y="16034"/>
                  </a:lnTo>
                  <a:lnTo>
                    <a:pt x="8993" y="16024"/>
                  </a:lnTo>
                  <a:lnTo>
                    <a:pt x="9034" y="16012"/>
                  </a:lnTo>
                  <a:lnTo>
                    <a:pt x="9075" y="15998"/>
                  </a:lnTo>
                  <a:lnTo>
                    <a:pt x="9115" y="15983"/>
                  </a:lnTo>
                  <a:lnTo>
                    <a:pt x="9154" y="15966"/>
                  </a:lnTo>
                  <a:lnTo>
                    <a:pt x="9192" y="15947"/>
                  </a:lnTo>
                  <a:lnTo>
                    <a:pt x="9229" y="15927"/>
                  </a:lnTo>
                  <a:lnTo>
                    <a:pt x="9267" y="15904"/>
                  </a:lnTo>
                  <a:lnTo>
                    <a:pt x="9302" y="15881"/>
                  </a:lnTo>
                  <a:lnTo>
                    <a:pt x="9336" y="15857"/>
                  </a:lnTo>
                  <a:lnTo>
                    <a:pt x="9369" y="15831"/>
                  </a:lnTo>
                  <a:lnTo>
                    <a:pt x="9401" y="15803"/>
                  </a:lnTo>
                  <a:lnTo>
                    <a:pt x="9433" y="15774"/>
                  </a:lnTo>
                  <a:lnTo>
                    <a:pt x="9463" y="15744"/>
                  </a:lnTo>
                  <a:lnTo>
                    <a:pt x="9491" y="15713"/>
                  </a:lnTo>
                  <a:lnTo>
                    <a:pt x="9518" y="15681"/>
                  </a:lnTo>
                  <a:lnTo>
                    <a:pt x="9544" y="15646"/>
                  </a:lnTo>
                  <a:lnTo>
                    <a:pt x="9568" y="15611"/>
                  </a:lnTo>
                  <a:lnTo>
                    <a:pt x="9592" y="15575"/>
                  </a:lnTo>
                  <a:lnTo>
                    <a:pt x="9614" y="15538"/>
                  </a:lnTo>
                  <a:lnTo>
                    <a:pt x="9633" y="15500"/>
                  </a:lnTo>
                  <a:lnTo>
                    <a:pt x="9652" y="15461"/>
                  </a:lnTo>
                  <a:lnTo>
                    <a:pt x="9668" y="15421"/>
                  </a:lnTo>
                  <a:lnTo>
                    <a:pt x="9683" y="15380"/>
                  </a:lnTo>
                  <a:lnTo>
                    <a:pt x="9697" y="15337"/>
                  </a:lnTo>
                  <a:lnTo>
                    <a:pt x="9708" y="15295"/>
                  </a:lnTo>
                  <a:lnTo>
                    <a:pt x="9718" y="15251"/>
                  </a:lnTo>
                  <a:lnTo>
                    <a:pt x="10027" y="13713"/>
                  </a:lnTo>
                  <a:lnTo>
                    <a:pt x="10111" y="13683"/>
                  </a:lnTo>
                  <a:lnTo>
                    <a:pt x="10193" y="13652"/>
                  </a:lnTo>
                  <a:lnTo>
                    <a:pt x="10276" y="13620"/>
                  </a:lnTo>
                  <a:lnTo>
                    <a:pt x="10357" y="13587"/>
                  </a:lnTo>
                  <a:lnTo>
                    <a:pt x="10438" y="13553"/>
                  </a:lnTo>
                  <a:lnTo>
                    <a:pt x="10517" y="13518"/>
                  </a:lnTo>
                  <a:lnTo>
                    <a:pt x="10597" y="13481"/>
                  </a:lnTo>
                  <a:lnTo>
                    <a:pt x="10676" y="13443"/>
                  </a:lnTo>
                  <a:lnTo>
                    <a:pt x="11986" y="14315"/>
                  </a:lnTo>
                  <a:lnTo>
                    <a:pt x="12018" y="14336"/>
                  </a:lnTo>
                  <a:lnTo>
                    <a:pt x="12050" y="14355"/>
                  </a:lnTo>
                  <a:lnTo>
                    <a:pt x="12083" y="14372"/>
                  </a:lnTo>
                  <a:lnTo>
                    <a:pt x="12117" y="14389"/>
                  </a:lnTo>
                  <a:lnTo>
                    <a:pt x="12151" y="14404"/>
                  </a:lnTo>
                  <a:lnTo>
                    <a:pt x="12185" y="14418"/>
                  </a:lnTo>
                  <a:lnTo>
                    <a:pt x="12220" y="14430"/>
                  </a:lnTo>
                  <a:lnTo>
                    <a:pt x="12255" y="14441"/>
                  </a:lnTo>
                  <a:lnTo>
                    <a:pt x="12291" y="14451"/>
                  </a:lnTo>
                  <a:lnTo>
                    <a:pt x="12326" y="14460"/>
                  </a:lnTo>
                  <a:lnTo>
                    <a:pt x="12362" y="14467"/>
                  </a:lnTo>
                  <a:lnTo>
                    <a:pt x="12398" y="14473"/>
                  </a:lnTo>
                  <a:lnTo>
                    <a:pt x="12433" y="14477"/>
                  </a:lnTo>
                  <a:lnTo>
                    <a:pt x="12470" y="14480"/>
                  </a:lnTo>
                  <a:lnTo>
                    <a:pt x="12506" y="14482"/>
                  </a:lnTo>
                  <a:lnTo>
                    <a:pt x="12542" y="14483"/>
                  </a:lnTo>
                  <a:lnTo>
                    <a:pt x="12566" y="14483"/>
                  </a:lnTo>
                  <a:lnTo>
                    <a:pt x="12591" y="14482"/>
                  </a:lnTo>
                  <a:lnTo>
                    <a:pt x="12615" y="14480"/>
                  </a:lnTo>
                  <a:lnTo>
                    <a:pt x="12640" y="14478"/>
                  </a:lnTo>
                  <a:lnTo>
                    <a:pt x="12664" y="14476"/>
                  </a:lnTo>
                  <a:lnTo>
                    <a:pt x="12688" y="14473"/>
                  </a:lnTo>
                  <a:lnTo>
                    <a:pt x="12712" y="14469"/>
                  </a:lnTo>
                  <a:lnTo>
                    <a:pt x="12736" y="14464"/>
                  </a:lnTo>
                  <a:lnTo>
                    <a:pt x="12759" y="14459"/>
                  </a:lnTo>
                  <a:lnTo>
                    <a:pt x="12783" y="14454"/>
                  </a:lnTo>
                  <a:lnTo>
                    <a:pt x="12808" y="14448"/>
                  </a:lnTo>
                  <a:lnTo>
                    <a:pt x="12831" y="14441"/>
                  </a:lnTo>
                  <a:lnTo>
                    <a:pt x="12854" y="14434"/>
                  </a:lnTo>
                  <a:lnTo>
                    <a:pt x="12877" y="14426"/>
                  </a:lnTo>
                  <a:lnTo>
                    <a:pt x="12900" y="14418"/>
                  </a:lnTo>
                  <a:lnTo>
                    <a:pt x="12923" y="14409"/>
                  </a:lnTo>
                  <a:lnTo>
                    <a:pt x="12945" y="14399"/>
                  </a:lnTo>
                  <a:lnTo>
                    <a:pt x="12968" y="14389"/>
                  </a:lnTo>
                  <a:lnTo>
                    <a:pt x="12990" y="14379"/>
                  </a:lnTo>
                  <a:lnTo>
                    <a:pt x="13012" y="14368"/>
                  </a:lnTo>
                  <a:lnTo>
                    <a:pt x="13034" y="14356"/>
                  </a:lnTo>
                  <a:lnTo>
                    <a:pt x="13055" y="14344"/>
                  </a:lnTo>
                  <a:lnTo>
                    <a:pt x="13076" y="14331"/>
                  </a:lnTo>
                  <a:lnTo>
                    <a:pt x="13097" y="14317"/>
                  </a:lnTo>
                  <a:lnTo>
                    <a:pt x="13118" y="14303"/>
                  </a:lnTo>
                  <a:lnTo>
                    <a:pt x="13139" y="14288"/>
                  </a:lnTo>
                  <a:lnTo>
                    <a:pt x="13159" y="14273"/>
                  </a:lnTo>
                  <a:lnTo>
                    <a:pt x="13179" y="14257"/>
                  </a:lnTo>
                  <a:lnTo>
                    <a:pt x="13198" y="14241"/>
                  </a:lnTo>
                  <a:lnTo>
                    <a:pt x="13217" y="14224"/>
                  </a:lnTo>
                  <a:lnTo>
                    <a:pt x="13236" y="14207"/>
                  </a:lnTo>
                  <a:lnTo>
                    <a:pt x="13254" y="14189"/>
                  </a:lnTo>
                  <a:lnTo>
                    <a:pt x="14222" y="13224"/>
                  </a:lnTo>
                  <a:lnTo>
                    <a:pt x="14253" y="13191"/>
                  </a:lnTo>
                  <a:lnTo>
                    <a:pt x="14282" y="13158"/>
                  </a:lnTo>
                  <a:lnTo>
                    <a:pt x="14309" y="13124"/>
                  </a:lnTo>
                  <a:lnTo>
                    <a:pt x="14336" y="13088"/>
                  </a:lnTo>
                  <a:lnTo>
                    <a:pt x="14360" y="13052"/>
                  </a:lnTo>
                  <a:lnTo>
                    <a:pt x="14382" y="13016"/>
                  </a:lnTo>
                  <a:lnTo>
                    <a:pt x="14403" y="12978"/>
                  </a:lnTo>
                  <a:lnTo>
                    <a:pt x="14422" y="12940"/>
                  </a:lnTo>
                  <a:lnTo>
                    <a:pt x="14439" y="12900"/>
                  </a:lnTo>
                  <a:lnTo>
                    <a:pt x="14455" y="12860"/>
                  </a:lnTo>
                  <a:lnTo>
                    <a:pt x="14468" y="12820"/>
                  </a:lnTo>
                  <a:lnTo>
                    <a:pt x="14480" y="12779"/>
                  </a:lnTo>
                  <a:lnTo>
                    <a:pt x="14492" y="12738"/>
                  </a:lnTo>
                  <a:lnTo>
                    <a:pt x="14500" y="12697"/>
                  </a:lnTo>
                  <a:lnTo>
                    <a:pt x="14507" y="12654"/>
                  </a:lnTo>
                  <a:lnTo>
                    <a:pt x="14512" y="12613"/>
                  </a:lnTo>
                  <a:lnTo>
                    <a:pt x="14515" y="12571"/>
                  </a:lnTo>
                  <a:lnTo>
                    <a:pt x="14517" y="12528"/>
                  </a:lnTo>
                  <a:lnTo>
                    <a:pt x="14517" y="12486"/>
                  </a:lnTo>
                  <a:lnTo>
                    <a:pt x="14515" y="12444"/>
                  </a:lnTo>
                  <a:lnTo>
                    <a:pt x="14511" y="12402"/>
                  </a:lnTo>
                  <a:lnTo>
                    <a:pt x="14505" y="12359"/>
                  </a:lnTo>
                  <a:lnTo>
                    <a:pt x="14498" y="12317"/>
                  </a:lnTo>
                  <a:lnTo>
                    <a:pt x="14489" y="12275"/>
                  </a:lnTo>
                  <a:lnTo>
                    <a:pt x="14476" y="12234"/>
                  </a:lnTo>
                  <a:lnTo>
                    <a:pt x="14464" y="12193"/>
                  </a:lnTo>
                  <a:lnTo>
                    <a:pt x="14449" y="12153"/>
                  </a:lnTo>
                  <a:lnTo>
                    <a:pt x="14433" y="12111"/>
                  </a:lnTo>
                  <a:lnTo>
                    <a:pt x="14414" y="12072"/>
                  </a:lnTo>
                  <a:lnTo>
                    <a:pt x="14394" y="12033"/>
                  </a:lnTo>
                  <a:lnTo>
                    <a:pt x="14372" y="11995"/>
                  </a:lnTo>
                  <a:lnTo>
                    <a:pt x="14348" y="11957"/>
                  </a:lnTo>
                  <a:lnTo>
                    <a:pt x="13475" y="10651"/>
                  </a:lnTo>
                  <a:lnTo>
                    <a:pt x="13512" y="10572"/>
                  </a:lnTo>
                  <a:lnTo>
                    <a:pt x="13549" y="10493"/>
                  </a:lnTo>
                  <a:lnTo>
                    <a:pt x="13584" y="10413"/>
                  </a:lnTo>
                  <a:lnTo>
                    <a:pt x="13618" y="10332"/>
                  </a:lnTo>
                  <a:lnTo>
                    <a:pt x="13652" y="10251"/>
                  </a:lnTo>
                  <a:lnTo>
                    <a:pt x="13684" y="10169"/>
                  </a:lnTo>
                  <a:lnTo>
                    <a:pt x="13715" y="10087"/>
                  </a:lnTo>
                  <a:lnTo>
                    <a:pt x="13745" y="10004"/>
                  </a:lnTo>
                  <a:lnTo>
                    <a:pt x="15286" y="9697"/>
                  </a:lnTo>
                  <a:lnTo>
                    <a:pt x="15329" y="9687"/>
                  </a:lnTo>
                  <a:lnTo>
                    <a:pt x="15373" y="9675"/>
                  </a:lnTo>
                  <a:lnTo>
                    <a:pt x="15414" y="9661"/>
                  </a:lnTo>
                  <a:lnTo>
                    <a:pt x="15455" y="9646"/>
                  </a:lnTo>
                  <a:lnTo>
                    <a:pt x="15495" y="9629"/>
                  </a:lnTo>
                  <a:lnTo>
                    <a:pt x="15536" y="9611"/>
                  </a:lnTo>
                  <a:lnTo>
                    <a:pt x="15574" y="9591"/>
                  </a:lnTo>
                  <a:lnTo>
                    <a:pt x="15611" y="9570"/>
                  </a:lnTo>
                  <a:lnTo>
                    <a:pt x="15647" y="9547"/>
                  </a:lnTo>
                  <a:lnTo>
                    <a:pt x="15683" y="9523"/>
                  </a:lnTo>
                  <a:lnTo>
                    <a:pt x="15716" y="9497"/>
                  </a:lnTo>
                  <a:lnTo>
                    <a:pt x="15749" y="9470"/>
                  </a:lnTo>
                  <a:lnTo>
                    <a:pt x="15780" y="9441"/>
                  </a:lnTo>
                  <a:lnTo>
                    <a:pt x="15810" y="9412"/>
                  </a:lnTo>
                  <a:lnTo>
                    <a:pt x="15839" y="9380"/>
                  </a:lnTo>
                  <a:lnTo>
                    <a:pt x="15867" y="9348"/>
                  </a:lnTo>
                  <a:lnTo>
                    <a:pt x="15893" y="9315"/>
                  </a:lnTo>
                  <a:lnTo>
                    <a:pt x="15918" y="9280"/>
                  </a:lnTo>
                  <a:lnTo>
                    <a:pt x="15941" y="9245"/>
                  </a:lnTo>
                  <a:lnTo>
                    <a:pt x="15963" y="9209"/>
                  </a:lnTo>
                  <a:lnTo>
                    <a:pt x="15983" y="9172"/>
                  </a:lnTo>
                  <a:lnTo>
                    <a:pt x="16002" y="9134"/>
                  </a:lnTo>
                  <a:lnTo>
                    <a:pt x="16020" y="9094"/>
                  </a:lnTo>
                  <a:lnTo>
                    <a:pt x="16035" y="9054"/>
                  </a:lnTo>
                  <a:lnTo>
                    <a:pt x="16049" y="9014"/>
                  </a:lnTo>
                  <a:lnTo>
                    <a:pt x="16061" y="8972"/>
                  </a:lnTo>
                  <a:lnTo>
                    <a:pt x="16071" y="8931"/>
                  </a:lnTo>
                  <a:lnTo>
                    <a:pt x="16080" y="8888"/>
                  </a:lnTo>
                  <a:lnTo>
                    <a:pt x="16086" y="8844"/>
                  </a:lnTo>
                  <a:lnTo>
                    <a:pt x="16091" y="8801"/>
                  </a:lnTo>
                  <a:lnTo>
                    <a:pt x="16094" y="8757"/>
                  </a:lnTo>
                  <a:lnTo>
                    <a:pt x="16095" y="8712"/>
                  </a:lnTo>
                  <a:lnTo>
                    <a:pt x="16095" y="7347"/>
                  </a:lnTo>
                  <a:lnTo>
                    <a:pt x="16094" y="7302"/>
                  </a:lnTo>
                  <a:lnTo>
                    <a:pt x="16091" y="7258"/>
                  </a:lnTo>
                  <a:lnTo>
                    <a:pt x="16086" y="7215"/>
                  </a:lnTo>
                  <a:lnTo>
                    <a:pt x="16080" y="7171"/>
                  </a:lnTo>
                  <a:lnTo>
                    <a:pt x="16071" y="7128"/>
                  </a:lnTo>
                  <a:lnTo>
                    <a:pt x="16061" y="7086"/>
                  </a:lnTo>
                  <a:lnTo>
                    <a:pt x="16049" y="7045"/>
                  </a:lnTo>
                  <a:lnTo>
                    <a:pt x="16035" y="7005"/>
                  </a:lnTo>
                  <a:lnTo>
                    <a:pt x="16020" y="6965"/>
                  </a:lnTo>
                  <a:lnTo>
                    <a:pt x="16002" y="6925"/>
                  </a:lnTo>
                  <a:lnTo>
                    <a:pt x="15983" y="6887"/>
                  </a:lnTo>
                  <a:lnTo>
                    <a:pt x="15963" y="6850"/>
                  </a:lnTo>
                  <a:lnTo>
                    <a:pt x="15941" y="6813"/>
                  </a:lnTo>
                  <a:lnTo>
                    <a:pt x="15918" y="6778"/>
                  </a:lnTo>
                  <a:lnTo>
                    <a:pt x="15893" y="6744"/>
                  </a:lnTo>
                  <a:lnTo>
                    <a:pt x="15867" y="6711"/>
                  </a:lnTo>
                  <a:lnTo>
                    <a:pt x="15839" y="6679"/>
                  </a:lnTo>
                  <a:lnTo>
                    <a:pt x="15810" y="6647"/>
                  </a:lnTo>
                  <a:lnTo>
                    <a:pt x="15780" y="6617"/>
                  </a:lnTo>
                  <a:lnTo>
                    <a:pt x="15749" y="6589"/>
                  </a:lnTo>
                  <a:lnTo>
                    <a:pt x="15716" y="6562"/>
                  </a:lnTo>
                  <a:lnTo>
                    <a:pt x="15683" y="6536"/>
                  </a:lnTo>
                  <a:lnTo>
                    <a:pt x="15647" y="6512"/>
                  </a:lnTo>
                  <a:lnTo>
                    <a:pt x="15611" y="6489"/>
                  </a:lnTo>
                  <a:lnTo>
                    <a:pt x="15574" y="6467"/>
                  </a:lnTo>
                  <a:lnTo>
                    <a:pt x="15536" y="6448"/>
                  </a:lnTo>
                  <a:lnTo>
                    <a:pt x="15495" y="6429"/>
                  </a:lnTo>
                  <a:lnTo>
                    <a:pt x="15455" y="6413"/>
                  </a:lnTo>
                  <a:lnTo>
                    <a:pt x="15414" y="6398"/>
                  </a:lnTo>
                  <a:lnTo>
                    <a:pt x="15373" y="6383"/>
                  </a:lnTo>
                  <a:lnTo>
                    <a:pt x="15329" y="6372"/>
                  </a:lnTo>
                  <a:lnTo>
                    <a:pt x="15286" y="63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5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9" name="îṥľïḍe">
              <a:extLst>
                <a:ext uri="{FF2B5EF4-FFF2-40B4-BE49-F238E27FC236}">
                  <a16:creationId xmlns:a16="http://schemas.microsoft.com/office/drawing/2014/main" id="{DE9A7D57-F54C-44A1-BD61-952F544DABB4}"/>
                </a:ext>
              </a:extLst>
            </p:cNvPr>
            <p:cNvSpPr/>
            <p:nvPr/>
          </p:nvSpPr>
          <p:spPr bwMode="auto">
            <a:xfrm>
              <a:off x="1191294" y="1167056"/>
              <a:ext cx="119065" cy="118442"/>
            </a:xfrm>
            <a:custGeom>
              <a:avLst/>
              <a:gdLst>
                <a:gd name="T0" fmla="*/ 2899 w 7040"/>
                <a:gd name="T1" fmla="*/ 6524 h 7025"/>
                <a:gd name="T2" fmla="*/ 2185 w 7040"/>
                <a:gd name="T3" fmla="*/ 6283 h 7025"/>
                <a:gd name="T4" fmla="*/ 1560 w 7040"/>
                <a:gd name="T5" fmla="*/ 5884 h 7025"/>
                <a:gd name="T6" fmla="*/ 1051 w 7040"/>
                <a:gd name="T7" fmla="*/ 5351 h 7025"/>
                <a:gd name="T8" fmla="*/ 682 w 7040"/>
                <a:gd name="T9" fmla="*/ 4709 h 7025"/>
                <a:gd name="T10" fmla="*/ 475 w 7040"/>
                <a:gd name="T11" fmla="*/ 3980 h 7025"/>
                <a:gd name="T12" fmla="*/ 455 w 7040"/>
                <a:gd name="T13" fmla="*/ 3198 h 7025"/>
                <a:gd name="T14" fmla="*/ 626 w 7040"/>
                <a:gd name="T15" fmla="*/ 2456 h 7025"/>
                <a:gd name="T16" fmla="*/ 965 w 7040"/>
                <a:gd name="T17" fmla="*/ 1794 h 7025"/>
                <a:gd name="T18" fmla="*/ 1448 w 7040"/>
                <a:gd name="T19" fmla="*/ 1237 h 7025"/>
                <a:gd name="T20" fmla="*/ 2052 w 7040"/>
                <a:gd name="T21" fmla="*/ 810 h 7025"/>
                <a:gd name="T22" fmla="*/ 2750 w 7040"/>
                <a:gd name="T23" fmla="*/ 536 h 7025"/>
                <a:gd name="T24" fmla="*/ 3520 w 7040"/>
                <a:gd name="T25" fmla="*/ 439 h 7025"/>
                <a:gd name="T26" fmla="*/ 4289 w 7040"/>
                <a:gd name="T27" fmla="*/ 536 h 7025"/>
                <a:gd name="T28" fmla="*/ 4988 w 7040"/>
                <a:gd name="T29" fmla="*/ 810 h 7025"/>
                <a:gd name="T30" fmla="*/ 5591 w 7040"/>
                <a:gd name="T31" fmla="*/ 1237 h 7025"/>
                <a:gd name="T32" fmla="*/ 6075 w 7040"/>
                <a:gd name="T33" fmla="*/ 1794 h 7025"/>
                <a:gd name="T34" fmla="*/ 6414 w 7040"/>
                <a:gd name="T35" fmla="*/ 2456 h 7025"/>
                <a:gd name="T36" fmla="*/ 6585 w 7040"/>
                <a:gd name="T37" fmla="*/ 3198 h 7025"/>
                <a:gd name="T38" fmla="*/ 6565 w 7040"/>
                <a:gd name="T39" fmla="*/ 3980 h 7025"/>
                <a:gd name="T40" fmla="*/ 6358 w 7040"/>
                <a:gd name="T41" fmla="*/ 4709 h 7025"/>
                <a:gd name="T42" fmla="*/ 5988 w 7040"/>
                <a:gd name="T43" fmla="*/ 5351 h 7025"/>
                <a:gd name="T44" fmla="*/ 5479 w 7040"/>
                <a:gd name="T45" fmla="*/ 5884 h 7025"/>
                <a:gd name="T46" fmla="*/ 4855 w 7040"/>
                <a:gd name="T47" fmla="*/ 6283 h 7025"/>
                <a:gd name="T48" fmla="*/ 4140 w 7040"/>
                <a:gd name="T49" fmla="*/ 6524 h 7025"/>
                <a:gd name="T50" fmla="*/ 3520 w 7040"/>
                <a:gd name="T51" fmla="*/ 0 h 7025"/>
                <a:gd name="T52" fmla="*/ 2640 w 7040"/>
                <a:gd name="T53" fmla="*/ 110 h 7025"/>
                <a:gd name="T54" fmla="*/ 1842 w 7040"/>
                <a:gd name="T55" fmla="*/ 424 h 7025"/>
                <a:gd name="T56" fmla="*/ 1153 w 7040"/>
                <a:gd name="T57" fmla="*/ 912 h 7025"/>
                <a:gd name="T58" fmla="*/ 600 w 7040"/>
                <a:gd name="T59" fmla="*/ 1548 h 7025"/>
                <a:gd name="T60" fmla="*/ 213 w 7040"/>
                <a:gd name="T61" fmla="*/ 2305 h 7025"/>
                <a:gd name="T62" fmla="*/ 18 w 7040"/>
                <a:gd name="T63" fmla="*/ 3153 h 7025"/>
                <a:gd name="T64" fmla="*/ 40 w 7040"/>
                <a:gd name="T65" fmla="*/ 4047 h 7025"/>
                <a:gd name="T66" fmla="*/ 276 w 7040"/>
                <a:gd name="T67" fmla="*/ 4880 h 7025"/>
                <a:gd name="T68" fmla="*/ 699 w 7040"/>
                <a:gd name="T69" fmla="*/ 5614 h 7025"/>
                <a:gd name="T70" fmla="*/ 1280 w 7040"/>
                <a:gd name="T71" fmla="*/ 6222 h 7025"/>
                <a:gd name="T72" fmla="*/ 1993 w 7040"/>
                <a:gd name="T73" fmla="*/ 6678 h 7025"/>
                <a:gd name="T74" fmla="*/ 2810 w 7040"/>
                <a:gd name="T75" fmla="*/ 6953 h 7025"/>
                <a:gd name="T76" fmla="*/ 3702 w 7040"/>
                <a:gd name="T77" fmla="*/ 7020 h 7025"/>
                <a:gd name="T78" fmla="*/ 4567 w 7040"/>
                <a:gd name="T79" fmla="*/ 6867 h 7025"/>
                <a:gd name="T80" fmla="*/ 5345 w 7040"/>
                <a:gd name="T81" fmla="*/ 6517 h 7025"/>
                <a:gd name="T82" fmla="*/ 6009 w 7040"/>
                <a:gd name="T83" fmla="*/ 5996 h 7025"/>
                <a:gd name="T84" fmla="*/ 6531 w 7040"/>
                <a:gd name="T85" fmla="*/ 5333 h 7025"/>
                <a:gd name="T86" fmla="*/ 6882 w 7040"/>
                <a:gd name="T87" fmla="*/ 4556 h 7025"/>
                <a:gd name="T88" fmla="*/ 7036 w 7040"/>
                <a:gd name="T89" fmla="*/ 3693 h 7025"/>
                <a:gd name="T90" fmla="*/ 6969 w 7040"/>
                <a:gd name="T91" fmla="*/ 2805 h 7025"/>
                <a:gd name="T92" fmla="*/ 6693 w 7040"/>
                <a:gd name="T93" fmla="*/ 1990 h 7025"/>
                <a:gd name="T94" fmla="*/ 6237 w 7040"/>
                <a:gd name="T95" fmla="*/ 1278 h 7025"/>
                <a:gd name="T96" fmla="*/ 5626 w 7040"/>
                <a:gd name="T97" fmla="*/ 697 h 7025"/>
                <a:gd name="T98" fmla="*/ 4891 w 7040"/>
                <a:gd name="T99" fmla="*/ 276 h 7025"/>
                <a:gd name="T100" fmla="*/ 4056 w 7040"/>
                <a:gd name="T101" fmla="*/ 40 h 70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040" h="7025">
                  <a:moveTo>
                    <a:pt x="3520" y="6586"/>
                  </a:moveTo>
                  <a:lnTo>
                    <a:pt x="3362" y="6582"/>
                  </a:lnTo>
                  <a:lnTo>
                    <a:pt x="3205" y="6570"/>
                  </a:lnTo>
                  <a:lnTo>
                    <a:pt x="3051" y="6551"/>
                  </a:lnTo>
                  <a:lnTo>
                    <a:pt x="2899" y="6524"/>
                  </a:lnTo>
                  <a:lnTo>
                    <a:pt x="2750" y="6489"/>
                  </a:lnTo>
                  <a:lnTo>
                    <a:pt x="2604" y="6447"/>
                  </a:lnTo>
                  <a:lnTo>
                    <a:pt x="2460" y="6399"/>
                  </a:lnTo>
                  <a:lnTo>
                    <a:pt x="2320" y="6344"/>
                  </a:lnTo>
                  <a:lnTo>
                    <a:pt x="2185" y="6283"/>
                  </a:lnTo>
                  <a:lnTo>
                    <a:pt x="2052" y="6214"/>
                  </a:lnTo>
                  <a:lnTo>
                    <a:pt x="1922" y="6141"/>
                  </a:lnTo>
                  <a:lnTo>
                    <a:pt x="1797" y="6061"/>
                  </a:lnTo>
                  <a:lnTo>
                    <a:pt x="1677" y="5976"/>
                  </a:lnTo>
                  <a:lnTo>
                    <a:pt x="1560" y="5884"/>
                  </a:lnTo>
                  <a:lnTo>
                    <a:pt x="1448" y="5788"/>
                  </a:lnTo>
                  <a:lnTo>
                    <a:pt x="1342" y="5685"/>
                  </a:lnTo>
                  <a:lnTo>
                    <a:pt x="1240" y="5579"/>
                  </a:lnTo>
                  <a:lnTo>
                    <a:pt x="1142" y="5468"/>
                  </a:lnTo>
                  <a:lnTo>
                    <a:pt x="1051" y="5351"/>
                  </a:lnTo>
                  <a:lnTo>
                    <a:pt x="965" y="5231"/>
                  </a:lnTo>
                  <a:lnTo>
                    <a:pt x="885" y="5106"/>
                  </a:lnTo>
                  <a:lnTo>
                    <a:pt x="812" y="4977"/>
                  </a:lnTo>
                  <a:lnTo>
                    <a:pt x="743" y="4844"/>
                  </a:lnTo>
                  <a:lnTo>
                    <a:pt x="682" y="4709"/>
                  </a:lnTo>
                  <a:lnTo>
                    <a:pt x="626" y="4569"/>
                  </a:lnTo>
                  <a:lnTo>
                    <a:pt x="578" y="4426"/>
                  </a:lnTo>
                  <a:lnTo>
                    <a:pt x="536" y="4280"/>
                  </a:lnTo>
                  <a:lnTo>
                    <a:pt x="502" y="4132"/>
                  </a:lnTo>
                  <a:lnTo>
                    <a:pt x="475" y="3980"/>
                  </a:lnTo>
                  <a:lnTo>
                    <a:pt x="455" y="3827"/>
                  </a:lnTo>
                  <a:lnTo>
                    <a:pt x="443" y="3670"/>
                  </a:lnTo>
                  <a:lnTo>
                    <a:pt x="439" y="3513"/>
                  </a:lnTo>
                  <a:lnTo>
                    <a:pt x="443" y="3354"/>
                  </a:lnTo>
                  <a:lnTo>
                    <a:pt x="455" y="3198"/>
                  </a:lnTo>
                  <a:lnTo>
                    <a:pt x="475" y="3044"/>
                  </a:lnTo>
                  <a:lnTo>
                    <a:pt x="502" y="2893"/>
                  </a:lnTo>
                  <a:lnTo>
                    <a:pt x="536" y="2745"/>
                  </a:lnTo>
                  <a:lnTo>
                    <a:pt x="578" y="2598"/>
                  </a:lnTo>
                  <a:lnTo>
                    <a:pt x="626" y="2456"/>
                  </a:lnTo>
                  <a:lnTo>
                    <a:pt x="682" y="2316"/>
                  </a:lnTo>
                  <a:lnTo>
                    <a:pt x="743" y="2180"/>
                  </a:lnTo>
                  <a:lnTo>
                    <a:pt x="812" y="2047"/>
                  </a:lnTo>
                  <a:lnTo>
                    <a:pt x="885" y="1919"/>
                  </a:lnTo>
                  <a:lnTo>
                    <a:pt x="965" y="1794"/>
                  </a:lnTo>
                  <a:lnTo>
                    <a:pt x="1051" y="1674"/>
                  </a:lnTo>
                  <a:lnTo>
                    <a:pt x="1142" y="1557"/>
                  </a:lnTo>
                  <a:lnTo>
                    <a:pt x="1240" y="1446"/>
                  </a:lnTo>
                  <a:lnTo>
                    <a:pt x="1342" y="1340"/>
                  </a:lnTo>
                  <a:lnTo>
                    <a:pt x="1448" y="1237"/>
                  </a:lnTo>
                  <a:lnTo>
                    <a:pt x="1560" y="1141"/>
                  </a:lnTo>
                  <a:lnTo>
                    <a:pt x="1677" y="1049"/>
                  </a:lnTo>
                  <a:lnTo>
                    <a:pt x="1797" y="964"/>
                  </a:lnTo>
                  <a:lnTo>
                    <a:pt x="1922" y="884"/>
                  </a:lnTo>
                  <a:lnTo>
                    <a:pt x="2052" y="810"/>
                  </a:lnTo>
                  <a:lnTo>
                    <a:pt x="2185" y="742"/>
                  </a:lnTo>
                  <a:lnTo>
                    <a:pt x="2320" y="680"/>
                  </a:lnTo>
                  <a:lnTo>
                    <a:pt x="2460" y="625"/>
                  </a:lnTo>
                  <a:lnTo>
                    <a:pt x="2604" y="577"/>
                  </a:lnTo>
                  <a:lnTo>
                    <a:pt x="2750" y="536"/>
                  </a:lnTo>
                  <a:lnTo>
                    <a:pt x="2899" y="501"/>
                  </a:lnTo>
                  <a:lnTo>
                    <a:pt x="3051" y="474"/>
                  </a:lnTo>
                  <a:lnTo>
                    <a:pt x="3205" y="454"/>
                  </a:lnTo>
                  <a:lnTo>
                    <a:pt x="3362" y="443"/>
                  </a:lnTo>
                  <a:lnTo>
                    <a:pt x="3520" y="439"/>
                  </a:lnTo>
                  <a:lnTo>
                    <a:pt x="3678" y="443"/>
                  </a:lnTo>
                  <a:lnTo>
                    <a:pt x="3834" y="454"/>
                  </a:lnTo>
                  <a:lnTo>
                    <a:pt x="3989" y="474"/>
                  </a:lnTo>
                  <a:lnTo>
                    <a:pt x="4140" y="501"/>
                  </a:lnTo>
                  <a:lnTo>
                    <a:pt x="4289" y="536"/>
                  </a:lnTo>
                  <a:lnTo>
                    <a:pt x="4436" y="577"/>
                  </a:lnTo>
                  <a:lnTo>
                    <a:pt x="4579" y="625"/>
                  </a:lnTo>
                  <a:lnTo>
                    <a:pt x="4719" y="680"/>
                  </a:lnTo>
                  <a:lnTo>
                    <a:pt x="4855" y="742"/>
                  </a:lnTo>
                  <a:lnTo>
                    <a:pt x="4988" y="810"/>
                  </a:lnTo>
                  <a:lnTo>
                    <a:pt x="5117" y="884"/>
                  </a:lnTo>
                  <a:lnTo>
                    <a:pt x="5242" y="964"/>
                  </a:lnTo>
                  <a:lnTo>
                    <a:pt x="5362" y="1049"/>
                  </a:lnTo>
                  <a:lnTo>
                    <a:pt x="5479" y="1141"/>
                  </a:lnTo>
                  <a:lnTo>
                    <a:pt x="5591" y="1237"/>
                  </a:lnTo>
                  <a:lnTo>
                    <a:pt x="5698" y="1340"/>
                  </a:lnTo>
                  <a:lnTo>
                    <a:pt x="5800" y="1446"/>
                  </a:lnTo>
                  <a:lnTo>
                    <a:pt x="5897" y="1557"/>
                  </a:lnTo>
                  <a:lnTo>
                    <a:pt x="5988" y="1674"/>
                  </a:lnTo>
                  <a:lnTo>
                    <a:pt x="6075" y="1794"/>
                  </a:lnTo>
                  <a:lnTo>
                    <a:pt x="6154" y="1919"/>
                  </a:lnTo>
                  <a:lnTo>
                    <a:pt x="6228" y="2047"/>
                  </a:lnTo>
                  <a:lnTo>
                    <a:pt x="6297" y="2180"/>
                  </a:lnTo>
                  <a:lnTo>
                    <a:pt x="6358" y="2316"/>
                  </a:lnTo>
                  <a:lnTo>
                    <a:pt x="6414" y="2456"/>
                  </a:lnTo>
                  <a:lnTo>
                    <a:pt x="6462" y="2598"/>
                  </a:lnTo>
                  <a:lnTo>
                    <a:pt x="6503" y="2745"/>
                  </a:lnTo>
                  <a:lnTo>
                    <a:pt x="6538" y="2893"/>
                  </a:lnTo>
                  <a:lnTo>
                    <a:pt x="6565" y="3044"/>
                  </a:lnTo>
                  <a:lnTo>
                    <a:pt x="6585" y="3198"/>
                  </a:lnTo>
                  <a:lnTo>
                    <a:pt x="6597" y="3354"/>
                  </a:lnTo>
                  <a:lnTo>
                    <a:pt x="6601" y="3513"/>
                  </a:lnTo>
                  <a:lnTo>
                    <a:pt x="6597" y="3670"/>
                  </a:lnTo>
                  <a:lnTo>
                    <a:pt x="6585" y="3827"/>
                  </a:lnTo>
                  <a:lnTo>
                    <a:pt x="6565" y="3980"/>
                  </a:lnTo>
                  <a:lnTo>
                    <a:pt x="6538" y="4132"/>
                  </a:lnTo>
                  <a:lnTo>
                    <a:pt x="6503" y="4280"/>
                  </a:lnTo>
                  <a:lnTo>
                    <a:pt x="6462" y="4426"/>
                  </a:lnTo>
                  <a:lnTo>
                    <a:pt x="6414" y="4569"/>
                  </a:lnTo>
                  <a:lnTo>
                    <a:pt x="6358" y="4709"/>
                  </a:lnTo>
                  <a:lnTo>
                    <a:pt x="6297" y="4844"/>
                  </a:lnTo>
                  <a:lnTo>
                    <a:pt x="6228" y="4977"/>
                  </a:lnTo>
                  <a:lnTo>
                    <a:pt x="6154" y="5106"/>
                  </a:lnTo>
                  <a:lnTo>
                    <a:pt x="6075" y="5231"/>
                  </a:lnTo>
                  <a:lnTo>
                    <a:pt x="5988" y="5351"/>
                  </a:lnTo>
                  <a:lnTo>
                    <a:pt x="5897" y="5468"/>
                  </a:lnTo>
                  <a:lnTo>
                    <a:pt x="5800" y="5579"/>
                  </a:lnTo>
                  <a:lnTo>
                    <a:pt x="5698" y="5685"/>
                  </a:lnTo>
                  <a:lnTo>
                    <a:pt x="5591" y="5788"/>
                  </a:lnTo>
                  <a:lnTo>
                    <a:pt x="5479" y="5884"/>
                  </a:lnTo>
                  <a:lnTo>
                    <a:pt x="5362" y="5976"/>
                  </a:lnTo>
                  <a:lnTo>
                    <a:pt x="5242" y="6061"/>
                  </a:lnTo>
                  <a:lnTo>
                    <a:pt x="5117" y="6141"/>
                  </a:lnTo>
                  <a:lnTo>
                    <a:pt x="4988" y="6214"/>
                  </a:lnTo>
                  <a:lnTo>
                    <a:pt x="4855" y="6283"/>
                  </a:lnTo>
                  <a:lnTo>
                    <a:pt x="4719" y="6344"/>
                  </a:lnTo>
                  <a:lnTo>
                    <a:pt x="4579" y="6399"/>
                  </a:lnTo>
                  <a:lnTo>
                    <a:pt x="4436" y="6447"/>
                  </a:lnTo>
                  <a:lnTo>
                    <a:pt x="4289" y="6489"/>
                  </a:lnTo>
                  <a:lnTo>
                    <a:pt x="4140" y="6524"/>
                  </a:lnTo>
                  <a:lnTo>
                    <a:pt x="3989" y="6551"/>
                  </a:lnTo>
                  <a:lnTo>
                    <a:pt x="3834" y="6570"/>
                  </a:lnTo>
                  <a:lnTo>
                    <a:pt x="3678" y="6582"/>
                  </a:lnTo>
                  <a:lnTo>
                    <a:pt x="3520" y="6586"/>
                  </a:lnTo>
                  <a:close/>
                  <a:moveTo>
                    <a:pt x="3520" y="0"/>
                  </a:moveTo>
                  <a:lnTo>
                    <a:pt x="3338" y="5"/>
                  </a:lnTo>
                  <a:lnTo>
                    <a:pt x="3160" y="18"/>
                  </a:lnTo>
                  <a:lnTo>
                    <a:pt x="2984" y="40"/>
                  </a:lnTo>
                  <a:lnTo>
                    <a:pt x="2810" y="71"/>
                  </a:lnTo>
                  <a:lnTo>
                    <a:pt x="2640" y="110"/>
                  </a:lnTo>
                  <a:lnTo>
                    <a:pt x="2473" y="157"/>
                  </a:lnTo>
                  <a:lnTo>
                    <a:pt x="2309" y="213"/>
                  </a:lnTo>
                  <a:lnTo>
                    <a:pt x="2149" y="276"/>
                  </a:lnTo>
                  <a:lnTo>
                    <a:pt x="1993" y="346"/>
                  </a:lnTo>
                  <a:lnTo>
                    <a:pt x="1842" y="424"/>
                  </a:lnTo>
                  <a:lnTo>
                    <a:pt x="1695" y="508"/>
                  </a:lnTo>
                  <a:lnTo>
                    <a:pt x="1552" y="600"/>
                  </a:lnTo>
                  <a:lnTo>
                    <a:pt x="1414" y="697"/>
                  </a:lnTo>
                  <a:lnTo>
                    <a:pt x="1280" y="802"/>
                  </a:lnTo>
                  <a:lnTo>
                    <a:pt x="1153" y="912"/>
                  </a:lnTo>
                  <a:lnTo>
                    <a:pt x="1031" y="1028"/>
                  </a:lnTo>
                  <a:lnTo>
                    <a:pt x="914" y="1151"/>
                  </a:lnTo>
                  <a:lnTo>
                    <a:pt x="803" y="1278"/>
                  </a:lnTo>
                  <a:lnTo>
                    <a:pt x="699" y="1411"/>
                  </a:lnTo>
                  <a:lnTo>
                    <a:pt x="600" y="1548"/>
                  </a:lnTo>
                  <a:lnTo>
                    <a:pt x="509" y="1691"/>
                  </a:lnTo>
                  <a:lnTo>
                    <a:pt x="424" y="1838"/>
                  </a:lnTo>
                  <a:lnTo>
                    <a:pt x="347" y="1990"/>
                  </a:lnTo>
                  <a:lnTo>
                    <a:pt x="276" y="2145"/>
                  </a:lnTo>
                  <a:lnTo>
                    <a:pt x="213" y="2305"/>
                  </a:lnTo>
                  <a:lnTo>
                    <a:pt x="158" y="2468"/>
                  </a:lnTo>
                  <a:lnTo>
                    <a:pt x="110" y="2634"/>
                  </a:lnTo>
                  <a:lnTo>
                    <a:pt x="71" y="2805"/>
                  </a:lnTo>
                  <a:lnTo>
                    <a:pt x="40" y="2978"/>
                  </a:lnTo>
                  <a:lnTo>
                    <a:pt x="18" y="3153"/>
                  </a:lnTo>
                  <a:lnTo>
                    <a:pt x="4" y="3332"/>
                  </a:lnTo>
                  <a:lnTo>
                    <a:pt x="0" y="3513"/>
                  </a:lnTo>
                  <a:lnTo>
                    <a:pt x="4" y="3693"/>
                  </a:lnTo>
                  <a:lnTo>
                    <a:pt x="18" y="3872"/>
                  </a:lnTo>
                  <a:lnTo>
                    <a:pt x="40" y="4047"/>
                  </a:lnTo>
                  <a:lnTo>
                    <a:pt x="71" y="4220"/>
                  </a:lnTo>
                  <a:lnTo>
                    <a:pt x="110" y="4390"/>
                  </a:lnTo>
                  <a:lnTo>
                    <a:pt x="158" y="4556"/>
                  </a:lnTo>
                  <a:lnTo>
                    <a:pt x="213" y="4720"/>
                  </a:lnTo>
                  <a:lnTo>
                    <a:pt x="276" y="4880"/>
                  </a:lnTo>
                  <a:lnTo>
                    <a:pt x="347" y="5035"/>
                  </a:lnTo>
                  <a:lnTo>
                    <a:pt x="424" y="5187"/>
                  </a:lnTo>
                  <a:lnTo>
                    <a:pt x="509" y="5333"/>
                  </a:lnTo>
                  <a:lnTo>
                    <a:pt x="600" y="5476"/>
                  </a:lnTo>
                  <a:lnTo>
                    <a:pt x="699" y="5614"/>
                  </a:lnTo>
                  <a:lnTo>
                    <a:pt x="803" y="5747"/>
                  </a:lnTo>
                  <a:lnTo>
                    <a:pt x="914" y="5874"/>
                  </a:lnTo>
                  <a:lnTo>
                    <a:pt x="1031" y="5996"/>
                  </a:lnTo>
                  <a:lnTo>
                    <a:pt x="1153" y="6112"/>
                  </a:lnTo>
                  <a:lnTo>
                    <a:pt x="1280" y="6222"/>
                  </a:lnTo>
                  <a:lnTo>
                    <a:pt x="1414" y="6327"/>
                  </a:lnTo>
                  <a:lnTo>
                    <a:pt x="1552" y="6425"/>
                  </a:lnTo>
                  <a:lnTo>
                    <a:pt x="1695" y="6517"/>
                  </a:lnTo>
                  <a:lnTo>
                    <a:pt x="1842" y="6601"/>
                  </a:lnTo>
                  <a:lnTo>
                    <a:pt x="1993" y="6678"/>
                  </a:lnTo>
                  <a:lnTo>
                    <a:pt x="2149" y="6748"/>
                  </a:lnTo>
                  <a:lnTo>
                    <a:pt x="2309" y="6812"/>
                  </a:lnTo>
                  <a:lnTo>
                    <a:pt x="2473" y="6867"/>
                  </a:lnTo>
                  <a:lnTo>
                    <a:pt x="2640" y="6914"/>
                  </a:lnTo>
                  <a:lnTo>
                    <a:pt x="2810" y="6953"/>
                  </a:lnTo>
                  <a:lnTo>
                    <a:pt x="2984" y="6984"/>
                  </a:lnTo>
                  <a:lnTo>
                    <a:pt x="3160" y="7006"/>
                  </a:lnTo>
                  <a:lnTo>
                    <a:pt x="3338" y="7020"/>
                  </a:lnTo>
                  <a:lnTo>
                    <a:pt x="3520" y="7025"/>
                  </a:lnTo>
                  <a:lnTo>
                    <a:pt x="3702" y="7020"/>
                  </a:lnTo>
                  <a:lnTo>
                    <a:pt x="3880" y="7006"/>
                  </a:lnTo>
                  <a:lnTo>
                    <a:pt x="4056" y="6984"/>
                  </a:lnTo>
                  <a:lnTo>
                    <a:pt x="4230" y="6953"/>
                  </a:lnTo>
                  <a:lnTo>
                    <a:pt x="4400" y="6914"/>
                  </a:lnTo>
                  <a:lnTo>
                    <a:pt x="4567" y="6867"/>
                  </a:lnTo>
                  <a:lnTo>
                    <a:pt x="4731" y="6812"/>
                  </a:lnTo>
                  <a:lnTo>
                    <a:pt x="4891" y="6748"/>
                  </a:lnTo>
                  <a:lnTo>
                    <a:pt x="5047" y="6678"/>
                  </a:lnTo>
                  <a:lnTo>
                    <a:pt x="5197" y="6601"/>
                  </a:lnTo>
                  <a:lnTo>
                    <a:pt x="5345" y="6517"/>
                  </a:lnTo>
                  <a:lnTo>
                    <a:pt x="5488" y="6425"/>
                  </a:lnTo>
                  <a:lnTo>
                    <a:pt x="5626" y="6327"/>
                  </a:lnTo>
                  <a:lnTo>
                    <a:pt x="5759" y="6222"/>
                  </a:lnTo>
                  <a:lnTo>
                    <a:pt x="5886" y="6112"/>
                  </a:lnTo>
                  <a:lnTo>
                    <a:pt x="6009" y="5996"/>
                  </a:lnTo>
                  <a:lnTo>
                    <a:pt x="6126" y="5874"/>
                  </a:lnTo>
                  <a:lnTo>
                    <a:pt x="6237" y="5747"/>
                  </a:lnTo>
                  <a:lnTo>
                    <a:pt x="6341" y="5614"/>
                  </a:lnTo>
                  <a:lnTo>
                    <a:pt x="6439" y="5476"/>
                  </a:lnTo>
                  <a:lnTo>
                    <a:pt x="6531" y="5333"/>
                  </a:lnTo>
                  <a:lnTo>
                    <a:pt x="6616" y="5187"/>
                  </a:lnTo>
                  <a:lnTo>
                    <a:pt x="6693" y="5035"/>
                  </a:lnTo>
                  <a:lnTo>
                    <a:pt x="6764" y="4880"/>
                  </a:lnTo>
                  <a:lnTo>
                    <a:pt x="6827" y="4720"/>
                  </a:lnTo>
                  <a:lnTo>
                    <a:pt x="6882" y="4556"/>
                  </a:lnTo>
                  <a:lnTo>
                    <a:pt x="6930" y="4390"/>
                  </a:lnTo>
                  <a:lnTo>
                    <a:pt x="6969" y="4220"/>
                  </a:lnTo>
                  <a:lnTo>
                    <a:pt x="7000" y="4047"/>
                  </a:lnTo>
                  <a:lnTo>
                    <a:pt x="7022" y="3872"/>
                  </a:lnTo>
                  <a:lnTo>
                    <a:pt x="7036" y="3693"/>
                  </a:lnTo>
                  <a:lnTo>
                    <a:pt x="7040" y="3513"/>
                  </a:lnTo>
                  <a:lnTo>
                    <a:pt x="7036" y="3332"/>
                  </a:lnTo>
                  <a:lnTo>
                    <a:pt x="7022" y="3153"/>
                  </a:lnTo>
                  <a:lnTo>
                    <a:pt x="7000" y="2978"/>
                  </a:lnTo>
                  <a:lnTo>
                    <a:pt x="6969" y="2805"/>
                  </a:lnTo>
                  <a:lnTo>
                    <a:pt x="6930" y="2634"/>
                  </a:lnTo>
                  <a:lnTo>
                    <a:pt x="6882" y="2468"/>
                  </a:lnTo>
                  <a:lnTo>
                    <a:pt x="6827" y="2305"/>
                  </a:lnTo>
                  <a:lnTo>
                    <a:pt x="6764" y="2145"/>
                  </a:lnTo>
                  <a:lnTo>
                    <a:pt x="6693" y="1990"/>
                  </a:lnTo>
                  <a:lnTo>
                    <a:pt x="6616" y="1838"/>
                  </a:lnTo>
                  <a:lnTo>
                    <a:pt x="6531" y="1691"/>
                  </a:lnTo>
                  <a:lnTo>
                    <a:pt x="6439" y="1548"/>
                  </a:lnTo>
                  <a:lnTo>
                    <a:pt x="6341" y="1411"/>
                  </a:lnTo>
                  <a:lnTo>
                    <a:pt x="6237" y="1278"/>
                  </a:lnTo>
                  <a:lnTo>
                    <a:pt x="6126" y="1151"/>
                  </a:lnTo>
                  <a:lnTo>
                    <a:pt x="6009" y="1028"/>
                  </a:lnTo>
                  <a:lnTo>
                    <a:pt x="5886" y="912"/>
                  </a:lnTo>
                  <a:lnTo>
                    <a:pt x="5759" y="802"/>
                  </a:lnTo>
                  <a:lnTo>
                    <a:pt x="5626" y="697"/>
                  </a:lnTo>
                  <a:lnTo>
                    <a:pt x="5488" y="600"/>
                  </a:lnTo>
                  <a:lnTo>
                    <a:pt x="5345" y="508"/>
                  </a:lnTo>
                  <a:lnTo>
                    <a:pt x="5197" y="424"/>
                  </a:lnTo>
                  <a:lnTo>
                    <a:pt x="5047" y="346"/>
                  </a:lnTo>
                  <a:lnTo>
                    <a:pt x="4891" y="276"/>
                  </a:lnTo>
                  <a:lnTo>
                    <a:pt x="4731" y="213"/>
                  </a:lnTo>
                  <a:lnTo>
                    <a:pt x="4567" y="157"/>
                  </a:lnTo>
                  <a:lnTo>
                    <a:pt x="4400" y="110"/>
                  </a:lnTo>
                  <a:lnTo>
                    <a:pt x="4230" y="71"/>
                  </a:lnTo>
                  <a:lnTo>
                    <a:pt x="4056" y="40"/>
                  </a:lnTo>
                  <a:lnTo>
                    <a:pt x="3880" y="18"/>
                  </a:lnTo>
                  <a:lnTo>
                    <a:pt x="3702" y="5"/>
                  </a:lnTo>
                  <a:lnTo>
                    <a:pt x="35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50" name="iṩlîḓê">
              <a:extLst>
                <a:ext uri="{FF2B5EF4-FFF2-40B4-BE49-F238E27FC236}">
                  <a16:creationId xmlns:a16="http://schemas.microsoft.com/office/drawing/2014/main" id="{A23CA2C1-3B1D-48E7-A5E8-45B8210EEB74}"/>
                </a:ext>
              </a:extLst>
            </p:cNvPr>
            <p:cNvSpPr/>
            <p:nvPr/>
          </p:nvSpPr>
          <p:spPr bwMode="auto">
            <a:xfrm>
              <a:off x="1216853" y="1192615"/>
              <a:ext cx="67948" cy="67325"/>
            </a:xfrm>
            <a:custGeom>
              <a:avLst/>
              <a:gdLst>
                <a:gd name="T0" fmla="*/ 1708 w 4023"/>
                <a:gd name="T1" fmla="*/ 3482 h 4015"/>
                <a:gd name="T2" fmla="*/ 1358 w 4023"/>
                <a:gd name="T3" fmla="*/ 3364 h 4015"/>
                <a:gd name="T4" fmla="*/ 1052 w 4023"/>
                <a:gd name="T5" fmla="*/ 3169 h 4015"/>
                <a:gd name="T6" fmla="*/ 803 w 4023"/>
                <a:gd name="T7" fmla="*/ 2908 h 4015"/>
                <a:gd name="T8" fmla="*/ 621 w 4023"/>
                <a:gd name="T9" fmla="*/ 2593 h 4015"/>
                <a:gd name="T10" fmla="*/ 521 w 4023"/>
                <a:gd name="T11" fmla="*/ 2236 h 4015"/>
                <a:gd name="T12" fmla="*/ 511 w 4023"/>
                <a:gd name="T13" fmla="*/ 1853 h 4015"/>
                <a:gd name="T14" fmla="*/ 595 w 4023"/>
                <a:gd name="T15" fmla="*/ 1490 h 4015"/>
                <a:gd name="T16" fmla="*/ 761 w 4023"/>
                <a:gd name="T17" fmla="*/ 1165 h 4015"/>
                <a:gd name="T18" fmla="*/ 998 w 4023"/>
                <a:gd name="T19" fmla="*/ 893 h 4015"/>
                <a:gd name="T20" fmla="*/ 1293 w 4023"/>
                <a:gd name="T21" fmla="*/ 684 h 4015"/>
                <a:gd name="T22" fmla="*/ 1635 w 4023"/>
                <a:gd name="T23" fmla="*/ 549 h 4015"/>
                <a:gd name="T24" fmla="*/ 2012 w 4023"/>
                <a:gd name="T25" fmla="*/ 502 h 4015"/>
                <a:gd name="T26" fmla="*/ 2389 w 4023"/>
                <a:gd name="T27" fmla="*/ 549 h 4015"/>
                <a:gd name="T28" fmla="*/ 2731 w 4023"/>
                <a:gd name="T29" fmla="*/ 684 h 4015"/>
                <a:gd name="T30" fmla="*/ 3026 w 4023"/>
                <a:gd name="T31" fmla="*/ 893 h 4015"/>
                <a:gd name="T32" fmla="*/ 3263 w 4023"/>
                <a:gd name="T33" fmla="*/ 1165 h 4015"/>
                <a:gd name="T34" fmla="*/ 3429 w 4023"/>
                <a:gd name="T35" fmla="*/ 1490 h 4015"/>
                <a:gd name="T36" fmla="*/ 3513 w 4023"/>
                <a:gd name="T37" fmla="*/ 1853 h 4015"/>
                <a:gd name="T38" fmla="*/ 3503 w 4023"/>
                <a:gd name="T39" fmla="*/ 2236 h 4015"/>
                <a:gd name="T40" fmla="*/ 3402 w 4023"/>
                <a:gd name="T41" fmla="*/ 2593 h 4015"/>
                <a:gd name="T42" fmla="*/ 3221 w 4023"/>
                <a:gd name="T43" fmla="*/ 2908 h 4015"/>
                <a:gd name="T44" fmla="*/ 2971 w 4023"/>
                <a:gd name="T45" fmla="*/ 3169 h 4015"/>
                <a:gd name="T46" fmla="*/ 2665 w 4023"/>
                <a:gd name="T47" fmla="*/ 3364 h 4015"/>
                <a:gd name="T48" fmla="*/ 2316 w 4023"/>
                <a:gd name="T49" fmla="*/ 3482 h 4015"/>
                <a:gd name="T50" fmla="*/ 2012 w 4023"/>
                <a:gd name="T51" fmla="*/ 0 h 4015"/>
                <a:gd name="T52" fmla="*/ 1509 w 4023"/>
                <a:gd name="T53" fmla="*/ 63 h 4015"/>
                <a:gd name="T54" fmla="*/ 1053 w 4023"/>
                <a:gd name="T55" fmla="*/ 242 h 4015"/>
                <a:gd name="T56" fmla="*/ 659 w 4023"/>
                <a:gd name="T57" fmla="*/ 521 h 4015"/>
                <a:gd name="T58" fmla="*/ 344 w 4023"/>
                <a:gd name="T59" fmla="*/ 884 h 4015"/>
                <a:gd name="T60" fmla="*/ 122 w 4023"/>
                <a:gd name="T61" fmla="*/ 1317 h 4015"/>
                <a:gd name="T62" fmla="*/ 11 w 4023"/>
                <a:gd name="T63" fmla="*/ 1802 h 4015"/>
                <a:gd name="T64" fmla="*/ 23 w 4023"/>
                <a:gd name="T65" fmla="*/ 2313 h 4015"/>
                <a:gd name="T66" fmla="*/ 159 w 4023"/>
                <a:gd name="T67" fmla="*/ 2788 h 4015"/>
                <a:gd name="T68" fmla="*/ 399 w 4023"/>
                <a:gd name="T69" fmla="*/ 3209 h 4015"/>
                <a:gd name="T70" fmla="*/ 732 w 4023"/>
                <a:gd name="T71" fmla="*/ 3556 h 4015"/>
                <a:gd name="T72" fmla="*/ 1139 w 4023"/>
                <a:gd name="T73" fmla="*/ 3817 h 4015"/>
                <a:gd name="T74" fmla="*/ 1606 w 4023"/>
                <a:gd name="T75" fmla="*/ 3974 h 4015"/>
                <a:gd name="T76" fmla="*/ 2115 w 4023"/>
                <a:gd name="T77" fmla="*/ 4012 h 4015"/>
                <a:gd name="T78" fmla="*/ 2610 w 4023"/>
                <a:gd name="T79" fmla="*/ 3925 h 4015"/>
                <a:gd name="T80" fmla="*/ 3055 w 4023"/>
                <a:gd name="T81" fmla="*/ 3724 h 4015"/>
                <a:gd name="T82" fmla="*/ 3435 w 4023"/>
                <a:gd name="T83" fmla="*/ 3427 h 4015"/>
                <a:gd name="T84" fmla="*/ 3733 w 4023"/>
                <a:gd name="T85" fmla="*/ 3048 h 4015"/>
                <a:gd name="T86" fmla="*/ 3933 w 4023"/>
                <a:gd name="T87" fmla="*/ 2605 h 4015"/>
                <a:gd name="T88" fmla="*/ 4021 w 4023"/>
                <a:gd name="T89" fmla="*/ 2111 h 4015"/>
                <a:gd name="T90" fmla="*/ 3983 w 4023"/>
                <a:gd name="T91" fmla="*/ 1603 h 4015"/>
                <a:gd name="T92" fmla="*/ 3825 w 4023"/>
                <a:gd name="T93" fmla="*/ 1137 h 4015"/>
                <a:gd name="T94" fmla="*/ 3565 w 4023"/>
                <a:gd name="T95" fmla="*/ 731 h 4015"/>
                <a:gd name="T96" fmla="*/ 3216 w 4023"/>
                <a:gd name="T97" fmla="*/ 399 h 4015"/>
                <a:gd name="T98" fmla="*/ 2795 w 4023"/>
                <a:gd name="T99" fmla="*/ 158 h 4015"/>
                <a:gd name="T100" fmla="*/ 2318 w 4023"/>
                <a:gd name="T101" fmla="*/ 23 h 40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023" h="4015">
                  <a:moveTo>
                    <a:pt x="2012" y="3513"/>
                  </a:moveTo>
                  <a:lnTo>
                    <a:pt x="1934" y="3511"/>
                  </a:lnTo>
                  <a:lnTo>
                    <a:pt x="1858" y="3505"/>
                  </a:lnTo>
                  <a:lnTo>
                    <a:pt x="1782" y="3495"/>
                  </a:lnTo>
                  <a:lnTo>
                    <a:pt x="1708" y="3482"/>
                  </a:lnTo>
                  <a:lnTo>
                    <a:pt x="1635" y="3465"/>
                  </a:lnTo>
                  <a:lnTo>
                    <a:pt x="1564" y="3445"/>
                  </a:lnTo>
                  <a:lnTo>
                    <a:pt x="1493" y="3422"/>
                  </a:lnTo>
                  <a:lnTo>
                    <a:pt x="1425" y="3395"/>
                  </a:lnTo>
                  <a:lnTo>
                    <a:pt x="1358" y="3364"/>
                  </a:lnTo>
                  <a:lnTo>
                    <a:pt x="1293" y="3331"/>
                  </a:lnTo>
                  <a:lnTo>
                    <a:pt x="1230" y="3294"/>
                  </a:lnTo>
                  <a:lnTo>
                    <a:pt x="1169" y="3255"/>
                  </a:lnTo>
                  <a:lnTo>
                    <a:pt x="1109" y="3213"/>
                  </a:lnTo>
                  <a:lnTo>
                    <a:pt x="1052" y="3169"/>
                  </a:lnTo>
                  <a:lnTo>
                    <a:pt x="998" y="3122"/>
                  </a:lnTo>
                  <a:lnTo>
                    <a:pt x="945" y="3071"/>
                  </a:lnTo>
                  <a:lnTo>
                    <a:pt x="895" y="3019"/>
                  </a:lnTo>
                  <a:lnTo>
                    <a:pt x="848" y="2965"/>
                  </a:lnTo>
                  <a:lnTo>
                    <a:pt x="803" y="2908"/>
                  </a:lnTo>
                  <a:lnTo>
                    <a:pt x="761" y="2849"/>
                  </a:lnTo>
                  <a:lnTo>
                    <a:pt x="722" y="2787"/>
                  </a:lnTo>
                  <a:lnTo>
                    <a:pt x="686" y="2725"/>
                  </a:lnTo>
                  <a:lnTo>
                    <a:pt x="651" y="2660"/>
                  </a:lnTo>
                  <a:lnTo>
                    <a:pt x="621" y="2593"/>
                  </a:lnTo>
                  <a:lnTo>
                    <a:pt x="595" y="2524"/>
                  </a:lnTo>
                  <a:lnTo>
                    <a:pt x="571" y="2455"/>
                  </a:lnTo>
                  <a:lnTo>
                    <a:pt x="551" y="2383"/>
                  </a:lnTo>
                  <a:lnTo>
                    <a:pt x="534" y="2311"/>
                  </a:lnTo>
                  <a:lnTo>
                    <a:pt x="521" y="2236"/>
                  </a:lnTo>
                  <a:lnTo>
                    <a:pt x="511" y="2161"/>
                  </a:lnTo>
                  <a:lnTo>
                    <a:pt x="505" y="2085"/>
                  </a:lnTo>
                  <a:lnTo>
                    <a:pt x="504" y="2008"/>
                  </a:lnTo>
                  <a:lnTo>
                    <a:pt x="505" y="1930"/>
                  </a:lnTo>
                  <a:lnTo>
                    <a:pt x="511" y="1853"/>
                  </a:lnTo>
                  <a:lnTo>
                    <a:pt x="521" y="1778"/>
                  </a:lnTo>
                  <a:lnTo>
                    <a:pt x="534" y="1704"/>
                  </a:lnTo>
                  <a:lnTo>
                    <a:pt x="551" y="1631"/>
                  </a:lnTo>
                  <a:lnTo>
                    <a:pt x="571" y="1560"/>
                  </a:lnTo>
                  <a:lnTo>
                    <a:pt x="595" y="1490"/>
                  </a:lnTo>
                  <a:lnTo>
                    <a:pt x="621" y="1421"/>
                  </a:lnTo>
                  <a:lnTo>
                    <a:pt x="651" y="1355"/>
                  </a:lnTo>
                  <a:lnTo>
                    <a:pt x="686" y="1290"/>
                  </a:lnTo>
                  <a:lnTo>
                    <a:pt x="722" y="1227"/>
                  </a:lnTo>
                  <a:lnTo>
                    <a:pt x="761" y="1165"/>
                  </a:lnTo>
                  <a:lnTo>
                    <a:pt x="803" y="1107"/>
                  </a:lnTo>
                  <a:lnTo>
                    <a:pt x="848" y="1050"/>
                  </a:lnTo>
                  <a:lnTo>
                    <a:pt x="895" y="995"/>
                  </a:lnTo>
                  <a:lnTo>
                    <a:pt x="945" y="943"/>
                  </a:lnTo>
                  <a:lnTo>
                    <a:pt x="998" y="893"/>
                  </a:lnTo>
                  <a:lnTo>
                    <a:pt x="1052" y="845"/>
                  </a:lnTo>
                  <a:lnTo>
                    <a:pt x="1109" y="801"/>
                  </a:lnTo>
                  <a:lnTo>
                    <a:pt x="1169" y="759"/>
                  </a:lnTo>
                  <a:lnTo>
                    <a:pt x="1230" y="720"/>
                  </a:lnTo>
                  <a:lnTo>
                    <a:pt x="1293" y="684"/>
                  </a:lnTo>
                  <a:lnTo>
                    <a:pt x="1358" y="651"/>
                  </a:lnTo>
                  <a:lnTo>
                    <a:pt x="1425" y="620"/>
                  </a:lnTo>
                  <a:lnTo>
                    <a:pt x="1493" y="593"/>
                  </a:lnTo>
                  <a:lnTo>
                    <a:pt x="1564" y="569"/>
                  </a:lnTo>
                  <a:lnTo>
                    <a:pt x="1635" y="549"/>
                  </a:lnTo>
                  <a:lnTo>
                    <a:pt x="1708" y="532"/>
                  </a:lnTo>
                  <a:lnTo>
                    <a:pt x="1782" y="519"/>
                  </a:lnTo>
                  <a:lnTo>
                    <a:pt x="1858" y="510"/>
                  </a:lnTo>
                  <a:lnTo>
                    <a:pt x="1934" y="504"/>
                  </a:lnTo>
                  <a:lnTo>
                    <a:pt x="2012" y="502"/>
                  </a:lnTo>
                  <a:lnTo>
                    <a:pt x="2090" y="504"/>
                  </a:lnTo>
                  <a:lnTo>
                    <a:pt x="2166" y="510"/>
                  </a:lnTo>
                  <a:lnTo>
                    <a:pt x="2242" y="519"/>
                  </a:lnTo>
                  <a:lnTo>
                    <a:pt x="2316" y="532"/>
                  </a:lnTo>
                  <a:lnTo>
                    <a:pt x="2389" y="549"/>
                  </a:lnTo>
                  <a:lnTo>
                    <a:pt x="2460" y="569"/>
                  </a:lnTo>
                  <a:lnTo>
                    <a:pt x="2531" y="593"/>
                  </a:lnTo>
                  <a:lnTo>
                    <a:pt x="2599" y="620"/>
                  </a:lnTo>
                  <a:lnTo>
                    <a:pt x="2665" y="651"/>
                  </a:lnTo>
                  <a:lnTo>
                    <a:pt x="2731" y="684"/>
                  </a:lnTo>
                  <a:lnTo>
                    <a:pt x="2794" y="720"/>
                  </a:lnTo>
                  <a:lnTo>
                    <a:pt x="2855" y="759"/>
                  </a:lnTo>
                  <a:lnTo>
                    <a:pt x="2915" y="801"/>
                  </a:lnTo>
                  <a:lnTo>
                    <a:pt x="2971" y="845"/>
                  </a:lnTo>
                  <a:lnTo>
                    <a:pt x="3026" y="893"/>
                  </a:lnTo>
                  <a:lnTo>
                    <a:pt x="3079" y="943"/>
                  </a:lnTo>
                  <a:lnTo>
                    <a:pt x="3129" y="995"/>
                  </a:lnTo>
                  <a:lnTo>
                    <a:pt x="3176" y="1050"/>
                  </a:lnTo>
                  <a:lnTo>
                    <a:pt x="3221" y="1107"/>
                  </a:lnTo>
                  <a:lnTo>
                    <a:pt x="3263" y="1165"/>
                  </a:lnTo>
                  <a:lnTo>
                    <a:pt x="3302" y="1227"/>
                  </a:lnTo>
                  <a:lnTo>
                    <a:pt x="3338" y="1290"/>
                  </a:lnTo>
                  <a:lnTo>
                    <a:pt x="3372" y="1355"/>
                  </a:lnTo>
                  <a:lnTo>
                    <a:pt x="3402" y="1421"/>
                  </a:lnTo>
                  <a:lnTo>
                    <a:pt x="3429" y="1490"/>
                  </a:lnTo>
                  <a:lnTo>
                    <a:pt x="3453" y="1560"/>
                  </a:lnTo>
                  <a:lnTo>
                    <a:pt x="3473" y="1631"/>
                  </a:lnTo>
                  <a:lnTo>
                    <a:pt x="3490" y="1704"/>
                  </a:lnTo>
                  <a:lnTo>
                    <a:pt x="3503" y="1778"/>
                  </a:lnTo>
                  <a:lnTo>
                    <a:pt x="3513" y="1853"/>
                  </a:lnTo>
                  <a:lnTo>
                    <a:pt x="3518" y="1930"/>
                  </a:lnTo>
                  <a:lnTo>
                    <a:pt x="3520" y="2008"/>
                  </a:lnTo>
                  <a:lnTo>
                    <a:pt x="3518" y="2085"/>
                  </a:lnTo>
                  <a:lnTo>
                    <a:pt x="3513" y="2161"/>
                  </a:lnTo>
                  <a:lnTo>
                    <a:pt x="3503" y="2236"/>
                  </a:lnTo>
                  <a:lnTo>
                    <a:pt x="3490" y="2311"/>
                  </a:lnTo>
                  <a:lnTo>
                    <a:pt x="3473" y="2383"/>
                  </a:lnTo>
                  <a:lnTo>
                    <a:pt x="3453" y="2455"/>
                  </a:lnTo>
                  <a:lnTo>
                    <a:pt x="3429" y="2524"/>
                  </a:lnTo>
                  <a:lnTo>
                    <a:pt x="3402" y="2593"/>
                  </a:lnTo>
                  <a:lnTo>
                    <a:pt x="3372" y="2660"/>
                  </a:lnTo>
                  <a:lnTo>
                    <a:pt x="3338" y="2725"/>
                  </a:lnTo>
                  <a:lnTo>
                    <a:pt x="3302" y="2787"/>
                  </a:lnTo>
                  <a:lnTo>
                    <a:pt x="3263" y="2849"/>
                  </a:lnTo>
                  <a:lnTo>
                    <a:pt x="3221" y="2908"/>
                  </a:lnTo>
                  <a:lnTo>
                    <a:pt x="3176" y="2965"/>
                  </a:lnTo>
                  <a:lnTo>
                    <a:pt x="3129" y="3019"/>
                  </a:lnTo>
                  <a:lnTo>
                    <a:pt x="3079" y="3071"/>
                  </a:lnTo>
                  <a:lnTo>
                    <a:pt x="3026" y="3122"/>
                  </a:lnTo>
                  <a:lnTo>
                    <a:pt x="2971" y="3169"/>
                  </a:lnTo>
                  <a:lnTo>
                    <a:pt x="2915" y="3213"/>
                  </a:lnTo>
                  <a:lnTo>
                    <a:pt x="2855" y="3255"/>
                  </a:lnTo>
                  <a:lnTo>
                    <a:pt x="2794" y="3294"/>
                  </a:lnTo>
                  <a:lnTo>
                    <a:pt x="2731" y="3331"/>
                  </a:lnTo>
                  <a:lnTo>
                    <a:pt x="2665" y="3364"/>
                  </a:lnTo>
                  <a:lnTo>
                    <a:pt x="2599" y="3395"/>
                  </a:lnTo>
                  <a:lnTo>
                    <a:pt x="2531" y="3422"/>
                  </a:lnTo>
                  <a:lnTo>
                    <a:pt x="2460" y="3445"/>
                  </a:lnTo>
                  <a:lnTo>
                    <a:pt x="2389" y="3465"/>
                  </a:lnTo>
                  <a:lnTo>
                    <a:pt x="2316" y="3482"/>
                  </a:lnTo>
                  <a:lnTo>
                    <a:pt x="2242" y="3495"/>
                  </a:lnTo>
                  <a:lnTo>
                    <a:pt x="2166" y="3505"/>
                  </a:lnTo>
                  <a:lnTo>
                    <a:pt x="2090" y="3511"/>
                  </a:lnTo>
                  <a:lnTo>
                    <a:pt x="2012" y="3513"/>
                  </a:lnTo>
                  <a:close/>
                  <a:moveTo>
                    <a:pt x="2012" y="0"/>
                  </a:moveTo>
                  <a:lnTo>
                    <a:pt x="1908" y="3"/>
                  </a:lnTo>
                  <a:lnTo>
                    <a:pt x="1806" y="10"/>
                  </a:lnTo>
                  <a:lnTo>
                    <a:pt x="1706" y="23"/>
                  </a:lnTo>
                  <a:lnTo>
                    <a:pt x="1606" y="41"/>
                  </a:lnTo>
                  <a:lnTo>
                    <a:pt x="1509" y="63"/>
                  </a:lnTo>
                  <a:lnTo>
                    <a:pt x="1413" y="90"/>
                  </a:lnTo>
                  <a:lnTo>
                    <a:pt x="1319" y="122"/>
                  </a:lnTo>
                  <a:lnTo>
                    <a:pt x="1229" y="158"/>
                  </a:lnTo>
                  <a:lnTo>
                    <a:pt x="1139" y="198"/>
                  </a:lnTo>
                  <a:lnTo>
                    <a:pt x="1053" y="242"/>
                  </a:lnTo>
                  <a:lnTo>
                    <a:pt x="968" y="290"/>
                  </a:lnTo>
                  <a:lnTo>
                    <a:pt x="887" y="342"/>
                  </a:lnTo>
                  <a:lnTo>
                    <a:pt x="807" y="399"/>
                  </a:lnTo>
                  <a:lnTo>
                    <a:pt x="732" y="458"/>
                  </a:lnTo>
                  <a:lnTo>
                    <a:pt x="659" y="521"/>
                  </a:lnTo>
                  <a:lnTo>
                    <a:pt x="589" y="587"/>
                  </a:lnTo>
                  <a:lnTo>
                    <a:pt x="523" y="658"/>
                  </a:lnTo>
                  <a:lnTo>
                    <a:pt x="459" y="731"/>
                  </a:lnTo>
                  <a:lnTo>
                    <a:pt x="399" y="806"/>
                  </a:lnTo>
                  <a:lnTo>
                    <a:pt x="344" y="884"/>
                  </a:lnTo>
                  <a:lnTo>
                    <a:pt x="291" y="967"/>
                  </a:lnTo>
                  <a:lnTo>
                    <a:pt x="243" y="1050"/>
                  </a:lnTo>
                  <a:lnTo>
                    <a:pt x="198" y="1137"/>
                  </a:lnTo>
                  <a:lnTo>
                    <a:pt x="159" y="1226"/>
                  </a:lnTo>
                  <a:lnTo>
                    <a:pt x="122" y="1317"/>
                  </a:lnTo>
                  <a:lnTo>
                    <a:pt x="90" y="1410"/>
                  </a:lnTo>
                  <a:lnTo>
                    <a:pt x="63" y="1506"/>
                  </a:lnTo>
                  <a:lnTo>
                    <a:pt x="41" y="1603"/>
                  </a:lnTo>
                  <a:lnTo>
                    <a:pt x="23" y="1701"/>
                  </a:lnTo>
                  <a:lnTo>
                    <a:pt x="11" y="1802"/>
                  </a:lnTo>
                  <a:lnTo>
                    <a:pt x="3" y="1904"/>
                  </a:lnTo>
                  <a:lnTo>
                    <a:pt x="0" y="2008"/>
                  </a:lnTo>
                  <a:lnTo>
                    <a:pt x="3" y="2111"/>
                  </a:lnTo>
                  <a:lnTo>
                    <a:pt x="11" y="2212"/>
                  </a:lnTo>
                  <a:lnTo>
                    <a:pt x="23" y="2313"/>
                  </a:lnTo>
                  <a:lnTo>
                    <a:pt x="41" y="2412"/>
                  </a:lnTo>
                  <a:lnTo>
                    <a:pt x="63" y="2509"/>
                  </a:lnTo>
                  <a:lnTo>
                    <a:pt x="90" y="2605"/>
                  </a:lnTo>
                  <a:lnTo>
                    <a:pt x="122" y="2698"/>
                  </a:lnTo>
                  <a:lnTo>
                    <a:pt x="159" y="2788"/>
                  </a:lnTo>
                  <a:lnTo>
                    <a:pt x="198" y="2878"/>
                  </a:lnTo>
                  <a:lnTo>
                    <a:pt x="243" y="2964"/>
                  </a:lnTo>
                  <a:lnTo>
                    <a:pt x="291" y="3048"/>
                  </a:lnTo>
                  <a:lnTo>
                    <a:pt x="344" y="3130"/>
                  </a:lnTo>
                  <a:lnTo>
                    <a:pt x="399" y="3209"/>
                  </a:lnTo>
                  <a:lnTo>
                    <a:pt x="459" y="3284"/>
                  </a:lnTo>
                  <a:lnTo>
                    <a:pt x="523" y="3357"/>
                  </a:lnTo>
                  <a:lnTo>
                    <a:pt x="589" y="3427"/>
                  </a:lnTo>
                  <a:lnTo>
                    <a:pt x="659" y="3493"/>
                  </a:lnTo>
                  <a:lnTo>
                    <a:pt x="732" y="3556"/>
                  </a:lnTo>
                  <a:lnTo>
                    <a:pt x="807" y="3616"/>
                  </a:lnTo>
                  <a:lnTo>
                    <a:pt x="887" y="3672"/>
                  </a:lnTo>
                  <a:lnTo>
                    <a:pt x="968" y="3724"/>
                  </a:lnTo>
                  <a:lnTo>
                    <a:pt x="1053" y="3772"/>
                  </a:lnTo>
                  <a:lnTo>
                    <a:pt x="1139" y="3817"/>
                  </a:lnTo>
                  <a:lnTo>
                    <a:pt x="1229" y="3857"/>
                  </a:lnTo>
                  <a:lnTo>
                    <a:pt x="1319" y="3892"/>
                  </a:lnTo>
                  <a:lnTo>
                    <a:pt x="1413" y="3925"/>
                  </a:lnTo>
                  <a:lnTo>
                    <a:pt x="1509" y="3952"/>
                  </a:lnTo>
                  <a:lnTo>
                    <a:pt x="1606" y="3974"/>
                  </a:lnTo>
                  <a:lnTo>
                    <a:pt x="1706" y="3992"/>
                  </a:lnTo>
                  <a:lnTo>
                    <a:pt x="1806" y="4004"/>
                  </a:lnTo>
                  <a:lnTo>
                    <a:pt x="1908" y="4012"/>
                  </a:lnTo>
                  <a:lnTo>
                    <a:pt x="2012" y="4015"/>
                  </a:lnTo>
                  <a:lnTo>
                    <a:pt x="2115" y="4012"/>
                  </a:lnTo>
                  <a:lnTo>
                    <a:pt x="2218" y="4004"/>
                  </a:lnTo>
                  <a:lnTo>
                    <a:pt x="2318" y="3992"/>
                  </a:lnTo>
                  <a:lnTo>
                    <a:pt x="2417" y="3974"/>
                  </a:lnTo>
                  <a:lnTo>
                    <a:pt x="2514" y="3952"/>
                  </a:lnTo>
                  <a:lnTo>
                    <a:pt x="2610" y="3925"/>
                  </a:lnTo>
                  <a:lnTo>
                    <a:pt x="2704" y="3892"/>
                  </a:lnTo>
                  <a:lnTo>
                    <a:pt x="2795" y="3857"/>
                  </a:lnTo>
                  <a:lnTo>
                    <a:pt x="2884" y="3817"/>
                  </a:lnTo>
                  <a:lnTo>
                    <a:pt x="2971" y="3772"/>
                  </a:lnTo>
                  <a:lnTo>
                    <a:pt x="3055" y="3724"/>
                  </a:lnTo>
                  <a:lnTo>
                    <a:pt x="3137" y="3672"/>
                  </a:lnTo>
                  <a:lnTo>
                    <a:pt x="3216" y="3616"/>
                  </a:lnTo>
                  <a:lnTo>
                    <a:pt x="3292" y="3556"/>
                  </a:lnTo>
                  <a:lnTo>
                    <a:pt x="3364" y="3493"/>
                  </a:lnTo>
                  <a:lnTo>
                    <a:pt x="3435" y="3427"/>
                  </a:lnTo>
                  <a:lnTo>
                    <a:pt x="3501" y="3357"/>
                  </a:lnTo>
                  <a:lnTo>
                    <a:pt x="3565" y="3284"/>
                  </a:lnTo>
                  <a:lnTo>
                    <a:pt x="3624" y="3209"/>
                  </a:lnTo>
                  <a:lnTo>
                    <a:pt x="3680" y="3130"/>
                  </a:lnTo>
                  <a:lnTo>
                    <a:pt x="3733" y="3048"/>
                  </a:lnTo>
                  <a:lnTo>
                    <a:pt x="3781" y="2964"/>
                  </a:lnTo>
                  <a:lnTo>
                    <a:pt x="3825" y="2878"/>
                  </a:lnTo>
                  <a:lnTo>
                    <a:pt x="3865" y="2788"/>
                  </a:lnTo>
                  <a:lnTo>
                    <a:pt x="3902" y="2698"/>
                  </a:lnTo>
                  <a:lnTo>
                    <a:pt x="3933" y="2605"/>
                  </a:lnTo>
                  <a:lnTo>
                    <a:pt x="3960" y="2509"/>
                  </a:lnTo>
                  <a:lnTo>
                    <a:pt x="3983" y="2412"/>
                  </a:lnTo>
                  <a:lnTo>
                    <a:pt x="4000" y="2313"/>
                  </a:lnTo>
                  <a:lnTo>
                    <a:pt x="4013" y="2212"/>
                  </a:lnTo>
                  <a:lnTo>
                    <a:pt x="4021" y="2111"/>
                  </a:lnTo>
                  <a:lnTo>
                    <a:pt x="4023" y="2008"/>
                  </a:lnTo>
                  <a:lnTo>
                    <a:pt x="4021" y="1904"/>
                  </a:lnTo>
                  <a:lnTo>
                    <a:pt x="4013" y="1802"/>
                  </a:lnTo>
                  <a:lnTo>
                    <a:pt x="4000" y="1701"/>
                  </a:lnTo>
                  <a:lnTo>
                    <a:pt x="3983" y="1603"/>
                  </a:lnTo>
                  <a:lnTo>
                    <a:pt x="3960" y="1506"/>
                  </a:lnTo>
                  <a:lnTo>
                    <a:pt x="3933" y="1410"/>
                  </a:lnTo>
                  <a:lnTo>
                    <a:pt x="3902" y="1317"/>
                  </a:lnTo>
                  <a:lnTo>
                    <a:pt x="3865" y="1226"/>
                  </a:lnTo>
                  <a:lnTo>
                    <a:pt x="3825" y="1137"/>
                  </a:lnTo>
                  <a:lnTo>
                    <a:pt x="3781" y="1050"/>
                  </a:lnTo>
                  <a:lnTo>
                    <a:pt x="3733" y="967"/>
                  </a:lnTo>
                  <a:lnTo>
                    <a:pt x="3680" y="884"/>
                  </a:lnTo>
                  <a:lnTo>
                    <a:pt x="3624" y="806"/>
                  </a:lnTo>
                  <a:lnTo>
                    <a:pt x="3565" y="731"/>
                  </a:lnTo>
                  <a:lnTo>
                    <a:pt x="3501" y="658"/>
                  </a:lnTo>
                  <a:lnTo>
                    <a:pt x="3435" y="587"/>
                  </a:lnTo>
                  <a:lnTo>
                    <a:pt x="3364" y="521"/>
                  </a:lnTo>
                  <a:lnTo>
                    <a:pt x="3292" y="458"/>
                  </a:lnTo>
                  <a:lnTo>
                    <a:pt x="3216" y="399"/>
                  </a:lnTo>
                  <a:lnTo>
                    <a:pt x="3137" y="342"/>
                  </a:lnTo>
                  <a:lnTo>
                    <a:pt x="3055" y="290"/>
                  </a:lnTo>
                  <a:lnTo>
                    <a:pt x="2971" y="242"/>
                  </a:lnTo>
                  <a:lnTo>
                    <a:pt x="2884" y="198"/>
                  </a:lnTo>
                  <a:lnTo>
                    <a:pt x="2795" y="158"/>
                  </a:lnTo>
                  <a:lnTo>
                    <a:pt x="2704" y="122"/>
                  </a:lnTo>
                  <a:lnTo>
                    <a:pt x="2610" y="90"/>
                  </a:lnTo>
                  <a:lnTo>
                    <a:pt x="2514" y="63"/>
                  </a:lnTo>
                  <a:lnTo>
                    <a:pt x="2417" y="41"/>
                  </a:lnTo>
                  <a:lnTo>
                    <a:pt x="2318" y="23"/>
                  </a:lnTo>
                  <a:lnTo>
                    <a:pt x="2218" y="10"/>
                  </a:lnTo>
                  <a:lnTo>
                    <a:pt x="2115" y="3"/>
                  </a:lnTo>
                  <a:lnTo>
                    <a:pt x="20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51" name="îṩḷîḓé">
              <a:extLst>
                <a:ext uri="{FF2B5EF4-FFF2-40B4-BE49-F238E27FC236}">
                  <a16:creationId xmlns:a16="http://schemas.microsoft.com/office/drawing/2014/main" id="{B8A4D02A-A056-4382-AA30-AFFC5FF564BC}"/>
                </a:ext>
              </a:extLst>
            </p:cNvPr>
            <p:cNvSpPr/>
            <p:nvPr/>
          </p:nvSpPr>
          <p:spPr bwMode="auto">
            <a:xfrm>
              <a:off x="3081609" y="351001"/>
              <a:ext cx="611928" cy="383513"/>
            </a:xfrm>
            <a:custGeom>
              <a:avLst/>
              <a:gdLst>
                <a:gd name="T0" fmla="*/ 6716 w 16058"/>
                <a:gd name="T1" fmla="*/ 8942 h 10064"/>
                <a:gd name="T2" fmla="*/ 5195 w 16058"/>
                <a:gd name="T3" fmla="*/ 8519 h 10064"/>
                <a:gd name="T4" fmla="*/ 3782 w 16058"/>
                <a:gd name="T5" fmla="*/ 7815 h 10064"/>
                <a:gd name="T6" fmla="*/ 2529 w 16058"/>
                <a:gd name="T7" fmla="*/ 6861 h 10064"/>
                <a:gd name="T8" fmla="*/ 1491 w 16058"/>
                <a:gd name="T9" fmla="*/ 5689 h 10064"/>
                <a:gd name="T10" fmla="*/ 1492 w 16058"/>
                <a:gd name="T11" fmla="*/ 4372 h 10064"/>
                <a:gd name="T12" fmla="*/ 2533 w 16058"/>
                <a:gd name="T13" fmla="*/ 3199 h 10064"/>
                <a:gd name="T14" fmla="*/ 3786 w 16058"/>
                <a:gd name="T15" fmla="*/ 2246 h 10064"/>
                <a:gd name="T16" fmla="*/ 5198 w 16058"/>
                <a:gd name="T17" fmla="*/ 1543 h 10064"/>
                <a:gd name="T18" fmla="*/ 6717 w 16058"/>
                <a:gd name="T19" fmla="*/ 1121 h 10064"/>
                <a:gd name="T20" fmla="*/ 8293 w 16058"/>
                <a:gd name="T21" fmla="*/ 1012 h 10064"/>
                <a:gd name="T22" fmla="*/ 9859 w 16058"/>
                <a:gd name="T23" fmla="*/ 1230 h 10064"/>
                <a:gd name="T24" fmla="*/ 11349 w 16058"/>
                <a:gd name="T25" fmla="*/ 1750 h 10064"/>
                <a:gd name="T26" fmla="*/ 12715 w 16058"/>
                <a:gd name="T27" fmla="*/ 2540 h 10064"/>
                <a:gd name="T28" fmla="*/ 13901 w 16058"/>
                <a:gd name="T29" fmla="*/ 3571 h 10064"/>
                <a:gd name="T30" fmla="*/ 14857 w 16058"/>
                <a:gd name="T31" fmla="*/ 4809 h 10064"/>
                <a:gd name="T32" fmla="*/ 14245 w 16058"/>
                <a:gd name="T33" fmla="*/ 6106 h 10064"/>
                <a:gd name="T34" fmla="*/ 13128 w 16058"/>
                <a:gd name="T35" fmla="*/ 7208 h 10064"/>
                <a:gd name="T36" fmla="*/ 11817 w 16058"/>
                <a:gd name="T37" fmla="*/ 8082 h 10064"/>
                <a:gd name="T38" fmla="*/ 10363 w 16058"/>
                <a:gd name="T39" fmla="*/ 8694 h 10064"/>
                <a:gd name="T40" fmla="*/ 8819 w 16058"/>
                <a:gd name="T41" fmla="*/ 9015 h 10064"/>
                <a:gd name="T42" fmla="*/ 16037 w 16058"/>
                <a:gd name="T43" fmla="*/ 4889 h 10064"/>
                <a:gd name="T44" fmla="*/ 16017 w 16058"/>
                <a:gd name="T45" fmla="*/ 4835 h 10064"/>
                <a:gd name="T46" fmla="*/ 15713 w 16058"/>
                <a:gd name="T47" fmla="*/ 4283 h 10064"/>
                <a:gd name="T48" fmla="*/ 14616 w 16058"/>
                <a:gd name="T49" fmla="*/ 2869 h 10064"/>
                <a:gd name="T50" fmla="*/ 13237 w 16058"/>
                <a:gd name="T51" fmla="*/ 1686 h 10064"/>
                <a:gd name="T52" fmla="*/ 11639 w 16058"/>
                <a:gd name="T53" fmla="*/ 781 h 10064"/>
                <a:gd name="T54" fmla="*/ 9883 w 16058"/>
                <a:gd name="T55" fmla="*/ 203 h 10064"/>
                <a:gd name="T56" fmla="*/ 8029 w 16058"/>
                <a:gd name="T57" fmla="*/ 0 h 10064"/>
                <a:gd name="T58" fmla="*/ 6175 w 16058"/>
                <a:gd name="T59" fmla="*/ 203 h 10064"/>
                <a:gd name="T60" fmla="*/ 4419 w 16058"/>
                <a:gd name="T61" fmla="*/ 780 h 10064"/>
                <a:gd name="T62" fmla="*/ 2821 w 16058"/>
                <a:gd name="T63" fmla="*/ 1684 h 10064"/>
                <a:gd name="T64" fmla="*/ 1443 w 16058"/>
                <a:gd name="T65" fmla="*/ 2866 h 10064"/>
                <a:gd name="T66" fmla="*/ 345 w 16058"/>
                <a:gd name="T67" fmla="*/ 4280 h 10064"/>
                <a:gd name="T68" fmla="*/ 41 w 16058"/>
                <a:gd name="T69" fmla="*/ 4831 h 10064"/>
                <a:gd name="T70" fmla="*/ 22 w 16058"/>
                <a:gd name="T71" fmla="*/ 4885 h 10064"/>
                <a:gd name="T72" fmla="*/ 2 w 16058"/>
                <a:gd name="T73" fmla="*/ 5001 h 10064"/>
                <a:gd name="T74" fmla="*/ 6 w 16058"/>
                <a:gd name="T75" fmla="*/ 5087 h 10064"/>
                <a:gd name="T76" fmla="*/ 23 w 16058"/>
                <a:gd name="T77" fmla="*/ 5191 h 10064"/>
                <a:gd name="T78" fmla="*/ 46 w 16058"/>
                <a:gd name="T79" fmla="*/ 5248 h 10064"/>
                <a:gd name="T80" fmla="*/ 675 w 16058"/>
                <a:gd name="T81" fmla="*/ 6275 h 10064"/>
                <a:gd name="T82" fmla="*/ 1874 w 16058"/>
                <a:gd name="T83" fmla="*/ 7617 h 10064"/>
                <a:gd name="T84" fmla="*/ 3332 w 16058"/>
                <a:gd name="T85" fmla="*/ 8713 h 10064"/>
                <a:gd name="T86" fmla="*/ 4990 w 16058"/>
                <a:gd name="T87" fmla="*/ 9514 h 10064"/>
                <a:gd name="T88" fmla="*/ 6786 w 16058"/>
                <a:gd name="T89" fmla="*/ 9972 h 10064"/>
                <a:gd name="T90" fmla="*/ 8654 w 16058"/>
                <a:gd name="T91" fmla="*/ 10041 h 10064"/>
                <a:gd name="T92" fmla="*/ 10483 w 16058"/>
                <a:gd name="T93" fmla="*/ 9708 h 10064"/>
                <a:gd name="T94" fmla="*/ 12193 w 16058"/>
                <a:gd name="T95" fmla="*/ 9017 h 10064"/>
                <a:gd name="T96" fmla="*/ 13724 w 16058"/>
                <a:gd name="T97" fmla="*/ 8014 h 10064"/>
                <a:gd name="T98" fmla="*/ 15015 w 16058"/>
                <a:gd name="T99" fmla="*/ 6749 h 10064"/>
                <a:gd name="T100" fmla="*/ 16007 w 16058"/>
                <a:gd name="T101" fmla="*/ 5270 h 10064"/>
                <a:gd name="T102" fmla="*/ 16031 w 16058"/>
                <a:gd name="T103" fmla="*/ 5211 h 10064"/>
                <a:gd name="T104" fmla="*/ 16040 w 16058"/>
                <a:gd name="T105" fmla="*/ 5146 h 10064"/>
                <a:gd name="T106" fmla="*/ 16058 w 16058"/>
                <a:gd name="T107" fmla="*/ 5034 h 10064"/>
                <a:gd name="T108" fmla="*/ 16040 w 16058"/>
                <a:gd name="T109" fmla="*/ 4921 h 10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058" h="10064">
                  <a:moveTo>
                    <a:pt x="8029" y="9056"/>
                  </a:moveTo>
                  <a:lnTo>
                    <a:pt x="7765" y="9052"/>
                  </a:lnTo>
                  <a:lnTo>
                    <a:pt x="7501" y="9038"/>
                  </a:lnTo>
                  <a:lnTo>
                    <a:pt x="7238" y="9015"/>
                  </a:lnTo>
                  <a:lnTo>
                    <a:pt x="6976" y="8983"/>
                  </a:lnTo>
                  <a:lnTo>
                    <a:pt x="6716" y="8942"/>
                  </a:lnTo>
                  <a:lnTo>
                    <a:pt x="6457" y="8892"/>
                  </a:lnTo>
                  <a:lnTo>
                    <a:pt x="6200" y="8834"/>
                  </a:lnTo>
                  <a:lnTo>
                    <a:pt x="5944" y="8768"/>
                  </a:lnTo>
                  <a:lnTo>
                    <a:pt x="5693" y="8693"/>
                  </a:lnTo>
                  <a:lnTo>
                    <a:pt x="5442" y="8610"/>
                  </a:lnTo>
                  <a:lnTo>
                    <a:pt x="5195" y="8519"/>
                  </a:lnTo>
                  <a:lnTo>
                    <a:pt x="4950" y="8421"/>
                  </a:lnTo>
                  <a:lnTo>
                    <a:pt x="4709" y="8314"/>
                  </a:lnTo>
                  <a:lnTo>
                    <a:pt x="4471" y="8200"/>
                  </a:lnTo>
                  <a:lnTo>
                    <a:pt x="4237" y="8079"/>
                  </a:lnTo>
                  <a:lnTo>
                    <a:pt x="4007" y="7951"/>
                  </a:lnTo>
                  <a:lnTo>
                    <a:pt x="3782" y="7815"/>
                  </a:lnTo>
                  <a:lnTo>
                    <a:pt x="3560" y="7672"/>
                  </a:lnTo>
                  <a:lnTo>
                    <a:pt x="3343" y="7524"/>
                  </a:lnTo>
                  <a:lnTo>
                    <a:pt x="3132" y="7368"/>
                  </a:lnTo>
                  <a:lnTo>
                    <a:pt x="2926" y="7205"/>
                  </a:lnTo>
                  <a:lnTo>
                    <a:pt x="2725" y="7036"/>
                  </a:lnTo>
                  <a:lnTo>
                    <a:pt x="2529" y="6861"/>
                  </a:lnTo>
                  <a:lnTo>
                    <a:pt x="2340" y="6680"/>
                  </a:lnTo>
                  <a:lnTo>
                    <a:pt x="2157" y="6493"/>
                  </a:lnTo>
                  <a:lnTo>
                    <a:pt x="1980" y="6301"/>
                  </a:lnTo>
                  <a:lnTo>
                    <a:pt x="1811" y="6102"/>
                  </a:lnTo>
                  <a:lnTo>
                    <a:pt x="1647" y="5898"/>
                  </a:lnTo>
                  <a:lnTo>
                    <a:pt x="1491" y="5689"/>
                  </a:lnTo>
                  <a:lnTo>
                    <a:pt x="1343" y="5475"/>
                  </a:lnTo>
                  <a:lnTo>
                    <a:pt x="1201" y="5255"/>
                  </a:lnTo>
                  <a:lnTo>
                    <a:pt x="1069" y="5030"/>
                  </a:lnTo>
                  <a:lnTo>
                    <a:pt x="1202" y="4806"/>
                  </a:lnTo>
                  <a:lnTo>
                    <a:pt x="1344" y="4586"/>
                  </a:lnTo>
                  <a:lnTo>
                    <a:pt x="1492" y="4372"/>
                  </a:lnTo>
                  <a:lnTo>
                    <a:pt x="1649" y="4163"/>
                  </a:lnTo>
                  <a:lnTo>
                    <a:pt x="1813" y="3958"/>
                  </a:lnTo>
                  <a:lnTo>
                    <a:pt x="1983" y="3760"/>
                  </a:lnTo>
                  <a:lnTo>
                    <a:pt x="2160" y="3567"/>
                  </a:lnTo>
                  <a:lnTo>
                    <a:pt x="2343" y="3380"/>
                  </a:lnTo>
                  <a:lnTo>
                    <a:pt x="2533" y="3199"/>
                  </a:lnTo>
                  <a:lnTo>
                    <a:pt x="2729" y="3024"/>
                  </a:lnTo>
                  <a:lnTo>
                    <a:pt x="2930" y="2855"/>
                  </a:lnTo>
                  <a:lnTo>
                    <a:pt x="3136" y="2693"/>
                  </a:lnTo>
                  <a:lnTo>
                    <a:pt x="3348" y="2537"/>
                  </a:lnTo>
                  <a:lnTo>
                    <a:pt x="3564" y="2389"/>
                  </a:lnTo>
                  <a:lnTo>
                    <a:pt x="3786" y="2246"/>
                  </a:lnTo>
                  <a:lnTo>
                    <a:pt x="4011" y="2111"/>
                  </a:lnTo>
                  <a:lnTo>
                    <a:pt x="4241" y="1982"/>
                  </a:lnTo>
                  <a:lnTo>
                    <a:pt x="4475" y="1862"/>
                  </a:lnTo>
                  <a:lnTo>
                    <a:pt x="4712" y="1748"/>
                  </a:lnTo>
                  <a:lnTo>
                    <a:pt x="4953" y="1641"/>
                  </a:lnTo>
                  <a:lnTo>
                    <a:pt x="5198" y="1543"/>
                  </a:lnTo>
                  <a:lnTo>
                    <a:pt x="5445" y="1452"/>
                  </a:lnTo>
                  <a:lnTo>
                    <a:pt x="5695" y="1370"/>
                  </a:lnTo>
                  <a:lnTo>
                    <a:pt x="5947" y="1295"/>
                  </a:lnTo>
                  <a:lnTo>
                    <a:pt x="6202" y="1229"/>
                  </a:lnTo>
                  <a:lnTo>
                    <a:pt x="6459" y="1171"/>
                  </a:lnTo>
                  <a:lnTo>
                    <a:pt x="6717" y="1121"/>
                  </a:lnTo>
                  <a:lnTo>
                    <a:pt x="6978" y="1081"/>
                  </a:lnTo>
                  <a:lnTo>
                    <a:pt x="7239" y="1049"/>
                  </a:lnTo>
                  <a:lnTo>
                    <a:pt x="7502" y="1026"/>
                  </a:lnTo>
                  <a:lnTo>
                    <a:pt x="7765" y="1012"/>
                  </a:lnTo>
                  <a:lnTo>
                    <a:pt x="8029" y="1008"/>
                  </a:lnTo>
                  <a:lnTo>
                    <a:pt x="8293" y="1012"/>
                  </a:lnTo>
                  <a:lnTo>
                    <a:pt x="8557" y="1026"/>
                  </a:lnTo>
                  <a:lnTo>
                    <a:pt x="8820" y="1049"/>
                  </a:lnTo>
                  <a:lnTo>
                    <a:pt x="9082" y="1081"/>
                  </a:lnTo>
                  <a:lnTo>
                    <a:pt x="9342" y="1122"/>
                  </a:lnTo>
                  <a:lnTo>
                    <a:pt x="9601" y="1172"/>
                  </a:lnTo>
                  <a:lnTo>
                    <a:pt x="9859" y="1230"/>
                  </a:lnTo>
                  <a:lnTo>
                    <a:pt x="10114" y="1296"/>
                  </a:lnTo>
                  <a:lnTo>
                    <a:pt x="10366" y="1371"/>
                  </a:lnTo>
                  <a:lnTo>
                    <a:pt x="10616" y="1454"/>
                  </a:lnTo>
                  <a:lnTo>
                    <a:pt x="10863" y="1545"/>
                  </a:lnTo>
                  <a:lnTo>
                    <a:pt x="11108" y="1643"/>
                  </a:lnTo>
                  <a:lnTo>
                    <a:pt x="11349" y="1750"/>
                  </a:lnTo>
                  <a:lnTo>
                    <a:pt x="11587" y="1864"/>
                  </a:lnTo>
                  <a:lnTo>
                    <a:pt x="11821" y="1985"/>
                  </a:lnTo>
                  <a:lnTo>
                    <a:pt x="12051" y="2113"/>
                  </a:lnTo>
                  <a:lnTo>
                    <a:pt x="12276" y="2249"/>
                  </a:lnTo>
                  <a:lnTo>
                    <a:pt x="12498" y="2392"/>
                  </a:lnTo>
                  <a:lnTo>
                    <a:pt x="12715" y="2540"/>
                  </a:lnTo>
                  <a:lnTo>
                    <a:pt x="12926" y="2696"/>
                  </a:lnTo>
                  <a:lnTo>
                    <a:pt x="13132" y="2859"/>
                  </a:lnTo>
                  <a:lnTo>
                    <a:pt x="13333" y="3028"/>
                  </a:lnTo>
                  <a:lnTo>
                    <a:pt x="13529" y="3203"/>
                  </a:lnTo>
                  <a:lnTo>
                    <a:pt x="13718" y="3384"/>
                  </a:lnTo>
                  <a:lnTo>
                    <a:pt x="13901" y="3571"/>
                  </a:lnTo>
                  <a:lnTo>
                    <a:pt x="14078" y="3763"/>
                  </a:lnTo>
                  <a:lnTo>
                    <a:pt x="14247" y="3962"/>
                  </a:lnTo>
                  <a:lnTo>
                    <a:pt x="14411" y="4166"/>
                  </a:lnTo>
                  <a:lnTo>
                    <a:pt x="14567" y="4375"/>
                  </a:lnTo>
                  <a:lnTo>
                    <a:pt x="14715" y="4589"/>
                  </a:lnTo>
                  <a:lnTo>
                    <a:pt x="14857" y="4809"/>
                  </a:lnTo>
                  <a:lnTo>
                    <a:pt x="14989" y="5034"/>
                  </a:lnTo>
                  <a:lnTo>
                    <a:pt x="14856" y="5258"/>
                  </a:lnTo>
                  <a:lnTo>
                    <a:pt x="14714" y="5477"/>
                  </a:lnTo>
                  <a:lnTo>
                    <a:pt x="14566" y="5692"/>
                  </a:lnTo>
                  <a:lnTo>
                    <a:pt x="14409" y="5901"/>
                  </a:lnTo>
                  <a:lnTo>
                    <a:pt x="14245" y="6106"/>
                  </a:lnTo>
                  <a:lnTo>
                    <a:pt x="14075" y="6304"/>
                  </a:lnTo>
                  <a:lnTo>
                    <a:pt x="13898" y="6497"/>
                  </a:lnTo>
                  <a:lnTo>
                    <a:pt x="13715" y="6684"/>
                  </a:lnTo>
                  <a:lnTo>
                    <a:pt x="13525" y="6865"/>
                  </a:lnTo>
                  <a:lnTo>
                    <a:pt x="13329" y="7040"/>
                  </a:lnTo>
                  <a:lnTo>
                    <a:pt x="13128" y="7208"/>
                  </a:lnTo>
                  <a:lnTo>
                    <a:pt x="12922" y="7371"/>
                  </a:lnTo>
                  <a:lnTo>
                    <a:pt x="12711" y="7527"/>
                  </a:lnTo>
                  <a:lnTo>
                    <a:pt x="12494" y="7675"/>
                  </a:lnTo>
                  <a:lnTo>
                    <a:pt x="12272" y="7818"/>
                  </a:lnTo>
                  <a:lnTo>
                    <a:pt x="12047" y="7953"/>
                  </a:lnTo>
                  <a:lnTo>
                    <a:pt x="11817" y="8082"/>
                  </a:lnTo>
                  <a:lnTo>
                    <a:pt x="11584" y="8202"/>
                  </a:lnTo>
                  <a:lnTo>
                    <a:pt x="11346" y="8316"/>
                  </a:lnTo>
                  <a:lnTo>
                    <a:pt x="11105" y="8423"/>
                  </a:lnTo>
                  <a:lnTo>
                    <a:pt x="10860" y="8520"/>
                  </a:lnTo>
                  <a:lnTo>
                    <a:pt x="10613" y="8612"/>
                  </a:lnTo>
                  <a:lnTo>
                    <a:pt x="10363" y="8694"/>
                  </a:lnTo>
                  <a:lnTo>
                    <a:pt x="10111" y="8769"/>
                  </a:lnTo>
                  <a:lnTo>
                    <a:pt x="9856" y="8835"/>
                  </a:lnTo>
                  <a:lnTo>
                    <a:pt x="9599" y="8893"/>
                  </a:lnTo>
                  <a:lnTo>
                    <a:pt x="9341" y="8943"/>
                  </a:lnTo>
                  <a:lnTo>
                    <a:pt x="9081" y="8983"/>
                  </a:lnTo>
                  <a:lnTo>
                    <a:pt x="8819" y="9015"/>
                  </a:lnTo>
                  <a:lnTo>
                    <a:pt x="8556" y="9038"/>
                  </a:lnTo>
                  <a:lnTo>
                    <a:pt x="8293" y="9052"/>
                  </a:lnTo>
                  <a:lnTo>
                    <a:pt x="8029" y="9056"/>
                  </a:lnTo>
                  <a:close/>
                  <a:moveTo>
                    <a:pt x="16040" y="4921"/>
                  </a:moveTo>
                  <a:lnTo>
                    <a:pt x="16038" y="4905"/>
                  </a:lnTo>
                  <a:lnTo>
                    <a:pt x="16037" y="4889"/>
                  </a:lnTo>
                  <a:lnTo>
                    <a:pt x="16036" y="4881"/>
                  </a:lnTo>
                  <a:lnTo>
                    <a:pt x="16035" y="4873"/>
                  </a:lnTo>
                  <a:lnTo>
                    <a:pt x="16033" y="4865"/>
                  </a:lnTo>
                  <a:lnTo>
                    <a:pt x="16031" y="4857"/>
                  </a:lnTo>
                  <a:lnTo>
                    <a:pt x="16024" y="4846"/>
                  </a:lnTo>
                  <a:lnTo>
                    <a:pt x="16017" y="4835"/>
                  </a:lnTo>
                  <a:lnTo>
                    <a:pt x="16014" y="4826"/>
                  </a:lnTo>
                  <a:lnTo>
                    <a:pt x="16012" y="4816"/>
                  </a:lnTo>
                  <a:lnTo>
                    <a:pt x="16010" y="4807"/>
                  </a:lnTo>
                  <a:lnTo>
                    <a:pt x="16007" y="4798"/>
                  </a:lnTo>
                  <a:lnTo>
                    <a:pt x="15864" y="4539"/>
                  </a:lnTo>
                  <a:lnTo>
                    <a:pt x="15713" y="4283"/>
                  </a:lnTo>
                  <a:lnTo>
                    <a:pt x="15552" y="4034"/>
                  </a:lnTo>
                  <a:lnTo>
                    <a:pt x="15383" y="3789"/>
                  </a:lnTo>
                  <a:lnTo>
                    <a:pt x="15203" y="3550"/>
                  </a:lnTo>
                  <a:lnTo>
                    <a:pt x="15015" y="3318"/>
                  </a:lnTo>
                  <a:lnTo>
                    <a:pt x="14820" y="3091"/>
                  </a:lnTo>
                  <a:lnTo>
                    <a:pt x="14616" y="2869"/>
                  </a:lnTo>
                  <a:lnTo>
                    <a:pt x="14404" y="2654"/>
                  </a:lnTo>
                  <a:lnTo>
                    <a:pt x="14184" y="2447"/>
                  </a:lnTo>
                  <a:lnTo>
                    <a:pt x="13957" y="2246"/>
                  </a:lnTo>
                  <a:lnTo>
                    <a:pt x="13724" y="2052"/>
                  </a:lnTo>
                  <a:lnTo>
                    <a:pt x="13484" y="1865"/>
                  </a:lnTo>
                  <a:lnTo>
                    <a:pt x="13237" y="1686"/>
                  </a:lnTo>
                  <a:lnTo>
                    <a:pt x="12985" y="1515"/>
                  </a:lnTo>
                  <a:lnTo>
                    <a:pt x="12726" y="1351"/>
                  </a:lnTo>
                  <a:lnTo>
                    <a:pt x="12462" y="1196"/>
                  </a:lnTo>
                  <a:lnTo>
                    <a:pt x="12193" y="1049"/>
                  </a:lnTo>
                  <a:lnTo>
                    <a:pt x="11918" y="910"/>
                  </a:lnTo>
                  <a:lnTo>
                    <a:pt x="11639" y="781"/>
                  </a:lnTo>
                  <a:lnTo>
                    <a:pt x="11356" y="661"/>
                  </a:lnTo>
                  <a:lnTo>
                    <a:pt x="11069" y="550"/>
                  </a:lnTo>
                  <a:lnTo>
                    <a:pt x="10777" y="449"/>
                  </a:lnTo>
                  <a:lnTo>
                    <a:pt x="10483" y="357"/>
                  </a:lnTo>
                  <a:lnTo>
                    <a:pt x="10185" y="275"/>
                  </a:lnTo>
                  <a:lnTo>
                    <a:pt x="9883" y="203"/>
                  </a:lnTo>
                  <a:lnTo>
                    <a:pt x="9580" y="142"/>
                  </a:lnTo>
                  <a:lnTo>
                    <a:pt x="9273" y="92"/>
                  </a:lnTo>
                  <a:lnTo>
                    <a:pt x="8964" y="52"/>
                  </a:lnTo>
                  <a:lnTo>
                    <a:pt x="8654" y="23"/>
                  </a:lnTo>
                  <a:lnTo>
                    <a:pt x="8342" y="6"/>
                  </a:lnTo>
                  <a:lnTo>
                    <a:pt x="8029" y="0"/>
                  </a:lnTo>
                  <a:lnTo>
                    <a:pt x="7716" y="6"/>
                  </a:lnTo>
                  <a:lnTo>
                    <a:pt x="7404" y="23"/>
                  </a:lnTo>
                  <a:lnTo>
                    <a:pt x="7094" y="51"/>
                  </a:lnTo>
                  <a:lnTo>
                    <a:pt x="6786" y="92"/>
                  </a:lnTo>
                  <a:lnTo>
                    <a:pt x="6478" y="142"/>
                  </a:lnTo>
                  <a:lnTo>
                    <a:pt x="6175" y="203"/>
                  </a:lnTo>
                  <a:lnTo>
                    <a:pt x="5874" y="275"/>
                  </a:lnTo>
                  <a:lnTo>
                    <a:pt x="5576" y="356"/>
                  </a:lnTo>
                  <a:lnTo>
                    <a:pt x="5281" y="448"/>
                  </a:lnTo>
                  <a:lnTo>
                    <a:pt x="4990" y="549"/>
                  </a:lnTo>
                  <a:lnTo>
                    <a:pt x="4702" y="660"/>
                  </a:lnTo>
                  <a:lnTo>
                    <a:pt x="4419" y="780"/>
                  </a:lnTo>
                  <a:lnTo>
                    <a:pt x="4140" y="909"/>
                  </a:lnTo>
                  <a:lnTo>
                    <a:pt x="3866" y="1047"/>
                  </a:lnTo>
                  <a:lnTo>
                    <a:pt x="3596" y="1194"/>
                  </a:lnTo>
                  <a:lnTo>
                    <a:pt x="3332" y="1349"/>
                  </a:lnTo>
                  <a:lnTo>
                    <a:pt x="3073" y="1513"/>
                  </a:lnTo>
                  <a:lnTo>
                    <a:pt x="2821" y="1684"/>
                  </a:lnTo>
                  <a:lnTo>
                    <a:pt x="2574" y="1863"/>
                  </a:lnTo>
                  <a:lnTo>
                    <a:pt x="2334" y="2050"/>
                  </a:lnTo>
                  <a:lnTo>
                    <a:pt x="2101" y="2243"/>
                  </a:lnTo>
                  <a:lnTo>
                    <a:pt x="1874" y="2444"/>
                  </a:lnTo>
                  <a:lnTo>
                    <a:pt x="1655" y="2652"/>
                  </a:lnTo>
                  <a:lnTo>
                    <a:pt x="1443" y="2866"/>
                  </a:lnTo>
                  <a:lnTo>
                    <a:pt x="1238" y="3087"/>
                  </a:lnTo>
                  <a:lnTo>
                    <a:pt x="1043" y="3314"/>
                  </a:lnTo>
                  <a:lnTo>
                    <a:pt x="855" y="3547"/>
                  </a:lnTo>
                  <a:lnTo>
                    <a:pt x="675" y="3785"/>
                  </a:lnTo>
                  <a:lnTo>
                    <a:pt x="506" y="4031"/>
                  </a:lnTo>
                  <a:lnTo>
                    <a:pt x="345" y="4280"/>
                  </a:lnTo>
                  <a:lnTo>
                    <a:pt x="194" y="4535"/>
                  </a:lnTo>
                  <a:lnTo>
                    <a:pt x="52" y="4794"/>
                  </a:lnTo>
                  <a:lnTo>
                    <a:pt x="48" y="4804"/>
                  </a:lnTo>
                  <a:lnTo>
                    <a:pt x="46" y="4813"/>
                  </a:lnTo>
                  <a:lnTo>
                    <a:pt x="44" y="4822"/>
                  </a:lnTo>
                  <a:lnTo>
                    <a:pt x="41" y="4831"/>
                  </a:lnTo>
                  <a:lnTo>
                    <a:pt x="34" y="4842"/>
                  </a:lnTo>
                  <a:lnTo>
                    <a:pt x="28" y="4853"/>
                  </a:lnTo>
                  <a:lnTo>
                    <a:pt x="25" y="4861"/>
                  </a:lnTo>
                  <a:lnTo>
                    <a:pt x="23" y="4869"/>
                  </a:lnTo>
                  <a:lnTo>
                    <a:pt x="22" y="4877"/>
                  </a:lnTo>
                  <a:lnTo>
                    <a:pt x="22" y="4885"/>
                  </a:lnTo>
                  <a:lnTo>
                    <a:pt x="20" y="4902"/>
                  </a:lnTo>
                  <a:lnTo>
                    <a:pt x="18" y="4918"/>
                  </a:lnTo>
                  <a:lnTo>
                    <a:pt x="11" y="4946"/>
                  </a:lnTo>
                  <a:lnTo>
                    <a:pt x="6" y="4973"/>
                  </a:lnTo>
                  <a:lnTo>
                    <a:pt x="3" y="4987"/>
                  </a:lnTo>
                  <a:lnTo>
                    <a:pt x="2" y="5001"/>
                  </a:lnTo>
                  <a:lnTo>
                    <a:pt x="0" y="5016"/>
                  </a:lnTo>
                  <a:lnTo>
                    <a:pt x="0" y="5030"/>
                  </a:lnTo>
                  <a:lnTo>
                    <a:pt x="0" y="5045"/>
                  </a:lnTo>
                  <a:lnTo>
                    <a:pt x="2" y="5059"/>
                  </a:lnTo>
                  <a:lnTo>
                    <a:pt x="3" y="5073"/>
                  </a:lnTo>
                  <a:lnTo>
                    <a:pt x="6" y="5087"/>
                  </a:lnTo>
                  <a:lnTo>
                    <a:pt x="11" y="5115"/>
                  </a:lnTo>
                  <a:lnTo>
                    <a:pt x="18" y="5143"/>
                  </a:lnTo>
                  <a:lnTo>
                    <a:pt x="20" y="5159"/>
                  </a:lnTo>
                  <a:lnTo>
                    <a:pt x="22" y="5175"/>
                  </a:lnTo>
                  <a:lnTo>
                    <a:pt x="22" y="5183"/>
                  </a:lnTo>
                  <a:lnTo>
                    <a:pt x="23" y="5191"/>
                  </a:lnTo>
                  <a:lnTo>
                    <a:pt x="25" y="5199"/>
                  </a:lnTo>
                  <a:lnTo>
                    <a:pt x="28" y="5207"/>
                  </a:lnTo>
                  <a:lnTo>
                    <a:pt x="34" y="5218"/>
                  </a:lnTo>
                  <a:lnTo>
                    <a:pt x="41" y="5229"/>
                  </a:lnTo>
                  <a:lnTo>
                    <a:pt x="44" y="5238"/>
                  </a:lnTo>
                  <a:lnTo>
                    <a:pt x="46" y="5248"/>
                  </a:lnTo>
                  <a:lnTo>
                    <a:pt x="48" y="5257"/>
                  </a:lnTo>
                  <a:lnTo>
                    <a:pt x="52" y="5266"/>
                  </a:lnTo>
                  <a:lnTo>
                    <a:pt x="194" y="5525"/>
                  </a:lnTo>
                  <a:lnTo>
                    <a:pt x="345" y="5781"/>
                  </a:lnTo>
                  <a:lnTo>
                    <a:pt x="506" y="6030"/>
                  </a:lnTo>
                  <a:lnTo>
                    <a:pt x="675" y="6275"/>
                  </a:lnTo>
                  <a:lnTo>
                    <a:pt x="855" y="6513"/>
                  </a:lnTo>
                  <a:lnTo>
                    <a:pt x="1043" y="6746"/>
                  </a:lnTo>
                  <a:lnTo>
                    <a:pt x="1238" y="6973"/>
                  </a:lnTo>
                  <a:lnTo>
                    <a:pt x="1443" y="7195"/>
                  </a:lnTo>
                  <a:lnTo>
                    <a:pt x="1655" y="7409"/>
                  </a:lnTo>
                  <a:lnTo>
                    <a:pt x="1874" y="7617"/>
                  </a:lnTo>
                  <a:lnTo>
                    <a:pt x="2101" y="7818"/>
                  </a:lnTo>
                  <a:lnTo>
                    <a:pt x="2334" y="8012"/>
                  </a:lnTo>
                  <a:lnTo>
                    <a:pt x="2574" y="8198"/>
                  </a:lnTo>
                  <a:lnTo>
                    <a:pt x="2821" y="8378"/>
                  </a:lnTo>
                  <a:lnTo>
                    <a:pt x="3073" y="8549"/>
                  </a:lnTo>
                  <a:lnTo>
                    <a:pt x="3332" y="8713"/>
                  </a:lnTo>
                  <a:lnTo>
                    <a:pt x="3596" y="8868"/>
                  </a:lnTo>
                  <a:lnTo>
                    <a:pt x="3866" y="9015"/>
                  </a:lnTo>
                  <a:lnTo>
                    <a:pt x="4140" y="9154"/>
                  </a:lnTo>
                  <a:lnTo>
                    <a:pt x="4419" y="9283"/>
                  </a:lnTo>
                  <a:lnTo>
                    <a:pt x="4702" y="9403"/>
                  </a:lnTo>
                  <a:lnTo>
                    <a:pt x="4990" y="9514"/>
                  </a:lnTo>
                  <a:lnTo>
                    <a:pt x="5281" y="9615"/>
                  </a:lnTo>
                  <a:lnTo>
                    <a:pt x="5576" y="9707"/>
                  </a:lnTo>
                  <a:lnTo>
                    <a:pt x="5874" y="9789"/>
                  </a:lnTo>
                  <a:lnTo>
                    <a:pt x="6175" y="9861"/>
                  </a:lnTo>
                  <a:lnTo>
                    <a:pt x="6478" y="9922"/>
                  </a:lnTo>
                  <a:lnTo>
                    <a:pt x="6786" y="9972"/>
                  </a:lnTo>
                  <a:lnTo>
                    <a:pt x="7094" y="10012"/>
                  </a:lnTo>
                  <a:lnTo>
                    <a:pt x="7404" y="10041"/>
                  </a:lnTo>
                  <a:lnTo>
                    <a:pt x="7716" y="10058"/>
                  </a:lnTo>
                  <a:lnTo>
                    <a:pt x="8029" y="10064"/>
                  </a:lnTo>
                  <a:lnTo>
                    <a:pt x="8342" y="10058"/>
                  </a:lnTo>
                  <a:lnTo>
                    <a:pt x="8654" y="10041"/>
                  </a:lnTo>
                  <a:lnTo>
                    <a:pt x="8964" y="10013"/>
                  </a:lnTo>
                  <a:lnTo>
                    <a:pt x="9273" y="9972"/>
                  </a:lnTo>
                  <a:lnTo>
                    <a:pt x="9580" y="9922"/>
                  </a:lnTo>
                  <a:lnTo>
                    <a:pt x="9883" y="9861"/>
                  </a:lnTo>
                  <a:lnTo>
                    <a:pt x="10185" y="9789"/>
                  </a:lnTo>
                  <a:lnTo>
                    <a:pt x="10483" y="9708"/>
                  </a:lnTo>
                  <a:lnTo>
                    <a:pt x="10777" y="9616"/>
                  </a:lnTo>
                  <a:lnTo>
                    <a:pt x="11069" y="9515"/>
                  </a:lnTo>
                  <a:lnTo>
                    <a:pt x="11356" y="9404"/>
                  </a:lnTo>
                  <a:lnTo>
                    <a:pt x="11639" y="9284"/>
                  </a:lnTo>
                  <a:lnTo>
                    <a:pt x="11918" y="9155"/>
                  </a:lnTo>
                  <a:lnTo>
                    <a:pt x="12193" y="9017"/>
                  </a:lnTo>
                  <a:lnTo>
                    <a:pt x="12462" y="8870"/>
                  </a:lnTo>
                  <a:lnTo>
                    <a:pt x="12726" y="8714"/>
                  </a:lnTo>
                  <a:lnTo>
                    <a:pt x="12985" y="8551"/>
                  </a:lnTo>
                  <a:lnTo>
                    <a:pt x="13237" y="8380"/>
                  </a:lnTo>
                  <a:lnTo>
                    <a:pt x="13484" y="8201"/>
                  </a:lnTo>
                  <a:lnTo>
                    <a:pt x="13724" y="8014"/>
                  </a:lnTo>
                  <a:lnTo>
                    <a:pt x="13957" y="7821"/>
                  </a:lnTo>
                  <a:lnTo>
                    <a:pt x="14184" y="7620"/>
                  </a:lnTo>
                  <a:lnTo>
                    <a:pt x="14404" y="7412"/>
                  </a:lnTo>
                  <a:lnTo>
                    <a:pt x="14616" y="7198"/>
                  </a:lnTo>
                  <a:lnTo>
                    <a:pt x="14820" y="6977"/>
                  </a:lnTo>
                  <a:lnTo>
                    <a:pt x="15015" y="6749"/>
                  </a:lnTo>
                  <a:lnTo>
                    <a:pt x="15203" y="6517"/>
                  </a:lnTo>
                  <a:lnTo>
                    <a:pt x="15383" y="6278"/>
                  </a:lnTo>
                  <a:lnTo>
                    <a:pt x="15552" y="6033"/>
                  </a:lnTo>
                  <a:lnTo>
                    <a:pt x="15713" y="5784"/>
                  </a:lnTo>
                  <a:lnTo>
                    <a:pt x="15864" y="5529"/>
                  </a:lnTo>
                  <a:lnTo>
                    <a:pt x="16007" y="5270"/>
                  </a:lnTo>
                  <a:lnTo>
                    <a:pt x="16010" y="5260"/>
                  </a:lnTo>
                  <a:lnTo>
                    <a:pt x="16012" y="5251"/>
                  </a:lnTo>
                  <a:lnTo>
                    <a:pt x="16014" y="5242"/>
                  </a:lnTo>
                  <a:lnTo>
                    <a:pt x="16017" y="5232"/>
                  </a:lnTo>
                  <a:lnTo>
                    <a:pt x="16024" y="5222"/>
                  </a:lnTo>
                  <a:lnTo>
                    <a:pt x="16031" y="5211"/>
                  </a:lnTo>
                  <a:lnTo>
                    <a:pt x="16033" y="5202"/>
                  </a:lnTo>
                  <a:lnTo>
                    <a:pt x="16035" y="5194"/>
                  </a:lnTo>
                  <a:lnTo>
                    <a:pt x="16036" y="5186"/>
                  </a:lnTo>
                  <a:lnTo>
                    <a:pt x="16037" y="5178"/>
                  </a:lnTo>
                  <a:lnTo>
                    <a:pt x="16038" y="5162"/>
                  </a:lnTo>
                  <a:lnTo>
                    <a:pt x="16040" y="5146"/>
                  </a:lnTo>
                  <a:lnTo>
                    <a:pt x="16047" y="5118"/>
                  </a:lnTo>
                  <a:lnTo>
                    <a:pt x="16052" y="5090"/>
                  </a:lnTo>
                  <a:lnTo>
                    <a:pt x="16055" y="5076"/>
                  </a:lnTo>
                  <a:lnTo>
                    <a:pt x="16056" y="5063"/>
                  </a:lnTo>
                  <a:lnTo>
                    <a:pt x="16058" y="5048"/>
                  </a:lnTo>
                  <a:lnTo>
                    <a:pt x="16058" y="5034"/>
                  </a:lnTo>
                  <a:lnTo>
                    <a:pt x="16058" y="5019"/>
                  </a:lnTo>
                  <a:lnTo>
                    <a:pt x="16056" y="5005"/>
                  </a:lnTo>
                  <a:lnTo>
                    <a:pt x="16055" y="4991"/>
                  </a:lnTo>
                  <a:lnTo>
                    <a:pt x="16052" y="4977"/>
                  </a:lnTo>
                  <a:lnTo>
                    <a:pt x="16047" y="4949"/>
                  </a:lnTo>
                  <a:lnTo>
                    <a:pt x="16040" y="49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52" name="íSľîḍê">
              <a:extLst>
                <a:ext uri="{FF2B5EF4-FFF2-40B4-BE49-F238E27FC236}">
                  <a16:creationId xmlns:a16="http://schemas.microsoft.com/office/drawing/2014/main" id="{8B8C3F99-2C6C-4D83-A118-3DF75C333D8D}"/>
                </a:ext>
              </a:extLst>
            </p:cNvPr>
            <p:cNvSpPr/>
            <p:nvPr/>
          </p:nvSpPr>
          <p:spPr bwMode="auto">
            <a:xfrm>
              <a:off x="3311435" y="466619"/>
              <a:ext cx="86009" cy="86009"/>
            </a:xfrm>
            <a:custGeom>
              <a:avLst/>
              <a:gdLst>
                <a:gd name="T0" fmla="*/ 1902 w 2259"/>
                <a:gd name="T1" fmla="*/ 3 h 2264"/>
                <a:gd name="T2" fmla="*/ 1504 w 2259"/>
                <a:gd name="T3" fmla="*/ 64 h 2264"/>
                <a:gd name="T4" fmla="*/ 1136 w 2259"/>
                <a:gd name="T5" fmla="*/ 200 h 2264"/>
                <a:gd name="T6" fmla="*/ 805 w 2259"/>
                <a:gd name="T7" fmla="*/ 401 h 2264"/>
                <a:gd name="T8" fmla="*/ 521 w 2259"/>
                <a:gd name="T9" fmla="*/ 661 h 2264"/>
                <a:gd name="T10" fmla="*/ 290 w 2259"/>
                <a:gd name="T11" fmla="*/ 970 h 2264"/>
                <a:gd name="T12" fmla="*/ 121 w 2259"/>
                <a:gd name="T13" fmla="*/ 1322 h 2264"/>
                <a:gd name="T14" fmla="*/ 23 w 2259"/>
                <a:gd name="T15" fmla="*/ 1707 h 2264"/>
                <a:gd name="T16" fmla="*/ 0 w 2259"/>
                <a:gd name="T17" fmla="*/ 2026 h 2264"/>
                <a:gd name="T18" fmla="*/ 8 w 2259"/>
                <a:gd name="T19" fmla="*/ 2076 h 2264"/>
                <a:gd name="T20" fmla="*/ 24 w 2259"/>
                <a:gd name="T21" fmla="*/ 2122 h 2264"/>
                <a:gd name="T22" fmla="*/ 49 w 2259"/>
                <a:gd name="T23" fmla="*/ 2163 h 2264"/>
                <a:gd name="T24" fmla="*/ 82 w 2259"/>
                <a:gd name="T25" fmla="*/ 2199 h 2264"/>
                <a:gd name="T26" fmla="*/ 120 w 2259"/>
                <a:gd name="T27" fmla="*/ 2228 h 2264"/>
                <a:gd name="T28" fmla="*/ 164 w 2259"/>
                <a:gd name="T29" fmla="*/ 2249 h 2264"/>
                <a:gd name="T30" fmla="*/ 213 w 2259"/>
                <a:gd name="T31" fmla="*/ 2262 h 2264"/>
                <a:gd name="T32" fmla="*/ 264 w 2259"/>
                <a:gd name="T33" fmla="*/ 2264 h 2264"/>
                <a:gd name="T34" fmla="*/ 313 w 2259"/>
                <a:gd name="T35" fmla="*/ 2257 h 2264"/>
                <a:gd name="T36" fmla="*/ 359 w 2259"/>
                <a:gd name="T37" fmla="*/ 2240 h 2264"/>
                <a:gd name="T38" fmla="*/ 400 w 2259"/>
                <a:gd name="T39" fmla="*/ 2215 h 2264"/>
                <a:gd name="T40" fmla="*/ 436 w 2259"/>
                <a:gd name="T41" fmla="*/ 2181 h 2264"/>
                <a:gd name="T42" fmla="*/ 465 w 2259"/>
                <a:gd name="T43" fmla="*/ 2143 h 2264"/>
                <a:gd name="T44" fmla="*/ 487 w 2259"/>
                <a:gd name="T45" fmla="*/ 2099 h 2264"/>
                <a:gd name="T46" fmla="*/ 499 w 2259"/>
                <a:gd name="T47" fmla="*/ 2051 h 2264"/>
                <a:gd name="T48" fmla="*/ 504 w 2259"/>
                <a:gd name="T49" fmla="*/ 1935 h 2264"/>
                <a:gd name="T50" fmla="*/ 549 w 2259"/>
                <a:gd name="T51" fmla="*/ 1636 h 2264"/>
                <a:gd name="T52" fmla="*/ 650 w 2259"/>
                <a:gd name="T53" fmla="*/ 1359 h 2264"/>
                <a:gd name="T54" fmla="*/ 801 w 2259"/>
                <a:gd name="T55" fmla="*/ 1110 h 2264"/>
                <a:gd name="T56" fmla="*/ 995 w 2259"/>
                <a:gd name="T57" fmla="*/ 896 h 2264"/>
                <a:gd name="T58" fmla="*/ 1227 w 2259"/>
                <a:gd name="T59" fmla="*/ 722 h 2264"/>
                <a:gd name="T60" fmla="*/ 1490 w 2259"/>
                <a:gd name="T61" fmla="*/ 595 h 2264"/>
                <a:gd name="T62" fmla="*/ 1779 w 2259"/>
                <a:gd name="T63" fmla="*/ 521 h 2264"/>
                <a:gd name="T64" fmla="*/ 2008 w 2259"/>
                <a:gd name="T65" fmla="*/ 503 h 2264"/>
                <a:gd name="T66" fmla="*/ 2058 w 2259"/>
                <a:gd name="T67" fmla="*/ 498 h 2264"/>
                <a:gd name="T68" fmla="*/ 2105 w 2259"/>
                <a:gd name="T69" fmla="*/ 483 h 2264"/>
                <a:gd name="T70" fmla="*/ 2149 w 2259"/>
                <a:gd name="T71" fmla="*/ 460 h 2264"/>
                <a:gd name="T72" fmla="*/ 2186 w 2259"/>
                <a:gd name="T73" fmla="*/ 430 h 2264"/>
                <a:gd name="T74" fmla="*/ 2216 w 2259"/>
                <a:gd name="T75" fmla="*/ 392 h 2264"/>
                <a:gd name="T76" fmla="*/ 2239 w 2259"/>
                <a:gd name="T77" fmla="*/ 349 h 2264"/>
                <a:gd name="T78" fmla="*/ 2254 w 2259"/>
                <a:gd name="T79" fmla="*/ 302 h 2264"/>
                <a:gd name="T80" fmla="*/ 2259 w 2259"/>
                <a:gd name="T81" fmla="*/ 252 h 2264"/>
                <a:gd name="T82" fmla="*/ 2254 w 2259"/>
                <a:gd name="T83" fmla="*/ 201 h 2264"/>
                <a:gd name="T84" fmla="*/ 2239 w 2259"/>
                <a:gd name="T85" fmla="*/ 154 h 2264"/>
                <a:gd name="T86" fmla="*/ 2216 w 2259"/>
                <a:gd name="T87" fmla="*/ 111 h 2264"/>
                <a:gd name="T88" fmla="*/ 2186 w 2259"/>
                <a:gd name="T89" fmla="*/ 74 h 2264"/>
                <a:gd name="T90" fmla="*/ 2149 w 2259"/>
                <a:gd name="T91" fmla="*/ 42 h 2264"/>
                <a:gd name="T92" fmla="*/ 2105 w 2259"/>
                <a:gd name="T93" fmla="*/ 19 h 2264"/>
                <a:gd name="T94" fmla="*/ 2058 w 2259"/>
                <a:gd name="T95" fmla="*/ 5 h 2264"/>
                <a:gd name="T96" fmla="*/ 2008 w 2259"/>
                <a:gd name="T97" fmla="*/ 0 h 2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59" h="2264">
                  <a:moveTo>
                    <a:pt x="2008" y="0"/>
                  </a:moveTo>
                  <a:lnTo>
                    <a:pt x="2006" y="0"/>
                  </a:lnTo>
                  <a:lnTo>
                    <a:pt x="2005" y="0"/>
                  </a:lnTo>
                  <a:lnTo>
                    <a:pt x="1902" y="3"/>
                  </a:lnTo>
                  <a:lnTo>
                    <a:pt x="1800" y="11"/>
                  </a:lnTo>
                  <a:lnTo>
                    <a:pt x="1700" y="24"/>
                  </a:lnTo>
                  <a:lnTo>
                    <a:pt x="1601" y="42"/>
                  </a:lnTo>
                  <a:lnTo>
                    <a:pt x="1504" y="64"/>
                  </a:lnTo>
                  <a:lnTo>
                    <a:pt x="1409" y="92"/>
                  </a:lnTo>
                  <a:lnTo>
                    <a:pt x="1315" y="124"/>
                  </a:lnTo>
                  <a:lnTo>
                    <a:pt x="1224" y="159"/>
                  </a:lnTo>
                  <a:lnTo>
                    <a:pt x="1136" y="200"/>
                  </a:lnTo>
                  <a:lnTo>
                    <a:pt x="1049" y="244"/>
                  </a:lnTo>
                  <a:lnTo>
                    <a:pt x="965" y="293"/>
                  </a:lnTo>
                  <a:lnTo>
                    <a:pt x="884" y="345"/>
                  </a:lnTo>
                  <a:lnTo>
                    <a:pt x="805" y="401"/>
                  </a:lnTo>
                  <a:lnTo>
                    <a:pt x="729" y="461"/>
                  </a:lnTo>
                  <a:lnTo>
                    <a:pt x="656" y="524"/>
                  </a:lnTo>
                  <a:lnTo>
                    <a:pt x="587" y="590"/>
                  </a:lnTo>
                  <a:lnTo>
                    <a:pt x="521" y="661"/>
                  </a:lnTo>
                  <a:lnTo>
                    <a:pt x="457" y="733"/>
                  </a:lnTo>
                  <a:lnTo>
                    <a:pt x="398" y="810"/>
                  </a:lnTo>
                  <a:lnTo>
                    <a:pt x="342" y="888"/>
                  </a:lnTo>
                  <a:lnTo>
                    <a:pt x="290" y="970"/>
                  </a:lnTo>
                  <a:lnTo>
                    <a:pt x="242" y="1054"/>
                  </a:lnTo>
                  <a:lnTo>
                    <a:pt x="197" y="1141"/>
                  </a:lnTo>
                  <a:lnTo>
                    <a:pt x="157" y="1230"/>
                  </a:lnTo>
                  <a:lnTo>
                    <a:pt x="121" y="1322"/>
                  </a:lnTo>
                  <a:lnTo>
                    <a:pt x="90" y="1415"/>
                  </a:lnTo>
                  <a:lnTo>
                    <a:pt x="63" y="1510"/>
                  </a:lnTo>
                  <a:lnTo>
                    <a:pt x="40" y="1607"/>
                  </a:lnTo>
                  <a:lnTo>
                    <a:pt x="23" y="1707"/>
                  </a:lnTo>
                  <a:lnTo>
                    <a:pt x="10" y="1807"/>
                  </a:lnTo>
                  <a:lnTo>
                    <a:pt x="2" y="1909"/>
                  </a:lnTo>
                  <a:lnTo>
                    <a:pt x="0" y="2012"/>
                  </a:lnTo>
                  <a:lnTo>
                    <a:pt x="0" y="2026"/>
                  </a:lnTo>
                  <a:lnTo>
                    <a:pt x="1" y="2039"/>
                  </a:lnTo>
                  <a:lnTo>
                    <a:pt x="3" y="2051"/>
                  </a:lnTo>
                  <a:lnTo>
                    <a:pt x="5" y="2064"/>
                  </a:lnTo>
                  <a:lnTo>
                    <a:pt x="8" y="2076"/>
                  </a:lnTo>
                  <a:lnTo>
                    <a:pt x="11" y="2088"/>
                  </a:lnTo>
                  <a:lnTo>
                    <a:pt x="15" y="2099"/>
                  </a:lnTo>
                  <a:lnTo>
                    <a:pt x="19" y="2111"/>
                  </a:lnTo>
                  <a:lnTo>
                    <a:pt x="24" y="2122"/>
                  </a:lnTo>
                  <a:lnTo>
                    <a:pt x="30" y="2132"/>
                  </a:lnTo>
                  <a:lnTo>
                    <a:pt x="36" y="2143"/>
                  </a:lnTo>
                  <a:lnTo>
                    <a:pt x="42" y="2153"/>
                  </a:lnTo>
                  <a:lnTo>
                    <a:pt x="49" y="2163"/>
                  </a:lnTo>
                  <a:lnTo>
                    <a:pt x="57" y="2172"/>
                  </a:lnTo>
                  <a:lnTo>
                    <a:pt x="65" y="2181"/>
                  </a:lnTo>
                  <a:lnTo>
                    <a:pt x="73" y="2191"/>
                  </a:lnTo>
                  <a:lnTo>
                    <a:pt x="82" y="2199"/>
                  </a:lnTo>
                  <a:lnTo>
                    <a:pt x="91" y="2207"/>
                  </a:lnTo>
                  <a:lnTo>
                    <a:pt x="100" y="2215"/>
                  </a:lnTo>
                  <a:lnTo>
                    <a:pt x="110" y="2222"/>
                  </a:lnTo>
                  <a:lnTo>
                    <a:pt x="120" y="2228"/>
                  </a:lnTo>
                  <a:lnTo>
                    <a:pt x="131" y="2234"/>
                  </a:lnTo>
                  <a:lnTo>
                    <a:pt x="142" y="2240"/>
                  </a:lnTo>
                  <a:lnTo>
                    <a:pt x="153" y="2245"/>
                  </a:lnTo>
                  <a:lnTo>
                    <a:pt x="164" y="2249"/>
                  </a:lnTo>
                  <a:lnTo>
                    <a:pt x="176" y="2253"/>
                  </a:lnTo>
                  <a:lnTo>
                    <a:pt x="187" y="2257"/>
                  </a:lnTo>
                  <a:lnTo>
                    <a:pt x="200" y="2259"/>
                  </a:lnTo>
                  <a:lnTo>
                    <a:pt x="213" y="2262"/>
                  </a:lnTo>
                  <a:lnTo>
                    <a:pt x="225" y="2263"/>
                  </a:lnTo>
                  <a:lnTo>
                    <a:pt x="238" y="2264"/>
                  </a:lnTo>
                  <a:lnTo>
                    <a:pt x="251" y="2264"/>
                  </a:lnTo>
                  <a:lnTo>
                    <a:pt x="264" y="2264"/>
                  </a:lnTo>
                  <a:lnTo>
                    <a:pt x="277" y="2263"/>
                  </a:lnTo>
                  <a:lnTo>
                    <a:pt x="289" y="2262"/>
                  </a:lnTo>
                  <a:lnTo>
                    <a:pt x="301" y="2259"/>
                  </a:lnTo>
                  <a:lnTo>
                    <a:pt x="313" y="2257"/>
                  </a:lnTo>
                  <a:lnTo>
                    <a:pt x="325" y="2253"/>
                  </a:lnTo>
                  <a:lnTo>
                    <a:pt x="337" y="2249"/>
                  </a:lnTo>
                  <a:lnTo>
                    <a:pt x="348" y="2245"/>
                  </a:lnTo>
                  <a:lnTo>
                    <a:pt x="359" y="2240"/>
                  </a:lnTo>
                  <a:lnTo>
                    <a:pt x="370" y="2234"/>
                  </a:lnTo>
                  <a:lnTo>
                    <a:pt x="380" y="2228"/>
                  </a:lnTo>
                  <a:lnTo>
                    <a:pt x="391" y="2222"/>
                  </a:lnTo>
                  <a:lnTo>
                    <a:pt x="400" y="2215"/>
                  </a:lnTo>
                  <a:lnTo>
                    <a:pt x="410" y="2207"/>
                  </a:lnTo>
                  <a:lnTo>
                    <a:pt x="419" y="2199"/>
                  </a:lnTo>
                  <a:lnTo>
                    <a:pt x="428" y="2191"/>
                  </a:lnTo>
                  <a:lnTo>
                    <a:pt x="436" y="2181"/>
                  </a:lnTo>
                  <a:lnTo>
                    <a:pt x="444" y="2172"/>
                  </a:lnTo>
                  <a:lnTo>
                    <a:pt x="451" y="2163"/>
                  </a:lnTo>
                  <a:lnTo>
                    <a:pt x="458" y="2153"/>
                  </a:lnTo>
                  <a:lnTo>
                    <a:pt x="465" y="2143"/>
                  </a:lnTo>
                  <a:lnTo>
                    <a:pt x="471" y="2132"/>
                  </a:lnTo>
                  <a:lnTo>
                    <a:pt x="476" y="2122"/>
                  </a:lnTo>
                  <a:lnTo>
                    <a:pt x="481" y="2111"/>
                  </a:lnTo>
                  <a:lnTo>
                    <a:pt x="487" y="2099"/>
                  </a:lnTo>
                  <a:lnTo>
                    <a:pt x="491" y="2088"/>
                  </a:lnTo>
                  <a:lnTo>
                    <a:pt x="494" y="2076"/>
                  </a:lnTo>
                  <a:lnTo>
                    <a:pt x="497" y="2064"/>
                  </a:lnTo>
                  <a:lnTo>
                    <a:pt x="499" y="2051"/>
                  </a:lnTo>
                  <a:lnTo>
                    <a:pt x="501" y="2039"/>
                  </a:lnTo>
                  <a:lnTo>
                    <a:pt x="501" y="2026"/>
                  </a:lnTo>
                  <a:lnTo>
                    <a:pt x="502" y="2012"/>
                  </a:lnTo>
                  <a:lnTo>
                    <a:pt x="504" y="1935"/>
                  </a:lnTo>
                  <a:lnTo>
                    <a:pt x="510" y="1859"/>
                  </a:lnTo>
                  <a:lnTo>
                    <a:pt x="519" y="1783"/>
                  </a:lnTo>
                  <a:lnTo>
                    <a:pt x="532" y="1709"/>
                  </a:lnTo>
                  <a:lnTo>
                    <a:pt x="549" y="1636"/>
                  </a:lnTo>
                  <a:lnTo>
                    <a:pt x="569" y="1564"/>
                  </a:lnTo>
                  <a:lnTo>
                    <a:pt x="593" y="1495"/>
                  </a:lnTo>
                  <a:lnTo>
                    <a:pt x="620" y="1426"/>
                  </a:lnTo>
                  <a:lnTo>
                    <a:pt x="650" y="1359"/>
                  </a:lnTo>
                  <a:lnTo>
                    <a:pt x="683" y="1294"/>
                  </a:lnTo>
                  <a:lnTo>
                    <a:pt x="719" y="1231"/>
                  </a:lnTo>
                  <a:lnTo>
                    <a:pt x="759" y="1170"/>
                  </a:lnTo>
                  <a:lnTo>
                    <a:pt x="801" y="1110"/>
                  </a:lnTo>
                  <a:lnTo>
                    <a:pt x="846" y="1053"/>
                  </a:lnTo>
                  <a:lnTo>
                    <a:pt x="893" y="999"/>
                  </a:lnTo>
                  <a:lnTo>
                    <a:pt x="943" y="946"/>
                  </a:lnTo>
                  <a:lnTo>
                    <a:pt x="995" y="896"/>
                  </a:lnTo>
                  <a:lnTo>
                    <a:pt x="1051" y="849"/>
                  </a:lnTo>
                  <a:lnTo>
                    <a:pt x="1107" y="804"/>
                  </a:lnTo>
                  <a:lnTo>
                    <a:pt x="1166" y="761"/>
                  </a:lnTo>
                  <a:lnTo>
                    <a:pt x="1227" y="722"/>
                  </a:lnTo>
                  <a:lnTo>
                    <a:pt x="1290" y="686"/>
                  </a:lnTo>
                  <a:lnTo>
                    <a:pt x="1356" y="653"/>
                  </a:lnTo>
                  <a:lnTo>
                    <a:pt x="1422" y="623"/>
                  </a:lnTo>
                  <a:lnTo>
                    <a:pt x="1490" y="595"/>
                  </a:lnTo>
                  <a:lnTo>
                    <a:pt x="1560" y="571"/>
                  </a:lnTo>
                  <a:lnTo>
                    <a:pt x="1632" y="551"/>
                  </a:lnTo>
                  <a:lnTo>
                    <a:pt x="1705" y="534"/>
                  </a:lnTo>
                  <a:lnTo>
                    <a:pt x="1779" y="521"/>
                  </a:lnTo>
                  <a:lnTo>
                    <a:pt x="1854" y="511"/>
                  </a:lnTo>
                  <a:lnTo>
                    <a:pt x="1931" y="505"/>
                  </a:lnTo>
                  <a:lnTo>
                    <a:pt x="2008" y="503"/>
                  </a:lnTo>
                  <a:lnTo>
                    <a:pt x="2008" y="503"/>
                  </a:lnTo>
                  <a:lnTo>
                    <a:pt x="2021" y="503"/>
                  </a:lnTo>
                  <a:lnTo>
                    <a:pt x="2034" y="502"/>
                  </a:lnTo>
                  <a:lnTo>
                    <a:pt x="2046" y="500"/>
                  </a:lnTo>
                  <a:lnTo>
                    <a:pt x="2058" y="498"/>
                  </a:lnTo>
                  <a:lnTo>
                    <a:pt x="2070" y="495"/>
                  </a:lnTo>
                  <a:lnTo>
                    <a:pt x="2082" y="492"/>
                  </a:lnTo>
                  <a:lnTo>
                    <a:pt x="2094" y="488"/>
                  </a:lnTo>
                  <a:lnTo>
                    <a:pt x="2105" y="483"/>
                  </a:lnTo>
                  <a:lnTo>
                    <a:pt x="2116" y="478"/>
                  </a:lnTo>
                  <a:lnTo>
                    <a:pt x="2127" y="473"/>
                  </a:lnTo>
                  <a:lnTo>
                    <a:pt x="2137" y="467"/>
                  </a:lnTo>
                  <a:lnTo>
                    <a:pt x="2149" y="460"/>
                  </a:lnTo>
                  <a:lnTo>
                    <a:pt x="2158" y="453"/>
                  </a:lnTo>
                  <a:lnTo>
                    <a:pt x="2168" y="446"/>
                  </a:lnTo>
                  <a:lnTo>
                    <a:pt x="2177" y="438"/>
                  </a:lnTo>
                  <a:lnTo>
                    <a:pt x="2186" y="430"/>
                  </a:lnTo>
                  <a:lnTo>
                    <a:pt x="2194" y="420"/>
                  </a:lnTo>
                  <a:lnTo>
                    <a:pt x="2202" y="411"/>
                  </a:lnTo>
                  <a:lnTo>
                    <a:pt x="2209" y="401"/>
                  </a:lnTo>
                  <a:lnTo>
                    <a:pt x="2216" y="392"/>
                  </a:lnTo>
                  <a:lnTo>
                    <a:pt x="2223" y="381"/>
                  </a:lnTo>
                  <a:lnTo>
                    <a:pt x="2229" y="371"/>
                  </a:lnTo>
                  <a:lnTo>
                    <a:pt x="2234" y="360"/>
                  </a:lnTo>
                  <a:lnTo>
                    <a:pt x="2239" y="349"/>
                  </a:lnTo>
                  <a:lnTo>
                    <a:pt x="2244" y="338"/>
                  </a:lnTo>
                  <a:lnTo>
                    <a:pt x="2248" y="326"/>
                  </a:lnTo>
                  <a:lnTo>
                    <a:pt x="2251" y="314"/>
                  </a:lnTo>
                  <a:lnTo>
                    <a:pt x="2254" y="302"/>
                  </a:lnTo>
                  <a:lnTo>
                    <a:pt x="2256" y="290"/>
                  </a:lnTo>
                  <a:lnTo>
                    <a:pt x="2258" y="278"/>
                  </a:lnTo>
                  <a:lnTo>
                    <a:pt x="2259" y="265"/>
                  </a:lnTo>
                  <a:lnTo>
                    <a:pt x="2259" y="252"/>
                  </a:lnTo>
                  <a:lnTo>
                    <a:pt x="2259" y="238"/>
                  </a:lnTo>
                  <a:lnTo>
                    <a:pt x="2258" y="226"/>
                  </a:lnTo>
                  <a:lnTo>
                    <a:pt x="2256" y="213"/>
                  </a:lnTo>
                  <a:lnTo>
                    <a:pt x="2254" y="201"/>
                  </a:lnTo>
                  <a:lnTo>
                    <a:pt x="2251" y="189"/>
                  </a:lnTo>
                  <a:lnTo>
                    <a:pt x="2248" y="177"/>
                  </a:lnTo>
                  <a:lnTo>
                    <a:pt x="2244" y="165"/>
                  </a:lnTo>
                  <a:lnTo>
                    <a:pt x="2239" y="154"/>
                  </a:lnTo>
                  <a:lnTo>
                    <a:pt x="2234" y="143"/>
                  </a:lnTo>
                  <a:lnTo>
                    <a:pt x="2229" y="132"/>
                  </a:lnTo>
                  <a:lnTo>
                    <a:pt x="2223" y="121"/>
                  </a:lnTo>
                  <a:lnTo>
                    <a:pt x="2216" y="111"/>
                  </a:lnTo>
                  <a:lnTo>
                    <a:pt x="2209" y="101"/>
                  </a:lnTo>
                  <a:lnTo>
                    <a:pt x="2202" y="92"/>
                  </a:lnTo>
                  <a:lnTo>
                    <a:pt x="2194" y="83"/>
                  </a:lnTo>
                  <a:lnTo>
                    <a:pt x="2186" y="74"/>
                  </a:lnTo>
                  <a:lnTo>
                    <a:pt x="2177" y="65"/>
                  </a:lnTo>
                  <a:lnTo>
                    <a:pt x="2168" y="57"/>
                  </a:lnTo>
                  <a:lnTo>
                    <a:pt x="2158" y="49"/>
                  </a:lnTo>
                  <a:lnTo>
                    <a:pt x="2149" y="42"/>
                  </a:lnTo>
                  <a:lnTo>
                    <a:pt x="2137" y="36"/>
                  </a:lnTo>
                  <a:lnTo>
                    <a:pt x="2127" y="30"/>
                  </a:lnTo>
                  <a:lnTo>
                    <a:pt x="2116" y="24"/>
                  </a:lnTo>
                  <a:lnTo>
                    <a:pt x="2105" y="19"/>
                  </a:lnTo>
                  <a:lnTo>
                    <a:pt x="2094" y="15"/>
                  </a:lnTo>
                  <a:lnTo>
                    <a:pt x="2082" y="11"/>
                  </a:lnTo>
                  <a:lnTo>
                    <a:pt x="2070" y="8"/>
                  </a:lnTo>
                  <a:lnTo>
                    <a:pt x="2058" y="5"/>
                  </a:lnTo>
                  <a:lnTo>
                    <a:pt x="2046" y="3"/>
                  </a:lnTo>
                  <a:lnTo>
                    <a:pt x="2034" y="1"/>
                  </a:lnTo>
                  <a:lnTo>
                    <a:pt x="2021" y="0"/>
                  </a:lnTo>
                  <a:lnTo>
                    <a:pt x="20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53" name="iṧḻiḑe">
              <a:extLst>
                <a:ext uri="{FF2B5EF4-FFF2-40B4-BE49-F238E27FC236}">
                  <a16:creationId xmlns:a16="http://schemas.microsoft.com/office/drawing/2014/main" id="{1B461432-F367-4F5F-86B7-086E1FD3D82C}"/>
                </a:ext>
              </a:extLst>
            </p:cNvPr>
            <p:cNvSpPr/>
            <p:nvPr/>
          </p:nvSpPr>
          <p:spPr bwMode="auto">
            <a:xfrm>
              <a:off x="3253626" y="408810"/>
              <a:ext cx="267895" cy="267895"/>
            </a:xfrm>
            <a:custGeom>
              <a:avLst/>
              <a:gdLst>
                <a:gd name="T0" fmla="*/ 2911 w 7036"/>
                <a:gd name="T1" fmla="*/ 6484 h 7049"/>
                <a:gd name="T2" fmla="*/ 2212 w 7036"/>
                <a:gd name="T3" fmla="*/ 6248 h 7049"/>
                <a:gd name="T4" fmla="*/ 1601 w 7036"/>
                <a:gd name="T5" fmla="*/ 5856 h 7049"/>
                <a:gd name="T6" fmla="*/ 1102 w 7036"/>
                <a:gd name="T7" fmla="*/ 5332 h 7049"/>
                <a:gd name="T8" fmla="*/ 740 w 7036"/>
                <a:gd name="T9" fmla="*/ 4699 h 7049"/>
                <a:gd name="T10" fmla="*/ 538 w 7036"/>
                <a:gd name="T11" fmla="*/ 3984 h 7049"/>
                <a:gd name="T12" fmla="*/ 518 w 7036"/>
                <a:gd name="T13" fmla="*/ 3216 h 7049"/>
                <a:gd name="T14" fmla="*/ 686 w 7036"/>
                <a:gd name="T15" fmla="*/ 2487 h 7049"/>
                <a:gd name="T16" fmla="*/ 1019 w 7036"/>
                <a:gd name="T17" fmla="*/ 1836 h 7049"/>
                <a:gd name="T18" fmla="*/ 1492 w 7036"/>
                <a:gd name="T19" fmla="*/ 1289 h 7049"/>
                <a:gd name="T20" fmla="*/ 2082 w 7036"/>
                <a:gd name="T21" fmla="*/ 868 h 7049"/>
                <a:gd name="T22" fmla="*/ 2765 w 7036"/>
                <a:gd name="T23" fmla="*/ 598 h 7049"/>
                <a:gd name="T24" fmla="*/ 3518 w 7036"/>
                <a:gd name="T25" fmla="*/ 503 h 7049"/>
                <a:gd name="T26" fmla="*/ 4271 w 7036"/>
                <a:gd name="T27" fmla="*/ 598 h 7049"/>
                <a:gd name="T28" fmla="*/ 4954 w 7036"/>
                <a:gd name="T29" fmla="*/ 868 h 7049"/>
                <a:gd name="T30" fmla="*/ 5544 w 7036"/>
                <a:gd name="T31" fmla="*/ 1289 h 7049"/>
                <a:gd name="T32" fmla="*/ 6018 w 7036"/>
                <a:gd name="T33" fmla="*/ 1836 h 7049"/>
                <a:gd name="T34" fmla="*/ 6350 w 7036"/>
                <a:gd name="T35" fmla="*/ 2487 h 7049"/>
                <a:gd name="T36" fmla="*/ 6518 w 7036"/>
                <a:gd name="T37" fmla="*/ 3216 h 7049"/>
                <a:gd name="T38" fmla="*/ 6499 w 7036"/>
                <a:gd name="T39" fmla="*/ 3984 h 7049"/>
                <a:gd name="T40" fmla="*/ 6296 w 7036"/>
                <a:gd name="T41" fmla="*/ 4699 h 7049"/>
                <a:gd name="T42" fmla="*/ 5934 w 7036"/>
                <a:gd name="T43" fmla="*/ 5332 h 7049"/>
                <a:gd name="T44" fmla="*/ 5435 w 7036"/>
                <a:gd name="T45" fmla="*/ 5856 h 7049"/>
                <a:gd name="T46" fmla="*/ 4825 w 7036"/>
                <a:gd name="T47" fmla="*/ 6248 h 7049"/>
                <a:gd name="T48" fmla="*/ 4125 w 7036"/>
                <a:gd name="T49" fmla="*/ 6484 h 7049"/>
                <a:gd name="T50" fmla="*/ 3518 w 7036"/>
                <a:gd name="T51" fmla="*/ 0 h 7049"/>
                <a:gd name="T52" fmla="*/ 2639 w 7036"/>
                <a:gd name="T53" fmla="*/ 110 h 7049"/>
                <a:gd name="T54" fmla="*/ 1842 w 7036"/>
                <a:gd name="T55" fmla="*/ 425 h 7049"/>
                <a:gd name="T56" fmla="*/ 1153 w 7036"/>
                <a:gd name="T57" fmla="*/ 916 h 7049"/>
                <a:gd name="T58" fmla="*/ 601 w 7036"/>
                <a:gd name="T59" fmla="*/ 1553 h 7049"/>
                <a:gd name="T60" fmla="*/ 214 w 7036"/>
                <a:gd name="T61" fmla="*/ 2313 h 7049"/>
                <a:gd name="T62" fmla="*/ 18 w 7036"/>
                <a:gd name="T63" fmla="*/ 3164 h 7049"/>
                <a:gd name="T64" fmla="*/ 41 w 7036"/>
                <a:gd name="T65" fmla="*/ 4062 h 7049"/>
                <a:gd name="T66" fmla="*/ 277 w 7036"/>
                <a:gd name="T67" fmla="*/ 4896 h 7049"/>
                <a:gd name="T68" fmla="*/ 700 w 7036"/>
                <a:gd name="T69" fmla="*/ 5633 h 7049"/>
                <a:gd name="T70" fmla="*/ 1281 w 7036"/>
                <a:gd name="T71" fmla="*/ 6245 h 7049"/>
                <a:gd name="T72" fmla="*/ 1993 w 7036"/>
                <a:gd name="T73" fmla="*/ 6703 h 7049"/>
                <a:gd name="T74" fmla="*/ 2809 w 7036"/>
                <a:gd name="T75" fmla="*/ 6978 h 7049"/>
                <a:gd name="T76" fmla="*/ 3700 w 7036"/>
                <a:gd name="T77" fmla="*/ 7045 h 7049"/>
                <a:gd name="T78" fmla="*/ 4565 w 7036"/>
                <a:gd name="T79" fmla="*/ 6892 h 7049"/>
                <a:gd name="T80" fmla="*/ 5343 w 7036"/>
                <a:gd name="T81" fmla="*/ 6540 h 7049"/>
                <a:gd name="T82" fmla="*/ 6006 w 7036"/>
                <a:gd name="T83" fmla="*/ 6018 h 7049"/>
                <a:gd name="T84" fmla="*/ 6527 w 7036"/>
                <a:gd name="T85" fmla="*/ 5353 h 7049"/>
                <a:gd name="T86" fmla="*/ 6878 w 7036"/>
                <a:gd name="T87" fmla="*/ 4572 h 7049"/>
                <a:gd name="T88" fmla="*/ 7032 w 7036"/>
                <a:gd name="T89" fmla="*/ 3706 h 7049"/>
                <a:gd name="T90" fmla="*/ 6964 w 7036"/>
                <a:gd name="T91" fmla="*/ 2814 h 7049"/>
                <a:gd name="T92" fmla="*/ 6689 w 7036"/>
                <a:gd name="T93" fmla="*/ 1997 h 7049"/>
                <a:gd name="T94" fmla="*/ 6233 w 7036"/>
                <a:gd name="T95" fmla="*/ 1283 h 7049"/>
                <a:gd name="T96" fmla="*/ 5623 w 7036"/>
                <a:gd name="T97" fmla="*/ 700 h 7049"/>
                <a:gd name="T98" fmla="*/ 4888 w 7036"/>
                <a:gd name="T99" fmla="*/ 277 h 7049"/>
                <a:gd name="T100" fmla="*/ 4054 w 7036"/>
                <a:gd name="T101" fmla="*/ 40 h 70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036" h="7049">
                  <a:moveTo>
                    <a:pt x="3518" y="6547"/>
                  </a:moveTo>
                  <a:lnTo>
                    <a:pt x="3363" y="6543"/>
                  </a:lnTo>
                  <a:lnTo>
                    <a:pt x="3210" y="6531"/>
                  </a:lnTo>
                  <a:lnTo>
                    <a:pt x="3059" y="6511"/>
                  </a:lnTo>
                  <a:lnTo>
                    <a:pt x="2911" y="6484"/>
                  </a:lnTo>
                  <a:lnTo>
                    <a:pt x="2765" y="6451"/>
                  </a:lnTo>
                  <a:lnTo>
                    <a:pt x="2623" y="6410"/>
                  </a:lnTo>
                  <a:lnTo>
                    <a:pt x="2482" y="6363"/>
                  </a:lnTo>
                  <a:lnTo>
                    <a:pt x="2346" y="6308"/>
                  </a:lnTo>
                  <a:lnTo>
                    <a:pt x="2212" y="6248"/>
                  </a:lnTo>
                  <a:lnTo>
                    <a:pt x="2082" y="6181"/>
                  </a:lnTo>
                  <a:lnTo>
                    <a:pt x="1955" y="6108"/>
                  </a:lnTo>
                  <a:lnTo>
                    <a:pt x="1834" y="6030"/>
                  </a:lnTo>
                  <a:lnTo>
                    <a:pt x="1715" y="5945"/>
                  </a:lnTo>
                  <a:lnTo>
                    <a:pt x="1601" y="5856"/>
                  </a:lnTo>
                  <a:lnTo>
                    <a:pt x="1492" y="5760"/>
                  </a:lnTo>
                  <a:lnTo>
                    <a:pt x="1387" y="5661"/>
                  </a:lnTo>
                  <a:lnTo>
                    <a:pt x="1287" y="5555"/>
                  </a:lnTo>
                  <a:lnTo>
                    <a:pt x="1193" y="5445"/>
                  </a:lnTo>
                  <a:lnTo>
                    <a:pt x="1102" y="5332"/>
                  </a:lnTo>
                  <a:lnTo>
                    <a:pt x="1019" y="5213"/>
                  </a:lnTo>
                  <a:lnTo>
                    <a:pt x="940" y="5090"/>
                  </a:lnTo>
                  <a:lnTo>
                    <a:pt x="867" y="4964"/>
                  </a:lnTo>
                  <a:lnTo>
                    <a:pt x="801" y="4834"/>
                  </a:lnTo>
                  <a:lnTo>
                    <a:pt x="740" y="4699"/>
                  </a:lnTo>
                  <a:lnTo>
                    <a:pt x="686" y="4562"/>
                  </a:lnTo>
                  <a:lnTo>
                    <a:pt x="639" y="4423"/>
                  </a:lnTo>
                  <a:lnTo>
                    <a:pt x="598" y="4279"/>
                  </a:lnTo>
                  <a:lnTo>
                    <a:pt x="564" y="4133"/>
                  </a:lnTo>
                  <a:lnTo>
                    <a:pt x="538" y="3984"/>
                  </a:lnTo>
                  <a:lnTo>
                    <a:pt x="518" y="3833"/>
                  </a:lnTo>
                  <a:lnTo>
                    <a:pt x="507" y="3680"/>
                  </a:lnTo>
                  <a:lnTo>
                    <a:pt x="503" y="3525"/>
                  </a:lnTo>
                  <a:lnTo>
                    <a:pt x="507" y="3370"/>
                  </a:lnTo>
                  <a:lnTo>
                    <a:pt x="518" y="3216"/>
                  </a:lnTo>
                  <a:lnTo>
                    <a:pt x="538" y="3065"/>
                  </a:lnTo>
                  <a:lnTo>
                    <a:pt x="564" y="2916"/>
                  </a:lnTo>
                  <a:lnTo>
                    <a:pt x="598" y="2770"/>
                  </a:lnTo>
                  <a:lnTo>
                    <a:pt x="639" y="2627"/>
                  </a:lnTo>
                  <a:lnTo>
                    <a:pt x="686" y="2487"/>
                  </a:lnTo>
                  <a:lnTo>
                    <a:pt x="740" y="2350"/>
                  </a:lnTo>
                  <a:lnTo>
                    <a:pt x="801" y="2216"/>
                  </a:lnTo>
                  <a:lnTo>
                    <a:pt x="867" y="2085"/>
                  </a:lnTo>
                  <a:lnTo>
                    <a:pt x="940" y="1959"/>
                  </a:lnTo>
                  <a:lnTo>
                    <a:pt x="1019" y="1836"/>
                  </a:lnTo>
                  <a:lnTo>
                    <a:pt x="1102" y="1718"/>
                  </a:lnTo>
                  <a:lnTo>
                    <a:pt x="1193" y="1604"/>
                  </a:lnTo>
                  <a:lnTo>
                    <a:pt x="1287" y="1494"/>
                  </a:lnTo>
                  <a:lnTo>
                    <a:pt x="1387" y="1389"/>
                  </a:lnTo>
                  <a:lnTo>
                    <a:pt x="1492" y="1289"/>
                  </a:lnTo>
                  <a:lnTo>
                    <a:pt x="1601" y="1194"/>
                  </a:lnTo>
                  <a:lnTo>
                    <a:pt x="1715" y="1104"/>
                  </a:lnTo>
                  <a:lnTo>
                    <a:pt x="1834" y="1020"/>
                  </a:lnTo>
                  <a:lnTo>
                    <a:pt x="1955" y="941"/>
                  </a:lnTo>
                  <a:lnTo>
                    <a:pt x="2082" y="868"/>
                  </a:lnTo>
                  <a:lnTo>
                    <a:pt x="2212" y="801"/>
                  </a:lnTo>
                  <a:lnTo>
                    <a:pt x="2346" y="741"/>
                  </a:lnTo>
                  <a:lnTo>
                    <a:pt x="2482" y="686"/>
                  </a:lnTo>
                  <a:lnTo>
                    <a:pt x="2623" y="639"/>
                  </a:lnTo>
                  <a:lnTo>
                    <a:pt x="2765" y="598"/>
                  </a:lnTo>
                  <a:lnTo>
                    <a:pt x="2911" y="565"/>
                  </a:lnTo>
                  <a:lnTo>
                    <a:pt x="3059" y="538"/>
                  </a:lnTo>
                  <a:lnTo>
                    <a:pt x="3210" y="518"/>
                  </a:lnTo>
                  <a:lnTo>
                    <a:pt x="3363" y="507"/>
                  </a:lnTo>
                  <a:lnTo>
                    <a:pt x="3518" y="503"/>
                  </a:lnTo>
                  <a:lnTo>
                    <a:pt x="3674" y="507"/>
                  </a:lnTo>
                  <a:lnTo>
                    <a:pt x="3826" y="518"/>
                  </a:lnTo>
                  <a:lnTo>
                    <a:pt x="3977" y="538"/>
                  </a:lnTo>
                  <a:lnTo>
                    <a:pt x="4125" y="565"/>
                  </a:lnTo>
                  <a:lnTo>
                    <a:pt x="4271" y="598"/>
                  </a:lnTo>
                  <a:lnTo>
                    <a:pt x="4414" y="639"/>
                  </a:lnTo>
                  <a:lnTo>
                    <a:pt x="4554" y="686"/>
                  </a:lnTo>
                  <a:lnTo>
                    <a:pt x="4691" y="741"/>
                  </a:lnTo>
                  <a:lnTo>
                    <a:pt x="4825" y="801"/>
                  </a:lnTo>
                  <a:lnTo>
                    <a:pt x="4954" y="868"/>
                  </a:lnTo>
                  <a:lnTo>
                    <a:pt x="5081" y="941"/>
                  </a:lnTo>
                  <a:lnTo>
                    <a:pt x="5203" y="1020"/>
                  </a:lnTo>
                  <a:lnTo>
                    <a:pt x="5321" y="1104"/>
                  </a:lnTo>
                  <a:lnTo>
                    <a:pt x="5435" y="1194"/>
                  </a:lnTo>
                  <a:lnTo>
                    <a:pt x="5544" y="1289"/>
                  </a:lnTo>
                  <a:lnTo>
                    <a:pt x="5650" y="1389"/>
                  </a:lnTo>
                  <a:lnTo>
                    <a:pt x="5749" y="1494"/>
                  </a:lnTo>
                  <a:lnTo>
                    <a:pt x="5844" y="1604"/>
                  </a:lnTo>
                  <a:lnTo>
                    <a:pt x="5934" y="1718"/>
                  </a:lnTo>
                  <a:lnTo>
                    <a:pt x="6018" y="1836"/>
                  </a:lnTo>
                  <a:lnTo>
                    <a:pt x="6096" y="1959"/>
                  </a:lnTo>
                  <a:lnTo>
                    <a:pt x="6169" y="2085"/>
                  </a:lnTo>
                  <a:lnTo>
                    <a:pt x="6236" y="2216"/>
                  </a:lnTo>
                  <a:lnTo>
                    <a:pt x="6296" y="2350"/>
                  </a:lnTo>
                  <a:lnTo>
                    <a:pt x="6350" y="2487"/>
                  </a:lnTo>
                  <a:lnTo>
                    <a:pt x="6397" y="2627"/>
                  </a:lnTo>
                  <a:lnTo>
                    <a:pt x="6439" y="2770"/>
                  </a:lnTo>
                  <a:lnTo>
                    <a:pt x="6472" y="2916"/>
                  </a:lnTo>
                  <a:lnTo>
                    <a:pt x="6499" y="3065"/>
                  </a:lnTo>
                  <a:lnTo>
                    <a:pt x="6518" y="3216"/>
                  </a:lnTo>
                  <a:lnTo>
                    <a:pt x="6530" y="3370"/>
                  </a:lnTo>
                  <a:lnTo>
                    <a:pt x="6533" y="3525"/>
                  </a:lnTo>
                  <a:lnTo>
                    <a:pt x="6530" y="3680"/>
                  </a:lnTo>
                  <a:lnTo>
                    <a:pt x="6518" y="3833"/>
                  </a:lnTo>
                  <a:lnTo>
                    <a:pt x="6499" y="3984"/>
                  </a:lnTo>
                  <a:lnTo>
                    <a:pt x="6472" y="4133"/>
                  </a:lnTo>
                  <a:lnTo>
                    <a:pt x="6439" y="4279"/>
                  </a:lnTo>
                  <a:lnTo>
                    <a:pt x="6397" y="4423"/>
                  </a:lnTo>
                  <a:lnTo>
                    <a:pt x="6350" y="4562"/>
                  </a:lnTo>
                  <a:lnTo>
                    <a:pt x="6296" y="4699"/>
                  </a:lnTo>
                  <a:lnTo>
                    <a:pt x="6236" y="4834"/>
                  </a:lnTo>
                  <a:lnTo>
                    <a:pt x="6169" y="4964"/>
                  </a:lnTo>
                  <a:lnTo>
                    <a:pt x="6096" y="5090"/>
                  </a:lnTo>
                  <a:lnTo>
                    <a:pt x="6018" y="5213"/>
                  </a:lnTo>
                  <a:lnTo>
                    <a:pt x="5934" y="5332"/>
                  </a:lnTo>
                  <a:lnTo>
                    <a:pt x="5844" y="5445"/>
                  </a:lnTo>
                  <a:lnTo>
                    <a:pt x="5749" y="5555"/>
                  </a:lnTo>
                  <a:lnTo>
                    <a:pt x="5650" y="5661"/>
                  </a:lnTo>
                  <a:lnTo>
                    <a:pt x="5544" y="5760"/>
                  </a:lnTo>
                  <a:lnTo>
                    <a:pt x="5435" y="5856"/>
                  </a:lnTo>
                  <a:lnTo>
                    <a:pt x="5321" y="5945"/>
                  </a:lnTo>
                  <a:lnTo>
                    <a:pt x="5203" y="6030"/>
                  </a:lnTo>
                  <a:lnTo>
                    <a:pt x="5081" y="6108"/>
                  </a:lnTo>
                  <a:lnTo>
                    <a:pt x="4954" y="6181"/>
                  </a:lnTo>
                  <a:lnTo>
                    <a:pt x="4825" y="6248"/>
                  </a:lnTo>
                  <a:lnTo>
                    <a:pt x="4691" y="6308"/>
                  </a:lnTo>
                  <a:lnTo>
                    <a:pt x="4554" y="6363"/>
                  </a:lnTo>
                  <a:lnTo>
                    <a:pt x="4414" y="6410"/>
                  </a:lnTo>
                  <a:lnTo>
                    <a:pt x="4271" y="6451"/>
                  </a:lnTo>
                  <a:lnTo>
                    <a:pt x="4125" y="6484"/>
                  </a:lnTo>
                  <a:lnTo>
                    <a:pt x="3977" y="6511"/>
                  </a:lnTo>
                  <a:lnTo>
                    <a:pt x="3826" y="6531"/>
                  </a:lnTo>
                  <a:lnTo>
                    <a:pt x="3674" y="6543"/>
                  </a:lnTo>
                  <a:lnTo>
                    <a:pt x="3518" y="6547"/>
                  </a:lnTo>
                  <a:close/>
                  <a:moveTo>
                    <a:pt x="3518" y="0"/>
                  </a:moveTo>
                  <a:lnTo>
                    <a:pt x="3337" y="5"/>
                  </a:lnTo>
                  <a:lnTo>
                    <a:pt x="3159" y="18"/>
                  </a:lnTo>
                  <a:lnTo>
                    <a:pt x="2982" y="40"/>
                  </a:lnTo>
                  <a:lnTo>
                    <a:pt x="2809" y="71"/>
                  </a:lnTo>
                  <a:lnTo>
                    <a:pt x="2639" y="110"/>
                  </a:lnTo>
                  <a:lnTo>
                    <a:pt x="2472" y="158"/>
                  </a:lnTo>
                  <a:lnTo>
                    <a:pt x="2309" y="214"/>
                  </a:lnTo>
                  <a:lnTo>
                    <a:pt x="2149" y="277"/>
                  </a:lnTo>
                  <a:lnTo>
                    <a:pt x="1993" y="348"/>
                  </a:lnTo>
                  <a:lnTo>
                    <a:pt x="1842" y="425"/>
                  </a:lnTo>
                  <a:lnTo>
                    <a:pt x="1694" y="510"/>
                  </a:lnTo>
                  <a:lnTo>
                    <a:pt x="1552" y="602"/>
                  </a:lnTo>
                  <a:lnTo>
                    <a:pt x="1413" y="700"/>
                  </a:lnTo>
                  <a:lnTo>
                    <a:pt x="1281" y="804"/>
                  </a:lnTo>
                  <a:lnTo>
                    <a:pt x="1153" y="916"/>
                  </a:lnTo>
                  <a:lnTo>
                    <a:pt x="1031" y="1032"/>
                  </a:lnTo>
                  <a:lnTo>
                    <a:pt x="915" y="1154"/>
                  </a:lnTo>
                  <a:lnTo>
                    <a:pt x="804" y="1283"/>
                  </a:lnTo>
                  <a:lnTo>
                    <a:pt x="700" y="1416"/>
                  </a:lnTo>
                  <a:lnTo>
                    <a:pt x="601" y="1553"/>
                  </a:lnTo>
                  <a:lnTo>
                    <a:pt x="510" y="1697"/>
                  </a:lnTo>
                  <a:lnTo>
                    <a:pt x="425" y="1844"/>
                  </a:lnTo>
                  <a:lnTo>
                    <a:pt x="348" y="1997"/>
                  </a:lnTo>
                  <a:lnTo>
                    <a:pt x="277" y="2153"/>
                  </a:lnTo>
                  <a:lnTo>
                    <a:pt x="214" y="2313"/>
                  </a:lnTo>
                  <a:lnTo>
                    <a:pt x="159" y="2477"/>
                  </a:lnTo>
                  <a:lnTo>
                    <a:pt x="112" y="2644"/>
                  </a:lnTo>
                  <a:lnTo>
                    <a:pt x="72" y="2814"/>
                  </a:lnTo>
                  <a:lnTo>
                    <a:pt x="41" y="2987"/>
                  </a:lnTo>
                  <a:lnTo>
                    <a:pt x="18" y="3164"/>
                  </a:lnTo>
                  <a:lnTo>
                    <a:pt x="5" y="3343"/>
                  </a:lnTo>
                  <a:lnTo>
                    <a:pt x="0" y="3525"/>
                  </a:lnTo>
                  <a:lnTo>
                    <a:pt x="5" y="3706"/>
                  </a:lnTo>
                  <a:lnTo>
                    <a:pt x="18" y="3886"/>
                  </a:lnTo>
                  <a:lnTo>
                    <a:pt x="41" y="4062"/>
                  </a:lnTo>
                  <a:lnTo>
                    <a:pt x="72" y="4236"/>
                  </a:lnTo>
                  <a:lnTo>
                    <a:pt x="112" y="4405"/>
                  </a:lnTo>
                  <a:lnTo>
                    <a:pt x="159" y="4572"/>
                  </a:lnTo>
                  <a:lnTo>
                    <a:pt x="214" y="4736"/>
                  </a:lnTo>
                  <a:lnTo>
                    <a:pt x="277" y="4896"/>
                  </a:lnTo>
                  <a:lnTo>
                    <a:pt x="348" y="5053"/>
                  </a:lnTo>
                  <a:lnTo>
                    <a:pt x="425" y="5205"/>
                  </a:lnTo>
                  <a:lnTo>
                    <a:pt x="510" y="5353"/>
                  </a:lnTo>
                  <a:lnTo>
                    <a:pt x="601" y="5496"/>
                  </a:lnTo>
                  <a:lnTo>
                    <a:pt x="700" y="5633"/>
                  </a:lnTo>
                  <a:lnTo>
                    <a:pt x="804" y="5767"/>
                  </a:lnTo>
                  <a:lnTo>
                    <a:pt x="915" y="5895"/>
                  </a:lnTo>
                  <a:lnTo>
                    <a:pt x="1031" y="6018"/>
                  </a:lnTo>
                  <a:lnTo>
                    <a:pt x="1153" y="6134"/>
                  </a:lnTo>
                  <a:lnTo>
                    <a:pt x="1281" y="6245"/>
                  </a:lnTo>
                  <a:lnTo>
                    <a:pt x="1413" y="6350"/>
                  </a:lnTo>
                  <a:lnTo>
                    <a:pt x="1552" y="6448"/>
                  </a:lnTo>
                  <a:lnTo>
                    <a:pt x="1694" y="6540"/>
                  </a:lnTo>
                  <a:lnTo>
                    <a:pt x="1842" y="6624"/>
                  </a:lnTo>
                  <a:lnTo>
                    <a:pt x="1993" y="6703"/>
                  </a:lnTo>
                  <a:lnTo>
                    <a:pt x="2149" y="6773"/>
                  </a:lnTo>
                  <a:lnTo>
                    <a:pt x="2309" y="6835"/>
                  </a:lnTo>
                  <a:lnTo>
                    <a:pt x="2472" y="6892"/>
                  </a:lnTo>
                  <a:lnTo>
                    <a:pt x="2639" y="6939"/>
                  </a:lnTo>
                  <a:lnTo>
                    <a:pt x="2809" y="6978"/>
                  </a:lnTo>
                  <a:lnTo>
                    <a:pt x="2982" y="7009"/>
                  </a:lnTo>
                  <a:lnTo>
                    <a:pt x="3159" y="7031"/>
                  </a:lnTo>
                  <a:lnTo>
                    <a:pt x="3337" y="7045"/>
                  </a:lnTo>
                  <a:lnTo>
                    <a:pt x="3518" y="7049"/>
                  </a:lnTo>
                  <a:lnTo>
                    <a:pt x="3700" y="7045"/>
                  </a:lnTo>
                  <a:lnTo>
                    <a:pt x="3878" y="7031"/>
                  </a:lnTo>
                  <a:lnTo>
                    <a:pt x="4054" y="7009"/>
                  </a:lnTo>
                  <a:lnTo>
                    <a:pt x="4228" y="6978"/>
                  </a:lnTo>
                  <a:lnTo>
                    <a:pt x="4397" y="6939"/>
                  </a:lnTo>
                  <a:lnTo>
                    <a:pt x="4565" y="6892"/>
                  </a:lnTo>
                  <a:lnTo>
                    <a:pt x="4727" y="6835"/>
                  </a:lnTo>
                  <a:lnTo>
                    <a:pt x="4888" y="6773"/>
                  </a:lnTo>
                  <a:lnTo>
                    <a:pt x="5043" y="6703"/>
                  </a:lnTo>
                  <a:lnTo>
                    <a:pt x="5195" y="6624"/>
                  </a:lnTo>
                  <a:lnTo>
                    <a:pt x="5343" y="6540"/>
                  </a:lnTo>
                  <a:lnTo>
                    <a:pt x="5485" y="6448"/>
                  </a:lnTo>
                  <a:lnTo>
                    <a:pt x="5623" y="6350"/>
                  </a:lnTo>
                  <a:lnTo>
                    <a:pt x="5756" y="6245"/>
                  </a:lnTo>
                  <a:lnTo>
                    <a:pt x="5884" y="6134"/>
                  </a:lnTo>
                  <a:lnTo>
                    <a:pt x="6006" y="6018"/>
                  </a:lnTo>
                  <a:lnTo>
                    <a:pt x="6122" y="5895"/>
                  </a:lnTo>
                  <a:lnTo>
                    <a:pt x="6233" y="5767"/>
                  </a:lnTo>
                  <a:lnTo>
                    <a:pt x="6337" y="5633"/>
                  </a:lnTo>
                  <a:lnTo>
                    <a:pt x="6435" y="5496"/>
                  </a:lnTo>
                  <a:lnTo>
                    <a:pt x="6527" y="5353"/>
                  </a:lnTo>
                  <a:lnTo>
                    <a:pt x="6611" y="5205"/>
                  </a:lnTo>
                  <a:lnTo>
                    <a:pt x="6689" y="5053"/>
                  </a:lnTo>
                  <a:lnTo>
                    <a:pt x="6760" y="4896"/>
                  </a:lnTo>
                  <a:lnTo>
                    <a:pt x="6823" y="4736"/>
                  </a:lnTo>
                  <a:lnTo>
                    <a:pt x="6878" y="4572"/>
                  </a:lnTo>
                  <a:lnTo>
                    <a:pt x="6925" y="4405"/>
                  </a:lnTo>
                  <a:lnTo>
                    <a:pt x="6964" y="4236"/>
                  </a:lnTo>
                  <a:lnTo>
                    <a:pt x="6996" y="4062"/>
                  </a:lnTo>
                  <a:lnTo>
                    <a:pt x="7018" y="3886"/>
                  </a:lnTo>
                  <a:lnTo>
                    <a:pt x="7032" y="3706"/>
                  </a:lnTo>
                  <a:lnTo>
                    <a:pt x="7036" y="3525"/>
                  </a:lnTo>
                  <a:lnTo>
                    <a:pt x="7032" y="3343"/>
                  </a:lnTo>
                  <a:lnTo>
                    <a:pt x="7018" y="3164"/>
                  </a:lnTo>
                  <a:lnTo>
                    <a:pt x="6996" y="2987"/>
                  </a:lnTo>
                  <a:lnTo>
                    <a:pt x="6964" y="2814"/>
                  </a:lnTo>
                  <a:lnTo>
                    <a:pt x="6925" y="2644"/>
                  </a:lnTo>
                  <a:lnTo>
                    <a:pt x="6878" y="2477"/>
                  </a:lnTo>
                  <a:lnTo>
                    <a:pt x="6823" y="2313"/>
                  </a:lnTo>
                  <a:lnTo>
                    <a:pt x="6760" y="2153"/>
                  </a:lnTo>
                  <a:lnTo>
                    <a:pt x="6689" y="1997"/>
                  </a:lnTo>
                  <a:lnTo>
                    <a:pt x="6611" y="1844"/>
                  </a:lnTo>
                  <a:lnTo>
                    <a:pt x="6527" y="1697"/>
                  </a:lnTo>
                  <a:lnTo>
                    <a:pt x="6435" y="1553"/>
                  </a:lnTo>
                  <a:lnTo>
                    <a:pt x="6337" y="1416"/>
                  </a:lnTo>
                  <a:lnTo>
                    <a:pt x="6233" y="1283"/>
                  </a:lnTo>
                  <a:lnTo>
                    <a:pt x="6122" y="1154"/>
                  </a:lnTo>
                  <a:lnTo>
                    <a:pt x="6006" y="1032"/>
                  </a:lnTo>
                  <a:lnTo>
                    <a:pt x="5884" y="916"/>
                  </a:lnTo>
                  <a:lnTo>
                    <a:pt x="5756" y="804"/>
                  </a:lnTo>
                  <a:lnTo>
                    <a:pt x="5623" y="700"/>
                  </a:lnTo>
                  <a:lnTo>
                    <a:pt x="5485" y="602"/>
                  </a:lnTo>
                  <a:lnTo>
                    <a:pt x="5343" y="510"/>
                  </a:lnTo>
                  <a:lnTo>
                    <a:pt x="5195" y="425"/>
                  </a:lnTo>
                  <a:lnTo>
                    <a:pt x="5043" y="348"/>
                  </a:lnTo>
                  <a:lnTo>
                    <a:pt x="4888" y="277"/>
                  </a:lnTo>
                  <a:lnTo>
                    <a:pt x="4727" y="214"/>
                  </a:lnTo>
                  <a:lnTo>
                    <a:pt x="4565" y="158"/>
                  </a:lnTo>
                  <a:lnTo>
                    <a:pt x="4397" y="110"/>
                  </a:lnTo>
                  <a:lnTo>
                    <a:pt x="4228" y="71"/>
                  </a:lnTo>
                  <a:lnTo>
                    <a:pt x="4054" y="40"/>
                  </a:lnTo>
                  <a:lnTo>
                    <a:pt x="3878" y="18"/>
                  </a:lnTo>
                  <a:lnTo>
                    <a:pt x="3700" y="5"/>
                  </a:lnTo>
                  <a:lnTo>
                    <a:pt x="35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7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54" name="ïṥļîḍê">
              <a:extLst>
                <a:ext uri="{FF2B5EF4-FFF2-40B4-BE49-F238E27FC236}">
                  <a16:creationId xmlns:a16="http://schemas.microsoft.com/office/drawing/2014/main" id="{E444E319-C8F9-47AF-9145-897D72DBCFD6}"/>
                </a:ext>
              </a:extLst>
            </p:cNvPr>
            <p:cNvSpPr/>
            <p:nvPr/>
          </p:nvSpPr>
          <p:spPr bwMode="auto">
            <a:xfrm>
              <a:off x="3173842" y="826418"/>
              <a:ext cx="131262" cy="131262"/>
            </a:xfrm>
            <a:custGeom>
              <a:avLst/>
              <a:gdLst>
                <a:gd name="T0" fmla="*/ 3521 w 6031"/>
                <a:gd name="T1" fmla="*/ 553 h 6022"/>
                <a:gd name="T2" fmla="*/ 4104 w 6031"/>
                <a:gd name="T3" fmla="*/ 750 h 6022"/>
                <a:gd name="T4" fmla="*/ 4613 w 6031"/>
                <a:gd name="T5" fmla="*/ 1076 h 6022"/>
                <a:gd name="T6" fmla="*/ 5029 w 6031"/>
                <a:gd name="T7" fmla="*/ 1511 h 6022"/>
                <a:gd name="T8" fmla="*/ 5330 w 6031"/>
                <a:gd name="T9" fmla="*/ 2036 h 6022"/>
                <a:gd name="T10" fmla="*/ 5499 w 6031"/>
                <a:gd name="T11" fmla="*/ 2630 h 6022"/>
                <a:gd name="T12" fmla="*/ 5515 w 6031"/>
                <a:gd name="T13" fmla="*/ 3268 h 6022"/>
                <a:gd name="T14" fmla="*/ 5375 w 6031"/>
                <a:gd name="T15" fmla="*/ 3873 h 6022"/>
                <a:gd name="T16" fmla="*/ 5098 w 6031"/>
                <a:gd name="T17" fmla="*/ 4413 h 6022"/>
                <a:gd name="T18" fmla="*/ 4704 w 6031"/>
                <a:gd name="T19" fmla="*/ 4868 h 6022"/>
                <a:gd name="T20" fmla="*/ 4213 w 6031"/>
                <a:gd name="T21" fmla="*/ 5217 h 6022"/>
                <a:gd name="T22" fmla="*/ 3643 w 6031"/>
                <a:gd name="T23" fmla="*/ 5441 h 6022"/>
                <a:gd name="T24" fmla="*/ 3016 w 6031"/>
                <a:gd name="T25" fmla="*/ 5520 h 6022"/>
                <a:gd name="T26" fmla="*/ 2388 w 6031"/>
                <a:gd name="T27" fmla="*/ 5441 h 6022"/>
                <a:gd name="T28" fmla="*/ 1818 w 6031"/>
                <a:gd name="T29" fmla="*/ 5217 h 6022"/>
                <a:gd name="T30" fmla="*/ 1327 w 6031"/>
                <a:gd name="T31" fmla="*/ 4868 h 6022"/>
                <a:gd name="T32" fmla="*/ 932 w 6031"/>
                <a:gd name="T33" fmla="*/ 4413 h 6022"/>
                <a:gd name="T34" fmla="*/ 656 w 6031"/>
                <a:gd name="T35" fmla="*/ 3873 h 6022"/>
                <a:gd name="T36" fmla="*/ 516 w 6031"/>
                <a:gd name="T37" fmla="*/ 3268 h 6022"/>
                <a:gd name="T38" fmla="*/ 532 w 6031"/>
                <a:gd name="T39" fmla="*/ 2630 h 6022"/>
                <a:gd name="T40" fmla="*/ 701 w 6031"/>
                <a:gd name="T41" fmla="*/ 2036 h 6022"/>
                <a:gd name="T42" fmla="*/ 1002 w 6031"/>
                <a:gd name="T43" fmla="*/ 1511 h 6022"/>
                <a:gd name="T44" fmla="*/ 1417 w 6031"/>
                <a:gd name="T45" fmla="*/ 1076 h 6022"/>
                <a:gd name="T46" fmla="*/ 1927 w 6031"/>
                <a:gd name="T47" fmla="*/ 750 h 6022"/>
                <a:gd name="T48" fmla="*/ 2510 w 6031"/>
                <a:gd name="T49" fmla="*/ 553 h 6022"/>
                <a:gd name="T50" fmla="*/ 3016 w 6031"/>
                <a:gd name="T51" fmla="*/ 6022 h 6022"/>
                <a:gd name="T52" fmla="*/ 3768 w 6031"/>
                <a:gd name="T53" fmla="*/ 5928 h 6022"/>
                <a:gd name="T54" fmla="*/ 4452 w 6031"/>
                <a:gd name="T55" fmla="*/ 5659 h 6022"/>
                <a:gd name="T56" fmla="*/ 5042 w 6031"/>
                <a:gd name="T57" fmla="*/ 5239 h 6022"/>
                <a:gd name="T58" fmla="*/ 5515 w 6031"/>
                <a:gd name="T59" fmla="*/ 4693 h 6022"/>
                <a:gd name="T60" fmla="*/ 5848 w 6031"/>
                <a:gd name="T61" fmla="*/ 4046 h 6022"/>
                <a:gd name="T62" fmla="*/ 6015 w 6031"/>
                <a:gd name="T63" fmla="*/ 3318 h 6022"/>
                <a:gd name="T64" fmla="*/ 5996 w 6031"/>
                <a:gd name="T65" fmla="*/ 2554 h 6022"/>
                <a:gd name="T66" fmla="*/ 5794 w 6031"/>
                <a:gd name="T67" fmla="*/ 1840 h 6022"/>
                <a:gd name="T68" fmla="*/ 5431 w 6031"/>
                <a:gd name="T69" fmla="*/ 1211 h 6022"/>
                <a:gd name="T70" fmla="*/ 4932 w 6031"/>
                <a:gd name="T71" fmla="*/ 689 h 6022"/>
                <a:gd name="T72" fmla="*/ 4322 w 6031"/>
                <a:gd name="T73" fmla="*/ 297 h 6022"/>
                <a:gd name="T74" fmla="*/ 3623 w 6031"/>
                <a:gd name="T75" fmla="*/ 62 h 6022"/>
                <a:gd name="T76" fmla="*/ 2861 w 6031"/>
                <a:gd name="T77" fmla="*/ 4 h 6022"/>
                <a:gd name="T78" fmla="*/ 2120 w 6031"/>
                <a:gd name="T79" fmla="*/ 136 h 6022"/>
                <a:gd name="T80" fmla="*/ 1453 w 6031"/>
                <a:gd name="T81" fmla="*/ 437 h 6022"/>
                <a:gd name="T82" fmla="*/ 884 w 6031"/>
                <a:gd name="T83" fmla="*/ 884 h 6022"/>
                <a:gd name="T84" fmla="*/ 437 w 6031"/>
                <a:gd name="T85" fmla="*/ 1452 h 6022"/>
                <a:gd name="T86" fmla="*/ 136 w 6031"/>
                <a:gd name="T87" fmla="*/ 2117 h 6022"/>
                <a:gd name="T88" fmla="*/ 4 w 6031"/>
                <a:gd name="T89" fmla="*/ 2857 h 6022"/>
                <a:gd name="T90" fmla="*/ 62 w 6031"/>
                <a:gd name="T91" fmla="*/ 3617 h 6022"/>
                <a:gd name="T92" fmla="*/ 298 w 6031"/>
                <a:gd name="T93" fmla="*/ 4316 h 6022"/>
                <a:gd name="T94" fmla="*/ 690 w 6031"/>
                <a:gd name="T95" fmla="*/ 4925 h 6022"/>
                <a:gd name="T96" fmla="*/ 1212 w 6031"/>
                <a:gd name="T97" fmla="*/ 5424 h 6022"/>
                <a:gd name="T98" fmla="*/ 1843 w 6031"/>
                <a:gd name="T99" fmla="*/ 5785 h 6022"/>
                <a:gd name="T100" fmla="*/ 2557 w 6031"/>
                <a:gd name="T101" fmla="*/ 5988 h 6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31" h="6022">
                  <a:moveTo>
                    <a:pt x="3016" y="502"/>
                  </a:moveTo>
                  <a:lnTo>
                    <a:pt x="3144" y="505"/>
                  </a:lnTo>
                  <a:lnTo>
                    <a:pt x="3272" y="515"/>
                  </a:lnTo>
                  <a:lnTo>
                    <a:pt x="3397" y="531"/>
                  </a:lnTo>
                  <a:lnTo>
                    <a:pt x="3521" y="553"/>
                  </a:lnTo>
                  <a:lnTo>
                    <a:pt x="3643" y="582"/>
                  </a:lnTo>
                  <a:lnTo>
                    <a:pt x="3762" y="616"/>
                  </a:lnTo>
                  <a:lnTo>
                    <a:pt x="3879" y="655"/>
                  </a:lnTo>
                  <a:lnTo>
                    <a:pt x="3992" y="700"/>
                  </a:lnTo>
                  <a:lnTo>
                    <a:pt x="4104" y="750"/>
                  </a:lnTo>
                  <a:lnTo>
                    <a:pt x="4213" y="805"/>
                  </a:lnTo>
                  <a:lnTo>
                    <a:pt x="4318" y="866"/>
                  </a:lnTo>
                  <a:lnTo>
                    <a:pt x="4420" y="932"/>
                  </a:lnTo>
                  <a:lnTo>
                    <a:pt x="4518" y="1001"/>
                  </a:lnTo>
                  <a:lnTo>
                    <a:pt x="4613" y="1076"/>
                  </a:lnTo>
                  <a:lnTo>
                    <a:pt x="4704" y="1155"/>
                  </a:lnTo>
                  <a:lnTo>
                    <a:pt x="4791" y="1238"/>
                  </a:lnTo>
                  <a:lnTo>
                    <a:pt x="4875" y="1325"/>
                  </a:lnTo>
                  <a:lnTo>
                    <a:pt x="4954" y="1417"/>
                  </a:lnTo>
                  <a:lnTo>
                    <a:pt x="5029" y="1511"/>
                  </a:lnTo>
                  <a:lnTo>
                    <a:pt x="5098" y="1609"/>
                  </a:lnTo>
                  <a:lnTo>
                    <a:pt x="5164" y="1712"/>
                  </a:lnTo>
                  <a:lnTo>
                    <a:pt x="5225" y="1816"/>
                  </a:lnTo>
                  <a:lnTo>
                    <a:pt x="5280" y="1924"/>
                  </a:lnTo>
                  <a:lnTo>
                    <a:pt x="5330" y="2036"/>
                  </a:lnTo>
                  <a:lnTo>
                    <a:pt x="5375" y="2149"/>
                  </a:lnTo>
                  <a:lnTo>
                    <a:pt x="5415" y="2266"/>
                  </a:lnTo>
                  <a:lnTo>
                    <a:pt x="5449" y="2385"/>
                  </a:lnTo>
                  <a:lnTo>
                    <a:pt x="5477" y="2506"/>
                  </a:lnTo>
                  <a:lnTo>
                    <a:pt x="5499" y="2630"/>
                  </a:lnTo>
                  <a:lnTo>
                    <a:pt x="5515" y="2755"/>
                  </a:lnTo>
                  <a:lnTo>
                    <a:pt x="5525" y="2883"/>
                  </a:lnTo>
                  <a:lnTo>
                    <a:pt x="5528" y="3011"/>
                  </a:lnTo>
                  <a:lnTo>
                    <a:pt x="5525" y="3141"/>
                  </a:lnTo>
                  <a:lnTo>
                    <a:pt x="5515" y="3268"/>
                  </a:lnTo>
                  <a:lnTo>
                    <a:pt x="5499" y="3394"/>
                  </a:lnTo>
                  <a:lnTo>
                    <a:pt x="5477" y="3517"/>
                  </a:lnTo>
                  <a:lnTo>
                    <a:pt x="5449" y="3638"/>
                  </a:lnTo>
                  <a:lnTo>
                    <a:pt x="5415" y="3757"/>
                  </a:lnTo>
                  <a:lnTo>
                    <a:pt x="5375" y="3873"/>
                  </a:lnTo>
                  <a:lnTo>
                    <a:pt x="5330" y="3988"/>
                  </a:lnTo>
                  <a:lnTo>
                    <a:pt x="5280" y="4098"/>
                  </a:lnTo>
                  <a:lnTo>
                    <a:pt x="5225" y="4207"/>
                  </a:lnTo>
                  <a:lnTo>
                    <a:pt x="5164" y="4312"/>
                  </a:lnTo>
                  <a:lnTo>
                    <a:pt x="5098" y="4413"/>
                  </a:lnTo>
                  <a:lnTo>
                    <a:pt x="5029" y="4512"/>
                  </a:lnTo>
                  <a:lnTo>
                    <a:pt x="4954" y="4607"/>
                  </a:lnTo>
                  <a:lnTo>
                    <a:pt x="4875" y="4697"/>
                  </a:lnTo>
                  <a:lnTo>
                    <a:pt x="4791" y="4785"/>
                  </a:lnTo>
                  <a:lnTo>
                    <a:pt x="4704" y="4868"/>
                  </a:lnTo>
                  <a:lnTo>
                    <a:pt x="4613" y="4947"/>
                  </a:lnTo>
                  <a:lnTo>
                    <a:pt x="4518" y="5022"/>
                  </a:lnTo>
                  <a:lnTo>
                    <a:pt x="4420" y="5092"/>
                  </a:lnTo>
                  <a:lnTo>
                    <a:pt x="4318" y="5157"/>
                  </a:lnTo>
                  <a:lnTo>
                    <a:pt x="4213" y="5217"/>
                  </a:lnTo>
                  <a:lnTo>
                    <a:pt x="4104" y="5272"/>
                  </a:lnTo>
                  <a:lnTo>
                    <a:pt x="3992" y="5324"/>
                  </a:lnTo>
                  <a:lnTo>
                    <a:pt x="3879" y="5368"/>
                  </a:lnTo>
                  <a:lnTo>
                    <a:pt x="3762" y="5408"/>
                  </a:lnTo>
                  <a:lnTo>
                    <a:pt x="3643" y="5441"/>
                  </a:lnTo>
                  <a:lnTo>
                    <a:pt x="3521" y="5469"/>
                  </a:lnTo>
                  <a:lnTo>
                    <a:pt x="3397" y="5491"/>
                  </a:lnTo>
                  <a:lnTo>
                    <a:pt x="3272" y="5507"/>
                  </a:lnTo>
                  <a:lnTo>
                    <a:pt x="3144" y="5517"/>
                  </a:lnTo>
                  <a:lnTo>
                    <a:pt x="3016" y="5520"/>
                  </a:lnTo>
                  <a:lnTo>
                    <a:pt x="2886" y="5517"/>
                  </a:lnTo>
                  <a:lnTo>
                    <a:pt x="2759" y="5507"/>
                  </a:lnTo>
                  <a:lnTo>
                    <a:pt x="2634" y="5491"/>
                  </a:lnTo>
                  <a:lnTo>
                    <a:pt x="2510" y="5469"/>
                  </a:lnTo>
                  <a:lnTo>
                    <a:pt x="2388" y="5441"/>
                  </a:lnTo>
                  <a:lnTo>
                    <a:pt x="2269" y="5408"/>
                  </a:lnTo>
                  <a:lnTo>
                    <a:pt x="2152" y="5368"/>
                  </a:lnTo>
                  <a:lnTo>
                    <a:pt x="2039" y="5324"/>
                  </a:lnTo>
                  <a:lnTo>
                    <a:pt x="1927" y="5272"/>
                  </a:lnTo>
                  <a:lnTo>
                    <a:pt x="1818" y="5217"/>
                  </a:lnTo>
                  <a:lnTo>
                    <a:pt x="1713" y="5157"/>
                  </a:lnTo>
                  <a:lnTo>
                    <a:pt x="1611" y="5092"/>
                  </a:lnTo>
                  <a:lnTo>
                    <a:pt x="1513" y="5022"/>
                  </a:lnTo>
                  <a:lnTo>
                    <a:pt x="1417" y="4947"/>
                  </a:lnTo>
                  <a:lnTo>
                    <a:pt x="1327" y="4868"/>
                  </a:lnTo>
                  <a:lnTo>
                    <a:pt x="1240" y="4785"/>
                  </a:lnTo>
                  <a:lnTo>
                    <a:pt x="1156" y="4697"/>
                  </a:lnTo>
                  <a:lnTo>
                    <a:pt x="1077" y="4607"/>
                  </a:lnTo>
                  <a:lnTo>
                    <a:pt x="1002" y="4512"/>
                  </a:lnTo>
                  <a:lnTo>
                    <a:pt x="932" y="4413"/>
                  </a:lnTo>
                  <a:lnTo>
                    <a:pt x="867" y="4312"/>
                  </a:lnTo>
                  <a:lnTo>
                    <a:pt x="806" y="4207"/>
                  </a:lnTo>
                  <a:lnTo>
                    <a:pt x="751" y="4098"/>
                  </a:lnTo>
                  <a:lnTo>
                    <a:pt x="701" y="3988"/>
                  </a:lnTo>
                  <a:lnTo>
                    <a:pt x="656" y="3873"/>
                  </a:lnTo>
                  <a:lnTo>
                    <a:pt x="615" y="3757"/>
                  </a:lnTo>
                  <a:lnTo>
                    <a:pt x="582" y="3638"/>
                  </a:lnTo>
                  <a:lnTo>
                    <a:pt x="554" y="3517"/>
                  </a:lnTo>
                  <a:lnTo>
                    <a:pt x="532" y="3394"/>
                  </a:lnTo>
                  <a:lnTo>
                    <a:pt x="516" y="3268"/>
                  </a:lnTo>
                  <a:lnTo>
                    <a:pt x="506" y="3141"/>
                  </a:lnTo>
                  <a:lnTo>
                    <a:pt x="503" y="3011"/>
                  </a:lnTo>
                  <a:lnTo>
                    <a:pt x="506" y="2883"/>
                  </a:lnTo>
                  <a:lnTo>
                    <a:pt x="516" y="2755"/>
                  </a:lnTo>
                  <a:lnTo>
                    <a:pt x="532" y="2630"/>
                  </a:lnTo>
                  <a:lnTo>
                    <a:pt x="554" y="2506"/>
                  </a:lnTo>
                  <a:lnTo>
                    <a:pt x="582" y="2385"/>
                  </a:lnTo>
                  <a:lnTo>
                    <a:pt x="615" y="2266"/>
                  </a:lnTo>
                  <a:lnTo>
                    <a:pt x="656" y="2149"/>
                  </a:lnTo>
                  <a:lnTo>
                    <a:pt x="701" y="2036"/>
                  </a:lnTo>
                  <a:lnTo>
                    <a:pt x="751" y="1924"/>
                  </a:lnTo>
                  <a:lnTo>
                    <a:pt x="806" y="1816"/>
                  </a:lnTo>
                  <a:lnTo>
                    <a:pt x="867" y="1712"/>
                  </a:lnTo>
                  <a:lnTo>
                    <a:pt x="932" y="1609"/>
                  </a:lnTo>
                  <a:lnTo>
                    <a:pt x="1002" y="1511"/>
                  </a:lnTo>
                  <a:lnTo>
                    <a:pt x="1077" y="1417"/>
                  </a:lnTo>
                  <a:lnTo>
                    <a:pt x="1156" y="1325"/>
                  </a:lnTo>
                  <a:lnTo>
                    <a:pt x="1240" y="1238"/>
                  </a:lnTo>
                  <a:lnTo>
                    <a:pt x="1327" y="1155"/>
                  </a:lnTo>
                  <a:lnTo>
                    <a:pt x="1417" y="1076"/>
                  </a:lnTo>
                  <a:lnTo>
                    <a:pt x="1513" y="1001"/>
                  </a:lnTo>
                  <a:lnTo>
                    <a:pt x="1611" y="932"/>
                  </a:lnTo>
                  <a:lnTo>
                    <a:pt x="1713" y="866"/>
                  </a:lnTo>
                  <a:lnTo>
                    <a:pt x="1818" y="805"/>
                  </a:lnTo>
                  <a:lnTo>
                    <a:pt x="1927" y="750"/>
                  </a:lnTo>
                  <a:lnTo>
                    <a:pt x="2039" y="700"/>
                  </a:lnTo>
                  <a:lnTo>
                    <a:pt x="2152" y="655"/>
                  </a:lnTo>
                  <a:lnTo>
                    <a:pt x="2269" y="616"/>
                  </a:lnTo>
                  <a:lnTo>
                    <a:pt x="2388" y="582"/>
                  </a:lnTo>
                  <a:lnTo>
                    <a:pt x="2510" y="553"/>
                  </a:lnTo>
                  <a:lnTo>
                    <a:pt x="2634" y="531"/>
                  </a:lnTo>
                  <a:lnTo>
                    <a:pt x="2759" y="515"/>
                  </a:lnTo>
                  <a:lnTo>
                    <a:pt x="2886" y="505"/>
                  </a:lnTo>
                  <a:lnTo>
                    <a:pt x="3016" y="502"/>
                  </a:lnTo>
                  <a:close/>
                  <a:moveTo>
                    <a:pt x="3016" y="6022"/>
                  </a:moveTo>
                  <a:lnTo>
                    <a:pt x="3170" y="6018"/>
                  </a:lnTo>
                  <a:lnTo>
                    <a:pt x="3323" y="6007"/>
                  </a:lnTo>
                  <a:lnTo>
                    <a:pt x="3474" y="5988"/>
                  </a:lnTo>
                  <a:lnTo>
                    <a:pt x="3623" y="5961"/>
                  </a:lnTo>
                  <a:lnTo>
                    <a:pt x="3768" y="5928"/>
                  </a:lnTo>
                  <a:lnTo>
                    <a:pt x="3911" y="5887"/>
                  </a:lnTo>
                  <a:lnTo>
                    <a:pt x="4052" y="5840"/>
                  </a:lnTo>
                  <a:lnTo>
                    <a:pt x="4188" y="5785"/>
                  </a:lnTo>
                  <a:lnTo>
                    <a:pt x="4322" y="5725"/>
                  </a:lnTo>
                  <a:lnTo>
                    <a:pt x="4452" y="5659"/>
                  </a:lnTo>
                  <a:lnTo>
                    <a:pt x="4577" y="5586"/>
                  </a:lnTo>
                  <a:lnTo>
                    <a:pt x="4700" y="5507"/>
                  </a:lnTo>
                  <a:lnTo>
                    <a:pt x="4819" y="5424"/>
                  </a:lnTo>
                  <a:lnTo>
                    <a:pt x="4932" y="5334"/>
                  </a:lnTo>
                  <a:lnTo>
                    <a:pt x="5042" y="5239"/>
                  </a:lnTo>
                  <a:lnTo>
                    <a:pt x="5146" y="5140"/>
                  </a:lnTo>
                  <a:lnTo>
                    <a:pt x="5247" y="5035"/>
                  </a:lnTo>
                  <a:lnTo>
                    <a:pt x="5341" y="4925"/>
                  </a:lnTo>
                  <a:lnTo>
                    <a:pt x="5431" y="4812"/>
                  </a:lnTo>
                  <a:lnTo>
                    <a:pt x="5515" y="4693"/>
                  </a:lnTo>
                  <a:lnTo>
                    <a:pt x="5594" y="4572"/>
                  </a:lnTo>
                  <a:lnTo>
                    <a:pt x="5666" y="4445"/>
                  </a:lnTo>
                  <a:lnTo>
                    <a:pt x="5733" y="4316"/>
                  </a:lnTo>
                  <a:lnTo>
                    <a:pt x="5794" y="4183"/>
                  </a:lnTo>
                  <a:lnTo>
                    <a:pt x="5848" y="4046"/>
                  </a:lnTo>
                  <a:lnTo>
                    <a:pt x="5895" y="3906"/>
                  </a:lnTo>
                  <a:lnTo>
                    <a:pt x="5935" y="3763"/>
                  </a:lnTo>
                  <a:lnTo>
                    <a:pt x="5969" y="3617"/>
                  </a:lnTo>
                  <a:lnTo>
                    <a:pt x="5996" y="3469"/>
                  </a:lnTo>
                  <a:lnTo>
                    <a:pt x="6015" y="3318"/>
                  </a:lnTo>
                  <a:lnTo>
                    <a:pt x="6027" y="3166"/>
                  </a:lnTo>
                  <a:lnTo>
                    <a:pt x="6031" y="3011"/>
                  </a:lnTo>
                  <a:lnTo>
                    <a:pt x="6027" y="2857"/>
                  </a:lnTo>
                  <a:lnTo>
                    <a:pt x="6015" y="2704"/>
                  </a:lnTo>
                  <a:lnTo>
                    <a:pt x="5996" y="2554"/>
                  </a:lnTo>
                  <a:lnTo>
                    <a:pt x="5969" y="2405"/>
                  </a:lnTo>
                  <a:lnTo>
                    <a:pt x="5935" y="2260"/>
                  </a:lnTo>
                  <a:lnTo>
                    <a:pt x="5895" y="2117"/>
                  </a:lnTo>
                  <a:lnTo>
                    <a:pt x="5848" y="1978"/>
                  </a:lnTo>
                  <a:lnTo>
                    <a:pt x="5794" y="1840"/>
                  </a:lnTo>
                  <a:lnTo>
                    <a:pt x="5733" y="1708"/>
                  </a:lnTo>
                  <a:lnTo>
                    <a:pt x="5666" y="1577"/>
                  </a:lnTo>
                  <a:lnTo>
                    <a:pt x="5594" y="1452"/>
                  </a:lnTo>
                  <a:lnTo>
                    <a:pt x="5515" y="1329"/>
                  </a:lnTo>
                  <a:lnTo>
                    <a:pt x="5431" y="1211"/>
                  </a:lnTo>
                  <a:lnTo>
                    <a:pt x="5341" y="1097"/>
                  </a:lnTo>
                  <a:lnTo>
                    <a:pt x="5247" y="988"/>
                  </a:lnTo>
                  <a:lnTo>
                    <a:pt x="5146" y="884"/>
                  </a:lnTo>
                  <a:lnTo>
                    <a:pt x="5042" y="783"/>
                  </a:lnTo>
                  <a:lnTo>
                    <a:pt x="4932" y="689"/>
                  </a:lnTo>
                  <a:lnTo>
                    <a:pt x="4819" y="600"/>
                  </a:lnTo>
                  <a:lnTo>
                    <a:pt x="4700" y="515"/>
                  </a:lnTo>
                  <a:lnTo>
                    <a:pt x="4577" y="437"/>
                  </a:lnTo>
                  <a:lnTo>
                    <a:pt x="4452" y="365"/>
                  </a:lnTo>
                  <a:lnTo>
                    <a:pt x="4322" y="297"/>
                  </a:lnTo>
                  <a:lnTo>
                    <a:pt x="4188" y="237"/>
                  </a:lnTo>
                  <a:lnTo>
                    <a:pt x="4052" y="183"/>
                  </a:lnTo>
                  <a:lnTo>
                    <a:pt x="3911" y="136"/>
                  </a:lnTo>
                  <a:lnTo>
                    <a:pt x="3768" y="96"/>
                  </a:lnTo>
                  <a:lnTo>
                    <a:pt x="3623" y="62"/>
                  </a:lnTo>
                  <a:lnTo>
                    <a:pt x="3474" y="36"/>
                  </a:lnTo>
                  <a:lnTo>
                    <a:pt x="3323" y="16"/>
                  </a:lnTo>
                  <a:lnTo>
                    <a:pt x="3170" y="4"/>
                  </a:lnTo>
                  <a:lnTo>
                    <a:pt x="3016" y="0"/>
                  </a:lnTo>
                  <a:lnTo>
                    <a:pt x="2861" y="4"/>
                  </a:lnTo>
                  <a:lnTo>
                    <a:pt x="2708" y="16"/>
                  </a:lnTo>
                  <a:lnTo>
                    <a:pt x="2557" y="36"/>
                  </a:lnTo>
                  <a:lnTo>
                    <a:pt x="2408" y="62"/>
                  </a:lnTo>
                  <a:lnTo>
                    <a:pt x="2263" y="96"/>
                  </a:lnTo>
                  <a:lnTo>
                    <a:pt x="2120" y="136"/>
                  </a:lnTo>
                  <a:lnTo>
                    <a:pt x="1979" y="183"/>
                  </a:lnTo>
                  <a:lnTo>
                    <a:pt x="1843" y="237"/>
                  </a:lnTo>
                  <a:lnTo>
                    <a:pt x="1709" y="297"/>
                  </a:lnTo>
                  <a:lnTo>
                    <a:pt x="1579" y="365"/>
                  </a:lnTo>
                  <a:lnTo>
                    <a:pt x="1453" y="437"/>
                  </a:lnTo>
                  <a:lnTo>
                    <a:pt x="1331" y="515"/>
                  </a:lnTo>
                  <a:lnTo>
                    <a:pt x="1212" y="600"/>
                  </a:lnTo>
                  <a:lnTo>
                    <a:pt x="1099" y="689"/>
                  </a:lnTo>
                  <a:lnTo>
                    <a:pt x="989" y="783"/>
                  </a:lnTo>
                  <a:lnTo>
                    <a:pt x="884" y="884"/>
                  </a:lnTo>
                  <a:lnTo>
                    <a:pt x="784" y="988"/>
                  </a:lnTo>
                  <a:lnTo>
                    <a:pt x="690" y="1097"/>
                  </a:lnTo>
                  <a:lnTo>
                    <a:pt x="600" y="1211"/>
                  </a:lnTo>
                  <a:lnTo>
                    <a:pt x="516" y="1329"/>
                  </a:lnTo>
                  <a:lnTo>
                    <a:pt x="437" y="1452"/>
                  </a:lnTo>
                  <a:lnTo>
                    <a:pt x="364" y="1577"/>
                  </a:lnTo>
                  <a:lnTo>
                    <a:pt x="298" y="1708"/>
                  </a:lnTo>
                  <a:lnTo>
                    <a:pt x="237" y="1840"/>
                  </a:lnTo>
                  <a:lnTo>
                    <a:pt x="183" y="1978"/>
                  </a:lnTo>
                  <a:lnTo>
                    <a:pt x="136" y="2117"/>
                  </a:lnTo>
                  <a:lnTo>
                    <a:pt x="95" y="2260"/>
                  </a:lnTo>
                  <a:lnTo>
                    <a:pt x="62" y="2405"/>
                  </a:lnTo>
                  <a:lnTo>
                    <a:pt x="35" y="2554"/>
                  </a:lnTo>
                  <a:lnTo>
                    <a:pt x="15" y="2704"/>
                  </a:lnTo>
                  <a:lnTo>
                    <a:pt x="4" y="2857"/>
                  </a:lnTo>
                  <a:lnTo>
                    <a:pt x="0" y="3011"/>
                  </a:lnTo>
                  <a:lnTo>
                    <a:pt x="4" y="3166"/>
                  </a:lnTo>
                  <a:lnTo>
                    <a:pt x="15" y="3318"/>
                  </a:lnTo>
                  <a:lnTo>
                    <a:pt x="35" y="3469"/>
                  </a:lnTo>
                  <a:lnTo>
                    <a:pt x="62" y="3617"/>
                  </a:lnTo>
                  <a:lnTo>
                    <a:pt x="95" y="3763"/>
                  </a:lnTo>
                  <a:lnTo>
                    <a:pt x="136" y="3906"/>
                  </a:lnTo>
                  <a:lnTo>
                    <a:pt x="183" y="4046"/>
                  </a:lnTo>
                  <a:lnTo>
                    <a:pt x="237" y="4183"/>
                  </a:lnTo>
                  <a:lnTo>
                    <a:pt x="298" y="4316"/>
                  </a:lnTo>
                  <a:lnTo>
                    <a:pt x="364" y="4445"/>
                  </a:lnTo>
                  <a:lnTo>
                    <a:pt x="437" y="4572"/>
                  </a:lnTo>
                  <a:lnTo>
                    <a:pt x="516" y="4693"/>
                  </a:lnTo>
                  <a:lnTo>
                    <a:pt x="600" y="4812"/>
                  </a:lnTo>
                  <a:lnTo>
                    <a:pt x="690" y="4925"/>
                  </a:lnTo>
                  <a:lnTo>
                    <a:pt x="784" y="5035"/>
                  </a:lnTo>
                  <a:lnTo>
                    <a:pt x="884" y="5140"/>
                  </a:lnTo>
                  <a:lnTo>
                    <a:pt x="989" y="5239"/>
                  </a:lnTo>
                  <a:lnTo>
                    <a:pt x="1099" y="5334"/>
                  </a:lnTo>
                  <a:lnTo>
                    <a:pt x="1212" y="5424"/>
                  </a:lnTo>
                  <a:lnTo>
                    <a:pt x="1331" y="5507"/>
                  </a:lnTo>
                  <a:lnTo>
                    <a:pt x="1453" y="5586"/>
                  </a:lnTo>
                  <a:lnTo>
                    <a:pt x="1579" y="5659"/>
                  </a:lnTo>
                  <a:lnTo>
                    <a:pt x="1709" y="5725"/>
                  </a:lnTo>
                  <a:lnTo>
                    <a:pt x="1843" y="5785"/>
                  </a:lnTo>
                  <a:lnTo>
                    <a:pt x="1979" y="5840"/>
                  </a:lnTo>
                  <a:lnTo>
                    <a:pt x="2120" y="5887"/>
                  </a:lnTo>
                  <a:lnTo>
                    <a:pt x="2263" y="5928"/>
                  </a:lnTo>
                  <a:lnTo>
                    <a:pt x="2408" y="5961"/>
                  </a:lnTo>
                  <a:lnTo>
                    <a:pt x="2557" y="5988"/>
                  </a:lnTo>
                  <a:lnTo>
                    <a:pt x="2708" y="6007"/>
                  </a:lnTo>
                  <a:lnTo>
                    <a:pt x="2861" y="6018"/>
                  </a:lnTo>
                  <a:lnTo>
                    <a:pt x="3016" y="60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55" name="íśḷïďè">
              <a:extLst>
                <a:ext uri="{FF2B5EF4-FFF2-40B4-BE49-F238E27FC236}">
                  <a16:creationId xmlns:a16="http://schemas.microsoft.com/office/drawing/2014/main" id="{CF5E422E-AED2-4D72-A466-073B9677ADDE}"/>
                </a:ext>
              </a:extLst>
            </p:cNvPr>
            <p:cNvSpPr/>
            <p:nvPr/>
          </p:nvSpPr>
          <p:spPr bwMode="auto">
            <a:xfrm>
              <a:off x="3107808" y="763606"/>
              <a:ext cx="262524" cy="349494"/>
            </a:xfrm>
            <a:custGeom>
              <a:avLst/>
              <a:gdLst>
                <a:gd name="T0" fmla="*/ 6018 w 12062"/>
                <a:gd name="T1" fmla="*/ 15039 h 16058"/>
                <a:gd name="T2" fmla="*/ 5780 w 12062"/>
                <a:gd name="T3" fmla="*/ 14775 h 16058"/>
                <a:gd name="T4" fmla="*/ 4611 w 12062"/>
                <a:gd name="T5" fmla="*/ 13399 h 16058"/>
                <a:gd name="T6" fmla="*/ 3378 w 12062"/>
                <a:gd name="T7" fmla="*/ 11797 h 16058"/>
                <a:gd name="T8" fmla="*/ 2251 w 12062"/>
                <a:gd name="T9" fmla="*/ 10038 h 16058"/>
                <a:gd name="T10" fmla="*/ 1406 w 12062"/>
                <a:gd name="T11" fmla="*/ 8193 h 16058"/>
                <a:gd name="T12" fmla="*/ 1014 w 12062"/>
                <a:gd name="T13" fmla="*/ 6330 h 16058"/>
                <a:gd name="T14" fmla="*/ 1164 w 12062"/>
                <a:gd name="T15" fmla="*/ 4770 h 16058"/>
                <a:gd name="T16" fmla="*/ 1734 w 12062"/>
                <a:gd name="T17" fmla="*/ 3422 h 16058"/>
                <a:gd name="T18" fmla="*/ 2653 w 12062"/>
                <a:gd name="T19" fmla="*/ 2309 h 16058"/>
                <a:gd name="T20" fmla="*/ 3854 w 12062"/>
                <a:gd name="T21" fmla="*/ 1499 h 16058"/>
                <a:gd name="T22" fmla="*/ 5267 w 12062"/>
                <a:gd name="T23" fmla="*/ 1062 h 16058"/>
                <a:gd name="T24" fmla="*/ 6795 w 12062"/>
                <a:gd name="T25" fmla="*/ 1062 h 16058"/>
                <a:gd name="T26" fmla="*/ 8208 w 12062"/>
                <a:gd name="T27" fmla="*/ 1499 h 16058"/>
                <a:gd name="T28" fmla="*/ 9409 w 12062"/>
                <a:gd name="T29" fmla="*/ 2309 h 16058"/>
                <a:gd name="T30" fmla="*/ 10328 w 12062"/>
                <a:gd name="T31" fmla="*/ 3422 h 16058"/>
                <a:gd name="T32" fmla="*/ 10898 w 12062"/>
                <a:gd name="T33" fmla="*/ 4770 h 16058"/>
                <a:gd name="T34" fmla="*/ 11048 w 12062"/>
                <a:gd name="T35" fmla="*/ 6330 h 16058"/>
                <a:gd name="T36" fmla="*/ 10656 w 12062"/>
                <a:gd name="T37" fmla="*/ 8193 h 16058"/>
                <a:gd name="T38" fmla="*/ 9810 w 12062"/>
                <a:gd name="T39" fmla="*/ 10039 h 16058"/>
                <a:gd name="T40" fmla="*/ 8681 w 12062"/>
                <a:gd name="T41" fmla="*/ 11801 h 16058"/>
                <a:gd name="T42" fmla="*/ 7443 w 12062"/>
                <a:gd name="T43" fmla="*/ 13407 h 16058"/>
                <a:gd name="T44" fmla="*/ 6267 w 12062"/>
                <a:gd name="T45" fmla="*/ 14791 h 16058"/>
                <a:gd name="T46" fmla="*/ 4817 w 12062"/>
                <a:gd name="T47" fmla="*/ 121 h 16058"/>
                <a:gd name="T48" fmla="*/ 3159 w 12062"/>
                <a:gd name="T49" fmla="*/ 722 h 16058"/>
                <a:gd name="T50" fmla="*/ 1768 w 12062"/>
                <a:gd name="T51" fmla="*/ 1753 h 16058"/>
                <a:gd name="T52" fmla="*/ 729 w 12062"/>
                <a:gd name="T53" fmla="*/ 3139 h 16058"/>
                <a:gd name="T54" fmla="*/ 123 w 12062"/>
                <a:gd name="T55" fmla="*/ 4801 h 16058"/>
                <a:gd name="T56" fmla="*/ 34 w 12062"/>
                <a:gd name="T57" fmla="*/ 6682 h 16058"/>
                <a:gd name="T58" fmla="*/ 506 w 12062"/>
                <a:gd name="T59" fmla="*/ 8654 h 16058"/>
                <a:gd name="T60" fmla="*/ 1411 w 12062"/>
                <a:gd name="T61" fmla="*/ 10583 h 16058"/>
                <a:gd name="T62" fmla="*/ 2598 w 12062"/>
                <a:gd name="T63" fmla="*/ 12423 h 16058"/>
                <a:gd name="T64" fmla="*/ 3917 w 12062"/>
                <a:gd name="T65" fmla="*/ 14129 h 16058"/>
                <a:gd name="T66" fmla="*/ 5214 w 12062"/>
                <a:gd name="T67" fmla="*/ 15655 h 16058"/>
                <a:gd name="T68" fmla="*/ 5355 w 12062"/>
                <a:gd name="T69" fmla="*/ 15786 h 16058"/>
                <a:gd name="T70" fmla="*/ 5509 w 12062"/>
                <a:gd name="T71" fmla="*/ 15897 h 16058"/>
                <a:gd name="T72" fmla="*/ 5705 w 12062"/>
                <a:gd name="T73" fmla="*/ 15997 h 16058"/>
                <a:gd name="T74" fmla="*/ 5931 w 12062"/>
                <a:gd name="T75" fmla="*/ 16054 h 16058"/>
                <a:gd name="T76" fmla="*/ 6170 w 12062"/>
                <a:gd name="T77" fmla="*/ 16048 h 16058"/>
                <a:gd name="T78" fmla="*/ 6392 w 12062"/>
                <a:gd name="T79" fmla="*/ 15982 h 16058"/>
                <a:gd name="T80" fmla="*/ 6581 w 12062"/>
                <a:gd name="T81" fmla="*/ 15878 h 16058"/>
                <a:gd name="T82" fmla="*/ 6747 w 12062"/>
                <a:gd name="T83" fmla="*/ 15752 h 16058"/>
                <a:gd name="T84" fmla="*/ 7056 w 12062"/>
                <a:gd name="T85" fmla="*/ 15415 h 16058"/>
                <a:gd name="T86" fmla="*/ 8368 w 12062"/>
                <a:gd name="T87" fmla="*/ 13856 h 16058"/>
                <a:gd name="T88" fmla="*/ 9675 w 12062"/>
                <a:gd name="T89" fmla="*/ 12125 h 16058"/>
                <a:gd name="T90" fmla="*/ 10826 w 12062"/>
                <a:gd name="T91" fmla="*/ 10267 h 16058"/>
                <a:gd name="T92" fmla="*/ 11669 w 12062"/>
                <a:gd name="T93" fmla="*/ 8328 h 16058"/>
                <a:gd name="T94" fmla="*/ 12053 w 12062"/>
                <a:gd name="T95" fmla="*/ 6352 h 16058"/>
                <a:gd name="T96" fmla="*/ 11872 w 12062"/>
                <a:gd name="T97" fmla="*/ 4508 h 16058"/>
                <a:gd name="T98" fmla="*/ 11188 w 12062"/>
                <a:gd name="T99" fmla="*/ 2887 h 16058"/>
                <a:gd name="T100" fmla="*/ 10084 w 12062"/>
                <a:gd name="T101" fmla="*/ 1555 h 16058"/>
                <a:gd name="T102" fmla="*/ 8644 w 12062"/>
                <a:gd name="T103" fmla="*/ 589 h 16058"/>
                <a:gd name="T104" fmla="*/ 6948 w 12062"/>
                <a:gd name="T105" fmla="*/ 68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062" h="16058">
                  <a:moveTo>
                    <a:pt x="6090" y="14996"/>
                  </a:moveTo>
                  <a:lnTo>
                    <a:pt x="6078" y="15005"/>
                  </a:lnTo>
                  <a:lnTo>
                    <a:pt x="6062" y="15018"/>
                  </a:lnTo>
                  <a:lnTo>
                    <a:pt x="6042" y="15032"/>
                  </a:lnTo>
                  <a:lnTo>
                    <a:pt x="6021" y="15045"/>
                  </a:lnTo>
                  <a:lnTo>
                    <a:pt x="6018" y="15039"/>
                  </a:lnTo>
                  <a:lnTo>
                    <a:pt x="6012" y="15032"/>
                  </a:lnTo>
                  <a:lnTo>
                    <a:pt x="6004" y="15024"/>
                  </a:lnTo>
                  <a:lnTo>
                    <a:pt x="5995" y="15015"/>
                  </a:lnTo>
                  <a:lnTo>
                    <a:pt x="5975" y="14996"/>
                  </a:lnTo>
                  <a:lnTo>
                    <a:pt x="5956" y="14978"/>
                  </a:lnTo>
                  <a:lnTo>
                    <a:pt x="5780" y="14775"/>
                  </a:lnTo>
                  <a:lnTo>
                    <a:pt x="5597" y="14565"/>
                  </a:lnTo>
                  <a:lnTo>
                    <a:pt x="5408" y="14346"/>
                  </a:lnTo>
                  <a:lnTo>
                    <a:pt x="5215" y="14120"/>
                  </a:lnTo>
                  <a:lnTo>
                    <a:pt x="5017" y="13886"/>
                  </a:lnTo>
                  <a:lnTo>
                    <a:pt x="4815" y="13646"/>
                  </a:lnTo>
                  <a:lnTo>
                    <a:pt x="4611" y="13399"/>
                  </a:lnTo>
                  <a:lnTo>
                    <a:pt x="4406" y="13145"/>
                  </a:lnTo>
                  <a:lnTo>
                    <a:pt x="4199" y="12887"/>
                  </a:lnTo>
                  <a:lnTo>
                    <a:pt x="3992" y="12622"/>
                  </a:lnTo>
                  <a:lnTo>
                    <a:pt x="3785" y="12352"/>
                  </a:lnTo>
                  <a:lnTo>
                    <a:pt x="3580" y="12077"/>
                  </a:lnTo>
                  <a:lnTo>
                    <a:pt x="3378" y="11797"/>
                  </a:lnTo>
                  <a:lnTo>
                    <a:pt x="3178" y="11513"/>
                  </a:lnTo>
                  <a:lnTo>
                    <a:pt x="2982" y="11225"/>
                  </a:lnTo>
                  <a:lnTo>
                    <a:pt x="2790" y="10932"/>
                  </a:lnTo>
                  <a:lnTo>
                    <a:pt x="2604" y="10637"/>
                  </a:lnTo>
                  <a:lnTo>
                    <a:pt x="2424" y="10339"/>
                  </a:lnTo>
                  <a:lnTo>
                    <a:pt x="2251" y="10038"/>
                  </a:lnTo>
                  <a:lnTo>
                    <a:pt x="2087" y="9734"/>
                  </a:lnTo>
                  <a:lnTo>
                    <a:pt x="1930" y="9429"/>
                  </a:lnTo>
                  <a:lnTo>
                    <a:pt x="1782" y="9122"/>
                  </a:lnTo>
                  <a:lnTo>
                    <a:pt x="1645" y="8813"/>
                  </a:lnTo>
                  <a:lnTo>
                    <a:pt x="1520" y="8504"/>
                  </a:lnTo>
                  <a:lnTo>
                    <a:pt x="1406" y="8193"/>
                  </a:lnTo>
                  <a:lnTo>
                    <a:pt x="1305" y="7881"/>
                  </a:lnTo>
                  <a:lnTo>
                    <a:pt x="1216" y="7570"/>
                  </a:lnTo>
                  <a:lnTo>
                    <a:pt x="1142" y="7259"/>
                  </a:lnTo>
                  <a:lnTo>
                    <a:pt x="1083" y="6948"/>
                  </a:lnTo>
                  <a:lnTo>
                    <a:pt x="1040" y="6639"/>
                  </a:lnTo>
                  <a:lnTo>
                    <a:pt x="1014" y="6330"/>
                  </a:lnTo>
                  <a:lnTo>
                    <a:pt x="1005" y="6023"/>
                  </a:lnTo>
                  <a:lnTo>
                    <a:pt x="1011" y="5765"/>
                  </a:lnTo>
                  <a:lnTo>
                    <a:pt x="1031" y="5510"/>
                  </a:lnTo>
                  <a:lnTo>
                    <a:pt x="1063" y="5259"/>
                  </a:lnTo>
                  <a:lnTo>
                    <a:pt x="1108" y="5012"/>
                  </a:lnTo>
                  <a:lnTo>
                    <a:pt x="1164" y="4770"/>
                  </a:lnTo>
                  <a:lnTo>
                    <a:pt x="1231" y="4532"/>
                  </a:lnTo>
                  <a:lnTo>
                    <a:pt x="1311" y="4299"/>
                  </a:lnTo>
                  <a:lnTo>
                    <a:pt x="1401" y="4071"/>
                  </a:lnTo>
                  <a:lnTo>
                    <a:pt x="1502" y="3849"/>
                  </a:lnTo>
                  <a:lnTo>
                    <a:pt x="1612" y="3632"/>
                  </a:lnTo>
                  <a:lnTo>
                    <a:pt x="1734" y="3422"/>
                  </a:lnTo>
                  <a:lnTo>
                    <a:pt x="1864" y="3219"/>
                  </a:lnTo>
                  <a:lnTo>
                    <a:pt x="2005" y="3022"/>
                  </a:lnTo>
                  <a:lnTo>
                    <a:pt x="2154" y="2832"/>
                  </a:lnTo>
                  <a:lnTo>
                    <a:pt x="2313" y="2650"/>
                  </a:lnTo>
                  <a:lnTo>
                    <a:pt x="2479" y="2475"/>
                  </a:lnTo>
                  <a:lnTo>
                    <a:pt x="2653" y="2309"/>
                  </a:lnTo>
                  <a:lnTo>
                    <a:pt x="2836" y="2151"/>
                  </a:lnTo>
                  <a:lnTo>
                    <a:pt x="3026" y="2002"/>
                  </a:lnTo>
                  <a:lnTo>
                    <a:pt x="3223" y="1862"/>
                  </a:lnTo>
                  <a:lnTo>
                    <a:pt x="3427" y="1731"/>
                  </a:lnTo>
                  <a:lnTo>
                    <a:pt x="3637" y="1610"/>
                  </a:lnTo>
                  <a:lnTo>
                    <a:pt x="3854" y="1499"/>
                  </a:lnTo>
                  <a:lnTo>
                    <a:pt x="4077" y="1399"/>
                  </a:lnTo>
                  <a:lnTo>
                    <a:pt x="4305" y="1309"/>
                  </a:lnTo>
                  <a:lnTo>
                    <a:pt x="4538" y="1229"/>
                  </a:lnTo>
                  <a:lnTo>
                    <a:pt x="4776" y="1162"/>
                  </a:lnTo>
                  <a:lnTo>
                    <a:pt x="5019" y="1106"/>
                  </a:lnTo>
                  <a:lnTo>
                    <a:pt x="5267" y="1062"/>
                  </a:lnTo>
                  <a:lnTo>
                    <a:pt x="5518" y="1030"/>
                  </a:lnTo>
                  <a:lnTo>
                    <a:pt x="5773" y="1010"/>
                  </a:lnTo>
                  <a:lnTo>
                    <a:pt x="6032" y="1004"/>
                  </a:lnTo>
                  <a:lnTo>
                    <a:pt x="6289" y="1010"/>
                  </a:lnTo>
                  <a:lnTo>
                    <a:pt x="6544" y="1030"/>
                  </a:lnTo>
                  <a:lnTo>
                    <a:pt x="6795" y="1062"/>
                  </a:lnTo>
                  <a:lnTo>
                    <a:pt x="7043" y="1106"/>
                  </a:lnTo>
                  <a:lnTo>
                    <a:pt x="7286" y="1162"/>
                  </a:lnTo>
                  <a:lnTo>
                    <a:pt x="7524" y="1229"/>
                  </a:lnTo>
                  <a:lnTo>
                    <a:pt x="7757" y="1309"/>
                  </a:lnTo>
                  <a:lnTo>
                    <a:pt x="7985" y="1399"/>
                  </a:lnTo>
                  <a:lnTo>
                    <a:pt x="8208" y="1499"/>
                  </a:lnTo>
                  <a:lnTo>
                    <a:pt x="8425" y="1610"/>
                  </a:lnTo>
                  <a:lnTo>
                    <a:pt x="8635" y="1731"/>
                  </a:lnTo>
                  <a:lnTo>
                    <a:pt x="8839" y="1862"/>
                  </a:lnTo>
                  <a:lnTo>
                    <a:pt x="9036" y="2002"/>
                  </a:lnTo>
                  <a:lnTo>
                    <a:pt x="9226" y="2151"/>
                  </a:lnTo>
                  <a:lnTo>
                    <a:pt x="9409" y="2309"/>
                  </a:lnTo>
                  <a:lnTo>
                    <a:pt x="9583" y="2475"/>
                  </a:lnTo>
                  <a:lnTo>
                    <a:pt x="9749" y="2650"/>
                  </a:lnTo>
                  <a:lnTo>
                    <a:pt x="9908" y="2832"/>
                  </a:lnTo>
                  <a:lnTo>
                    <a:pt x="10057" y="3022"/>
                  </a:lnTo>
                  <a:lnTo>
                    <a:pt x="10198" y="3219"/>
                  </a:lnTo>
                  <a:lnTo>
                    <a:pt x="10328" y="3422"/>
                  </a:lnTo>
                  <a:lnTo>
                    <a:pt x="10450" y="3632"/>
                  </a:lnTo>
                  <a:lnTo>
                    <a:pt x="10560" y="3849"/>
                  </a:lnTo>
                  <a:lnTo>
                    <a:pt x="10661" y="4071"/>
                  </a:lnTo>
                  <a:lnTo>
                    <a:pt x="10751" y="4299"/>
                  </a:lnTo>
                  <a:lnTo>
                    <a:pt x="10831" y="4532"/>
                  </a:lnTo>
                  <a:lnTo>
                    <a:pt x="10898" y="4770"/>
                  </a:lnTo>
                  <a:lnTo>
                    <a:pt x="10954" y="5012"/>
                  </a:lnTo>
                  <a:lnTo>
                    <a:pt x="10999" y="5259"/>
                  </a:lnTo>
                  <a:lnTo>
                    <a:pt x="11031" y="5510"/>
                  </a:lnTo>
                  <a:lnTo>
                    <a:pt x="11051" y="5765"/>
                  </a:lnTo>
                  <a:lnTo>
                    <a:pt x="11057" y="6023"/>
                  </a:lnTo>
                  <a:lnTo>
                    <a:pt x="11048" y="6330"/>
                  </a:lnTo>
                  <a:lnTo>
                    <a:pt x="11022" y="6639"/>
                  </a:lnTo>
                  <a:lnTo>
                    <a:pt x="10979" y="6948"/>
                  </a:lnTo>
                  <a:lnTo>
                    <a:pt x="10920" y="7259"/>
                  </a:lnTo>
                  <a:lnTo>
                    <a:pt x="10846" y="7570"/>
                  </a:lnTo>
                  <a:lnTo>
                    <a:pt x="10757" y="7881"/>
                  </a:lnTo>
                  <a:lnTo>
                    <a:pt x="10656" y="8193"/>
                  </a:lnTo>
                  <a:lnTo>
                    <a:pt x="10542" y="8504"/>
                  </a:lnTo>
                  <a:lnTo>
                    <a:pt x="10416" y="8814"/>
                  </a:lnTo>
                  <a:lnTo>
                    <a:pt x="10279" y="9122"/>
                  </a:lnTo>
                  <a:lnTo>
                    <a:pt x="10132" y="9430"/>
                  </a:lnTo>
                  <a:lnTo>
                    <a:pt x="9975" y="9735"/>
                  </a:lnTo>
                  <a:lnTo>
                    <a:pt x="9810" y="10039"/>
                  </a:lnTo>
                  <a:lnTo>
                    <a:pt x="9637" y="10340"/>
                  </a:lnTo>
                  <a:lnTo>
                    <a:pt x="9457" y="10639"/>
                  </a:lnTo>
                  <a:lnTo>
                    <a:pt x="9270" y="10934"/>
                  </a:lnTo>
                  <a:lnTo>
                    <a:pt x="9078" y="11227"/>
                  </a:lnTo>
                  <a:lnTo>
                    <a:pt x="8882" y="11516"/>
                  </a:lnTo>
                  <a:lnTo>
                    <a:pt x="8681" y="11801"/>
                  </a:lnTo>
                  <a:lnTo>
                    <a:pt x="8478" y="12081"/>
                  </a:lnTo>
                  <a:lnTo>
                    <a:pt x="8272" y="12357"/>
                  </a:lnTo>
                  <a:lnTo>
                    <a:pt x="8065" y="12628"/>
                  </a:lnTo>
                  <a:lnTo>
                    <a:pt x="7857" y="12893"/>
                  </a:lnTo>
                  <a:lnTo>
                    <a:pt x="7650" y="13154"/>
                  </a:lnTo>
                  <a:lnTo>
                    <a:pt x="7443" y="13407"/>
                  </a:lnTo>
                  <a:lnTo>
                    <a:pt x="7238" y="13655"/>
                  </a:lnTo>
                  <a:lnTo>
                    <a:pt x="7036" y="13897"/>
                  </a:lnTo>
                  <a:lnTo>
                    <a:pt x="6837" y="14132"/>
                  </a:lnTo>
                  <a:lnTo>
                    <a:pt x="6642" y="14359"/>
                  </a:lnTo>
                  <a:lnTo>
                    <a:pt x="6452" y="14579"/>
                  </a:lnTo>
                  <a:lnTo>
                    <a:pt x="6267" y="14791"/>
                  </a:lnTo>
                  <a:lnTo>
                    <a:pt x="6090" y="14996"/>
                  </a:lnTo>
                  <a:close/>
                  <a:moveTo>
                    <a:pt x="6032" y="0"/>
                  </a:moveTo>
                  <a:lnTo>
                    <a:pt x="5721" y="8"/>
                  </a:lnTo>
                  <a:lnTo>
                    <a:pt x="5415" y="31"/>
                  </a:lnTo>
                  <a:lnTo>
                    <a:pt x="5114" y="68"/>
                  </a:lnTo>
                  <a:lnTo>
                    <a:pt x="4817" y="121"/>
                  </a:lnTo>
                  <a:lnTo>
                    <a:pt x="4526" y="188"/>
                  </a:lnTo>
                  <a:lnTo>
                    <a:pt x="4239" y="268"/>
                  </a:lnTo>
                  <a:lnTo>
                    <a:pt x="3959" y="362"/>
                  </a:lnTo>
                  <a:lnTo>
                    <a:pt x="3686" y="470"/>
                  </a:lnTo>
                  <a:lnTo>
                    <a:pt x="3418" y="589"/>
                  </a:lnTo>
                  <a:lnTo>
                    <a:pt x="3159" y="722"/>
                  </a:lnTo>
                  <a:lnTo>
                    <a:pt x="2906" y="865"/>
                  </a:lnTo>
                  <a:lnTo>
                    <a:pt x="2661" y="1021"/>
                  </a:lnTo>
                  <a:lnTo>
                    <a:pt x="2424" y="1188"/>
                  </a:lnTo>
                  <a:lnTo>
                    <a:pt x="2197" y="1366"/>
                  </a:lnTo>
                  <a:lnTo>
                    <a:pt x="1978" y="1555"/>
                  </a:lnTo>
                  <a:lnTo>
                    <a:pt x="1768" y="1753"/>
                  </a:lnTo>
                  <a:lnTo>
                    <a:pt x="1569" y="1962"/>
                  </a:lnTo>
                  <a:lnTo>
                    <a:pt x="1379" y="2180"/>
                  </a:lnTo>
                  <a:lnTo>
                    <a:pt x="1200" y="2407"/>
                  </a:lnTo>
                  <a:lnTo>
                    <a:pt x="1031" y="2643"/>
                  </a:lnTo>
                  <a:lnTo>
                    <a:pt x="874" y="2887"/>
                  </a:lnTo>
                  <a:lnTo>
                    <a:pt x="729" y="3139"/>
                  </a:lnTo>
                  <a:lnTo>
                    <a:pt x="596" y="3399"/>
                  </a:lnTo>
                  <a:lnTo>
                    <a:pt x="474" y="3666"/>
                  </a:lnTo>
                  <a:lnTo>
                    <a:pt x="367" y="3940"/>
                  </a:lnTo>
                  <a:lnTo>
                    <a:pt x="271" y="4221"/>
                  </a:lnTo>
                  <a:lnTo>
                    <a:pt x="190" y="4508"/>
                  </a:lnTo>
                  <a:lnTo>
                    <a:pt x="123" y="4801"/>
                  </a:lnTo>
                  <a:lnTo>
                    <a:pt x="69" y="5099"/>
                  </a:lnTo>
                  <a:lnTo>
                    <a:pt x="31" y="5403"/>
                  </a:lnTo>
                  <a:lnTo>
                    <a:pt x="8" y="5711"/>
                  </a:lnTo>
                  <a:lnTo>
                    <a:pt x="0" y="6023"/>
                  </a:lnTo>
                  <a:lnTo>
                    <a:pt x="9" y="6352"/>
                  </a:lnTo>
                  <a:lnTo>
                    <a:pt x="34" y="6682"/>
                  </a:lnTo>
                  <a:lnTo>
                    <a:pt x="76" y="7012"/>
                  </a:lnTo>
                  <a:lnTo>
                    <a:pt x="134" y="7342"/>
                  </a:lnTo>
                  <a:lnTo>
                    <a:pt x="206" y="7671"/>
                  </a:lnTo>
                  <a:lnTo>
                    <a:pt x="292" y="8000"/>
                  </a:lnTo>
                  <a:lnTo>
                    <a:pt x="393" y="8328"/>
                  </a:lnTo>
                  <a:lnTo>
                    <a:pt x="506" y="8654"/>
                  </a:lnTo>
                  <a:lnTo>
                    <a:pt x="630" y="8980"/>
                  </a:lnTo>
                  <a:lnTo>
                    <a:pt x="767" y="9305"/>
                  </a:lnTo>
                  <a:lnTo>
                    <a:pt x="914" y="9628"/>
                  </a:lnTo>
                  <a:lnTo>
                    <a:pt x="1070" y="9948"/>
                  </a:lnTo>
                  <a:lnTo>
                    <a:pt x="1236" y="10267"/>
                  </a:lnTo>
                  <a:lnTo>
                    <a:pt x="1411" y="10583"/>
                  </a:lnTo>
                  <a:lnTo>
                    <a:pt x="1593" y="10897"/>
                  </a:lnTo>
                  <a:lnTo>
                    <a:pt x="1783" y="11208"/>
                  </a:lnTo>
                  <a:lnTo>
                    <a:pt x="1979" y="11518"/>
                  </a:lnTo>
                  <a:lnTo>
                    <a:pt x="2180" y="11823"/>
                  </a:lnTo>
                  <a:lnTo>
                    <a:pt x="2387" y="12125"/>
                  </a:lnTo>
                  <a:lnTo>
                    <a:pt x="2598" y="12423"/>
                  </a:lnTo>
                  <a:lnTo>
                    <a:pt x="2813" y="12718"/>
                  </a:lnTo>
                  <a:lnTo>
                    <a:pt x="3030" y="13009"/>
                  </a:lnTo>
                  <a:lnTo>
                    <a:pt x="3250" y="13296"/>
                  </a:lnTo>
                  <a:lnTo>
                    <a:pt x="3473" y="13578"/>
                  </a:lnTo>
                  <a:lnTo>
                    <a:pt x="3695" y="13856"/>
                  </a:lnTo>
                  <a:lnTo>
                    <a:pt x="3917" y="14129"/>
                  </a:lnTo>
                  <a:lnTo>
                    <a:pt x="4139" y="14397"/>
                  </a:lnTo>
                  <a:lnTo>
                    <a:pt x="4359" y="14659"/>
                  </a:lnTo>
                  <a:lnTo>
                    <a:pt x="4577" y="14917"/>
                  </a:lnTo>
                  <a:lnTo>
                    <a:pt x="4793" y="15169"/>
                  </a:lnTo>
                  <a:lnTo>
                    <a:pt x="5006" y="15415"/>
                  </a:lnTo>
                  <a:lnTo>
                    <a:pt x="5214" y="15655"/>
                  </a:lnTo>
                  <a:lnTo>
                    <a:pt x="5219" y="15661"/>
                  </a:lnTo>
                  <a:lnTo>
                    <a:pt x="5233" y="15675"/>
                  </a:lnTo>
                  <a:lnTo>
                    <a:pt x="5254" y="15695"/>
                  </a:lnTo>
                  <a:lnTo>
                    <a:pt x="5281" y="15722"/>
                  </a:lnTo>
                  <a:lnTo>
                    <a:pt x="5315" y="15752"/>
                  </a:lnTo>
                  <a:lnTo>
                    <a:pt x="5355" y="15786"/>
                  </a:lnTo>
                  <a:lnTo>
                    <a:pt x="5377" y="15804"/>
                  </a:lnTo>
                  <a:lnTo>
                    <a:pt x="5401" y="15822"/>
                  </a:lnTo>
                  <a:lnTo>
                    <a:pt x="5426" y="15841"/>
                  </a:lnTo>
                  <a:lnTo>
                    <a:pt x="5453" y="15860"/>
                  </a:lnTo>
                  <a:lnTo>
                    <a:pt x="5480" y="15878"/>
                  </a:lnTo>
                  <a:lnTo>
                    <a:pt x="5509" y="15897"/>
                  </a:lnTo>
                  <a:lnTo>
                    <a:pt x="5539" y="15915"/>
                  </a:lnTo>
                  <a:lnTo>
                    <a:pt x="5570" y="15933"/>
                  </a:lnTo>
                  <a:lnTo>
                    <a:pt x="5602" y="15950"/>
                  </a:lnTo>
                  <a:lnTo>
                    <a:pt x="5635" y="15967"/>
                  </a:lnTo>
                  <a:lnTo>
                    <a:pt x="5670" y="15982"/>
                  </a:lnTo>
                  <a:lnTo>
                    <a:pt x="5705" y="15997"/>
                  </a:lnTo>
                  <a:lnTo>
                    <a:pt x="5740" y="16010"/>
                  </a:lnTo>
                  <a:lnTo>
                    <a:pt x="5777" y="16022"/>
                  </a:lnTo>
                  <a:lnTo>
                    <a:pt x="5814" y="16032"/>
                  </a:lnTo>
                  <a:lnTo>
                    <a:pt x="5853" y="16041"/>
                  </a:lnTo>
                  <a:lnTo>
                    <a:pt x="5892" y="16048"/>
                  </a:lnTo>
                  <a:lnTo>
                    <a:pt x="5931" y="16054"/>
                  </a:lnTo>
                  <a:lnTo>
                    <a:pt x="5971" y="16057"/>
                  </a:lnTo>
                  <a:lnTo>
                    <a:pt x="6011" y="16058"/>
                  </a:lnTo>
                  <a:lnTo>
                    <a:pt x="6051" y="16058"/>
                  </a:lnTo>
                  <a:lnTo>
                    <a:pt x="6091" y="16057"/>
                  </a:lnTo>
                  <a:lnTo>
                    <a:pt x="6131" y="16054"/>
                  </a:lnTo>
                  <a:lnTo>
                    <a:pt x="6170" y="16048"/>
                  </a:lnTo>
                  <a:lnTo>
                    <a:pt x="6209" y="16041"/>
                  </a:lnTo>
                  <a:lnTo>
                    <a:pt x="6248" y="16032"/>
                  </a:lnTo>
                  <a:lnTo>
                    <a:pt x="6285" y="16022"/>
                  </a:lnTo>
                  <a:lnTo>
                    <a:pt x="6322" y="16010"/>
                  </a:lnTo>
                  <a:lnTo>
                    <a:pt x="6357" y="15997"/>
                  </a:lnTo>
                  <a:lnTo>
                    <a:pt x="6392" y="15982"/>
                  </a:lnTo>
                  <a:lnTo>
                    <a:pt x="6427" y="15967"/>
                  </a:lnTo>
                  <a:lnTo>
                    <a:pt x="6460" y="15950"/>
                  </a:lnTo>
                  <a:lnTo>
                    <a:pt x="6492" y="15933"/>
                  </a:lnTo>
                  <a:lnTo>
                    <a:pt x="6523" y="15915"/>
                  </a:lnTo>
                  <a:lnTo>
                    <a:pt x="6553" y="15897"/>
                  </a:lnTo>
                  <a:lnTo>
                    <a:pt x="6581" y="15878"/>
                  </a:lnTo>
                  <a:lnTo>
                    <a:pt x="6609" y="15860"/>
                  </a:lnTo>
                  <a:lnTo>
                    <a:pt x="6636" y="15841"/>
                  </a:lnTo>
                  <a:lnTo>
                    <a:pt x="6661" y="15822"/>
                  </a:lnTo>
                  <a:lnTo>
                    <a:pt x="6684" y="15804"/>
                  </a:lnTo>
                  <a:lnTo>
                    <a:pt x="6707" y="15786"/>
                  </a:lnTo>
                  <a:lnTo>
                    <a:pt x="6747" y="15752"/>
                  </a:lnTo>
                  <a:lnTo>
                    <a:pt x="6780" y="15722"/>
                  </a:lnTo>
                  <a:lnTo>
                    <a:pt x="6808" y="15695"/>
                  </a:lnTo>
                  <a:lnTo>
                    <a:pt x="6829" y="15675"/>
                  </a:lnTo>
                  <a:lnTo>
                    <a:pt x="6842" y="15661"/>
                  </a:lnTo>
                  <a:lnTo>
                    <a:pt x="6848" y="15655"/>
                  </a:lnTo>
                  <a:lnTo>
                    <a:pt x="7056" y="15415"/>
                  </a:lnTo>
                  <a:lnTo>
                    <a:pt x="7269" y="15169"/>
                  </a:lnTo>
                  <a:lnTo>
                    <a:pt x="7485" y="14917"/>
                  </a:lnTo>
                  <a:lnTo>
                    <a:pt x="7703" y="14659"/>
                  </a:lnTo>
                  <a:lnTo>
                    <a:pt x="7924" y="14397"/>
                  </a:lnTo>
                  <a:lnTo>
                    <a:pt x="8145" y="14129"/>
                  </a:lnTo>
                  <a:lnTo>
                    <a:pt x="8368" y="13856"/>
                  </a:lnTo>
                  <a:lnTo>
                    <a:pt x="8590" y="13578"/>
                  </a:lnTo>
                  <a:lnTo>
                    <a:pt x="8812" y="13296"/>
                  </a:lnTo>
                  <a:lnTo>
                    <a:pt x="9032" y="13009"/>
                  </a:lnTo>
                  <a:lnTo>
                    <a:pt x="9249" y="12718"/>
                  </a:lnTo>
                  <a:lnTo>
                    <a:pt x="9464" y="12423"/>
                  </a:lnTo>
                  <a:lnTo>
                    <a:pt x="9675" y="12125"/>
                  </a:lnTo>
                  <a:lnTo>
                    <a:pt x="9882" y="11823"/>
                  </a:lnTo>
                  <a:lnTo>
                    <a:pt x="10084" y="11518"/>
                  </a:lnTo>
                  <a:lnTo>
                    <a:pt x="10280" y="11208"/>
                  </a:lnTo>
                  <a:lnTo>
                    <a:pt x="10469" y="10897"/>
                  </a:lnTo>
                  <a:lnTo>
                    <a:pt x="10652" y="10583"/>
                  </a:lnTo>
                  <a:lnTo>
                    <a:pt x="10826" y="10267"/>
                  </a:lnTo>
                  <a:lnTo>
                    <a:pt x="10992" y="9948"/>
                  </a:lnTo>
                  <a:lnTo>
                    <a:pt x="11148" y="9628"/>
                  </a:lnTo>
                  <a:lnTo>
                    <a:pt x="11295" y="9305"/>
                  </a:lnTo>
                  <a:lnTo>
                    <a:pt x="11432" y="8980"/>
                  </a:lnTo>
                  <a:lnTo>
                    <a:pt x="11556" y="8654"/>
                  </a:lnTo>
                  <a:lnTo>
                    <a:pt x="11669" y="8328"/>
                  </a:lnTo>
                  <a:lnTo>
                    <a:pt x="11770" y="8000"/>
                  </a:lnTo>
                  <a:lnTo>
                    <a:pt x="11856" y="7671"/>
                  </a:lnTo>
                  <a:lnTo>
                    <a:pt x="11928" y="7342"/>
                  </a:lnTo>
                  <a:lnTo>
                    <a:pt x="11986" y="7012"/>
                  </a:lnTo>
                  <a:lnTo>
                    <a:pt x="12028" y="6682"/>
                  </a:lnTo>
                  <a:lnTo>
                    <a:pt x="12053" y="6352"/>
                  </a:lnTo>
                  <a:lnTo>
                    <a:pt x="12062" y="6023"/>
                  </a:lnTo>
                  <a:lnTo>
                    <a:pt x="12054" y="5711"/>
                  </a:lnTo>
                  <a:lnTo>
                    <a:pt x="12031" y="5403"/>
                  </a:lnTo>
                  <a:lnTo>
                    <a:pt x="11993" y="5099"/>
                  </a:lnTo>
                  <a:lnTo>
                    <a:pt x="11939" y="4801"/>
                  </a:lnTo>
                  <a:lnTo>
                    <a:pt x="11872" y="4508"/>
                  </a:lnTo>
                  <a:lnTo>
                    <a:pt x="11791" y="4221"/>
                  </a:lnTo>
                  <a:lnTo>
                    <a:pt x="11695" y="3940"/>
                  </a:lnTo>
                  <a:lnTo>
                    <a:pt x="11588" y="3666"/>
                  </a:lnTo>
                  <a:lnTo>
                    <a:pt x="11466" y="3399"/>
                  </a:lnTo>
                  <a:lnTo>
                    <a:pt x="11333" y="3139"/>
                  </a:lnTo>
                  <a:lnTo>
                    <a:pt x="11188" y="2887"/>
                  </a:lnTo>
                  <a:lnTo>
                    <a:pt x="11031" y="2643"/>
                  </a:lnTo>
                  <a:lnTo>
                    <a:pt x="10862" y="2407"/>
                  </a:lnTo>
                  <a:lnTo>
                    <a:pt x="10683" y="2180"/>
                  </a:lnTo>
                  <a:lnTo>
                    <a:pt x="10493" y="1962"/>
                  </a:lnTo>
                  <a:lnTo>
                    <a:pt x="10294" y="1753"/>
                  </a:lnTo>
                  <a:lnTo>
                    <a:pt x="10084" y="1555"/>
                  </a:lnTo>
                  <a:lnTo>
                    <a:pt x="9865" y="1366"/>
                  </a:lnTo>
                  <a:lnTo>
                    <a:pt x="9638" y="1188"/>
                  </a:lnTo>
                  <a:lnTo>
                    <a:pt x="9401" y="1021"/>
                  </a:lnTo>
                  <a:lnTo>
                    <a:pt x="9156" y="865"/>
                  </a:lnTo>
                  <a:lnTo>
                    <a:pt x="8903" y="722"/>
                  </a:lnTo>
                  <a:lnTo>
                    <a:pt x="8644" y="589"/>
                  </a:lnTo>
                  <a:lnTo>
                    <a:pt x="8376" y="470"/>
                  </a:lnTo>
                  <a:lnTo>
                    <a:pt x="8103" y="362"/>
                  </a:lnTo>
                  <a:lnTo>
                    <a:pt x="7823" y="268"/>
                  </a:lnTo>
                  <a:lnTo>
                    <a:pt x="7536" y="188"/>
                  </a:lnTo>
                  <a:lnTo>
                    <a:pt x="7245" y="121"/>
                  </a:lnTo>
                  <a:lnTo>
                    <a:pt x="6948" y="68"/>
                  </a:lnTo>
                  <a:lnTo>
                    <a:pt x="6647" y="31"/>
                  </a:lnTo>
                  <a:lnTo>
                    <a:pt x="6341" y="8"/>
                  </a:lnTo>
                  <a:lnTo>
                    <a:pt x="60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56" name="íSḷidê">
              <a:extLst>
                <a:ext uri="{FF2B5EF4-FFF2-40B4-BE49-F238E27FC236}">
                  <a16:creationId xmlns:a16="http://schemas.microsoft.com/office/drawing/2014/main" id="{E0618037-3E2C-4763-8DB4-C94107E490F8}"/>
                </a:ext>
              </a:extLst>
            </p:cNvPr>
            <p:cNvSpPr/>
            <p:nvPr/>
          </p:nvSpPr>
          <p:spPr bwMode="auto">
            <a:xfrm>
              <a:off x="3190898" y="2095478"/>
              <a:ext cx="461060" cy="305964"/>
            </a:xfrm>
            <a:custGeom>
              <a:avLst/>
              <a:gdLst>
                <a:gd name="T0" fmla="*/ 503 w 12071"/>
                <a:gd name="T1" fmla="*/ 502 h 8033"/>
                <a:gd name="T2" fmla="*/ 11568 w 12071"/>
                <a:gd name="T3" fmla="*/ 0 h 8033"/>
                <a:gd name="T4" fmla="*/ 452 w 12071"/>
                <a:gd name="T5" fmla="*/ 5 h 8033"/>
                <a:gd name="T6" fmla="*/ 377 w 12071"/>
                <a:gd name="T7" fmla="*/ 18 h 8033"/>
                <a:gd name="T8" fmla="*/ 307 w 12071"/>
                <a:gd name="T9" fmla="*/ 41 h 8033"/>
                <a:gd name="T10" fmla="*/ 242 w 12071"/>
                <a:gd name="T11" fmla="*/ 74 h 8033"/>
                <a:gd name="T12" fmla="*/ 183 w 12071"/>
                <a:gd name="T13" fmla="*/ 116 h 8033"/>
                <a:gd name="T14" fmla="*/ 131 w 12071"/>
                <a:gd name="T15" fmla="*/ 166 h 8033"/>
                <a:gd name="T16" fmla="*/ 85 w 12071"/>
                <a:gd name="T17" fmla="*/ 222 h 8033"/>
                <a:gd name="T18" fmla="*/ 49 w 12071"/>
                <a:gd name="T19" fmla="*/ 284 h 8033"/>
                <a:gd name="T20" fmla="*/ 22 w 12071"/>
                <a:gd name="T21" fmla="*/ 353 h 8033"/>
                <a:gd name="T22" fmla="*/ 6 w 12071"/>
                <a:gd name="T23" fmla="*/ 426 h 8033"/>
                <a:gd name="T24" fmla="*/ 0 w 12071"/>
                <a:gd name="T25" fmla="*/ 502 h 8033"/>
                <a:gd name="T26" fmla="*/ 3 w 12071"/>
                <a:gd name="T27" fmla="*/ 7582 h 8033"/>
                <a:gd name="T28" fmla="*/ 16 w 12071"/>
                <a:gd name="T29" fmla="*/ 7656 h 8033"/>
                <a:gd name="T30" fmla="*/ 39 w 12071"/>
                <a:gd name="T31" fmla="*/ 7726 h 8033"/>
                <a:gd name="T32" fmla="*/ 72 w 12071"/>
                <a:gd name="T33" fmla="*/ 7792 h 8033"/>
                <a:gd name="T34" fmla="*/ 115 w 12071"/>
                <a:gd name="T35" fmla="*/ 7850 h 8033"/>
                <a:gd name="T36" fmla="*/ 165 w 12071"/>
                <a:gd name="T37" fmla="*/ 7902 h 8033"/>
                <a:gd name="T38" fmla="*/ 221 w 12071"/>
                <a:gd name="T39" fmla="*/ 7947 h 8033"/>
                <a:gd name="T40" fmla="*/ 285 w 12071"/>
                <a:gd name="T41" fmla="*/ 7983 h 8033"/>
                <a:gd name="T42" fmla="*/ 353 w 12071"/>
                <a:gd name="T43" fmla="*/ 8011 h 8033"/>
                <a:gd name="T44" fmla="*/ 426 w 12071"/>
                <a:gd name="T45" fmla="*/ 8027 h 8033"/>
                <a:gd name="T46" fmla="*/ 503 w 12071"/>
                <a:gd name="T47" fmla="*/ 8033 h 8033"/>
                <a:gd name="T48" fmla="*/ 11619 w 12071"/>
                <a:gd name="T49" fmla="*/ 8030 h 8033"/>
                <a:gd name="T50" fmla="*/ 11694 w 12071"/>
                <a:gd name="T51" fmla="*/ 8017 h 8033"/>
                <a:gd name="T52" fmla="*/ 11764 w 12071"/>
                <a:gd name="T53" fmla="*/ 7994 h 8033"/>
                <a:gd name="T54" fmla="*/ 11829 w 12071"/>
                <a:gd name="T55" fmla="*/ 7960 h 8033"/>
                <a:gd name="T56" fmla="*/ 11888 w 12071"/>
                <a:gd name="T57" fmla="*/ 7918 h 8033"/>
                <a:gd name="T58" fmla="*/ 11940 w 12071"/>
                <a:gd name="T59" fmla="*/ 7868 h 8033"/>
                <a:gd name="T60" fmla="*/ 11986 w 12071"/>
                <a:gd name="T61" fmla="*/ 7812 h 8033"/>
                <a:gd name="T62" fmla="*/ 12022 w 12071"/>
                <a:gd name="T63" fmla="*/ 7749 h 8033"/>
                <a:gd name="T64" fmla="*/ 12049 w 12071"/>
                <a:gd name="T65" fmla="*/ 7680 h 8033"/>
                <a:gd name="T66" fmla="*/ 12065 w 12071"/>
                <a:gd name="T67" fmla="*/ 7607 h 8033"/>
                <a:gd name="T68" fmla="*/ 12071 w 12071"/>
                <a:gd name="T69" fmla="*/ 7531 h 8033"/>
                <a:gd name="T70" fmla="*/ 12068 w 12071"/>
                <a:gd name="T71" fmla="*/ 451 h 8033"/>
                <a:gd name="T72" fmla="*/ 12055 w 12071"/>
                <a:gd name="T73" fmla="*/ 377 h 8033"/>
                <a:gd name="T74" fmla="*/ 12032 w 12071"/>
                <a:gd name="T75" fmla="*/ 306 h 8033"/>
                <a:gd name="T76" fmla="*/ 11999 w 12071"/>
                <a:gd name="T77" fmla="*/ 242 h 8033"/>
                <a:gd name="T78" fmla="*/ 11956 w 12071"/>
                <a:gd name="T79" fmla="*/ 183 h 8033"/>
                <a:gd name="T80" fmla="*/ 11906 w 12071"/>
                <a:gd name="T81" fmla="*/ 131 h 8033"/>
                <a:gd name="T82" fmla="*/ 11850 w 12071"/>
                <a:gd name="T83" fmla="*/ 85 h 8033"/>
                <a:gd name="T84" fmla="*/ 11786 w 12071"/>
                <a:gd name="T85" fmla="*/ 49 h 8033"/>
                <a:gd name="T86" fmla="*/ 11718 w 12071"/>
                <a:gd name="T87" fmla="*/ 22 h 8033"/>
                <a:gd name="T88" fmla="*/ 11645 w 12071"/>
                <a:gd name="T89" fmla="*/ 6 h 8033"/>
                <a:gd name="T90" fmla="*/ 11568 w 12071"/>
                <a:gd name="T91" fmla="*/ 0 h 8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071" h="8033">
                  <a:moveTo>
                    <a:pt x="11568" y="7533"/>
                  </a:moveTo>
                  <a:lnTo>
                    <a:pt x="503" y="7533"/>
                  </a:lnTo>
                  <a:lnTo>
                    <a:pt x="503" y="502"/>
                  </a:lnTo>
                  <a:lnTo>
                    <a:pt x="11568" y="502"/>
                  </a:lnTo>
                  <a:lnTo>
                    <a:pt x="11568" y="7533"/>
                  </a:lnTo>
                  <a:close/>
                  <a:moveTo>
                    <a:pt x="11568" y="0"/>
                  </a:moveTo>
                  <a:lnTo>
                    <a:pt x="503" y="2"/>
                  </a:lnTo>
                  <a:lnTo>
                    <a:pt x="477" y="3"/>
                  </a:lnTo>
                  <a:lnTo>
                    <a:pt x="452" y="5"/>
                  </a:lnTo>
                  <a:lnTo>
                    <a:pt x="426" y="8"/>
                  </a:lnTo>
                  <a:lnTo>
                    <a:pt x="401" y="12"/>
                  </a:lnTo>
                  <a:lnTo>
                    <a:pt x="377" y="18"/>
                  </a:lnTo>
                  <a:lnTo>
                    <a:pt x="353" y="24"/>
                  </a:lnTo>
                  <a:lnTo>
                    <a:pt x="330" y="32"/>
                  </a:lnTo>
                  <a:lnTo>
                    <a:pt x="307" y="41"/>
                  </a:lnTo>
                  <a:lnTo>
                    <a:pt x="285" y="51"/>
                  </a:lnTo>
                  <a:lnTo>
                    <a:pt x="263" y="62"/>
                  </a:lnTo>
                  <a:lnTo>
                    <a:pt x="242" y="74"/>
                  </a:lnTo>
                  <a:lnTo>
                    <a:pt x="221" y="87"/>
                  </a:lnTo>
                  <a:lnTo>
                    <a:pt x="202" y="102"/>
                  </a:lnTo>
                  <a:lnTo>
                    <a:pt x="183" y="116"/>
                  </a:lnTo>
                  <a:lnTo>
                    <a:pt x="165" y="132"/>
                  </a:lnTo>
                  <a:lnTo>
                    <a:pt x="147" y="148"/>
                  </a:lnTo>
                  <a:lnTo>
                    <a:pt x="131" y="166"/>
                  </a:lnTo>
                  <a:lnTo>
                    <a:pt x="115" y="184"/>
                  </a:lnTo>
                  <a:lnTo>
                    <a:pt x="99" y="202"/>
                  </a:lnTo>
                  <a:lnTo>
                    <a:pt x="85" y="222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4"/>
                  </a:lnTo>
                  <a:lnTo>
                    <a:pt x="39" y="307"/>
                  </a:lnTo>
                  <a:lnTo>
                    <a:pt x="30" y="329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1"/>
                  </a:lnTo>
                  <a:lnTo>
                    <a:pt x="1" y="476"/>
                  </a:lnTo>
                  <a:lnTo>
                    <a:pt x="0" y="502"/>
                  </a:lnTo>
                  <a:lnTo>
                    <a:pt x="0" y="7531"/>
                  </a:lnTo>
                  <a:lnTo>
                    <a:pt x="1" y="7557"/>
                  </a:lnTo>
                  <a:lnTo>
                    <a:pt x="3" y="7582"/>
                  </a:lnTo>
                  <a:lnTo>
                    <a:pt x="6" y="7607"/>
                  </a:lnTo>
                  <a:lnTo>
                    <a:pt x="10" y="7632"/>
                  </a:lnTo>
                  <a:lnTo>
                    <a:pt x="16" y="7656"/>
                  </a:lnTo>
                  <a:lnTo>
                    <a:pt x="22" y="7680"/>
                  </a:lnTo>
                  <a:lnTo>
                    <a:pt x="30" y="7703"/>
                  </a:lnTo>
                  <a:lnTo>
                    <a:pt x="39" y="7726"/>
                  </a:lnTo>
                  <a:lnTo>
                    <a:pt x="49" y="7749"/>
                  </a:lnTo>
                  <a:lnTo>
                    <a:pt x="60" y="7771"/>
                  </a:lnTo>
                  <a:lnTo>
                    <a:pt x="72" y="7792"/>
                  </a:lnTo>
                  <a:lnTo>
                    <a:pt x="85" y="7812"/>
                  </a:lnTo>
                  <a:lnTo>
                    <a:pt x="99" y="7831"/>
                  </a:lnTo>
                  <a:lnTo>
                    <a:pt x="115" y="7850"/>
                  </a:lnTo>
                  <a:lnTo>
                    <a:pt x="131" y="7868"/>
                  </a:lnTo>
                  <a:lnTo>
                    <a:pt x="147" y="7886"/>
                  </a:lnTo>
                  <a:lnTo>
                    <a:pt x="165" y="7902"/>
                  </a:lnTo>
                  <a:lnTo>
                    <a:pt x="183" y="7918"/>
                  </a:lnTo>
                  <a:lnTo>
                    <a:pt x="202" y="7933"/>
                  </a:lnTo>
                  <a:lnTo>
                    <a:pt x="221" y="7947"/>
                  </a:lnTo>
                  <a:lnTo>
                    <a:pt x="242" y="7960"/>
                  </a:lnTo>
                  <a:lnTo>
                    <a:pt x="263" y="7972"/>
                  </a:lnTo>
                  <a:lnTo>
                    <a:pt x="285" y="7983"/>
                  </a:lnTo>
                  <a:lnTo>
                    <a:pt x="307" y="7994"/>
                  </a:lnTo>
                  <a:lnTo>
                    <a:pt x="330" y="8003"/>
                  </a:lnTo>
                  <a:lnTo>
                    <a:pt x="353" y="8011"/>
                  </a:lnTo>
                  <a:lnTo>
                    <a:pt x="377" y="8017"/>
                  </a:lnTo>
                  <a:lnTo>
                    <a:pt x="401" y="8023"/>
                  </a:lnTo>
                  <a:lnTo>
                    <a:pt x="426" y="8027"/>
                  </a:lnTo>
                  <a:lnTo>
                    <a:pt x="452" y="8030"/>
                  </a:lnTo>
                  <a:lnTo>
                    <a:pt x="477" y="8032"/>
                  </a:lnTo>
                  <a:lnTo>
                    <a:pt x="503" y="8033"/>
                  </a:lnTo>
                  <a:lnTo>
                    <a:pt x="11568" y="8033"/>
                  </a:lnTo>
                  <a:lnTo>
                    <a:pt x="11594" y="8032"/>
                  </a:lnTo>
                  <a:lnTo>
                    <a:pt x="11619" y="8030"/>
                  </a:lnTo>
                  <a:lnTo>
                    <a:pt x="11645" y="8027"/>
                  </a:lnTo>
                  <a:lnTo>
                    <a:pt x="11670" y="8023"/>
                  </a:lnTo>
                  <a:lnTo>
                    <a:pt x="11694" y="8017"/>
                  </a:lnTo>
                  <a:lnTo>
                    <a:pt x="11718" y="8011"/>
                  </a:lnTo>
                  <a:lnTo>
                    <a:pt x="11741" y="8003"/>
                  </a:lnTo>
                  <a:lnTo>
                    <a:pt x="11764" y="7994"/>
                  </a:lnTo>
                  <a:lnTo>
                    <a:pt x="11786" y="7983"/>
                  </a:lnTo>
                  <a:lnTo>
                    <a:pt x="11809" y="7972"/>
                  </a:lnTo>
                  <a:lnTo>
                    <a:pt x="11829" y="7960"/>
                  </a:lnTo>
                  <a:lnTo>
                    <a:pt x="11850" y="7947"/>
                  </a:lnTo>
                  <a:lnTo>
                    <a:pt x="11869" y="7933"/>
                  </a:lnTo>
                  <a:lnTo>
                    <a:pt x="11888" y="7918"/>
                  </a:lnTo>
                  <a:lnTo>
                    <a:pt x="11906" y="7902"/>
                  </a:lnTo>
                  <a:lnTo>
                    <a:pt x="11924" y="7886"/>
                  </a:lnTo>
                  <a:lnTo>
                    <a:pt x="11940" y="7868"/>
                  </a:lnTo>
                  <a:lnTo>
                    <a:pt x="11956" y="7850"/>
                  </a:lnTo>
                  <a:lnTo>
                    <a:pt x="11972" y="7831"/>
                  </a:lnTo>
                  <a:lnTo>
                    <a:pt x="11986" y="7812"/>
                  </a:lnTo>
                  <a:lnTo>
                    <a:pt x="11999" y="7792"/>
                  </a:lnTo>
                  <a:lnTo>
                    <a:pt x="12011" y="7771"/>
                  </a:lnTo>
                  <a:lnTo>
                    <a:pt x="12022" y="7749"/>
                  </a:lnTo>
                  <a:lnTo>
                    <a:pt x="12032" y="7726"/>
                  </a:lnTo>
                  <a:lnTo>
                    <a:pt x="12041" y="7703"/>
                  </a:lnTo>
                  <a:lnTo>
                    <a:pt x="12049" y="7680"/>
                  </a:lnTo>
                  <a:lnTo>
                    <a:pt x="12055" y="7656"/>
                  </a:lnTo>
                  <a:lnTo>
                    <a:pt x="12061" y="7632"/>
                  </a:lnTo>
                  <a:lnTo>
                    <a:pt x="12065" y="7607"/>
                  </a:lnTo>
                  <a:lnTo>
                    <a:pt x="12068" y="7582"/>
                  </a:lnTo>
                  <a:lnTo>
                    <a:pt x="12070" y="7557"/>
                  </a:lnTo>
                  <a:lnTo>
                    <a:pt x="12071" y="7531"/>
                  </a:lnTo>
                  <a:lnTo>
                    <a:pt x="12071" y="502"/>
                  </a:lnTo>
                  <a:lnTo>
                    <a:pt x="12070" y="476"/>
                  </a:lnTo>
                  <a:lnTo>
                    <a:pt x="12068" y="451"/>
                  </a:lnTo>
                  <a:lnTo>
                    <a:pt x="12065" y="426"/>
                  </a:lnTo>
                  <a:lnTo>
                    <a:pt x="12061" y="401"/>
                  </a:lnTo>
                  <a:lnTo>
                    <a:pt x="12055" y="377"/>
                  </a:lnTo>
                  <a:lnTo>
                    <a:pt x="12049" y="353"/>
                  </a:lnTo>
                  <a:lnTo>
                    <a:pt x="12041" y="329"/>
                  </a:lnTo>
                  <a:lnTo>
                    <a:pt x="12032" y="306"/>
                  </a:lnTo>
                  <a:lnTo>
                    <a:pt x="12022" y="284"/>
                  </a:lnTo>
                  <a:lnTo>
                    <a:pt x="12011" y="263"/>
                  </a:lnTo>
                  <a:lnTo>
                    <a:pt x="11999" y="242"/>
                  </a:lnTo>
                  <a:lnTo>
                    <a:pt x="11986" y="221"/>
                  </a:lnTo>
                  <a:lnTo>
                    <a:pt x="11972" y="202"/>
                  </a:lnTo>
                  <a:lnTo>
                    <a:pt x="11956" y="183"/>
                  </a:lnTo>
                  <a:lnTo>
                    <a:pt x="11940" y="165"/>
                  </a:lnTo>
                  <a:lnTo>
                    <a:pt x="11924" y="147"/>
                  </a:lnTo>
                  <a:lnTo>
                    <a:pt x="11906" y="131"/>
                  </a:lnTo>
                  <a:lnTo>
                    <a:pt x="11888" y="115"/>
                  </a:lnTo>
                  <a:lnTo>
                    <a:pt x="11869" y="100"/>
                  </a:lnTo>
                  <a:lnTo>
                    <a:pt x="11850" y="85"/>
                  </a:lnTo>
                  <a:lnTo>
                    <a:pt x="11829" y="72"/>
                  </a:lnTo>
                  <a:lnTo>
                    <a:pt x="11809" y="60"/>
                  </a:lnTo>
                  <a:lnTo>
                    <a:pt x="11786" y="49"/>
                  </a:lnTo>
                  <a:lnTo>
                    <a:pt x="11764" y="39"/>
                  </a:lnTo>
                  <a:lnTo>
                    <a:pt x="11741" y="30"/>
                  </a:lnTo>
                  <a:lnTo>
                    <a:pt x="11718" y="22"/>
                  </a:lnTo>
                  <a:lnTo>
                    <a:pt x="11694" y="16"/>
                  </a:lnTo>
                  <a:lnTo>
                    <a:pt x="11670" y="10"/>
                  </a:lnTo>
                  <a:lnTo>
                    <a:pt x="11645" y="6"/>
                  </a:lnTo>
                  <a:lnTo>
                    <a:pt x="11619" y="3"/>
                  </a:lnTo>
                  <a:lnTo>
                    <a:pt x="11594" y="1"/>
                  </a:lnTo>
                  <a:lnTo>
                    <a:pt x="1156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57" name="iṣḻïḋè">
              <a:extLst>
                <a:ext uri="{FF2B5EF4-FFF2-40B4-BE49-F238E27FC236}">
                  <a16:creationId xmlns:a16="http://schemas.microsoft.com/office/drawing/2014/main" id="{741E20F8-E14D-4FB5-A710-FDF2B462CBFA}"/>
                </a:ext>
              </a:extLst>
            </p:cNvPr>
            <p:cNvSpPr/>
            <p:nvPr/>
          </p:nvSpPr>
          <p:spPr bwMode="auto">
            <a:xfrm>
              <a:off x="3114760" y="2019340"/>
              <a:ext cx="613337" cy="573859"/>
            </a:xfrm>
            <a:custGeom>
              <a:avLst/>
              <a:gdLst>
                <a:gd name="T0" fmla="*/ 15066 w 16095"/>
                <a:gd name="T1" fmla="*/ 11696 h 15059"/>
                <a:gd name="T2" fmla="*/ 14988 w 16095"/>
                <a:gd name="T3" fmla="*/ 11847 h 15059"/>
                <a:gd name="T4" fmla="*/ 14867 w 16095"/>
                <a:gd name="T5" fmla="*/ 11963 h 15059"/>
                <a:gd name="T6" fmla="*/ 14712 w 16095"/>
                <a:gd name="T7" fmla="*/ 12033 h 15059"/>
                <a:gd name="T8" fmla="*/ 6036 w 16095"/>
                <a:gd name="T9" fmla="*/ 12049 h 15059"/>
                <a:gd name="T10" fmla="*/ 1359 w 16095"/>
                <a:gd name="T11" fmla="*/ 12027 h 15059"/>
                <a:gd name="T12" fmla="*/ 1208 w 16095"/>
                <a:gd name="T13" fmla="*/ 11949 h 15059"/>
                <a:gd name="T14" fmla="*/ 1091 w 16095"/>
                <a:gd name="T15" fmla="*/ 11828 h 15059"/>
                <a:gd name="T16" fmla="*/ 1022 w 16095"/>
                <a:gd name="T17" fmla="*/ 11672 h 15059"/>
                <a:gd name="T18" fmla="*/ 1007 w 16095"/>
                <a:gd name="T19" fmla="*/ 1480 h 15059"/>
                <a:gd name="T20" fmla="*/ 1045 w 16095"/>
                <a:gd name="T21" fmla="*/ 1310 h 15059"/>
                <a:gd name="T22" fmla="*/ 1137 w 16095"/>
                <a:gd name="T23" fmla="*/ 1169 h 15059"/>
                <a:gd name="T24" fmla="*/ 1268 w 16095"/>
                <a:gd name="T25" fmla="*/ 1064 h 15059"/>
                <a:gd name="T26" fmla="*/ 1432 w 16095"/>
                <a:gd name="T27" fmla="*/ 1010 h 15059"/>
                <a:gd name="T28" fmla="*/ 14663 w 16095"/>
                <a:gd name="T29" fmla="*/ 1010 h 15059"/>
                <a:gd name="T30" fmla="*/ 14826 w 16095"/>
                <a:gd name="T31" fmla="*/ 1064 h 15059"/>
                <a:gd name="T32" fmla="*/ 14958 w 16095"/>
                <a:gd name="T33" fmla="*/ 1169 h 15059"/>
                <a:gd name="T34" fmla="*/ 15050 w 16095"/>
                <a:gd name="T35" fmla="*/ 1310 h 15059"/>
                <a:gd name="T36" fmla="*/ 15088 w 16095"/>
                <a:gd name="T37" fmla="*/ 1480 h 15059"/>
                <a:gd name="T38" fmla="*/ 1279 w 16095"/>
                <a:gd name="T39" fmla="*/ 17 h 15059"/>
                <a:gd name="T40" fmla="*/ 790 w 16095"/>
                <a:gd name="T41" fmla="*/ 182 h 15059"/>
                <a:gd name="T42" fmla="*/ 391 w 16095"/>
                <a:gd name="T43" fmla="*/ 493 h 15059"/>
                <a:gd name="T44" fmla="*/ 119 w 16095"/>
                <a:gd name="T45" fmla="*/ 920 h 15059"/>
                <a:gd name="T46" fmla="*/ 2 w 16095"/>
                <a:gd name="T47" fmla="*/ 1429 h 15059"/>
                <a:gd name="T48" fmla="*/ 47 w 16095"/>
                <a:gd name="T49" fmla="*/ 11922 h 15059"/>
                <a:gd name="T50" fmla="*/ 257 w 16095"/>
                <a:gd name="T51" fmla="*/ 12387 h 15059"/>
                <a:gd name="T52" fmla="*/ 604 w 16095"/>
                <a:gd name="T53" fmla="*/ 12752 h 15059"/>
                <a:gd name="T54" fmla="*/ 1056 w 16095"/>
                <a:gd name="T55" fmla="*/ 12984 h 15059"/>
                <a:gd name="T56" fmla="*/ 6539 w 16095"/>
                <a:gd name="T57" fmla="*/ 13053 h 15059"/>
                <a:gd name="T58" fmla="*/ 3299 w 16095"/>
                <a:gd name="T59" fmla="*/ 14106 h 15059"/>
                <a:gd name="T60" fmla="*/ 3180 w 16095"/>
                <a:gd name="T61" fmla="*/ 14188 h 15059"/>
                <a:gd name="T62" fmla="*/ 3089 w 16095"/>
                <a:gd name="T63" fmla="*/ 14299 h 15059"/>
                <a:gd name="T64" fmla="*/ 3034 w 16095"/>
                <a:gd name="T65" fmla="*/ 14431 h 15059"/>
                <a:gd name="T66" fmla="*/ 3019 w 16095"/>
                <a:gd name="T67" fmla="*/ 14583 h 15059"/>
                <a:gd name="T68" fmla="*/ 3057 w 16095"/>
                <a:gd name="T69" fmla="*/ 14753 h 15059"/>
                <a:gd name="T70" fmla="*/ 3149 w 16095"/>
                <a:gd name="T71" fmla="*/ 14894 h 15059"/>
                <a:gd name="T72" fmla="*/ 3280 w 16095"/>
                <a:gd name="T73" fmla="*/ 14999 h 15059"/>
                <a:gd name="T74" fmla="*/ 3444 w 16095"/>
                <a:gd name="T75" fmla="*/ 15053 h 15059"/>
                <a:gd name="T76" fmla="*/ 12651 w 16095"/>
                <a:gd name="T77" fmla="*/ 15053 h 15059"/>
                <a:gd name="T78" fmla="*/ 12814 w 16095"/>
                <a:gd name="T79" fmla="*/ 14999 h 15059"/>
                <a:gd name="T80" fmla="*/ 12946 w 16095"/>
                <a:gd name="T81" fmla="*/ 14894 h 15059"/>
                <a:gd name="T82" fmla="*/ 13038 w 16095"/>
                <a:gd name="T83" fmla="*/ 14753 h 15059"/>
                <a:gd name="T84" fmla="*/ 13076 w 16095"/>
                <a:gd name="T85" fmla="*/ 14583 h 15059"/>
                <a:gd name="T86" fmla="*/ 13061 w 16095"/>
                <a:gd name="T87" fmla="*/ 14431 h 15059"/>
                <a:gd name="T88" fmla="*/ 13006 w 16095"/>
                <a:gd name="T89" fmla="*/ 14299 h 15059"/>
                <a:gd name="T90" fmla="*/ 12915 w 16095"/>
                <a:gd name="T91" fmla="*/ 14188 h 15059"/>
                <a:gd name="T92" fmla="*/ 12796 w 16095"/>
                <a:gd name="T93" fmla="*/ 14106 h 15059"/>
                <a:gd name="T94" fmla="*/ 9556 w 16095"/>
                <a:gd name="T95" fmla="*/ 13053 h 15059"/>
                <a:gd name="T96" fmla="*/ 15039 w 16095"/>
                <a:gd name="T97" fmla="*/ 12984 h 15059"/>
                <a:gd name="T98" fmla="*/ 15491 w 16095"/>
                <a:gd name="T99" fmla="*/ 12752 h 15059"/>
                <a:gd name="T100" fmla="*/ 15838 w 16095"/>
                <a:gd name="T101" fmla="*/ 12387 h 15059"/>
                <a:gd name="T102" fmla="*/ 16048 w 16095"/>
                <a:gd name="T103" fmla="*/ 11922 h 15059"/>
                <a:gd name="T104" fmla="*/ 16093 w 16095"/>
                <a:gd name="T105" fmla="*/ 1429 h 15059"/>
                <a:gd name="T106" fmla="*/ 15976 w 16095"/>
                <a:gd name="T107" fmla="*/ 920 h 15059"/>
                <a:gd name="T108" fmla="*/ 15703 w 16095"/>
                <a:gd name="T109" fmla="*/ 493 h 15059"/>
                <a:gd name="T110" fmla="*/ 15305 w 16095"/>
                <a:gd name="T111" fmla="*/ 182 h 15059"/>
                <a:gd name="T112" fmla="*/ 14815 w 16095"/>
                <a:gd name="T113" fmla="*/ 17 h 15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5059">
                  <a:moveTo>
                    <a:pt x="15089" y="11547"/>
                  </a:moveTo>
                  <a:lnTo>
                    <a:pt x="15088" y="11573"/>
                  </a:lnTo>
                  <a:lnTo>
                    <a:pt x="15086" y="11598"/>
                  </a:lnTo>
                  <a:lnTo>
                    <a:pt x="15083" y="11623"/>
                  </a:lnTo>
                  <a:lnTo>
                    <a:pt x="15079" y="11648"/>
                  </a:lnTo>
                  <a:lnTo>
                    <a:pt x="15073" y="11672"/>
                  </a:lnTo>
                  <a:lnTo>
                    <a:pt x="15066" y="11696"/>
                  </a:lnTo>
                  <a:lnTo>
                    <a:pt x="15059" y="11719"/>
                  </a:lnTo>
                  <a:lnTo>
                    <a:pt x="15050" y="11743"/>
                  </a:lnTo>
                  <a:lnTo>
                    <a:pt x="15040" y="11765"/>
                  </a:lnTo>
                  <a:lnTo>
                    <a:pt x="15029" y="11786"/>
                  </a:lnTo>
                  <a:lnTo>
                    <a:pt x="15016" y="11807"/>
                  </a:lnTo>
                  <a:lnTo>
                    <a:pt x="15003" y="11828"/>
                  </a:lnTo>
                  <a:lnTo>
                    <a:pt x="14988" y="11847"/>
                  </a:lnTo>
                  <a:lnTo>
                    <a:pt x="14974" y="11866"/>
                  </a:lnTo>
                  <a:lnTo>
                    <a:pt x="14958" y="11884"/>
                  </a:lnTo>
                  <a:lnTo>
                    <a:pt x="14941" y="11902"/>
                  </a:lnTo>
                  <a:lnTo>
                    <a:pt x="14924" y="11918"/>
                  </a:lnTo>
                  <a:lnTo>
                    <a:pt x="14906" y="11934"/>
                  </a:lnTo>
                  <a:lnTo>
                    <a:pt x="14887" y="11949"/>
                  </a:lnTo>
                  <a:lnTo>
                    <a:pt x="14867" y="11963"/>
                  </a:lnTo>
                  <a:lnTo>
                    <a:pt x="14847" y="11977"/>
                  </a:lnTo>
                  <a:lnTo>
                    <a:pt x="14826" y="11989"/>
                  </a:lnTo>
                  <a:lnTo>
                    <a:pt x="14803" y="12000"/>
                  </a:lnTo>
                  <a:lnTo>
                    <a:pt x="14781" y="12010"/>
                  </a:lnTo>
                  <a:lnTo>
                    <a:pt x="14759" y="12019"/>
                  </a:lnTo>
                  <a:lnTo>
                    <a:pt x="14735" y="12027"/>
                  </a:lnTo>
                  <a:lnTo>
                    <a:pt x="14712" y="12033"/>
                  </a:lnTo>
                  <a:lnTo>
                    <a:pt x="14687" y="12039"/>
                  </a:lnTo>
                  <a:lnTo>
                    <a:pt x="14663" y="12043"/>
                  </a:lnTo>
                  <a:lnTo>
                    <a:pt x="14637" y="12047"/>
                  </a:lnTo>
                  <a:lnTo>
                    <a:pt x="14612" y="12048"/>
                  </a:lnTo>
                  <a:lnTo>
                    <a:pt x="14586" y="12049"/>
                  </a:lnTo>
                  <a:lnTo>
                    <a:pt x="10059" y="12049"/>
                  </a:lnTo>
                  <a:lnTo>
                    <a:pt x="6036" y="12049"/>
                  </a:lnTo>
                  <a:lnTo>
                    <a:pt x="1509" y="12049"/>
                  </a:lnTo>
                  <a:lnTo>
                    <a:pt x="1483" y="12048"/>
                  </a:lnTo>
                  <a:lnTo>
                    <a:pt x="1458" y="12047"/>
                  </a:lnTo>
                  <a:lnTo>
                    <a:pt x="1432" y="12043"/>
                  </a:lnTo>
                  <a:lnTo>
                    <a:pt x="1407" y="12039"/>
                  </a:lnTo>
                  <a:lnTo>
                    <a:pt x="1383" y="12033"/>
                  </a:lnTo>
                  <a:lnTo>
                    <a:pt x="1359" y="12027"/>
                  </a:lnTo>
                  <a:lnTo>
                    <a:pt x="1336" y="12019"/>
                  </a:lnTo>
                  <a:lnTo>
                    <a:pt x="1313" y="12010"/>
                  </a:lnTo>
                  <a:lnTo>
                    <a:pt x="1291" y="12000"/>
                  </a:lnTo>
                  <a:lnTo>
                    <a:pt x="1268" y="11989"/>
                  </a:lnTo>
                  <a:lnTo>
                    <a:pt x="1248" y="11977"/>
                  </a:lnTo>
                  <a:lnTo>
                    <a:pt x="1227" y="11963"/>
                  </a:lnTo>
                  <a:lnTo>
                    <a:pt x="1208" y="11949"/>
                  </a:lnTo>
                  <a:lnTo>
                    <a:pt x="1189" y="11934"/>
                  </a:lnTo>
                  <a:lnTo>
                    <a:pt x="1171" y="11918"/>
                  </a:lnTo>
                  <a:lnTo>
                    <a:pt x="1153" y="11902"/>
                  </a:lnTo>
                  <a:lnTo>
                    <a:pt x="1137" y="11884"/>
                  </a:lnTo>
                  <a:lnTo>
                    <a:pt x="1121" y="11866"/>
                  </a:lnTo>
                  <a:lnTo>
                    <a:pt x="1106" y="11847"/>
                  </a:lnTo>
                  <a:lnTo>
                    <a:pt x="1091" y="11828"/>
                  </a:lnTo>
                  <a:lnTo>
                    <a:pt x="1078" y="11807"/>
                  </a:lnTo>
                  <a:lnTo>
                    <a:pt x="1066" y="11786"/>
                  </a:lnTo>
                  <a:lnTo>
                    <a:pt x="1055" y="11765"/>
                  </a:lnTo>
                  <a:lnTo>
                    <a:pt x="1045" y="11743"/>
                  </a:lnTo>
                  <a:lnTo>
                    <a:pt x="1036" y="11719"/>
                  </a:lnTo>
                  <a:lnTo>
                    <a:pt x="1028" y="11696"/>
                  </a:lnTo>
                  <a:lnTo>
                    <a:pt x="1022" y="11672"/>
                  </a:lnTo>
                  <a:lnTo>
                    <a:pt x="1016" y="11648"/>
                  </a:lnTo>
                  <a:lnTo>
                    <a:pt x="1012" y="11623"/>
                  </a:lnTo>
                  <a:lnTo>
                    <a:pt x="1009" y="11598"/>
                  </a:lnTo>
                  <a:lnTo>
                    <a:pt x="1007" y="11573"/>
                  </a:lnTo>
                  <a:lnTo>
                    <a:pt x="1006" y="11547"/>
                  </a:lnTo>
                  <a:lnTo>
                    <a:pt x="1006" y="1506"/>
                  </a:lnTo>
                  <a:lnTo>
                    <a:pt x="1007" y="1480"/>
                  </a:lnTo>
                  <a:lnTo>
                    <a:pt x="1009" y="1455"/>
                  </a:lnTo>
                  <a:lnTo>
                    <a:pt x="1012" y="1430"/>
                  </a:lnTo>
                  <a:lnTo>
                    <a:pt x="1016" y="1405"/>
                  </a:lnTo>
                  <a:lnTo>
                    <a:pt x="1022" y="1381"/>
                  </a:lnTo>
                  <a:lnTo>
                    <a:pt x="1028" y="1356"/>
                  </a:lnTo>
                  <a:lnTo>
                    <a:pt x="1036" y="1333"/>
                  </a:lnTo>
                  <a:lnTo>
                    <a:pt x="1045" y="1310"/>
                  </a:lnTo>
                  <a:lnTo>
                    <a:pt x="1055" y="1288"/>
                  </a:lnTo>
                  <a:lnTo>
                    <a:pt x="1066" y="1267"/>
                  </a:lnTo>
                  <a:lnTo>
                    <a:pt x="1078" y="1246"/>
                  </a:lnTo>
                  <a:lnTo>
                    <a:pt x="1091" y="1225"/>
                  </a:lnTo>
                  <a:lnTo>
                    <a:pt x="1106" y="1206"/>
                  </a:lnTo>
                  <a:lnTo>
                    <a:pt x="1121" y="1187"/>
                  </a:lnTo>
                  <a:lnTo>
                    <a:pt x="1137" y="1169"/>
                  </a:lnTo>
                  <a:lnTo>
                    <a:pt x="1153" y="1151"/>
                  </a:lnTo>
                  <a:lnTo>
                    <a:pt x="1171" y="1135"/>
                  </a:lnTo>
                  <a:lnTo>
                    <a:pt x="1189" y="1119"/>
                  </a:lnTo>
                  <a:lnTo>
                    <a:pt x="1208" y="1103"/>
                  </a:lnTo>
                  <a:lnTo>
                    <a:pt x="1227" y="1090"/>
                  </a:lnTo>
                  <a:lnTo>
                    <a:pt x="1248" y="1077"/>
                  </a:lnTo>
                  <a:lnTo>
                    <a:pt x="1268" y="1064"/>
                  </a:lnTo>
                  <a:lnTo>
                    <a:pt x="1291" y="1053"/>
                  </a:lnTo>
                  <a:lnTo>
                    <a:pt x="1313" y="1043"/>
                  </a:lnTo>
                  <a:lnTo>
                    <a:pt x="1336" y="1034"/>
                  </a:lnTo>
                  <a:lnTo>
                    <a:pt x="1359" y="1027"/>
                  </a:lnTo>
                  <a:lnTo>
                    <a:pt x="1383" y="1020"/>
                  </a:lnTo>
                  <a:lnTo>
                    <a:pt x="1407" y="1014"/>
                  </a:lnTo>
                  <a:lnTo>
                    <a:pt x="1432" y="1010"/>
                  </a:lnTo>
                  <a:lnTo>
                    <a:pt x="1458" y="1007"/>
                  </a:lnTo>
                  <a:lnTo>
                    <a:pt x="1483" y="1005"/>
                  </a:lnTo>
                  <a:lnTo>
                    <a:pt x="1509" y="1004"/>
                  </a:lnTo>
                  <a:lnTo>
                    <a:pt x="14586" y="1004"/>
                  </a:lnTo>
                  <a:lnTo>
                    <a:pt x="14612" y="1005"/>
                  </a:lnTo>
                  <a:lnTo>
                    <a:pt x="14637" y="1007"/>
                  </a:lnTo>
                  <a:lnTo>
                    <a:pt x="14663" y="1010"/>
                  </a:lnTo>
                  <a:lnTo>
                    <a:pt x="14687" y="1014"/>
                  </a:lnTo>
                  <a:lnTo>
                    <a:pt x="14712" y="1020"/>
                  </a:lnTo>
                  <a:lnTo>
                    <a:pt x="14735" y="1027"/>
                  </a:lnTo>
                  <a:lnTo>
                    <a:pt x="14759" y="1034"/>
                  </a:lnTo>
                  <a:lnTo>
                    <a:pt x="14781" y="1043"/>
                  </a:lnTo>
                  <a:lnTo>
                    <a:pt x="14803" y="1053"/>
                  </a:lnTo>
                  <a:lnTo>
                    <a:pt x="14826" y="1064"/>
                  </a:lnTo>
                  <a:lnTo>
                    <a:pt x="14847" y="1077"/>
                  </a:lnTo>
                  <a:lnTo>
                    <a:pt x="14867" y="1090"/>
                  </a:lnTo>
                  <a:lnTo>
                    <a:pt x="14887" y="1103"/>
                  </a:lnTo>
                  <a:lnTo>
                    <a:pt x="14906" y="1119"/>
                  </a:lnTo>
                  <a:lnTo>
                    <a:pt x="14924" y="1135"/>
                  </a:lnTo>
                  <a:lnTo>
                    <a:pt x="14941" y="1151"/>
                  </a:lnTo>
                  <a:lnTo>
                    <a:pt x="14958" y="1169"/>
                  </a:lnTo>
                  <a:lnTo>
                    <a:pt x="14974" y="1187"/>
                  </a:lnTo>
                  <a:lnTo>
                    <a:pt x="14988" y="1206"/>
                  </a:lnTo>
                  <a:lnTo>
                    <a:pt x="15003" y="1225"/>
                  </a:lnTo>
                  <a:lnTo>
                    <a:pt x="15016" y="1246"/>
                  </a:lnTo>
                  <a:lnTo>
                    <a:pt x="15029" y="1267"/>
                  </a:lnTo>
                  <a:lnTo>
                    <a:pt x="15040" y="1288"/>
                  </a:lnTo>
                  <a:lnTo>
                    <a:pt x="15050" y="1310"/>
                  </a:lnTo>
                  <a:lnTo>
                    <a:pt x="15059" y="1333"/>
                  </a:lnTo>
                  <a:lnTo>
                    <a:pt x="15066" y="1356"/>
                  </a:lnTo>
                  <a:lnTo>
                    <a:pt x="15073" y="1381"/>
                  </a:lnTo>
                  <a:lnTo>
                    <a:pt x="15079" y="1405"/>
                  </a:lnTo>
                  <a:lnTo>
                    <a:pt x="15083" y="1430"/>
                  </a:lnTo>
                  <a:lnTo>
                    <a:pt x="15086" y="1455"/>
                  </a:lnTo>
                  <a:lnTo>
                    <a:pt x="15088" y="1480"/>
                  </a:lnTo>
                  <a:lnTo>
                    <a:pt x="15089" y="1506"/>
                  </a:lnTo>
                  <a:lnTo>
                    <a:pt x="15089" y="11547"/>
                  </a:lnTo>
                  <a:close/>
                  <a:moveTo>
                    <a:pt x="14586" y="0"/>
                  </a:moveTo>
                  <a:lnTo>
                    <a:pt x="1509" y="0"/>
                  </a:lnTo>
                  <a:lnTo>
                    <a:pt x="1431" y="2"/>
                  </a:lnTo>
                  <a:lnTo>
                    <a:pt x="1354" y="8"/>
                  </a:lnTo>
                  <a:lnTo>
                    <a:pt x="1279" y="17"/>
                  </a:lnTo>
                  <a:lnTo>
                    <a:pt x="1204" y="30"/>
                  </a:lnTo>
                  <a:lnTo>
                    <a:pt x="1132" y="47"/>
                  </a:lnTo>
                  <a:lnTo>
                    <a:pt x="1060" y="67"/>
                  </a:lnTo>
                  <a:lnTo>
                    <a:pt x="990" y="91"/>
                  </a:lnTo>
                  <a:lnTo>
                    <a:pt x="921" y="118"/>
                  </a:lnTo>
                  <a:lnTo>
                    <a:pt x="854" y="149"/>
                  </a:lnTo>
                  <a:lnTo>
                    <a:pt x="790" y="182"/>
                  </a:lnTo>
                  <a:lnTo>
                    <a:pt x="726" y="218"/>
                  </a:lnTo>
                  <a:lnTo>
                    <a:pt x="665" y="257"/>
                  </a:lnTo>
                  <a:lnTo>
                    <a:pt x="606" y="299"/>
                  </a:lnTo>
                  <a:lnTo>
                    <a:pt x="549" y="344"/>
                  </a:lnTo>
                  <a:lnTo>
                    <a:pt x="494" y="392"/>
                  </a:lnTo>
                  <a:lnTo>
                    <a:pt x="442" y="441"/>
                  </a:lnTo>
                  <a:lnTo>
                    <a:pt x="391" y="493"/>
                  </a:lnTo>
                  <a:lnTo>
                    <a:pt x="344" y="548"/>
                  </a:lnTo>
                  <a:lnTo>
                    <a:pt x="300" y="605"/>
                  </a:lnTo>
                  <a:lnTo>
                    <a:pt x="258" y="664"/>
                  </a:lnTo>
                  <a:lnTo>
                    <a:pt x="218" y="725"/>
                  </a:lnTo>
                  <a:lnTo>
                    <a:pt x="182" y="788"/>
                  </a:lnTo>
                  <a:lnTo>
                    <a:pt x="149" y="853"/>
                  </a:lnTo>
                  <a:lnTo>
                    <a:pt x="119" y="920"/>
                  </a:lnTo>
                  <a:lnTo>
                    <a:pt x="92" y="988"/>
                  </a:lnTo>
                  <a:lnTo>
                    <a:pt x="67" y="1058"/>
                  </a:lnTo>
                  <a:lnTo>
                    <a:pt x="47" y="1130"/>
                  </a:lnTo>
                  <a:lnTo>
                    <a:pt x="30" y="1203"/>
                  </a:lnTo>
                  <a:lnTo>
                    <a:pt x="17" y="1277"/>
                  </a:lnTo>
                  <a:lnTo>
                    <a:pt x="8" y="1352"/>
                  </a:lnTo>
                  <a:lnTo>
                    <a:pt x="2" y="1429"/>
                  </a:lnTo>
                  <a:lnTo>
                    <a:pt x="0" y="1506"/>
                  </a:lnTo>
                  <a:lnTo>
                    <a:pt x="0" y="11547"/>
                  </a:lnTo>
                  <a:lnTo>
                    <a:pt x="2" y="11624"/>
                  </a:lnTo>
                  <a:lnTo>
                    <a:pt x="8" y="11700"/>
                  </a:lnTo>
                  <a:lnTo>
                    <a:pt x="17" y="11776"/>
                  </a:lnTo>
                  <a:lnTo>
                    <a:pt x="30" y="11850"/>
                  </a:lnTo>
                  <a:lnTo>
                    <a:pt x="47" y="11922"/>
                  </a:lnTo>
                  <a:lnTo>
                    <a:pt x="67" y="11994"/>
                  </a:lnTo>
                  <a:lnTo>
                    <a:pt x="92" y="12064"/>
                  </a:lnTo>
                  <a:lnTo>
                    <a:pt x="118" y="12132"/>
                  </a:lnTo>
                  <a:lnTo>
                    <a:pt x="148" y="12198"/>
                  </a:lnTo>
                  <a:lnTo>
                    <a:pt x="181" y="12264"/>
                  </a:lnTo>
                  <a:lnTo>
                    <a:pt x="217" y="12326"/>
                  </a:lnTo>
                  <a:lnTo>
                    <a:pt x="257" y="12387"/>
                  </a:lnTo>
                  <a:lnTo>
                    <a:pt x="299" y="12446"/>
                  </a:lnTo>
                  <a:lnTo>
                    <a:pt x="343" y="12504"/>
                  </a:lnTo>
                  <a:lnTo>
                    <a:pt x="390" y="12558"/>
                  </a:lnTo>
                  <a:lnTo>
                    <a:pt x="441" y="12610"/>
                  </a:lnTo>
                  <a:lnTo>
                    <a:pt x="493" y="12660"/>
                  </a:lnTo>
                  <a:lnTo>
                    <a:pt x="547" y="12707"/>
                  </a:lnTo>
                  <a:lnTo>
                    <a:pt x="604" y="12752"/>
                  </a:lnTo>
                  <a:lnTo>
                    <a:pt x="663" y="12794"/>
                  </a:lnTo>
                  <a:lnTo>
                    <a:pt x="724" y="12833"/>
                  </a:lnTo>
                  <a:lnTo>
                    <a:pt x="787" y="12869"/>
                  </a:lnTo>
                  <a:lnTo>
                    <a:pt x="852" y="12902"/>
                  </a:lnTo>
                  <a:lnTo>
                    <a:pt x="918" y="12933"/>
                  </a:lnTo>
                  <a:lnTo>
                    <a:pt x="987" y="12959"/>
                  </a:lnTo>
                  <a:lnTo>
                    <a:pt x="1056" y="12984"/>
                  </a:lnTo>
                  <a:lnTo>
                    <a:pt x="1128" y="13004"/>
                  </a:lnTo>
                  <a:lnTo>
                    <a:pt x="1201" y="13021"/>
                  </a:lnTo>
                  <a:lnTo>
                    <a:pt x="1275" y="13035"/>
                  </a:lnTo>
                  <a:lnTo>
                    <a:pt x="1350" y="13044"/>
                  </a:lnTo>
                  <a:lnTo>
                    <a:pt x="1426" y="13050"/>
                  </a:lnTo>
                  <a:lnTo>
                    <a:pt x="1504" y="13053"/>
                  </a:lnTo>
                  <a:lnTo>
                    <a:pt x="6539" y="13053"/>
                  </a:lnTo>
                  <a:lnTo>
                    <a:pt x="6539" y="13663"/>
                  </a:lnTo>
                  <a:lnTo>
                    <a:pt x="3399" y="14070"/>
                  </a:lnTo>
                  <a:lnTo>
                    <a:pt x="3378" y="14076"/>
                  </a:lnTo>
                  <a:lnTo>
                    <a:pt x="3358" y="14082"/>
                  </a:lnTo>
                  <a:lnTo>
                    <a:pt x="3338" y="14090"/>
                  </a:lnTo>
                  <a:lnTo>
                    <a:pt x="3319" y="14098"/>
                  </a:lnTo>
                  <a:lnTo>
                    <a:pt x="3299" y="14106"/>
                  </a:lnTo>
                  <a:lnTo>
                    <a:pt x="3280" y="14116"/>
                  </a:lnTo>
                  <a:lnTo>
                    <a:pt x="3262" y="14126"/>
                  </a:lnTo>
                  <a:lnTo>
                    <a:pt x="3245" y="14137"/>
                  </a:lnTo>
                  <a:lnTo>
                    <a:pt x="3228" y="14149"/>
                  </a:lnTo>
                  <a:lnTo>
                    <a:pt x="3211" y="14161"/>
                  </a:lnTo>
                  <a:lnTo>
                    <a:pt x="3196" y="14174"/>
                  </a:lnTo>
                  <a:lnTo>
                    <a:pt x="3180" y="14188"/>
                  </a:lnTo>
                  <a:lnTo>
                    <a:pt x="3166" y="14203"/>
                  </a:lnTo>
                  <a:lnTo>
                    <a:pt x="3151" y="14217"/>
                  </a:lnTo>
                  <a:lnTo>
                    <a:pt x="3138" y="14233"/>
                  </a:lnTo>
                  <a:lnTo>
                    <a:pt x="3124" y="14249"/>
                  </a:lnTo>
                  <a:lnTo>
                    <a:pt x="3112" y="14265"/>
                  </a:lnTo>
                  <a:lnTo>
                    <a:pt x="3100" y="14282"/>
                  </a:lnTo>
                  <a:lnTo>
                    <a:pt x="3089" y="14299"/>
                  </a:lnTo>
                  <a:lnTo>
                    <a:pt x="3079" y="14316"/>
                  </a:lnTo>
                  <a:lnTo>
                    <a:pt x="3070" y="14335"/>
                  </a:lnTo>
                  <a:lnTo>
                    <a:pt x="3061" y="14353"/>
                  </a:lnTo>
                  <a:lnTo>
                    <a:pt x="3053" y="14372"/>
                  </a:lnTo>
                  <a:lnTo>
                    <a:pt x="3046" y="14391"/>
                  </a:lnTo>
                  <a:lnTo>
                    <a:pt x="3039" y="14411"/>
                  </a:lnTo>
                  <a:lnTo>
                    <a:pt x="3034" y="14431"/>
                  </a:lnTo>
                  <a:lnTo>
                    <a:pt x="3029" y="14452"/>
                  </a:lnTo>
                  <a:lnTo>
                    <a:pt x="3025" y="14473"/>
                  </a:lnTo>
                  <a:lnTo>
                    <a:pt x="3022" y="14493"/>
                  </a:lnTo>
                  <a:lnTo>
                    <a:pt x="3020" y="14514"/>
                  </a:lnTo>
                  <a:lnTo>
                    <a:pt x="3018" y="14536"/>
                  </a:lnTo>
                  <a:lnTo>
                    <a:pt x="3018" y="14557"/>
                  </a:lnTo>
                  <a:lnTo>
                    <a:pt x="3019" y="14583"/>
                  </a:lnTo>
                  <a:lnTo>
                    <a:pt x="3020" y="14608"/>
                  </a:lnTo>
                  <a:lnTo>
                    <a:pt x="3024" y="14633"/>
                  </a:lnTo>
                  <a:lnTo>
                    <a:pt x="3028" y="14658"/>
                  </a:lnTo>
                  <a:lnTo>
                    <a:pt x="3034" y="14682"/>
                  </a:lnTo>
                  <a:lnTo>
                    <a:pt x="3040" y="14707"/>
                  </a:lnTo>
                  <a:lnTo>
                    <a:pt x="3048" y="14730"/>
                  </a:lnTo>
                  <a:lnTo>
                    <a:pt x="3057" y="14753"/>
                  </a:lnTo>
                  <a:lnTo>
                    <a:pt x="3067" y="14775"/>
                  </a:lnTo>
                  <a:lnTo>
                    <a:pt x="3078" y="14797"/>
                  </a:lnTo>
                  <a:lnTo>
                    <a:pt x="3090" y="14818"/>
                  </a:lnTo>
                  <a:lnTo>
                    <a:pt x="3103" y="14838"/>
                  </a:lnTo>
                  <a:lnTo>
                    <a:pt x="3117" y="14857"/>
                  </a:lnTo>
                  <a:lnTo>
                    <a:pt x="3132" y="14876"/>
                  </a:lnTo>
                  <a:lnTo>
                    <a:pt x="3149" y="14894"/>
                  </a:lnTo>
                  <a:lnTo>
                    <a:pt x="3165" y="14912"/>
                  </a:lnTo>
                  <a:lnTo>
                    <a:pt x="3183" y="14928"/>
                  </a:lnTo>
                  <a:lnTo>
                    <a:pt x="3201" y="14945"/>
                  </a:lnTo>
                  <a:lnTo>
                    <a:pt x="3220" y="14960"/>
                  </a:lnTo>
                  <a:lnTo>
                    <a:pt x="3239" y="14974"/>
                  </a:lnTo>
                  <a:lnTo>
                    <a:pt x="3260" y="14987"/>
                  </a:lnTo>
                  <a:lnTo>
                    <a:pt x="3280" y="14999"/>
                  </a:lnTo>
                  <a:lnTo>
                    <a:pt x="3302" y="15010"/>
                  </a:lnTo>
                  <a:lnTo>
                    <a:pt x="3325" y="15020"/>
                  </a:lnTo>
                  <a:lnTo>
                    <a:pt x="3348" y="15029"/>
                  </a:lnTo>
                  <a:lnTo>
                    <a:pt x="3371" y="15037"/>
                  </a:lnTo>
                  <a:lnTo>
                    <a:pt x="3395" y="15043"/>
                  </a:lnTo>
                  <a:lnTo>
                    <a:pt x="3419" y="15049"/>
                  </a:lnTo>
                  <a:lnTo>
                    <a:pt x="3444" y="15053"/>
                  </a:lnTo>
                  <a:lnTo>
                    <a:pt x="3469" y="15056"/>
                  </a:lnTo>
                  <a:lnTo>
                    <a:pt x="3495" y="15058"/>
                  </a:lnTo>
                  <a:lnTo>
                    <a:pt x="3521" y="15059"/>
                  </a:lnTo>
                  <a:lnTo>
                    <a:pt x="12574" y="15059"/>
                  </a:lnTo>
                  <a:lnTo>
                    <a:pt x="12600" y="15058"/>
                  </a:lnTo>
                  <a:lnTo>
                    <a:pt x="12626" y="15056"/>
                  </a:lnTo>
                  <a:lnTo>
                    <a:pt x="12651" y="15053"/>
                  </a:lnTo>
                  <a:lnTo>
                    <a:pt x="12676" y="15049"/>
                  </a:lnTo>
                  <a:lnTo>
                    <a:pt x="12700" y="15043"/>
                  </a:lnTo>
                  <a:lnTo>
                    <a:pt x="12724" y="15037"/>
                  </a:lnTo>
                  <a:lnTo>
                    <a:pt x="12747" y="15029"/>
                  </a:lnTo>
                  <a:lnTo>
                    <a:pt x="12770" y="15020"/>
                  </a:lnTo>
                  <a:lnTo>
                    <a:pt x="12793" y="15010"/>
                  </a:lnTo>
                  <a:lnTo>
                    <a:pt x="12814" y="14999"/>
                  </a:lnTo>
                  <a:lnTo>
                    <a:pt x="12835" y="14987"/>
                  </a:lnTo>
                  <a:lnTo>
                    <a:pt x="12856" y="14974"/>
                  </a:lnTo>
                  <a:lnTo>
                    <a:pt x="12875" y="14960"/>
                  </a:lnTo>
                  <a:lnTo>
                    <a:pt x="12894" y="14945"/>
                  </a:lnTo>
                  <a:lnTo>
                    <a:pt x="12912" y="14928"/>
                  </a:lnTo>
                  <a:lnTo>
                    <a:pt x="12930" y="14912"/>
                  </a:lnTo>
                  <a:lnTo>
                    <a:pt x="12946" y="14894"/>
                  </a:lnTo>
                  <a:lnTo>
                    <a:pt x="12963" y="14876"/>
                  </a:lnTo>
                  <a:lnTo>
                    <a:pt x="12978" y="14857"/>
                  </a:lnTo>
                  <a:lnTo>
                    <a:pt x="12992" y="14838"/>
                  </a:lnTo>
                  <a:lnTo>
                    <a:pt x="13005" y="14818"/>
                  </a:lnTo>
                  <a:lnTo>
                    <a:pt x="13017" y="14797"/>
                  </a:lnTo>
                  <a:lnTo>
                    <a:pt x="13028" y="14775"/>
                  </a:lnTo>
                  <a:lnTo>
                    <a:pt x="13038" y="14753"/>
                  </a:lnTo>
                  <a:lnTo>
                    <a:pt x="13047" y="14730"/>
                  </a:lnTo>
                  <a:lnTo>
                    <a:pt x="13055" y="14707"/>
                  </a:lnTo>
                  <a:lnTo>
                    <a:pt x="13061" y="14682"/>
                  </a:lnTo>
                  <a:lnTo>
                    <a:pt x="13067" y="14658"/>
                  </a:lnTo>
                  <a:lnTo>
                    <a:pt x="13071" y="14633"/>
                  </a:lnTo>
                  <a:lnTo>
                    <a:pt x="13074" y="14608"/>
                  </a:lnTo>
                  <a:lnTo>
                    <a:pt x="13076" y="14583"/>
                  </a:lnTo>
                  <a:lnTo>
                    <a:pt x="13077" y="14557"/>
                  </a:lnTo>
                  <a:lnTo>
                    <a:pt x="13077" y="14536"/>
                  </a:lnTo>
                  <a:lnTo>
                    <a:pt x="13075" y="14514"/>
                  </a:lnTo>
                  <a:lnTo>
                    <a:pt x="13073" y="14493"/>
                  </a:lnTo>
                  <a:lnTo>
                    <a:pt x="13070" y="14473"/>
                  </a:lnTo>
                  <a:lnTo>
                    <a:pt x="13066" y="14452"/>
                  </a:lnTo>
                  <a:lnTo>
                    <a:pt x="13061" y="14431"/>
                  </a:lnTo>
                  <a:lnTo>
                    <a:pt x="13056" y="14411"/>
                  </a:lnTo>
                  <a:lnTo>
                    <a:pt x="13049" y="14391"/>
                  </a:lnTo>
                  <a:lnTo>
                    <a:pt x="13042" y="14372"/>
                  </a:lnTo>
                  <a:lnTo>
                    <a:pt x="13034" y="14353"/>
                  </a:lnTo>
                  <a:lnTo>
                    <a:pt x="13025" y="14335"/>
                  </a:lnTo>
                  <a:lnTo>
                    <a:pt x="13016" y="14316"/>
                  </a:lnTo>
                  <a:lnTo>
                    <a:pt x="13006" y="14299"/>
                  </a:lnTo>
                  <a:lnTo>
                    <a:pt x="12995" y="14282"/>
                  </a:lnTo>
                  <a:lnTo>
                    <a:pt x="12983" y="14265"/>
                  </a:lnTo>
                  <a:lnTo>
                    <a:pt x="12971" y="14249"/>
                  </a:lnTo>
                  <a:lnTo>
                    <a:pt x="12957" y="14233"/>
                  </a:lnTo>
                  <a:lnTo>
                    <a:pt x="12944" y="14217"/>
                  </a:lnTo>
                  <a:lnTo>
                    <a:pt x="12930" y="14203"/>
                  </a:lnTo>
                  <a:lnTo>
                    <a:pt x="12915" y="14188"/>
                  </a:lnTo>
                  <a:lnTo>
                    <a:pt x="12900" y="14174"/>
                  </a:lnTo>
                  <a:lnTo>
                    <a:pt x="12884" y="14161"/>
                  </a:lnTo>
                  <a:lnTo>
                    <a:pt x="12867" y="14149"/>
                  </a:lnTo>
                  <a:lnTo>
                    <a:pt x="12850" y="14137"/>
                  </a:lnTo>
                  <a:lnTo>
                    <a:pt x="12833" y="14126"/>
                  </a:lnTo>
                  <a:lnTo>
                    <a:pt x="12815" y="14116"/>
                  </a:lnTo>
                  <a:lnTo>
                    <a:pt x="12796" y="14106"/>
                  </a:lnTo>
                  <a:lnTo>
                    <a:pt x="12776" y="14098"/>
                  </a:lnTo>
                  <a:lnTo>
                    <a:pt x="12757" y="14090"/>
                  </a:lnTo>
                  <a:lnTo>
                    <a:pt x="12737" y="14082"/>
                  </a:lnTo>
                  <a:lnTo>
                    <a:pt x="12717" y="14076"/>
                  </a:lnTo>
                  <a:lnTo>
                    <a:pt x="12696" y="14070"/>
                  </a:lnTo>
                  <a:lnTo>
                    <a:pt x="9556" y="13663"/>
                  </a:lnTo>
                  <a:lnTo>
                    <a:pt x="9556" y="13053"/>
                  </a:lnTo>
                  <a:lnTo>
                    <a:pt x="14591" y="13053"/>
                  </a:lnTo>
                  <a:lnTo>
                    <a:pt x="14669" y="13050"/>
                  </a:lnTo>
                  <a:lnTo>
                    <a:pt x="14745" y="13044"/>
                  </a:lnTo>
                  <a:lnTo>
                    <a:pt x="14820" y="13035"/>
                  </a:lnTo>
                  <a:lnTo>
                    <a:pt x="14894" y="13021"/>
                  </a:lnTo>
                  <a:lnTo>
                    <a:pt x="14967" y="13004"/>
                  </a:lnTo>
                  <a:lnTo>
                    <a:pt x="15039" y="12984"/>
                  </a:lnTo>
                  <a:lnTo>
                    <a:pt x="15108" y="12959"/>
                  </a:lnTo>
                  <a:lnTo>
                    <a:pt x="15177" y="12933"/>
                  </a:lnTo>
                  <a:lnTo>
                    <a:pt x="15243" y="12902"/>
                  </a:lnTo>
                  <a:lnTo>
                    <a:pt x="15308" y="12869"/>
                  </a:lnTo>
                  <a:lnTo>
                    <a:pt x="15371" y="12833"/>
                  </a:lnTo>
                  <a:lnTo>
                    <a:pt x="15432" y="12794"/>
                  </a:lnTo>
                  <a:lnTo>
                    <a:pt x="15491" y="12752"/>
                  </a:lnTo>
                  <a:lnTo>
                    <a:pt x="15548" y="12707"/>
                  </a:lnTo>
                  <a:lnTo>
                    <a:pt x="15602" y="12660"/>
                  </a:lnTo>
                  <a:lnTo>
                    <a:pt x="15654" y="12610"/>
                  </a:lnTo>
                  <a:lnTo>
                    <a:pt x="15705" y="12558"/>
                  </a:lnTo>
                  <a:lnTo>
                    <a:pt x="15752" y="12504"/>
                  </a:lnTo>
                  <a:lnTo>
                    <a:pt x="15796" y="12446"/>
                  </a:lnTo>
                  <a:lnTo>
                    <a:pt x="15838" y="12387"/>
                  </a:lnTo>
                  <a:lnTo>
                    <a:pt x="15878" y="12326"/>
                  </a:lnTo>
                  <a:lnTo>
                    <a:pt x="15914" y="12264"/>
                  </a:lnTo>
                  <a:lnTo>
                    <a:pt x="15947" y="12198"/>
                  </a:lnTo>
                  <a:lnTo>
                    <a:pt x="15977" y="12132"/>
                  </a:lnTo>
                  <a:lnTo>
                    <a:pt x="16003" y="12064"/>
                  </a:lnTo>
                  <a:lnTo>
                    <a:pt x="16028" y="11994"/>
                  </a:lnTo>
                  <a:lnTo>
                    <a:pt x="16048" y="11922"/>
                  </a:lnTo>
                  <a:lnTo>
                    <a:pt x="16065" y="11850"/>
                  </a:lnTo>
                  <a:lnTo>
                    <a:pt x="16078" y="11776"/>
                  </a:lnTo>
                  <a:lnTo>
                    <a:pt x="16087" y="11700"/>
                  </a:lnTo>
                  <a:lnTo>
                    <a:pt x="16093" y="11624"/>
                  </a:lnTo>
                  <a:lnTo>
                    <a:pt x="16095" y="11547"/>
                  </a:lnTo>
                  <a:lnTo>
                    <a:pt x="16095" y="1506"/>
                  </a:lnTo>
                  <a:lnTo>
                    <a:pt x="16093" y="1429"/>
                  </a:lnTo>
                  <a:lnTo>
                    <a:pt x="16087" y="1352"/>
                  </a:lnTo>
                  <a:lnTo>
                    <a:pt x="16078" y="1277"/>
                  </a:lnTo>
                  <a:lnTo>
                    <a:pt x="16064" y="1203"/>
                  </a:lnTo>
                  <a:lnTo>
                    <a:pt x="16048" y="1130"/>
                  </a:lnTo>
                  <a:lnTo>
                    <a:pt x="16028" y="1058"/>
                  </a:lnTo>
                  <a:lnTo>
                    <a:pt x="16003" y="988"/>
                  </a:lnTo>
                  <a:lnTo>
                    <a:pt x="15976" y="920"/>
                  </a:lnTo>
                  <a:lnTo>
                    <a:pt x="15946" y="853"/>
                  </a:lnTo>
                  <a:lnTo>
                    <a:pt x="15913" y="788"/>
                  </a:lnTo>
                  <a:lnTo>
                    <a:pt x="15877" y="725"/>
                  </a:lnTo>
                  <a:lnTo>
                    <a:pt x="15837" y="664"/>
                  </a:lnTo>
                  <a:lnTo>
                    <a:pt x="15795" y="605"/>
                  </a:lnTo>
                  <a:lnTo>
                    <a:pt x="15750" y="548"/>
                  </a:lnTo>
                  <a:lnTo>
                    <a:pt x="15703" y="493"/>
                  </a:lnTo>
                  <a:lnTo>
                    <a:pt x="15652" y="441"/>
                  </a:lnTo>
                  <a:lnTo>
                    <a:pt x="15600" y="392"/>
                  </a:lnTo>
                  <a:lnTo>
                    <a:pt x="15546" y="344"/>
                  </a:lnTo>
                  <a:lnTo>
                    <a:pt x="15488" y="299"/>
                  </a:lnTo>
                  <a:lnTo>
                    <a:pt x="15429" y="257"/>
                  </a:lnTo>
                  <a:lnTo>
                    <a:pt x="15369" y="218"/>
                  </a:lnTo>
                  <a:lnTo>
                    <a:pt x="15305" y="182"/>
                  </a:lnTo>
                  <a:lnTo>
                    <a:pt x="15240" y="149"/>
                  </a:lnTo>
                  <a:lnTo>
                    <a:pt x="15174" y="118"/>
                  </a:lnTo>
                  <a:lnTo>
                    <a:pt x="15105" y="91"/>
                  </a:lnTo>
                  <a:lnTo>
                    <a:pt x="15035" y="67"/>
                  </a:lnTo>
                  <a:lnTo>
                    <a:pt x="14963" y="47"/>
                  </a:lnTo>
                  <a:lnTo>
                    <a:pt x="14890" y="30"/>
                  </a:lnTo>
                  <a:lnTo>
                    <a:pt x="14815" y="17"/>
                  </a:lnTo>
                  <a:lnTo>
                    <a:pt x="14740" y="8"/>
                  </a:lnTo>
                  <a:lnTo>
                    <a:pt x="14664" y="2"/>
                  </a:lnTo>
                  <a:lnTo>
                    <a:pt x="145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58" name="islîďé">
              <a:extLst>
                <a:ext uri="{FF2B5EF4-FFF2-40B4-BE49-F238E27FC236}">
                  <a16:creationId xmlns:a16="http://schemas.microsoft.com/office/drawing/2014/main" id="{D14526DB-9BAD-401E-B71F-3AF2DF0A3E45}"/>
                </a:ext>
              </a:extLst>
            </p:cNvPr>
            <p:cNvSpPr/>
            <p:nvPr/>
          </p:nvSpPr>
          <p:spPr bwMode="auto">
            <a:xfrm>
              <a:off x="4703538" y="723769"/>
              <a:ext cx="363600" cy="362763"/>
            </a:xfrm>
            <a:custGeom>
              <a:avLst/>
              <a:gdLst>
                <a:gd name="T0" fmla="*/ 13537 w 16094"/>
                <a:gd name="T1" fmla="*/ 6059 h 16058"/>
                <a:gd name="T2" fmla="*/ 13105 w 16094"/>
                <a:gd name="T3" fmla="*/ 4843 h 16058"/>
                <a:gd name="T4" fmla="*/ 12309 w 16094"/>
                <a:gd name="T5" fmla="*/ 3778 h 16058"/>
                <a:gd name="T6" fmla="*/ 11103 w 16094"/>
                <a:gd name="T7" fmla="*/ 2914 h 16058"/>
                <a:gd name="T8" fmla="*/ 9730 w 16094"/>
                <a:gd name="T9" fmla="*/ 2510 h 16058"/>
                <a:gd name="T10" fmla="*/ 10548 w 16094"/>
                <a:gd name="T11" fmla="*/ 1344 h 16058"/>
                <a:gd name="T12" fmla="*/ 11273 w 16094"/>
                <a:gd name="T13" fmla="*/ 1058 h 16058"/>
                <a:gd name="T14" fmla="*/ 12175 w 16094"/>
                <a:gd name="T15" fmla="*/ 1030 h 16058"/>
                <a:gd name="T16" fmla="*/ 13215 w 16094"/>
                <a:gd name="T17" fmla="*/ 1370 h 16058"/>
                <a:gd name="T18" fmla="*/ 14130 w 16094"/>
                <a:gd name="T19" fmla="*/ 2061 h 16058"/>
                <a:gd name="T20" fmla="*/ 14752 w 16094"/>
                <a:gd name="T21" fmla="*/ 2927 h 16058"/>
                <a:gd name="T22" fmla="*/ 15061 w 16094"/>
                <a:gd name="T23" fmla="*/ 3885 h 16058"/>
                <a:gd name="T24" fmla="*/ 15035 w 16094"/>
                <a:gd name="T25" fmla="*/ 4794 h 16058"/>
                <a:gd name="T26" fmla="*/ 14704 w 16094"/>
                <a:gd name="T27" fmla="*/ 5577 h 16058"/>
                <a:gd name="T28" fmla="*/ 4429 w 16094"/>
                <a:gd name="T29" fmla="*/ 13990 h 16058"/>
                <a:gd name="T30" fmla="*/ 4128 w 16094"/>
                <a:gd name="T31" fmla="*/ 13119 h 16058"/>
                <a:gd name="T32" fmla="*/ 3522 w 16094"/>
                <a:gd name="T33" fmla="*/ 12349 h 16058"/>
                <a:gd name="T34" fmla="*/ 2735 w 16094"/>
                <a:gd name="T35" fmla="*/ 11832 h 16058"/>
                <a:gd name="T36" fmla="*/ 1857 w 16094"/>
                <a:gd name="T37" fmla="*/ 11600 h 16058"/>
                <a:gd name="T38" fmla="*/ 2349 w 16094"/>
                <a:gd name="T39" fmla="*/ 9539 h 16058"/>
                <a:gd name="T40" fmla="*/ 3383 w 16094"/>
                <a:gd name="T41" fmla="*/ 9051 h 16058"/>
                <a:gd name="T42" fmla="*/ 5065 w 16094"/>
                <a:gd name="T43" fmla="*/ 9305 h 16058"/>
                <a:gd name="T44" fmla="*/ 6529 w 16094"/>
                <a:gd name="T45" fmla="*/ 10574 h 16058"/>
                <a:gd name="T46" fmla="*/ 7057 w 16094"/>
                <a:gd name="T47" fmla="*/ 12341 h 16058"/>
                <a:gd name="T48" fmla="*/ 6481 w 16094"/>
                <a:gd name="T49" fmla="*/ 13816 h 16058"/>
                <a:gd name="T50" fmla="*/ 1899 w 16094"/>
                <a:gd name="T51" fmla="*/ 15034 h 16058"/>
                <a:gd name="T52" fmla="*/ 1430 w 16094"/>
                <a:gd name="T53" fmla="*/ 14978 h 16058"/>
                <a:gd name="T54" fmla="*/ 1080 w 16094"/>
                <a:gd name="T55" fmla="*/ 14626 h 16058"/>
                <a:gd name="T56" fmla="*/ 1037 w 16094"/>
                <a:gd name="T57" fmla="*/ 14110 h 16058"/>
                <a:gd name="T58" fmla="*/ 2133 w 16094"/>
                <a:gd name="T59" fmla="*/ 12161 h 16058"/>
                <a:gd name="T60" fmla="*/ 2879 w 16094"/>
                <a:gd name="T61" fmla="*/ 12483 h 16058"/>
                <a:gd name="T62" fmla="*/ 3517 w 16094"/>
                <a:gd name="T63" fmla="*/ 13089 h 16058"/>
                <a:gd name="T64" fmla="*/ 3887 w 16094"/>
                <a:gd name="T65" fmla="*/ 13837 h 16058"/>
                <a:gd name="T66" fmla="*/ 5275 w 16094"/>
                <a:gd name="T67" fmla="*/ 8311 h 16058"/>
                <a:gd name="T68" fmla="*/ 4471 w 16094"/>
                <a:gd name="T69" fmla="*/ 8075 h 16058"/>
                <a:gd name="T70" fmla="*/ 3832 w 16094"/>
                <a:gd name="T71" fmla="*/ 8011 h 16058"/>
                <a:gd name="T72" fmla="*/ 8544 w 16094"/>
                <a:gd name="T73" fmla="*/ 3613 h 16058"/>
                <a:gd name="T74" fmla="*/ 9615 w 16094"/>
                <a:gd name="T75" fmla="*/ 3512 h 16058"/>
                <a:gd name="T76" fmla="*/ 7177 w 16094"/>
                <a:gd name="T77" fmla="*/ 9768 h 16058"/>
                <a:gd name="T78" fmla="*/ 6475 w 16094"/>
                <a:gd name="T79" fmla="*/ 9029 h 16058"/>
                <a:gd name="T80" fmla="*/ 10683 w 16094"/>
                <a:gd name="T81" fmla="*/ 3831 h 16058"/>
                <a:gd name="T82" fmla="*/ 11597 w 16094"/>
                <a:gd name="T83" fmla="*/ 4487 h 16058"/>
                <a:gd name="T84" fmla="*/ 12178 w 16094"/>
                <a:gd name="T85" fmla="*/ 5258 h 16058"/>
                <a:gd name="T86" fmla="*/ 7882 w 16094"/>
                <a:gd name="T87" fmla="*/ 11105 h 16058"/>
                <a:gd name="T88" fmla="*/ 12576 w 16094"/>
                <a:gd name="T89" fmla="*/ 6482 h 16058"/>
                <a:gd name="T90" fmla="*/ 12439 w 16094"/>
                <a:gd name="T91" fmla="*/ 7635 h 16058"/>
                <a:gd name="T92" fmla="*/ 11948 w 16094"/>
                <a:gd name="T93" fmla="*/ 8406 h 16058"/>
                <a:gd name="T94" fmla="*/ 14463 w 16094"/>
                <a:gd name="T95" fmla="*/ 1003 h 16058"/>
                <a:gd name="T96" fmla="*/ 13190 w 16094"/>
                <a:gd name="T97" fmla="*/ 260 h 16058"/>
                <a:gd name="T98" fmla="*/ 11795 w 16094"/>
                <a:gd name="T99" fmla="*/ 0 h 16058"/>
                <a:gd name="T100" fmla="*/ 10660 w 16094"/>
                <a:gd name="T101" fmla="*/ 187 h 16058"/>
                <a:gd name="T102" fmla="*/ 9684 w 16094"/>
                <a:gd name="T103" fmla="*/ 727 h 16058"/>
                <a:gd name="T104" fmla="*/ 1704 w 16094"/>
                <a:gd name="T105" fmla="*/ 8728 h 16058"/>
                <a:gd name="T106" fmla="*/ 1279 w 16094"/>
                <a:gd name="T107" fmla="*/ 9454 h 16058"/>
                <a:gd name="T108" fmla="*/ 0 w 16094"/>
                <a:gd name="T109" fmla="*/ 14302 h 16058"/>
                <a:gd name="T110" fmla="*/ 402 w 16094"/>
                <a:gd name="T111" fmla="*/ 15419 h 16058"/>
                <a:gd name="T112" fmla="*/ 1407 w 16094"/>
                <a:gd name="T113" fmla="*/ 16022 h 16058"/>
                <a:gd name="T114" fmla="*/ 2275 w 16094"/>
                <a:gd name="T115" fmla="*/ 15980 h 16058"/>
                <a:gd name="T116" fmla="*/ 7227 w 16094"/>
                <a:gd name="T117" fmla="*/ 14541 h 16058"/>
                <a:gd name="T118" fmla="*/ 15901 w 16094"/>
                <a:gd name="T119" fmla="*/ 5421 h 16058"/>
                <a:gd name="T120" fmla="*/ 15857 w 16094"/>
                <a:gd name="T121" fmla="*/ 2953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094" h="16058">
                  <a:moveTo>
                    <a:pt x="14431" y="5907"/>
                  </a:moveTo>
                  <a:lnTo>
                    <a:pt x="13584" y="6759"/>
                  </a:lnTo>
                  <a:lnTo>
                    <a:pt x="13585" y="6717"/>
                  </a:lnTo>
                  <a:lnTo>
                    <a:pt x="13586" y="6675"/>
                  </a:lnTo>
                  <a:lnTo>
                    <a:pt x="13588" y="6633"/>
                  </a:lnTo>
                  <a:lnTo>
                    <a:pt x="13590" y="6591"/>
                  </a:lnTo>
                  <a:lnTo>
                    <a:pt x="13591" y="6549"/>
                  </a:lnTo>
                  <a:lnTo>
                    <a:pt x="13591" y="6507"/>
                  </a:lnTo>
                  <a:lnTo>
                    <a:pt x="13590" y="6464"/>
                  </a:lnTo>
                  <a:lnTo>
                    <a:pt x="13587" y="6420"/>
                  </a:lnTo>
                  <a:lnTo>
                    <a:pt x="13578" y="6330"/>
                  </a:lnTo>
                  <a:lnTo>
                    <a:pt x="13566" y="6240"/>
                  </a:lnTo>
                  <a:lnTo>
                    <a:pt x="13553" y="6148"/>
                  </a:lnTo>
                  <a:lnTo>
                    <a:pt x="13537" y="6059"/>
                  </a:lnTo>
                  <a:lnTo>
                    <a:pt x="13520" y="5969"/>
                  </a:lnTo>
                  <a:lnTo>
                    <a:pt x="13500" y="5879"/>
                  </a:lnTo>
                  <a:lnTo>
                    <a:pt x="13478" y="5790"/>
                  </a:lnTo>
                  <a:lnTo>
                    <a:pt x="13453" y="5702"/>
                  </a:lnTo>
                  <a:lnTo>
                    <a:pt x="13427" y="5613"/>
                  </a:lnTo>
                  <a:lnTo>
                    <a:pt x="13400" y="5525"/>
                  </a:lnTo>
                  <a:lnTo>
                    <a:pt x="13370" y="5439"/>
                  </a:lnTo>
                  <a:lnTo>
                    <a:pt x="13338" y="5351"/>
                  </a:lnTo>
                  <a:lnTo>
                    <a:pt x="13305" y="5265"/>
                  </a:lnTo>
                  <a:lnTo>
                    <a:pt x="13268" y="5180"/>
                  </a:lnTo>
                  <a:lnTo>
                    <a:pt x="13230" y="5094"/>
                  </a:lnTo>
                  <a:lnTo>
                    <a:pt x="13191" y="5010"/>
                  </a:lnTo>
                  <a:lnTo>
                    <a:pt x="13150" y="4927"/>
                  </a:lnTo>
                  <a:lnTo>
                    <a:pt x="13105" y="4843"/>
                  </a:lnTo>
                  <a:lnTo>
                    <a:pt x="13060" y="4761"/>
                  </a:lnTo>
                  <a:lnTo>
                    <a:pt x="13014" y="4680"/>
                  </a:lnTo>
                  <a:lnTo>
                    <a:pt x="12965" y="4600"/>
                  </a:lnTo>
                  <a:lnTo>
                    <a:pt x="12913" y="4520"/>
                  </a:lnTo>
                  <a:lnTo>
                    <a:pt x="12861" y="4441"/>
                  </a:lnTo>
                  <a:lnTo>
                    <a:pt x="12807" y="4364"/>
                  </a:lnTo>
                  <a:lnTo>
                    <a:pt x="12750" y="4286"/>
                  </a:lnTo>
                  <a:lnTo>
                    <a:pt x="12692" y="4210"/>
                  </a:lnTo>
                  <a:lnTo>
                    <a:pt x="12633" y="4136"/>
                  </a:lnTo>
                  <a:lnTo>
                    <a:pt x="12571" y="4062"/>
                  </a:lnTo>
                  <a:lnTo>
                    <a:pt x="12508" y="3989"/>
                  </a:lnTo>
                  <a:lnTo>
                    <a:pt x="12443" y="3917"/>
                  </a:lnTo>
                  <a:lnTo>
                    <a:pt x="12376" y="3847"/>
                  </a:lnTo>
                  <a:lnTo>
                    <a:pt x="12309" y="3778"/>
                  </a:lnTo>
                  <a:lnTo>
                    <a:pt x="12230" y="3701"/>
                  </a:lnTo>
                  <a:lnTo>
                    <a:pt x="12152" y="3628"/>
                  </a:lnTo>
                  <a:lnTo>
                    <a:pt x="12071" y="3557"/>
                  </a:lnTo>
                  <a:lnTo>
                    <a:pt x="11989" y="3487"/>
                  </a:lnTo>
                  <a:lnTo>
                    <a:pt x="11905" y="3419"/>
                  </a:lnTo>
                  <a:lnTo>
                    <a:pt x="11821" y="3354"/>
                  </a:lnTo>
                  <a:lnTo>
                    <a:pt x="11735" y="3292"/>
                  </a:lnTo>
                  <a:lnTo>
                    <a:pt x="11648" y="3231"/>
                  </a:lnTo>
                  <a:lnTo>
                    <a:pt x="11560" y="3172"/>
                  </a:lnTo>
                  <a:lnTo>
                    <a:pt x="11471" y="3116"/>
                  </a:lnTo>
                  <a:lnTo>
                    <a:pt x="11380" y="3062"/>
                  </a:lnTo>
                  <a:lnTo>
                    <a:pt x="11289" y="3010"/>
                  </a:lnTo>
                  <a:lnTo>
                    <a:pt x="11196" y="2961"/>
                  </a:lnTo>
                  <a:lnTo>
                    <a:pt x="11103" y="2914"/>
                  </a:lnTo>
                  <a:lnTo>
                    <a:pt x="11009" y="2868"/>
                  </a:lnTo>
                  <a:lnTo>
                    <a:pt x="10913" y="2826"/>
                  </a:lnTo>
                  <a:lnTo>
                    <a:pt x="10818" y="2786"/>
                  </a:lnTo>
                  <a:lnTo>
                    <a:pt x="10721" y="2749"/>
                  </a:lnTo>
                  <a:lnTo>
                    <a:pt x="10625" y="2714"/>
                  </a:lnTo>
                  <a:lnTo>
                    <a:pt x="10527" y="2681"/>
                  </a:lnTo>
                  <a:lnTo>
                    <a:pt x="10429" y="2651"/>
                  </a:lnTo>
                  <a:lnTo>
                    <a:pt x="10330" y="2622"/>
                  </a:lnTo>
                  <a:lnTo>
                    <a:pt x="10231" y="2597"/>
                  </a:lnTo>
                  <a:lnTo>
                    <a:pt x="10132" y="2574"/>
                  </a:lnTo>
                  <a:lnTo>
                    <a:pt x="10031" y="2554"/>
                  </a:lnTo>
                  <a:lnTo>
                    <a:pt x="9932" y="2537"/>
                  </a:lnTo>
                  <a:lnTo>
                    <a:pt x="9831" y="2522"/>
                  </a:lnTo>
                  <a:lnTo>
                    <a:pt x="9730" y="2510"/>
                  </a:lnTo>
                  <a:lnTo>
                    <a:pt x="9630" y="2500"/>
                  </a:lnTo>
                  <a:lnTo>
                    <a:pt x="9529" y="2493"/>
                  </a:lnTo>
                  <a:lnTo>
                    <a:pt x="9428" y="2489"/>
                  </a:lnTo>
                  <a:lnTo>
                    <a:pt x="9327" y="2487"/>
                  </a:lnTo>
                  <a:lnTo>
                    <a:pt x="10160" y="1649"/>
                  </a:lnTo>
                  <a:lnTo>
                    <a:pt x="10199" y="1611"/>
                  </a:lnTo>
                  <a:lnTo>
                    <a:pt x="10240" y="1574"/>
                  </a:lnTo>
                  <a:lnTo>
                    <a:pt x="10282" y="1538"/>
                  </a:lnTo>
                  <a:lnTo>
                    <a:pt x="10324" y="1502"/>
                  </a:lnTo>
                  <a:lnTo>
                    <a:pt x="10367" y="1468"/>
                  </a:lnTo>
                  <a:lnTo>
                    <a:pt x="10411" y="1435"/>
                  </a:lnTo>
                  <a:lnTo>
                    <a:pt x="10456" y="1404"/>
                  </a:lnTo>
                  <a:lnTo>
                    <a:pt x="10502" y="1373"/>
                  </a:lnTo>
                  <a:lnTo>
                    <a:pt x="10548" y="1344"/>
                  </a:lnTo>
                  <a:lnTo>
                    <a:pt x="10596" y="1316"/>
                  </a:lnTo>
                  <a:lnTo>
                    <a:pt x="10644" y="1289"/>
                  </a:lnTo>
                  <a:lnTo>
                    <a:pt x="10692" y="1263"/>
                  </a:lnTo>
                  <a:lnTo>
                    <a:pt x="10742" y="1237"/>
                  </a:lnTo>
                  <a:lnTo>
                    <a:pt x="10793" y="1214"/>
                  </a:lnTo>
                  <a:lnTo>
                    <a:pt x="10843" y="1192"/>
                  </a:lnTo>
                  <a:lnTo>
                    <a:pt x="10894" y="1171"/>
                  </a:lnTo>
                  <a:lnTo>
                    <a:pt x="10947" y="1151"/>
                  </a:lnTo>
                  <a:lnTo>
                    <a:pt x="11000" y="1132"/>
                  </a:lnTo>
                  <a:lnTo>
                    <a:pt x="11053" y="1115"/>
                  </a:lnTo>
                  <a:lnTo>
                    <a:pt x="11108" y="1099"/>
                  </a:lnTo>
                  <a:lnTo>
                    <a:pt x="11162" y="1084"/>
                  </a:lnTo>
                  <a:lnTo>
                    <a:pt x="11217" y="1070"/>
                  </a:lnTo>
                  <a:lnTo>
                    <a:pt x="11273" y="1058"/>
                  </a:lnTo>
                  <a:lnTo>
                    <a:pt x="11329" y="1046"/>
                  </a:lnTo>
                  <a:lnTo>
                    <a:pt x="11386" y="1037"/>
                  </a:lnTo>
                  <a:lnTo>
                    <a:pt x="11444" y="1028"/>
                  </a:lnTo>
                  <a:lnTo>
                    <a:pt x="11501" y="1021"/>
                  </a:lnTo>
                  <a:lnTo>
                    <a:pt x="11559" y="1015"/>
                  </a:lnTo>
                  <a:lnTo>
                    <a:pt x="11618" y="1010"/>
                  </a:lnTo>
                  <a:lnTo>
                    <a:pt x="11676" y="1007"/>
                  </a:lnTo>
                  <a:lnTo>
                    <a:pt x="11735" y="1005"/>
                  </a:lnTo>
                  <a:lnTo>
                    <a:pt x="11795" y="1004"/>
                  </a:lnTo>
                  <a:lnTo>
                    <a:pt x="11871" y="1005"/>
                  </a:lnTo>
                  <a:lnTo>
                    <a:pt x="11947" y="1008"/>
                  </a:lnTo>
                  <a:lnTo>
                    <a:pt x="12023" y="1014"/>
                  </a:lnTo>
                  <a:lnTo>
                    <a:pt x="12098" y="1021"/>
                  </a:lnTo>
                  <a:lnTo>
                    <a:pt x="12175" y="1030"/>
                  </a:lnTo>
                  <a:lnTo>
                    <a:pt x="12251" y="1042"/>
                  </a:lnTo>
                  <a:lnTo>
                    <a:pt x="12327" y="1055"/>
                  </a:lnTo>
                  <a:lnTo>
                    <a:pt x="12402" y="1071"/>
                  </a:lnTo>
                  <a:lnTo>
                    <a:pt x="12478" y="1088"/>
                  </a:lnTo>
                  <a:lnTo>
                    <a:pt x="12553" y="1108"/>
                  </a:lnTo>
                  <a:lnTo>
                    <a:pt x="12629" y="1129"/>
                  </a:lnTo>
                  <a:lnTo>
                    <a:pt x="12703" y="1153"/>
                  </a:lnTo>
                  <a:lnTo>
                    <a:pt x="12777" y="1178"/>
                  </a:lnTo>
                  <a:lnTo>
                    <a:pt x="12852" y="1205"/>
                  </a:lnTo>
                  <a:lnTo>
                    <a:pt x="12925" y="1234"/>
                  </a:lnTo>
                  <a:lnTo>
                    <a:pt x="12999" y="1266"/>
                  </a:lnTo>
                  <a:lnTo>
                    <a:pt x="13071" y="1299"/>
                  </a:lnTo>
                  <a:lnTo>
                    <a:pt x="13144" y="1334"/>
                  </a:lnTo>
                  <a:lnTo>
                    <a:pt x="13215" y="1370"/>
                  </a:lnTo>
                  <a:lnTo>
                    <a:pt x="13285" y="1408"/>
                  </a:lnTo>
                  <a:lnTo>
                    <a:pt x="13356" y="1448"/>
                  </a:lnTo>
                  <a:lnTo>
                    <a:pt x="13425" y="1490"/>
                  </a:lnTo>
                  <a:lnTo>
                    <a:pt x="13495" y="1535"/>
                  </a:lnTo>
                  <a:lnTo>
                    <a:pt x="13562" y="1580"/>
                  </a:lnTo>
                  <a:lnTo>
                    <a:pt x="13629" y="1627"/>
                  </a:lnTo>
                  <a:lnTo>
                    <a:pt x="13696" y="1676"/>
                  </a:lnTo>
                  <a:lnTo>
                    <a:pt x="13761" y="1727"/>
                  </a:lnTo>
                  <a:lnTo>
                    <a:pt x="13827" y="1779"/>
                  </a:lnTo>
                  <a:lnTo>
                    <a:pt x="13890" y="1834"/>
                  </a:lnTo>
                  <a:lnTo>
                    <a:pt x="13952" y="1889"/>
                  </a:lnTo>
                  <a:lnTo>
                    <a:pt x="14014" y="1946"/>
                  </a:lnTo>
                  <a:lnTo>
                    <a:pt x="14075" y="2005"/>
                  </a:lnTo>
                  <a:lnTo>
                    <a:pt x="14130" y="2061"/>
                  </a:lnTo>
                  <a:lnTo>
                    <a:pt x="14185" y="2119"/>
                  </a:lnTo>
                  <a:lnTo>
                    <a:pt x="14237" y="2177"/>
                  </a:lnTo>
                  <a:lnTo>
                    <a:pt x="14288" y="2235"/>
                  </a:lnTo>
                  <a:lnTo>
                    <a:pt x="14338" y="2295"/>
                  </a:lnTo>
                  <a:lnTo>
                    <a:pt x="14386" y="2356"/>
                  </a:lnTo>
                  <a:lnTo>
                    <a:pt x="14433" y="2417"/>
                  </a:lnTo>
                  <a:lnTo>
                    <a:pt x="14478" y="2478"/>
                  </a:lnTo>
                  <a:lnTo>
                    <a:pt x="14522" y="2540"/>
                  </a:lnTo>
                  <a:lnTo>
                    <a:pt x="14564" y="2603"/>
                  </a:lnTo>
                  <a:lnTo>
                    <a:pt x="14605" y="2667"/>
                  </a:lnTo>
                  <a:lnTo>
                    <a:pt x="14644" y="2731"/>
                  </a:lnTo>
                  <a:lnTo>
                    <a:pt x="14682" y="2796"/>
                  </a:lnTo>
                  <a:lnTo>
                    <a:pt x="14718" y="2861"/>
                  </a:lnTo>
                  <a:lnTo>
                    <a:pt x="14752" y="2927"/>
                  </a:lnTo>
                  <a:lnTo>
                    <a:pt x="14785" y="2993"/>
                  </a:lnTo>
                  <a:lnTo>
                    <a:pt x="14816" y="3060"/>
                  </a:lnTo>
                  <a:lnTo>
                    <a:pt x="14846" y="3126"/>
                  </a:lnTo>
                  <a:lnTo>
                    <a:pt x="14874" y="3195"/>
                  </a:lnTo>
                  <a:lnTo>
                    <a:pt x="14900" y="3262"/>
                  </a:lnTo>
                  <a:lnTo>
                    <a:pt x="14925" y="3330"/>
                  </a:lnTo>
                  <a:lnTo>
                    <a:pt x="14948" y="3398"/>
                  </a:lnTo>
                  <a:lnTo>
                    <a:pt x="14969" y="3468"/>
                  </a:lnTo>
                  <a:lnTo>
                    <a:pt x="14988" y="3537"/>
                  </a:lnTo>
                  <a:lnTo>
                    <a:pt x="15007" y="3606"/>
                  </a:lnTo>
                  <a:lnTo>
                    <a:pt x="15023" y="3675"/>
                  </a:lnTo>
                  <a:lnTo>
                    <a:pt x="15038" y="3746"/>
                  </a:lnTo>
                  <a:lnTo>
                    <a:pt x="15050" y="3816"/>
                  </a:lnTo>
                  <a:lnTo>
                    <a:pt x="15061" y="3885"/>
                  </a:lnTo>
                  <a:lnTo>
                    <a:pt x="15070" y="3955"/>
                  </a:lnTo>
                  <a:lnTo>
                    <a:pt x="15078" y="4026"/>
                  </a:lnTo>
                  <a:lnTo>
                    <a:pt x="15084" y="4097"/>
                  </a:lnTo>
                  <a:lnTo>
                    <a:pt x="15087" y="4162"/>
                  </a:lnTo>
                  <a:lnTo>
                    <a:pt x="15089" y="4227"/>
                  </a:lnTo>
                  <a:lnTo>
                    <a:pt x="15089" y="4292"/>
                  </a:lnTo>
                  <a:lnTo>
                    <a:pt x="15088" y="4357"/>
                  </a:lnTo>
                  <a:lnTo>
                    <a:pt x="15085" y="4420"/>
                  </a:lnTo>
                  <a:lnTo>
                    <a:pt x="15081" y="4484"/>
                  </a:lnTo>
                  <a:lnTo>
                    <a:pt x="15075" y="4546"/>
                  </a:lnTo>
                  <a:lnTo>
                    <a:pt x="15067" y="4610"/>
                  </a:lnTo>
                  <a:lnTo>
                    <a:pt x="15058" y="4672"/>
                  </a:lnTo>
                  <a:lnTo>
                    <a:pt x="15048" y="4733"/>
                  </a:lnTo>
                  <a:lnTo>
                    <a:pt x="15035" y="4794"/>
                  </a:lnTo>
                  <a:lnTo>
                    <a:pt x="15022" y="4855"/>
                  </a:lnTo>
                  <a:lnTo>
                    <a:pt x="15006" y="4914"/>
                  </a:lnTo>
                  <a:lnTo>
                    <a:pt x="14989" y="4973"/>
                  </a:lnTo>
                  <a:lnTo>
                    <a:pt x="14970" y="5032"/>
                  </a:lnTo>
                  <a:lnTo>
                    <a:pt x="14950" y="5089"/>
                  </a:lnTo>
                  <a:lnTo>
                    <a:pt x="14929" y="5147"/>
                  </a:lnTo>
                  <a:lnTo>
                    <a:pt x="14906" y="5203"/>
                  </a:lnTo>
                  <a:lnTo>
                    <a:pt x="14882" y="5259"/>
                  </a:lnTo>
                  <a:lnTo>
                    <a:pt x="14856" y="5314"/>
                  </a:lnTo>
                  <a:lnTo>
                    <a:pt x="14829" y="5368"/>
                  </a:lnTo>
                  <a:lnTo>
                    <a:pt x="14799" y="5422"/>
                  </a:lnTo>
                  <a:lnTo>
                    <a:pt x="14769" y="5474"/>
                  </a:lnTo>
                  <a:lnTo>
                    <a:pt x="14737" y="5526"/>
                  </a:lnTo>
                  <a:lnTo>
                    <a:pt x="14704" y="5577"/>
                  </a:lnTo>
                  <a:lnTo>
                    <a:pt x="14670" y="5627"/>
                  </a:lnTo>
                  <a:lnTo>
                    <a:pt x="14633" y="5675"/>
                  </a:lnTo>
                  <a:lnTo>
                    <a:pt x="14595" y="5724"/>
                  </a:lnTo>
                  <a:lnTo>
                    <a:pt x="14557" y="5772"/>
                  </a:lnTo>
                  <a:lnTo>
                    <a:pt x="14516" y="5818"/>
                  </a:lnTo>
                  <a:lnTo>
                    <a:pt x="14474" y="5863"/>
                  </a:lnTo>
                  <a:lnTo>
                    <a:pt x="14431" y="5907"/>
                  </a:lnTo>
                  <a:close/>
                  <a:moveTo>
                    <a:pt x="4463" y="14370"/>
                  </a:moveTo>
                  <a:lnTo>
                    <a:pt x="4461" y="14307"/>
                  </a:lnTo>
                  <a:lnTo>
                    <a:pt x="4458" y="14243"/>
                  </a:lnTo>
                  <a:lnTo>
                    <a:pt x="4453" y="14180"/>
                  </a:lnTo>
                  <a:lnTo>
                    <a:pt x="4446" y="14117"/>
                  </a:lnTo>
                  <a:lnTo>
                    <a:pt x="4438" y="14053"/>
                  </a:lnTo>
                  <a:lnTo>
                    <a:pt x="4429" y="13990"/>
                  </a:lnTo>
                  <a:lnTo>
                    <a:pt x="4417" y="13926"/>
                  </a:lnTo>
                  <a:lnTo>
                    <a:pt x="4405" y="13863"/>
                  </a:lnTo>
                  <a:lnTo>
                    <a:pt x="4391" y="13800"/>
                  </a:lnTo>
                  <a:lnTo>
                    <a:pt x="4375" y="13737"/>
                  </a:lnTo>
                  <a:lnTo>
                    <a:pt x="4357" y="13673"/>
                  </a:lnTo>
                  <a:lnTo>
                    <a:pt x="4338" y="13610"/>
                  </a:lnTo>
                  <a:lnTo>
                    <a:pt x="4317" y="13548"/>
                  </a:lnTo>
                  <a:lnTo>
                    <a:pt x="4295" y="13486"/>
                  </a:lnTo>
                  <a:lnTo>
                    <a:pt x="4271" y="13423"/>
                  </a:lnTo>
                  <a:lnTo>
                    <a:pt x="4246" y="13362"/>
                  </a:lnTo>
                  <a:lnTo>
                    <a:pt x="4219" y="13300"/>
                  </a:lnTo>
                  <a:lnTo>
                    <a:pt x="4191" y="13240"/>
                  </a:lnTo>
                  <a:lnTo>
                    <a:pt x="4161" y="13179"/>
                  </a:lnTo>
                  <a:lnTo>
                    <a:pt x="4128" y="13119"/>
                  </a:lnTo>
                  <a:lnTo>
                    <a:pt x="4095" y="13059"/>
                  </a:lnTo>
                  <a:lnTo>
                    <a:pt x="4060" y="13000"/>
                  </a:lnTo>
                  <a:lnTo>
                    <a:pt x="4024" y="12942"/>
                  </a:lnTo>
                  <a:lnTo>
                    <a:pt x="3986" y="12884"/>
                  </a:lnTo>
                  <a:lnTo>
                    <a:pt x="3946" y="12826"/>
                  </a:lnTo>
                  <a:lnTo>
                    <a:pt x="3905" y="12769"/>
                  </a:lnTo>
                  <a:lnTo>
                    <a:pt x="3862" y="12714"/>
                  </a:lnTo>
                  <a:lnTo>
                    <a:pt x="3818" y="12658"/>
                  </a:lnTo>
                  <a:lnTo>
                    <a:pt x="3771" y="12604"/>
                  </a:lnTo>
                  <a:lnTo>
                    <a:pt x="3723" y="12549"/>
                  </a:lnTo>
                  <a:lnTo>
                    <a:pt x="3674" y="12497"/>
                  </a:lnTo>
                  <a:lnTo>
                    <a:pt x="3622" y="12445"/>
                  </a:lnTo>
                  <a:lnTo>
                    <a:pt x="3573" y="12396"/>
                  </a:lnTo>
                  <a:lnTo>
                    <a:pt x="3522" y="12349"/>
                  </a:lnTo>
                  <a:lnTo>
                    <a:pt x="3470" y="12303"/>
                  </a:lnTo>
                  <a:lnTo>
                    <a:pt x="3418" y="12258"/>
                  </a:lnTo>
                  <a:lnTo>
                    <a:pt x="3366" y="12215"/>
                  </a:lnTo>
                  <a:lnTo>
                    <a:pt x="3312" y="12174"/>
                  </a:lnTo>
                  <a:lnTo>
                    <a:pt x="3257" y="12133"/>
                  </a:lnTo>
                  <a:lnTo>
                    <a:pt x="3202" y="12094"/>
                  </a:lnTo>
                  <a:lnTo>
                    <a:pt x="3146" y="12057"/>
                  </a:lnTo>
                  <a:lnTo>
                    <a:pt x="3088" y="12020"/>
                  </a:lnTo>
                  <a:lnTo>
                    <a:pt x="3031" y="11985"/>
                  </a:lnTo>
                  <a:lnTo>
                    <a:pt x="2974" y="11952"/>
                  </a:lnTo>
                  <a:lnTo>
                    <a:pt x="2914" y="11920"/>
                  </a:lnTo>
                  <a:lnTo>
                    <a:pt x="2855" y="11889"/>
                  </a:lnTo>
                  <a:lnTo>
                    <a:pt x="2796" y="11860"/>
                  </a:lnTo>
                  <a:lnTo>
                    <a:pt x="2735" y="11832"/>
                  </a:lnTo>
                  <a:lnTo>
                    <a:pt x="2675" y="11806"/>
                  </a:lnTo>
                  <a:lnTo>
                    <a:pt x="2613" y="11781"/>
                  </a:lnTo>
                  <a:lnTo>
                    <a:pt x="2552" y="11757"/>
                  </a:lnTo>
                  <a:lnTo>
                    <a:pt x="2490" y="11735"/>
                  </a:lnTo>
                  <a:lnTo>
                    <a:pt x="2427" y="11715"/>
                  </a:lnTo>
                  <a:lnTo>
                    <a:pt x="2365" y="11696"/>
                  </a:lnTo>
                  <a:lnTo>
                    <a:pt x="2303" y="11679"/>
                  </a:lnTo>
                  <a:lnTo>
                    <a:pt x="2239" y="11663"/>
                  </a:lnTo>
                  <a:lnTo>
                    <a:pt x="2176" y="11648"/>
                  </a:lnTo>
                  <a:lnTo>
                    <a:pt x="2112" y="11636"/>
                  </a:lnTo>
                  <a:lnTo>
                    <a:pt x="2048" y="11625"/>
                  </a:lnTo>
                  <a:lnTo>
                    <a:pt x="1985" y="11615"/>
                  </a:lnTo>
                  <a:lnTo>
                    <a:pt x="1920" y="11607"/>
                  </a:lnTo>
                  <a:lnTo>
                    <a:pt x="1857" y="11600"/>
                  </a:lnTo>
                  <a:lnTo>
                    <a:pt x="1793" y="11595"/>
                  </a:lnTo>
                  <a:lnTo>
                    <a:pt x="1728" y="11592"/>
                  </a:lnTo>
                  <a:lnTo>
                    <a:pt x="2229" y="9781"/>
                  </a:lnTo>
                  <a:lnTo>
                    <a:pt x="2236" y="9759"/>
                  </a:lnTo>
                  <a:lnTo>
                    <a:pt x="2244" y="9736"/>
                  </a:lnTo>
                  <a:lnTo>
                    <a:pt x="2253" y="9714"/>
                  </a:lnTo>
                  <a:lnTo>
                    <a:pt x="2263" y="9692"/>
                  </a:lnTo>
                  <a:lnTo>
                    <a:pt x="2273" y="9670"/>
                  </a:lnTo>
                  <a:lnTo>
                    <a:pt x="2284" y="9648"/>
                  </a:lnTo>
                  <a:lnTo>
                    <a:pt x="2296" y="9626"/>
                  </a:lnTo>
                  <a:lnTo>
                    <a:pt x="2308" y="9604"/>
                  </a:lnTo>
                  <a:lnTo>
                    <a:pt x="2321" y="9583"/>
                  </a:lnTo>
                  <a:lnTo>
                    <a:pt x="2335" y="9561"/>
                  </a:lnTo>
                  <a:lnTo>
                    <a:pt x="2349" y="9539"/>
                  </a:lnTo>
                  <a:lnTo>
                    <a:pt x="2363" y="9518"/>
                  </a:lnTo>
                  <a:lnTo>
                    <a:pt x="2378" y="9498"/>
                  </a:lnTo>
                  <a:lnTo>
                    <a:pt x="2393" y="9478"/>
                  </a:lnTo>
                  <a:lnTo>
                    <a:pt x="2409" y="9458"/>
                  </a:lnTo>
                  <a:lnTo>
                    <a:pt x="2426" y="9438"/>
                  </a:lnTo>
                  <a:lnTo>
                    <a:pt x="2522" y="9374"/>
                  </a:lnTo>
                  <a:lnTo>
                    <a:pt x="2621" y="9314"/>
                  </a:lnTo>
                  <a:lnTo>
                    <a:pt x="2723" y="9260"/>
                  </a:lnTo>
                  <a:lnTo>
                    <a:pt x="2828" y="9211"/>
                  </a:lnTo>
                  <a:lnTo>
                    <a:pt x="2934" y="9169"/>
                  </a:lnTo>
                  <a:lnTo>
                    <a:pt x="3044" y="9131"/>
                  </a:lnTo>
                  <a:lnTo>
                    <a:pt x="3156" y="9099"/>
                  </a:lnTo>
                  <a:lnTo>
                    <a:pt x="3268" y="9072"/>
                  </a:lnTo>
                  <a:lnTo>
                    <a:pt x="3383" y="9051"/>
                  </a:lnTo>
                  <a:lnTo>
                    <a:pt x="3500" y="9034"/>
                  </a:lnTo>
                  <a:lnTo>
                    <a:pt x="3617" y="9024"/>
                  </a:lnTo>
                  <a:lnTo>
                    <a:pt x="3736" y="9018"/>
                  </a:lnTo>
                  <a:lnTo>
                    <a:pt x="3857" y="9018"/>
                  </a:lnTo>
                  <a:lnTo>
                    <a:pt x="3976" y="9023"/>
                  </a:lnTo>
                  <a:lnTo>
                    <a:pt x="4098" y="9033"/>
                  </a:lnTo>
                  <a:lnTo>
                    <a:pt x="4220" y="9049"/>
                  </a:lnTo>
                  <a:lnTo>
                    <a:pt x="4342" y="9070"/>
                  </a:lnTo>
                  <a:lnTo>
                    <a:pt x="4463" y="9096"/>
                  </a:lnTo>
                  <a:lnTo>
                    <a:pt x="4584" y="9127"/>
                  </a:lnTo>
                  <a:lnTo>
                    <a:pt x="4706" y="9164"/>
                  </a:lnTo>
                  <a:lnTo>
                    <a:pt x="4826" y="9206"/>
                  </a:lnTo>
                  <a:lnTo>
                    <a:pt x="4946" y="9252"/>
                  </a:lnTo>
                  <a:lnTo>
                    <a:pt x="5065" y="9305"/>
                  </a:lnTo>
                  <a:lnTo>
                    <a:pt x="5184" y="9363"/>
                  </a:lnTo>
                  <a:lnTo>
                    <a:pt x="5300" y="9425"/>
                  </a:lnTo>
                  <a:lnTo>
                    <a:pt x="5415" y="9493"/>
                  </a:lnTo>
                  <a:lnTo>
                    <a:pt x="5529" y="9566"/>
                  </a:lnTo>
                  <a:lnTo>
                    <a:pt x="5640" y="9644"/>
                  </a:lnTo>
                  <a:lnTo>
                    <a:pt x="5750" y="9727"/>
                  </a:lnTo>
                  <a:lnTo>
                    <a:pt x="5857" y="9815"/>
                  </a:lnTo>
                  <a:lnTo>
                    <a:pt x="5962" y="9909"/>
                  </a:lnTo>
                  <a:lnTo>
                    <a:pt x="6065" y="10007"/>
                  </a:lnTo>
                  <a:lnTo>
                    <a:pt x="6168" y="10115"/>
                  </a:lnTo>
                  <a:lnTo>
                    <a:pt x="6267" y="10226"/>
                  </a:lnTo>
                  <a:lnTo>
                    <a:pt x="6360" y="10339"/>
                  </a:lnTo>
                  <a:lnTo>
                    <a:pt x="6447" y="10456"/>
                  </a:lnTo>
                  <a:lnTo>
                    <a:pt x="6529" y="10574"/>
                  </a:lnTo>
                  <a:lnTo>
                    <a:pt x="6604" y="10695"/>
                  </a:lnTo>
                  <a:lnTo>
                    <a:pt x="6673" y="10816"/>
                  </a:lnTo>
                  <a:lnTo>
                    <a:pt x="6738" y="10941"/>
                  </a:lnTo>
                  <a:lnTo>
                    <a:pt x="6796" y="11065"/>
                  </a:lnTo>
                  <a:lnTo>
                    <a:pt x="6848" y="11191"/>
                  </a:lnTo>
                  <a:lnTo>
                    <a:pt x="6895" y="11318"/>
                  </a:lnTo>
                  <a:lnTo>
                    <a:pt x="6936" y="11446"/>
                  </a:lnTo>
                  <a:lnTo>
                    <a:pt x="6971" y="11574"/>
                  </a:lnTo>
                  <a:lnTo>
                    <a:pt x="7000" y="11702"/>
                  </a:lnTo>
                  <a:lnTo>
                    <a:pt x="7023" y="11831"/>
                  </a:lnTo>
                  <a:lnTo>
                    <a:pt x="7041" y="11959"/>
                  </a:lnTo>
                  <a:lnTo>
                    <a:pt x="7052" y="12087"/>
                  </a:lnTo>
                  <a:lnTo>
                    <a:pt x="7058" y="12214"/>
                  </a:lnTo>
                  <a:lnTo>
                    <a:pt x="7057" y="12341"/>
                  </a:lnTo>
                  <a:lnTo>
                    <a:pt x="7051" y="12466"/>
                  </a:lnTo>
                  <a:lnTo>
                    <a:pt x="7039" y="12589"/>
                  </a:lnTo>
                  <a:lnTo>
                    <a:pt x="7019" y="12712"/>
                  </a:lnTo>
                  <a:lnTo>
                    <a:pt x="6995" y="12832"/>
                  </a:lnTo>
                  <a:lnTo>
                    <a:pt x="6965" y="12952"/>
                  </a:lnTo>
                  <a:lnTo>
                    <a:pt x="6929" y="13068"/>
                  </a:lnTo>
                  <a:lnTo>
                    <a:pt x="6886" y="13183"/>
                  </a:lnTo>
                  <a:lnTo>
                    <a:pt x="6837" y="13294"/>
                  </a:lnTo>
                  <a:lnTo>
                    <a:pt x="6783" y="13402"/>
                  </a:lnTo>
                  <a:lnTo>
                    <a:pt x="6722" y="13508"/>
                  </a:lnTo>
                  <a:lnTo>
                    <a:pt x="6655" y="13610"/>
                  </a:lnTo>
                  <a:lnTo>
                    <a:pt x="6582" y="13710"/>
                  </a:lnTo>
                  <a:lnTo>
                    <a:pt x="6502" y="13805"/>
                  </a:lnTo>
                  <a:lnTo>
                    <a:pt x="6481" y="13816"/>
                  </a:lnTo>
                  <a:lnTo>
                    <a:pt x="6459" y="13827"/>
                  </a:lnTo>
                  <a:lnTo>
                    <a:pt x="6437" y="13838"/>
                  </a:lnTo>
                  <a:lnTo>
                    <a:pt x="6415" y="13848"/>
                  </a:lnTo>
                  <a:lnTo>
                    <a:pt x="6392" y="13858"/>
                  </a:lnTo>
                  <a:lnTo>
                    <a:pt x="6369" y="13867"/>
                  </a:lnTo>
                  <a:lnTo>
                    <a:pt x="6345" y="13876"/>
                  </a:lnTo>
                  <a:lnTo>
                    <a:pt x="6322" y="13884"/>
                  </a:lnTo>
                  <a:lnTo>
                    <a:pt x="4463" y="14370"/>
                  </a:lnTo>
                  <a:close/>
                  <a:moveTo>
                    <a:pt x="2096" y="14991"/>
                  </a:moveTo>
                  <a:lnTo>
                    <a:pt x="2070" y="14997"/>
                  </a:lnTo>
                  <a:lnTo>
                    <a:pt x="2036" y="15005"/>
                  </a:lnTo>
                  <a:lnTo>
                    <a:pt x="1995" y="15014"/>
                  </a:lnTo>
                  <a:lnTo>
                    <a:pt x="1949" y="15024"/>
                  </a:lnTo>
                  <a:lnTo>
                    <a:pt x="1899" y="15034"/>
                  </a:lnTo>
                  <a:lnTo>
                    <a:pt x="1849" y="15043"/>
                  </a:lnTo>
                  <a:lnTo>
                    <a:pt x="1825" y="15046"/>
                  </a:lnTo>
                  <a:lnTo>
                    <a:pt x="1801" y="15050"/>
                  </a:lnTo>
                  <a:lnTo>
                    <a:pt x="1777" y="15052"/>
                  </a:lnTo>
                  <a:lnTo>
                    <a:pt x="1755" y="15054"/>
                  </a:lnTo>
                  <a:lnTo>
                    <a:pt x="1716" y="15053"/>
                  </a:lnTo>
                  <a:lnTo>
                    <a:pt x="1679" y="15049"/>
                  </a:lnTo>
                  <a:lnTo>
                    <a:pt x="1641" y="15044"/>
                  </a:lnTo>
                  <a:lnTo>
                    <a:pt x="1604" y="15037"/>
                  </a:lnTo>
                  <a:lnTo>
                    <a:pt x="1568" y="15029"/>
                  </a:lnTo>
                  <a:lnTo>
                    <a:pt x="1532" y="15018"/>
                  </a:lnTo>
                  <a:lnTo>
                    <a:pt x="1498" y="15006"/>
                  </a:lnTo>
                  <a:lnTo>
                    <a:pt x="1464" y="14993"/>
                  </a:lnTo>
                  <a:lnTo>
                    <a:pt x="1430" y="14978"/>
                  </a:lnTo>
                  <a:lnTo>
                    <a:pt x="1398" y="14961"/>
                  </a:lnTo>
                  <a:lnTo>
                    <a:pt x="1367" y="14943"/>
                  </a:lnTo>
                  <a:lnTo>
                    <a:pt x="1336" y="14923"/>
                  </a:lnTo>
                  <a:lnTo>
                    <a:pt x="1307" y="14902"/>
                  </a:lnTo>
                  <a:lnTo>
                    <a:pt x="1279" y="14880"/>
                  </a:lnTo>
                  <a:lnTo>
                    <a:pt x="1251" y="14856"/>
                  </a:lnTo>
                  <a:lnTo>
                    <a:pt x="1225" y="14832"/>
                  </a:lnTo>
                  <a:lnTo>
                    <a:pt x="1201" y="14804"/>
                  </a:lnTo>
                  <a:lnTo>
                    <a:pt x="1177" y="14777"/>
                  </a:lnTo>
                  <a:lnTo>
                    <a:pt x="1155" y="14749"/>
                  </a:lnTo>
                  <a:lnTo>
                    <a:pt x="1134" y="14720"/>
                  </a:lnTo>
                  <a:lnTo>
                    <a:pt x="1115" y="14689"/>
                  </a:lnTo>
                  <a:lnTo>
                    <a:pt x="1096" y="14658"/>
                  </a:lnTo>
                  <a:lnTo>
                    <a:pt x="1080" y="14626"/>
                  </a:lnTo>
                  <a:lnTo>
                    <a:pt x="1065" y="14593"/>
                  </a:lnTo>
                  <a:lnTo>
                    <a:pt x="1051" y="14559"/>
                  </a:lnTo>
                  <a:lnTo>
                    <a:pt x="1040" y="14524"/>
                  </a:lnTo>
                  <a:lnTo>
                    <a:pt x="1030" y="14488"/>
                  </a:lnTo>
                  <a:lnTo>
                    <a:pt x="1021" y="14452"/>
                  </a:lnTo>
                  <a:lnTo>
                    <a:pt x="1015" y="14415"/>
                  </a:lnTo>
                  <a:lnTo>
                    <a:pt x="1010" y="14378"/>
                  </a:lnTo>
                  <a:lnTo>
                    <a:pt x="1007" y="14340"/>
                  </a:lnTo>
                  <a:lnTo>
                    <a:pt x="1006" y="14302"/>
                  </a:lnTo>
                  <a:lnTo>
                    <a:pt x="1009" y="14268"/>
                  </a:lnTo>
                  <a:lnTo>
                    <a:pt x="1015" y="14229"/>
                  </a:lnTo>
                  <a:lnTo>
                    <a:pt x="1022" y="14189"/>
                  </a:lnTo>
                  <a:lnTo>
                    <a:pt x="1029" y="14149"/>
                  </a:lnTo>
                  <a:lnTo>
                    <a:pt x="1037" y="14110"/>
                  </a:lnTo>
                  <a:lnTo>
                    <a:pt x="1045" y="14074"/>
                  </a:lnTo>
                  <a:lnTo>
                    <a:pt x="1051" y="14043"/>
                  </a:lnTo>
                  <a:lnTo>
                    <a:pt x="1056" y="14020"/>
                  </a:lnTo>
                  <a:lnTo>
                    <a:pt x="1586" y="12106"/>
                  </a:lnTo>
                  <a:lnTo>
                    <a:pt x="1641" y="12105"/>
                  </a:lnTo>
                  <a:lnTo>
                    <a:pt x="1695" y="12105"/>
                  </a:lnTo>
                  <a:lnTo>
                    <a:pt x="1749" y="12107"/>
                  </a:lnTo>
                  <a:lnTo>
                    <a:pt x="1804" y="12111"/>
                  </a:lnTo>
                  <a:lnTo>
                    <a:pt x="1858" y="12116"/>
                  </a:lnTo>
                  <a:lnTo>
                    <a:pt x="1913" y="12122"/>
                  </a:lnTo>
                  <a:lnTo>
                    <a:pt x="1968" y="12130"/>
                  </a:lnTo>
                  <a:lnTo>
                    <a:pt x="2023" y="12139"/>
                  </a:lnTo>
                  <a:lnTo>
                    <a:pt x="2077" y="12149"/>
                  </a:lnTo>
                  <a:lnTo>
                    <a:pt x="2133" y="12161"/>
                  </a:lnTo>
                  <a:lnTo>
                    <a:pt x="2187" y="12175"/>
                  </a:lnTo>
                  <a:lnTo>
                    <a:pt x="2242" y="12190"/>
                  </a:lnTo>
                  <a:lnTo>
                    <a:pt x="2297" y="12206"/>
                  </a:lnTo>
                  <a:lnTo>
                    <a:pt x="2351" y="12224"/>
                  </a:lnTo>
                  <a:lnTo>
                    <a:pt x="2405" y="12243"/>
                  </a:lnTo>
                  <a:lnTo>
                    <a:pt x="2460" y="12264"/>
                  </a:lnTo>
                  <a:lnTo>
                    <a:pt x="2513" y="12286"/>
                  </a:lnTo>
                  <a:lnTo>
                    <a:pt x="2566" y="12309"/>
                  </a:lnTo>
                  <a:lnTo>
                    <a:pt x="2619" y="12335"/>
                  </a:lnTo>
                  <a:lnTo>
                    <a:pt x="2673" y="12362"/>
                  </a:lnTo>
                  <a:lnTo>
                    <a:pt x="2725" y="12390"/>
                  </a:lnTo>
                  <a:lnTo>
                    <a:pt x="2776" y="12420"/>
                  </a:lnTo>
                  <a:lnTo>
                    <a:pt x="2829" y="12451"/>
                  </a:lnTo>
                  <a:lnTo>
                    <a:pt x="2879" y="12483"/>
                  </a:lnTo>
                  <a:lnTo>
                    <a:pt x="2930" y="12517"/>
                  </a:lnTo>
                  <a:lnTo>
                    <a:pt x="2980" y="12553"/>
                  </a:lnTo>
                  <a:lnTo>
                    <a:pt x="3029" y="12590"/>
                  </a:lnTo>
                  <a:lnTo>
                    <a:pt x="3078" y="12629"/>
                  </a:lnTo>
                  <a:lnTo>
                    <a:pt x="3126" y="12669"/>
                  </a:lnTo>
                  <a:lnTo>
                    <a:pt x="3174" y="12711"/>
                  </a:lnTo>
                  <a:lnTo>
                    <a:pt x="3220" y="12754"/>
                  </a:lnTo>
                  <a:lnTo>
                    <a:pt x="3266" y="12799"/>
                  </a:lnTo>
                  <a:lnTo>
                    <a:pt x="3312" y="12845"/>
                  </a:lnTo>
                  <a:lnTo>
                    <a:pt x="3356" y="12893"/>
                  </a:lnTo>
                  <a:lnTo>
                    <a:pt x="3398" y="12941"/>
                  </a:lnTo>
                  <a:lnTo>
                    <a:pt x="3439" y="12990"/>
                  </a:lnTo>
                  <a:lnTo>
                    <a:pt x="3479" y="13039"/>
                  </a:lnTo>
                  <a:lnTo>
                    <a:pt x="3517" y="13089"/>
                  </a:lnTo>
                  <a:lnTo>
                    <a:pt x="3553" y="13139"/>
                  </a:lnTo>
                  <a:lnTo>
                    <a:pt x="3588" y="13191"/>
                  </a:lnTo>
                  <a:lnTo>
                    <a:pt x="3621" y="13243"/>
                  </a:lnTo>
                  <a:lnTo>
                    <a:pt x="3653" y="13295"/>
                  </a:lnTo>
                  <a:lnTo>
                    <a:pt x="3683" y="13348"/>
                  </a:lnTo>
                  <a:lnTo>
                    <a:pt x="3712" y="13401"/>
                  </a:lnTo>
                  <a:lnTo>
                    <a:pt x="3739" y="13455"/>
                  </a:lnTo>
                  <a:lnTo>
                    <a:pt x="3765" y="13509"/>
                  </a:lnTo>
                  <a:lnTo>
                    <a:pt x="3788" y="13563"/>
                  </a:lnTo>
                  <a:lnTo>
                    <a:pt x="3811" y="13617"/>
                  </a:lnTo>
                  <a:lnTo>
                    <a:pt x="3833" y="13671"/>
                  </a:lnTo>
                  <a:lnTo>
                    <a:pt x="3852" y="13727"/>
                  </a:lnTo>
                  <a:lnTo>
                    <a:pt x="3870" y="13782"/>
                  </a:lnTo>
                  <a:lnTo>
                    <a:pt x="3887" y="13837"/>
                  </a:lnTo>
                  <a:lnTo>
                    <a:pt x="3902" y="13892"/>
                  </a:lnTo>
                  <a:lnTo>
                    <a:pt x="3915" y="13948"/>
                  </a:lnTo>
                  <a:lnTo>
                    <a:pt x="3927" y="14004"/>
                  </a:lnTo>
                  <a:lnTo>
                    <a:pt x="3938" y="14060"/>
                  </a:lnTo>
                  <a:lnTo>
                    <a:pt x="3946" y="14115"/>
                  </a:lnTo>
                  <a:lnTo>
                    <a:pt x="3954" y="14170"/>
                  </a:lnTo>
                  <a:lnTo>
                    <a:pt x="3960" y="14225"/>
                  </a:lnTo>
                  <a:lnTo>
                    <a:pt x="3964" y="14282"/>
                  </a:lnTo>
                  <a:lnTo>
                    <a:pt x="3967" y="14337"/>
                  </a:lnTo>
                  <a:lnTo>
                    <a:pt x="3968" y="14391"/>
                  </a:lnTo>
                  <a:lnTo>
                    <a:pt x="3968" y="14446"/>
                  </a:lnTo>
                  <a:lnTo>
                    <a:pt x="3967" y="14500"/>
                  </a:lnTo>
                  <a:lnTo>
                    <a:pt x="2096" y="14991"/>
                  </a:lnTo>
                  <a:close/>
                  <a:moveTo>
                    <a:pt x="5275" y="8311"/>
                  </a:moveTo>
                  <a:lnTo>
                    <a:pt x="5187" y="8277"/>
                  </a:lnTo>
                  <a:lnTo>
                    <a:pt x="5099" y="8245"/>
                  </a:lnTo>
                  <a:lnTo>
                    <a:pt x="5011" y="8215"/>
                  </a:lnTo>
                  <a:lnTo>
                    <a:pt x="4921" y="8186"/>
                  </a:lnTo>
                  <a:lnTo>
                    <a:pt x="4877" y="8173"/>
                  </a:lnTo>
                  <a:lnTo>
                    <a:pt x="4833" y="8159"/>
                  </a:lnTo>
                  <a:lnTo>
                    <a:pt x="4787" y="8147"/>
                  </a:lnTo>
                  <a:lnTo>
                    <a:pt x="4742" y="8135"/>
                  </a:lnTo>
                  <a:lnTo>
                    <a:pt x="4698" y="8124"/>
                  </a:lnTo>
                  <a:lnTo>
                    <a:pt x="4652" y="8113"/>
                  </a:lnTo>
                  <a:lnTo>
                    <a:pt x="4607" y="8103"/>
                  </a:lnTo>
                  <a:lnTo>
                    <a:pt x="4562" y="8093"/>
                  </a:lnTo>
                  <a:lnTo>
                    <a:pt x="4517" y="8084"/>
                  </a:lnTo>
                  <a:lnTo>
                    <a:pt x="4471" y="8075"/>
                  </a:lnTo>
                  <a:lnTo>
                    <a:pt x="4426" y="8067"/>
                  </a:lnTo>
                  <a:lnTo>
                    <a:pt x="4380" y="8059"/>
                  </a:lnTo>
                  <a:lnTo>
                    <a:pt x="4335" y="8052"/>
                  </a:lnTo>
                  <a:lnTo>
                    <a:pt x="4289" y="8045"/>
                  </a:lnTo>
                  <a:lnTo>
                    <a:pt x="4243" y="8039"/>
                  </a:lnTo>
                  <a:lnTo>
                    <a:pt x="4198" y="8034"/>
                  </a:lnTo>
                  <a:lnTo>
                    <a:pt x="4153" y="8029"/>
                  </a:lnTo>
                  <a:lnTo>
                    <a:pt x="4106" y="8025"/>
                  </a:lnTo>
                  <a:lnTo>
                    <a:pt x="4061" y="8021"/>
                  </a:lnTo>
                  <a:lnTo>
                    <a:pt x="4015" y="8018"/>
                  </a:lnTo>
                  <a:lnTo>
                    <a:pt x="3969" y="8015"/>
                  </a:lnTo>
                  <a:lnTo>
                    <a:pt x="3923" y="8013"/>
                  </a:lnTo>
                  <a:lnTo>
                    <a:pt x="3878" y="8011"/>
                  </a:lnTo>
                  <a:lnTo>
                    <a:pt x="3832" y="8011"/>
                  </a:lnTo>
                  <a:lnTo>
                    <a:pt x="7706" y="4116"/>
                  </a:lnTo>
                  <a:lnTo>
                    <a:pt x="7763" y="4063"/>
                  </a:lnTo>
                  <a:lnTo>
                    <a:pt x="7820" y="4012"/>
                  </a:lnTo>
                  <a:lnTo>
                    <a:pt x="7880" y="3964"/>
                  </a:lnTo>
                  <a:lnTo>
                    <a:pt x="7941" y="3918"/>
                  </a:lnTo>
                  <a:lnTo>
                    <a:pt x="8003" y="3875"/>
                  </a:lnTo>
                  <a:lnTo>
                    <a:pt x="8067" y="3834"/>
                  </a:lnTo>
                  <a:lnTo>
                    <a:pt x="8131" y="3796"/>
                  </a:lnTo>
                  <a:lnTo>
                    <a:pt x="8197" y="3760"/>
                  </a:lnTo>
                  <a:lnTo>
                    <a:pt x="8265" y="3725"/>
                  </a:lnTo>
                  <a:lnTo>
                    <a:pt x="8333" y="3694"/>
                  </a:lnTo>
                  <a:lnTo>
                    <a:pt x="8403" y="3665"/>
                  </a:lnTo>
                  <a:lnTo>
                    <a:pt x="8473" y="3638"/>
                  </a:lnTo>
                  <a:lnTo>
                    <a:pt x="8544" y="3613"/>
                  </a:lnTo>
                  <a:lnTo>
                    <a:pt x="8616" y="3591"/>
                  </a:lnTo>
                  <a:lnTo>
                    <a:pt x="8689" y="3571"/>
                  </a:lnTo>
                  <a:lnTo>
                    <a:pt x="8764" y="3554"/>
                  </a:lnTo>
                  <a:lnTo>
                    <a:pt x="8838" y="3539"/>
                  </a:lnTo>
                  <a:lnTo>
                    <a:pt x="8914" y="3526"/>
                  </a:lnTo>
                  <a:lnTo>
                    <a:pt x="8989" y="3515"/>
                  </a:lnTo>
                  <a:lnTo>
                    <a:pt x="9067" y="3507"/>
                  </a:lnTo>
                  <a:lnTo>
                    <a:pt x="9143" y="3501"/>
                  </a:lnTo>
                  <a:lnTo>
                    <a:pt x="9220" y="3497"/>
                  </a:lnTo>
                  <a:lnTo>
                    <a:pt x="9299" y="3496"/>
                  </a:lnTo>
                  <a:lnTo>
                    <a:pt x="9377" y="3497"/>
                  </a:lnTo>
                  <a:lnTo>
                    <a:pt x="9457" y="3500"/>
                  </a:lnTo>
                  <a:lnTo>
                    <a:pt x="9535" y="3505"/>
                  </a:lnTo>
                  <a:lnTo>
                    <a:pt x="9615" y="3512"/>
                  </a:lnTo>
                  <a:lnTo>
                    <a:pt x="9694" y="3522"/>
                  </a:lnTo>
                  <a:lnTo>
                    <a:pt x="9775" y="3534"/>
                  </a:lnTo>
                  <a:lnTo>
                    <a:pt x="9854" y="3548"/>
                  </a:lnTo>
                  <a:lnTo>
                    <a:pt x="9934" y="3565"/>
                  </a:lnTo>
                  <a:lnTo>
                    <a:pt x="10014" y="3583"/>
                  </a:lnTo>
                  <a:lnTo>
                    <a:pt x="5275" y="8311"/>
                  </a:lnTo>
                  <a:close/>
                  <a:moveTo>
                    <a:pt x="7441" y="10165"/>
                  </a:moveTo>
                  <a:lnTo>
                    <a:pt x="7406" y="10107"/>
                  </a:lnTo>
                  <a:lnTo>
                    <a:pt x="7369" y="10049"/>
                  </a:lnTo>
                  <a:lnTo>
                    <a:pt x="7332" y="9992"/>
                  </a:lnTo>
                  <a:lnTo>
                    <a:pt x="7295" y="9936"/>
                  </a:lnTo>
                  <a:lnTo>
                    <a:pt x="7257" y="9880"/>
                  </a:lnTo>
                  <a:lnTo>
                    <a:pt x="7218" y="9824"/>
                  </a:lnTo>
                  <a:lnTo>
                    <a:pt x="7177" y="9768"/>
                  </a:lnTo>
                  <a:lnTo>
                    <a:pt x="7137" y="9714"/>
                  </a:lnTo>
                  <a:lnTo>
                    <a:pt x="7096" y="9660"/>
                  </a:lnTo>
                  <a:lnTo>
                    <a:pt x="7053" y="9606"/>
                  </a:lnTo>
                  <a:lnTo>
                    <a:pt x="7009" y="9553"/>
                  </a:lnTo>
                  <a:lnTo>
                    <a:pt x="6965" y="9500"/>
                  </a:lnTo>
                  <a:lnTo>
                    <a:pt x="6919" y="9448"/>
                  </a:lnTo>
                  <a:lnTo>
                    <a:pt x="6873" y="9397"/>
                  </a:lnTo>
                  <a:lnTo>
                    <a:pt x="6824" y="9347"/>
                  </a:lnTo>
                  <a:lnTo>
                    <a:pt x="6776" y="9297"/>
                  </a:lnTo>
                  <a:lnTo>
                    <a:pt x="6718" y="9240"/>
                  </a:lnTo>
                  <a:lnTo>
                    <a:pt x="6658" y="9185"/>
                  </a:lnTo>
                  <a:lnTo>
                    <a:pt x="6598" y="9131"/>
                  </a:lnTo>
                  <a:lnTo>
                    <a:pt x="6538" y="9079"/>
                  </a:lnTo>
                  <a:lnTo>
                    <a:pt x="6475" y="9029"/>
                  </a:lnTo>
                  <a:lnTo>
                    <a:pt x="6412" y="8978"/>
                  </a:lnTo>
                  <a:lnTo>
                    <a:pt x="6348" y="8930"/>
                  </a:lnTo>
                  <a:lnTo>
                    <a:pt x="6284" y="8884"/>
                  </a:lnTo>
                  <a:lnTo>
                    <a:pt x="6220" y="8838"/>
                  </a:lnTo>
                  <a:lnTo>
                    <a:pt x="6153" y="8794"/>
                  </a:lnTo>
                  <a:lnTo>
                    <a:pt x="6087" y="8750"/>
                  </a:lnTo>
                  <a:lnTo>
                    <a:pt x="6021" y="8707"/>
                  </a:lnTo>
                  <a:lnTo>
                    <a:pt x="5953" y="8666"/>
                  </a:lnTo>
                  <a:lnTo>
                    <a:pt x="5885" y="8626"/>
                  </a:lnTo>
                  <a:lnTo>
                    <a:pt x="5816" y="8587"/>
                  </a:lnTo>
                  <a:lnTo>
                    <a:pt x="5748" y="8549"/>
                  </a:lnTo>
                  <a:lnTo>
                    <a:pt x="10542" y="3766"/>
                  </a:lnTo>
                  <a:lnTo>
                    <a:pt x="10613" y="3798"/>
                  </a:lnTo>
                  <a:lnTo>
                    <a:pt x="10683" y="3831"/>
                  </a:lnTo>
                  <a:lnTo>
                    <a:pt x="10752" y="3866"/>
                  </a:lnTo>
                  <a:lnTo>
                    <a:pt x="10821" y="3903"/>
                  </a:lnTo>
                  <a:lnTo>
                    <a:pt x="10889" y="3942"/>
                  </a:lnTo>
                  <a:lnTo>
                    <a:pt x="10958" y="3983"/>
                  </a:lnTo>
                  <a:lnTo>
                    <a:pt x="11025" y="4026"/>
                  </a:lnTo>
                  <a:lnTo>
                    <a:pt x="11091" y="4070"/>
                  </a:lnTo>
                  <a:lnTo>
                    <a:pt x="11157" y="4115"/>
                  </a:lnTo>
                  <a:lnTo>
                    <a:pt x="11222" y="4163"/>
                  </a:lnTo>
                  <a:lnTo>
                    <a:pt x="11287" y="4212"/>
                  </a:lnTo>
                  <a:lnTo>
                    <a:pt x="11351" y="4263"/>
                  </a:lnTo>
                  <a:lnTo>
                    <a:pt x="11413" y="4317"/>
                  </a:lnTo>
                  <a:lnTo>
                    <a:pt x="11476" y="4372"/>
                  </a:lnTo>
                  <a:lnTo>
                    <a:pt x="11537" y="4428"/>
                  </a:lnTo>
                  <a:lnTo>
                    <a:pt x="11597" y="4487"/>
                  </a:lnTo>
                  <a:lnTo>
                    <a:pt x="11648" y="4537"/>
                  </a:lnTo>
                  <a:lnTo>
                    <a:pt x="11696" y="4590"/>
                  </a:lnTo>
                  <a:lnTo>
                    <a:pt x="11743" y="4642"/>
                  </a:lnTo>
                  <a:lnTo>
                    <a:pt x="11790" y="4696"/>
                  </a:lnTo>
                  <a:lnTo>
                    <a:pt x="11835" y="4749"/>
                  </a:lnTo>
                  <a:lnTo>
                    <a:pt x="11878" y="4803"/>
                  </a:lnTo>
                  <a:lnTo>
                    <a:pt x="11919" y="4859"/>
                  </a:lnTo>
                  <a:lnTo>
                    <a:pt x="11961" y="4915"/>
                  </a:lnTo>
                  <a:lnTo>
                    <a:pt x="12000" y="4970"/>
                  </a:lnTo>
                  <a:lnTo>
                    <a:pt x="12038" y="5027"/>
                  </a:lnTo>
                  <a:lnTo>
                    <a:pt x="12075" y="5084"/>
                  </a:lnTo>
                  <a:lnTo>
                    <a:pt x="12110" y="5142"/>
                  </a:lnTo>
                  <a:lnTo>
                    <a:pt x="12145" y="5200"/>
                  </a:lnTo>
                  <a:lnTo>
                    <a:pt x="12178" y="5258"/>
                  </a:lnTo>
                  <a:lnTo>
                    <a:pt x="12210" y="5316"/>
                  </a:lnTo>
                  <a:lnTo>
                    <a:pt x="12241" y="5375"/>
                  </a:lnTo>
                  <a:lnTo>
                    <a:pt x="7441" y="10165"/>
                  </a:lnTo>
                  <a:close/>
                  <a:moveTo>
                    <a:pt x="8055" y="11941"/>
                  </a:moveTo>
                  <a:lnTo>
                    <a:pt x="8045" y="11856"/>
                  </a:lnTo>
                  <a:lnTo>
                    <a:pt x="8035" y="11772"/>
                  </a:lnTo>
                  <a:lnTo>
                    <a:pt x="8022" y="11687"/>
                  </a:lnTo>
                  <a:lnTo>
                    <a:pt x="8008" y="11603"/>
                  </a:lnTo>
                  <a:lnTo>
                    <a:pt x="7991" y="11519"/>
                  </a:lnTo>
                  <a:lnTo>
                    <a:pt x="7973" y="11435"/>
                  </a:lnTo>
                  <a:lnTo>
                    <a:pt x="7953" y="11352"/>
                  </a:lnTo>
                  <a:lnTo>
                    <a:pt x="7931" y="11270"/>
                  </a:lnTo>
                  <a:lnTo>
                    <a:pt x="7907" y="11187"/>
                  </a:lnTo>
                  <a:lnTo>
                    <a:pt x="7882" y="11105"/>
                  </a:lnTo>
                  <a:lnTo>
                    <a:pt x="7854" y="11024"/>
                  </a:lnTo>
                  <a:lnTo>
                    <a:pt x="7825" y="10943"/>
                  </a:lnTo>
                  <a:lnTo>
                    <a:pt x="7795" y="10861"/>
                  </a:lnTo>
                  <a:lnTo>
                    <a:pt x="7763" y="10781"/>
                  </a:lnTo>
                  <a:lnTo>
                    <a:pt x="7729" y="10702"/>
                  </a:lnTo>
                  <a:lnTo>
                    <a:pt x="7693" y="10622"/>
                  </a:lnTo>
                  <a:lnTo>
                    <a:pt x="12448" y="5878"/>
                  </a:lnTo>
                  <a:lnTo>
                    <a:pt x="12475" y="5965"/>
                  </a:lnTo>
                  <a:lnTo>
                    <a:pt x="12499" y="6051"/>
                  </a:lnTo>
                  <a:lnTo>
                    <a:pt x="12519" y="6137"/>
                  </a:lnTo>
                  <a:lnTo>
                    <a:pt x="12537" y="6223"/>
                  </a:lnTo>
                  <a:lnTo>
                    <a:pt x="12553" y="6310"/>
                  </a:lnTo>
                  <a:lnTo>
                    <a:pt x="12566" y="6396"/>
                  </a:lnTo>
                  <a:lnTo>
                    <a:pt x="12576" y="6482"/>
                  </a:lnTo>
                  <a:lnTo>
                    <a:pt x="12583" y="6568"/>
                  </a:lnTo>
                  <a:lnTo>
                    <a:pt x="12588" y="6654"/>
                  </a:lnTo>
                  <a:lnTo>
                    <a:pt x="12591" y="6739"/>
                  </a:lnTo>
                  <a:lnTo>
                    <a:pt x="12591" y="6824"/>
                  </a:lnTo>
                  <a:lnTo>
                    <a:pt x="12588" y="6908"/>
                  </a:lnTo>
                  <a:lnTo>
                    <a:pt x="12582" y="6992"/>
                  </a:lnTo>
                  <a:lnTo>
                    <a:pt x="12574" y="7075"/>
                  </a:lnTo>
                  <a:lnTo>
                    <a:pt x="12563" y="7158"/>
                  </a:lnTo>
                  <a:lnTo>
                    <a:pt x="12549" y="7239"/>
                  </a:lnTo>
                  <a:lnTo>
                    <a:pt x="12533" y="7320"/>
                  </a:lnTo>
                  <a:lnTo>
                    <a:pt x="12513" y="7400"/>
                  </a:lnTo>
                  <a:lnTo>
                    <a:pt x="12492" y="7479"/>
                  </a:lnTo>
                  <a:lnTo>
                    <a:pt x="12467" y="7557"/>
                  </a:lnTo>
                  <a:lnTo>
                    <a:pt x="12439" y="7635"/>
                  </a:lnTo>
                  <a:lnTo>
                    <a:pt x="12409" y="7710"/>
                  </a:lnTo>
                  <a:lnTo>
                    <a:pt x="12376" y="7784"/>
                  </a:lnTo>
                  <a:lnTo>
                    <a:pt x="12340" y="7857"/>
                  </a:lnTo>
                  <a:lnTo>
                    <a:pt x="12302" y="7930"/>
                  </a:lnTo>
                  <a:lnTo>
                    <a:pt x="12260" y="8000"/>
                  </a:lnTo>
                  <a:lnTo>
                    <a:pt x="12216" y="8069"/>
                  </a:lnTo>
                  <a:lnTo>
                    <a:pt x="12169" y="8136"/>
                  </a:lnTo>
                  <a:lnTo>
                    <a:pt x="12120" y="8203"/>
                  </a:lnTo>
                  <a:lnTo>
                    <a:pt x="12066" y="8267"/>
                  </a:lnTo>
                  <a:lnTo>
                    <a:pt x="12011" y="8329"/>
                  </a:lnTo>
                  <a:lnTo>
                    <a:pt x="11953" y="8389"/>
                  </a:lnTo>
                  <a:lnTo>
                    <a:pt x="11947" y="8394"/>
                  </a:lnTo>
                  <a:lnTo>
                    <a:pt x="11940" y="8400"/>
                  </a:lnTo>
                  <a:lnTo>
                    <a:pt x="11948" y="8406"/>
                  </a:lnTo>
                  <a:lnTo>
                    <a:pt x="8060" y="12314"/>
                  </a:lnTo>
                  <a:lnTo>
                    <a:pt x="8061" y="12268"/>
                  </a:lnTo>
                  <a:lnTo>
                    <a:pt x="8061" y="12222"/>
                  </a:lnTo>
                  <a:lnTo>
                    <a:pt x="8062" y="12175"/>
                  </a:lnTo>
                  <a:lnTo>
                    <a:pt x="8062" y="12129"/>
                  </a:lnTo>
                  <a:lnTo>
                    <a:pt x="8062" y="12082"/>
                  </a:lnTo>
                  <a:lnTo>
                    <a:pt x="8061" y="12035"/>
                  </a:lnTo>
                  <a:lnTo>
                    <a:pt x="8059" y="11988"/>
                  </a:lnTo>
                  <a:lnTo>
                    <a:pt x="8055" y="11941"/>
                  </a:lnTo>
                  <a:close/>
                  <a:moveTo>
                    <a:pt x="14785" y="1295"/>
                  </a:moveTo>
                  <a:lnTo>
                    <a:pt x="14707" y="1218"/>
                  </a:lnTo>
                  <a:lnTo>
                    <a:pt x="14626" y="1144"/>
                  </a:lnTo>
                  <a:lnTo>
                    <a:pt x="14546" y="1072"/>
                  </a:lnTo>
                  <a:lnTo>
                    <a:pt x="14463" y="1003"/>
                  </a:lnTo>
                  <a:lnTo>
                    <a:pt x="14379" y="934"/>
                  </a:lnTo>
                  <a:lnTo>
                    <a:pt x="14294" y="869"/>
                  </a:lnTo>
                  <a:lnTo>
                    <a:pt x="14208" y="806"/>
                  </a:lnTo>
                  <a:lnTo>
                    <a:pt x="14119" y="745"/>
                  </a:lnTo>
                  <a:lnTo>
                    <a:pt x="14031" y="685"/>
                  </a:lnTo>
                  <a:lnTo>
                    <a:pt x="13941" y="629"/>
                  </a:lnTo>
                  <a:lnTo>
                    <a:pt x="13851" y="575"/>
                  </a:lnTo>
                  <a:lnTo>
                    <a:pt x="13758" y="523"/>
                  </a:lnTo>
                  <a:lnTo>
                    <a:pt x="13666" y="473"/>
                  </a:lnTo>
                  <a:lnTo>
                    <a:pt x="13572" y="426"/>
                  </a:lnTo>
                  <a:lnTo>
                    <a:pt x="13478" y="380"/>
                  </a:lnTo>
                  <a:lnTo>
                    <a:pt x="13382" y="338"/>
                  </a:lnTo>
                  <a:lnTo>
                    <a:pt x="13286" y="298"/>
                  </a:lnTo>
                  <a:lnTo>
                    <a:pt x="13190" y="260"/>
                  </a:lnTo>
                  <a:lnTo>
                    <a:pt x="13092" y="225"/>
                  </a:lnTo>
                  <a:lnTo>
                    <a:pt x="12995" y="193"/>
                  </a:lnTo>
                  <a:lnTo>
                    <a:pt x="12896" y="162"/>
                  </a:lnTo>
                  <a:lnTo>
                    <a:pt x="12798" y="134"/>
                  </a:lnTo>
                  <a:lnTo>
                    <a:pt x="12698" y="109"/>
                  </a:lnTo>
                  <a:lnTo>
                    <a:pt x="12598" y="86"/>
                  </a:lnTo>
                  <a:lnTo>
                    <a:pt x="12499" y="66"/>
                  </a:lnTo>
                  <a:lnTo>
                    <a:pt x="12398" y="49"/>
                  </a:lnTo>
                  <a:lnTo>
                    <a:pt x="12299" y="34"/>
                  </a:lnTo>
                  <a:lnTo>
                    <a:pt x="12198" y="22"/>
                  </a:lnTo>
                  <a:lnTo>
                    <a:pt x="12097" y="12"/>
                  </a:lnTo>
                  <a:lnTo>
                    <a:pt x="11996" y="5"/>
                  </a:lnTo>
                  <a:lnTo>
                    <a:pt x="11895" y="1"/>
                  </a:lnTo>
                  <a:lnTo>
                    <a:pt x="11795" y="0"/>
                  </a:lnTo>
                  <a:lnTo>
                    <a:pt x="11710" y="1"/>
                  </a:lnTo>
                  <a:lnTo>
                    <a:pt x="11626" y="4"/>
                  </a:lnTo>
                  <a:lnTo>
                    <a:pt x="11542" y="9"/>
                  </a:lnTo>
                  <a:lnTo>
                    <a:pt x="11459" y="16"/>
                  </a:lnTo>
                  <a:lnTo>
                    <a:pt x="11376" y="24"/>
                  </a:lnTo>
                  <a:lnTo>
                    <a:pt x="11294" y="35"/>
                  </a:lnTo>
                  <a:lnTo>
                    <a:pt x="11212" y="47"/>
                  </a:lnTo>
                  <a:lnTo>
                    <a:pt x="11131" y="62"/>
                  </a:lnTo>
                  <a:lnTo>
                    <a:pt x="11051" y="78"/>
                  </a:lnTo>
                  <a:lnTo>
                    <a:pt x="10971" y="96"/>
                  </a:lnTo>
                  <a:lnTo>
                    <a:pt x="10892" y="116"/>
                  </a:lnTo>
                  <a:lnTo>
                    <a:pt x="10814" y="139"/>
                  </a:lnTo>
                  <a:lnTo>
                    <a:pt x="10736" y="162"/>
                  </a:lnTo>
                  <a:lnTo>
                    <a:pt x="10660" y="187"/>
                  </a:lnTo>
                  <a:lnTo>
                    <a:pt x="10584" y="215"/>
                  </a:lnTo>
                  <a:lnTo>
                    <a:pt x="10509" y="243"/>
                  </a:lnTo>
                  <a:lnTo>
                    <a:pt x="10435" y="274"/>
                  </a:lnTo>
                  <a:lnTo>
                    <a:pt x="10361" y="307"/>
                  </a:lnTo>
                  <a:lnTo>
                    <a:pt x="10289" y="341"/>
                  </a:lnTo>
                  <a:lnTo>
                    <a:pt x="10217" y="377"/>
                  </a:lnTo>
                  <a:lnTo>
                    <a:pt x="10147" y="416"/>
                  </a:lnTo>
                  <a:lnTo>
                    <a:pt x="10078" y="455"/>
                  </a:lnTo>
                  <a:lnTo>
                    <a:pt x="10010" y="496"/>
                  </a:lnTo>
                  <a:lnTo>
                    <a:pt x="9943" y="539"/>
                  </a:lnTo>
                  <a:lnTo>
                    <a:pt x="9876" y="583"/>
                  </a:lnTo>
                  <a:lnTo>
                    <a:pt x="9811" y="629"/>
                  </a:lnTo>
                  <a:lnTo>
                    <a:pt x="9748" y="677"/>
                  </a:lnTo>
                  <a:lnTo>
                    <a:pt x="9684" y="727"/>
                  </a:lnTo>
                  <a:lnTo>
                    <a:pt x="9623" y="778"/>
                  </a:lnTo>
                  <a:lnTo>
                    <a:pt x="9562" y="831"/>
                  </a:lnTo>
                  <a:lnTo>
                    <a:pt x="9503" y="885"/>
                  </a:lnTo>
                  <a:lnTo>
                    <a:pt x="9446" y="941"/>
                  </a:lnTo>
                  <a:lnTo>
                    <a:pt x="6997" y="3403"/>
                  </a:lnTo>
                  <a:lnTo>
                    <a:pt x="6986" y="3412"/>
                  </a:lnTo>
                  <a:lnTo>
                    <a:pt x="6974" y="3422"/>
                  </a:lnTo>
                  <a:lnTo>
                    <a:pt x="6969" y="3428"/>
                  </a:lnTo>
                  <a:lnTo>
                    <a:pt x="6964" y="3435"/>
                  </a:lnTo>
                  <a:lnTo>
                    <a:pt x="6965" y="3436"/>
                  </a:lnTo>
                  <a:lnTo>
                    <a:pt x="1769" y="8659"/>
                  </a:lnTo>
                  <a:lnTo>
                    <a:pt x="1747" y="8681"/>
                  </a:lnTo>
                  <a:lnTo>
                    <a:pt x="1725" y="8704"/>
                  </a:lnTo>
                  <a:lnTo>
                    <a:pt x="1704" y="8728"/>
                  </a:lnTo>
                  <a:lnTo>
                    <a:pt x="1683" y="8751"/>
                  </a:lnTo>
                  <a:lnTo>
                    <a:pt x="1642" y="8799"/>
                  </a:lnTo>
                  <a:lnTo>
                    <a:pt x="1602" y="8847"/>
                  </a:lnTo>
                  <a:lnTo>
                    <a:pt x="1564" y="8897"/>
                  </a:lnTo>
                  <a:lnTo>
                    <a:pt x="1528" y="8949"/>
                  </a:lnTo>
                  <a:lnTo>
                    <a:pt x="1494" y="9002"/>
                  </a:lnTo>
                  <a:lnTo>
                    <a:pt x="1461" y="9055"/>
                  </a:lnTo>
                  <a:lnTo>
                    <a:pt x="1429" y="9109"/>
                  </a:lnTo>
                  <a:lnTo>
                    <a:pt x="1400" y="9165"/>
                  </a:lnTo>
                  <a:lnTo>
                    <a:pt x="1372" y="9221"/>
                  </a:lnTo>
                  <a:lnTo>
                    <a:pt x="1347" y="9279"/>
                  </a:lnTo>
                  <a:lnTo>
                    <a:pt x="1322" y="9336"/>
                  </a:lnTo>
                  <a:lnTo>
                    <a:pt x="1300" y="9395"/>
                  </a:lnTo>
                  <a:lnTo>
                    <a:pt x="1279" y="9454"/>
                  </a:lnTo>
                  <a:lnTo>
                    <a:pt x="1260" y="9514"/>
                  </a:lnTo>
                  <a:lnTo>
                    <a:pt x="78" y="13784"/>
                  </a:lnTo>
                  <a:lnTo>
                    <a:pt x="74" y="13803"/>
                  </a:lnTo>
                  <a:lnTo>
                    <a:pt x="65" y="13846"/>
                  </a:lnTo>
                  <a:lnTo>
                    <a:pt x="53" y="13908"/>
                  </a:lnTo>
                  <a:lnTo>
                    <a:pt x="38" y="13984"/>
                  </a:lnTo>
                  <a:lnTo>
                    <a:pt x="31" y="14025"/>
                  </a:lnTo>
                  <a:lnTo>
                    <a:pt x="24" y="14066"/>
                  </a:lnTo>
                  <a:lnTo>
                    <a:pt x="18" y="14109"/>
                  </a:lnTo>
                  <a:lnTo>
                    <a:pt x="12" y="14151"/>
                  </a:lnTo>
                  <a:lnTo>
                    <a:pt x="7" y="14192"/>
                  </a:lnTo>
                  <a:lnTo>
                    <a:pt x="3" y="14231"/>
                  </a:lnTo>
                  <a:lnTo>
                    <a:pt x="1" y="14268"/>
                  </a:lnTo>
                  <a:lnTo>
                    <a:pt x="0" y="14302"/>
                  </a:lnTo>
                  <a:lnTo>
                    <a:pt x="2" y="14392"/>
                  </a:lnTo>
                  <a:lnTo>
                    <a:pt x="9" y="14481"/>
                  </a:lnTo>
                  <a:lnTo>
                    <a:pt x="20" y="14569"/>
                  </a:lnTo>
                  <a:lnTo>
                    <a:pt x="36" y="14656"/>
                  </a:lnTo>
                  <a:lnTo>
                    <a:pt x="55" y="14740"/>
                  </a:lnTo>
                  <a:lnTo>
                    <a:pt x="79" y="14824"/>
                  </a:lnTo>
                  <a:lnTo>
                    <a:pt x="107" y="14906"/>
                  </a:lnTo>
                  <a:lnTo>
                    <a:pt x="139" y="14985"/>
                  </a:lnTo>
                  <a:lnTo>
                    <a:pt x="174" y="15063"/>
                  </a:lnTo>
                  <a:lnTo>
                    <a:pt x="212" y="15139"/>
                  </a:lnTo>
                  <a:lnTo>
                    <a:pt x="256" y="15212"/>
                  </a:lnTo>
                  <a:lnTo>
                    <a:pt x="301" y="15283"/>
                  </a:lnTo>
                  <a:lnTo>
                    <a:pt x="350" y="15352"/>
                  </a:lnTo>
                  <a:lnTo>
                    <a:pt x="402" y="15419"/>
                  </a:lnTo>
                  <a:lnTo>
                    <a:pt x="458" y="15483"/>
                  </a:lnTo>
                  <a:lnTo>
                    <a:pt x="516" y="15543"/>
                  </a:lnTo>
                  <a:lnTo>
                    <a:pt x="577" y="15601"/>
                  </a:lnTo>
                  <a:lnTo>
                    <a:pt x="642" y="15657"/>
                  </a:lnTo>
                  <a:lnTo>
                    <a:pt x="708" y="15709"/>
                  </a:lnTo>
                  <a:lnTo>
                    <a:pt x="778" y="15758"/>
                  </a:lnTo>
                  <a:lnTo>
                    <a:pt x="849" y="15804"/>
                  </a:lnTo>
                  <a:lnTo>
                    <a:pt x="922" y="15846"/>
                  </a:lnTo>
                  <a:lnTo>
                    <a:pt x="999" y="15884"/>
                  </a:lnTo>
                  <a:lnTo>
                    <a:pt x="1076" y="15919"/>
                  </a:lnTo>
                  <a:lnTo>
                    <a:pt x="1157" y="15952"/>
                  </a:lnTo>
                  <a:lnTo>
                    <a:pt x="1238" y="15979"/>
                  </a:lnTo>
                  <a:lnTo>
                    <a:pt x="1323" y="16003"/>
                  </a:lnTo>
                  <a:lnTo>
                    <a:pt x="1407" y="16022"/>
                  </a:lnTo>
                  <a:lnTo>
                    <a:pt x="1495" y="16038"/>
                  </a:lnTo>
                  <a:lnTo>
                    <a:pt x="1582" y="16049"/>
                  </a:lnTo>
                  <a:lnTo>
                    <a:pt x="1672" y="16056"/>
                  </a:lnTo>
                  <a:lnTo>
                    <a:pt x="1763" y="16058"/>
                  </a:lnTo>
                  <a:lnTo>
                    <a:pt x="1801" y="16057"/>
                  </a:lnTo>
                  <a:lnTo>
                    <a:pt x="1843" y="16054"/>
                  </a:lnTo>
                  <a:lnTo>
                    <a:pt x="1887" y="16049"/>
                  </a:lnTo>
                  <a:lnTo>
                    <a:pt x="1933" y="16044"/>
                  </a:lnTo>
                  <a:lnTo>
                    <a:pt x="1981" y="16037"/>
                  </a:lnTo>
                  <a:lnTo>
                    <a:pt x="2028" y="16029"/>
                  </a:lnTo>
                  <a:lnTo>
                    <a:pt x="2075" y="16020"/>
                  </a:lnTo>
                  <a:lnTo>
                    <a:pt x="2122" y="16012"/>
                  </a:lnTo>
                  <a:lnTo>
                    <a:pt x="2205" y="15995"/>
                  </a:lnTo>
                  <a:lnTo>
                    <a:pt x="2275" y="15980"/>
                  </a:lnTo>
                  <a:lnTo>
                    <a:pt x="2324" y="15969"/>
                  </a:lnTo>
                  <a:lnTo>
                    <a:pt x="2345" y="15964"/>
                  </a:lnTo>
                  <a:lnTo>
                    <a:pt x="6609" y="14846"/>
                  </a:lnTo>
                  <a:lnTo>
                    <a:pt x="6669" y="14827"/>
                  </a:lnTo>
                  <a:lnTo>
                    <a:pt x="6729" y="14805"/>
                  </a:lnTo>
                  <a:lnTo>
                    <a:pt x="6788" y="14783"/>
                  </a:lnTo>
                  <a:lnTo>
                    <a:pt x="6845" y="14759"/>
                  </a:lnTo>
                  <a:lnTo>
                    <a:pt x="6903" y="14733"/>
                  </a:lnTo>
                  <a:lnTo>
                    <a:pt x="6960" y="14705"/>
                  </a:lnTo>
                  <a:lnTo>
                    <a:pt x="7015" y="14675"/>
                  </a:lnTo>
                  <a:lnTo>
                    <a:pt x="7070" y="14644"/>
                  </a:lnTo>
                  <a:lnTo>
                    <a:pt x="7123" y="14612"/>
                  </a:lnTo>
                  <a:lnTo>
                    <a:pt x="7175" y="14577"/>
                  </a:lnTo>
                  <a:lnTo>
                    <a:pt x="7227" y="14541"/>
                  </a:lnTo>
                  <a:lnTo>
                    <a:pt x="7277" y="14502"/>
                  </a:lnTo>
                  <a:lnTo>
                    <a:pt x="7326" y="14463"/>
                  </a:lnTo>
                  <a:lnTo>
                    <a:pt x="7375" y="14422"/>
                  </a:lnTo>
                  <a:lnTo>
                    <a:pt x="7421" y="14380"/>
                  </a:lnTo>
                  <a:lnTo>
                    <a:pt x="7466" y="14336"/>
                  </a:lnTo>
                  <a:lnTo>
                    <a:pt x="15143" y="6617"/>
                  </a:lnTo>
                  <a:lnTo>
                    <a:pt x="15270" y="6483"/>
                  </a:lnTo>
                  <a:lnTo>
                    <a:pt x="15387" y="6344"/>
                  </a:lnTo>
                  <a:lnTo>
                    <a:pt x="15495" y="6200"/>
                  </a:lnTo>
                  <a:lnTo>
                    <a:pt x="15594" y="6053"/>
                  </a:lnTo>
                  <a:lnTo>
                    <a:pt x="15685" y="5900"/>
                  </a:lnTo>
                  <a:lnTo>
                    <a:pt x="15766" y="5744"/>
                  </a:lnTo>
                  <a:lnTo>
                    <a:pt x="15837" y="5584"/>
                  </a:lnTo>
                  <a:lnTo>
                    <a:pt x="15901" y="5421"/>
                  </a:lnTo>
                  <a:lnTo>
                    <a:pt x="15955" y="5254"/>
                  </a:lnTo>
                  <a:lnTo>
                    <a:pt x="16000" y="5084"/>
                  </a:lnTo>
                  <a:lnTo>
                    <a:pt x="16037" y="4913"/>
                  </a:lnTo>
                  <a:lnTo>
                    <a:pt x="16065" y="4739"/>
                  </a:lnTo>
                  <a:lnTo>
                    <a:pt x="16083" y="4563"/>
                  </a:lnTo>
                  <a:lnTo>
                    <a:pt x="16093" y="4387"/>
                  </a:lnTo>
                  <a:lnTo>
                    <a:pt x="16094" y="4208"/>
                  </a:lnTo>
                  <a:lnTo>
                    <a:pt x="16087" y="4030"/>
                  </a:lnTo>
                  <a:lnTo>
                    <a:pt x="16070" y="3850"/>
                  </a:lnTo>
                  <a:lnTo>
                    <a:pt x="16045" y="3669"/>
                  </a:lnTo>
                  <a:lnTo>
                    <a:pt x="16011" y="3490"/>
                  </a:lnTo>
                  <a:lnTo>
                    <a:pt x="15968" y="3310"/>
                  </a:lnTo>
                  <a:lnTo>
                    <a:pt x="15917" y="3131"/>
                  </a:lnTo>
                  <a:lnTo>
                    <a:pt x="15857" y="2953"/>
                  </a:lnTo>
                  <a:lnTo>
                    <a:pt x="15788" y="2776"/>
                  </a:lnTo>
                  <a:lnTo>
                    <a:pt x="15711" y="2601"/>
                  </a:lnTo>
                  <a:lnTo>
                    <a:pt x="15625" y="2428"/>
                  </a:lnTo>
                  <a:lnTo>
                    <a:pt x="15531" y="2257"/>
                  </a:lnTo>
                  <a:lnTo>
                    <a:pt x="15428" y="2089"/>
                  </a:lnTo>
                  <a:lnTo>
                    <a:pt x="15316" y="1923"/>
                  </a:lnTo>
                  <a:lnTo>
                    <a:pt x="15196" y="1760"/>
                  </a:lnTo>
                  <a:lnTo>
                    <a:pt x="15067" y="1602"/>
                  </a:lnTo>
                  <a:lnTo>
                    <a:pt x="14930" y="1446"/>
                  </a:lnTo>
                  <a:lnTo>
                    <a:pt x="14785" y="129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59" name="i$ḻiďe">
              <a:extLst>
                <a:ext uri="{FF2B5EF4-FFF2-40B4-BE49-F238E27FC236}">
                  <a16:creationId xmlns:a16="http://schemas.microsoft.com/office/drawing/2014/main" id="{B7079F0B-93B8-4749-A49D-9F99A68550BB}"/>
                </a:ext>
              </a:extLst>
            </p:cNvPr>
            <p:cNvSpPr/>
            <p:nvPr/>
          </p:nvSpPr>
          <p:spPr bwMode="auto">
            <a:xfrm>
              <a:off x="5473424" y="45036"/>
              <a:ext cx="265624" cy="385553"/>
            </a:xfrm>
            <a:custGeom>
              <a:avLst/>
              <a:gdLst>
                <a:gd name="T0" fmla="*/ 2887 w 11063"/>
                <a:gd name="T1" fmla="*/ 9929 h 16058"/>
                <a:gd name="T2" fmla="*/ 2451 w 11063"/>
                <a:gd name="T3" fmla="*/ 9123 h 16058"/>
                <a:gd name="T4" fmla="*/ 1855 w 11063"/>
                <a:gd name="T5" fmla="*/ 8041 h 16058"/>
                <a:gd name="T6" fmla="*/ 1427 w 11063"/>
                <a:gd name="T7" fmla="*/ 7165 h 16058"/>
                <a:gd name="T8" fmla="*/ 1122 w 11063"/>
                <a:gd name="T9" fmla="*/ 6318 h 16058"/>
                <a:gd name="T10" fmla="*/ 1006 w 11063"/>
                <a:gd name="T11" fmla="*/ 5520 h 16058"/>
                <a:gd name="T12" fmla="*/ 1362 w 11063"/>
                <a:gd name="T13" fmla="*/ 3764 h 16058"/>
                <a:gd name="T14" fmla="*/ 2332 w 11063"/>
                <a:gd name="T15" fmla="*/ 2327 h 16058"/>
                <a:gd name="T16" fmla="*/ 3771 w 11063"/>
                <a:gd name="T17" fmla="*/ 1359 h 16058"/>
                <a:gd name="T18" fmla="*/ 5532 w 11063"/>
                <a:gd name="T19" fmla="*/ 1004 h 16058"/>
                <a:gd name="T20" fmla="*/ 7292 w 11063"/>
                <a:gd name="T21" fmla="*/ 1359 h 16058"/>
                <a:gd name="T22" fmla="*/ 8731 w 11063"/>
                <a:gd name="T23" fmla="*/ 2327 h 16058"/>
                <a:gd name="T24" fmla="*/ 9701 w 11063"/>
                <a:gd name="T25" fmla="*/ 3764 h 16058"/>
                <a:gd name="T26" fmla="*/ 10057 w 11063"/>
                <a:gd name="T27" fmla="*/ 5520 h 16058"/>
                <a:gd name="T28" fmla="*/ 9941 w 11063"/>
                <a:gd name="T29" fmla="*/ 6314 h 16058"/>
                <a:gd name="T30" fmla="*/ 9636 w 11063"/>
                <a:gd name="T31" fmla="*/ 7163 h 16058"/>
                <a:gd name="T32" fmla="*/ 9207 w 11063"/>
                <a:gd name="T33" fmla="*/ 8042 h 16058"/>
                <a:gd name="T34" fmla="*/ 8612 w 11063"/>
                <a:gd name="T35" fmla="*/ 9129 h 16058"/>
                <a:gd name="T36" fmla="*/ 8179 w 11063"/>
                <a:gd name="T37" fmla="*/ 9932 h 16058"/>
                <a:gd name="T38" fmla="*/ 5484 w 11063"/>
                <a:gd name="T39" fmla="*/ 15054 h 16058"/>
                <a:gd name="T40" fmla="*/ 5160 w 11063"/>
                <a:gd name="T41" fmla="*/ 15030 h 16058"/>
                <a:gd name="T42" fmla="*/ 4907 w 11063"/>
                <a:gd name="T43" fmla="*/ 14937 h 16058"/>
                <a:gd name="T44" fmla="*/ 4698 w 11063"/>
                <a:gd name="T45" fmla="*/ 14732 h 16058"/>
                <a:gd name="T46" fmla="*/ 6658 w 11063"/>
                <a:gd name="T47" fmla="*/ 14161 h 16058"/>
                <a:gd name="T48" fmla="*/ 6436 w 11063"/>
                <a:gd name="T49" fmla="*/ 14651 h 16058"/>
                <a:gd name="T50" fmla="*/ 6202 w 11063"/>
                <a:gd name="T51" fmla="*/ 14919 h 16058"/>
                <a:gd name="T52" fmla="*/ 5915 w 11063"/>
                <a:gd name="T53" fmla="*/ 15031 h 16058"/>
                <a:gd name="T54" fmla="*/ 5532 w 11063"/>
                <a:gd name="T55" fmla="*/ 15054 h 16058"/>
                <a:gd name="T56" fmla="*/ 3763 w 11063"/>
                <a:gd name="T57" fmla="*/ 12094 h 16058"/>
                <a:gd name="T58" fmla="*/ 3603 w 11063"/>
                <a:gd name="T59" fmla="*/ 11605 h 16058"/>
                <a:gd name="T60" fmla="*/ 7351 w 11063"/>
                <a:gd name="T61" fmla="*/ 11943 h 16058"/>
                <a:gd name="T62" fmla="*/ 4290 w 11063"/>
                <a:gd name="T63" fmla="*/ 13799 h 16058"/>
                <a:gd name="T64" fmla="*/ 4145 w 11063"/>
                <a:gd name="T65" fmla="*/ 13340 h 16058"/>
                <a:gd name="T66" fmla="*/ 7149 w 11063"/>
                <a:gd name="T67" fmla="*/ 12594 h 16058"/>
                <a:gd name="T68" fmla="*/ 7016 w 11063"/>
                <a:gd name="T69" fmla="*/ 13038 h 16058"/>
                <a:gd name="T70" fmla="*/ 6835 w 11063"/>
                <a:gd name="T71" fmla="*/ 13637 h 16058"/>
                <a:gd name="T72" fmla="*/ 3630 w 11063"/>
                <a:gd name="T73" fmla="*/ 335 h 16058"/>
                <a:gd name="T74" fmla="*/ 1812 w 11063"/>
                <a:gd name="T75" fmla="*/ 1434 h 16058"/>
                <a:gd name="T76" fmla="*/ 545 w 11063"/>
                <a:gd name="T77" fmla="*/ 3127 h 16058"/>
                <a:gd name="T78" fmla="*/ 7 w 11063"/>
                <a:gd name="T79" fmla="*/ 5236 h 16058"/>
                <a:gd name="T80" fmla="*/ 234 w 11063"/>
                <a:gd name="T81" fmla="*/ 6861 h 16058"/>
                <a:gd name="T82" fmla="*/ 910 w 11063"/>
                <a:gd name="T83" fmla="*/ 8405 h 16058"/>
                <a:gd name="T84" fmla="*/ 1748 w 11063"/>
                <a:gd name="T85" fmla="*/ 9927 h 16058"/>
                <a:gd name="T86" fmla="*/ 2463 w 11063"/>
                <a:gd name="T87" fmla="*/ 11392 h 16058"/>
                <a:gd name="T88" fmla="*/ 3065 w 11063"/>
                <a:gd name="T89" fmla="*/ 13245 h 16058"/>
                <a:gd name="T90" fmla="*/ 3552 w 11063"/>
                <a:gd name="T91" fmla="*/ 14718 h 16058"/>
                <a:gd name="T92" fmla="*/ 4207 w 11063"/>
                <a:gd name="T93" fmla="*/ 15672 h 16058"/>
                <a:gd name="T94" fmla="*/ 5340 w 11063"/>
                <a:gd name="T95" fmla="*/ 16053 h 16058"/>
                <a:gd name="T96" fmla="*/ 6643 w 11063"/>
                <a:gd name="T97" fmla="*/ 15823 h 16058"/>
                <a:gd name="T98" fmla="*/ 7387 w 11063"/>
                <a:gd name="T99" fmla="*/ 15011 h 16058"/>
                <a:gd name="T100" fmla="*/ 7880 w 11063"/>
                <a:gd name="T101" fmla="*/ 13666 h 16058"/>
                <a:gd name="T102" fmla="*/ 8442 w 11063"/>
                <a:gd name="T103" fmla="*/ 11841 h 16058"/>
                <a:gd name="T104" fmla="*/ 9115 w 11063"/>
                <a:gd name="T105" fmla="*/ 10307 h 16058"/>
                <a:gd name="T106" fmla="*/ 9949 w 11063"/>
                <a:gd name="T107" fmla="*/ 8788 h 16058"/>
                <a:gd name="T108" fmla="*/ 10691 w 11063"/>
                <a:gd name="T109" fmla="*/ 7241 h 16058"/>
                <a:gd name="T110" fmla="*/ 11058 w 11063"/>
                <a:gd name="T111" fmla="*/ 5709 h 16058"/>
                <a:gd name="T112" fmla="*/ 10727 w 11063"/>
                <a:gd name="T113" fmla="*/ 3622 h 16058"/>
                <a:gd name="T114" fmla="*/ 9626 w 11063"/>
                <a:gd name="T115" fmla="*/ 1809 h 16058"/>
                <a:gd name="T116" fmla="*/ 7929 w 11063"/>
                <a:gd name="T117" fmla="*/ 544 h 16058"/>
                <a:gd name="T118" fmla="*/ 5816 w 11063"/>
                <a:gd name="T119" fmla="*/ 7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063" h="16058">
                  <a:moveTo>
                    <a:pt x="7881" y="10538"/>
                  </a:moveTo>
                  <a:lnTo>
                    <a:pt x="3187" y="10538"/>
                  </a:lnTo>
                  <a:lnTo>
                    <a:pt x="3140" y="10437"/>
                  </a:lnTo>
                  <a:lnTo>
                    <a:pt x="3092" y="10335"/>
                  </a:lnTo>
                  <a:lnTo>
                    <a:pt x="3041" y="10234"/>
                  </a:lnTo>
                  <a:lnTo>
                    <a:pt x="2991" y="10132"/>
                  </a:lnTo>
                  <a:lnTo>
                    <a:pt x="2940" y="10030"/>
                  </a:lnTo>
                  <a:lnTo>
                    <a:pt x="2887" y="9929"/>
                  </a:lnTo>
                  <a:lnTo>
                    <a:pt x="2835" y="9827"/>
                  </a:lnTo>
                  <a:lnTo>
                    <a:pt x="2781" y="9727"/>
                  </a:lnTo>
                  <a:lnTo>
                    <a:pt x="2728" y="9626"/>
                  </a:lnTo>
                  <a:lnTo>
                    <a:pt x="2672" y="9524"/>
                  </a:lnTo>
                  <a:lnTo>
                    <a:pt x="2618" y="9424"/>
                  </a:lnTo>
                  <a:lnTo>
                    <a:pt x="2563" y="9324"/>
                  </a:lnTo>
                  <a:lnTo>
                    <a:pt x="2507" y="9223"/>
                  </a:lnTo>
                  <a:lnTo>
                    <a:pt x="2451" y="9123"/>
                  </a:lnTo>
                  <a:lnTo>
                    <a:pt x="2396" y="9024"/>
                  </a:lnTo>
                  <a:lnTo>
                    <a:pt x="2340" y="8924"/>
                  </a:lnTo>
                  <a:lnTo>
                    <a:pt x="2217" y="8703"/>
                  </a:lnTo>
                  <a:lnTo>
                    <a:pt x="2094" y="8483"/>
                  </a:lnTo>
                  <a:lnTo>
                    <a:pt x="2034" y="8372"/>
                  </a:lnTo>
                  <a:lnTo>
                    <a:pt x="1973" y="8262"/>
                  </a:lnTo>
                  <a:lnTo>
                    <a:pt x="1914" y="8151"/>
                  </a:lnTo>
                  <a:lnTo>
                    <a:pt x="1855" y="8041"/>
                  </a:lnTo>
                  <a:lnTo>
                    <a:pt x="1796" y="7931"/>
                  </a:lnTo>
                  <a:lnTo>
                    <a:pt x="1740" y="7820"/>
                  </a:lnTo>
                  <a:lnTo>
                    <a:pt x="1684" y="7711"/>
                  </a:lnTo>
                  <a:lnTo>
                    <a:pt x="1629" y="7600"/>
                  </a:lnTo>
                  <a:lnTo>
                    <a:pt x="1576" y="7491"/>
                  </a:lnTo>
                  <a:lnTo>
                    <a:pt x="1525" y="7383"/>
                  </a:lnTo>
                  <a:lnTo>
                    <a:pt x="1475" y="7273"/>
                  </a:lnTo>
                  <a:lnTo>
                    <a:pt x="1427" y="7165"/>
                  </a:lnTo>
                  <a:lnTo>
                    <a:pt x="1381" y="7057"/>
                  </a:lnTo>
                  <a:lnTo>
                    <a:pt x="1337" y="6950"/>
                  </a:lnTo>
                  <a:lnTo>
                    <a:pt x="1294" y="6843"/>
                  </a:lnTo>
                  <a:lnTo>
                    <a:pt x="1255" y="6736"/>
                  </a:lnTo>
                  <a:lnTo>
                    <a:pt x="1218" y="6631"/>
                  </a:lnTo>
                  <a:lnTo>
                    <a:pt x="1183" y="6526"/>
                  </a:lnTo>
                  <a:lnTo>
                    <a:pt x="1151" y="6421"/>
                  </a:lnTo>
                  <a:lnTo>
                    <a:pt x="1122" y="6318"/>
                  </a:lnTo>
                  <a:lnTo>
                    <a:pt x="1095" y="6214"/>
                  </a:lnTo>
                  <a:lnTo>
                    <a:pt x="1072" y="6112"/>
                  </a:lnTo>
                  <a:lnTo>
                    <a:pt x="1053" y="6012"/>
                  </a:lnTo>
                  <a:lnTo>
                    <a:pt x="1036" y="5911"/>
                  </a:lnTo>
                  <a:lnTo>
                    <a:pt x="1023" y="5812"/>
                  </a:lnTo>
                  <a:lnTo>
                    <a:pt x="1014" y="5714"/>
                  </a:lnTo>
                  <a:lnTo>
                    <a:pt x="1008" y="5616"/>
                  </a:lnTo>
                  <a:lnTo>
                    <a:pt x="1006" y="5520"/>
                  </a:lnTo>
                  <a:lnTo>
                    <a:pt x="1012" y="5288"/>
                  </a:lnTo>
                  <a:lnTo>
                    <a:pt x="1029" y="5059"/>
                  </a:lnTo>
                  <a:lnTo>
                    <a:pt x="1058" y="4833"/>
                  </a:lnTo>
                  <a:lnTo>
                    <a:pt x="1098" y="4611"/>
                  </a:lnTo>
                  <a:lnTo>
                    <a:pt x="1149" y="4393"/>
                  </a:lnTo>
                  <a:lnTo>
                    <a:pt x="1210" y="4178"/>
                  </a:lnTo>
                  <a:lnTo>
                    <a:pt x="1280" y="3968"/>
                  </a:lnTo>
                  <a:lnTo>
                    <a:pt x="1362" y="3764"/>
                  </a:lnTo>
                  <a:lnTo>
                    <a:pt x="1452" y="3564"/>
                  </a:lnTo>
                  <a:lnTo>
                    <a:pt x="1553" y="3369"/>
                  </a:lnTo>
                  <a:lnTo>
                    <a:pt x="1661" y="3179"/>
                  </a:lnTo>
                  <a:lnTo>
                    <a:pt x="1779" y="2997"/>
                  </a:lnTo>
                  <a:lnTo>
                    <a:pt x="1906" y="2819"/>
                  </a:lnTo>
                  <a:lnTo>
                    <a:pt x="2041" y="2649"/>
                  </a:lnTo>
                  <a:lnTo>
                    <a:pt x="2182" y="2485"/>
                  </a:lnTo>
                  <a:lnTo>
                    <a:pt x="2332" y="2327"/>
                  </a:lnTo>
                  <a:lnTo>
                    <a:pt x="2490" y="2178"/>
                  </a:lnTo>
                  <a:lnTo>
                    <a:pt x="2654" y="2036"/>
                  </a:lnTo>
                  <a:lnTo>
                    <a:pt x="2825" y="1902"/>
                  </a:lnTo>
                  <a:lnTo>
                    <a:pt x="3003" y="1776"/>
                  </a:lnTo>
                  <a:lnTo>
                    <a:pt x="3186" y="1658"/>
                  </a:lnTo>
                  <a:lnTo>
                    <a:pt x="3376" y="1550"/>
                  </a:lnTo>
                  <a:lnTo>
                    <a:pt x="3571" y="1449"/>
                  </a:lnTo>
                  <a:lnTo>
                    <a:pt x="3771" y="1359"/>
                  </a:lnTo>
                  <a:lnTo>
                    <a:pt x="3977" y="1279"/>
                  </a:lnTo>
                  <a:lnTo>
                    <a:pt x="4187" y="1207"/>
                  </a:lnTo>
                  <a:lnTo>
                    <a:pt x="4402" y="1146"/>
                  </a:lnTo>
                  <a:lnTo>
                    <a:pt x="4620" y="1096"/>
                  </a:lnTo>
                  <a:lnTo>
                    <a:pt x="4843" y="1056"/>
                  </a:lnTo>
                  <a:lnTo>
                    <a:pt x="5069" y="1027"/>
                  </a:lnTo>
                  <a:lnTo>
                    <a:pt x="5299" y="1010"/>
                  </a:lnTo>
                  <a:lnTo>
                    <a:pt x="5532" y="1004"/>
                  </a:lnTo>
                  <a:lnTo>
                    <a:pt x="5764" y="1010"/>
                  </a:lnTo>
                  <a:lnTo>
                    <a:pt x="5993" y="1027"/>
                  </a:lnTo>
                  <a:lnTo>
                    <a:pt x="6219" y="1056"/>
                  </a:lnTo>
                  <a:lnTo>
                    <a:pt x="6443" y="1096"/>
                  </a:lnTo>
                  <a:lnTo>
                    <a:pt x="6661" y="1146"/>
                  </a:lnTo>
                  <a:lnTo>
                    <a:pt x="6876" y="1207"/>
                  </a:lnTo>
                  <a:lnTo>
                    <a:pt x="7086" y="1279"/>
                  </a:lnTo>
                  <a:lnTo>
                    <a:pt x="7292" y="1359"/>
                  </a:lnTo>
                  <a:lnTo>
                    <a:pt x="7492" y="1449"/>
                  </a:lnTo>
                  <a:lnTo>
                    <a:pt x="7687" y="1550"/>
                  </a:lnTo>
                  <a:lnTo>
                    <a:pt x="7877" y="1658"/>
                  </a:lnTo>
                  <a:lnTo>
                    <a:pt x="8060" y="1776"/>
                  </a:lnTo>
                  <a:lnTo>
                    <a:pt x="8238" y="1902"/>
                  </a:lnTo>
                  <a:lnTo>
                    <a:pt x="8409" y="2036"/>
                  </a:lnTo>
                  <a:lnTo>
                    <a:pt x="8573" y="2178"/>
                  </a:lnTo>
                  <a:lnTo>
                    <a:pt x="8731" y="2327"/>
                  </a:lnTo>
                  <a:lnTo>
                    <a:pt x="8881" y="2485"/>
                  </a:lnTo>
                  <a:lnTo>
                    <a:pt x="9022" y="2649"/>
                  </a:lnTo>
                  <a:lnTo>
                    <a:pt x="9157" y="2819"/>
                  </a:lnTo>
                  <a:lnTo>
                    <a:pt x="9283" y="2997"/>
                  </a:lnTo>
                  <a:lnTo>
                    <a:pt x="9402" y="3179"/>
                  </a:lnTo>
                  <a:lnTo>
                    <a:pt x="9510" y="3369"/>
                  </a:lnTo>
                  <a:lnTo>
                    <a:pt x="9611" y="3564"/>
                  </a:lnTo>
                  <a:lnTo>
                    <a:pt x="9701" y="3764"/>
                  </a:lnTo>
                  <a:lnTo>
                    <a:pt x="9783" y="3968"/>
                  </a:lnTo>
                  <a:lnTo>
                    <a:pt x="9853" y="4178"/>
                  </a:lnTo>
                  <a:lnTo>
                    <a:pt x="9914" y="4393"/>
                  </a:lnTo>
                  <a:lnTo>
                    <a:pt x="9965" y="4611"/>
                  </a:lnTo>
                  <a:lnTo>
                    <a:pt x="10005" y="4833"/>
                  </a:lnTo>
                  <a:lnTo>
                    <a:pt x="10034" y="5059"/>
                  </a:lnTo>
                  <a:lnTo>
                    <a:pt x="10051" y="5288"/>
                  </a:lnTo>
                  <a:lnTo>
                    <a:pt x="10057" y="5520"/>
                  </a:lnTo>
                  <a:lnTo>
                    <a:pt x="10055" y="5615"/>
                  </a:lnTo>
                  <a:lnTo>
                    <a:pt x="10049" y="5713"/>
                  </a:lnTo>
                  <a:lnTo>
                    <a:pt x="10040" y="5810"/>
                  </a:lnTo>
                  <a:lnTo>
                    <a:pt x="10027" y="5908"/>
                  </a:lnTo>
                  <a:lnTo>
                    <a:pt x="10010" y="6009"/>
                  </a:lnTo>
                  <a:lnTo>
                    <a:pt x="9990" y="6110"/>
                  </a:lnTo>
                  <a:lnTo>
                    <a:pt x="9967" y="6211"/>
                  </a:lnTo>
                  <a:lnTo>
                    <a:pt x="9941" y="6314"/>
                  </a:lnTo>
                  <a:lnTo>
                    <a:pt x="9911" y="6418"/>
                  </a:lnTo>
                  <a:lnTo>
                    <a:pt x="9880" y="6523"/>
                  </a:lnTo>
                  <a:lnTo>
                    <a:pt x="9845" y="6627"/>
                  </a:lnTo>
                  <a:lnTo>
                    <a:pt x="9808" y="6733"/>
                  </a:lnTo>
                  <a:lnTo>
                    <a:pt x="9769" y="6840"/>
                  </a:lnTo>
                  <a:lnTo>
                    <a:pt x="9726" y="6947"/>
                  </a:lnTo>
                  <a:lnTo>
                    <a:pt x="9682" y="7054"/>
                  </a:lnTo>
                  <a:lnTo>
                    <a:pt x="9636" y="7163"/>
                  </a:lnTo>
                  <a:lnTo>
                    <a:pt x="9588" y="7271"/>
                  </a:lnTo>
                  <a:lnTo>
                    <a:pt x="9538" y="7381"/>
                  </a:lnTo>
                  <a:lnTo>
                    <a:pt x="9486" y="7490"/>
                  </a:lnTo>
                  <a:lnTo>
                    <a:pt x="9433" y="7599"/>
                  </a:lnTo>
                  <a:lnTo>
                    <a:pt x="9378" y="7710"/>
                  </a:lnTo>
                  <a:lnTo>
                    <a:pt x="9323" y="7820"/>
                  </a:lnTo>
                  <a:lnTo>
                    <a:pt x="9266" y="7932"/>
                  </a:lnTo>
                  <a:lnTo>
                    <a:pt x="9207" y="8042"/>
                  </a:lnTo>
                  <a:lnTo>
                    <a:pt x="9149" y="8153"/>
                  </a:lnTo>
                  <a:lnTo>
                    <a:pt x="9089" y="8264"/>
                  </a:lnTo>
                  <a:lnTo>
                    <a:pt x="9028" y="8375"/>
                  </a:lnTo>
                  <a:lnTo>
                    <a:pt x="8968" y="8487"/>
                  </a:lnTo>
                  <a:lnTo>
                    <a:pt x="8845" y="8708"/>
                  </a:lnTo>
                  <a:lnTo>
                    <a:pt x="8722" y="8930"/>
                  </a:lnTo>
                  <a:lnTo>
                    <a:pt x="8667" y="9029"/>
                  </a:lnTo>
                  <a:lnTo>
                    <a:pt x="8612" y="9129"/>
                  </a:lnTo>
                  <a:lnTo>
                    <a:pt x="8557" y="9228"/>
                  </a:lnTo>
                  <a:lnTo>
                    <a:pt x="8501" y="9329"/>
                  </a:lnTo>
                  <a:lnTo>
                    <a:pt x="8447" y="9429"/>
                  </a:lnTo>
                  <a:lnTo>
                    <a:pt x="8392" y="9529"/>
                  </a:lnTo>
                  <a:lnTo>
                    <a:pt x="8338" y="9630"/>
                  </a:lnTo>
                  <a:lnTo>
                    <a:pt x="8284" y="9730"/>
                  </a:lnTo>
                  <a:lnTo>
                    <a:pt x="8231" y="9831"/>
                  </a:lnTo>
                  <a:lnTo>
                    <a:pt x="8179" y="9932"/>
                  </a:lnTo>
                  <a:lnTo>
                    <a:pt x="8127" y="10033"/>
                  </a:lnTo>
                  <a:lnTo>
                    <a:pt x="8076" y="10134"/>
                  </a:lnTo>
                  <a:lnTo>
                    <a:pt x="8026" y="10235"/>
                  </a:lnTo>
                  <a:lnTo>
                    <a:pt x="7976" y="10336"/>
                  </a:lnTo>
                  <a:lnTo>
                    <a:pt x="7928" y="10437"/>
                  </a:lnTo>
                  <a:lnTo>
                    <a:pt x="7881" y="10538"/>
                  </a:lnTo>
                  <a:close/>
                  <a:moveTo>
                    <a:pt x="5532" y="15054"/>
                  </a:moveTo>
                  <a:lnTo>
                    <a:pt x="5484" y="15054"/>
                  </a:lnTo>
                  <a:lnTo>
                    <a:pt x="5439" y="15053"/>
                  </a:lnTo>
                  <a:lnTo>
                    <a:pt x="5395" y="15052"/>
                  </a:lnTo>
                  <a:lnTo>
                    <a:pt x="5352" y="15050"/>
                  </a:lnTo>
                  <a:lnTo>
                    <a:pt x="5311" y="15048"/>
                  </a:lnTo>
                  <a:lnTo>
                    <a:pt x="5272" y="15045"/>
                  </a:lnTo>
                  <a:lnTo>
                    <a:pt x="5234" y="15041"/>
                  </a:lnTo>
                  <a:lnTo>
                    <a:pt x="5197" y="15036"/>
                  </a:lnTo>
                  <a:lnTo>
                    <a:pt x="5160" y="15030"/>
                  </a:lnTo>
                  <a:lnTo>
                    <a:pt x="5125" y="15023"/>
                  </a:lnTo>
                  <a:lnTo>
                    <a:pt x="5091" y="15015"/>
                  </a:lnTo>
                  <a:lnTo>
                    <a:pt x="5059" y="15006"/>
                  </a:lnTo>
                  <a:lnTo>
                    <a:pt x="5027" y="14995"/>
                  </a:lnTo>
                  <a:lnTo>
                    <a:pt x="4995" y="14983"/>
                  </a:lnTo>
                  <a:lnTo>
                    <a:pt x="4965" y="14969"/>
                  </a:lnTo>
                  <a:lnTo>
                    <a:pt x="4936" y="14954"/>
                  </a:lnTo>
                  <a:lnTo>
                    <a:pt x="4907" y="14937"/>
                  </a:lnTo>
                  <a:lnTo>
                    <a:pt x="4880" y="14919"/>
                  </a:lnTo>
                  <a:lnTo>
                    <a:pt x="4852" y="14898"/>
                  </a:lnTo>
                  <a:lnTo>
                    <a:pt x="4825" y="14876"/>
                  </a:lnTo>
                  <a:lnTo>
                    <a:pt x="4799" y="14852"/>
                  </a:lnTo>
                  <a:lnTo>
                    <a:pt x="4773" y="14825"/>
                  </a:lnTo>
                  <a:lnTo>
                    <a:pt x="4748" y="14796"/>
                  </a:lnTo>
                  <a:lnTo>
                    <a:pt x="4723" y="14765"/>
                  </a:lnTo>
                  <a:lnTo>
                    <a:pt x="4698" y="14732"/>
                  </a:lnTo>
                  <a:lnTo>
                    <a:pt x="4673" y="14696"/>
                  </a:lnTo>
                  <a:lnTo>
                    <a:pt x="4648" y="14658"/>
                  </a:lnTo>
                  <a:lnTo>
                    <a:pt x="4624" y="14618"/>
                  </a:lnTo>
                  <a:lnTo>
                    <a:pt x="4600" y="14574"/>
                  </a:lnTo>
                  <a:lnTo>
                    <a:pt x="4576" y="14527"/>
                  </a:lnTo>
                  <a:lnTo>
                    <a:pt x="4552" y="14479"/>
                  </a:lnTo>
                  <a:lnTo>
                    <a:pt x="4527" y="14427"/>
                  </a:lnTo>
                  <a:lnTo>
                    <a:pt x="6658" y="14161"/>
                  </a:lnTo>
                  <a:lnTo>
                    <a:pt x="6630" y="14236"/>
                  </a:lnTo>
                  <a:lnTo>
                    <a:pt x="6602" y="14308"/>
                  </a:lnTo>
                  <a:lnTo>
                    <a:pt x="6573" y="14375"/>
                  </a:lnTo>
                  <a:lnTo>
                    <a:pt x="6546" y="14438"/>
                  </a:lnTo>
                  <a:lnTo>
                    <a:pt x="6518" y="14496"/>
                  </a:lnTo>
                  <a:lnTo>
                    <a:pt x="6491" y="14552"/>
                  </a:lnTo>
                  <a:lnTo>
                    <a:pt x="6464" y="14603"/>
                  </a:lnTo>
                  <a:lnTo>
                    <a:pt x="6436" y="14651"/>
                  </a:lnTo>
                  <a:lnTo>
                    <a:pt x="6408" y="14695"/>
                  </a:lnTo>
                  <a:lnTo>
                    <a:pt x="6380" y="14736"/>
                  </a:lnTo>
                  <a:lnTo>
                    <a:pt x="6352" y="14773"/>
                  </a:lnTo>
                  <a:lnTo>
                    <a:pt x="6323" y="14808"/>
                  </a:lnTo>
                  <a:lnTo>
                    <a:pt x="6294" y="14841"/>
                  </a:lnTo>
                  <a:lnTo>
                    <a:pt x="6264" y="14869"/>
                  </a:lnTo>
                  <a:lnTo>
                    <a:pt x="6233" y="14895"/>
                  </a:lnTo>
                  <a:lnTo>
                    <a:pt x="6202" y="14919"/>
                  </a:lnTo>
                  <a:lnTo>
                    <a:pt x="6170" y="14940"/>
                  </a:lnTo>
                  <a:lnTo>
                    <a:pt x="6137" y="14959"/>
                  </a:lnTo>
                  <a:lnTo>
                    <a:pt x="6103" y="14976"/>
                  </a:lnTo>
                  <a:lnTo>
                    <a:pt x="6068" y="14990"/>
                  </a:lnTo>
                  <a:lnTo>
                    <a:pt x="6031" y="15003"/>
                  </a:lnTo>
                  <a:lnTo>
                    <a:pt x="5994" y="15014"/>
                  </a:lnTo>
                  <a:lnTo>
                    <a:pt x="5955" y="15023"/>
                  </a:lnTo>
                  <a:lnTo>
                    <a:pt x="5915" y="15031"/>
                  </a:lnTo>
                  <a:lnTo>
                    <a:pt x="5873" y="15038"/>
                  </a:lnTo>
                  <a:lnTo>
                    <a:pt x="5829" y="15043"/>
                  </a:lnTo>
                  <a:lnTo>
                    <a:pt x="5785" y="15047"/>
                  </a:lnTo>
                  <a:lnTo>
                    <a:pt x="5738" y="15050"/>
                  </a:lnTo>
                  <a:lnTo>
                    <a:pt x="5689" y="15052"/>
                  </a:lnTo>
                  <a:lnTo>
                    <a:pt x="5638" y="15053"/>
                  </a:lnTo>
                  <a:lnTo>
                    <a:pt x="5586" y="15054"/>
                  </a:lnTo>
                  <a:lnTo>
                    <a:pt x="5532" y="15054"/>
                  </a:lnTo>
                  <a:close/>
                  <a:moveTo>
                    <a:pt x="3890" y="12499"/>
                  </a:moveTo>
                  <a:lnTo>
                    <a:pt x="3873" y="12442"/>
                  </a:lnTo>
                  <a:lnTo>
                    <a:pt x="3855" y="12386"/>
                  </a:lnTo>
                  <a:lnTo>
                    <a:pt x="3838" y="12328"/>
                  </a:lnTo>
                  <a:lnTo>
                    <a:pt x="3820" y="12269"/>
                  </a:lnTo>
                  <a:lnTo>
                    <a:pt x="3802" y="12211"/>
                  </a:lnTo>
                  <a:lnTo>
                    <a:pt x="3783" y="12153"/>
                  </a:lnTo>
                  <a:lnTo>
                    <a:pt x="3763" y="12094"/>
                  </a:lnTo>
                  <a:lnTo>
                    <a:pt x="3744" y="12033"/>
                  </a:lnTo>
                  <a:lnTo>
                    <a:pt x="3725" y="11974"/>
                  </a:lnTo>
                  <a:lnTo>
                    <a:pt x="3705" y="11913"/>
                  </a:lnTo>
                  <a:lnTo>
                    <a:pt x="3685" y="11853"/>
                  </a:lnTo>
                  <a:lnTo>
                    <a:pt x="3665" y="11792"/>
                  </a:lnTo>
                  <a:lnTo>
                    <a:pt x="3645" y="11729"/>
                  </a:lnTo>
                  <a:lnTo>
                    <a:pt x="3624" y="11667"/>
                  </a:lnTo>
                  <a:lnTo>
                    <a:pt x="3603" y="11605"/>
                  </a:lnTo>
                  <a:lnTo>
                    <a:pt x="3581" y="11542"/>
                  </a:lnTo>
                  <a:lnTo>
                    <a:pt x="7487" y="11542"/>
                  </a:lnTo>
                  <a:lnTo>
                    <a:pt x="7464" y="11609"/>
                  </a:lnTo>
                  <a:lnTo>
                    <a:pt x="7440" y="11677"/>
                  </a:lnTo>
                  <a:lnTo>
                    <a:pt x="7417" y="11744"/>
                  </a:lnTo>
                  <a:lnTo>
                    <a:pt x="7395" y="11811"/>
                  </a:lnTo>
                  <a:lnTo>
                    <a:pt x="7373" y="11878"/>
                  </a:lnTo>
                  <a:lnTo>
                    <a:pt x="7351" y="11943"/>
                  </a:lnTo>
                  <a:lnTo>
                    <a:pt x="7330" y="12008"/>
                  </a:lnTo>
                  <a:lnTo>
                    <a:pt x="7309" y="12074"/>
                  </a:lnTo>
                  <a:lnTo>
                    <a:pt x="3890" y="12499"/>
                  </a:lnTo>
                  <a:close/>
                  <a:moveTo>
                    <a:pt x="6835" y="13637"/>
                  </a:moveTo>
                  <a:lnTo>
                    <a:pt x="4342" y="13948"/>
                  </a:lnTo>
                  <a:lnTo>
                    <a:pt x="4325" y="13899"/>
                  </a:lnTo>
                  <a:lnTo>
                    <a:pt x="4309" y="13850"/>
                  </a:lnTo>
                  <a:lnTo>
                    <a:pt x="4290" y="13799"/>
                  </a:lnTo>
                  <a:lnTo>
                    <a:pt x="4273" y="13747"/>
                  </a:lnTo>
                  <a:lnTo>
                    <a:pt x="4256" y="13693"/>
                  </a:lnTo>
                  <a:lnTo>
                    <a:pt x="4238" y="13638"/>
                  </a:lnTo>
                  <a:lnTo>
                    <a:pt x="4220" y="13582"/>
                  </a:lnTo>
                  <a:lnTo>
                    <a:pt x="4202" y="13524"/>
                  </a:lnTo>
                  <a:lnTo>
                    <a:pt x="4183" y="13465"/>
                  </a:lnTo>
                  <a:lnTo>
                    <a:pt x="4164" y="13403"/>
                  </a:lnTo>
                  <a:lnTo>
                    <a:pt x="4145" y="13340"/>
                  </a:lnTo>
                  <a:lnTo>
                    <a:pt x="4124" y="13276"/>
                  </a:lnTo>
                  <a:lnTo>
                    <a:pt x="4104" y="13210"/>
                  </a:lnTo>
                  <a:lnTo>
                    <a:pt x="4083" y="13141"/>
                  </a:lnTo>
                  <a:lnTo>
                    <a:pt x="4062" y="13070"/>
                  </a:lnTo>
                  <a:lnTo>
                    <a:pt x="4041" y="12998"/>
                  </a:lnTo>
                  <a:lnTo>
                    <a:pt x="4038" y="12990"/>
                  </a:lnTo>
                  <a:lnTo>
                    <a:pt x="4036" y="12983"/>
                  </a:lnTo>
                  <a:lnTo>
                    <a:pt x="7149" y="12594"/>
                  </a:lnTo>
                  <a:lnTo>
                    <a:pt x="7132" y="12651"/>
                  </a:lnTo>
                  <a:lnTo>
                    <a:pt x="7116" y="12707"/>
                  </a:lnTo>
                  <a:lnTo>
                    <a:pt x="7098" y="12763"/>
                  </a:lnTo>
                  <a:lnTo>
                    <a:pt x="7081" y="12819"/>
                  </a:lnTo>
                  <a:lnTo>
                    <a:pt x="7064" y="12876"/>
                  </a:lnTo>
                  <a:lnTo>
                    <a:pt x="7047" y="12931"/>
                  </a:lnTo>
                  <a:lnTo>
                    <a:pt x="7031" y="12985"/>
                  </a:lnTo>
                  <a:lnTo>
                    <a:pt x="7016" y="13038"/>
                  </a:lnTo>
                  <a:lnTo>
                    <a:pt x="6992" y="13121"/>
                  </a:lnTo>
                  <a:lnTo>
                    <a:pt x="6968" y="13202"/>
                  </a:lnTo>
                  <a:lnTo>
                    <a:pt x="6945" y="13280"/>
                  </a:lnTo>
                  <a:lnTo>
                    <a:pt x="6921" y="13355"/>
                  </a:lnTo>
                  <a:lnTo>
                    <a:pt x="6899" y="13429"/>
                  </a:lnTo>
                  <a:lnTo>
                    <a:pt x="6878" y="13500"/>
                  </a:lnTo>
                  <a:lnTo>
                    <a:pt x="6856" y="13570"/>
                  </a:lnTo>
                  <a:lnTo>
                    <a:pt x="6835" y="13637"/>
                  </a:lnTo>
                  <a:close/>
                  <a:moveTo>
                    <a:pt x="5532" y="0"/>
                  </a:moveTo>
                  <a:lnTo>
                    <a:pt x="5247" y="7"/>
                  </a:lnTo>
                  <a:lnTo>
                    <a:pt x="4966" y="28"/>
                  </a:lnTo>
                  <a:lnTo>
                    <a:pt x="4689" y="63"/>
                  </a:lnTo>
                  <a:lnTo>
                    <a:pt x="4417" y="112"/>
                  </a:lnTo>
                  <a:lnTo>
                    <a:pt x="4149" y="174"/>
                  </a:lnTo>
                  <a:lnTo>
                    <a:pt x="3886" y="248"/>
                  </a:lnTo>
                  <a:lnTo>
                    <a:pt x="3630" y="335"/>
                  </a:lnTo>
                  <a:lnTo>
                    <a:pt x="3378" y="434"/>
                  </a:lnTo>
                  <a:lnTo>
                    <a:pt x="3133" y="544"/>
                  </a:lnTo>
                  <a:lnTo>
                    <a:pt x="2894" y="666"/>
                  </a:lnTo>
                  <a:lnTo>
                    <a:pt x="2663" y="799"/>
                  </a:lnTo>
                  <a:lnTo>
                    <a:pt x="2439" y="942"/>
                  </a:lnTo>
                  <a:lnTo>
                    <a:pt x="2222" y="1097"/>
                  </a:lnTo>
                  <a:lnTo>
                    <a:pt x="2013" y="1261"/>
                  </a:lnTo>
                  <a:lnTo>
                    <a:pt x="1812" y="1434"/>
                  </a:lnTo>
                  <a:lnTo>
                    <a:pt x="1620" y="1617"/>
                  </a:lnTo>
                  <a:lnTo>
                    <a:pt x="1437" y="1809"/>
                  </a:lnTo>
                  <a:lnTo>
                    <a:pt x="1263" y="2009"/>
                  </a:lnTo>
                  <a:lnTo>
                    <a:pt x="1099" y="2217"/>
                  </a:lnTo>
                  <a:lnTo>
                    <a:pt x="944" y="2434"/>
                  </a:lnTo>
                  <a:lnTo>
                    <a:pt x="801" y="2658"/>
                  </a:lnTo>
                  <a:lnTo>
                    <a:pt x="668" y="2888"/>
                  </a:lnTo>
                  <a:lnTo>
                    <a:pt x="545" y="3127"/>
                  </a:lnTo>
                  <a:lnTo>
                    <a:pt x="434" y="3371"/>
                  </a:lnTo>
                  <a:lnTo>
                    <a:pt x="336" y="3622"/>
                  </a:lnTo>
                  <a:lnTo>
                    <a:pt x="248" y="3879"/>
                  </a:lnTo>
                  <a:lnTo>
                    <a:pt x="174" y="4141"/>
                  </a:lnTo>
                  <a:lnTo>
                    <a:pt x="113" y="4408"/>
                  </a:lnTo>
                  <a:lnTo>
                    <a:pt x="63" y="4679"/>
                  </a:lnTo>
                  <a:lnTo>
                    <a:pt x="28" y="4956"/>
                  </a:lnTo>
                  <a:lnTo>
                    <a:pt x="7" y="5236"/>
                  </a:lnTo>
                  <a:lnTo>
                    <a:pt x="0" y="5520"/>
                  </a:lnTo>
                  <a:lnTo>
                    <a:pt x="5" y="5710"/>
                  </a:lnTo>
                  <a:lnTo>
                    <a:pt x="21" y="5900"/>
                  </a:lnTo>
                  <a:lnTo>
                    <a:pt x="46" y="6092"/>
                  </a:lnTo>
                  <a:lnTo>
                    <a:pt x="81" y="6284"/>
                  </a:lnTo>
                  <a:lnTo>
                    <a:pt x="125" y="6475"/>
                  </a:lnTo>
                  <a:lnTo>
                    <a:pt x="176" y="6668"/>
                  </a:lnTo>
                  <a:lnTo>
                    <a:pt x="234" y="6861"/>
                  </a:lnTo>
                  <a:lnTo>
                    <a:pt x="301" y="7053"/>
                  </a:lnTo>
                  <a:lnTo>
                    <a:pt x="373" y="7247"/>
                  </a:lnTo>
                  <a:lnTo>
                    <a:pt x="451" y="7440"/>
                  </a:lnTo>
                  <a:lnTo>
                    <a:pt x="534" y="7634"/>
                  </a:lnTo>
                  <a:lnTo>
                    <a:pt x="623" y="7826"/>
                  </a:lnTo>
                  <a:lnTo>
                    <a:pt x="715" y="8020"/>
                  </a:lnTo>
                  <a:lnTo>
                    <a:pt x="811" y="8213"/>
                  </a:lnTo>
                  <a:lnTo>
                    <a:pt x="910" y="8405"/>
                  </a:lnTo>
                  <a:lnTo>
                    <a:pt x="1012" y="8597"/>
                  </a:lnTo>
                  <a:lnTo>
                    <a:pt x="1115" y="8789"/>
                  </a:lnTo>
                  <a:lnTo>
                    <a:pt x="1221" y="8980"/>
                  </a:lnTo>
                  <a:lnTo>
                    <a:pt x="1327" y="9171"/>
                  </a:lnTo>
                  <a:lnTo>
                    <a:pt x="1433" y="9361"/>
                  </a:lnTo>
                  <a:lnTo>
                    <a:pt x="1539" y="9550"/>
                  </a:lnTo>
                  <a:lnTo>
                    <a:pt x="1644" y="9739"/>
                  </a:lnTo>
                  <a:lnTo>
                    <a:pt x="1748" y="9927"/>
                  </a:lnTo>
                  <a:lnTo>
                    <a:pt x="1850" y="10115"/>
                  </a:lnTo>
                  <a:lnTo>
                    <a:pt x="1949" y="10300"/>
                  </a:lnTo>
                  <a:lnTo>
                    <a:pt x="2046" y="10485"/>
                  </a:lnTo>
                  <a:lnTo>
                    <a:pt x="2138" y="10670"/>
                  </a:lnTo>
                  <a:lnTo>
                    <a:pt x="2228" y="10852"/>
                  </a:lnTo>
                  <a:lnTo>
                    <a:pt x="2311" y="11033"/>
                  </a:lnTo>
                  <a:lnTo>
                    <a:pt x="2391" y="11214"/>
                  </a:lnTo>
                  <a:lnTo>
                    <a:pt x="2463" y="11392"/>
                  </a:lnTo>
                  <a:lnTo>
                    <a:pt x="2529" y="11569"/>
                  </a:lnTo>
                  <a:lnTo>
                    <a:pt x="2621" y="11829"/>
                  </a:lnTo>
                  <a:lnTo>
                    <a:pt x="2706" y="12083"/>
                  </a:lnTo>
                  <a:lnTo>
                    <a:pt x="2787" y="12329"/>
                  </a:lnTo>
                  <a:lnTo>
                    <a:pt x="2861" y="12568"/>
                  </a:lnTo>
                  <a:lnTo>
                    <a:pt x="2933" y="12801"/>
                  </a:lnTo>
                  <a:lnTo>
                    <a:pt x="3000" y="13026"/>
                  </a:lnTo>
                  <a:lnTo>
                    <a:pt x="3065" y="13245"/>
                  </a:lnTo>
                  <a:lnTo>
                    <a:pt x="3128" y="13456"/>
                  </a:lnTo>
                  <a:lnTo>
                    <a:pt x="3188" y="13658"/>
                  </a:lnTo>
                  <a:lnTo>
                    <a:pt x="3248" y="13855"/>
                  </a:lnTo>
                  <a:lnTo>
                    <a:pt x="3308" y="14043"/>
                  </a:lnTo>
                  <a:lnTo>
                    <a:pt x="3367" y="14223"/>
                  </a:lnTo>
                  <a:lnTo>
                    <a:pt x="3428" y="14396"/>
                  </a:lnTo>
                  <a:lnTo>
                    <a:pt x="3489" y="14562"/>
                  </a:lnTo>
                  <a:lnTo>
                    <a:pt x="3552" y="14718"/>
                  </a:lnTo>
                  <a:lnTo>
                    <a:pt x="3619" y="14867"/>
                  </a:lnTo>
                  <a:lnTo>
                    <a:pt x="3688" y="15007"/>
                  </a:lnTo>
                  <a:lnTo>
                    <a:pt x="3761" y="15140"/>
                  </a:lnTo>
                  <a:lnTo>
                    <a:pt x="3839" y="15263"/>
                  </a:lnTo>
                  <a:lnTo>
                    <a:pt x="3922" y="15379"/>
                  </a:lnTo>
                  <a:lnTo>
                    <a:pt x="4011" y="15485"/>
                  </a:lnTo>
                  <a:lnTo>
                    <a:pt x="4105" y="15582"/>
                  </a:lnTo>
                  <a:lnTo>
                    <a:pt x="4207" y="15672"/>
                  </a:lnTo>
                  <a:lnTo>
                    <a:pt x="4316" y="15752"/>
                  </a:lnTo>
                  <a:lnTo>
                    <a:pt x="4433" y="15822"/>
                  </a:lnTo>
                  <a:lnTo>
                    <a:pt x="4559" y="15884"/>
                  </a:lnTo>
                  <a:lnTo>
                    <a:pt x="4694" y="15937"/>
                  </a:lnTo>
                  <a:lnTo>
                    <a:pt x="4840" y="15981"/>
                  </a:lnTo>
                  <a:lnTo>
                    <a:pt x="4995" y="16014"/>
                  </a:lnTo>
                  <a:lnTo>
                    <a:pt x="5161" y="16038"/>
                  </a:lnTo>
                  <a:lnTo>
                    <a:pt x="5340" y="16053"/>
                  </a:lnTo>
                  <a:lnTo>
                    <a:pt x="5532" y="16058"/>
                  </a:lnTo>
                  <a:lnTo>
                    <a:pt x="5726" y="16053"/>
                  </a:lnTo>
                  <a:lnTo>
                    <a:pt x="5907" y="16039"/>
                  </a:lnTo>
                  <a:lnTo>
                    <a:pt x="6076" y="16014"/>
                  </a:lnTo>
                  <a:lnTo>
                    <a:pt x="6232" y="15981"/>
                  </a:lnTo>
                  <a:lnTo>
                    <a:pt x="6379" y="15938"/>
                  </a:lnTo>
                  <a:lnTo>
                    <a:pt x="6516" y="15885"/>
                  </a:lnTo>
                  <a:lnTo>
                    <a:pt x="6643" y="15823"/>
                  </a:lnTo>
                  <a:lnTo>
                    <a:pt x="6760" y="15753"/>
                  </a:lnTo>
                  <a:lnTo>
                    <a:pt x="6870" y="15673"/>
                  </a:lnTo>
                  <a:lnTo>
                    <a:pt x="6972" y="15584"/>
                  </a:lnTo>
                  <a:lnTo>
                    <a:pt x="7066" y="15487"/>
                  </a:lnTo>
                  <a:lnTo>
                    <a:pt x="7155" y="15381"/>
                  </a:lnTo>
                  <a:lnTo>
                    <a:pt x="7237" y="15266"/>
                  </a:lnTo>
                  <a:lnTo>
                    <a:pt x="7315" y="15143"/>
                  </a:lnTo>
                  <a:lnTo>
                    <a:pt x="7387" y="15011"/>
                  </a:lnTo>
                  <a:lnTo>
                    <a:pt x="7455" y="14871"/>
                  </a:lnTo>
                  <a:lnTo>
                    <a:pt x="7521" y="14723"/>
                  </a:lnTo>
                  <a:lnTo>
                    <a:pt x="7584" y="14567"/>
                  </a:lnTo>
                  <a:lnTo>
                    <a:pt x="7645" y="14402"/>
                  </a:lnTo>
                  <a:lnTo>
                    <a:pt x="7704" y="14229"/>
                  </a:lnTo>
                  <a:lnTo>
                    <a:pt x="7762" y="14050"/>
                  </a:lnTo>
                  <a:lnTo>
                    <a:pt x="7821" y="13862"/>
                  </a:lnTo>
                  <a:lnTo>
                    <a:pt x="7880" y="13666"/>
                  </a:lnTo>
                  <a:lnTo>
                    <a:pt x="7939" y="13464"/>
                  </a:lnTo>
                  <a:lnTo>
                    <a:pt x="8002" y="13253"/>
                  </a:lnTo>
                  <a:lnTo>
                    <a:pt x="8065" y="13035"/>
                  </a:lnTo>
                  <a:lnTo>
                    <a:pt x="8132" y="12810"/>
                  </a:lnTo>
                  <a:lnTo>
                    <a:pt x="8203" y="12578"/>
                  </a:lnTo>
                  <a:lnTo>
                    <a:pt x="8277" y="12340"/>
                  </a:lnTo>
                  <a:lnTo>
                    <a:pt x="8357" y="12094"/>
                  </a:lnTo>
                  <a:lnTo>
                    <a:pt x="8442" y="11841"/>
                  </a:lnTo>
                  <a:lnTo>
                    <a:pt x="8534" y="11581"/>
                  </a:lnTo>
                  <a:lnTo>
                    <a:pt x="8600" y="11403"/>
                  </a:lnTo>
                  <a:lnTo>
                    <a:pt x="8673" y="11224"/>
                  </a:lnTo>
                  <a:lnTo>
                    <a:pt x="8752" y="11043"/>
                  </a:lnTo>
                  <a:lnTo>
                    <a:pt x="8836" y="10861"/>
                  </a:lnTo>
                  <a:lnTo>
                    <a:pt x="8926" y="10678"/>
                  </a:lnTo>
                  <a:lnTo>
                    <a:pt x="9018" y="10493"/>
                  </a:lnTo>
                  <a:lnTo>
                    <a:pt x="9115" y="10307"/>
                  </a:lnTo>
                  <a:lnTo>
                    <a:pt x="9214" y="10121"/>
                  </a:lnTo>
                  <a:lnTo>
                    <a:pt x="9316" y="9932"/>
                  </a:lnTo>
                  <a:lnTo>
                    <a:pt x="9421" y="9743"/>
                  </a:lnTo>
                  <a:lnTo>
                    <a:pt x="9525" y="9554"/>
                  </a:lnTo>
                  <a:lnTo>
                    <a:pt x="9632" y="9363"/>
                  </a:lnTo>
                  <a:lnTo>
                    <a:pt x="9737" y="9172"/>
                  </a:lnTo>
                  <a:lnTo>
                    <a:pt x="9844" y="8980"/>
                  </a:lnTo>
                  <a:lnTo>
                    <a:pt x="9949" y="8788"/>
                  </a:lnTo>
                  <a:lnTo>
                    <a:pt x="10052" y="8596"/>
                  </a:lnTo>
                  <a:lnTo>
                    <a:pt x="10154" y="8402"/>
                  </a:lnTo>
                  <a:lnTo>
                    <a:pt x="10253" y="8210"/>
                  </a:lnTo>
                  <a:lnTo>
                    <a:pt x="10349" y="8016"/>
                  </a:lnTo>
                  <a:lnTo>
                    <a:pt x="10441" y="7822"/>
                  </a:lnTo>
                  <a:lnTo>
                    <a:pt x="10529" y="7629"/>
                  </a:lnTo>
                  <a:lnTo>
                    <a:pt x="10612" y="7435"/>
                  </a:lnTo>
                  <a:lnTo>
                    <a:pt x="10691" y="7241"/>
                  </a:lnTo>
                  <a:lnTo>
                    <a:pt x="10763" y="7048"/>
                  </a:lnTo>
                  <a:lnTo>
                    <a:pt x="10829" y="6856"/>
                  </a:lnTo>
                  <a:lnTo>
                    <a:pt x="10888" y="6663"/>
                  </a:lnTo>
                  <a:lnTo>
                    <a:pt x="10939" y="6470"/>
                  </a:lnTo>
                  <a:lnTo>
                    <a:pt x="10983" y="6280"/>
                  </a:lnTo>
                  <a:lnTo>
                    <a:pt x="11017" y="6088"/>
                  </a:lnTo>
                  <a:lnTo>
                    <a:pt x="11042" y="5898"/>
                  </a:lnTo>
                  <a:lnTo>
                    <a:pt x="11058" y="5709"/>
                  </a:lnTo>
                  <a:lnTo>
                    <a:pt x="11063" y="5520"/>
                  </a:lnTo>
                  <a:lnTo>
                    <a:pt x="11056" y="5236"/>
                  </a:lnTo>
                  <a:lnTo>
                    <a:pt x="11035" y="4956"/>
                  </a:lnTo>
                  <a:lnTo>
                    <a:pt x="11000" y="4679"/>
                  </a:lnTo>
                  <a:lnTo>
                    <a:pt x="10950" y="4408"/>
                  </a:lnTo>
                  <a:lnTo>
                    <a:pt x="10889" y="4141"/>
                  </a:lnTo>
                  <a:lnTo>
                    <a:pt x="10815" y="3879"/>
                  </a:lnTo>
                  <a:lnTo>
                    <a:pt x="10727" y="3622"/>
                  </a:lnTo>
                  <a:lnTo>
                    <a:pt x="10629" y="3371"/>
                  </a:lnTo>
                  <a:lnTo>
                    <a:pt x="10518" y="3127"/>
                  </a:lnTo>
                  <a:lnTo>
                    <a:pt x="10395" y="2888"/>
                  </a:lnTo>
                  <a:lnTo>
                    <a:pt x="10262" y="2658"/>
                  </a:lnTo>
                  <a:lnTo>
                    <a:pt x="10119" y="2434"/>
                  </a:lnTo>
                  <a:lnTo>
                    <a:pt x="9964" y="2217"/>
                  </a:lnTo>
                  <a:lnTo>
                    <a:pt x="9800" y="2009"/>
                  </a:lnTo>
                  <a:lnTo>
                    <a:pt x="9626" y="1809"/>
                  </a:lnTo>
                  <a:lnTo>
                    <a:pt x="9443" y="1617"/>
                  </a:lnTo>
                  <a:lnTo>
                    <a:pt x="9251" y="1434"/>
                  </a:lnTo>
                  <a:lnTo>
                    <a:pt x="9050" y="1261"/>
                  </a:lnTo>
                  <a:lnTo>
                    <a:pt x="8841" y="1097"/>
                  </a:lnTo>
                  <a:lnTo>
                    <a:pt x="8624" y="942"/>
                  </a:lnTo>
                  <a:lnTo>
                    <a:pt x="8400" y="799"/>
                  </a:lnTo>
                  <a:lnTo>
                    <a:pt x="8169" y="666"/>
                  </a:lnTo>
                  <a:lnTo>
                    <a:pt x="7929" y="544"/>
                  </a:lnTo>
                  <a:lnTo>
                    <a:pt x="7685" y="434"/>
                  </a:lnTo>
                  <a:lnTo>
                    <a:pt x="7433" y="335"/>
                  </a:lnTo>
                  <a:lnTo>
                    <a:pt x="7176" y="248"/>
                  </a:lnTo>
                  <a:lnTo>
                    <a:pt x="6913" y="174"/>
                  </a:lnTo>
                  <a:lnTo>
                    <a:pt x="6646" y="112"/>
                  </a:lnTo>
                  <a:lnTo>
                    <a:pt x="6374" y="63"/>
                  </a:lnTo>
                  <a:lnTo>
                    <a:pt x="6097" y="28"/>
                  </a:lnTo>
                  <a:lnTo>
                    <a:pt x="5816" y="7"/>
                  </a:lnTo>
                  <a:lnTo>
                    <a:pt x="55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60" name="işḻïḋè">
              <a:extLst>
                <a:ext uri="{FF2B5EF4-FFF2-40B4-BE49-F238E27FC236}">
                  <a16:creationId xmlns:a16="http://schemas.microsoft.com/office/drawing/2014/main" id="{66512EAF-1503-4B94-AC00-A4D79F86FC26}"/>
                </a:ext>
              </a:extLst>
            </p:cNvPr>
            <p:cNvSpPr/>
            <p:nvPr/>
          </p:nvSpPr>
          <p:spPr bwMode="auto">
            <a:xfrm>
              <a:off x="5533833" y="105445"/>
              <a:ext cx="78177" cy="78177"/>
            </a:xfrm>
            <a:custGeom>
              <a:avLst/>
              <a:gdLst>
                <a:gd name="T0" fmla="*/ 2559 w 3269"/>
                <a:gd name="T1" fmla="*/ 35 h 3262"/>
                <a:gd name="T2" fmla="*/ 1981 w 3269"/>
                <a:gd name="T3" fmla="*/ 183 h 3262"/>
                <a:gd name="T4" fmla="*/ 1455 w 3269"/>
                <a:gd name="T5" fmla="*/ 437 h 3262"/>
                <a:gd name="T6" fmla="*/ 990 w 3269"/>
                <a:gd name="T7" fmla="*/ 783 h 3262"/>
                <a:gd name="T8" fmla="*/ 601 w 3269"/>
                <a:gd name="T9" fmla="*/ 1210 h 3262"/>
                <a:gd name="T10" fmla="*/ 298 w 3269"/>
                <a:gd name="T11" fmla="*/ 1706 h 3262"/>
                <a:gd name="T12" fmla="*/ 96 w 3269"/>
                <a:gd name="T13" fmla="*/ 2259 h 3262"/>
                <a:gd name="T14" fmla="*/ 4 w 3269"/>
                <a:gd name="T15" fmla="*/ 2856 h 3262"/>
                <a:gd name="T16" fmla="*/ 3 w 3269"/>
                <a:gd name="T17" fmla="*/ 3049 h 3262"/>
                <a:gd name="T18" fmla="*/ 15 w 3269"/>
                <a:gd name="T19" fmla="*/ 3097 h 3262"/>
                <a:gd name="T20" fmla="*/ 37 w 3269"/>
                <a:gd name="T21" fmla="*/ 3141 h 3262"/>
                <a:gd name="T22" fmla="*/ 66 w 3269"/>
                <a:gd name="T23" fmla="*/ 3180 h 3262"/>
                <a:gd name="T24" fmla="*/ 101 w 3269"/>
                <a:gd name="T25" fmla="*/ 3212 h 3262"/>
                <a:gd name="T26" fmla="*/ 143 w 3269"/>
                <a:gd name="T27" fmla="*/ 3237 h 3262"/>
                <a:gd name="T28" fmla="*/ 189 w 3269"/>
                <a:gd name="T29" fmla="*/ 3254 h 3262"/>
                <a:gd name="T30" fmla="*/ 239 w 3269"/>
                <a:gd name="T31" fmla="*/ 3262 h 3262"/>
                <a:gd name="T32" fmla="*/ 290 w 3269"/>
                <a:gd name="T33" fmla="*/ 3259 h 3262"/>
                <a:gd name="T34" fmla="*/ 338 w 3269"/>
                <a:gd name="T35" fmla="*/ 3247 h 3262"/>
                <a:gd name="T36" fmla="*/ 382 w 3269"/>
                <a:gd name="T37" fmla="*/ 3226 h 3262"/>
                <a:gd name="T38" fmla="*/ 421 w 3269"/>
                <a:gd name="T39" fmla="*/ 3197 h 3262"/>
                <a:gd name="T40" fmla="*/ 453 w 3269"/>
                <a:gd name="T41" fmla="*/ 3161 h 3262"/>
                <a:gd name="T42" fmla="*/ 478 w 3269"/>
                <a:gd name="T43" fmla="*/ 3119 h 3262"/>
                <a:gd name="T44" fmla="*/ 495 w 3269"/>
                <a:gd name="T45" fmla="*/ 3073 h 3262"/>
                <a:gd name="T46" fmla="*/ 503 w 3269"/>
                <a:gd name="T47" fmla="*/ 3024 h 3262"/>
                <a:gd name="T48" fmla="*/ 532 w 3269"/>
                <a:gd name="T49" fmla="*/ 2630 h 3262"/>
                <a:gd name="T50" fmla="*/ 656 w 3269"/>
                <a:gd name="T51" fmla="*/ 2149 h 3262"/>
                <a:gd name="T52" fmla="*/ 867 w 3269"/>
                <a:gd name="T53" fmla="*/ 1711 h 3262"/>
                <a:gd name="T54" fmla="*/ 1157 w 3269"/>
                <a:gd name="T55" fmla="*/ 1325 h 3262"/>
                <a:gd name="T56" fmla="*/ 1514 w 3269"/>
                <a:gd name="T57" fmla="*/ 1001 h 3262"/>
                <a:gd name="T58" fmla="*/ 1928 w 3269"/>
                <a:gd name="T59" fmla="*/ 750 h 3262"/>
                <a:gd name="T60" fmla="*/ 2390 w 3269"/>
                <a:gd name="T61" fmla="*/ 581 h 3262"/>
                <a:gd name="T62" fmla="*/ 2889 w 3269"/>
                <a:gd name="T63" fmla="*/ 505 h 3262"/>
                <a:gd name="T64" fmla="*/ 3056 w 3269"/>
                <a:gd name="T65" fmla="*/ 499 h 3262"/>
                <a:gd name="T66" fmla="*/ 3104 w 3269"/>
                <a:gd name="T67" fmla="*/ 487 h 3262"/>
                <a:gd name="T68" fmla="*/ 3148 w 3269"/>
                <a:gd name="T69" fmla="*/ 466 h 3262"/>
                <a:gd name="T70" fmla="*/ 3186 w 3269"/>
                <a:gd name="T71" fmla="*/ 437 h 3262"/>
                <a:gd name="T72" fmla="*/ 3219 w 3269"/>
                <a:gd name="T73" fmla="*/ 402 h 3262"/>
                <a:gd name="T74" fmla="*/ 3244 w 3269"/>
                <a:gd name="T75" fmla="*/ 359 h 3262"/>
                <a:gd name="T76" fmla="*/ 3261 w 3269"/>
                <a:gd name="T77" fmla="*/ 314 h 3262"/>
                <a:gd name="T78" fmla="*/ 3269 w 3269"/>
                <a:gd name="T79" fmla="*/ 264 h 3262"/>
                <a:gd name="T80" fmla="*/ 3266 w 3269"/>
                <a:gd name="T81" fmla="*/ 213 h 3262"/>
                <a:gd name="T82" fmla="*/ 3254 w 3269"/>
                <a:gd name="T83" fmla="*/ 165 h 3262"/>
                <a:gd name="T84" fmla="*/ 3233 w 3269"/>
                <a:gd name="T85" fmla="*/ 120 h 3262"/>
                <a:gd name="T86" fmla="*/ 3204 w 3269"/>
                <a:gd name="T87" fmla="*/ 82 h 3262"/>
                <a:gd name="T88" fmla="*/ 3168 w 3269"/>
                <a:gd name="T89" fmla="*/ 50 h 3262"/>
                <a:gd name="T90" fmla="*/ 3126 w 3269"/>
                <a:gd name="T91" fmla="*/ 25 h 3262"/>
                <a:gd name="T92" fmla="*/ 3080 w 3269"/>
                <a:gd name="T93" fmla="*/ 8 h 3262"/>
                <a:gd name="T94" fmla="*/ 3031 w 3269"/>
                <a:gd name="T95" fmla="*/ 0 h 3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269" h="3262">
                  <a:moveTo>
                    <a:pt x="3018" y="0"/>
                  </a:moveTo>
                  <a:lnTo>
                    <a:pt x="2863" y="4"/>
                  </a:lnTo>
                  <a:lnTo>
                    <a:pt x="2710" y="15"/>
                  </a:lnTo>
                  <a:lnTo>
                    <a:pt x="2559" y="35"/>
                  </a:lnTo>
                  <a:lnTo>
                    <a:pt x="2410" y="61"/>
                  </a:lnTo>
                  <a:lnTo>
                    <a:pt x="2264" y="95"/>
                  </a:lnTo>
                  <a:lnTo>
                    <a:pt x="2121" y="136"/>
                  </a:lnTo>
                  <a:lnTo>
                    <a:pt x="1981" y="183"/>
                  </a:lnTo>
                  <a:lnTo>
                    <a:pt x="1844" y="237"/>
                  </a:lnTo>
                  <a:lnTo>
                    <a:pt x="1710" y="297"/>
                  </a:lnTo>
                  <a:lnTo>
                    <a:pt x="1580" y="364"/>
                  </a:lnTo>
                  <a:lnTo>
                    <a:pt x="1455" y="437"/>
                  </a:lnTo>
                  <a:lnTo>
                    <a:pt x="1332" y="515"/>
                  </a:lnTo>
                  <a:lnTo>
                    <a:pt x="1213" y="599"/>
                  </a:lnTo>
                  <a:lnTo>
                    <a:pt x="1100" y="689"/>
                  </a:lnTo>
                  <a:lnTo>
                    <a:pt x="990" y="783"/>
                  </a:lnTo>
                  <a:lnTo>
                    <a:pt x="885" y="883"/>
                  </a:lnTo>
                  <a:lnTo>
                    <a:pt x="785" y="988"/>
                  </a:lnTo>
                  <a:lnTo>
                    <a:pt x="690" y="1097"/>
                  </a:lnTo>
                  <a:lnTo>
                    <a:pt x="601" y="1210"/>
                  </a:lnTo>
                  <a:lnTo>
                    <a:pt x="516" y="1329"/>
                  </a:lnTo>
                  <a:lnTo>
                    <a:pt x="438" y="1450"/>
                  </a:lnTo>
                  <a:lnTo>
                    <a:pt x="365" y="1577"/>
                  </a:lnTo>
                  <a:lnTo>
                    <a:pt x="298" y="1706"/>
                  </a:lnTo>
                  <a:lnTo>
                    <a:pt x="238" y="1840"/>
                  </a:lnTo>
                  <a:lnTo>
                    <a:pt x="183" y="1976"/>
                  </a:lnTo>
                  <a:lnTo>
                    <a:pt x="136" y="2117"/>
                  </a:lnTo>
                  <a:lnTo>
                    <a:pt x="96" y="2259"/>
                  </a:lnTo>
                  <a:lnTo>
                    <a:pt x="62" y="2405"/>
                  </a:lnTo>
                  <a:lnTo>
                    <a:pt x="36" y="2553"/>
                  </a:lnTo>
                  <a:lnTo>
                    <a:pt x="16" y="2704"/>
                  </a:lnTo>
                  <a:lnTo>
                    <a:pt x="4" y="2856"/>
                  </a:lnTo>
                  <a:lnTo>
                    <a:pt x="0" y="3011"/>
                  </a:lnTo>
                  <a:lnTo>
                    <a:pt x="0" y="3024"/>
                  </a:lnTo>
                  <a:lnTo>
                    <a:pt x="1" y="3037"/>
                  </a:lnTo>
                  <a:lnTo>
                    <a:pt x="3" y="3049"/>
                  </a:lnTo>
                  <a:lnTo>
                    <a:pt x="5" y="3061"/>
                  </a:lnTo>
                  <a:lnTo>
                    <a:pt x="8" y="3073"/>
                  </a:lnTo>
                  <a:lnTo>
                    <a:pt x="11" y="3085"/>
                  </a:lnTo>
                  <a:lnTo>
                    <a:pt x="15" y="3097"/>
                  </a:lnTo>
                  <a:lnTo>
                    <a:pt x="20" y="3108"/>
                  </a:lnTo>
                  <a:lnTo>
                    <a:pt x="25" y="3119"/>
                  </a:lnTo>
                  <a:lnTo>
                    <a:pt x="30" y="3130"/>
                  </a:lnTo>
                  <a:lnTo>
                    <a:pt x="37" y="3141"/>
                  </a:lnTo>
                  <a:lnTo>
                    <a:pt x="44" y="3151"/>
                  </a:lnTo>
                  <a:lnTo>
                    <a:pt x="51" y="3161"/>
                  </a:lnTo>
                  <a:lnTo>
                    <a:pt x="58" y="3171"/>
                  </a:lnTo>
                  <a:lnTo>
                    <a:pt x="66" y="3180"/>
                  </a:lnTo>
                  <a:lnTo>
                    <a:pt x="74" y="3189"/>
                  </a:lnTo>
                  <a:lnTo>
                    <a:pt x="83" y="3197"/>
                  </a:lnTo>
                  <a:lnTo>
                    <a:pt x="92" y="3205"/>
                  </a:lnTo>
                  <a:lnTo>
                    <a:pt x="101" y="3212"/>
                  </a:lnTo>
                  <a:lnTo>
                    <a:pt x="111" y="3219"/>
                  </a:lnTo>
                  <a:lnTo>
                    <a:pt x="121" y="3226"/>
                  </a:lnTo>
                  <a:lnTo>
                    <a:pt x="132" y="3232"/>
                  </a:lnTo>
                  <a:lnTo>
                    <a:pt x="143" y="3237"/>
                  </a:lnTo>
                  <a:lnTo>
                    <a:pt x="154" y="3242"/>
                  </a:lnTo>
                  <a:lnTo>
                    <a:pt x="165" y="3247"/>
                  </a:lnTo>
                  <a:lnTo>
                    <a:pt x="177" y="3251"/>
                  </a:lnTo>
                  <a:lnTo>
                    <a:pt x="189" y="3254"/>
                  </a:lnTo>
                  <a:lnTo>
                    <a:pt x="201" y="3257"/>
                  </a:lnTo>
                  <a:lnTo>
                    <a:pt x="214" y="3259"/>
                  </a:lnTo>
                  <a:lnTo>
                    <a:pt x="227" y="3261"/>
                  </a:lnTo>
                  <a:lnTo>
                    <a:pt x="239" y="3262"/>
                  </a:lnTo>
                  <a:lnTo>
                    <a:pt x="252" y="3262"/>
                  </a:lnTo>
                  <a:lnTo>
                    <a:pt x="265" y="3262"/>
                  </a:lnTo>
                  <a:lnTo>
                    <a:pt x="278" y="3261"/>
                  </a:lnTo>
                  <a:lnTo>
                    <a:pt x="290" y="3259"/>
                  </a:lnTo>
                  <a:lnTo>
                    <a:pt x="302" y="3257"/>
                  </a:lnTo>
                  <a:lnTo>
                    <a:pt x="315" y="3254"/>
                  </a:lnTo>
                  <a:lnTo>
                    <a:pt x="326" y="3251"/>
                  </a:lnTo>
                  <a:lnTo>
                    <a:pt x="338" y="3247"/>
                  </a:lnTo>
                  <a:lnTo>
                    <a:pt x="349" y="3242"/>
                  </a:lnTo>
                  <a:lnTo>
                    <a:pt x="360" y="3237"/>
                  </a:lnTo>
                  <a:lnTo>
                    <a:pt x="371" y="3232"/>
                  </a:lnTo>
                  <a:lnTo>
                    <a:pt x="382" y="3226"/>
                  </a:lnTo>
                  <a:lnTo>
                    <a:pt x="393" y="3219"/>
                  </a:lnTo>
                  <a:lnTo>
                    <a:pt x="403" y="3212"/>
                  </a:lnTo>
                  <a:lnTo>
                    <a:pt x="412" y="3205"/>
                  </a:lnTo>
                  <a:lnTo>
                    <a:pt x="421" y="3197"/>
                  </a:lnTo>
                  <a:lnTo>
                    <a:pt x="430" y="3189"/>
                  </a:lnTo>
                  <a:lnTo>
                    <a:pt x="438" y="3180"/>
                  </a:lnTo>
                  <a:lnTo>
                    <a:pt x="446" y="3171"/>
                  </a:lnTo>
                  <a:lnTo>
                    <a:pt x="453" y="3161"/>
                  </a:lnTo>
                  <a:lnTo>
                    <a:pt x="460" y="3151"/>
                  </a:lnTo>
                  <a:lnTo>
                    <a:pt x="467" y="3141"/>
                  </a:lnTo>
                  <a:lnTo>
                    <a:pt x="473" y="3130"/>
                  </a:lnTo>
                  <a:lnTo>
                    <a:pt x="478" y="3119"/>
                  </a:lnTo>
                  <a:lnTo>
                    <a:pt x="483" y="3108"/>
                  </a:lnTo>
                  <a:lnTo>
                    <a:pt x="488" y="3097"/>
                  </a:lnTo>
                  <a:lnTo>
                    <a:pt x="492" y="3085"/>
                  </a:lnTo>
                  <a:lnTo>
                    <a:pt x="495" y="3073"/>
                  </a:lnTo>
                  <a:lnTo>
                    <a:pt x="498" y="3061"/>
                  </a:lnTo>
                  <a:lnTo>
                    <a:pt x="500" y="3049"/>
                  </a:lnTo>
                  <a:lnTo>
                    <a:pt x="502" y="3037"/>
                  </a:lnTo>
                  <a:lnTo>
                    <a:pt x="503" y="3024"/>
                  </a:lnTo>
                  <a:lnTo>
                    <a:pt x="503" y="3011"/>
                  </a:lnTo>
                  <a:lnTo>
                    <a:pt x="506" y="2882"/>
                  </a:lnTo>
                  <a:lnTo>
                    <a:pt x="516" y="2755"/>
                  </a:lnTo>
                  <a:lnTo>
                    <a:pt x="532" y="2630"/>
                  </a:lnTo>
                  <a:lnTo>
                    <a:pt x="554" y="2506"/>
                  </a:lnTo>
                  <a:lnTo>
                    <a:pt x="583" y="2385"/>
                  </a:lnTo>
                  <a:lnTo>
                    <a:pt x="617" y="2265"/>
                  </a:lnTo>
                  <a:lnTo>
                    <a:pt x="656" y="2149"/>
                  </a:lnTo>
                  <a:lnTo>
                    <a:pt x="701" y="2035"/>
                  </a:lnTo>
                  <a:lnTo>
                    <a:pt x="752" y="1924"/>
                  </a:lnTo>
                  <a:lnTo>
                    <a:pt x="807" y="1816"/>
                  </a:lnTo>
                  <a:lnTo>
                    <a:pt x="867" y="1711"/>
                  </a:lnTo>
                  <a:lnTo>
                    <a:pt x="934" y="1609"/>
                  </a:lnTo>
                  <a:lnTo>
                    <a:pt x="1003" y="1511"/>
                  </a:lnTo>
                  <a:lnTo>
                    <a:pt x="1078" y="1416"/>
                  </a:lnTo>
                  <a:lnTo>
                    <a:pt x="1157" y="1325"/>
                  </a:lnTo>
                  <a:lnTo>
                    <a:pt x="1240" y="1238"/>
                  </a:lnTo>
                  <a:lnTo>
                    <a:pt x="1328" y="1154"/>
                  </a:lnTo>
                  <a:lnTo>
                    <a:pt x="1419" y="1076"/>
                  </a:lnTo>
                  <a:lnTo>
                    <a:pt x="1514" y="1001"/>
                  </a:lnTo>
                  <a:lnTo>
                    <a:pt x="1612" y="931"/>
                  </a:lnTo>
                  <a:lnTo>
                    <a:pt x="1715" y="865"/>
                  </a:lnTo>
                  <a:lnTo>
                    <a:pt x="1820" y="805"/>
                  </a:lnTo>
                  <a:lnTo>
                    <a:pt x="1928" y="750"/>
                  </a:lnTo>
                  <a:lnTo>
                    <a:pt x="2040" y="700"/>
                  </a:lnTo>
                  <a:lnTo>
                    <a:pt x="2154" y="654"/>
                  </a:lnTo>
                  <a:lnTo>
                    <a:pt x="2270" y="615"/>
                  </a:lnTo>
                  <a:lnTo>
                    <a:pt x="2390" y="581"/>
                  </a:lnTo>
                  <a:lnTo>
                    <a:pt x="2512" y="553"/>
                  </a:lnTo>
                  <a:lnTo>
                    <a:pt x="2635" y="531"/>
                  </a:lnTo>
                  <a:lnTo>
                    <a:pt x="2761" y="515"/>
                  </a:lnTo>
                  <a:lnTo>
                    <a:pt x="2889" y="505"/>
                  </a:lnTo>
                  <a:lnTo>
                    <a:pt x="3018" y="502"/>
                  </a:lnTo>
                  <a:lnTo>
                    <a:pt x="3031" y="502"/>
                  </a:lnTo>
                  <a:lnTo>
                    <a:pt x="3044" y="501"/>
                  </a:lnTo>
                  <a:lnTo>
                    <a:pt x="3056" y="499"/>
                  </a:lnTo>
                  <a:lnTo>
                    <a:pt x="3068" y="497"/>
                  </a:lnTo>
                  <a:lnTo>
                    <a:pt x="3080" y="494"/>
                  </a:lnTo>
                  <a:lnTo>
                    <a:pt x="3092" y="491"/>
                  </a:lnTo>
                  <a:lnTo>
                    <a:pt x="3104" y="487"/>
                  </a:lnTo>
                  <a:lnTo>
                    <a:pt x="3115" y="482"/>
                  </a:lnTo>
                  <a:lnTo>
                    <a:pt x="3126" y="477"/>
                  </a:lnTo>
                  <a:lnTo>
                    <a:pt x="3137" y="472"/>
                  </a:lnTo>
                  <a:lnTo>
                    <a:pt x="3148" y="466"/>
                  </a:lnTo>
                  <a:lnTo>
                    <a:pt x="3158" y="459"/>
                  </a:lnTo>
                  <a:lnTo>
                    <a:pt x="3168" y="452"/>
                  </a:lnTo>
                  <a:lnTo>
                    <a:pt x="3177" y="445"/>
                  </a:lnTo>
                  <a:lnTo>
                    <a:pt x="3186" y="437"/>
                  </a:lnTo>
                  <a:lnTo>
                    <a:pt x="3196" y="429"/>
                  </a:lnTo>
                  <a:lnTo>
                    <a:pt x="3204" y="420"/>
                  </a:lnTo>
                  <a:lnTo>
                    <a:pt x="3212" y="411"/>
                  </a:lnTo>
                  <a:lnTo>
                    <a:pt x="3219" y="402"/>
                  </a:lnTo>
                  <a:lnTo>
                    <a:pt x="3226" y="391"/>
                  </a:lnTo>
                  <a:lnTo>
                    <a:pt x="3233" y="381"/>
                  </a:lnTo>
                  <a:lnTo>
                    <a:pt x="3239" y="370"/>
                  </a:lnTo>
                  <a:lnTo>
                    <a:pt x="3244" y="359"/>
                  </a:lnTo>
                  <a:lnTo>
                    <a:pt x="3249" y="348"/>
                  </a:lnTo>
                  <a:lnTo>
                    <a:pt x="3254" y="337"/>
                  </a:lnTo>
                  <a:lnTo>
                    <a:pt x="3258" y="325"/>
                  </a:lnTo>
                  <a:lnTo>
                    <a:pt x="3261" y="314"/>
                  </a:lnTo>
                  <a:lnTo>
                    <a:pt x="3264" y="301"/>
                  </a:lnTo>
                  <a:lnTo>
                    <a:pt x="3266" y="289"/>
                  </a:lnTo>
                  <a:lnTo>
                    <a:pt x="3268" y="277"/>
                  </a:lnTo>
                  <a:lnTo>
                    <a:pt x="3269" y="264"/>
                  </a:lnTo>
                  <a:lnTo>
                    <a:pt x="3269" y="251"/>
                  </a:lnTo>
                  <a:lnTo>
                    <a:pt x="3269" y="238"/>
                  </a:lnTo>
                  <a:lnTo>
                    <a:pt x="3268" y="226"/>
                  </a:lnTo>
                  <a:lnTo>
                    <a:pt x="3266" y="213"/>
                  </a:lnTo>
                  <a:lnTo>
                    <a:pt x="3264" y="201"/>
                  </a:lnTo>
                  <a:lnTo>
                    <a:pt x="3261" y="189"/>
                  </a:lnTo>
                  <a:lnTo>
                    <a:pt x="3258" y="177"/>
                  </a:lnTo>
                  <a:lnTo>
                    <a:pt x="3254" y="165"/>
                  </a:lnTo>
                  <a:lnTo>
                    <a:pt x="3249" y="154"/>
                  </a:lnTo>
                  <a:lnTo>
                    <a:pt x="3244" y="143"/>
                  </a:lnTo>
                  <a:lnTo>
                    <a:pt x="3239" y="132"/>
                  </a:lnTo>
                  <a:lnTo>
                    <a:pt x="3233" y="120"/>
                  </a:lnTo>
                  <a:lnTo>
                    <a:pt x="3226" y="110"/>
                  </a:lnTo>
                  <a:lnTo>
                    <a:pt x="3219" y="100"/>
                  </a:lnTo>
                  <a:lnTo>
                    <a:pt x="3212" y="91"/>
                  </a:lnTo>
                  <a:lnTo>
                    <a:pt x="3204" y="82"/>
                  </a:lnTo>
                  <a:lnTo>
                    <a:pt x="3196" y="73"/>
                  </a:lnTo>
                  <a:lnTo>
                    <a:pt x="3186" y="65"/>
                  </a:lnTo>
                  <a:lnTo>
                    <a:pt x="3177" y="57"/>
                  </a:lnTo>
                  <a:lnTo>
                    <a:pt x="3168" y="50"/>
                  </a:lnTo>
                  <a:lnTo>
                    <a:pt x="3158" y="43"/>
                  </a:lnTo>
                  <a:lnTo>
                    <a:pt x="3148" y="36"/>
                  </a:lnTo>
                  <a:lnTo>
                    <a:pt x="3137" y="30"/>
                  </a:lnTo>
                  <a:lnTo>
                    <a:pt x="3126" y="25"/>
                  </a:lnTo>
                  <a:lnTo>
                    <a:pt x="3115" y="20"/>
                  </a:lnTo>
                  <a:lnTo>
                    <a:pt x="3104" y="15"/>
                  </a:lnTo>
                  <a:lnTo>
                    <a:pt x="3092" y="11"/>
                  </a:lnTo>
                  <a:lnTo>
                    <a:pt x="3080" y="8"/>
                  </a:lnTo>
                  <a:lnTo>
                    <a:pt x="3068" y="5"/>
                  </a:lnTo>
                  <a:lnTo>
                    <a:pt x="3056" y="3"/>
                  </a:lnTo>
                  <a:lnTo>
                    <a:pt x="3044" y="1"/>
                  </a:lnTo>
                  <a:lnTo>
                    <a:pt x="3031" y="0"/>
                  </a:lnTo>
                  <a:lnTo>
                    <a:pt x="30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61" name="ïṩ1idè">
              <a:extLst>
                <a:ext uri="{FF2B5EF4-FFF2-40B4-BE49-F238E27FC236}">
                  <a16:creationId xmlns:a16="http://schemas.microsoft.com/office/drawing/2014/main" id="{8E3DD644-5F7D-4091-93D1-A1B27E05E529}"/>
                </a:ext>
              </a:extLst>
            </p:cNvPr>
            <p:cNvSpPr/>
            <p:nvPr/>
          </p:nvSpPr>
          <p:spPr bwMode="auto">
            <a:xfrm>
              <a:off x="5099405" y="280124"/>
              <a:ext cx="459652" cy="611928"/>
            </a:xfrm>
            <a:custGeom>
              <a:avLst/>
              <a:gdLst>
                <a:gd name="T0" fmla="*/ 10946 w 12062"/>
                <a:gd name="T1" fmla="*/ 12419 h 16058"/>
                <a:gd name="T2" fmla="*/ 10253 w 12062"/>
                <a:gd name="T3" fmla="*/ 13775 h 16058"/>
                <a:gd name="T4" fmla="*/ 9063 w 12062"/>
                <a:gd name="T5" fmla="*/ 14707 h 16058"/>
                <a:gd name="T6" fmla="*/ 7539 w 12062"/>
                <a:gd name="T7" fmla="*/ 15054 h 16058"/>
                <a:gd name="T8" fmla="*/ 3155 w 12062"/>
                <a:gd name="T9" fmla="*/ 14778 h 16058"/>
                <a:gd name="T10" fmla="*/ 1920 w 12062"/>
                <a:gd name="T11" fmla="*/ 13902 h 16058"/>
                <a:gd name="T12" fmla="*/ 1164 w 12062"/>
                <a:gd name="T13" fmla="*/ 12585 h 16058"/>
                <a:gd name="T14" fmla="*/ 1005 w 12062"/>
                <a:gd name="T15" fmla="*/ 9534 h 16058"/>
                <a:gd name="T16" fmla="*/ 1044 w 12062"/>
                <a:gd name="T17" fmla="*/ 7834 h 16058"/>
                <a:gd name="T18" fmla="*/ 1170 w 12062"/>
                <a:gd name="T19" fmla="*/ 7658 h 16058"/>
                <a:gd name="T20" fmla="*/ 1358 w 12062"/>
                <a:gd name="T21" fmla="*/ 7550 h 16058"/>
                <a:gd name="T22" fmla="*/ 10554 w 12062"/>
                <a:gd name="T23" fmla="*/ 7527 h 16058"/>
                <a:gd name="T24" fmla="*/ 10772 w 12062"/>
                <a:gd name="T25" fmla="*/ 7576 h 16058"/>
                <a:gd name="T26" fmla="*/ 10942 w 12062"/>
                <a:gd name="T27" fmla="*/ 7710 h 16058"/>
                <a:gd name="T28" fmla="*/ 11041 w 12062"/>
                <a:gd name="T29" fmla="*/ 7904 h 16058"/>
                <a:gd name="T30" fmla="*/ 8041 w 12062"/>
                <a:gd name="T31" fmla="*/ 6524 h 16058"/>
                <a:gd name="T32" fmla="*/ 4111 w 12062"/>
                <a:gd name="T33" fmla="*/ 3919 h 16058"/>
                <a:gd name="T34" fmla="*/ 4543 w 12062"/>
                <a:gd name="T35" fmla="*/ 3166 h 16058"/>
                <a:gd name="T36" fmla="*/ 5248 w 12062"/>
                <a:gd name="T37" fmla="*/ 2667 h 16058"/>
                <a:gd name="T38" fmla="*/ 6135 w 12062"/>
                <a:gd name="T39" fmla="*/ 2512 h 16058"/>
                <a:gd name="T40" fmla="*/ 6989 w 12062"/>
                <a:gd name="T41" fmla="*/ 2751 h 16058"/>
                <a:gd name="T42" fmla="*/ 7642 w 12062"/>
                <a:gd name="T43" fmla="*/ 3315 h 16058"/>
                <a:gd name="T44" fmla="*/ 8000 w 12062"/>
                <a:gd name="T45" fmla="*/ 4112 h 16058"/>
                <a:gd name="T46" fmla="*/ 2584 w 12062"/>
                <a:gd name="T47" fmla="*/ 3809 h 16058"/>
                <a:gd name="T48" fmla="*/ 3212 w 12062"/>
                <a:gd name="T49" fmla="*/ 2415 h 16058"/>
                <a:gd name="T50" fmla="*/ 4354 w 12062"/>
                <a:gd name="T51" fmla="*/ 1427 h 16058"/>
                <a:gd name="T52" fmla="*/ 5850 w 12062"/>
                <a:gd name="T53" fmla="*/ 1009 h 16058"/>
                <a:gd name="T54" fmla="*/ 7400 w 12062"/>
                <a:gd name="T55" fmla="*/ 1280 h 16058"/>
                <a:gd name="T56" fmla="*/ 8635 w 12062"/>
                <a:gd name="T57" fmla="*/ 2155 h 16058"/>
                <a:gd name="T58" fmla="*/ 9391 w 12062"/>
                <a:gd name="T59" fmla="*/ 3472 h 16058"/>
                <a:gd name="T60" fmla="*/ 8544 w 12062"/>
                <a:gd name="T61" fmla="*/ 4518 h 16058"/>
                <a:gd name="T62" fmla="*/ 8297 w 12062"/>
                <a:gd name="T63" fmla="*/ 3430 h 16058"/>
                <a:gd name="T64" fmla="*/ 7629 w 12062"/>
                <a:gd name="T65" fmla="*/ 2581 h 16058"/>
                <a:gd name="T66" fmla="*/ 6659 w 12062"/>
                <a:gd name="T67" fmla="*/ 2088 h 16058"/>
                <a:gd name="T68" fmla="*/ 5524 w 12062"/>
                <a:gd name="T69" fmla="*/ 2059 h 16058"/>
                <a:gd name="T70" fmla="*/ 4527 w 12062"/>
                <a:gd name="T71" fmla="*/ 2507 h 16058"/>
                <a:gd name="T72" fmla="*/ 3822 w 12062"/>
                <a:gd name="T73" fmla="*/ 3322 h 16058"/>
                <a:gd name="T74" fmla="*/ 3521 w 12062"/>
                <a:gd name="T75" fmla="*/ 4389 h 16058"/>
                <a:gd name="T76" fmla="*/ 10502 w 12062"/>
                <a:gd name="T77" fmla="*/ 3829 h 16058"/>
                <a:gd name="T78" fmla="*/ 9782 w 12062"/>
                <a:gd name="T79" fmla="*/ 1991 h 16058"/>
                <a:gd name="T80" fmla="*/ 8376 w 12062"/>
                <a:gd name="T81" fmla="*/ 653 h 16058"/>
                <a:gd name="T82" fmla="*/ 6493 w 12062"/>
                <a:gd name="T83" fmla="*/ 23 h 16058"/>
                <a:gd name="T84" fmla="*/ 4476 w 12062"/>
                <a:gd name="T85" fmla="*/ 274 h 16058"/>
                <a:gd name="T86" fmla="*/ 2833 w 12062"/>
                <a:gd name="T87" fmla="*/ 1323 h 16058"/>
                <a:gd name="T88" fmla="*/ 1782 w 12062"/>
                <a:gd name="T89" fmla="*/ 2964 h 16058"/>
                <a:gd name="T90" fmla="*/ 1430 w 12062"/>
                <a:gd name="T91" fmla="*/ 6526 h 16058"/>
                <a:gd name="T92" fmla="*/ 789 w 12062"/>
                <a:gd name="T93" fmla="*/ 6705 h 16058"/>
                <a:gd name="T94" fmla="*/ 300 w 12062"/>
                <a:gd name="T95" fmla="*/ 7129 h 16058"/>
                <a:gd name="T96" fmla="*/ 30 w 12062"/>
                <a:gd name="T97" fmla="*/ 7726 h 16058"/>
                <a:gd name="T98" fmla="*/ 6 w 12062"/>
                <a:gd name="T99" fmla="*/ 11775 h 16058"/>
                <a:gd name="T100" fmla="*/ 546 w 12062"/>
                <a:gd name="T101" fmla="*/ 13694 h 16058"/>
                <a:gd name="T102" fmla="*/ 1817 w 12062"/>
                <a:gd name="T103" fmla="*/ 15161 h 16058"/>
                <a:gd name="T104" fmla="*/ 3612 w 12062"/>
                <a:gd name="T105" fmla="*/ 15967 h 16058"/>
                <a:gd name="T106" fmla="*/ 8450 w 12062"/>
                <a:gd name="T107" fmla="*/ 15967 h 16058"/>
                <a:gd name="T108" fmla="*/ 10245 w 12062"/>
                <a:gd name="T109" fmla="*/ 15161 h 16058"/>
                <a:gd name="T110" fmla="*/ 11516 w 12062"/>
                <a:gd name="T111" fmla="*/ 13694 h 16058"/>
                <a:gd name="T112" fmla="*/ 12056 w 12062"/>
                <a:gd name="T113" fmla="*/ 11775 h 16058"/>
                <a:gd name="T114" fmla="*/ 12032 w 12062"/>
                <a:gd name="T115" fmla="*/ 7726 h 16058"/>
                <a:gd name="T116" fmla="*/ 11762 w 12062"/>
                <a:gd name="T117" fmla="*/ 7129 h 16058"/>
                <a:gd name="T118" fmla="*/ 11273 w 12062"/>
                <a:gd name="T119" fmla="*/ 6705 h 16058"/>
                <a:gd name="T120" fmla="*/ 10632 w 12062"/>
                <a:gd name="T121" fmla="*/ 6526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062" h="16058">
                  <a:moveTo>
                    <a:pt x="11057" y="9534"/>
                  </a:moveTo>
                  <a:lnTo>
                    <a:pt x="11057" y="10036"/>
                  </a:lnTo>
                  <a:lnTo>
                    <a:pt x="11057" y="11040"/>
                  </a:lnTo>
                  <a:lnTo>
                    <a:pt x="11057" y="11542"/>
                  </a:lnTo>
                  <a:lnTo>
                    <a:pt x="11052" y="11722"/>
                  </a:lnTo>
                  <a:lnTo>
                    <a:pt x="11039" y="11900"/>
                  </a:lnTo>
                  <a:lnTo>
                    <a:pt x="11017" y="12076"/>
                  </a:lnTo>
                  <a:lnTo>
                    <a:pt x="10985" y="12248"/>
                  </a:lnTo>
                  <a:lnTo>
                    <a:pt x="10946" y="12419"/>
                  </a:lnTo>
                  <a:lnTo>
                    <a:pt x="10898" y="12585"/>
                  </a:lnTo>
                  <a:lnTo>
                    <a:pt x="10843" y="12748"/>
                  </a:lnTo>
                  <a:lnTo>
                    <a:pt x="10780" y="12908"/>
                  </a:lnTo>
                  <a:lnTo>
                    <a:pt x="10709" y="13063"/>
                  </a:lnTo>
                  <a:lnTo>
                    <a:pt x="10632" y="13215"/>
                  </a:lnTo>
                  <a:lnTo>
                    <a:pt x="10547" y="13361"/>
                  </a:lnTo>
                  <a:lnTo>
                    <a:pt x="10455" y="13504"/>
                  </a:lnTo>
                  <a:lnTo>
                    <a:pt x="10357" y="13642"/>
                  </a:lnTo>
                  <a:lnTo>
                    <a:pt x="10253" y="13775"/>
                  </a:lnTo>
                  <a:lnTo>
                    <a:pt x="10142" y="13902"/>
                  </a:lnTo>
                  <a:lnTo>
                    <a:pt x="10026" y="14025"/>
                  </a:lnTo>
                  <a:lnTo>
                    <a:pt x="9903" y="14141"/>
                  </a:lnTo>
                  <a:lnTo>
                    <a:pt x="9775" y="14251"/>
                  </a:lnTo>
                  <a:lnTo>
                    <a:pt x="9643" y="14356"/>
                  </a:lnTo>
                  <a:lnTo>
                    <a:pt x="9504" y="14453"/>
                  </a:lnTo>
                  <a:lnTo>
                    <a:pt x="9361" y="14546"/>
                  </a:lnTo>
                  <a:lnTo>
                    <a:pt x="9214" y="14630"/>
                  </a:lnTo>
                  <a:lnTo>
                    <a:pt x="9063" y="14707"/>
                  </a:lnTo>
                  <a:lnTo>
                    <a:pt x="8907" y="14778"/>
                  </a:lnTo>
                  <a:lnTo>
                    <a:pt x="8747" y="14841"/>
                  </a:lnTo>
                  <a:lnTo>
                    <a:pt x="8583" y="14896"/>
                  </a:lnTo>
                  <a:lnTo>
                    <a:pt x="8416" y="14944"/>
                  </a:lnTo>
                  <a:lnTo>
                    <a:pt x="8246" y="14983"/>
                  </a:lnTo>
                  <a:lnTo>
                    <a:pt x="8073" y="15014"/>
                  </a:lnTo>
                  <a:lnTo>
                    <a:pt x="7898" y="15036"/>
                  </a:lnTo>
                  <a:lnTo>
                    <a:pt x="7720" y="15049"/>
                  </a:lnTo>
                  <a:lnTo>
                    <a:pt x="7539" y="15054"/>
                  </a:lnTo>
                  <a:lnTo>
                    <a:pt x="4523" y="15054"/>
                  </a:lnTo>
                  <a:lnTo>
                    <a:pt x="4342" y="15049"/>
                  </a:lnTo>
                  <a:lnTo>
                    <a:pt x="4164" y="15036"/>
                  </a:lnTo>
                  <a:lnTo>
                    <a:pt x="3989" y="15014"/>
                  </a:lnTo>
                  <a:lnTo>
                    <a:pt x="3816" y="14983"/>
                  </a:lnTo>
                  <a:lnTo>
                    <a:pt x="3645" y="14944"/>
                  </a:lnTo>
                  <a:lnTo>
                    <a:pt x="3478" y="14896"/>
                  </a:lnTo>
                  <a:lnTo>
                    <a:pt x="3315" y="14841"/>
                  </a:lnTo>
                  <a:lnTo>
                    <a:pt x="3155" y="14778"/>
                  </a:lnTo>
                  <a:lnTo>
                    <a:pt x="2999" y="14707"/>
                  </a:lnTo>
                  <a:lnTo>
                    <a:pt x="2848" y="14630"/>
                  </a:lnTo>
                  <a:lnTo>
                    <a:pt x="2701" y="14546"/>
                  </a:lnTo>
                  <a:lnTo>
                    <a:pt x="2558" y="14453"/>
                  </a:lnTo>
                  <a:lnTo>
                    <a:pt x="2419" y="14356"/>
                  </a:lnTo>
                  <a:lnTo>
                    <a:pt x="2287" y="14251"/>
                  </a:lnTo>
                  <a:lnTo>
                    <a:pt x="2159" y="14141"/>
                  </a:lnTo>
                  <a:lnTo>
                    <a:pt x="2036" y="14025"/>
                  </a:lnTo>
                  <a:lnTo>
                    <a:pt x="1920" y="13902"/>
                  </a:lnTo>
                  <a:lnTo>
                    <a:pt x="1809" y="13775"/>
                  </a:lnTo>
                  <a:lnTo>
                    <a:pt x="1705" y="13642"/>
                  </a:lnTo>
                  <a:lnTo>
                    <a:pt x="1607" y="13504"/>
                  </a:lnTo>
                  <a:lnTo>
                    <a:pt x="1515" y="13361"/>
                  </a:lnTo>
                  <a:lnTo>
                    <a:pt x="1430" y="13215"/>
                  </a:lnTo>
                  <a:lnTo>
                    <a:pt x="1353" y="13063"/>
                  </a:lnTo>
                  <a:lnTo>
                    <a:pt x="1282" y="12908"/>
                  </a:lnTo>
                  <a:lnTo>
                    <a:pt x="1219" y="12748"/>
                  </a:lnTo>
                  <a:lnTo>
                    <a:pt x="1164" y="12585"/>
                  </a:lnTo>
                  <a:lnTo>
                    <a:pt x="1116" y="12419"/>
                  </a:lnTo>
                  <a:lnTo>
                    <a:pt x="1077" y="12248"/>
                  </a:lnTo>
                  <a:lnTo>
                    <a:pt x="1045" y="12076"/>
                  </a:lnTo>
                  <a:lnTo>
                    <a:pt x="1023" y="11900"/>
                  </a:lnTo>
                  <a:lnTo>
                    <a:pt x="1010" y="11722"/>
                  </a:lnTo>
                  <a:lnTo>
                    <a:pt x="1005" y="11542"/>
                  </a:lnTo>
                  <a:lnTo>
                    <a:pt x="1005" y="11040"/>
                  </a:lnTo>
                  <a:lnTo>
                    <a:pt x="1005" y="10036"/>
                  </a:lnTo>
                  <a:lnTo>
                    <a:pt x="1005" y="9534"/>
                  </a:lnTo>
                  <a:lnTo>
                    <a:pt x="1005" y="8029"/>
                  </a:lnTo>
                  <a:lnTo>
                    <a:pt x="1006" y="8003"/>
                  </a:lnTo>
                  <a:lnTo>
                    <a:pt x="1008" y="7978"/>
                  </a:lnTo>
                  <a:lnTo>
                    <a:pt x="1011" y="7953"/>
                  </a:lnTo>
                  <a:lnTo>
                    <a:pt x="1015" y="7928"/>
                  </a:lnTo>
                  <a:lnTo>
                    <a:pt x="1021" y="7904"/>
                  </a:lnTo>
                  <a:lnTo>
                    <a:pt x="1027" y="7879"/>
                  </a:lnTo>
                  <a:lnTo>
                    <a:pt x="1035" y="7856"/>
                  </a:lnTo>
                  <a:lnTo>
                    <a:pt x="1044" y="7834"/>
                  </a:lnTo>
                  <a:lnTo>
                    <a:pt x="1054" y="7811"/>
                  </a:lnTo>
                  <a:lnTo>
                    <a:pt x="1065" y="7790"/>
                  </a:lnTo>
                  <a:lnTo>
                    <a:pt x="1078" y="7769"/>
                  </a:lnTo>
                  <a:lnTo>
                    <a:pt x="1091" y="7749"/>
                  </a:lnTo>
                  <a:lnTo>
                    <a:pt x="1105" y="7729"/>
                  </a:lnTo>
                  <a:lnTo>
                    <a:pt x="1120" y="7710"/>
                  </a:lnTo>
                  <a:lnTo>
                    <a:pt x="1136" y="7692"/>
                  </a:lnTo>
                  <a:lnTo>
                    <a:pt x="1152" y="7675"/>
                  </a:lnTo>
                  <a:lnTo>
                    <a:pt x="1170" y="7658"/>
                  </a:lnTo>
                  <a:lnTo>
                    <a:pt x="1188" y="7642"/>
                  </a:lnTo>
                  <a:lnTo>
                    <a:pt x="1207" y="7627"/>
                  </a:lnTo>
                  <a:lnTo>
                    <a:pt x="1226" y="7612"/>
                  </a:lnTo>
                  <a:lnTo>
                    <a:pt x="1247" y="7599"/>
                  </a:lnTo>
                  <a:lnTo>
                    <a:pt x="1269" y="7587"/>
                  </a:lnTo>
                  <a:lnTo>
                    <a:pt x="1290" y="7576"/>
                  </a:lnTo>
                  <a:lnTo>
                    <a:pt x="1312" y="7566"/>
                  </a:lnTo>
                  <a:lnTo>
                    <a:pt x="1335" y="7557"/>
                  </a:lnTo>
                  <a:lnTo>
                    <a:pt x="1358" y="7550"/>
                  </a:lnTo>
                  <a:lnTo>
                    <a:pt x="1382" y="7543"/>
                  </a:lnTo>
                  <a:lnTo>
                    <a:pt x="1406" y="7537"/>
                  </a:lnTo>
                  <a:lnTo>
                    <a:pt x="1431" y="7533"/>
                  </a:lnTo>
                  <a:lnTo>
                    <a:pt x="1456" y="7530"/>
                  </a:lnTo>
                  <a:lnTo>
                    <a:pt x="1482" y="7528"/>
                  </a:lnTo>
                  <a:lnTo>
                    <a:pt x="1508" y="7527"/>
                  </a:lnTo>
                  <a:lnTo>
                    <a:pt x="2513" y="7527"/>
                  </a:lnTo>
                  <a:lnTo>
                    <a:pt x="9549" y="7527"/>
                  </a:lnTo>
                  <a:lnTo>
                    <a:pt x="10554" y="7527"/>
                  </a:lnTo>
                  <a:lnTo>
                    <a:pt x="10580" y="7528"/>
                  </a:lnTo>
                  <a:lnTo>
                    <a:pt x="10606" y="7530"/>
                  </a:lnTo>
                  <a:lnTo>
                    <a:pt x="10631" y="7533"/>
                  </a:lnTo>
                  <a:lnTo>
                    <a:pt x="10656" y="7537"/>
                  </a:lnTo>
                  <a:lnTo>
                    <a:pt x="10680" y="7543"/>
                  </a:lnTo>
                  <a:lnTo>
                    <a:pt x="10704" y="7550"/>
                  </a:lnTo>
                  <a:lnTo>
                    <a:pt x="10727" y="7557"/>
                  </a:lnTo>
                  <a:lnTo>
                    <a:pt x="10750" y="7566"/>
                  </a:lnTo>
                  <a:lnTo>
                    <a:pt x="10772" y="7576"/>
                  </a:lnTo>
                  <a:lnTo>
                    <a:pt x="10793" y="7587"/>
                  </a:lnTo>
                  <a:lnTo>
                    <a:pt x="10815" y="7599"/>
                  </a:lnTo>
                  <a:lnTo>
                    <a:pt x="10836" y="7612"/>
                  </a:lnTo>
                  <a:lnTo>
                    <a:pt x="10855" y="7627"/>
                  </a:lnTo>
                  <a:lnTo>
                    <a:pt x="10874" y="7642"/>
                  </a:lnTo>
                  <a:lnTo>
                    <a:pt x="10892" y="7658"/>
                  </a:lnTo>
                  <a:lnTo>
                    <a:pt x="10909" y="7675"/>
                  </a:lnTo>
                  <a:lnTo>
                    <a:pt x="10926" y="7692"/>
                  </a:lnTo>
                  <a:lnTo>
                    <a:pt x="10942" y="7710"/>
                  </a:lnTo>
                  <a:lnTo>
                    <a:pt x="10957" y="7729"/>
                  </a:lnTo>
                  <a:lnTo>
                    <a:pt x="10971" y="7749"/>
                  </a:lnTo>
                  <a:lnTo>
                    <a:pt x="10984" y="7769"/>
                  </a:lnTo>
                  <a:lnTo>
                    <a:pt x="10997" y="7790"/>
                  </a:lnTo>
                  <a:lnTo>
                    <a:pt x="11008" y="7811"/>
                  </a:lnTo>
                  <a:lnTo>
                    <a:pt x="11018" y="7834"/>
                  </a:lnTo>
                  <a:lnTo>
                    <a:pt x="11027" y="7856"/>
                  </a:lnTo>
                  <a:lnTo>
                    <a:pt x="11035" y="7879"/>
                  </a:lnTo>
                  <a:lnTo>
                    <a:pt x="11041" y="7904"/>
                  </a:lnTo>
                  <a:lnTo>
                    <a:pt x="11047" y="7928"/>
                  </a:lnTo>
                  <a:lnTo>
                    <a:pt x="11051" y="7953"/>
                  </a:lnTo>
                  <a:lnTo>
                    <a:pt x="11054" y="7978"/>
                  </a:lnTo>
                  <a:lnTo>
                    <a:pt x="11056" y="8003"/>
                  </a:lnTo>
                  <a:lnTo>
                    <a:pt x="11057" y="8029"/>
                  </a:lnTo>
                  <a:lnTo>
                    <a:pt x="11057" y="9534"/>
                  </a:lnTo>
                  <a:close/>
                  <a:moveTo>
                    <a:pt x="8041" y="4516"/>
                  </a:moveTo>
                  <a:lnTo>
                    <a:pt x="8041" y="4518"/>
                  </a:lnTo>
                  <a:lnTo>
                    <a:pt x="8041" y="6524"/>
                  </a:lnTo>
                  <a:lnTo>
                    <a:pt x="4021" y="6524"/>
                  </a:lnTo>
                  <a:lnTo>
                    <a:pt x="4021" y="4518"/>
                  </a:lnTo>
                  <a:lnTo>
                    <a:pt x="4021" y="4516"/>
                  </a:lnTo>
                  <a:lnTo>
                    <a:pt x="4024" y="4413"/>
                  </a:lnTo>
                  <a:lnTo>
                    <a:pt x="4031" y="4312"/>
                  </a:lnTo>
                  <a:lnTo>
                    <a:pt x="4044" y="4210"/>
                  </a:lnTo>
                  <a:lnTo>
                    <a:pt x="4062" y="4112"/>
                  </a:lnTo>
                  <a:lnTo>
                    <a:pt x="4084" y="4015"/>
                  </a:lnTo>
                  <a:lnTo>
                    <a:pt x="4111" y="3919"/>
                  </a:lnTo>
                  <a:lnTo>
                    <a:pt x="4142" y="3826"/>
                  </a:lnTo>
                  <a:lnTo>
                    <a:pt x="4178" y="3735"/>
                  </a:lnTo>
                  <a:lnTo>
                    <a:pt x="4219" y="3646"/>
                  </a:lnTo>
                  <a:lnTo>
                    <a:pt x="4263" y="3560"/>
                  </a:lnTo>
                  <a:lnTo>
                    <a:pt x="4312" y="3476"/>
                  </a:lnTo>
                  <a:lnTo>
                    <a:pt x="4364" y="3394"/>
                  </a:lnTo>
                  <a:lnTo>
                    <a:pt x="4420" y="3315"/>
                  </a:lnTo>
                  <a:lnTo>
                    <a:pt x="4480" y="3240"/>
                  </a:lnTo>
                  <a:lnTo>
                    <a:pt x="4543" y="3166"/>
                  </a:lnTo>
                  <a:lnTo>
                    <a:pt x="4610" y="3097"/>
                  </a:lnTo>
                  <a:lnTo>
                    <a:pt x="4679" y="3031"/>
                  </a:lnTo>
                  <a:lnTo>
                    <a:pt x="4752" y="2968"/>
                  </a:lnTo>
                  <a:lnTo>
                    <a:pt x="4828" y="2908"/>
                  </a:lnTo>
                  <a:lnTo>
                    <a:pt x="4907" y="2852"/>
                  </a:lnTo>
                  <a:lnTo>
                    <a:pt x="4989" y="2800"/>
                  </a:lnTo>
                  <a:lnTo>
                    <a:pt x="5073" y="2751"/>
                  </a:lnTo>
                  <a:lnTo>
                    <a:pt x="5160" y="2707"/>
                  </a:lnTo>
                  <a:lnTo>
                    <a:pt x="5248" y="2667"/>
                  </a:lnTo>
                  <a:lnTo>
                    <a:pt x="5339" y="2631"/>
                  </a:lnTo>
                  <a:lnTo>
                    <a:pt x="5433" y="2599"/>
                  </a:lnTo>
                  <a:lnTo>
                    <a:pt x="5528" y="2572"/>
                  </a:lnTo>
                  <a:lnTo>
                    <a:pt x="5626" y="2550"/>
                  </a:lnTo>
                  <a:lnTo>
                    <a:pt x="5724" y="2532"/>
                  </a:lnTo>
                  <a:lnTo>
                    <a:pt x="5825" y="2519"/>
                  </a:lnTo>
                  <a:lnTo>
                    <a:pt x="5927" y="2512"/>
                  </a:lnTo>
                  <a:lnTo>
                    <a:pt x="6031" y="2509"/>
                  </a:lnTo>
                  <a:lnTo>
                    <a:pt x="6135" y="2512"/>
                  </a:lnTo>
                  <a:lnTo>
                    <a:pt x="6236" y="2519"/>
                  </a:lnTo>
                  <a:lnTo>
                    <a:pt x="6338" y="2532"/>
                  </a:lnTo>
                  <a:lnTo>
                    <a:pt x="6436" y="2550"/>
                  </a:lnTo>
                  <a:lnTo>
                    <a:pt x="6534" y="2572"/>
                  </a:lnTo>
                  <a:lnTo>
                    <a:pt x="6629" y="2599"/>
                  </a:lnTo>
                  <a:lnTo>
                    <a:pt x="6723" y="2631"/>
                  </a:lnTo>
                  <a:lnTo>
                    <a:pt x="6813" y="2667"/>
                  </a:lnTo>
                  <a:lnTo>
                    <a:pt x="6902" y="2707"/>
                  </a:lnTo>
                  <a:lnTo>
                    <a:pt x="6989" y="2751"/>
                  </a:lnTo>
                  <a:lnTo>
                    <a:pt x="7073" y="2800"/>
                  </a:lnTo>
                  <a:lnTo>
                    <a:pt x="7155" y="2852"/>
                  </a:lnTo>
                  <a:lnTo>
                    <a:pt x="7234" y="2908"/>
                  </a:lnTo>
                  <a:lnTo>
                    <a:pt x="7310" y="2968"/>
                  </a:lnTo>
                  <a:lnTo>
                    <a:pt x="7383" y="3031"/>
                  </a:lnTo>
                  <a:lnTo>
                    <a:pt x="7452" y="3097"/>
                  </a:lnTo>
                  <a:lnTo>
                    <a:pt x="7519" y="3166"/>
                  </a:lnTo>
                  <a:lnTo>
                    <a:pt x="7582" y="3240"/>
                  </a:lnTo>
                  <a:lnTo>
                    <a:pt x="7642" y="3315"/>
                  </a:lnTo>
                  <a:lnTo>
                    <a:pt x="7698" y="3394"/>
                  </a:lnTo>
                  <a:lnTo>
                    <a:pt x="7750" y="3476"/>
                  </a:lnTo>
                  <a:lnTo>
                    <a:pt x="7799" y="3560"/>
                  </a:lnTo>
                  <a:lnTo>
                    <a:pt x="7843" y="3646"/>
                  </a:lnTo>
                  <a:lnTo>
                    <a:pt x="7884" y="3735"/>
                  </a:lnTo>
                  <a:lnTo>
                    <a:pt x="7920" y="3826"/>
                  </a:lnTo>
                  <a:lnTo>
                    <a:pt x="7951" y="3919"/>
                  </a:lnTo>
                  <a:lnTo>
                    <a:pt x="7978" y="4015"/>
                  </a:lnTo>
                  <a:lnTo>
                    <a:pt x="8000" y="4112"/>
                  </a:lnTo>
                  <a:lnTo>
                    <a:pt x="8018" y="4210"/>
                  </a:lnTo>
                  <a:lnTo>
                    <a:pt x="8031" y="4312"/>
                  </a:lnTo>
                  <a:lnTo>
                    <a:pt x="8038" y="4413"/>
                  </a:lnTo>
                  <a:lnTo>
                    <a:pt x="8041" y="4516"/>
                  </a:lnTo>
                  <a:close/>
                  <a:moveTo>
                    <a:pt x="2513" y="4516"/>
                  </a:moveTo>
                  <a:lnTo>
                    <a:pt x="2517" y="4336"/>
                  </a:lnTo>
                  <a:lnTo>
                    <a:pt x="2531" y="4157"/>
                  </a:lnTo>
                  <a:lnTo>
                    <a:pt x="2553" y="3981"/>
                  </a:lnTo>
                  <a:lnTo>
                    <a:pt x="2584" y="3809"/>
                  </a:lnTo>
                  <a:lnTo>
                    <a:pt x="2623" y="3638"/>
                  </a:lnTo>
                  <a:lnTo>
                    <a:pt x="2671" y="3472"/>
                  </a:lnTo>
                  <a:lnTo>
                    <a:pt x="2726" y="3309"/>
                  </a:lnTo>
                  <a:lnTo>
                    <a:pt x="2789" y="3149"/>
                  </a:lnTo>
                  <a:lnTo>
                    <a:pt x="2860" y="2994"/>
                  </a:lnTo>
                  <a:lnTo>
                    <a:pt x="2937" y="2842"/>
                  </a:lnTo>
                  <a:lnTo>
                    <a:pt x="3023" y="2695"/>
                  </a:lnTo>
                  <a:lnTo>
                    <a:pt x="3114" y="2552"/>
                  </a:lnTo>
                  <a:lnTo>
                    <a:pt x="3212" y="2415"/>
                  </a:lnTo>
                  <a:lnTo>
                    <a:pt x="3316" y="2282"/>
                  </a:lnTo>
                  <a:lnTo>
                    <a:pt x="3427" y="2155"/>
                  </a:lnTo>
                  <a:lnTo>
                    <a:pt x="3543" y="2032"/>
                  </a:lnTo>
                  <a:lnTo>
                    <a:pt x="3666" y="1916"/>
                  </a:lnTo>
                  <a:lnTo>
                    <a:pt x="3793" y="1806"/>
                  </a:lnTo>
                  <a:lnTo>
                    <a:pt x="3926" y="1701"/>
                  </a:lnTo>
                  <a:lnTo>
                    <a:pt x="4064" y="1604"/>
                  </a:lnTo>
                  <a:lnTo>
                    <a:pt x="4207" y="1512"/>
                  </a:lnTo>
                  <a:lnTo>
                    <a:pt x="4354" y="1427"/>
                  </a:lnTo>
                  <a:lnTo>
                    <a:pt x="4505" y="1350"/>
                  </a:lnTo>
                  <a:lnTo>
                    <a:pt x="4662" y="1280"/>
                  </a:lnTo>
                  <a:lnTo>
                    <a:pt x="4821" y="1216"/>
                  </a:lnTo>
                  <a:lnTo>
                    <a:pt x="4985" y="1161"/>
                  </a:lnTo>
                  <a:lnTo>
                    <a:pt x="5151" y="1114"/>
                  </a:lnTo>
                  <a:lnTo>
                    <a:pt x="5322" y="1075"/>
                  </a:lnTo>
                  <a:lnTo>
                    <a:pt x="5495" y="1044"/>
                  </a:lnTo>
                  <a:lnTo>
                    <a:pt x="5671" y="1022"/>
                  </a:lnTo>
                  <a:lnTo>
                    <a:pt x="5850" y="1009"/>
                  </a:lnTo>
                  <a:lnTo>
                    <a:pt x="6031" y="1004"/>
                  </a:lnTo>
                  <a:lnTo>
                    <a:pt x="6212" y="1009"/>
                  </a:lnTo>
                  <a:lnTo>
                    <a:pt x="6391" y="1022"/>
                  </a:lnTo>
                  <a:lnTo>
                    <a:pt x="6567" y="1044"/>
                  </a:lnTo>
                  <a:lnTo>
                    <a:pt x="6740" y="1075"/>
                  </a:lnTo>
                  <a:lnTo>
                    <a:pt x="6911" y="1114"/>
                  </a:lnTo>
                  <a:lnTo>
                    <a:pt x="7077" y="1161"/>
                  </a:lnTo>
                  <a:lnTo>
                    <a:pt x="7240" y="1216"/>
                  </a:lnTo>
                  <a:lnTo>
                    <a:pt x="7400" y="1280"/>
                  </a:lnTo>
                  <a:lnTo>
                    <a:pt x="7556" y="1350"/>
                  </a:lnTo>
                  <a:lnTo>
                    <a:pt x="7708" y="1427"/>
                  </a:lnTo>
                  <a:lnTo>
                    <a:pt x="7855" y="1512"/>
                  </a:lnTo>
                  <a:lnTo>
                    <a:pt x="7998" y="1604"/>
                  </a:lnTo>
                  <a:lnTo>
                    <a:pt x="8136" y="1701"/>
                  </a:lnTo>
                  <a:lnTo>
                    <a:pt x="8269" y="1806"/>
                  </a:lnTo>
                  <a:lnTo>
                    <a:pt x="8396" y="1916"/>
                  </a:lnTo>
                  <a:lnTo>
                    <a:pt x="8519" y="2032"/>
                  </a:lnTo>
                  <a:lnTo>
                    <a:pt x="8635" y="2155"/>
                  </a:lnTo>
                  <a:lnTo>
                    <a:pt x="8746" y="2282"/>
                  </a:lnTo>
                  <a:lnTo>
                    <a:pt x="8850" y="2415"/>
                  </a:lnTo>
                  <a:lnTo>
                    <a:pt x="8948" y="2552"/>
                  </a:lnTo>
                  <a:lnTo>
                    <a:pt x="9039" y="2695"/>
                  </a:lnTo>
                  <a:lnTo>
                    <a:pt x="9125" y="2842"/>
                  </a:lnTo>
                  <a:lnTo>
                    <a:pt x="9202" y="2994"/>
                  </a:lnTo>
                  <a:lnTo>
                    <a:pt x="9273" y="3149"/>
                  </a:lnTo>
                  <a:lnTo>
                    <a:pt x="9336" y="3309"/>
                  </a:lnTo>
                  <a:lnTo>
                    <a:pt x="9391" y="3472"/>
                  </a:lnTo>
                  <a:lnTo>
                    <a:pt x="9439" y="3638"/>
                  </a:lnTo>
                  <a:lnTo>
                    <a:pt x="9478" y="3809"/>
                  </a:lnTo>
                  <a:lnTo>
                    <a:pt x="9509" y="3981"/>
                  </a:lnTo>
                  <a:lnTo>
                    <a:pt x="9531" y="4157"/>
                  </a:lnTo>
                  <a:lnTo>
                    <a:pt x="9544" y="4336"/>
                  </a:lnTo>
                  <a:lnTo>
                    <a:pt x="9549" y="4516"/>
                  </a:lnTo>
                  <a:lnTo>
                    <a:pt x="9549" y="6524"/>
                  </a:lnTo>
                  <a:lnTo>
                    <a:pt x="8544" y="6524"/>
                  </a:lnTo>
                  <a:lnTo>
                    <a:pt x="8544" y="4518"/>
                  </a:lnTo>
                  <a:lnTo>
                    <a:pt x="8541" y="4389"/>
                  </a:lnTo>
                  <a:lnTo>
                    <a:pt x="8531" y="4261"/>
                  </a:lnTo>
                  <a:lnTo>
                    <a:pt x="8515" y="4136"/>
                  </a:lnTo>
                  <a:lnTo>
                    <a:pt x="8493" y="4012"/>
                  </a:lnTo>
                  <a:lnTo>
                    <a:pt x="8465" y="3891"/>
                  </a:lnTo>
                  <a:lnTo>
                    <a:pt x="8431" y="3772"/>
                  </a:lnTo>
                  <a:lnTo>
                    <a:pt x="8391" y="3655"/>
                  </a:lnTo>
                  <a:lnTo>
                    <a:pt x="8347" y="3541"/>
                  </a:lnTo>
                  <a:lnTo>
                    <a:pt x="8297" y="3430"/>
                  </a:lnTo>
                  <a:lnTo>
                    <a:pt x="8240" y="3322"/>
                  </a:lnTo>
                  <a:lnTo>
                    <a:pt x="8180" y="3217"/>
                  </a:lnTo>
                  <a:lnTo>
                    <a:pt x="8115" y="3115"/>
                  </a:lnTo>
                  <a:lnTo>
                    <a:pt x="8044" y="3017"/>
                  </a:lnTo>
                  <a:lnTo>
                    <a:pt x="7970" y="2922"/>
                  </a:lnTo>
                  <a:lnTo>
                    <a:pt x="7892" y="2830"/>
                  </a:lnTo>
                  <a:lnTo>
                    <a:pt x="7808" y="2744"/>
                  </a:lnTo>
                  <a:lnTo>
                    <a:pt x="7721" y="2661"/>
                  </a:lnTo>
                  <a:lnTo>
                    <a:pt x="7629" y="2581"/>
                  </a:lnTo>
                  <a:lnTo>
                    <a:pt x="7535" y="2507"/>
                  </a:lnTo>
                  <a:lnTo>
                    <a:pt x="7436" y="2437"/>
                  </a:lnTo>
                  <a:lnTo>
                    <a:pt x="7334" y="2372"/>
                  </a:lnTo>
                  <a:lnTo>
                    <a:pt x="7229" y="2311"/>
                  </a:lnTo>
                  <a:lnTo>
                    <a:pt x="7121" y="2256"/>
                  </a:lnTo>
                  <a:lnTo>
                    <a:pt x="7009" y="2206"/>
                  </a:lnTo>
                  <a:lnTo>
                    <a:pt x="6895" y="2161"/>
                  </a:lnTo>
                  <a:lnTo>
                    <a:pt x="6779" y="2122"/>
                  </a:lnTo>
                  <a:lnTo>
                    <a:pt x="6659" y="2088"/>
                  </a:lnTo>
                  <a:lnTo>
                    <a:pt x="6538" y="2059"/>
                  </a:lnTo>
                  <a:lnTo>
                    <a:pt x="6414" y="2037"/>
                  </a:lnTo>
                  <a:lnTo>
                    <a:pt x="6288" y="2021"/>
                  </a:lnTo>
                  <a:lnTo>
                    <a:pt x="6161" y="2012"/>
                  </a:lnTo>
                  <a:lnTo>
                    <a:pt x="6031" y="2009"/>
                  </a:lnTo>
                  <a:lnTo>
                    <a:pt x="5901" y="2012"/>
                  </a:lnTo>
                  <a:lnTo>
                    <a:pt x="5774" y="2021"/>
                  </a:lnTo>
                  <a:lnTo>
                    <a:pt x="5648" y="2037"/>
                  </a:lnTo>
                  <a:lnTo>
                    <a:pt x="5524" y="2059"/>
                  </a:lnTo>
                  <a:lnTo>
                    <a:pt x="5403" y="2088"/>
                  </a:lnTo>
                  <a:lnTo>
                    <a:pt x="5283" y="2122"/>
                  </a:lnTo>
                  <a:lnTo>
                    <a:pt x="5167" y="2161"/>
                  </a:lnTo>
                  <a:lnTo>
                    <a:pt x="5053" y="2206"/>
                  </a:lnTo>
                  <a:lnTo>
                    <a:pt x="4941" y="2256"/>
                  </a:lnTo>
                  <a:lnTo>
                    <a:pt x="4833" y="2311"/>
                  </a:lnTo>
                  <a:lnTo>
                    <a:pt x="4727" y="2372"/>
                  </a:lnTo>
                  <a:lnTo>
                    <a:pt x="4626" y="2437"/>
                  </a:lnTo>
                  <a:lnTo>
                    <a:pt x="4527" y="2507"/>
                  </a:lnTo>
                  <a:lnTo>
                    <a:pt x="4433" y="2581"/>
                  </a:lnTo>
                  <a:lnTo>
                    <a:pt x="4341" y="2661"/>
                  </a:lnTo>
                  <a:lnTo>
                    <a:pt x="4254" y="2744"/>
                  </a:lnTo>
                  <a:lnTo>
                    <a:pt x="4170" y="2830"/>
                  </a:lnTo>
                  <a:lnTo>
                    <a:pt x="4092" y="2922"/>
                  </a:lnTo>
                  <a:lnTo>
                    <a:pt x="4017" y="3017"/>
                  </a:lnTo>
                  <a:lnTo>
                    <a:pt x="3947" y="3115"/>
                  </a:lnTo>
                  <a:lnTo>
                    <a:pt x="3882" y="3217"/>
                  </a:lnTo>
                  <a:lnTo>
                    <a:pt x="3822" y="3322"/>
                  </a:lnTo>
                  <a:lnTo>
                    <a:pt x="3765" y="3430"/>
                  </a:lnTo>
                  <a:lnTo>
                    <a:pt x="3715" y="3541"/>
                  </a:lnTo>
                  <a:lnTo>
                    <a:pt x="3671" y="3655"/>
                  </a:lnTo>
                  <a:lnTo>
                    <a:pt x="3631" y="3772"/>
                  </a:lnTo>
                  <a:lnTo>
                    <a:pt x="3597" y="3891"/>
                  </a:lnTo>
                  <a:lnTo>
                    <a:pt x="3569" y="4012"/>
                  </a:lnTo>
                  <a:lnTo>
                    <a:pt x="3547" y="4136"/>
                  </a:lnTo>
                  <a:lnTo>
                    <a:pt x="3531" y="4261"/>
                  </a:lnTo>
                  <a:lnTo>
                    <a:pt x="3521" y="4389"/>
                  </a:lnTo>
                  <a:lnTo>
                    <a:pt x="3518" y="4518"/>
                  </a:lnTo>
                  <a:lnTo>
                    <a:pt x="3518" y="6524"/>
                  </a:lnTo>
                  <a:lnTo>
                    <a:pt x="2513" y="6524"/>
                  </a:lnTo>
                  <a:lnTo>
                    <a:pt x="2513" y="4516"/>
                  </a:lnTo>
                  <a:close/>
                  <a:moveTo>
                    <a:pt x="10554" y="6524"/>
                  </a:moveTo>
                  <a:lnTo>
                    <a:pt x="10554" y="4516"/>
                  </a:lnTo>
                  <a:lnTo>
                    <a:pt x="10548" y="4283"/>
                  </a:lnTo>
                  <a:lnTo>
                    <a:pt x="10531" y="4055"/>
                  </a:lnTo>
                  <a:lnTo>
                    <a:pt x="10502" y="3829"/>
                  </a:lnTo>
                  <a:lnTo>
                    <a:pt x="10463" y="3606"/>
                  </a:lnTo>
                  <a:lnTo>
                    <a:pt x="10412" y="3387"/>
                  </a:lnTo>
                  <a:lnTo>
                    <a:pt x="10351" y="3173"/>
                  </a:lnTo>
                  <a:lnTo>
                    <a:pt x="10280" y="2964"/>
                  </a:lnTo>
                  <a:lnTo>
                    <a:pt x="10198" y="2758"/>
                  </a:lnTo>
                  <a:lnTo>
                    <a:pt x="10108" y="2558"/>
                  </a:lnTo>
                  <a:lnTo>
                    <a:pt x="10008" y="2364"/>
                  </a:lnTo>
                  <a:lnTo>
                    <a:pt x="9900" y="2175"/>
                  </a:lnTo>
                  <a:lnTo>
                    <a:pt x="9782" y="1991"/>
                  </a:lnTo>
                  <a:lnTo>
                    <a:pt x="9656" y="1815"/>
                  </a:lnTo>
                  <a:lnTo>
                    <a:pt x="9521" y="1643"/>
                  </a:lnTo>
                  <a:lnTo>
                    <a:pt x="9379" y="1479"/>
                  </a:lnTo>
                  <a:lnTo>
                    <a:pt x="9229" y="1323"/>
                  </a:lnTo>
                  <a:lnTo>
                    <a:pt x="9073" y="1173"/>
                  </a:lnTo>
                  <a:lnTo>
                    <a:pt x="8908" y="1032"/>
                  </a:lnTo>
                  <a:lnTo>
                    <a:pt x="8737" y="897"/>
                  </a:lnTo>
                  <a:lnTo>
                    <a:pt x="8560" y="771"/>
                  </a:lnTo>
                  <a:lnTo>
                    <a:pt x="8376" y="653"/>
                  </a:lnTo>
                  <a:lnTo>
                    <a:pt x="8187" y="545"/>
                  </a:lnTo>
                  <a:lnTo>
                    <a:pt x="7992" y="446"/>
                  </a:lnTo>
                  <a:lnTo>
                    <a:pt x="7792" y="355"/>
                  </a:lnTo>
                  <a:lnTo>
                    <a:pt x="7586" y="274"/>
                  </a:lnTo>
                  <a:lnTo>
                    <a:pt x="7376" y="203"/>
                  </a:lnTo>
                  <a:lnTo>
                    <a:pt x="7162" y="143"/>
                  </a:lnTo>
                  <a:lnTo>
                    <a:pt x="6943" y="91"/>
                  </a:lnTo>
                  <a:lnTo>
                    <a:pt x="6720" y="52"/>
                  </a:lnTo>
                  <a:lnTo>
                    <a:pt x="6493" y="23"/>
                  </a:lnTo>
                  <a:lnTo>
                    <a:pt x="6264" y="6"/>
                  </a:lnTo>
                  <a:lnTo>
                    <a:pt x="6031" y="0"/>
                  </a:lnTo>
                  <a:lnTo>
                    <a:pt x="5798" y="6"/>
                  </a:lnTo>
                  <a:lnTo>
                    <a:pt x="5569" y="23"/>
                  </a:lnTo>
                  <a:lnTo>
                    <a:pt x="5342" y="52"/>
                  </a:lnTo>
                  <a:lnTo>
                    <a:pt x="5119" y="91"/>
                  </a:lnTo>
                  <a:lnTo>
                    <a:pt x="4900" y="143"/>
                  </a:lnTo>
                  <a:lnTo>
                    <a:pt x="4686" y="203"/>
                  </a:lnTo>
                  <a:lnTo>
                    <a:pt x="4476" y="274"/>
                  </a:lnTo>
                  <a:lnTo>
                    <a:pt x="4270" y="355"/>
                  </a:lnTo>
                  <a:lnTo>
                    <a:pt x="4070" y="446"/>
                  </a:lnTo>
                  <a:lnTo>
                    <a:pt x="3875" y="545"/>
                  </a:lnTo>
                  <a:lnTo>
                    <a:pt x="3685" y="653"/>
                  </a:lnTo>
                  <a:lnTo>
                    <a:pt x="3502" y="771"/>
                  </a:lnTo>
                  <a:lnTo>
                    <a:pt x="3324" y="897"/>
                  </a:lnTo>
                  <a:lnTo>
                    <a:pt x="3153" y="1032"/>
                  </a:lnTo>
                  <a:lnTo>
                    <a:pt x="2989" y="1173"/>
                  </a:lnTo>
                  <a:lnTo>
                    <a:pt x="2833" y="1323"/>
                  </a:lnTo>
                  <a:lnTo>
                    <a:pt x="2683" y="1479"/>
                  </a:lnTo>
                  <a:lnTo>
                    <a:pt x="2540" y="1643"/>
                  </a:lnTo>
                  <a:lnTo>
                    <a:pt x="2406" y="1815"/>
                  </a:lnTo>
                  <a:lnTo>
                    <a:pt x="2280" y="1991"/>
                  </a:lnTo>
                  <a:lnTo>
                    <a:pt x="2162" y="2175"/>
                  </a:lnTo>
                  <a:lnTo>
                    <a:pt x="2054" y="2364"/>
                  </a:lnTo>
                  <a:lnTo>
                    <a:pt x="1954" y="2558"/>
                  </a:lnTo>
                  <a:lnTo>
                    <a:pt x="1864" y="2758"/>
                  </a:lnTo>
                  <a:lnTo>
                    <a:pt x="1782" y="2964"/>
                  </a:lnTo>
                  <a:lnTo>
                    <a:pt x="1711" y="3173"/>
                  </a:lnTo>
                  <a:lnTo>
                    <a:pt x="1650" y="3387"/>
                  </a:lnTo>
                  <a:lnTo>
                    <a:pt x="1599" y="3606"/>
                  </a:lnTo>
                  <a:lnTo>
                    <a:pt x="1560" y="3829"/>
                  </a:lnTo>
                  <a:lnTo>
                    <a:pt x="1531" y="4055"/>
                  </a:lnTo>
                  <a:lnTo>
                    <a:pt x="1514" y="4283"/>
                  </a:lnTo>
                  <a:lnTo>
                    <a:pt x="1508" y="4516"/>
                  </a:lnTo>
                  <a:lnTo>
                    <a:pt x="1508" y="6524"/>
                  </a:lnTo>
                  <a:lnTo>
                    <a:pt x="1430" y="6526"/>
                  </a:lnTo>
                  <a:lnTo>
                    <a:pt x="1354" y="6532"/>
                  </a:lnTo>
                  <a:lnTo>
                    <a:pt x="1278" y="6541"/>
                  </a:lnTo>
                  <a:lnTo>
                    <a:pt x="1204" y="6555"/>
                  </a:lnTo>
                  <a:lnTo>
                    <a:pt x="1131" y="6571"/>
                  </a:lnTo>
                  <a:lnTo>
                    <a:pt x="1059" y="6592"/>
                  </a:lnTo>
                  <a:lnTo>
                    <a:pt x="989" y="6615"/>
                  </a:lnTo>
                  <a:lnTo>
                    <a:pt x="921" y="6642"/>
                  </a:lnTo>
                  <a:lnTo>
                    <a:pt x="854" y="6672"/>
                  </a:lnTo>
                  <a:lnTo>
                    <a:pt x="789" y="6705"/>
                  </a:lnTo>
                  <a:lnTo>
                    <a:pt x="726" y="6741"/>
                  </a:lnTo>
                  <a:lnTo>
                    <a:pt x="664" y="6780"/>
                  </a:lnTo>
                  <a:lnTo>
                    <a:pt x="605" y="6823"/>
                  </a:lnTo>
                  <a:lnTo>
                    <a:pt x="549" y="6868"/>
                  </a:lnTo>
                  <a:lnTo>
                    <a:pt x="494" y="6915"/>
                  </a:lnTo>
                  <a:lnTo>
                    <a:pt x="441" y="6964"/>
                  </a:lnTo>
                  <a:lnTo>
                    <a:pt x="392" y="7016"/>
                  </a:lnTo>
                  <a:lnTo>
                    <a:pt x="344" y="7072"/>
                  </a:lnTo>
                  <a:lnTo>
                    <a:pt x="300" y="7129"/>
                  </a:lnTo>
                  <a:lnTo>
                    <a:pt x="257" y="7187"/>
                  </a:lnTo>
                  <a:lnTo>
                    <a:pt x="218" y="7248"/>
                  </a:lnTo>
                  <a:lnTo>
                    <a:pt x="182" y="7311"/>
                  </a:lnTo>
                  <a:lnTo>
                    <a:pt x="149" y="7377"/>
                  </a:lnTo>
                  <a:lnTo>
                    <a:pt x="119" y="7443"/>
                  </a:lnTo>
                  <a:lnTo>
                    <a:pt x="91" y="7511"/>
                  </a:lnTo>
                  <a:lnTo>
                    <a:pt x="67" y="7581"/>
                  </a:lnTo>
                  <a:lnTo>
                    <a:pt x="47" y="7653"/>
                  </a:lnTo>
                  <a:lnTo>
                    <a:pt x="30" y="7726"/>
                  </a:lnTo>
                  <a:lnTo>
                    <a:pt x="17" y="7800"/>
                  </a:lnTo>
                  <a:lnTo>
                    <a:pt x="8" y="7875"/>
                  </a:lnTo>
                  <a:lnTo>
                    <a:pt x="2" y="7952"/>
                  </a:lnTo>
                  <a:lnTo>
                    <a:pt x="0" y="8029"/>
                  </a:lnTo>
                  <a:lnTo>
                    <a:pt x="0" y="9534"/>
                  </a:lnTo>
                  <a:lnTo>
                    <a:pt x="0" y="10036"/>
                  </a:lnTo>
                  <a:lnTo>
                    <a:pt x="0" y="11040"/>
                  </a:lnTo>
                  <a:lnTo>
                    <a:pt x="0" y="11542"/>
                  </a:lnTo>
                  <a:lnTo>
                    <a:pt x="6" y="11775"/>
                  </a:lnTo>
                  <a:lnTo>
                    <a:pt x="23" y="12003"/>
                  </a:lnTo>
                  <a:lnTo>
                    <a:pt x="52" y="12229"/>
                  </a:lnTo>
                  <a:lnTo>
                    <a:pt x="91" y="12452"/>
                  </a:lnTo>
                  <a:lnTo>
                    <a:pt x="143" y="12671"/>
                  </a:lnTo>
                  <a:lnTo>
                    <a:pt x="203" y="12885"/>
                  </a:lnTo>
                  <a:lnTo>
                    <a:pt x="274" y="13094"/>
                  </a:lnTo>
                  <a:lnTo>
                    <a:pt x="356" y="13300"/>
                  </a:lnTo>
                  <a:lnTo>
                    <a:pt x="446" y="13500"/>
                  </a:lnTo>
                  <a:lnTo>
                    <a:pt x="546" y="13694"/>
                  </a:lnTo>
                  <a:lnTo>
                    <a:pt x="654" y="13884"/>
                  </a:lnTo>
                  <a:lnTo>
                    <a:pt x="772" y="14067"/>
                  </a:lnTo>
                  <a:lnTo>
                    <a:pt x="899" y="14243"/>
                  </a:lnTo>
                  <a:lnTo>
                    <a:pt x="1032" y="14415"/>
                  </a:lnTo>
                  <a:lnTo>
                    <a:pt x="1175" y="14579"/>
                  </a:lnTo>
                  <a:lnTo>
                    <a:pt x="1325" y="14735"/>
                  </a:lnTo>
                  <a:lnTo>
                    <a:pt x="1482" y="14885"/>
                  </a:lnTo>
                  <a:lnTo>
                    <a:pt x="1646" y="15027"/>
                  </a:lnTo>
                  <a:lnTo>
                    <a:pt x="1817" y="15161"/>
                  </a:lnTo>
                  <a:lnTo>
                    <a:pt x="1994" y="15287"/>
                  </a:lnTo>
                  <a:lnTo>
                    <a:pt x="2177" y="15405"/>
                  </a:lnTo>
                  <a:lnTo>
                    <a:pt x="2367" y="15513"/>
                  </a:lnTo>
                  <a:lnTo>
                    <a:pt x="2562" y="15612"/>
                  </a:lnTo>
                  <a:lnTo>
                    <a:pt x="2762" y="15703"/>
                  </a:lnTo>
                  <a:lnTo>
                    <a:pt x="2968" y="15784"/>
                  </a:lnTo>
                  <a:lnTo>
                    <a:pt x="3178" y="15855"/>
                  </a:lnTo>
                  <a:lnTo>
                    <a:pt x="3392" y="15915"/>
                  </a:lnTo>
                  <a:lnTo>
                    <a:pt x="3612" y="15967"/>
                  </a:lnTo>
                  <a:lnTo>
                    <a:pt x="3835" y="16006"/>
                  </a:lnTo>
                  <a:lnTo>
                    <a:pt x="4061" y="16035"/>
                  </a:lnTo>
                  <a:lnTo>
                    <a:pt x="4290" y="16052"/>
                  </a:lnTo>
                  <a:lnTo>
                    <a:pt x="4523" y="16058"/>
                  </a:lnTo>
                  <a:lnTo>
                    <a:pt x="7539" y="16058"/>
                  </a:lnTo>
                  <a:lnTo>
                    <a:pt x="7771" y="16052"/>
                  </a:lnTo>
                  <a:lnTo>
                    <a:pt x="8001" y="16035"/>
                  </a:lnTo>
                  <a:lnTo>
                    <a:pt x="8227" y="16006"/>
                  </a:lnTo>
                  <a:lnTo>
                    <a:pt x="8450" y="15967"/>
                  </a:lnTo>
                  <a:lnTo>
                    <a:pt x="8670" y="15915"/>
                  </a:lnTo>
                  <a:lnTo>
                    <a:pt x="8884" y="15855"/>
                  </a:lnTo>
                  <a:lnTo>
                    <a:pt x="9094" y="15784"/>
                  </a:lnTo>
                  <a:lnTo>
                    <a:pt x="9300" y="15703"/>
                  </a:lnTo>
                  <a:lnTo>
                    <a:pt x="9500" y="15612"/>
                  </a:lnTo>
                  <a:lnTo>
                    <a:pt x="9695" y="15513"/>
                  </a:lnTo>
                  <a:lnTo>
                    <a:pt x="9884" y="15405"/>
                  </a:lnTo>
                  <a:lnTo>
                    <a:pt x="10068" y="15287"/>
                  </a:lnTo>
                  <a:lnTo>
                    <a:pt x="10245" y="15161"/>
                  </a:lnTo>
                  <a:lnTo>
                    <a:pt x="10416" y="15027"/>
                  </a:lnTo>
                  <a:lnTo>
                    <a:pt x="10580" y="14885"/>
                  </a:lnTo>
                  <a:lnTo>
                    <a:pt x="10737" y="14735"/>
                  </a:lnTo>
                  <a:lnTo>
                    <a:pt x="10887" y="14579"/>
                  </a:lnTo>
                  <a:lnTo>
                    <a:pt x="11029" y="14415"/>
                  </a:lnTo>
                  <a:lnTo>
                    <a:pt x="11163" y="14243"/>
                  </a:lnTo>
                  <a:lnTo>
                    <a:pt x="11290" y="14067"/>
                  </a:lnTo>
                  <a:lnTo>
                    <a:pt x="11408" y="13884"/>
                  </a:lnTo>
                  <a:lnTo>
                    <a:pt x="11516" y="13694"/>
                  </a:lnTo>
                  <a:lnTo>
                    <a:pt x="11616" y="13500"/>
                  </a:lnTo>
                  <a:lnTo>
                    <a:pt x="11706" y="13300"/>
                  </a:lnTo>
                  <a:lnTo>
                    <a:pt x="11788" y="13094"/>
                  </a:lnTo>
                  <a:lnTo>
                    <a:pt x="11859" y="12885"/>
                  </a:lnTo>
                  <a:lnTo>
                    <a:pt x="11919" y="12671"/>
                  </a:lnTo>
                  <a:lnTo>
                    <a:pt x="11971" y="12452"/>
                  </a:lnTo>
                  <a:lnTo>
                    <a:pt x="12010" y="12229"/>
                  </a:lnTo>
                  <a:lnTo>
                    <a:pt x="12039" y="12003"/>
                  </a:lnTo>
                  <a:lnTo>
                    <a:pt x="12056" y="11775"/>
                  </a:lnTo>
                  <a:lnTo>
                    <a:pt x="12062" y="11542"/>
                  </a:lnTo>
                  <a:lnTo>
                    <a:pt x="12062" y="11040"/>
                  </a:lnTo>
                  <a:lnTo>
                    <a:pt x="12062" y="10036"/>
                  </a:lnTo>
                  <a:lnTo>
                    <a:pt x="12062" y="9534"/>
                  </a:lnTo>
                  <a:lnTo>
                    <a:pt x="12062" y="8029"/>
                  </a:lnTo>
                  <a:lnTo>
                    <a:pt x="12060" y="7952"/>
                  </a:lnTo>
                  <a:lnTo>
                    <a:pt x="12054" y="7875"/>
                  </a:lnTo>
                  <a:lnTo>
                    <a:pt x="12045" y="7800"/>
                  </a:lnTo>
                  <a:lnTo>
                    <a:pt x="12032" y="7726"/>
                  </a:lnTo>
                  <a:lnTo>
                    <a:pt x="12015" y="7653"/>
                  </a:lnTo>
                  <a:lnTo>
                    <a:pt x="11995" y="7581"/>
                  </a:lnTo>
                  <a:lnTo>
                    <a:pt x="11971" y="7511"/>
                  </a:lnTo>
                  <a:lnTo>
                    <a:pt x="11943" y="7443"/>
                  </a:lnTo>
                  <a:lnTo>
                    <a:pt x="11913" y="7377"/>
                  </a:lnTo>
                  <a:lnTo>
                    <a:pt x="11880" y="7311"/>
                  </a:lnTo>
                  <a:lnTo>
                    <a:pt x="11844" y="7248"/>
                  </a:lnTo>
                  <a:lnTo>
                    <a:pt x="11805" y="7187"/>
                  </a:lnTo>
                  <a:lnTo>
                    <a:pt x="11762" y="7129"/>
                  </a:lnTo>
                  <a:lnTo>
                    <a:pt x="11717" y="7072"/>
                  </a:lnTo>
                  <a:lnTo>
                    <a:pt x="11670" y="7016"/>
                  </a:lnTo>
                  <a:lnTo>
                    <a:pt x="11621" y="6964"/>
                  </a:lnTo>
                  <a:lnTo>
                    <a:pt x="11568" y="6915"/>
                  </a:lnTo>
                  <a:lnTo>
                    <a:pt x="11513" y="6868"/>
                  </a:lnTo>
                  <a:lnTo>
                    <a:pt x="11456" y="6823"/>
                  </a:lnTo>
                  <a:lnTo>
                    <a:pt x="11398" y="6780"/>
                  </a:lnTo>
                  <a:lnTo>
                    <a:pt x="11336" y="6741"/>
                  </a:lnTo>
                  <a:lnTo>
                    <a:pt x="11273" y="6705"/>
                  </a:lnTo>
                  <a:lnTo>
                    <a:pt x="11208" y="6672"/>
                  </a:lnTo>
                  <a:lnTo>
                    <a:pt x="11141" y="6642"/>
                  </a:lnTo>
                  <a:lnTo>
                    <a:pt x="11073" y="6615"/>
                  </a:lnTo>
                  <a:lnTo>
                    <a:pt x="11003" y="6592"/>
                  </a:lnTo>
                  <a:lnTo>
                    <a:pt x="10931" y="6571"/>
                  </a:lnTo>
                  <a:lnTo>
                    <a:pt x="10858" y="6555"/>
                  </a:lnTo>
                  <a:lnTo>
                    <a:pt x="10783" y="6541"/>
                  </a:lnTo>
                  <a:lnTo>
                    <a:pt x="10708" y="6532"/>
                  </a:lnTo>
                  <a:lnTo>
                    <a:pt x="10632" y="6526"/>
                  </a:lnTo>
                  <a:lnTo>
                    <a:pt x="10554" y="65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62" name="išḷïḓê">
              <a:extLst>
                <a:ext uri="{FF2B5EF4-FFF2-40B4-BE49-F238E27FC236}">
                  <a16:creationId xmlns:a16="http://schemas.microsoft.com/office/drawing/2014/main" id="{A2D8B151-6186-41E6-8558-5304E3F7DC2E}"/>
                </a:ext>
              </a:extLst>
            </p:cNvPr>
            <p:cNvSpPr/>
            <p:nvPr/>
          </p:nvSpPr>
          <p:spPr bwMode="auto">
            <a:xfrm>
              <a:off x="5291162" y="643897"/>
              <a:ext cx="76139" cy="114208"/>
            </a:xfrm>
            <a:custGeom>
              <a:avLst/>
              <a:gdLst>
                <a:gd name="T0" fmla="*/ 902 w 2010"/>
                <a:gd name="T1" fmla="*/ 5 h 3011"/>
                <a:gd name="T2" fmla="*/ 754 w 2010"/>
                <a:gd name="T3" fmla="*/ 33 h 3011"/>
                <a:gd name="T4" fmla="*/ 614 w 2010"/>
                <a:gd name="T5" fmla="*/ 80 h 3011"/>
                <a:gd name="T6" fmla="*/ 484 w 2010"/>
                <a:gd name="T7" fmla="*/ 146 h 3011"/>
                <a:gd name="T8" fmla="*/ 366 w 2010"/>
                <a:gd name="T9" fmla="*/ 229 h 3011"/>
                <a:gd name="T10" fmla="*/ 261 w 2010"/>
                <a:gd name="T11" fmla="*/ 330 h 3011"/>
                <a:gd name="T12" fmla="*/ 172 w 2010"/>
                <a:gd name="T13" fmla="*/ 443 h 3011"/>
                <a:gd name="T14" fmla="*/ 99 w 2010"/>
                <a:gd name="T15" fmla="*/ 569 h 3011"/>
                <a:gd name="T16" fmla="*/ 45 w 2010"/>
                <a:gd name="T17" fmla="*/ 706 h 3011"/>
                <a:gd name="T18" fmla="*/ 11 w 2010"/>
                <a:gd name="T19" fmla="*/ 852 h 3011"/>
                <a:gd name="T20" fmla="*/ 0 w 2010"/>
                <a:gd name="T21" fmla="*/ 1004 h 3011"/>
                <a:gd name="T22" fmla="*/ 4 w 2010"/>
                <a:gd name="T23" fmla="*/ 1096 h 3011"/>
                <a:gd name="T24" fmla="*/ 16 w 2010"/>
                <a:gd name="T25" fmla="*/ 1202 h 3011"/>
                <a:gd name="T26" fmla="*/ 44 w 2010"/>
                <a:gd name="T27" fmla="*/ 1358 h 3011"/>
                <a:gd name="T28" fmla="*/ 104 w 2010"/>
                <a:gd name="T29" fmla="*/ 1617 h 3011"/>
                <a:gd name="T30" fmla="*/ 183 w 2010"/>
                <a:gd name="T31" fmla="*/ 1892 h 3011"/>
                <a:gd name="T32" fmla="*/ 272 w 2010"/>
                <a:gd name="T33" fmla="*/ 2168 h 3011"/>
                <a:gd name="T34" fmla="*/ 361 w 2010"/>
                <a:gd name="T35" fmla="*/ 2414 h 3011"/>
                <a:gd name="T36" fmla="*/ 417 w 2010"/>
                <a:gd name="T37" fmla="*/ 2545 h 3011"/>
                <a:gd name="T38" fmla="*/ 462 w 2010"/>
                <a:gd name="T39" fmla="*/ 2636 h 3011"/>
                <a:gd name="T40" fmla="*/ 511 w 2010"/>
                <a:gd name="T41" fmla="*/ 2719 h 3011"/>
                <a:gd name="T42" fmla="*/ 567 w 2010"/>
                <a:gd name="T43" fmla="*/ 2795 h 3011"/>
                <a:gd name="T44" fmla="*/ 626 w 2010"/>
                <a:gd name="T45" fmla="*/ 2860 h 3011"/>
                <a:gd name="T46" fmla="*/ 693 w 2010"/>
                <a:gd name="T47" fmla="*/ 2916 h 3011"/>
                <a:gd name="T48" fmla="*/ 767 w 2010"/>
                <a:gd name="T49" fmla="*/ 2959 h 3011"/>
                <a:gd name="T50" fmla="*/ 849 w 2010"/>
                <a:gd name="T51" fmla="*/ 2990 h 3011"/>
                <a:gd name="T52" fmla="*/ 940 w 2010"/>
                <a:gd name="T53" fmla="*/ 3007 h 3011"/>
                <a:gd name="T54" fmla="*/ 1041 w 2010"/>
                <a:gd name="T55" fmla="*/ 3010 h 3011"/>
                <a:gd name="T56" fmla="*/ 1141 w 2010"/>
                <a:gd name="T57" fmla="*/ 2997 h 3011"/>
                <a:gd name="T58" fmla="*/ 1229 w 2010"/>
                <a:gd name="T59" fmla="*/ 2971 h 3011"/>
                <a:gd name="T60" fmla="*/ 1307 w 2010"/>
                <a:gd name="T61" fmla="*/ 2932 h 3011"/>
                <a:gd name="T62" fmla="*/ 1375 w 2010"/>
                <a:gd name="T63" fmla="*/ 2881 h 3011"/>
                <a:gd name="T64" fmla="*/ 1436 w 2010"/>
                <a:gd name="T65" fmla="*/ 2820 h 3011"/>
                <a:gd name="T66" fmla="*/ 1489 w 2010"/>
                <a:gd name="T67" fmla="*/ 2747 h 3011"/>
                <a:gd name="T68" fmla="*/ 1538 w 2010"/>
                <a:gd name="T69" fmla="*/ 2667 h 3011"/>
                <a:gd name="T70" fmla="*/ 1582 w 2010"/>
                <a:gd name="T71" fmla="*/ 2580 h 3011"/>
                <a:gd name="T72" fmla="*/ 1623 w 2010"/>
                <a:gd name="T73" fmla="*/ 2484 h 3011"/>
                <a:gd name="T74" fmla="*/ 1708 w 2010"/>
                <a:gd name="T75" fmla="*/ 2263 h 3011"/>
                <a:gd name="T76" fmla="*/ 1799 w 2010"/>
                <a:gd name="T77" fmla="*/ 1990 h 3011"/>
                <a:gd name="T78" fmla="*/ 1883 w 2010"/>
                <a:gd name="T79" fmla="*/ 1711 h 3011"/>
                <a:gd name="T80" fmla="*/ 1949 w 2010"/>
                <a:gd name="T81" fmla="*/ 1444 h 3011"/>
                <a:gd name="T82" fmla="*/ 1988 w 2010"/>
                <a:gd name="T83" fmla="*/ 1240 h 3011"/>
                <a:gd name="T84" fmla="*/ 2003 w 2010"/>
                <a:gd name="T85" fmla="*/ 1132 h 3011"/>
                <a:gd name="T86" fmla="*/ 2009 w 2010"/>
                <a:gd name="T87" fmla="*/ 1033 h 3011"/>
                <a:gd name="T88" fmla="*/ 2005 w 2010"/>
                <a:gd name="T89" fmla="*/ 902 h 3011"/>
                <a:gd name="T90" fmla="*/ 1978 w 2010"/>
                <a:gd name="T91" fmla="*/ 753 h 3011"/>
                <a:gd name="T92" fmla="*/ 1931 w 2010"/>
                <a:gd name="T93" fmla="*/ 614 h 3011"/>
                <a:gd name="T94" fmla="*/ 1864 w 2010"/>
                <a:gd name="T95" fmla="*/ 484 h 3011"/>
                <a:gd name="T96" fmla="*/ 1780 w 2010"/>
                <a:gd name="T97" fmla="*/ 366 h 3011"/>
                <a:gd name="T98" fmla="*/ 1680 w 2010"/>
                <a:gd name="T99" fmla="*/ 261 h 3011"/>
                <a:gd name="T100" fmla="*/ 1567 w 2010"/>
                <a:gd name="T101" fmla="*/ 172 h 3011"/>
                <a:gd name="T102" fmla="*/ 1440 w 2010"/>
                <a:gd name="T103" fmla="*/ 100 h 3011"/>
                <a:gd name="T104" fmla="*/ 1304 w 2010"/>
                <a:gd name="T105" fmla="*/ 46 h 3011"/>
                <a:gd name="T106" fmla="*/ 1158 w 2010"/>
                <a:gd name="T107" fmla="*/ 11 h 3011"/>
                <a:gd name="T108" fmla="*/ 1005 w 2010"/>
                <a:gd name="T109" fmla="*/ 0 h 30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10" h="3011">
                  <a:moveTo>
                    <a:pt x="1005" y="0"/>
                  </a:moveTo>
                  <a:lnTo>
                    <a:pt x="953" y="1"/>
                  </a:lnTo>
                  <a:lnTo>
                    <a:pt x="902" y="5"/>
                  </a:lnTo>
                  <a:lnTo>
                    <a:pt x="852" y="11"/>
                  </a:lnTo>
                  <a:lnTo>
                    <a:pt x="803" y="21"/>
                  </a:lnTo>
                  <a:lnTo>
                    <a:pt x="754" y="33"/>
                  </a:lnTo>
                  <a:lnTo>
                    <a:pt x="706" y="46"/>
                  </a:lnTo>
                  <a:lnTo>
                    <a:pt x="659" y="62"/>
                  </a:lnTo>
                  <a:lnTo>
                    <a:pt x="614" y="80"/>
                  </a:lnTo>
                  <a:lnTo>
                    <a:pt x="570" y="100"/>
                  </a:lnTo>
                  <a:lnTo>
                    <a:pt x="526" y="122"/>
                  </a:lnTo>
                  <a:lnTo>
                    <a:pt x="484" y="146"/>
                  </a:lnTo>
                  <a:lnTo>
                    <a:pt x="443" y="172"/>
                  </a:lnTo>
                  <a:lnTo>
                    <a:pt x="404" y="200"/>
                  </a:lnTo>
                  <a:lnTo>
                    <a:pt x="366" y="229"/>
                  </a:lnTo>
                  <a:lnTo>
                    <a:pt x="330" y="261"/>
                  </a:lnTo>
                  <a:lnTo>
                    <a:pt x="294" y="294"/>
                  </a:lnTo>
                  <a:lnTo>
                    <a:pt x="261" y="330"/>
                  </a:lnTo>
                  <a:lnTo>
                    <a:pt x="229" y="366"/>
                  </a:lnTo>
                  <a:lnTo>
                    <a:pt x="200" y="404"/>
                  </a:lnTo>
                  <a:lnTo>
                    <a:pt x="172" y="443"/>
                  </a:lnTo>
                  <a:lnTo>
                    <a:pt x="146" y="484"/>
                  </a:lnTo>
                  <a:lnTo>
                    <a:pt x="121" y="526"/>
                  </a:lnTo>
                  <a:lnTo>
                    <a:pt x="99" y="569"/>
                  </a:lnTo>
                  <a:lnTo>
                    <a:pt x="79" y="614"/>
                  </a:lnTo>
                  <a:lnTo>
                    <a:pt x="61" y="659"/>
                  </a:lnTo>
                  <a:lnTo>
                    <a:pt x="45" y="706"/>
                  </a:lnTo>
                  <a:lnTo>
                    <a:pt x="31" y="753"/>
                  </a:lnTo>
                  <a:lnTo>
                    <a:pt x="20" y="802"/>
                  </a:lnTo>
                  <a:lnTo>
                    <a:pt x="11" y="852"/>
                  </a:lnTo>
                  <a:lnTo>
                    <a:pt x="5" y="902"/>
                  </a:lnTo>
                  <a:lnTo>
                    <a:pt x="1" y="953"/>
                  </a:lnTo>
                  <a:lnTo>
                    <a:pt x="0" y="1004"/>
                  </a:lnTo>
                  <a:lnTo>
                    <a:pt x="0" y="1033"/>
                  </a:lnTo>
                  <a:lnTo>
                    <a:pt x="2" y="1064"/>
                  </a:lnTo>
                  <a:lnTo>
                    <a:pt x="4" y="1096"/>
                  </a:lnTo>
                  <a:lnTo>
                    <a:pt x="7" y="1131"/>
                  </a:lnTo>
                  <a:lnTo>
                    <a:pt x="12" y="1166"/>
                  </a:lnTo>
                  <a:lnTo>
                    <a:pt x="16" y="1202"/>
                  </a:lnTo>
                  <a:lnTo>
                    <a:pt x="22" y="1239"/>
                  </a:lnTo>
                  <a:lnTo>
                    <a:pt x="29" y="1278"/>
                  </a:lnTo>
                  <a:lnTo>
                    <a:pt x="44" y="1358"/>
                  </a:lnTo>
                  <a:lnTo>
                    <a:pt x="61" y="1442"/>
                  </a:lnTo>
                  <a:lnTo>
                    <a:pt x="82" y="1528"/>
                  </a:lnTo>
                  <a:lnTo>
                    <a:pt x="104" y="1617"/>
                  </a:lnTo>
                  <a:lnTo>
                    <a:pt x="128" y="1708"/>
                  </a:lnTo>
                  <a:lnTo>
                    <a:pt x="156" y="1800"/>
                  </a:lnTo>
                  <a:lnTo>
                    <a:pt x="183" y="1892"/>
                  </a:lnTo>
                  <a:lnTo>
                    <a:pt x="212" y="1986"/>
                  </a:lnTo>
                  <a:lnTo>
                    <a:pt x="242" y="2078"/>
                  </a:lnTo>
                  <a:lnTo>
                    <a:pt x="272" y="2168"/>
                  </a:lnTo>
                  <a:lnTo>
                    <a:pt x="303" y="2258"/>
                  </a:lnTo>
                  <a:lnTo>
                    <a:pt x="335" y="2345"/>
                  </a:lnTo>
                  <a:lnTo>
                    <a:pt x="361" y="2414"/>
                  </a:lnTo>
                  <a:lnTo>
                    <a:pt x="388" y="2480"/>
                  </a:lnTo>
                  <a:lnTo>
                    <a:pt x="402" y="2513"/>
                  </a:lnTo>
                  <a:lnTo>
                    <a:pt x="417" y="2545"/>
                  </a:lnTo>
                  <a:lnTo>
                    <a:pt x="431" y="2576"/>
                  </a:lnTo>
                  <a:lnTo>
                    <a:pt x="446" y="2606"/>
                  </a:lnTo>
                  <a:lnTo>
                    <a:pt x="462" y="2636"/>
                  </a:lnTo>
                  <a:lnTo>
                    <a:pt x="478" y="2664"/>
                  </a:lnTo>
                  <a:lnTo>
                    <a:pt x="494" y="2692"/>
                  </a:lnTo>
                  <a:lnTo>
                    <a:pt x="511" y="2719"/>
                  </a:lnTo>
                  <a:lnTo>
                    <a:pt x="530" y="2745"/>
                  </a:lnTo>
                  <a:lnTo>
                    <a:pt x="548" y="2770"/>
                  </a:lnTo>
                  <a:lnTo>
                    <a:pt x="567" y="2795"/>
                  </a:lnTo>
                  <a:lnTo>
                    <a:pt x="586" y="2818"/>
                  </a:lnTo>
                  <a:lnTo>
                    <a:pt x="606" y="2840"/>
                  </a:lnTo>
                  <a:lnTo>
                    <a:pt x="626" y="2860"/>
                  </a:lnTo>
                  <a:lnTo>
                    <a:pt x="648" y="2880"/>
                  </a:lnTo>
                  <a:lnTo>
                    <a:pt x="670" y="2898"/>
                  </a:lnTo>
                  <a:lnTo>
                    <a:pt x="693" y="2916"/>
                  </a:lnTo>
                  <a:lnTo>
                    <a:pt x="717" y="2931"/>
                  </a:lnTo>
                  <a:lnTo>
                    <a:pt x="742" y="2946"/>
                  </a:lnTo>
                  <a:lnTo>
                    <a:pt x="767" y="2959"/>
                  </a:lnTo>
                  <a:lnTo>
                    <a:pt x="793" y="2971"/>
                  </a:lnTo>
                  <a:lnTo>
                    <a:pt x="821" y="2981"/>
                  </a:lnTo>
                  <a:lnTo>
                    <a:pt x="849" y="2990"/>
                  </a:lnTo>
                  <a:lnTo>
                    <a:pt x="878" y="2997"/>
                  </a:lnTo>
                  <a:lnTo>
                    <a:pt x="909" y="3003"/>
                  </a:lnTo>
                  <a:lnTo>
                    <a:pt x="940" y="3007"/>
                  </a:lnTo>
                  <a:lnTo>
                    <a:pt x="972" y="3010"/>
                  </a:lnTo>
                  <a:lnTo>
                    <a:pt x="1005" y="3011"/>
                  </a:lnTo>
                  <a:lnTo>
                    <a:pt x="1041" y="3010"/>
                  </a:lnTo>
                  <a:lnTo>
                    <a:pt x="1075" y="3007"/>
                  </a:lnTo>
                  <a:lnTo>
                    <a:pt x="1109" y="3003"/>
                  </a:lnTo>
                  <a:lnTo>
                    <a:pt x="1141" y="2997"/>
                  </a:lnTo>
                  <a:lnTo>
                    <a:pt x="1172" y="2990"/>
                  </a:lnTo>
                  <a:lnTo>
                    <a:pt x="1201" y="2981"/>
                  </a:lnTo>
                  <a:lnTo>
                    <a:pt x="1229" y="2971"/>
                  </a:lnTo>
                  <a:lnTo>
                    <a:pt x="1256" y="2960"/>
                  </a:lnTo>
                  <a:lnTo>
                    <a:pt x="1281" y="2947"/>
                  </a:lnTo>
                  <a:lnTo>
                    <a:pt x="1307" y="2932"/>
                  </a:lnTo>
                  <a:lnTo>
                    <a:pt x="1331" y="2916"/>
                  </a:lnTo>
                  <a:lnTo>
                    <a:pt x="1354" y="2899"/>
                  </a:lnTo>
                  <a:lnTo>
                    <a:pt x="1375" y="2881"/>
                  </a:lnTo>
                  <a:lnTo>
                    <a:pt x="1396" y="2862"/>
                  </a:lnTo>
                  <a:lnTo>
                    <a:pt x="1416" y="2841"/>
                  </a:lnTo>
                  <a:lnTo>
                    <a:pt x="1436" y="2820"/>
                  </a:lnTo>
                  <a:lnTo>
                    <a:pt x="1454" y="2797"/>
                  </a:lnTo>
                  <a:lnTo>
                    <a:pt x="1472" y="2772"/>
                  </a:lnTo>
                  <a:lnTo>
                    <a:pt x="1489" y="2747"/>
                  </a:lnTo>
                  <a:lnTo>
                    <a:pt x="1507" y="2722"/>
                  </a:lnTo>
                  <a:lnTo>
                    <a:pt x="1523" y="2695"/>
                  </a:lnTo>
                  <a:lnTo>
                    <a:pt x="1538" y="2667"/>
                  </a:lnTo>
                  <a:lnTo>
                    <a:pt x="1554" y="2639"/>
                  </a:lnTo>
                  <a:lnTo>
                    <a:pt x="1568" y="2610"/>
                  </a:lnTo>
                  <a:lnTo>
                    <a:pt x="1582" y="2580"/>
                  </a:lnTo>
                  <a:lnTo>
                    <a:pt x="1596" y="2549"/>
                  </a:lnTo>
                  <a:lnTo>
                    <a:pt x="1610" y="2517"/>
                  </a:lnTo>
                  <a:lnTo>
                    <a:pt x="1623" y="2484"/>
                  </a:lnTo>
                  <a:lnTo>
                    <a:pt x="1649" y="2418"/>
                  </a:lnTo>
                  <a:lnTo>
                    <a:pt x="1675" y="2350"/>
                  </a:lnTo>
                  <a:lnTo>
                    <a:pt x="1708" y="2263"/>
                  </a:lnTo>
                  <a:lnTo>
                    <a:pt x="1739" y="2173"/>
                  </a:lnTo>
                  <a:lnTo>
                    <a:pt x="1769" y="2082"/>
                  </a:lnTo>
                  <a:lnTo>
                    <a:pt x="1799" y="1990"/>
                  </a:lnTo>
                  <a:lnTo>
                    <a:pt x="1828" y="1896"/>
                  </a:lnTo>
                  <a:lnTo>
                    <a:pt x="1856" y="1803"/>
                  </a:lnTo>
                  <a:lnTo>
                    <a:pt x="1883" y="1711"/>
                  </a:lnTo>
                  <a:lnTo>
                    <a:pt x="1907" y="1620"/>
                  </a:lnTo>
                  <a:lnTo>
                    <a:pt x="1929" y="1531"/>
                  </a:lnTo>
                  <a:lnTo>
                    <a:pt x="1949" y="1444"/>
                  </a:lnTo>
                  <a:lnTo>
                    <a:pt x="1967" y="1359"/>
                  </a:lnTo>
                  <a:lnTo>
                    <a:pt x="1982" y="1279"/>
                  </a:lnTo>
                  <a:lnTo>
                    <a:pt x="1988" y="1240"/>
                  </a:lnTo>
                  <a:lnTo>
                    <a:pt x="1994" y="1203"/>
                  </a:lnTo>
                  <a:lnTo>
                    <a:pt x="1998" y="1167"/>
                  </a:lnTo>
                  <a:lnTo>
                    <a:pt x="2003" y="1132"/>
                  </a:lnTo>
                  <a:lnTo>
                    <a:pt x="2006" y="1097"/>
                  </a:lnTo>
                  <a:lnTo>
                    <a:pt x="2008" y="1064"/>
                  </a:lnTo>
                  <a:lnTo>
                    <a:pt x="2009" y="1033"/>
                  </a:lnTo>
                  <a:lnTo>
                    <a:pt x="2010" y="1004"/>
                  </a:lnTo>
                  <a:lnTo>
                    <a:pt x="2009" y="953"/>
                  </a:lnTo>
                  <a:lnTo>
                    <a:pt x="2005" y="902"/>
                  </a:lnTo>
                  <a:lnTo>
                    <a:pt x="1998" y="852"/>
                  </a:lnTo>
                  <a:lnTo>
                    <a:pt x="1990" y="802"/>
                  </a:lnTo>
                  <a:lnTo>
                    <a:pt x="1978" y="753"/>
                  </a:lnTo>
                  <a:lnTo>
                    <a:pt x="1965" y="706"/>
                  </a:lnTo>
                  <a:lnTo>
                    <a:pt x="1949" y="659"/>
                  </a:lnTo>
                  <a:lnTo>
                    <a:pt x="1931" y="614"/>
                  </a:lnTo>
                  <a:lnTo>
                    <a:pt x="1911" y="569"/>
                  </a:lnTo>
                  <a:lnTo>
                    <a:pt x="1889" y="526"/>
                  </a:lnTo>
                  <a:lnTo>
                    <a:pt x="1864" y="484"/>
                  </a:lnTo>
                  <a:lnTo>
                    <a:pt x="1838" y="443"/>
                  </a:lnTo>
                  <a:lnTo>
                    <a:pt x="1810" y="404"/>
                  </a:lnTo>
                  <a:lnTo>
                    <a:pt x="1780" y="366"/>
                  </a:lnTo>
                  <a:lnTo>
                    <a:pt x="1749" y="330"/>
                  </a:lnTo>
                  <a:lnTo>
                    <a:pt x="1716" y="294"/>
                  </a:lnTo>
                  <a:lnTo>
                    <a:pt x="1680" y="261"/>
                  </a:lnTo>
                  <a:lnTo>
                    <a:pt x="1644" y="229"/>
                  </a:lnTo>
                  <a:lnTo>
                    <a:pt x="1606" y="200"/>
                  </a:lnTo>
                  <a:lnTo>
                    <a:pt x="1567" y="172"/>
                  </a:lnTo>
                  <a:lnTo>
                    <a:pt x="1526" y="146"/>
                  </a:lnTo>
                  <a:lnTo>
                    <a:pt x="1484" y="122"/>
                  </a:lnTo>
                  <a:lnTo>
                    <a:pt x="1440" y="100"/>
                  </a:lnTo>
                  <a:lnTo>
                    <a:pt x="1396" y="80"/>
                  </a:lnTo>
                  <a:lnTo>
                    <a:pt x="1351" y="62"/>
                  </a:lnTo>
                  <a:lnTo>
                    <a:pt x="1304" y="46"/>
                  </a:lnTo>
                  <a:lnTo>
                    <a:pt x="1256" y="33"/>
                  </a:lnTo>
                  <a:lnTo>
                    <a:pt x="1207" y="21"/>
                  </a:lnTo>
                  <a:lnTo>
                    <a:pt x="1158" y="11"/>
                  </a:lnTo>
                  <a:lnTo>
                    <a:pt x="1108" y="5"/>
                  </a:lnTo>
                  <a:lnTo>
                    <a:pt x="1056" y="1"/>
                  </a:lnTo>
                  <a:lnTo>
                    <a:pt x="10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63" name="iṧliḍè">
              <a:extLst>
                <a:ext uri="{FF2B5EF4-FFF2-40B4-BE49-F238E27FC236}">
                  <a16:creationId xmlns:a16="http://schemas.microsoft.com/office/drawing/2014/main" id="{069B276C-16D8-4509-81C6-306EC8C82EC2}"/>
                </a:ext>
              </a:extLst>
            </p:cNvPr>
            <p:cNvSpPr/>
            <p:nvPr/>
          </p:nvSpPr>
          <p:spPr bwMode="auto">
            <a:xfrm>
              <a:off x="5032327" y="1362536"/>
              <a:ext cx="171982" cy="249634"/>
            </a:xfrm>
            <a:custGeom>
              <a:avLst/>
              <a:gdLst>
                <a:gd name="T0" fmla="*/ 1009 w 11063"/>
                <a:gd name="T1" fmla="*/ 1454 h 16058"/>
                <a:gd name="T2" fmla="*/ 1036 w 11063"/>
                <a:gd name="T3" fmla="*/ 1334 h 16058"/>
                <a:gd name="T4" fmla="*/ 1091 w 11063"/>
                <a:gd name="T5" fmla="*/ 1225 h 16058"/>
                <a:gd name="T6" fmla="*/ 1171 w 11063"/>
                <a:gd name="T7" fmla="*/ 1134 h 16058"/>
                <a:gd name="T8" fmla="*/ 1268 w 11063"/>
                <a:gd name="T9" fmla="*/ 1065 h 16058"/>
                <a:gd name="T10" fmla="*/ 1383 w 11063"/>
                <a:gd name="T11" fmla="*/ 1020 h 16058"/>
                <a:gd name="T12" fmla="*/ 1509 w 11063"/>
                <a:gd name="T13" fmla="*/ 1004 h 16058"/>
                <a:gd name="T14" fmla="*/ 9655 w 11063"/>
                <a:gd name="T15" fmla="*/ 1014 h 16058"/>
                <a:gd name="T16" fmla="*/ 9772 w 11063"/>
                <a:gd name="T17" fmla="*/ 1053 h 16058"/>
                <a:gd name="T18" fmla="*/ 9874 w 11063"/>
                <a:gd name="T19" fmla="*/ 1118 h 16058"/>
                <a:gd name="T20" fmla="*/ 9957 w 11063"/>
                <a:gd name="T21" fmla="*/ 1205 h 16058"/>
                <a:gd name="T22" fmla="*/ 10018 w 11063"/>
                <a:gd name="T23" fmla="*/ 1310 h 16058"/>
                <a:gd name="T24" fmla="*/ 10051 w 11063"/>
                <a:gd name="T25" fmla="*/ 1429 h 16058"/>
                <a:gd name="T26" fmla="*/ 10057 w 11063"/>
                <a:gd name="T27" fmla="*/ 13044 h 16058"/>
                <a:gd name="T28" fmla="*/ 10057 w 11063"/>
                <a:gd name="T29" fmla="*/ 14553 h 16058"/>
                <a:gd name="T30" fmla="*/ 10041 w 11063"/>
                <a:gd name="T31" fmla="*/ 14677 h 16058"/>
                <a:gd name="T32" fmla="*/ 9996 w 11063"/>
                <a:gd name="T33" fmla="*/ 14791 h 16058"/>
                <a:gd name="T34" fmla="*/ 9927 w 11063"/>
                <a:gd name="T35" fmla="*/ 14890 h 16058"/>
                <a:gd name="T36" fmla="*/ 9835 w 11063"/>
                <a:gd name="T37" fmla="*/ 14968 h 16058"/>
                <a:gd name="T38" fmla="*/ 9727 w 11063"/>
                <a:gd name="T39" fmla="*/ 15023 h 16058"/>
                <a:gd name="T40" fmla="*/ 9606 w 11063"/>
                <a:gd name="T41" fmla="*/ 15051 h 16058"/>
                <a:gd name="T42" fmla="*/ 1457 w 11063"/>
                <a:gd name="T43" fmla="*/ 15051 h 16058"/>
                <a:gd name="T44" fmla="*/ 1336 w 11063"/>
                <a:gd name="T45" fmla="*/ 15024 h 16058"/>
                <a:gd name="T46" fmla="*/ 1227 w 11063"/>
                <a:gd name="T47" fmla="*/ 14969 h 16058"/>
                <a:gd name="T48" fmla="*/ 1136 w 11063"/>
                <a:gd name="T49" fmla="*/ 14890 h 16058"/>
                <a:gd name="T50" fmla="*/ 1066 w 11063"/>
                <a:gd name="T51" fmla="*/ 14791 h 16058"/>
                <a:gd name="T52" fmla="*/ 1022 w 11063"/>
                <a:gd name="T53" fmla="*/ 14678 h 16058"/>
                <a:gd name="T54" fmla="*/ 1006 w 11063"/>
                <a:gd name="T55" fmla="*/ 14553 h 16058"/>
                <a:gd name="T56" fmla="*/ 1509 w 11063"/>
                <a:gd name="T57" fmla="*/ 1 h 16058"/>
                <a:gd name="T58" fmla="*/ 1131 w 11063"/>
                <a:gd name="T59" fmla="*/ 48 h 16058"/>
                <a:gd name="T60" fmla="*/ 789 w 11063"/>
                <a:gd name="T61" fmla="*/ 183 h 16058"/>
                <a:gd name="T62" fmla="*/ 494 w 11063"/>
                <a:gd name="T63" fmla="*/ 391 h 16058"/>
                <a:gd name="T64" fmla="*/ 257 w 11063"/>
                <a:gd name="T65" fmla="*/ 664 h 16058"/>
                <a:gd name="T66" fmla="*/ 92 w 11063"/>
                <a:gd name="T67" fmla="*/ 989 h 16058"/>
                <a:gd name="T68" fmla="*/ 8 w 11063"/>
                <a:gd name="T69" fmla="*/ 1352 h 16058"/>
                <a:gd name="T70" fmla="*/ 8 w 11063"/>
                <a:gd name="T71" fmla="*/ 14706 h 16058"/>
                <a:gd name="T72" fmla="*/ 92 w 11063"/>
                <a:gd name="T73" fmla="*/ 15070 h 16058"/>
                <a:gd name="T74" fmla="*/ 257 w 11063"/>
                <a:gd name="T75" fmla="*/ 15395 h 16058"/>
                <a:gd name="T76" fmla="*/ 494 w 11063"/>
                <a:gd name="T77" fmla="*/ 15667 h 16058"/>
                <a:gd name="T78" fmla="*/ 789 w 11063"/>
                <a:gd name="T79" fmla="*/ 15876 h 16058"/>
                <a:gd name="T80" fmla="*/ 1131 w 11063"/>
                <a:gd name="T81" fmla="*/ 16011 h 16058"/>
                <a:gd name="T82" fmla="*/ 1509 w 11063"/>
                <a:gd name="T83" fmla="*/ 16058 h 16058"/>
                <a:gd name="T84" fmla="*/ 9858 w 11063"/>
                <a:gd name="T85" fmla="*/ 16027 h 16058"/>
                <a:gd name="T86" fmla="*/ 10208 w 11063"/>
                <a:gd name="T87" fmla="*/ 15909 h 16058"/>
                <a:gd name="T88" fmla="*/ 10514 w 11063"/>
                <a:gd name="T89" fmla="*/ 15714 h 16058"/>
                <a:gd name="T90" fmla="*/ 10763 w 11063"/>
                <a:gd name="T91" fmla="*/ 15453 h 16058"/>
                <a:gd name="T92" fmla="*/ 10944 w 11063"/>
                <a:gd name="T93" fmla="*/ 15138 h 16058"/>
                <a:gd name="T94" fmla="*/ 11046 w 11063"/>
                <a:gd name="T95" fmla="*/ 14781 h 16058"/>
                <a:gd name="T96" fmla="*/ 11061 w 11063"/>
                <a:gd name="T97" fmla="*/ 1428 h 16058"/>
                <a:gd name="T98" fmla="*/ 10996 w 11063"/>
                <a:gd name="T99" fmla="*/ 1058 h 16058"/>
                <a:gd name="T100" fmla="*/ 10845 w 11063"/>
                <a:gd name="T101" fmla="*/ 725 h 16058"/>
                <a:gd name="T102" fmla="*/ 10620 w 11063"/>
                <a:gd name="T103" fmla="*/ 441 h 16058"/>
                <a:gd name="T104" fmla="*/ 10337 w 11063"/>
                <a:gd name="T105" fmla="*/ 218 h 16058"/>
                <a:gd name="T106" fmla="*/ 10003 w 11063"/>
                <a:gd name="T107" fmla="*/ 67 h 16058"/>
                <a:gd name="T108" fmla="*/ 9632 w 11063"/>
                <a:gd name="T109" fmla="*/ 2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063" h="16058">
                  <a:moveTo>
                    <a:pt x="10057" y="2509"/>
                  </a:moveTo>
                  <a:lnTo>
                    <a:pt x="1006" y="2510"/>
                  </a:lnTo>
                  <a:lnTo>
                    <a:pt x="1006" y="1505"/>
                  </a:lnTo>
                  <a:lnTo>
                    <a:pt x="1007" y="1480"/>
                  </a:lnTo>
                  <a:lnTo>
                    <a:pt x="1009" y="1454"/>
                  </a:lnTo>
                  <a:lnTo>
                    <a:pt x="1012" y="1429"/>
                  </a:lnTo>
                  <a:lnTo>
                    <a:pt x="1016" y="1405"/>
                  </a:lnTo>
                  <a:lnTo>
                    <a:pt x="1022" y="1381"/>
                  </a:lnTo>
                  <a:lnTo>
                    <a:pt x="1028" y="1357"/>
                  </a:lnTo>
                  <a:lnTo>
                    <a:pt x="1036" y="1334"/>
                  </a:lnTo>
                  <a:lnTo>
                    <a:pt x="1045" y="1311"/>
                  </a:lnTo>
                  <a:lnTo>
                    <a:pt x="1055" y="1289"/>
                  </a:lnTo>
                  <a:lnTo>
                    <a:pt x="1066" y="1267"/>
                  </a:lnTo>
                  <a:lnTo>
                    <a:pt x="1078" y="1245"/>
                  </a:lnTo>
                  <a:lnTo>
                    <a:pt x="1091" y="1225"/>
                  </a:lnTo>
                  <a:lnTo>
                    <a:pt x="1105" y="1205"/>
                  </a:lnTo>
                  <a:lnTo>
                    <a:pt x="1120" y="1186"/>
                  </a:lnTo>
                  <a:lnTo>
                    <a:pt x="1136" y="1168"/>
                  </a:lnTo>
                  <a:lnTo>
                    <a:pt x="1153" y="1151"/>
                  </a:lnTo>
                  <a:lnTo>
                    <a:pt x="1171" y="1134"/>
                  </a:lnTo>
                  <a:lnTo>
                    <a:pt x="1189" y="1119"/>
                  </a:lnTo>
                  <a:lnTo>
                    <a:pt x="1208" y="1104"/>
                  </a:lnTo>
                  <a:lnTo>
                    <a:pt x="1227" y="1090"/>
                  </a:lnTo>
                  <a:lnTo>
                    <a:pt x="1248" y="1077"/>
                  </a:lnTo>
                  <a:lnTo>
                    <a:pt x="1268" y="1065"/>
                  </a:lnTo>
                  <a:lnTo>
                    <a:pt x="1290" y="1054"/>
                  </a:lnTo>
                  <a:lnTo>
                    <a:pt x="1312" y="1044"/>
                  </a:lnTo>
                  <a:lnTo>
                    <a:pt x="1336" y="1035"/>
                  </a:lnTo>
                  <a:lnTo>
                    <a:pt x="1359" y="1027"/>
                  </a:lnTo>
                  <a:lnTo>
                    <a:pt x="1383" y="1020"/>
                  </a:lnTo>
                  <a:lnTo>
                    <a:pt x="1407" y="1015"/>
                  </a:lnTo>
                  <a:lnTo>
                    <a:pt x="1432" y="1010"/>
                  </a:lnTo>
                  <a:lnTo>
                    <a:pt x="1457" y="1007"/>
                  </a:lnTo>
                  <a:lnTo>
                    <a:pt x="1482" y="1005"/>
                  </a:lnTo>
                  <a:lnTo>
                    <a:pt x="1509" y="1004"/>
                  </a:lnTo>
                  <a:lnTo>
                    <a:pt x="9554" y="1004"/>
                  </a:lnTo>
                  <a:lnTo>
                    <a:pt x="9581" y="1005"/>
                  </a:lnTo>
                  <a:lnTo>
                    <a:pt x="9606" y="1007"/>
                  </a:lnTo>
                  <a:lnTo>
                    <a:pt x="9631" y="1010"/>
                  </a:lnTo>
                  <a:lnTo>
                    <a:pt x="9655" y="1014"/>
                  </a:lnTo>
                  <a:lnTo>
                    <a:pt x="9680" y="1020"/>
                  </a:lnTo>
                  <a:lnTo>
                    <a:pt x="9703" y="1027"/>
                  </a:lnTo>
                  <a:lnTo>
                    <a:pt x="9727" y="1034"/>
                  </a:lnTo>
                  <a:lnTo>
                    <a:pt x="9750" y="1043"/>
                  </a:lnTo>
                  <a:lnTo>
                    <a:pt x="9772" y="1053"/>
                  </a:lnTo>
                  <a:lnTo>
                    <a:pt x="9794" y="1064"/>
                  </a:lnTo>
                  <a:lnTo>
                    <a:pt x="9815" y="1076"/>
                  </a:lnTo>
                  <a:lnTo>
                    <a:pt x="9835" y="1089"/>
                  </a:lnTo>
                  <a:lnTo>
                    <a:pt x="9855" y="1103"/>
                  </a:lnTo>
                  <a:lnTo>
                    <a:pt x="9874" y="1118"/>
                  </a:lnTo>
                  <a:lnTo>
                    <a:pt x="9892" y="1134"/>
                  </a:lnTo>
                  <a:lnTo>
                    <a:pt x="9909" y="1151"/>
                  </a:lnTo>
                  <a:lnTo>
                    <a:pt x="9927" y="1168"/>
                  </a:lnTo>
                  <a:lnTo>
                    <a:pt x="9943" y="1186"/>
                  </a:lnTo>
                  <a:lnTo>
                    <a:pt x="9957" y="1205"/>
                  </a:lnTo>
                  <a:lnTo>
                    <a:pt x="9971" y="1225"/>
                  </a:lnTo>
                  <a:lnTo>
                    <a:pt x="9984" y="1245"/>
                  </a:lnTo>
                  <a:lnTo>
                    <a:pt x="9996" y="1267"/>
                  </a:lnTo>
                  <a:lnTo>
                    <a:pt x="10008" y="1288"/>
                  </a:lnTo>
                  <a:lnTo>
                    <a:pt x="10018" y="1310"/>
                  </a:lnTo>
                  <a:lnTo>
                    <a:pt x="10026" y="1333"/>
                  </a:lnTo>
                  <a:lnTo>
                    <a:pt x="10034" y="1356"/>
                  </a:lnTo>
                  <a:lnTo>
                    <a:pt x="10041" y="1380"/>
                  </a:lnTo>
                  <a:lnTo>
                    <a:pt x="10047" y="1404"/>
                  </a:lnTo>
                  <a:lnTo>
                    <a:pt x="10051" y="1429"/>
                  </a:lnTo>
                  <a:lnTo>
                    <a:pt x="10054" y="1454"/>
                  </a:lnTo>
                  <a:lnTo>
                    <a:pt x="10056" y="1479"/>
                  </a:lnTo>
                  <a:lnTo>
                    <a:pt x="10057" y="1505"/>
                  </a:lnTo>
                  <a:lnTo>
                    <a:pt x="10057" y="2509"/>
                  </a:lnTo>
                  <a:close/>
                  <a:moveTo>
                    <a:pt x="10057" y="13044"/>
                  </a:moveTo>
                  <a:lnTo>
                    <a:pt x="1006" y="13045"/>
                  </a:lnTo>
                  <a:lnTo>
                    <a:pt x="1006" y="3011"/>
                  </a:lnTo>
                  <a:lnTo>
                    <a:pt x="10057" y="3011"/>
                  </a:lnTo>
                  <a:lnTo>
                    <a:pt x="10057" y="13044"/>
                  </a:lnTo>
                  <a:close/>
                  <a:moveTo>
                    <a:pt x="10057" y="14553"/>
                  </a:moveTo>
                  <a:lnTo>
                    <a:pt x="10056" y="14578"/>
                  </a:lnTo>
                  <a:lnTo>
                    <a:pt x="10054" y="14604"/>
                  </a:lnTo>
                  <a:lnTo>
                    <a:pt x="10051" y="14629"/>
                  </a:lnTo>
                  <a:lnTo>
                    <a:pt x="10047" y="14653"/>
                  </a:lnTo>
                  <a:lnTo>
                    <a:pt x="10041" y="14677"/>
                  </a:lnTo>
                  <a:lnTo>
                    <a:pt x="10034" y="14701"/>
                  </a:lnTo>
                  <a:lnTo>
                    <a:pt x="10026" y="14724"/>
                  </a:lnTo>
                  <a:lnTo>
                    <a:pt x="10018" y="14747"/>
                  </a:lnTo>
                  <a:lnTo>
                    <a:pt x="10008" y="14769"/>
                  </a:lnTo>
                  <a:lnTo>
                    <a:pt x="9996" y="14791"/>
                  </a:lnTo>
                  <a:lnTo>
                    <a:pt x="9984" y="14813"/>
                  </a:lnTo>
                  <a:lnTo>
                    <a:pt x="9971" y="14833"/>
                  </a:lnTo>
                  <a:lnTo>
                    <a:pt x="9957" y="14853"/>
                  </a:lnTo>
                  <a:lnTo>
                    <a:pt x="9943" y="14872"/>
                  </a:lnTo>
                  <a:lnTo>
                    <a:pt x="9927" y="14890"/>
                  </a:lnTo>
                  <a:lnTo>
                    <a:pt x="9909" y="14907"/>
                  </a:lnTo>
                  <a:lnTo>
                    <a:pt x="9892" y="14924"/>
                  </a:lnTo>
                  <a:lnTo>
                    <a:pt x="9874" y="14939"/>
                  </a:lnTo>
                  <a:lnTo>
                    <a:pt x="9855" y="14954"/>
                  </a:lnTo>
                  <a:lnTo>
                    <a:pt x="9835" y="14968"/>
                  </a:lnTo>
                  <a:lnTo>
                    <a:pt x="9815" y="14981"/>
                  </a:lnTo>
                  <a:lnTo>
                    <a:pt x="9794" y="14993"/>
                  </a:lnTo>
                  <a:lnTo>
                    <a:pt x="9772" y="15004"/>
                  </a:lnTo>
                  <a:lnTo>
                    <a:pt x="9750" y="15014"/>
                  </a:lnTo>
                  <a:lnTo>
                    <a:pt x="9727" y="15023"/>
                  </a:lnTo>
                  <a:lnTo>
                    <a:pt x="9703" y="15031"/>
                  </a:lnTo>
                  <a:lnTo>
                    <a:pt x="9680" y="15038"/>
                  </a:lnTo>
                  <a:lnTo>
                    <a:pt x="9655" y="15043"/>
                  </a:lnTo>
                  <a:lnTo>
                    <a:pt x="9631" y="15048"/>
                  </a:lnTo>
                  <a:lnTo>
                    <a:pt x="9606" y="15051"/>
                  </a:lnTo>
                  <a:lnTo>
                    <a:pt x="9581" y="15053"/>
                  </a:lnTo>
                  <a:lnTo>
                    <a:pt x="9554" y="15054"/>
                  </a:lnTo>
                  <a:lnTo>
                    <a:pt x="1509" y="15054"/>
                  </a:lnTo>
                  <a:lnTo>
                    <a:pt x="1482" y="15053"/>
                  </a:lnTo>
                  <a:lnTo>
                    <a:pt x="1457" y="15051"/>
                  </a:lnTo>
                  <a:lnTo>
                    <a:pt x="1432" y="15048"/>
                  </a:lnTo>
                  <a:lnTo>
                    <a:pt x="1407" y="15044"/>
                  </a:lnTo>
                  <a:lnTo>
                    <a:pt x="1383" y="15038"/>
                  </a:lnTo>
                  <a:lnTo>
                    <a:pt x="1359" y="15031"/>
                  </a:lnTo>
                  <a:lnTo>
                    <a:pt x="1336" y="15024"/>
                  </a:lnTo>
                  <a:lnTo>
                    <a:pt x="1312" y="15015"/>
                  </a:lnTo>
                  <a:lnTo>
                    <a:pt x="1290" y="15005"/>
                  </a:lnTo>
                  <a:lnTo>
                    <a:pt x="1268" y="14994"/>
                  </a:lnTo>
                  <a:lnTo>
                    <a:pt x="1248" y="14982"/>
                  </a:lnTo>
                  <a:lnTo>
                    <a:pt x="1227" y="14969"/>
                  </a:lnTo>
                  <a:lnTo>
                    <a:pt x="1208" y="14955"/>
                  </a:lnTo>
                  <a:lnTo>
                    <a:pt x="1189" y="14940"/>
                  </a:lnTo>
                  <a:lnTo>
                    <a:pt x="1171" y="14924"/>
                  </a:lnTo>
                  <a:lnTo>
                    <a:pt x="1153" y="14907"/>
                  </a:lnTo>
                  <a:lnTo>
                    <a:pt x="1136" y="14890"/>
                  </a:lnTo>
                  <a:lnTo>
                    <a:pt x="1120" y="14872"/>
                  </a:lnTo>
                  <a:lnTo>
                    <a:pt x="1105" y="14853"/>
                  </a:lnTo>
                  <a:lnTo>
                    <a:pt x="1091" y="14833"/>
                  </a:lnTo>
                  <a:lnTo>
                    <a:pt x="1078" y="14813"/>
                  </a:lnTo>
                  <a:lnTo>
                    <a:pt x="1066" y="14791"/>
                  </a:lnTo>
                  <a:lnTo>
                    <a:pt x="1055" y="14770"/>
                  </a:lnTo>
                  <a:lnTo>
                    <a:pt x="1045" y="14748"/>
                  </a:lnTo>
                  <a:lnTo>
                    <a:pt x="1036" y="14725"/>
                  </a:lnTo>
                  <a:lnTo>
                    <a:pt x="1028" y="14702"/>
                  </a:lnTo>
                  <a:lnTo>
                    <a:pt x="1022" y="14678"/>
                  </a:lnTo>
                  <a:lnTo>
                    <a:pt x="1016" y="14654"/>
                  </a:lnTo>
                  <a:lnTo>
                    <a:pt x="1012" y="14629"/>
                  </a:lnTo>
                  <a:lnTo>
                    <a:pt x="1009" y="14604"/>
                  </a:lnTo>
                  <a:lnTo>
                    <a:pt x="1007" y="14579"/>
                  </a:lnTo>
                  <a:lnTo>
                    <a:pt x="1006" y="14553"/>
                  </a:lnTo>
                  <a:lnTo>
                    <a:pt x="1006" y="13547"/>
                  </a:lnTo>
                  <a:lnTo>
                    <a:pt x="10057" y="13546"/>
                  </a:lnTo>
                  <a:lnTo>
                    <a:pt x="10057" y="14553"/>
                  </a:lnTo>
                  <a:close/>
                  <a:moveTo>
                    <a:pt x="9554" y="0"/>
                  </a:moveTo>
                  <a:lnTo>
                    <a:pt x="1509" y="1"/>
                  </a:lnTo>
                  <a:lnTo>
                    <a:pt x="1431" y="3"/>
                  </a:lnTo>
                  <a:lnTo>
                    <a:pt x="1354" y="8"/>
                  </a:lnTo>
                  <a:lnTo>
                    <a:pt x="1278" y="18"/>
                  </a:lnTo>
                  <a:lnTo>
                    <a:pt x="1204" y="31"/>
                  </a:lnTo>
                  <a:lnTo>
                    <a:pt x="1131" y="48"/>
                  </a:lnTo>
                  <a:lnTo>
                    <a:pt x="1060" y="68"/>
                  </a:lnTo>
                  <a:lnTo>
                    <a:pt x="990" y="92"/>
                  </a:lnTo>
                  <a:lnTo>
                    <a:pt x="921" y="118"/>
                  </a:lnTo>
                  <a:lnTo>
                    <a:pt x="854" y="149"/>
                  </a:lnTo>
                  <a:lnTo>
                    <a:pt x="789" y="183"/>
                  </a:lnTo>
                  <a:lnTo>
                    <a:pt x="726" y="219"/>
                  </a:lnTo>
                  <a:lnTo>
                    <a:pt x="665" y="258"/>
                  </a:lnTo>
                  <a:lnTo>
                    <a:pt x="605" y="300"/>
                  </a:lnTo>
                  <a:lnTo>
                    <a:pt x="549" y="344"/>
                  </a:lnTo>
                  <a:lnTo>
                    <a:pt x="494" y="391"/>
                  </a:lnTo>
                  <a:lnTo>
                    <a:pt x="442" y="442"/>
                  </a:lnTo>
                  <a:lnTo>
                    <a:pt x="391" y="494"/>
                  </a:lnTo>
                  <a:lnTo>
                    <a:pt x="344" y="548"/>
                  </a:lnTo>
                  <a:lnTo>
                    <a:pt x="300" y="605"/>
                  </a:lnTo>
                  <a:lnTo>
                    <a:pt x="257" y="664"/>
                  </a:lnTo>
                  <a:lnTo>
                    <a:pt x="218" y="726"/>
                  </a:lnTo>
                  <a:lnTo>
                    <a:pt x="182" y="789"/>
                  </a:lnTo>
                  <a:lnTo>
                    <a:pt x="149" y="853"/>
                  </a:lnTo>
                  <a:lnTo>
                    <a:pt x="119" y="920"/>
                  </a:lnTo>
                  <a:lnTo>
                    <a:pt x="92" y="989"/>
                  </a:lnTo>
                  <a:lnTo>
                    <a:pt x="67" y="1058"/>
                  </a:lnTo>
                  <a:lnTo>
                    <a:pt x="47" y="1130"/>
                  </a:lnTo>
                  <a:lnTo>
                    <a:pt x="30" y="1202"/>
                  </a:lnTo>
                  <a:lnTo>
                    <a:pt x="17" y="1277"/>
                  </a:lnTo>
                  <a:lnTo>
                    <a:pt x="8" y="1352"/>
                  </a:lnTo>
                  <a:lnTo>
                    <a:pt x="2" y="1428"/>
                  </a:lnTo>
                  <a:lnTo>
                    <a:pt x="0" y="1505"/>
                  </a:lnTo>
                  <a:lnTo>
                    <a:pt x="0" y="14553"/>
                  </a:lnTo>
                  <a:lnTo>
                    <a:pt x="2" y="14630"/>
                  </a:lnTo>
                  <a:lnTo>
                    <a:pt x="8" y="14706"/>
                  </a:lnTo>
                  <a:lnTo>
                    <a:pt x="17" y="14781"/>
                  </a:lnTo>
                  <a:lnTo>
                    <a:pt x="30" y="14856"/>
                  </a:lnTo>
                  <a:lnTo>
                    <a:pt x="47" y="14929"/>
                  </a:lnTo>
                  <a:lnTo>
                    <a:pt x="67" y="15000"/>
                  </a:lnTo>
                  <a:lnTo>
                    <a:pt x="92" y="15070"/>
                  </a:lnTo>
                  <a:lnTo>
                    <a:pt x="119" y="15139"/>
                  </a:lnTo>
                  <a:lnTo>
                    <a:pt x="149" y="15205"/>
                  </a:lnTo>
                  <a:lnTo>
                    <a:pt x="182" y="15270"/>
                  </a:lnTo>
                  <a:lnTo>
                    <a:pt x="218" y="15333"/>
                  </a:lnTo>
                  <a:lnTo>
                    <a:pt x="257" y="15395"/>
                  </a:lnTo>
                  <a:lnTo>
                    <a:pt x="300" y="15453"/>
                  </a:lnTo>
                  <a:lnTo>
                    <a:pt x="344" y="15510"/>
                  </a:lnTo>
                  <a:lnTo>
                    <a:pt x="391" y="15565"/>
                  </a:lnTo>
                  <a:lnTo>
                    <a:pt x="442" y="15617"/>
                  </a:lnTo>
                  <a:lnTo>
                    <a:pt x="494" y="15667"/>
                  </a:lnTo>
                  <a:lnTo>
                    <a:pt x="549" y="15714"/>
                  </a:lnTo>
                  <a:lnTo>
                    <a:pt x="605" y="15759"/>
                  </a:lnTo>
                  <a:lnTo>
                    <a:pt x="665" y="15801"/>
                  </a:lnTo>
                  <a:lnTo>
                    <a:pt x="726" y="15840"/>
                  </a:lnTo>
                  <a:lnTo>
                    <a:pt x="789" y="15876"/>
                  </a:lnTo>
                  <a:lnTo>
                    <a:pt x="854" y="15909"/>
                  </a:lnTo>
                  <a:lnTo>
                    <a:pt x="921" y="15940"/>
                  </a:lnTo>
                  <a:lnTo>
                    <a:pt x="990" y="15967"/>
                  </a:lnTo>
                  <a:lnTo>
                    <a:pt x="1060" y="15991"/>
                  </a:lnTo>
                  <a:lnTo>
                    <a:pt x="1131" y="16011"/>
                  </a:lnTo>
                  <a:lnTo>
                    <a:pt x="1204" y="16028"/>
                  </a:lnTo>
                  <a:lnTo>
                    <a:pt x="1278" y="16041"/>
                  </a:lnTo>
                  <a:lnTo>
                    <a:pt x="1354" y="16050"/>
                  </a:lnTo>
                  <a:lnTo>
                    <a:pt x="1431" y="16056"/>
                  </a:lnTo>
                  <a:lnTo>
                    <a:pt x="1509" y="16058"/>
                  </a:lnTo>
                  <a:lnTo>
                    <a:pt x="9554" y="16057"/>
                  </a:lnTo>
                  <a:lnTo>
                    <a:pt x="9632" y="16055"/>
                  </a:lnTo>
                  <a:lnTo>
                    <a:pt x="9708" y="16050"/>
                  </a:lnTo>
                  <a:lnTo>
                    <a:pt x="9784" y="16040"/>
                  </a:lnTo>
                  <a:lnTo>
                    <a:pt x="9858" y="16027"/>
                  </a:lnTo>
                  <a:lnTo>
                    <a:pt x="9932" y="16010"/>
                  </a:lnTo>
                  <a:lnTo>
                    <a:pt x="10003" y="15990"/>
                  </a:lnTo>
                  <a:lnTo>
                    <a:pt x="10073" y="15966"/>
                  </a:lnTo>
                  <a:lnTo>
                    <a:pt x="10142" y="15940"/>
                  </a:lnTo>
                  <a:lnTo>
                    <a:pt x="10208" y="15909"/>
                  </a:lnTo>
                  <a:lnTo>
                    <a:pt x="10274" y="15875"/>
                  </a:lnTo>
                  <a:lnTo>
                    <a:pt x="10337" y="15839"/>
                  </a:lnTo>
                  <a:lnTo>
                    <a:pt x="10397" y="15800"/>
                  </a:lnTo>
                  <a:lnTo>
                    <a:pt x="10457" y="15758"/>
                  </a:lnTo>
                  <a:lnTo>
                    <a:pt x="10514" y="15714"/>
                  </a:lnTo>
                  <a:lnTo>
                    <a:pt x="10568" y="15667"/>
                  </a:lnTo>
                  <a:lnTo>
                    <a:pt x="10620" y="15616"/>
                  </a:lnTo>
                  <a:lnTo>
                    <a:pt x="10671" y="15564"/>
                  </a:lnTo>
                  <a:lnTo>
                    <a:pt x="10718" y="15510"/>
                  </a:lnTo>
                  <a:lnTo>
                    <a:pt x="10763" y="15453"/>
                  </a:lnTo>
                  <a:lnTo>
                    <a:pt x="10806" y="15394"/>
                  </a:lnTo>
                  <a:lnTo>
                    <a:pt x="10845" y="15332"/>
                  </a:lnTo>
                  <a:lnTo>
                    <a:pt x="10881" y="15269"/>
                  </a:lnTo>
                  <a:lnTo>
                    <a:pt x="10914" y="15205"/>
                  </a:lnTo>
                  <a:lnTo>
                    <a:pt x="10944" y="15138"/>
                  </a:lnTo>
                  <a:lnTo>
                    <a:pt x="10971" y="15069"/>
                  </a:lnTo>
                  <a:lnTo>
                    <a:pt x="10996" y="15000"/>
                  </a:lnTo>
                  <a:lnTo>
                    <a:pt x="11016" y="14928"/>
                  </a:lnTo>
                  <a:lnTo>
                    <a:pt x="11032" y="14856"/>
                  </a:lnTo>
                  <a:lnTo>
                    <a:pt x="11046" y="14781"/>
                  </a:lnTo>
                  <a:lnTo>
                    <a:pt x="11055" y="14706"/>
                  </a:lnTo>
                  <a:lnTo>
                    <a:pt x="11061" y="14630"/>
                  </a:lnTo>
                  <a:lnTo>
                    <a:pt x="11063" y="14553"/>
                  </a:lnTo>
                  <a:lnTo>
                    <a:pt x="11063" y="1505"/>
                  </a:lnTo>
                  <a:lnTo>
                    <a:pt x="11061" y="1428"/>
                  </a:lnTo>
                  <a:lnTo>
                    <a:pt x="11055" y="1352"/>
                  </a:lnTo>
                  <a:lnTo>
                    <a:pt x="11046" y="1277"/>
                  </a:lnTo>
                  <a:lnTo>
                    <a:pt x="11032" y="1202"/>
                  </a:lnTo>
                  <a:lnTo>
                    <a:pt x="11016" y="1129"/>
                  </a:lnTo>
                  <a:lnTo>
                    <a:pt x="10996" y="1058"/>
                  </a:lnTo>
                  <a:lnTo>
                    <a:pt x="10971" y="988"/>
                  </a:lnTo>
                  <a:lnTo>
                    <a:pt x="10944" y="919"/>
                  </a:lnTo>
                  <a:lnTo>
                    <a:pt x="10914" y="853"/>
                  </a:lnTo>
                  <a:lnTo>
                    <a:pt x="10881" y="788"/>
                  </a:lnTo>
                  <a:lnTo>
                    <a:pt x="10845" y="725"/>
                  </a:lnTo>
                  <a:lnTo>
                    <a:pt x="10806" y="663"/>
                  </a:lnTo>
                  <a:lnTo>
                    <a:pt x="10763" y="605"/>
                  </a:lnTo>
                  <a:lnTo>
                    <a:pt x="10718" y="548"/>
                  </a:lnTo>
                  <a:lnTo>
                    <a:pt x="10671" y="493"/>
                  </a:lnTo>
                  <a:lnTo>
                    <a:pt x="10620" y="441"/>
                  </a:lnTo>
                  <a:lnTo>
                    <a:pt x="10568" y="391"/>
                  </a:lnTo>
                  <a:lnTo>
                    <a:pt x="10514" y="344"/>
                  </a:lnTo>
                  <a:lnTo>
                    <a:pt x="10457" y="299"/>
                  </a:lnTo>
                  <a:lnTo>
                    <a:pt x="10397" y="257"/>
                  </a:lnTo>
                  <a:lnTo>
                    <a:pt x="10337" y="218"/>
                  </a:lnTo>
                  <a:lnTo>
                    <a:pt x="10274" y="182"/>
                  </a:lnTo>
                  <a:lnTo>
                    <a:pt x="10208" y="149"/>
                  </a:lnTo>
                  <a:lnTo>
                    <a:pt x="10142" y="118"/>
                  </a:lnTo>
                  <a:lnTo>
                    <a:pt x="10073" y="91"/>
                  </a:lnTo>
                  <a:lnTo>
                    <a:pt x="10003" y="67"/>
                  </a:lnTo>
                  <a:lnTo>
                    <a:pt x="9932" y="47"/>
                  </a:lnTo>
                  <a:lnTo>
                    <a:pt x="9858" y="30"/>
                  </a:lnTo>
                  <a:lnTo>
                    <a:pt x="9784" y="17"/>
                  </a:lnTo>
                  <a:lnTo>
                    <a:pt x="9708" y="8"/>
                  </a:lnTo>
                  <a:lnTo>
                    <a:pt x="9632" y="2"/>
                  </a:lnTo>
                  <a:lnTo>
                    <a:pt x="955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64" name="îšľiḓê">
              <a:extLst>
                <a:ext uri="{FF2B5EF4-FFF2-40B4-BE49-F238E27FC236}">
                  <a16:creationId xmlns:a16="http://schemas.microsoft.com/office/drawing/2014/main" id="{CA765B6F-CFDC-404F-AE52-B1BE76E4B893}"/>
                </a:ext>
              </a:extLst>
            </p:cNvPr>
            <p:cNvSpPr/>
            <p:nvPr/>
          </p:nvSpPr>
          <p:spPr bwMode="auto">
            <a:xfrm>
              <a:off x="5102500" y="1386119"/>
              <a:ext cx="31635" cy="7478"/>
            </a:xfrm>
            <a:custGeom>
              <a:avLst/>
              <a:gdLst>
                <a:gd name="T0" fmla="*/ 2010 w 2011"/>
                <a:gd name="T1" fmla="*/ 276 h 502"/>
                <a:gd name="T2" fmla="*/ 2003 w 2011"/>
                <a:gd name="T3" fmla="*/ 314 h 502"/>
                <a:gd name="T4" fmla="*/ 1991 w 2011"/>
                <a:gd name="T5" fmla="*/ 349 h 502"/>
                <a:gd name="T6" fmla="*/ 1975 w 2011"/>
                <a:gd name="T7" fmla="*/ 382 h 502"/>
                <a:gd name="T8" fmla="*/ 1954 w 2011"/>
                <a:gd name="T9" fmla="*/ 411 h 502"/>
                <a:gd name="T10" fmla="*/ 1929 w 2011"/>
                <a:gd name="T11" fmla="*/ 437 h 502"/>
                <a:gd name="T12" fmla="*/ 1900 w 2011"/>
                <a:gd name="T13" fmla="*/ 459 h 502"/>
                <a:gd name="T14" fmla="*/ 1868 w 2011"/>
                <a:gd name="T15" fmla="*/ 477 h 502"/>
                <a:gd name="T16" fmla="*/ 1834 w 2011"/>
                <a:gd name="T17" fmla="*/ 491 h 502"/>
                <a:gd name="T18" fmla="*/ 1798 w 2011"/>
                <a:gd name="T19" fmla="*/ 499 h 502"/>
                <a:gd name="T20" fmla="*/ 1760 w 2011"/>
                <a:gd name="T21" fmla="*/ 502 h 502"/>
                <a:gd name="T22" fmla="*/ 225 w 2011"/>
                <a:gd name="T23" fmla="*/ 501 h 502"/>
                <a:gd name="T24" fmla="*/ 188 w 2011"/>
                <a:gd name="T25" fmla="*/ 494 h 502"/>
                <a:gd name="T26" fmla="*/ 153 w 2011"/>
                <a:gd name="T27" fmla="*/ 482 h 502"/>
                <a:gd name="T28" fmla="*/ 120 w 2011"/>
                <a:gd name="T29" fmla="*/ 466 h 502"/>
                <a:gd name="T30" fmla="*/ 91 w 2011"/>
                <a:gd name="T31" fmla="*/ 445 h 502"/>
                <a:gd name="T32" fmla="*/ 65 w 2011"/>
                <a:gd name="T33" fmla="*/ 420 h 502"/>
                <a:gd name="T34" fmla="*/ 43 w 2011"/>
                <a:gd name="T35" fmla="*/ 392 h 502"/>
                <a:gd name="T36" fmla="*/ 25 w 2011"/>
                <a:gd name="T37" fmla="*/ 360 h 502"/>
                <a:gd name="T38" fmla="*/ 11 w 2011"/>
                <a:gd name="T39" fmla="*/ 326 h 502"/>
                <a:gd name="T40" fmla="*/ 3 w 2011"/>
                <a:gd name="T41" fmla="*/ 289 h 502"/>
                <a:gd name="T42" fmla="*/ 0 w 2011"/>
                <a:gd name="T43" fmla="*/ 251 h 502"/>
                <a:gd name="T44" fmla="*/ 3 w 2011"/>
                <a:gd name="T45" fmla="*/ 213 h 502"/>
                <a:gd name="T46" fmla="*/ 11 w 2011"/>
                <a:gd name="T47" fmla="*/ 177 h 502"/>
                <a:gd name="T48" fmla="*/ 25 w 2011"/>
                <a:gd name="T49" fmla="*/ 143 h 502"/>
                <a:gd name="T50" fmla="*/ 43 w 2011"/>
                <a:gd name="T51" fmla="*/ 111 h 502"/>
                <a:gd name="T52" fmla="*/ 65 w 2011"/>
                <a:gd name="T53" fmla="*/ 83 h 502"/>
                <a:gd name="T54" fmla="*/ 91 w 2011"/>
                <a:gd name="T55" fmla="*/ 58 h 502"/>
                <a:gd name="T56" fmla="*/ 120 w 2011"/>
                <a:gd name="T57" fmla="*/ 37 h 502"/>
                <a:gd name="T58" fmla="*/ 153 w 2011"/>
                <a:gd name="T59" fmla="*/ 21 h 502"/>
                <a:gd name="T60" fmla="*/ 188 w 2011"/>
                <a:gd name="T61" fmla="*/ 8 h 502"/>
                <a:gd name="T62" fmla="*/ 225 w 2011"/>
                <a:gd name="T63" fmla="*/ 1 h 502"/>
                <a:gd name="T64" fmla="*/ 1760 w 2011"/>
                <a:gd name="T65" fmla="*/ 0 h 502"/>
                <a:gd name="T66" fmla="*/ 1798 w 2011"/>
                <a:gd name="T67" fmla="*/ 3 h 502"/>
                <a:gd name="T68" fmla="*/ 1834 w 2011"/>
                <a:gd name="T69" fmla="*/ 11 h 502"/>
                <a:gd name="T70" fmla="*/ 1868 w 2011"/>
                <a:gd name="T71" fmla="*/ 26 h 502"/>
                <a:gd name="T72" fmla="*/ 1900 w 2011"/>
                <a:gd name="T73" fmla="*/ 44 h 502"/>
                <a:gd name="T74" fmla="*/ 1929 w 2011"/>
                <a:gd name="T75" fmla="*/ 66 h 502"/>
                <a:gd name="T76" fmla="*/ 1954 w 2011"/>
                <a:gd name="T77" fmla="*/ 92 h 502"/>
                <a:gd name="T78" fmla="*/ 1975 w 2011"/>
                <a:gd name="T79" fmla="*/ 121 h 502"/>
                <a:gd name="T80" fmla="*/ 1991 w 2011"/>
                <a:gd name="T81" fmla="*/ 154 h 502"/>
                <a:gd name="T82" fmla="*/ 2003 w 2011"/>
                <a:gd name="T83" fmla="*/ 189 h 502"/>
                <a:gd name="T84" fmla="*/ 2010 w 2011"/>
                <a:gd name="T85" fmla="*/ 225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11" h="502">
                  <a:moveTo>
                    <a:pt x="2011" y="251"/>
                  </a:moveTo>
                  <a:lnTo>
                    <a:pt x="2011" y="264"/>
                  </a:lnTo>
                  <a:lnTo>
                    <a:pt x="2010" y="276"/>
                  </a:lnTo>
                  <a:lnTo>
                    <a:pt x="2008" y="289"/>
                  </a:lnTo>
                  <a:lnTo>
                    <a:pt x="2006" y="302"/>
                  </a:lnTo>
                  <a:lnTo>
                    <a:pt x="2003" y="314"/>
                  </a:lnTo>
                  <a:lnTo>
                    <a:pt x="2000" y="326"/>
                  </a:lnTo>
                  <a:lnTo>
                    <a:pt x="1996" y="338"/>
                  </a:lnTo>
                  <a:lnTo>
                    <a:pt x="1991" y="349"/>
                  </a:lnTo>
                  <a:lnTo>
                    <a:pt x="1986" y="360"/>
                  </a:lnTo>
                  <a:lnTo>
                    <a:pt x="1981" y="371"/>
                  </a:lnTo>
                  <a:lnTo>
                    <a:pt x="1975" y="382"/>
                  </a:lnTo>
                  <a:lnTo>
                    <a:pt x="1968" y="392"/>
                  </a:lnTo>
                  <a:lnTo>
                    <a:pt x="1961" y="402"/>
                  </a:lnTo>
                  <a:lnTo>
                    <a:pt x="1954" y="411"/>
                  </a:lnTo>
                  <a:lnTo>
                    <a:pt x="1946" y="420"/>
                  </a:lnTo>
                  <a:lnTo>
                    <a:pt x="1938" y="429"/>
                  </a:lnTo>
                  <a:lnTo>
                    <a:pt x="1929" y="437"/>
                  </a:lnTo>
                  <a:lnTo>
                    <a:pt x="1920" y="445"/>
                  </a:lnTo>
                  <a:lnTo>
                    <a:pt x="1910" y="452"/>
                  </a:lnTo>
                  <a:lnTo>
                    <a:pt x="1900" y="459"/>
                  </a:lnTo>
                  <a:lnTo>
                    <a:pt x="1890" y="466"/>
                  </a:lnTo>
                  <a:lnTo>
                    <a:pt x="1879" y="472"/>
                  </a:lnTo>
                  <a:lnTo>
                    <a:pt x="1868" y="477"/>
                  </a:lnTo>
                  <a:lnTo>
                    <a:pt x="1857" y="482"/>
                  </a:lnTo>
                  <a:lnTo>
                    <a:pt x="1846" y="487"/>
                  </a:lnTo>
                  <a:lnTo>
                    <a:pt x="1834" y="491"/>
                  </a:lnTo>
                  <a:lnTo>
                    <a:pt x="1822" y="494"/>
                  </a:lnTo>
                  <a:lnTo>
                    <a:pt x="1810" y="497"/>
                  </a:lnTo>
                  <a:lnTo>
                    <a:pt x="1798" y="499"/>
                  </a:lnTo>
                  <a:lnTo>
                    <a:pt x="1785" y="501"/>
                  </a:lnTo>
                  <a:lnTo>
                    <a:pt x="1773" y="502"/>
                  </a:lnTo>
                  <a:lnTo>
                    <a:pt x="1760" y="502"/>
                  </a:lnTo>
                  <a:lnTo>
                    <a:pt x="251" y="502"/>
                  </a:lnTo>
                  <a:lnTo>
                    <a:pt x="238" y="502"/>
                  </a:lnTo>
                  <a:lnTo>
                    <a:pt x="225" y="501"/>
                  </a:lnTo>
                  <a:lnTo>
                    <a:pt x="213" y="499"/>
                  </a:lnTo>
                  <a:lnTo>
                    <a:pt x="200" y="497"/>
                  </a:lnTo>
                  <a:lnTo>
                    <a:pt x="188" y="494"/>
                  </a:lnTo>
                  <a:lnTo>
                    <a:pt x="176" y="491"/>
                  </a:lnTo>
                  <a:lnTo>
                    <a:pt x="165" y="487"/>
                  </a:lnTo>
                  <a:lnTo>
                    <a:pt x="153" y="482"/>
                  </a:lnTo>
                  <a:lnTo>
                    <a:pt x="142" y="477"/>
                  </a:lnTo>
                  <a:lnTo>
                    <a:pt x="132" y="472"/>
                  </a:lnTo>
                  <a:lnTo>
                    <a:pt x="120" y="466"/>
                  </a:lnTo>
                  <a:lnTo>
                    <a:pt x="110" y="459"/>
                  </a:lnTo>
                  <a:lnTo>
                    <a:pt x="100" y="452"/>
                  </a:lnTo>
                  <a:lnTo>
                    <a:pt x="91" y="445"/>
                  </a:lnTo>
                  <a:lnTo>
                    <a:pt x="82" y="437"/>
                  </a:lnTo>
                  <a:lnTo>
                    <a:pt x="73" y="429"/>
                  </a:lnTo>
                  <a:lnTo>
                    <a:pt x="65" y="420"/>
                  </a:lnTo>
                  <a:lnTo>
                    <a:pt x="57" y="411"/>
                  </a:lnTo>
                  <a:lnTo>
                    <a:pt x="49" y="402"/>
                  </a:lnTo>
                  <a:lnTo>
                    <a:pt x="43" y="392"/>
                  </a:lnTo>
                  <a:lnTo>
                    <a:pt x="36" y="382"/>
                  </a:lnTo>
                  <a:lnTo>
                    <a:pt x="30" y="371"/>
                  </a:lnTo>
                  <a:lnTo>
                    <a:pt x="25" y="360"/>
                  </a:lnTo>
                  <a:lnTo>
                    <a:pt x="20" y="349"/>
                  </a:lnTo>
                  <a:lnTo>
                    <a:pt x="15" y="338"/>
                  </a:lnTo>
                  <a:lnTo>
                    <a:pt x="11" y="326"/>
                  </a:lnTo>
                  <a:lnTo>
                    <a:pt x="8" y="314"/>
                  </a:lnTo>
                  <a:lnTo>
                    <a:pt x="5" y="302"/>
                  </a:lnTo>
                  <a:lnTo>
                    <a:pt x="3" y="289"/>
                  </a:lnTo>
                  <a:lnTo>
                    <a:pt x="1" y="276"/>
                  </a:lnTo>
                  <a:lnTo>
                    <a:pt x="0" y="264"/>
                  </a:lnTo>
                  <a:lnTo>
                    <a:pt x="0" y="251"/>
                  </a:lnTo>
                  <a:lnTo>
                    <a:pt x="0" y="238"/>
                  </a:lnTo>
                  <a:lnTo>
                    <a:pt x="1" y="225"/>
                  </a:lnTo>
                  <a:lnTo>
                    <a:pt x="3" y="213"/>
                  </a:lnTo>
                  <a:lnTo>
                    <a:pt x="5" y="201"/>
                  </a:lnTo>
                  <a:lnTo>
                    <a:pt x="8" y="189"/>
                  </a:lnTo>
                  <a:lnTo>
                    <a:pt x="11" y="177"/>
                  </a:lnTo>
                  <a:lnTo>
                    <a:pt x="15" y="165"/>
                  </a:lnTo>
                  <a:lnTo>
                    <a:pt x="20" y="154"/>
                  </a:lnTo>
                  <a:lnTo>
                    <a:pt x="25" y="143"/>
                  </a:lnTo>
                  <a:lnTo>
                    <a:pt x="30" y="132"/>
                  </a:lnTo>
                  <a:lnTo>
                    <a:pt x="36" y="121"/>
                  </a:lnTo>
                  <a:lnTo>
                    <a:pt x="43" y="111"/>
                  </a:lnTo>
                  <a:lnTo>
                    <a:pt x="49" y="101"/>
                  </a:lnTo>
                  <a:lnTo>
                    <a:pt x="57" y="92"/>
                  </a:lnTo>
                  <a:lnTo>
                    <a:pt x="65" y="83"/>
                  </a:lnTo>
                  <a:lnTo>
                    <a:pt x="73" y="74"/>
                  </a:lnTo>
                  <a:lnTo>
                    <a:pt x="82" y="66"/>
                  </a:lnTo>
                  <a:lnTo>
                    <a:pt x="91" y="58"/>
                  </a:lnTo>
                  <a:lnTo>
                    <a:pt x="100" y="51"/>
                  </a:lnTo>
                  <a:lnTo>
                    <a:pt x="110" y="44"/>
                  </a:lnTo>
                  <a:lnTo>
                    <a:pt x="120" y="37"/>
                  </a:lnTo>
                  <a:lnTo>
                    <a:pt x="132" y="31"/>
                  </a:lnTo>
                  <a:lnTo>
                    <a:pt x="142" y="26"/>
                  </a:lnTo>
                  <a:lnTo>
                    <a:pt x="153" y="21"/>
                  </a:lnTo>
                  <a:lnTo>
                    <a:pt x="165" y="15"/>
                  </a:lnTo>
                  <a:lnTo>
                    <a:pt x="176" y="11"/>
                  </a:lnTo>
                  <a:lnTo>
                    <a:pt x="188" y="8"/>
                  </a:lnTo>
                  <a:lnTo>
                    <a:pt x="200" y="5"/>
                  </a:lnTo>
                  <a:lnTo>
                    <a:pt x="213" y="3"/>
                  </a:lnTo>
                  <a:lnTo>
                    <a:pt x="225" y="1"/>
                  </a:lnTo>
                  <a:lnTo>
                    <a:pt x="238" y="0"/>
                  </a:lnTo>
                  <a:lnTo>
                    <a:pt x="251" y="0"/>
                  </a:lnTo>
                  <a:lnTo>
                    <a:pt x="1760" y="0"/>
                  </a:lnTo>
                  <a:lnTo>
                    <a:pt x="1773" y="0"/>
                  </a:lnTo>
                  <a:lnTo>
                    <a:pt x="1785" y="1"/>
                  </a:lnTo>
                  <a:lnTo>
                    <a:pt x="1798" y="3"/>
                  </a:lnTo>
                  <a:lnTo>
                    <a:pt x="1810" y="5"/>
                  </a:lnTo>
                  <a:lnTo>
                    <a:pt x="1822" y="8"/>
                  </a:lnTo>
                  <a:lnTo>
                    <a:pt x="1834" y="11"/>
                  </a:lnTo>
                  <a:lnTo>
                    <a:pt x="1846" y="15"/>
                  </a:lnTo>
                  <a:lnTo>
                    <a:pt x="1857" y="21"/>
                  </a:lnTo>
                  <a:lnTo>
                    <a:pt x="1868" y="26"/>
                  </a:lnTo>
                  <a:lnTo>
                    <a:pt x="1879" y="31"/>
                  </a:lnTo>
                  <a:lnTo>
                    <a:pt x="1890" y="37"/>
                  </a:lnTo>
                  <a:lnTo>
                    <a:pt x="1900" y="44"/>
                  </a:lnTo>
                  <a:lnTo>
                    <a:pt x="1910" y="51"/>
                  </a:lnTo>
                  <a:lnTo>
                    <a:pt x="1920" y="58"/>
                  </a:lnTo>
                  <a:lnTo>
                    <a:pt x="1929" y="66"/>
                  </a:lnTo>
                  <a:lnTo>
                    <a:pt x="1938" y="74"/>
                  </a:lnTo>
                  <a:lnTo>
                    <a:pt x="1946" y="83"/>
                  </a:lnTo>
                  <a:lnTo>
                    <a:pt x="1954" y="92"/>
                  </a:lnTo>
                  <a:lnTo>
                    <a:pt x="1961" y="101"/>
                  </a:lnTo>
                  <a:lnTo>
                    <a:pt x="1968" y="111"/>
                  </a:lnTo>
                  <a:lnTo>
                    <a:pt x="1975" y="121"/>
                  </a:lnTo>
                  <a:lnTo>
                    <a:pt x="1981" y="132"/>
                  </a:lnTo>
                  <a:lnTo>
                    <a:pt x="1986" y="143"/>
                  </a:lnTo>
                  <a:lnTo>
                    <a:pt x="1991" y="154"/>
                  </a:lnTo>
                  <a:lnTo>
                    <a:pt x="1996" y="165"/>
                  </a:lnTo>
                  <a:lnTo>
                    <a:pt x="2000" y="177"/>
                  </a:lnTo>
                  <a:lnTo>
                    <a:pt x="2003" y="189"/>
                  </a:lnTo>
                  <a:lnTo>
                    <a:pt x="2006" y="201"/>
                  </a:lnTo>
                  <a:lnTo>
                    <a:pt x="2008" y="213"/>
                  </a:lnTo>
                  <a:lnTo>
                    <a:pt x="2010" y="225"/>
                  </a:lnTo>
                  <a:lnTo>
                    <a:pt x="2011" y="238"/>
                  </a:lnTo>
                  <a:lnTo>
                    <a:pt x="2011" y="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65" name="îślíďe">
              <a:extLst>
                <a:ext uri="{FF2B5EF4-FFF2-40B4-BE49-F238E27FC236}">
                  <a16:creationId xmlns:a16="http://schemas.microsoft.com/office/drawing/2014/main" id="{B13FC156-A01A-4BBE-BB99-6A0FA5998F4B}"/>
                </a:ext>
              </a:extLst>
            </p:cNvPr>
            <p:cNvSpPr/>
            <p:nvPr/>
          </p:nvSpPr>
          <p:spPr bwMode="auto">
            <a:xfrm>
              <a:off x="5110553" y="1581110"/>
              <a:ext cx="15530" cy="7478"/>
            </a:xfrm>
            <a:custGeom>
              <a:avLst/>
              <a:gdLst>
                <a:gd name="T0" fmla="*/ 1004 w 1005"/>
                <a:gd name="T1" fmla="*/ 277 h 503"/>
                <a:gd name="T2" fmla="*/ 997 w 1005"/>
                <a:gd name="T3" fmla="*/ 314 h 503"/>
                <a:gd name="T4" fmla="*/ 985 w 1005"/>
                <a:gd name="T5" fmla="*/ 349 h 503"/>
                <a:gd name="T6" fmla="*/ 969 w 1005"/>
                <a:gd name="T7" fmla="*/ 381 h 503"/>
                <a:gd name="T8" fmla="*/ 948 w 1005"/>
                <a:gd name="T9" fmla="*/ 411 h 503"/>
                <a:gd name="T10" fmla="*/ 923 w 1005"/>
                <a:gd name="T11" fmla="*/ 437 h 503"/>
                <a:gd name="T12" fmla="*/ 894 w 1005"/>
                <a:gd name="T13" fmla="*/ 459 h 503"/>
                <a:gd name="T14" fmla="*/ 863 w 1005"/>
                <a:gd name="T15" fmla="*/ 477 h 503"/>
                <a:gd name="T16" fmla="*/ 828 w 1005"/>
                <a:gd name="T17" fmla="*/ 491 h 503"/>
                <a:gd name="T18" fmla="*/ 792 w 1005"/>
                <a:gd name="T19" fmla="*/ 500 h 503"/>
                <a:gd name="T20" fmla="*/ 754 w 1005"/>
                <a:gd name="T21" fmla="*/ 503 h 503"/>
                <a:gd name="T22" fmla="*/ 225 w 1005"/>
                <a:gd name="T23" fmla="*/ 501 h 503"/>
                <a:gd name="T24" fmla="*/ 188 w 1005"/>
                <a:gd name="T25" fmla="*/ 495 h 503"/>
                <a:gd name="T26" fmla="*/ 153 w 1005"/>
                <a:gd name="T27" fmla="*/ 482 h 503"/>
                <a:gd name="T28" fmla="*/ 120 w 1005"/>
                <a:gd name="T29" fmla="*/ 465 h 503"/>
                <a:gd name="T30" fmla="*/ 91 w 1005"/>
                <a:gd name="T31" fmla="*/ 444 h 503"/>
                <a:gd name="T32" fmla="*/ 65 w 1005"/>
                <a:gd name="T33" fmla="*/ 420 h 503"/>
                <a:gd name="T34" fmla="*/ 43 w 1005"/>
                <a:gd name="T35" fmla="*/ 391 h 503"/>
                <a:gd name="T36" fmla="*/ 25 w 1005"/>
                <a:gd name="T37" fmla="*/ 360 h 503"/>
                <a:gd name="T38" fmla="*/ 11 w 1005"/>
                <a:gd name="T39" fmla="*/ 326 h 503"/>
                <a:gd name="T40" fmla="*/ 3 w 1005"/>
                <a:gd name="T41" fmla="*/ 290 h 503"/>
                <a:gd name="T42" fmla="*/ 0 w 1005"/>
                <a:gd name="T43" fmla="*/ 252 h 503"/>
                <a:gd name="T44" fmla="*/ 3 w 1005"/>
                <a:gd name="T45" fmla="*/ 214 h 503"/>
                <a:gd name="T46" fmla="*/ 11 w 1005"/>
                <a:gd name="T47" fmla="*/ 176 h 503"/>
                <a:gd name="T48" fmla="*/ 25 w 1005"/>
                <a:gd name="T49" fmla="*/ 142 h 503"/>
                <a:gd name="T50" fmla="*/ 43 w 1005"/>
                <a:gd name="T51" fmla="*/ 111 h 503"/>
                <a:gd name="T52" fmla="*/ 65 w 1005"/>
                <a:gd name="T53" fmla="*/ 82 h 503"/>
                <a:gd name="T54" fmla="*/ 91 w 1005"/>
                <a:gd name="T55" fmla="*/ 58 h 503"/>
                <a:gd name="T56" fmla="*/ 120 w 1005"/>
                <a:gd name="T57" fmla="*/ 37 h 503"/>
                <a:gd name="T58" fmla="*/ 153 w 1005"/>
                <a:gd name="T59" fmla="*/ 20 h 503"/>
                <a:gd name="T60" fmla="*/ 188 w 1005"/>
                <a:gd name="T61" fmla="*/ 8 h 503"/>
                <a:gd name="T62" fmla="*/ 225 w 1005"/>
                <a:gd name="T63" fmla="*/ 2 h 503"/>
                <a:gd name="T64" fmla="*/ 754 w 1005"/>
                <a:gd name="T65" fmla="*/ 0 h 503"/>
                <a:gd name="T66" fmla="*/ 792 w 1005"/>
                <a:gd name="T67" fmla="*/ 3 h 503"/>
                <a:gd name="T68" fmla="*/ 828 w 1005"/>
                <a:gd name="T69" fmla="*/ 12 h 503"/>
                <a:gd name="T70" fmla="*/ 863 w 1005"/>
                <a:gd name="T71" fmla="*/ 25 h 503"/>
                <a:gd name="T72" fmla="*/ 894 w 1005"/>
                <a:gd name="T73" fmla="*/ 43 h 503"/>
                <a:gd name="T74" fmla="*/ 923 w 1005"/>
                <a:gd name="T75" fmla="*/ 65 h 503"/>
                <a:gd name="T76" fmla="*/ 948 w 1005"/>
                <a:gd name="T77" fmla="*/ 92 h 503"/>
                <a:gd name="T78" fmla="*/ 969 w 1005"/>
                <a:gd name="T79" fmla="*/ 121 h 503"/>
                <a:gd name="T80" fmla="*/ 985 w 1005"/>
                <a:gd name="T81" fmla="*/ 153 h 503"/>
                <a:gd name="T82" fmla="*/ 997 w 1005"/>
                <a:gd name="T83" fmla="*/ 188 h 503"/>
                <a:gd name="T84" fmla="*/ 1004 w 1005"/>
                <a:gd name="T85" fmla="*/ 226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" h="503">
                  <a:moveTo>
                    <a:pt x="1005" y="252"/>
                  </a:moveTo>
                  <a:lnTo>
                    <a:pt x="1005" y="264"/>
                  </a:lnTo>
                  <a:lnTo>
                    <a:pt x="1004" y="277"/>
                  </a:lnTo>
                  <a:lnTo>
                    <a:pt x="1002" y="290"/>
                  </a:lnTo>
                  <a:lnTo>
                    <a:pt x="1000" y="302"/>
                  </a:lnTo>
                  <a:lnTo>
                    <a:pt x="997" y="314"/>
                  </a:lnTo>
                  <a:lnTo>
                    <a:pt x="994" y="326"/>
                  </a:lnTo>
                  <a:lnTo>
                    <a:pt x="990" y="337"/>
                  </a:lnTo>
                  <a:lnTo>
                    <a:pt x="985" y="349"/>
                  </a:lnTo>
                  <a:lnTo>
                    <a:pt x="980" y="360"/>
                  </a:lnTo>
                  <a:lnTo>
                    <a:pt x="975" y="371"/>
                  </a:lnTo>
                  <a:lnTo>
                    <a:pt x="969" y="381"/>
                  </a:lnTo>
                  <a:lnTo>
                    <a:pt x="962" y="391"/>
                  </a:lnTo>
                  <a:lnTo>
                    <a:pt x="955" y="401"/>
                  </a:lnTo>
                  <a:lnTo>
                    <a:pt x="948" y="411"/>
                  </a:lnTo>
                  <a:lnTo>
                    <a:pt x="940" y="420"/>
                  </a:lnTo>
                  <a:lnTo>
                    <a:pt x="932" y="428"/>
                  </a:lnTo>
                  <a:lnTo>
                    <a:pt x="923" y="437"/>
                  </a:lnTo>
                  <a:lnTo>
                    <a:pt x="914" y="444"/>
                  </a:lnTo>
                  <a:lnTo>
                    <a:pt x="904" y="452"/>
                  </a:lnTo>
                  <a:lnTo>
                    <a:pt x="894" y="459"/>
                  </a:lnTo>
                  <a:lnTo>
                    <a:pt x="884" y="465"/>
                  </a:lnTo>
                  <a:lnTo>
                    <a:pt x="874" y="471"/>
                  </a:lnTo>
                  <a:lnTo>
                    <a:pt x="863" y="477"/>
                  </a:lnTo>
                  <a:lnTo>
                    <a:pt x="851" y="482"/>
                  </a:lnTo>
                  <a:lnTo>
                    <a:pt x="840" y="486"/>
                  </a:lnTo>
                  <a:lnTo>
                    <a:pt x="828" y="491"/>
                  </a:lnTo>
                  <a:lnTo>
                    <a:pt x="816" y="495"/>
                  </a:lnTo>
                  <a:lnTo>
                    <a:pt x="804" y="497"/>
                  </a:lnTo>
                  <a:lnTo>
                    <a:pt x="792" y="500"/>
                  </a:lnTo>
                  <a:lnTo>
                    <a:pt x="779" y="501"/>
                  </a:lnTo>
                  <a:lnTo>
                    <a:pt x="767" y="502"/>
                  </a:lnTo>
                  <a:lnTo>
                    <a:pt x="754" y="503"/>
                  </a:lnTo>
                  <a:lnTo>
                    <a:pt x="251" y="503"/>
                  </a:lnTo>
                  <a:lnTo>
                    <a:pt x="238" y="502"/>
                  </a:lnTo>
                  <a:lnTo>
                    <a:pt x="225" y="501"/>
                  </a:lnTo>
                  <a:lnTo>
                    <a:pt x="213" y="500"/>
                  </a:lnTo>
                  <a:lnTo>
                    <a:pt x="200" y="497"/>
                  </a:lnTo>
                  <a:lnTo>
                    <a:pt x="188" y="495"/>
                  </a:lnTo>
                  <a:lnTo>
                    <a:pt x="176" y="491"/>
                  </a:lnTo>
                  <a:lnTo>
                    <a:pt x="165" y="486"/>
                  </a:lnTo>
                  <a:lnTo>
                    <a:pt x="153" y="482"/>
                  </a:lnTo>
                  <a:lnTo>
                    <a:pt x="141" y="477"/>
                  </a:lnTo>
                  <a:lnTo>
                    <a:pt x="131" y="471"/>
                  </a:lnTo>
                  <a:lnTo>
                    <a:pt x="120" y="465"/>
                  </a:lnTo>
                  <a:lnTo>
                    <a:pt x="110" y="459"/>
                  </a:lnTo>
                  <a:lnTo>
                    <a:pt x="100" y="452"/>
                  </a:lnTo>
                  <a:lnTo>
                    <a:pt x="91" y="444"/>
                  </a:lnTo>
                  <a:lnTo>
                    <a:pt x="82" y="437"/>
                  </a:lnTo>
                  <a:lnTo>
                    <a:pt x="73" y="428"/>
                  </a:lnTo>
                  <a:lnTo>
                    <a:pt x="65" y="420"/>
                  </a:lnTo>
                  <a:lnTo>
                    <a:pt x="57" y="411"/>
                  </a:lnTo>
                  <a:lnTo>
                    <a:pt x="49" y="401"/>
                  </a:lnTo>
                  <a:lnTo>
                    <a:pt x="43" y="391"/>
                  </a:lnTo>
                  <a:lnTo>
                    <a:pt x="36" y="381"/>
                  </a:lnTo>
                  <a:lnTo>
                    <a:pt x="30" y="371"/>
                  </a:lnTo>
                  <a:lnTo>
                    <a:pt x="25" y="360"/>
                  </a:lnTo>
                  <a:lnTo>
                    <a:pt x="20" y="349"/>
                  </a:lnTo>
                  <a:lnTo>
                    <a:pt x="15" y="337"/>
                  </a:lnTo>
                  <a:lnTo>
                    <a:pt x="11" y="326"/>
                  </a:lnTo>
                  <a:lnTo>
                    <a:pt x="8" y="314"/>
                  </a:lnTo>
                  <a:lnTo>
                    <a:pt x="5" y="302"/>
                  </a:lnTo>
                  <a:lnTo>
                    <a:pt x="3" y="290"/>
                  </a:lnTo>
                  <a:lnTo>
                    <a:pt x="1" y="277"/>
                  </a:lnTo>
                  <a:lnTo>
                    <a:pt x="0" y="264"/>
                  </a:lnTo>
                  <a:lnTo>
                    <a:pt x="0" y="252"/>
                  </a:lnTo>
                  <a:lnTo>
                    <a:pt x="0" y="239"/>
                  </a:lnTo>
                  <a:lnTo>
                    <a:pt x="1" y="226"/>
                  </a:lnTo>
                  <a:lnTo>
                    <a:pt x="3" y="214"/>
                  </a:lnTo>
                  <a:lnTo>
                    <a:pt x="5" y="200"/>
                  </a:lnTo>
                  <a:lnTo>
                    <a:pt x="8" y="188"/>
                  </a:lnTo>
                  <a:lnTo>
                    <a:pt x="11" y="176"/>
                  </a:lnTo>
                  <a:lnTo>
                    <a:pt x="15" y="165"/>
                  </a:lnTo>
                  <a:lnTo>
                    <a:pt x="20" y="153"/>
                  </a:lnTo>
                  <a:lnTo>
                    <a:pt x="25" y="142"/>
                  </a:lnTo>
                  <a:lnTo>
                    <a:pt x="30" y="131"/>
                  </a:lnTo>
                  <a:lnTo>
                    <a:pt x="36" y="121"/>
                  </a:lnTo>
                  <a:lnTo>
                    <a:pt x="43" y="111"/>
                  </a:lnTo>
                  <a:lnTo>
                    <a:pt x="49" y="101"/>
                  </a:lnTo>
                  <a:lnTo>
                    <a:pt x="57" y="92"/>
                  </a:lnTo>
                  <a:lnTo>
                    <a:pt x="65" y="82"/>
                  </a:lnTo>
                  <a:lnTo>
                    <a:pt x="73" y="74"/>
                  </a:lnTo>
                  <a:lnTo>
                    <a:pt x="82" y="65"/>
                  </a:lnTo>
                  <a:lnTo>
                    <a:pt x="91" y="58"/>
                  </a:lnTo>
                  <a:lnTo>
                    <a:pt x="100" y="50"/>
                  </a:lnTo>
                  <a:lnTo>
                    <a:pt x="110" y="43"/>
                  </a:lnTo>
                  <a:lnTo>
                    <a:pt x="120" y="37"/>
                  </a:lnTo>
                  <a:lnTo>
                    <a:pt x="131" y="31"/>
                  </a:lnTo>
                  <a:lnTo>
                    <a:pt x="141" y="25"/>
                  </a:lnTo>
                  <a:lnTo>
                    <a:pt x="153" y="20"/>
                  </a:lnTo>
                  <a:lnTo>
                    <a:pt x="165" y="16"/>
                  </a:lnTo>
                  <a:lnTo>
                    <a:pt x="176" y="12"/>
                  </a:lnTo>
                  <a:lnTo>
                    <a:pt x="188" y="8"/>
                  </a:lnTo>
                  <a:lnTo>
                    <a:pt x="200" y="6"/>
                  </a:lnTo>
                  <a:lnTo>
                    <a:pt x="213" y="3"/>
                  </a:lnTo>
                  <a:lnTo>
                    <a:pt x="225" y="2"/>
                  </a:lnTo>
                  <a:lnTo>
                    <a:pt x="238" y="1"/>
                  </a:lnTo>
                  <a:lnTo>
                    <a:pt x="251" y="0"/>
                  </a:lnTo>
                  <a:lnTo>
                    <a:pt x="754" y="0"/>
                  </a:lnTo>
                  <a:lnTo>
                    <a:pt x="767" y="1"/>
                  </a:lnTo>
                  <a:lnTo>
                    <a:pt x="779" y="2"/>
                  </a:lnTo>
                  <a:lnTo>
                    <a:pt x="792" y="3"/>
                  </a:lnTo>
                  <a:lnTo>
                    <a:pt x="804" y="6"/>
                  </a:lnTo>
                  <a:lnTo>
                    <a:pt x="816" y="8"/>
                  </a:lnTo>
                  <a:lnTo>
                    <a:pt x="828" y="12"/>
                  </a:lnTo>
                  <a:lnTo>
                    <a:pt x="840" y="16"/>
                  </a:lnTo>
                  <a:lnTo>
                    <a:pt x="851" y="20"/>
                  </a:lnTo>
                  <a:lnTo>
                    <a:pt x="863" y="25"/>
                  </a:lnTo>
                  <a:lnTo>
                    <a:pt x="874" y="31"/>
                  </a:lnTo>
                  <a:lnTo>
                    <a:pt x="884" y="37"/>
                  </a:lnTo>
                  <a:lnTo>
                    <a:pt x="894" y="43"/>
                  </a:lnTo>
                  <a:lnTo>
                    <a:pt x="904" y="50"/>
                  </a:lnTo>
                  <a:lnTo>
                    <a:pt x="914" y="58"/>
                  </a:lnTo>
                  <a:lnTo>
                    <a:pt x="923" y="65"/>
                  </a:lnTo>
                  <a:lnTo>
                    <a:pt x="932" y="74"/>
                  </a:lnTo>
                  <a:lnTo>
                    <a:pt x="940" y="82"/>
                  </a:lnTo>
                  <a:lnTo>
                    <a:pt x="948" y="92"/>
                  </a:lnTo>
                  <a:lnTo>
                    <a:pt x="955" y="101"/>
                  </a:lnTo>
                  <a:lnTo>
                    <a:pt x="962" y="111"/>
                  </a:lnTo>
                  <a:lnTo>
                    <a:pt x="969" y="121"/>
                  </a:lnTo>
                  <a:lnTo>
                    <a:pt x="975" y="131"/>
                  </a:lnTo>
                  <a:lnTo>
                    <a:pt x="980" y="142"/>
                  </a:lnTo>
                  <a:lnTo>
                    <a:pt x="985" y="153"/>
                  </a:lnTo>
                  <a:lnTo>
                    <a:pt x="990" y="165"/>
                  </a:lnTo>
                  <a:lnTo>
                    <a:pt x="994" y="176"/>
                  </a:lnTo>
                  <a:lnTo>
                    <a:pt x="997" y="188"/>
                  </a:lnTo>
                  <a:lnTo>
                    <a:pt x="1000" y="200"/>
                  </a:lnTo>
                  <a:lnTo>
                    <a:pt x="1002" y="214"/>
                  </a:lnTo>
                  <a:lnTo>
                    <a:pt x="1004" y="226"/>
                  </a:lnTo>
                  <a:lnTo>
                    <a:pt x="1005" y="239"/>
                  </a:lnTo>
                  <a:lnTo>
                    <a:pt x="1005" y="2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66" name="ïśľídê">
              <a:extLst>
                <a:ext uri="{FF2B5EF4-FFF2-40B4-BE49-F238E27FC236}">
                  <a16:creationId xmlns:a16="http://schemas.microsoft.com/office/drawing/2014/main" id="{A566E99D-ECA8-4126-8A1A-98235EDFFD15}"/>
                </a:ext>
              </a:extLst>
            </p:cNvPr>
            <p:cNvSpPr/>
            <p:nvPr/>
          </p:nvSpPr>
          <p:spPr bwMode="auto">
            <a:xfrm>
              <a:off x="4593351" y="2600386"/>
              <a:ext cx="394077" cy="394076"/>
            </a:xfrm>
            <a:custGeom>
              <a:avLst/>
              <a:gdLst>
                <a:gd name="T0" fmla="*/ 12841 w 16095"/>
                <a:gd name="T1" fmla="*/ 13554 h 16095"/>
                <a:gd name="T2" fmla="*/ 11503 w 16095"/>
                <a:gd name="T3" fmla="*/ 13401 h 16095"/>
                <a:gd name="T4" fmla="*/ 10658 w 16095"/>
                <a:gd name="T5" fmla="*/ 12629 h 16095"/>
                <a:gd name="T6" fmla="*/ 10662 w 16095"/>
                <a:gd name="T7" fmla="*/ 11527 h 16095"/>
                <a:gd name="T8" fmla="*/ 11493 w 16095"/>
                <a:gd name="T9" fmla="*/ 10565 h 16095"/>
                <a:gd name="T10" fmla="*/ 12883 w 16095"/>
                <a:gd name="T11" fmla="*/ 10073 h 16095"/>
                <a:gd name="T12" fmla="*/ 14197 w 16095"/>
                <a:gd name="T13" fmla="*/ 10278 h 16095"/>
                <a:gd name="T14" fmla="*/ 14987 w 16095"/>
                <a:gd name="T15" fmla="*/ 11093 h 16095"/>
                <a:gd name="T16" fmla="*/ 14913 w 16095"/>
                <a:gd name="T17" fmla="*/ 12196 h 16095"/>
                <a:gd name="T18" fmla="*/ 14027 w 16095"/>
                <a:gd name="T19" fmla="*/ 13134 h 16095"/>
                <a:gd name="T20" fmla="*/ 3191 w 16095"/>
                <a:gd name="T21" fmla="*/ 15076 h 16095"/>
                <a:gd name="T22" fmla="*/ 1877 w 16095"/>
                <a:gd name="T23" fmla="*/ 14871 h 16095"/>
                <a:gd name="T24" fmla="*/ 1085 w 16095"/>
                <a:gd name="T25" fmla="*/ 14057 h 16095"/>
                <a:gd name="T26" fmla="*/ 1161 w 16095"/>
                <a:gd name="T27" fmla="*/ 12953 h 16095"/>
                <a:gd name="T28" fmla="*/ 2046 w 16095"/>
                <a:gd name="T29" fmla="*/ 12015 h 16095"/>
                <a:gd name="T30" fmla="*/ 3454 w 16095"/>
                <a:gd name="T31" fmla="*/ 11573 h 16095"/>
                <a:gd name="T32" fmla="*/ 4742 w 16095"/>
                <a:gd name="T33" fmla="*/ 11830 h 16095"/>
                <a:gd name="T34" fmla="*/ 5477 w 16095"/>
                <a:gd name="T35" fmla="*/ 12686 h 16095"/>
                <a:gd name="T36" fmla="*/ 5332 w 16095"/>
                <a:gd name="T37" fmla="*/ 13787 h 16095"/>
                <a:gd name="T38" fmla="*/ 4393 w 16095"/>
                <a:gd name="T39" fmla="*/ 14700 h 16095"/>
                <a:gd name="T40" fmla="*/ 15473 w 16095"/>
                <a:gd name="T41" fmla="*/ 76 h 16095"/>
                <a:gd name="T42" fmla="*/ 15002 w 16095"/>
                <a:gd name="T43" fmla="*/ 4 h 16095"/>
                <a:gd name="T44" fmla="*/ 6031 w 16095"/>
                <a:gd name="T45" fmla="*/ 1646 h 16095"/>
                <a:gd name="T46" fmla="*/ 5647 w 16095"/>
                <a:gd name="T47" fmla="*/ 2047 h 16095"/>
                <a:gd name="T48" fmla="*/ 5532 w 16095"/>
                <a:gd name="T49" fmla="*/ 4024 h 16095"/>
                <a:gd name="T50" fmla="*/ 4898 w 16095"/>
                <a:gd name="T51" fmla="*/ 10801 h 16095"/>
                <a:gd name="T52" fmla="*/ 4095 w 16095"/>
                <a:gd name="T53" fmla="*/ 10593 h 16095"/>
                <a:gd name="T54" fmla="*/ 3144 w 16095"/>
                <a:gd name="T55" fmla="*/ 10592 h 16095"/>
                <a:gd name="T56" fmla="*/ 2088 w 16095"/>
                <a:gd name="T57" fmla="*/ 10870 h 16095"/>
                <a:gd name="T58" fmla="*/ 1086 w 16095"/>
                <a:gd name="T59" fmla="*/ 11468 h 16095"/>
                <a:gd name="T60" fmla="*/ 369 w 16095"/>
                <a:gd name="T61" fmla="*/ 12304 h 16095"/>
                <a:gd name="T62" fmla="*/ 51 w 16095"/>
                <a:gd name="T63" fmla="*/ 13112 h 16095"/>
                <a:gd name="T64" fmla="*/ 17 w 16095"/>
                <a:gd name="T65" fmla="*/ 13888 h 16095"/>
                <a:gd name="T66" fmla="*/ 320 w 16095"/>
                <a:gd name="T67" fmla="*/ 14775 h 16095"/>
                <a:gd name="T68" fmla="*/ 1277 w 16095"/>
                <a:gd name="T69" fmla="*/ 15690 h 16095"/>
                <a:gd name="T70" fmla="*/ 2674 w 16095"/>
                <a:gd name="T71" fmla="*/ 16087 h 16095"/>
                <a:gd name="T72" fmla="*/ 3792 w 16095"/>
                <a:gd name="T73" fmla="*/ 15996 h 16095"/>
                <a:gd name="T74" fmla="*/ 4864 w 16095"/>
                <a:gd name="T75" fmla="*/ 15590 h 16095"/>
                <a:gd name="T76" fmla="*/ 5766 w 16095"/>
                <a:gd name="T77" fmla="*/ 14893 h 16095"/>
                <a:gd name="T78" fmla="*/ 6343 w 16095"/>
                <a:gd name="T79" fmla="*/ 14007 h 16095"/>
                <a:gd name="T80" fmla="*/ 6528 w 16095"/>
                <a:gd name="T81" fmla="*/ 13143 h 16095"/>
                <a:gd name="T82" fmla="*/ 15089 w 16095"/>
                <a:gd name="T83" fmla="*/ 9642 h 16095"/>
                <a:gd name="T84" fmla="*/ 14397 w 16095"/>
                <a:gd name="T85" fmla="*/ 9270 h 16095"/>
                <a:gd name="T86" fmla="*/ 13586 w 16095"/>
                <a:gd name="T87" fmla="*/ 9076 h 16095"/>
                <a:gd name="T88" fmla="*/ 12620 w 16095"/>
                <a:gd name="T89" fmla="*/ 9094 h 16095"/>
                <a:gd name="T90" fmla="*/ 11560 w 16095"/>
                <a:gd name="T91" fmla="*/ 9397 h 16095"/>
                <a:gd name="T92" fmla="*/ 10577 w 16095"/>
                <a:gd name="T93" fmla="*/ 10017 h 16095"/>
                <a:gd name="T94" fmla="*/ 9884 w 16095"/>
                <a:gd name="T95" fmla="*/ 10868 h 16095"/>
                <a:gd name="T96" fmla="*/ 9598 w 16095"/>
                <a:gd name="T97" fmla="*/ 11664 h 16095"/>
                <a:gd name="T98" fmla="*/ 9583 w 16095"/>
                <a:gd name="T99" fmla="*/ 12438 h 16095"/>
                <a:gd name="T100" fmla="*/ 9931 w 16095"/>
                <a:gd name="T101" fmla="*/ 13352 h 16095"/>
                <a:gd name="T102" fmla="*/ 10929 w 16095"/>
                <a:gd name="T103" fmla="*/ 14231 h 16095"/>
                <a:gd name="T104" fmla="*/ 12350 w 16095"/>
                <a:gd name="T105" fmla="*/ 14584 h 16095"/>
                <a:gd name="T106" fmla="*/ 13429 w 16095"/>
                <a:gd name="T107" fmla="*/ 14468 h 16095"/>
                <a:gd name="T108" fmla="*/ 14500 w 16095"/>
                <a:gd name="T109" fmla="*/ 14037 h 16095"/>
                <a:gd name="T110" fmla="*/ 15380 w 16095"/>
                <a:gd name="T111" fmla="*/ 13320 h 16095"/>
                <a:gd name="T112" fmla="*/ 15926 w 16095"/>
                <a:gd name="T113" fmla="*/ 12432 h 16095"/>
                <a:gd name="T114" fmla="*/ 16086 w 16095"/>
                <a:gd name="T115" fmla="*/ 11568 h 16095"/>
                <a:gd name="T116" fmla="*/ 16065 w 16095"/>
                <a:gd name="T117" fmla="*/ 761 h 16095"/>
                <a:gd name="T118" fmla="*/ 15920 w 16095"/>
                <a:gd name="T119" fmla="*/ 439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95" h="16095">
                  <a:moveTo>
                    <a:pt x="15069" y="2515"/>
                  </a:moveTo>
                  <a:lnTo>
                    <a:pt x="6518" y="4024"/>
                  </a:lnTo>
                  <a:lnTo>
                    <a:pt x="6518" y="3521"/>
                  </a:lnTo>
                  <a:lnTo>
                    <a:pt x="6518" y="2515"/>
                  </a:lnTo>
                  <a:lnTo>
                    <a:pt x="15069" y="1006"/>
                  </a:lnTo>
                  <a:lnTo>
                    <a:pt x="15069" y="2012"/>
                  </a:lnTo>
                  <a:lnTo>
                    <a:pt x="15069" y="2515"/>
                  </a:lnTo>
                  <a:close/>
                  <a:moveTo>
                    <a:pt x="13405" y="13423"/>
                  </a:moveTo>
                  <a:lnTo>
                    <a:pt x="13292" y="13458"/>
                  </a:lnTo>
                  <a:lnTo>
                    <a:pt x="13179" y="13488"/>
                  </a:lnTo>
                  <a:lnTo>
                    <a:pt x="13066" y="13515"/>
                  </a:lnTo>
                  <a:lnTo>
                    <a:pt x="12953" y="13537"/>
                  </a:lnTo>
                  <a:lnTo>
                    <a:pt x="12841" y="13554"/>
                  </a:lnTo>
                  <a:lnTo>
                    <a:pt x="12729" y="13567"/>
                  </a:lnTo>
                  <a:lnTo>
                    <a:pt x="12618" y="13576"/>
                  </a:lnTo>
                  <a:lnTo>
                    <a:pt x="12509" y="13580"/>
                  </a:lnTo>
                  <a:lnTo>
                    <a:pt x="12400" y="13580"/>
                  </a:lnTo>
                  <a:lnTo>
                    <a:pt x="12293" y="13576"/>
                  </a:lnTo>
                  <a:lnTo>
                    <a:pt x="12187" y="13568"/>
                  </a:lnTo>
                  <a:lnTo>
                    <a:pt x="12082" y="13556"/>
                  </a:lnTo>
                  <a:lnTo>
                    <a:pt x="11981" y="13540"/>
                  </a:lnTo>
                  <a:lnTo>
                    <a:pt x="11880" y="13520"/>
                  </a:lnTo>
                  <a:lnTo>
                    <a:pt x="11783" y="13495"/>
                  </a:lnTo>
                  <a:lnTo>
                    <a:pt x="11687" y="13467"/>
                  </a:lnTo>
                  <a:lnTo>
                    <a:pt x="11593" y="13436"/>
                  </a:lnTo>
                  <a:lnTo>
                    <a:pt x="11503" y="13401"/>
                  </a:lnTo>
                  <a:lnTo>
                    <a:pt x="11415" y="13362"/>
                  </a:lnTo>
                  <a:lnTo>
                    <a:pt x="11332" y="13319"/>
                  </a:lnTo>
                  <a:lnTo>
                    <a:pt x="11250" y="13273"/>
                  </a:lnTo>
                  <a:lnTo>
                    <a:pt x="11173" y="13223"/>
                  </a:lnTo>
                  <a:lnTo>
                    <a:pt x="11099" y="13171"/>
                  </a:lnTo>
                  <a:lnTo>
                    <a:pt x="11028" y="13114"/>
                  </a:lnTo>
                  <a:lnTo>
                    <a:pt x="10963" y="13054"/>
                  </a:lnTo>
                  <a:lnTo>
                    <a:pt x="10900" y="12991"/>
                  </a:lnTo>
                  <a:lnTo>
                    <a:pt x="10842" y="12925"/>
                  </a:lnTo>
                  <a:lnTo>
                    <a:pt x="10789" y="12856"/>
                  </a:lnTo>
                  <a:lnTo>
                    <a:pt x="10740" y="12783"/>
                  </a:lnTo>
                  <a:lnTo>
                    <a:pt x="10696" y="12708"/>
                  </a:lnTo>
                  <a:lnTo>
                    <a:pt x="10658" y="12629"/>
                  </a:lnTo>
                  <a:lnTo>
                    <a:pt x="10625" y="12548"/>
                  </a:lnTo>
                  <a:lnTo>
                    <a:pt x="10597" y="12464"/>
                  </a:lnTo>
                  <a:lnTo>
                    <a:pt x="10574" y="12380"/>
                  </a:lnTo>
                  <a:lnTo>
                    <a:pt x="10558" y="12295"/>
                  </a:lnTo>
                  <a:lnTo>
                    <a:pt x="10548" y="12210"/>
                  </a:lnTo>
                  <a:lnTo>
                    <a:pt x="10543" y="12124"/>
                  </a:lnTo>
                  <a:lnTo>
                    <a:pt x="10544" y="12038"/>
                  </a:lnTo>
                  <a:lnTo>
                    <a:pt x="10550" y="11952"/>
                  </a:lnTo>
                  <a:lnTo>
                    <a:pt x="10562" y="11867"/>
                  </a:lnTo>
                  <a:lnTo>
                    <a:pt x="10579" y="11781"/>
                  </a:lnTo>
                  <a:lnTo>
                    <a:pt x="10602" y="11696"/>
                  </a:lnTo>
                  <a:lnTo>
                    <a:pt x="10630" y="11611"/>
                  </a:lnTo>
                  <a:lnTo>
                    <a:pt x="10662" y="11527"/>
                  </a:lnTo>
                  <a:lnTo>
                    <a:pt x="10699" y="11444"/>
                  </a:lnTo>
                  <a:lnTo>
                    <a:pt x="10741" y="11362"/>
                  </a:lnTo>
                  <a:lnTo>
                    <a:pt x="10788" y="11281"/>
                  </a:lnTo>
                  <a:lnTo>
                    <a:pt x="10840" y="11201"/>
                  </a:lnTo>
                  <a:lnTo>
                    <a:pt x="10895" y="11122"/>
                  </a:lnTo>
                  <a:lnTo>
                    <a:pt x="10956" y="11046"/>
                  </a:lnTo>
                  <a:lnTo>
                    <a:pt x="11020" y="10971"/>
                  </a:lnTo>
                  <a:lnTo>
                    <a:pt x="11089" y="10898"/>
                  </a:lnTo>
                  <a:lnTo>
                    <a:pt x="11162" y="10827"/>
                  </a:lnTo>
                  <a:lnTo>
                    <a:pt x="11239" y="10757"/>
                  </a:lnTo>
                  <a:lnTo>
                    <a:pt x="11320" y="10691"/>
                  </a:lnTo>
                  <a:lnTo>
                    <a:pt x="11404" y="10626"/>
                  </a:lnTo>
                  <a:lnTo>
                    <a:pt x="11493" y="10565"/>
                  </a:lnTo>
                  <a:lnTo>
                    <a:pt x="11585" y="10506"/>
                  </a:lnTo>
                  <a:lnTo>
                    <a:pt x="11681" y="10449"/>
                  </a:lnTo>
                  <a:lnTo>
                    <a:pt x="11780" y="10396"/>
                  </a:lnTo>
                  <a:lnTo>
                    <a:pt x="11881" y="10347"/>
                  </a:lnTo>
                  <a:lnTo>
                    <a:pt x="11987" y="10300"/>
                  </a:lnTo>
                  <a:lnTo>
                    <a:pt x="12095" y="10257"/>
                  </a:lnTo>
                  <a:lnTo>
                    <a:pt x="12207" y="10217"/>
                  </a:lnTo>
                  <a:lnTo>
                    <a:pt x="12320" y="10182"/>
                  </a:lnTo>
                  <a:lnTo>
                    <a:pt x="12433" y="10152"/>
                  </a:lnTo>
                  <a:lnTo>
                    <a:pt x="12546" y="10125"/>
                  </a:lnTo>
                  <a:lnTo>
                    <a:pt x="12659" y="10103"/>
                  </a:lnTo>
                  <a:lnTo>
                    <a:pt x="12771" y="10086"/>
                  </a:lnTo>
                  <a:lnTo>
                    <a:pt x="12883" y="10073"/>
                  </a:lnTo>
                  <a:lnTo>
                    <a:pt x="12994" y="10065"/>
                  </a:lnTo>
                  <a:lnTo>
                    <a:pt x="13103" y="10060"/>
                  </a:lnTo>
                  <a:lnTo>
                    <a:pt x="13212" y="10060"/>
                  </a:lnTo>
                  <a:lnTo>
                    <a:pt x="13320" y="10064"/>
                  </a:lnTo>
                  <a:lnTo>
                    <a:pt x="13425" y="10072"/>
                  </a:lnTo>
                  <a:lnTo>
                    <a:pt x="13530" y="10084"/>
                  </a:lnTo>
                  <a:lnTo>
                    <a:pt x="13631" y="10100"/>
                  </a:lnTo>
                  <a:lnTo>
                    <a:pt x="13732" y="10121"/>
                  </a:lnTo>
                  <a:lnTo>
                    <a:pt x="13830" y="10145"/>
                  </a:lnTo>
                  <a:lnTo>
                    <a:pt x="13925" y="10173"/>
                  </a:lnTo>
                  <a:lnTo>
                    <a:pt x="14019" y="10204"/>
                  </a:lnTo>
                  <a:lnTo>
                    <a:pt x="14109" y="10239"/>
                  </a:lnTo>
                  <a:lnTo>
                    <a:pt x="14197" y="10278"/>
                  </a:lnTo>
                  <a:lnTo>
                    <a:pt x="14280" y="10321"/>
                  </a:lnTo>
                  <a:lnTo>
                    <a:pt x="14362" y="10367"/>
                  </a:lnTo>
                  <a:lnTo>
                    <a:pt x="14439" y="10417"/>
                  </a:lnTo>
                  <a:lnTo>
                    <a:pt x="14514" y="10469"/>
                  </a:lnTo>
                  <a:lnTo>
                    <a:pt x="14584" y="10526"/>
                  </a:lnTo>
                  <a:lnTo>
                    <a:pt x="14649" y="10586"/>
                  </a:lnTo>
                  <a:lnTo>
                    <a:pt x="14712" y="10650"/>
                  </a:lnTo>
                  <a:lnTo>
                    <a:pt x="14770" y="10715"/>
                  </a:lnTo>
                  <a:lnTo>
                    <a:pt x="14823" y="10784"/>
                  </a:lnTo>
                  <a:lnTo>
                    <a:pt x="14872" y="10857"/>
                  </a:lnTo>
                  <a:lnTo>
                    <a:pt x="14916" y="10933"/>
                  </a:lnTo>
                  <a:lnTo>
                    <a:pt x="14954" y="11012"/>
                  </a:lnTo>
                  <a:lnTo>
                    <a:pt x="14987" y="11093"/>
                  </a:lnTo>
                  <a:lnTo>
                    <a:pt x="15016" y="11177"/>
                  </a:lnTo>
                  <a:lnTo>
                    <a:pt x="15038" y="11260"/>
                  </a:lnTo>
                  <a:lnTo>
                    <a:pt x="15054" y="11346"/>
                  </a:lnTo>
                  <a:lnTo>
                    <a:pt x="15064" y="11430"/>
                  </a:lnTo>
                  <a:lnTo>
                    <a:pt x="15069" y="11516"/>
                  </a:lnTo>
                  <a:lnTo>
                    <a:pt x="15068" y="11602"/>
                  </a:lnTo>
                  <a:lnTo>
                    <a:pt x="15062" y="11688"/>
                  </a:lnTo>
                  <a:lnTo>
                    <a:pt x="15050" y="11773"/>
                  </a:lnTo>
                  <a:lnTo>
                    <a:pt x="15033" y="11860"/>
                  </a:lnTo>
                  <a:lnTo>
                    <a:pt x="15011" y="11944"/>
                  </a:lnTo>
                  <a:lnTo>
                    <a:pt x="14982" y="12029"/>
                  </a:lnTo>
                  <a:lnTo>
                    <a:pt x="14950" y="12113"/>
                  </a:lnTo>
                  <a:lnTo>
                    <a:pt x="14913" y="12196"/>
                  </a:lnTo>
                  <a:lnTo>
                    <a:pt x="14871" y="12278"/>
                  </a:lnTo>
                  <a:lnTo>
                    <a:pt x="14825" y="12360"/>
                  </a:lnTo>
                  <a:lnTo>
                    <a:pt x="14773" y="12439"/>
                  </a:lnTo>
                  <a:lnTo>
                    <a:pt x="14717" y="12518"/>
                  </a:lnTo>
                  <a:lnTo>
                    <a:pt x="14657" y="12594"/>
                  </a:lnTo>
                  <a:lnTo>
                    <a:pt x="14592" y="12670"/>
                  </a:lnTo>
                  <a:lnTo>
                    <a:pt x="14523" y="12742"/>
                  </a:lnTo>
                  <a:lnTo>
                    <a:pt x="14450" y="12813"/>
                  </a:lnTo>
                  <a:lnTo>
                    <a:pt x="14373" y="12883"/>
                  </a:lnTo>
                  <a:lnTo>
                    <a:pt x="14292" y="12949"/>
                  </a:lnTo>
                  <a:lnTo>
                    <a:pt x="14208" y="13014"/>
                  </a:lnTo>
                  <a:lnTo>
                    <a:pt x="14119" y="13075"/>
                  </a:lnTo>
                  <a:lnTo>
                    <a:pt x="14027" y="13134"/>
                  </a:lnTo>
                  <a:lnTo>
                    <a:pt x="13931" y="13191"/>
                  </a:lnTo>
                  <a:lnTo>
                    <a:pt x="13833" y="13244"/>
                  </a:lnTo>
                  <a:lnTo>
                    <a:pt x="13731" y="13293"/>
                  </a:lnTo>
                  <a:lnTo>
                    <a:pt x="13625" y="13341"/>
                  </a:lnTo>
                  <a:lnTo>
                    <a:pt x="13517" y="13383"/>
                  </a:lnTo>
                  <a:lnTo>
                    <a:pt x="13405" y="13423"/>
                  </a:lnTo>
                  <a:close/>
                  <a:moveTo>
                    <a:pt x="3867" y="14932"/>
                  </a:moveTo>
                  <a:lnTo>
                    <a:pt x="3753" y="14967"/>
                  </a:lnTo>
                  <a:lnTo>
                    <a:pt x="3640" y="14997"/>
                  </a:lnTo>
                  <a:lnTo>
                    <a:pt x="3528" y="15024"/>
                  </a:lnTo>
                  <a:lnTo>
                    <a:pt x="3415" y="15046"/>
                  </a:lnTo>
                  <a:lnTo>
                    <a:pt x="3302" y="15063"/>
                  </a:lnTo>
                  <a:lnTo>
                    <a:pt x="3191" y="15076"/>
                  </a:lnTo>
                  <a:lnTo>
                    <a:pt x="3080" y="15084"/>
                  </a:lnTo>
                  <a:lnTo>
                    <a:pt x="2971" y="15089"/>
                  </a:lnTo>
                  <a:lnTo>
                    <a:pt x="2862" y="15089"/>
                  </a:lnTo>
                  <a:lnTo>
                    <a:pt x="2754" y="15085"/>
                  </a:lnTo>
                  <a:lnTo>
                    <a:pt x="2649" y="15077"/>
                  </a:lnTo>
                  <a:lnTo>
                    <a:pt x="2544" y="15065"/>
                  </a:lnTo>
                  <a:lnTo>
                    <a:pt x="2442" y="15049"/>
                  </a:lnTo>
                  <a:lnTo>
                    <a:pt x="2342" y="15028"/>
                  </a:lnTo>
                  <a:lnTo>
                    <a:pt x="2243" y="15004"/>
                  </a:lnTo>
                  <a:lnTo>
                    <a:pt x="2148" y="14976"/>
                  </a:lnTo>
                  <a:lnTo>
                    <a:pt x="2055" y="14945"/>
                  </a:lnTo>
                  <a:lnTo>
                    <a:pt x="1965" y="14909"/>
                  </a:lnTo>
                  <a:lnTo>
                    <a:pt x="1877" y="14871"/>
                  </a:lnTo>
                  <a:lnTo>
                    <a:pt x="1793" y="14827"/>
                  </a:lnTo>
                  <a:lnTo>
                    <a:pt x="1712" y="14782"/>
                  </a:lnTo>
                  <a:lnTo>
                    <a:pt x="1635" y="14732"/>
                  </a:lnTo>
                  <a:lnTo>
                    <a:pt x="1560" y="14680"/>
                  </a:lnTo>
                  <a:lnTo>
                    <a:pt x="1490" y="14623"/>
                  </a:lnTo>
                  <a:lnTo>
                    <a:pt x="1423" y="14563"/>
                  </a:lnTo>
                  <a:lnTo>
                    <a:pt x="1362" y="14499"/>
                  </a:lnTo>
                  <a:lnTo>
                    <a:pt x="1304" y="14434"/>
                  </a:lnTo>
                  <a:lnTo>
                    <a:pt x="1250" y="14365"/>
                  </a:lnTo>
                  <a:lnTo>
                    <a:pt x="1202" y="14292"/>
                  </a:lnTo>
                  <a:lnTo>
                    <a:pt x="1158" y="14217"/>
                  </a:lnTo>
                  <a:lnTo>
                    <a:pt x="1120" y="14138"/>
                  </a:lnTo>
                  <a:lnTo>
                    <a:pt x="1085" y="14057"/>
                  </a:lnTo>
                  <a:lnTo>
                    <a:pt x="1058" y="13973"/>
                  </a:lnTo>
                  <a:lnTo>
                    <a:pt x="1036" y="13889"/>
                  </a:lnTo>
                  <a:lnTo>
                    <a:pt x="1020" y="13804"/>
                  </a:lnTo>
                  <a:lnTo>
                    <a:pt x="1009" y="13719"/>
                  </a:lnTo>
                  <a:lnTo>
                    <a:pt x="1005" y="13633"/>
                  </a:lnTo>
                  <a:lnTo>
                    <a:pt x="1006" y="13547"/>
                  </a:lnTo>
                  <a:lnTo>
                    <a:pt x="1012" y="13461"/>
                  </a:lnTo>
                  <a:lnTo>
                    <a:pt x="1024" y="13376"/>
                  </a:lnTo>
                  <a:lnTo>
                    <a:pt x="1041" y="13290"/>
                  </a:lnTo>
                  <a:lnTo>
                    <a:pt x="1063" y="13205"/>
                  </a:lnTo>
                  <a:lnTo>
                    <a:pt x="1091" y="13120"/>
                  </a:lnTo>
                  <a:lnTo>
                    <a:pt x="1124" y="13036"/>
                  </a:lnTo>
                  <a:lnTo>
                    <a:pt x="1161" y="12953"/>
                  </a:lnTo>
                  <a:lnTo>
                    <a:pt x="1203" y="12871"/>
                  </a:lnTo>
                  <a:lnTo>
                    <a:pt x="1249" y="12790"/>
                  </a:lnTo>
                  <a:lnTo>
                    <a:pt x="1302" y="12710"/>
                  </a:lnTo>
                  <a:lnTo>
                    <a:pt x="1357" y="12631"/>
                  </a:lnTo>
                  <a:lnTo>
                    <a:pt x="1417" y="12555"/>
                  </a:lnTo>
                  <a:lnTo>
                    <a:pt x="1482" y="12479"/>
                  </a:lnTo>
                  <a:lnTo>
                    <a:pt x="1551" y="12407"/>
                  </a:lnTo>
                  <a:lnTo>
                    <a:pt x="1624" y="12336"/>
                  </a:lnTo>
                  <a:lnTo>
                    <a:pt x="1701" y="12266"/>
                  </a:lnTo>
                  <a:lnTo>
                    <a:pt x="1782" y="12200"/>
                  </a:lnTo>
                  <a:lnTo>
                    <a:pt x="1866" y="12135"/>
                  </a:lnTo>
                  <a:lnTo>
                    <a:pt x="1955" y="12074"/>
                  </a:lnTo>
                  <a:lnTo>
                    <a:pt x="2046" y="12015"/>
                  </a:lnTo>
                  <a:lnTo>
                    <a:pt x="2142" y="11958"/>
                  </a:lnTo>
                  <a:lnTo>
                    <a:pt x="2241" y="11905"/>
                  </a:lnTo>
                  <a:lnTo>
                    <a:pt x="2343" y="11856"/>
                  </a:lnTo>
                  <a:lnTo>
                    <a:pt x="2448" y="11808"/>
                  </a:lnTo>
                  <a:lnTo>
                    <a:pt x="2557" y="11765"/>
                  </a:lnTo>
                  <a:lnTo>
                    <a:pt x="2668" y="11726"/>
                  </a:lnTo>
                  <a:lnTo>
                    <a:pt x="2781" y="11691"/>
                  </a:lnTo>
                  <a:lnTo>
                    <a:pt x="2894" y="11661"/>
                  </a:lnTo>
                  <a:lnTo>
                    <a:pt x="3008" y="11634"/>
                  </a:lnTo>
                  <a:lnTo>
                    <a:pt x="3120" y="11612"/>
                  </a:lnTo>
                  <a:lnTo>
                    <a:pt x="3232" y="11595"/>
                  </a:lnTo>
                  <a:lnTo>
                    <a:pt x="3344" y="11582"/>
                  </a:lnTo>
                  <a:lnTo>
                    <a:pt x="3454" y="11573"/>
                  </a:lnTo>
                  <a:lnTo>
                    <a:pt x="3565" y="11569"/>
                  </a:lnTo>
                  <a:lnTo>
                    <a:pt x="3674" y="11569"/>
                  </a:lnTo>
                  <a:lnTo>
                    <a:pt x="3780" y="11573"/>
                  </a:lnTo>
                  <a:lnTo>
                    <a:pt x="3887" y="11581"/>
                  </a:lnTo>
                  <a:lnTo>
                    <a:pt x="3991" y="11593"/>
                  </a:lnTo>
                  <a:lnTo>
                    <a:pt x="4093" y="11609"/>
                  </a:lnTo>
                  <a:lnTo>
                    <a:pt x="4194" y="11629"/>
                  </a:lnTo>
                  <a:lnTo>
                    <a:pt x="4291" y="11654"/>
                  </a:lnTo>
                  <a:lnTo>
                    <a:pt x="4387" y="11682"/>
                  </a:lnTo>
                  <a:lnTo>
                    <a:pt x="4480" y="11713"/>
                  </a:lnTo>
                  <a:lnTo>
                    <a:pt x="4570" y="11748"/>
                  </a:lnTo>
                  <a:lnTo>
                    <a:pt x="4657" y="11787"/>
                  </a:lnTo>
                  <a:lnTo>
                    <a:pt x="4742" y="11830"/>
                  </a:lnTo>
                  <a:lnTo>
                    <a:pt x="4823" y="11876"/>
                  </a:lnTo>
                  <a:lnTo>
                    <a:pt x="4901" y="11925"/>
                  </a:lnTo>
                  <a:lnTo>
                    <a:pt x="4975" y="11978"/>
                  </a:lnTo>
                  <a:lnTo>
                    <a:pt x="5045" y="12035"/>
                  </a:lnTo>
                  <a:lnTo>
                    <a:pt x="5111" y="12095"/>
                  </a:lnTo>
                  <a:lnTo>
                    <a:pt x="5174" y="12158"/>
                  </a:lnTo>
                  <a:lnTo>
                    <a:pt x="5231" y="12224"/>
                  </a:lnTo>
                  <a:lnTo>
                    <a:pt x="5284" y="12293"/>
                  </a:lnTo>
                  <a:lnTo>
                    <a:pt x="5333" y="12366"/>
                  </a:lnTo>
                  <a:lnTo>
                    <a:pt x="5377" y="12441"/>
                  </a:lnTo>
                  <a:lnTo>
                    <a:pt x="5416" y="12521"/>
                  </a:lnTo>
                  <a:lnTo>
                    <a:pt x="5449" y="12602"/>
                  </a:lnTo>
                  <a:lnTo>
                    <a:pt x="5477" y="12686"/>
                  </a:lnTo>
                  <a:lnTo>
                    <a:pt x="5499" y="12769"/>
                  </a:lnTo>
                  <a:lnTo>
                    <a:pt x="5516" y="12855"/>
                  </a:lnTo>
                  <a:lnTo>
                    <a:pt x="5526" y="12939"/>
                  </a:lnTo>
                  <a:lnTo>
                    <a:pt x="5531" y="13025"/>
                  </a:lnTo>
                  <a:lnTo>
                    <a:pt x="5530" y="13111"/>
                  </a:lnTo>
                  <a:lnTo>
                    <a:pt x="5524" y="13197"/>
                  </a:lnTo>
                  <a:lnTo>
                    <a:pt x="5512" y="13282"/>
                  </a:lnTo>
                  <a:lnTo>
                    <a:pt x="5494" y="13368"/>
                  </a:lnTo>
                  <a:lnTo>
                    <a:pt x="5472" y="13453"/>
                  </a:lnTo>
                  <a:lnTo>
                    <a:pt x="5444" y="13538"/>
                  </a:lnTo>
                  <a:lnTo>
                    <a:pt x="5412" y="13622"/>
                  </a:lnTo>
                  <a:lnTo>
                    <a:pt x="5375" y="13705"/>
                  </a:lnTo>
                  <a:lnTo>
                    <a:pt x="5332" y="13787"/>
                  </a:lnTo>
                  <a:lnTo>
                    <a:pt x="5285" y="13869"/>
                  </a:lnTo>
                  <a:lnTo>
                    <a:pt x="5234" y="13948"/>
                  </a:lnTo>
                  <a:lnTo>
                    <a:pt x="5179" y="14027"/>
                  </a:lnTo>
                  <a:lnTo>
                    <a:pt x="5118" y="14103"/>
                  </a:lnTo>
                  <a:lnTo>
                    <a:pt x="5054" y="14179"/>
                  </a:lnTo>
                  <a:lnTo>
                    <a:pt x="4984" y="14251"/>
                  </a:lnTo>
                  <a:lnTo>
                    <a:pt x="4912" y="14322"/>
                  </a:lnTo>
                  <a:lnTo>
                    <a:pt x="4835" y="14392"/>
                  </a:lnTo>
                  <a:lnTo>
                    <a:pt x="4754" y="14458"/>
                  </a:lnTo>
                  <a:lnTo>
                    <a:pt x="4670" y="14523"/>
                  </a:lnTo>
                  <a:lnTo>
                    <a:pt x="4581" y="14584"/>
                  </a:lnTo>
                  <a:lnTo>
                    <a:pt x="4488" y="14643"/>
                  </a:lnTo>
                  <a:lnTo>
                    <a:pt x="4393" y="14700"/>
                  </a:lnTo>
                  <a:lnTo>
                    <a:pt x="4294" y="14753"/>
                  </a:lnTo>
                  <a:lnTo>
                    <a:pt x="4192" y="14802"/>
                  </a:lnTo>
                  <a:lnTo>
                    <a:pt x="4087" y="14849"/>
                  </a:lnTo>
                  <a:lnTo>
                    <a:pt x="3978" y="14892"/>
                  </a:lnTo>
                  <a:lnTo>
                    <a:pt x="3867" y="14932"/>
                  </a:lnTo>
                  <a:close/>
                  <a:moveTo>
                    <a:pt x="15735" y="235"/>
                  </a:moveTo>
                  <a:lnTo>
                    <a:pt x="15701" y="208"/>
                  </a:lnTo>
                  <a:lnTo>
                    <a:pt x="15665" y="182"/>
                  </a:lnTo>
                  <a:lnTo>
                    <a:pt x="15628" y="157"/>
                  </a:lnTo>
                  <a:lnTo>
                    <a:pt x="15591" y="134"/>
                  </a:lnTo>
                  <a:lnTo>
                    <a:pt x="15552" y="113"/>
                  </a:lnTo>
                  <a:lnTo>
                    <a:pt x="15513" y="94"/>
                  </a:lnTo>
                  <a:lnTo>
                    <a:pt x="15473" y="76"/>
                  </a:lnTo>
                  <a:lnTo>
                    <a:pt x="15432" y="60"/>
                  </a:lnTo>
                  <a:lnTo>
                    <a:pt x="15391" y="46"/>
                  </a:lnTo>
                  <a:lnTo>
                    <a:pt x="15349" y="34"/>
                  </a:lnTo>
                  <a:lnTo>
                    <a:pt x="15306" y="24"/>
                  </a:lnTo>
                  <a:lnTo>
                    <a:pt x="15263" y="15"/>
                  </a:lnTo>
                  <a:lnTo>
                    <a:pt x="15220" y="9"/>
                  </a:lnTo>
                  <a:lnTo>
                    <a:pt x="15177" y="4"/>
                  </a:lnTo>
                  <a:lnTo>
                    <a:pt x="15133" y="1"/>
                  </a:lnTo>
                  <a:lnTo>
                    <a:pt x="15089" y="0"/>
                  </a:lnTo>
                  <a:lnTo>
                    <a:pt x="15067" y="0"/>
                  </a:lnTo>
                  <a:lnTo>
                    <a:pt x="15046" y="1"/>
                  </a:lnTo>
                  <a:lnTo>
                    <a:pt x="15024" y="2"/>
                  </a:lnTo>
                  <a:lnTo>
                    <a:pt x="15002" y="4"/>
                  </a:lnTo>
                  <a:lnTo>
                    <a:pt x="14979" y="6"/>
                  </a:lnTo>
                  <a:lnTo>
                    <a:pt x="14958" y="9"/>
                  </a:lnTo>
                  <a:lnTo>
                    <a:pt x="14936" y="12"/>
                  </a:lnTo>
                  <a:lnTo>
                    <a:pt x="14914" y="15"/>
                  </a:lnTo>
                  <a:lnTo>
                    <a:pt x="6363" y="1524"/>
                  </a:lnTo>
                  <a:lnTo>
                    <a:pt x="6318" y="1533"/>
                  </a:lnTo>
                  <a:lnTo>
                    <a:pt x="6274" y="1544"/>
                  </a:lnTo>
                  <a:lnTo>
                    <a:pt x="6232" y="1557"/>
                  </a:lnTo>
                  <a:lnTo>
                    <a:pt x="6190" y="1571"/>
                  </a:lnTo>
                  <a:lnTo>
                    <a:pt x="6148" y="1587"/>
                  </a:lnTo>
                  <a:lnTo>
                    <a:pt x="6108" y="1606"/>
                  </a:lnTo>
                  <a:lnTo>
                    <a:pt x="6069" y="1625"/>
                  </a:lnTo>
                  <a:lnTo>
                    <a:pt x="6031" y="1646"/>
                  </a:lnTo>
                  <a:lnTo>
                    <a:pt x="5993" y="1669"/>
                  </a:lnTo>
                  <a:lnTo>
                    <a:pt x="5957" y="1693"/>
                  </a:lnTo>
                  <a:lnTo>
                    <a:pt x="5923" y="1719"/>
                  </a:lnTo>
                  <a:lnTo>
                    <a:pt x="5889" y="1746"/>
                  </a:lnTo>
                  <a:lnTo>
                    <a:pt x="5857" y="1775"/>
                  </a:lnTo>
                  <a:lnTo>
                    <a:pt x="5825" y="1805"/>
                  </a:lnTo>
                  <a:lnTo>
                    <a:pt x="5795" y="1836"/>
                  </a:lnTo>
                  <a:lnTo>
                    <a:pt x="5767" y="1868"/>
                  </a:lnTo>
                  <a:lnTo>
                    <a:pt x="5740" y="1901"/>
                  </a:lnTo>
                  <a:lnTo>
                    <a:pt x="5715" y="1937"/>
                  </a:lnTo>
                  <a:lnTo>
                    <a:pt x="5691" y="1973"/>
                  </a:lnTo>
                  <a:lnTo>
                    <a:pt x="5668" y="2009"/>
                  </a:lnTo>
                  <a:lnTo>
                    <a:pt x="5647" y="2047"/>
                  </a:lnTo>
                  <a:lnTo>
                    <a:pt x="5628" y="2085"/>
                  </a:lnTo>
                  <a:lnTo>
                    <a:pt x="5610" y="2126"/>
                  </a:lnTo>
                  <a:lnTo>
                    <a:pt x="5594" y="2166"/>
                  </a:lnTo>
                  <a:lnTo>
                    <a:pt x="5580" y="2207"/>
                  </a:lnTo>
                  <a:lnTo>
                    <a:pt x="5568" y="2249"/>
                  </a:lnTo>
                  <a:lnTo>
                    <a:pt x="5557" y="2292"/>
                  </a:lnTo>
                  <a:lnTo>
                    <a:pt x="5548" y="2336"/>
                  </a:lnTo>
                  <a:lnTo>
                    <a:pt x="5541" y="2379"/>
                  </a:lnTo>
                  <a:lnTo>
                    <a:pt x="5536" y="2424"/>
                  </a:lnTo>
                  <a:lnTo>
                    <a:pt x="5533" y="2470"/>
                  </a:lnTo>
                  <a:lnTo>
                    <a:pt x="5532" y="2515"/>
                  </a:lnTo>
                  <a:lnTo>
                    <a:pt x="5532" y="3521"/>
                  </a:lnTo>
                  <a:lnTo>
                    <a:pt x="5532" y="4024"/>
                  </a:lnTo>
                  <a:lnTo>
                    <a:pt x="5532" y="11151"/>
                  </a:lnTo>
                  <a:lnTo>
                    <a:pt x="5483" y="11116"/>
                  </a:lnTo>
                  <a:lnTo>
                    <a:pt x="5434" y="11083"/>
                  </a:lnTo>
                  <a:lnTo>
                    <a:pt x="5385" y="11051"/>
                  </a:lnTo>
                  <a:lnTo>
                    <a:pt x="5333" y="11020"/>
                  </a:lnTo>
                  <a:lnTo>
                    <a:pt x="5282" y="10989"/>
                  </a:lnTo>
                  <a:lnTo>
                    <a:pt x="5230" y="10959"/>
                  </a:lnTo>
                  <a:lnTo>
                    <a:pt x="5177" y="10930"/>
                  </a:lnTo>
                  <a:lnTo>
                    <a:pt x="5122" y="10903"/>
                  </a:lnTo>
                  <a:lnTo>
                    <a:pt x="5067" y="10876"/>
                  </a:lnTo>
                  <a:lnTo>
                    <a:pt x="5012" y="10851"/>
                  </a:lnTo>
                  <a:lnTo>
                    <a:pt x="4955" y="10826"/>
                  </a:lnTo>
                  <a:lnTo>
                    <a:pt x="4898" y="10801"/>
                  </a:lnTo>
                  <a:lnTo>
                    <a:pt x="4841" y="10779"/>
                  </a:lnTo>
                  <a:lnTo>
                    <a:pt x="4782" y="10758"/>
                  </a:lnTo>
                  <a:lnTo>
                    <a:pt x="4723" y="10737"/>
                  </a:lnTo>
                  <a:lnTo>
                    <a:pt x="4663" y="10718"/>
                  </a:lnTo>
                  <a:lnTo>
                    <a:pt x="4602" y="10700"/>
                  </a:lnTo>
                  <a:lnTo>
                    <a:pt x="4541" y="10682"/>
                  </a:lnTo>
                  <a:lnTo>
                    <a:pt x="4479" y="10666"/>
                  </a:lnTo>
                  <a:lnTo>
                    <a:pt x="4417" y="10651"/>
                  </a:lnTo>
                  <a:lnTo>
                    <a:pt x="4354" y="10636"/>
                  </a:lnTo>
                  <a:lnTo>
                    <a:pt x="4290" y="10624"/>
                  </a:lnTo>
                  <a:lnTo>
                    <a:pt x="4226" y="10612"/>
                  </a:lnTo>
                  <a:lnTo>
                    <a:pt x="4161" y="10602"/>
                  </a:lnTo>
                  <a:lnTo>
                    <a:pt x="4095" y="10593"/>
                  </a:lnTo>
                  <a:lnTo>
                    <a:pt x="4030" y="10585"/>
                  </a:lnTo>
                  <a:lnTo>
                    <a:pt x="3963" y="10578"/>
                  </a:lnTo>
                  <a:lnTo>
                    <a:pt x="3896" y="10572"/>
                  </a:lnTo>
                  <a:lnTo>
                    <a:pt x="3829" y="10568"/>
                  </a:lnTo>
                  <a:lnTo>
                    <a:pt x="3761" y="10565"/>
                  </a:lnTo>
                  <a:lnTo>
                    <a:pt x="3693" y="10563"/>
                  </a:lnTo>
                  <a:lnTo>
                    <a:pt x="3623" y="10562"/>
                  </a:lnTo>
                  <a:lnTo>
                    <a:pt x="3544" y="10563"/>
                  </a:lnTo>
                  <a:lnTo>
                    <a:pt x="3463" y="10566"/>
                  </a:lnTo>
                  <a:lnTo>
                    <a:pt x="3384" y="10570"/>
                  </a:lnTo>
                  <a:lnTo>
                    <a:pt x="3303" y="10575"/>
                  </a:lnTo>
                  <a:lnTo>
                    <a:pt x="3223" y="10583"/>
                  </a:lnTo>
                  <a:lnTo>
                    <a:pt x="3144" y="10592"/>
                  </a:lnTo>
                  <a:lnTo>
                    <a:pt x="3063" y="10602"/>
                  </a:lnTo>
                  <a:lnTo>
                    <a:pt x="2984" y="10615"/>
                  </a:lnTo>
                  <a:lnTo>
                    <a:pt x="2904" y="10629"/>
                  </a:lnTo>
                  <a:lnTo>
                    <a:pt x="2825" y="10644"/>
                  </a:lnTo>
                  <a:lnTo>
                    <a:pt x="2745" y="10662"/>
                  </a:lnTo>
                  <a:lnTo>
                    <a:pt x="2666" y="10681"/>
                  </a:lnTo>
                  <a:lnTo>
                    <a:pt x="2587" y="10701"/>
                  </a:lnTo>
                  <a:lnTo>
                    <a:pt x="2508" y="10723"/>
                  </a:lnTo>
                  <a:lnTo>
                    <a:pt x="2429" y="10746"/>
                  </a:lnTo>
                  <a:lnTo>
                    <a:pt x="2351" y="10771"/>
                  </a:lnTo>
                  <a:lnTo>
                    <a:pt x="2262" y="10802"/>
                  </a:lnTo>
                  <a:lnTo>
                    <a:pt x="2175" y="10835"/>
                  </a:lnTo>
                  <a:lnTo>
                    <a:pt x="2088" y="10870"/>
                  </a:lnTo>
                  <a:lnTo>
                    <a:pt x="2003" y="10906"/>
                  </a:lnTo>
                  <a:lnTo>
                    <a:pt x="1918" y="10943"/>
                  </a:lnTo>
                  <a:lnTo>
                    <a:pt x="1836" y="10984"/>
                  </a:lnTo>
                  <a:lnTo>
                    <a:pt x="1754" y="11025"/>
                  </a:lnTo>
                  <a:lnTo>
                    <a:pt x="1674" y="11068"/>
                  </a:lnTo>
                  <a:lnTo>
                    <a:pt x="1595" y="11112"/>
                  </a:lnTo>
                  <a:lnTo>
                    <a:pt x="1518" y="11159"/>
                  </a:lnTo>
                  <a:lnTo>
                    <a:pt x="1443" y="11207"/>
                  </a:lnTo>
                  <a:lnTo>
                    <a:pt x="1368" y="11256"/>
                  </a:lnTo>
                  <a:lnTo>
                    <a:pt x="1295" y="11307"/>
                  </a:lnTo>
                  <a:lnTo>
                    <a:pt x="1224" y="11360"/>
                  </a:lnTo>
                  <a:lnTo>
                    <a:pt x="1154" y="11413"/>
                  </a:lnTo>
                  <a:lnTo>
                    <a:pt x="1086" y="11468"/>
                  </a:lnTo>
                  <a:lnTo>
                    <a:pt x="1020" y="11526"/>
                  </a:lnTo>
                  <a:lnTo>
                    <a:pt x="956" y="11583"/>
                  </a:lnTo>
                  <a:lnTo>
                    <a:pt x="892" y="11643"/>
                  </a:lnTo>
                  <a:lnTo>
                    <a:pt x="832" y="11704"/>
                  </a:lnTo>
                  <a:lnTo>
                    <a:pt x="773" y="11766"/>
                  </a:lnTo>
                  <a:lnTo>
                    <a:pt x="715" y="11830"/>
                  </a:lnTo>
                  <a:lnTo>
                    <a:pt x="660" y="11894"/>
                  </a:lnTo>
                  <a:lnTo>
                    <a:pt x="606" y="11959"/>
                  </a:lnTo>
                  <a:lnTo>
                    <a:pt x="554" y="12026"/>
                  </a:lnTo>
                  <a:lnTo>
                    <a:pt x="505" y="12094"/>
                  </a:lnTo>
                  <a:lnTo>
                    <a:pt x="458" y="12164"/>
                  </a:lnTo>
                  <a:lnTo>
                    <a:pt x="412" y="12233"/>
                  </a:lnTo>
                  <a:lnTo>
                    <a:pt x="369" y="12304"/>
                  </a:lnTo>
                  <a:lnTo>
                    <a:pt x="328" y="12377"/>
                  </a:lnTo>
                  <a:lnTo>
                    <a:pt x="289" y="12450"/>
                  </a:lnTo>
                  <a:lnTo>
                    <a:pt x="251" y="12524"/>
                  </a:lnTo>
                  <a:lnTo>
                    <a:pt x="225" y="12582"/>
                  </a:lnTo>
                  <a:lnTo>
                    <a:pt x="200" y="12639"/>
                  </a:lnTo>
                  <a:lnTo>
                    <a:pt x="176" y="12699"/>
                  </a:lnTo>
                  <a:lnTo>
                    <a:pt x="154" y="12757"/>
                  </a:lnTo>
                  <a:lnTo>
                    <a:pt x="133" y="12815"/>
                  </a:lnTo>
                  <a:lnTo>
                    <a:pt x="114" y="12875"/>
                  </a:lnTo>
                  <a:lnTo>
                    <a:pt x="96" y="12934"/>
                  </a:lnTo>
                  <a:lnTo>
                    <a:pt x="79" y="12994"/>
                  </a:lnTo>
                  <a:lnTo>
                    <a:pt x="65" y="13053"/>
                  </a:lnTo>
                  <a:lnTo>
                    <a:pt x="51" y="13112"/>
                  </a:lnTo>
                  <a:lnTo>
                    <a:pt x="40" y="13173"/>
                  </a:lnTo>
                  <a:lnTo>
                    <a:pt x="30" y="13232"/>
                  </a:lnTo>
                  <a:lnTo>
                    <a:pt x="21" y="13292"/>
                  </a:lnTo>
                  <a:lnTo>
                    <a:pt x="14" y="13352"/>
                  </a:lnTo>
                  <a:lnTo>
                    <a:pt x="8" y="13412"/>
                  </a:lnTo>
                  <a:lnTo>
                    <a:pt x="4" y="13471"/>
                  </a:lnTo>
                  <a:lnTo>
                    <a:pt x="1" y="13532"/>
                  </a:lnTo>
                  <a:lnTo>
                    <a:pt x="0" y="13591"/>
                  </a:lnTo>
                  <a:lnTo>
                    <a:pt x="0" y="13650"/>
                  </a:lnTo>
                  <a:lnTo>
                    <a:pt x="2" y="13711"/>
                  </a:lnTo>
                  <a:lnTo>
                    <a:pt x="6" y="13770"/>
                  </a:lnTo>
                  <a:lnTo>
                    <a:pt x="11" y="13829"/>
                  </a:lnTo>
                  <a:lnTo>
                    <a:pt x="17" y="13888"/>
                  </a:lnTo>
                  <a:lnTo>
                    <a:pt x="25" y="13947"/>
                  </a:lnTo>
                  <a:lnTo>
                    <a:pt x="35" y="14006"/>
                  </a:lnTo>
                  <a:lnTo>
                    <a:pt x="46" y="14064"/>
                  </a:lnTo>
                  <a:lnTo>
                    <a:pt x="58" y="14122"/>
                  </a:lnTo>
                  <a:lnTo>
                    <a:pt x="72" y="14180"/>
                  </a:lnTo>
                  <a:lnTo>
                    <a:pt x="89" y="14238"/>
                  </a:lnTo>
                  <a:lnTo>
                    <a:pt x="106" y="14295"/>
                  </a:lnTo>
                  <a:lnTo>
                    <a:pt x="124" y="14352"/>
                  </a:lnTo>
                  <a:lnTo>
                    <a:pt x="145" y="14408"/>
                  </a:lnTo>
                  <a:lnTo>
                    <a:pt x="182" y="14504"/>
                  </a:lnTo>
                  <a:lnTo>
                    <a:pt x="224" y="14596"/>
                  </a:lnTo>
                  <a:lnTo>
                    <a:pt x="271" y="14687"/>
                  </a:lnTo>
                  <a:lnTo>
                    <a:pt x="320" y="14775"/>
                  </a:lnTo>
                  <a:lnTo>
                    <a:pt x="373" y="14861"/>
                  </a:lnTo>
                  <a:lnTo>
                    <a:pt x="431" y="14944"/>
                  </a:lnTo>
                  <a:lnTo>
                    <a:pt x="491" y="15026"/>
                  </a:lnTo>
                  <a:lnTo>
                    <a:pt x="555" y="15104"/>
                  </a:lnTo>
                  <a:lnTo>
                    <a:pt x="624" y="15181"/>
                  </a:lnTo>
                  <a:lnTo>
                    <a:pt x="694" y="15254"/>
                  </a:lnTo>
                  <a:lnTo>
                    <a:pt x="769" y="15324"/>
                  </a:lnTo>
                  <a:lnTo>
                    <a:pt x="846" y="15392"/>
                  </a:lnTo>
                  <a:lnTo>
                    <a:pt x="926" y="15457"/>
                  </a:lnTo>
                  <a:lnTo>
                    <a:pt x="1010" y="15520"/>
                  </a:lnTo>
                  <a:lnTo>
                    <a:pt x="1096" y="15579"/>
                  </a:lnTo>
                  <a:lnTo>
                    <a:pt x="1185" y="15636"/>
                  </a:lnTo>
                  <a:lnTo>
                    <a:pt x="1277" y="15690"/>
                  </a:lnTo>
                  <a:lnTo>
                    <a:pt x="1371" y="15740"/>
                  </a:lnTo>
                  <a:lnTo>
                    <a:pt x="1469" y="15787"/>
                  </a:lnTo>
                  <a:lnTo>
                    <a:pt x="1567" y="15831"/>
                  </a:lnTo>
                  <a:lnTo>
                    <a:pt x="1669" y="15873"/>
                  </a:lnTo>
                  <a:lnTo>
                    <a:pt x="1772" y="15910"/>
                  </a:lnTo>
                  <a:lnTo>
                    <a:pt x="1879" y="15944"/>
                  </a:lnTo>
                  <a:lnTo>
                    <a:pt x="1987" y="15975"/>
                  </a:lnTo>
                  <a:lnTo>
                    <a:pt x="2097" y="16003"/>
                  </a:lnTo>
                  <a:lnTo>
                    <a:pt x="2209" y="16028"/>
                  </a:lnTo>
                  <a:lnTo>
                    <a:pt x="2323" y="16048"/>
                  </a:lnTo>
                  <a:lnTo>
                    <a:pt x="2438" y="16065"/>
                  </a:lnTo>
                  <a:lnTo>
                    <a:pt x="2555" y="16078"/>
                  </a:lnTo>
                  <a:lnTo>
                    <a:pt x="2674" y="16087"/>
                  </a:lnTo>
                  <a:lnTo>
                    <a:pt x="2793" y="16093"/>
                  </a:lnTo>
                  <a:lnTo>
                    <a:pt x="2914" y="16095"/>
                  </a:lnTo>
                  <a:lnTo>
                    <a:pt x="2995" y="16094"/>
                  </a:lnTo>
                  <a:lnTo>
                    <a:pt x="3075" y="16092"/>
                  </a:lnTo>
                  <a:lnTo>
                    <a:pt x="3155" y="16088"/>
                  </a:lnTo>
                  <a:lnTo>
                    <a:pt x="3235" y="16082"/>
                  </a:lnTo>
                  <a:lnTo>
                    <a:pt x="3315" y="16075"/>
                  </a:lnTo>
                  <a:lnTo>
                    <a:pt x="3395" y="16066"/>
                  </a:lnTo>
                  <a:lnTo>
                    <a:pt x="3475" y="16055"/>
                  </a:lnTo>
                  <a:lnTo>
                    <a:pt x="3554" y="16043"/>
                  </a:lnTo>
                  <a:lnTo>
                    <a:pt x="3633" y="16029"/>
                  </a:lnTo>
                  <a:lnTo>
                    <a:pt x="3713" y="16014"/>
                  </a:lnTo>
                  <a:lnTo>
                    <a:pt x="3792" y="15996"/>
                  </a:lnTo>
                  <a:lnTo>
                    <a:pt x="3872" y="15977"/>
                  </a:lnTo>
                  <a:lnTo>
                    <a:pt x="3950" y="15957"/>
                  </a:lnTo>
                  <a:lnTo>
                    <a:pt x="4029" y="15935"/>
                  </a:lnTo>
                  <a:lnTo>
                    <a:pt x="4107" y="15911"/>
                  </a:lnTo>
                  <a:lnTo>
                    <a:pt x="4186" y="15886"/>
                  </a:lnTo>
                  <a:lnTo>
                    <a:pt x="4275" y="15855"/>
                  </a:lnTo>
                  <a:lnTo>
                    <a:pt x="4363" y="15822"/>
                  </a:lnTo>
                  <a:lnTo>
                    <a:pt x="4449" y="15788"/>
                  </a:lnTo>
                  <a:lnTo>
                    <a:pt x="4535" y="15752"/>
                  </a:lnTo>
                  <a:lnTo>
                    <a:pt x="4619" y="15714"/>
                  </a:lnTo>
                  <a:lnTo>
                    <a:pt x="4702" y="15674"/>
                  </a:lnTo>
                  <a:lnTo>
                    <a:pt x="4783" y="15633"/>
                  </a:lnTo>
                  <a:lnTo>
                    <a:pt x="4864" y="15590"/>
                  </a:lnTo>
                  <a:lnTo>
                    <a:pt x="4942" y="15546"/>
                  </a:lnTo>
                  <a:lnTo>
                    <a:pt x="5020" y="15499"/>
                  </a:lnTo>
                  <a:lnTo>
                    <a:pt x="5096" y="15451"/>
                  </a:lnTo>
                  <a:lnTo>
                    <a:pt x="5171" y="15402"/>
                  </a:lnTo>
                  <a:lnTo>
                    <a:pt x="5243" y="15351"/>
                  </a:lnTo>
                  <a:lnTo>
                    <a:pt x="5314" y="15298"/>
                  </a:lnTo>
                  <a:lnTo>
                    <a:pt x="5384" y="15245"/>
                  </a:lnTo>
                  <a:lnTo>
                    <a:pt x="5452" y="15190"/>
                  </a:lnTo>
                  <a:lnTo>
                    <a:pt x="5519" y="15133"/>
                  </a:lnTo>
                  <a:lnTo>
                    <a:pt x="5583" y="15075"/>
                  </a:lnTo>
                  <a:lnTo>
                    <a:pt x="5645" y="15016"/>
                  </a:lnTo>
                  <a:lnTo>
                    <a:pt x="5707" y="14955"/>
                  </a:lnTo>
                  <a:lnTo>
                    <a:pt x="5766" y="14893"/>
                  </a:lnTo>
                  <a:lnTo>
                    <a:pt x="5823" y="14829"/>
                  </a:lnTo>
                  <a:lnTo>
                    <a:pt x="5879" y="14765"/>
                  </a:lnTo>
                  <a:lnTo>
                    <a:pt x="5932" y="14700"/>
                  </a:lnTo>
                  <a:lnTo>
                    <a:pt x="5983" y="14632"/>
                  </a:lnTo>
                  <a:lnTo>
                    <a:pt x="6034" y="14565"/>
                  </a:lnTo>
                  <a:lnTo>
                    <a:pt x="6081" y="14495"/>
                  </a:lnTo>
                  <a:lnTo>
                    <a:pt x="6126" y="14426"/>
                  </a:lnTo>
                  <a:lnTo>
                    <a:pt x="6169" y="14355"/>
                  </a:lnTo>
                  <a:lnTo>
                    <a:pt x="6211" y="14282"/>
                  </a:lnTo>
                  <a:lnTo>
                    <a:pt x="6250" y="14210"/>
                  </a:lnTo>
                  <a:lnTo>
                    <a:pt x="6286" y="14135"/>
                  </a:lnTo>
                  <a:lnTo>
                    <a:pt x="6316" y="14071"/>
                  </a:lnTo>
                  <a:lnTo>
                    <a:pt x="6343" y="14007"/>
                  </a:lnTo>
                  <a:lnTo>
                    <a:pt x="6369" y="13941"/>
                  </a:lnTo>
                  <a:lnTo>
                    <a:pt x="6393" y="13876"/>
                  </a:lnTo>
                  <a:lnTo>
                    <a:pt x="6414" y="13809"/>
                  </a:lnTo>
                  <a:lnTo>
                    <a:pt x="6434" y="13744"/>
                  </a:lnTo>
                  <a:lnTo>
                    <a:pt x="6452" y="13678"/>
                  </a:lnTo>
                  <a:lnTo>
                    <a:pt x="6468" y="13611"/>
                  </a:lnTo>
                  <a:lnTo>
                    <a:pt x="6482" y="13545"/>
                  </a:lnTo>
                  <a:lnTo>
                    <a:pt x="6494" y="13477"/>
                  </a:lnTo>
                  <a:lnTo>
                    <a:pt x="6504" y="13411"/>
                  </a:lnTo>
                  <a:lnTo>
                    <a:pt x="6513" y="13345"/>
                  </a:lnTo>
                  <a:lnTo>
                    <a:pt x="6519" y="13277"/>
                  </a:lnTo>
                  <a:lnTo>
                    <a:pt x="6525" y="13211"/>
                  </a:lnTo>
                  <a:lnTo>
                    <a:pt x="6528" y="13143"/>
                  </a:lnTo>
                  <a:lnTo>
                    <a:pt x="6530" y="13077"/>
                  </a:lnTo>
                  <a:lnTo>
                    <a:pt x="6538" y="13077"/>
                  </a:lnTo>
                  <a:lnTo>
                    <a:pt x="6538" y="5030"/>
                  </a:lnTo>
                  <a:lnTo>
                    <a:pt x="6560" y="5029"/>
                  </a:lnTo>
                  <a:lnTo>
                    <a:pt x="6582" y="5029"/>
                  </a:lnTo>
                  <a:lnTo>
                    <a:pt x="6603" y="5028"/>
                  </a:lnTo>
                  <a:lnTo>
                    <a:pt x="6625" y="5026"/>
                  </a:lnTo>
                  <a:lnTo>
                    <a:pt x="6647" y="5024"/>
                  </a:lnTo>
                  <a:lnTo>
                    <a:pt x="6669" y="5021"/>
                  </a:lnTo>
                  <a:lnTo>
                    <a:pt x="6691" y="5018"/>
                  </a:lnTo>
                  <a:lnTo>
                    <a:pt x="6713" y="5015"/>
                  </a:lnTo>
                  <a:lnTo>
                    <a:pt x="15089" y="3536"/>
                  </a:lnTo>
                  <a:lnTo>
                    <a:pt x="15089" y="9642"/>
                  </a:lnTo>
                  <a:lnTo>
                    <a:pt x="15041" y="9607"/>
                  </a:lnTo>
                  <a:lnTo>
                    <a:pt x="14991" y="9574"/>
                  </a:lnTo>
                  <a:lnTo>
                    <a:pt x="14941" y="9542"/>
                  </a:lnTo>
                  <a:lnTo>
                    <a:pt x="14891" y="9511"/>
                  </a:lnTo>
                  <a:lnTo>
                    <a:pt x="14840" y="9480"/>
                  </a:lnTo>
                  <a:lnTo>
                    <a:pt x="14786" y="9450"/>
                  </a:lnTo>
                  <a:lnTo>
                    <a:pt x="14733" y="9421"/>
                  </a:lnTo>
                  <a:lnTo>
                    <a:pt x="14680" y="9394"/>
                  </a:lnTo>
                  <a:lnTo>
                    <a:pt x="14624" y="9367"/>
                  </a:lnTo>
                  <a:lnTo>
                    <a:pt x="14569" y="9342"/>
                  </a:lnTo>
                  <a:lnTo>
                    <a:pt x="14513" y="9317"/>
                  </a:lnTo>
                  <a:lnTo>
                    <a:pt x="14455" y="9293"/>
                  </a:lnTo>
                  <a:lnTo>
                    <a:pt x="14397" y="9270"/>
                  </a:lnTo>
                  <a:lnTo>
                    <a:pt x="14339" y="9249"/>
                  </a:lnTo>
                  <a:lnTo>
                    <a:pt x="14279" y="9228"/>
                  </a:lnTo>
                  <a:lnTo>
                    <a:pt x="14220" y="9209"/>
                  </a:lnTo>
                  <a:lnTo>
                    <a:pt x="14160" y="9191"/>
                  </a:lnTo>
                  <a:lnTo>
                    <a:pt x="14098" y="9173"/>
                  </a:lnTo>
                  <a:lnTo>
                    <a:pt x="14036" y="9157"/>
                  </a:lnTo>
                  <a:lnTo>
                    <a:pt x="13973" y="9142"/>
                  </a:lnTo>
                  <a:lnTo>
                    <a:pt x="13910" y="9128"/>
                  </a:lnTo>
                  <a:lnTo>
                    <a:pt x="13847" y="9115"/>
                  </a:lnTo>
                  <a:lnTo>
                    <a:pt x="13782" y="9103"/>
                  </a:lnTo>
                  <a:lnTo>
                    <a:pt x="13718" y="9093"/>
                  </a:lnTo>
                  <a:lnTo>
                    <a:pt x="13653" y="9084"/>
                  </a:lnTo>
                  <a:lnTo>
                    <a:pt x="13586" y="9076"/>
                  </a:lnTo>
                  <a:lnTo>
                    <a:pt x="13520" y="9069"/>
                  </a:lnTo>
                  <a:lnTo>
                    <a:pt x="13453" y="9063"/>
                  </a:lnTo>
                  <a:lnTo>
                    <a:pt x="13385" y="9059"/>
                  </a:lnTo>
                  <a:lnTo>
                    <a:pt x="13318" y="9056"/>
                  </a:lnTo>
                  <a:lnTo>
                    <a:pt x="13249" y="9054"/>
                  </a:lnTo>
                  <a:lnTo>
                    <a:pt x="13180" y="9053"/>
                  </a:lnTo>
                  <a:lnTo>
                    <a:pt x="13100" y="9054"/>
                  </a:lnTo>
                  <a:lnTo>
                    <a:pt x="13020" y="9057"/>
                  </a:lnTo>
                  <a:lnTo>
                    <a:pt x="12940" y="9061"/>
                  </a:lnTo>
                  <a:lnTo>
                    <a:pt x="12860" y="9067"/>
                  </a:lnTo>
                  <a:lnTo>
                    <a:pt x="12780" y="9074"/>
                  </a:lnTo>
                  <a:lnTo>
                    <a:pt x="12700" y="9083"/>
                  </a:lnTo>
                  <a:lnTo>
                    <a:pt x="12620" y="9094"/>
                  </a:lnTo>
                  <a:lnTo>
                    <a:pt x="12541" y="9106"/>
                  </a:lnTo>
                  <a:lnTo>
                    <a:pt x="12462" y="9120"/>
                  </a:lnTo>
                  <a:lnTo>
                    <a:pt x="12382" y="9135"/>
                  </a:lnTo>
                  <a:lnTo>
                    <a:pt x="12303" y="9153"/>
                  </a:lnTo>
                  <a:lnTo>
                    <a:pt x="12223" y="9172"/>
                  </a:lnTo>
                  <a:lnTo>
                    <a:pt x="12144" y="9192"/>
                  </a:lnTo>
                  <a:lnTo>
                    <a:pt x="12065" y="9214"/>
                  </a:lnTo>
                  <a:lnTo>
                    <a:pt x="11987" y="9237"/>
                  </a:lnTo>
                  <a:lnTo>
                    <a:pt x="11908" y="9262"/>
                  </a:lnTo>
                  <a:lnTo>
                    <a:pt x="11820" y="9293"/>
                  </a:lnTo>
                  <a:lnTo>
                    <a:pt x="11731" y="9326"/>
                  </a:lnTo>
                  <a:lnTo>
                    <a:pt x="11645" y="9361"/>
                  </a:lnTo>
                  <a:lnTo>
                    <a:pt x="11560" y="9397"/>
                  </a:lnTo>
                  <a:lnTo>
                    <a:pt x="11476" y="9434"/>
                  </a:lnTo>
                  <a:lnTo>
                    <a:pt x="11393" y="9475"/>
                  </a:lnTo>
                  <a:lnTo>
                    <a:pt x="11312" y="9516"/>
                  </a:lnTo>
                  <a:lnTo>
                    <a:pt x="11231" y="9559"/>
                  </a:lnTo>
                  <a:lnTo>
                    <a:pt x="11153" y="9603"/>
                  </a:lnTo>
                  <a:lnTo>
                    <a:pt x="11075" y="9650"/>
                  </a:lnTo>
                  <a:lnTo>
                    <a:pt x="10999" y="9698"/>
                  </a:lnTo>
                  <a:lnTo>
                    <a:pt x="10925" y="9747"/>
                  </a:lnTo>
                  <a:lnTo>
                    <a:pt x="10852" y="9798"/>
                  </a:lnTo>
                  <a:lnTo>
                    <a:pt x="10781" y="9851"/>
                  </a:lnTo>
                  <a:lnTo>
                    <a:pt x="10711" y="9904"/>
                  </a:lnTo>
                  <a:lnTo>
                    <a:pt x="10644" y="9959"/>
                  </a:lnTo>
                  <a:lnTo>
                    <a:pt x="10577" y="10017"/>
                  </a:lnTo>
                  <a:lnTo>
                    <a:pt x="10513" y="10074"/>
                  </a:lnTo>
                  <a:lnTo>
                    <a:pt x="10450" y="10134"/>
                  </a:lnTo>
                  <a:lnTo>
                    <a:pt x="10388" y="10195"/>
                  </a:lnTo>
                  <a:lnTo>
                    <a:pt x="10330" y="10257"/>
                  </a:lnTo>
                  <a:lnTo>
                    <a:pt x="10273" y="10321"/>
                  </a:lnTo>
                  <a:lnTo>
                    <a:pt x="10216" y="10385"/>
                  </a:lnTo>
                  <a:lnTo>
                    <a:pt x="10163" y="10450"/>
                  </a:lnTo>
                  <a:lnTo>
                    <a:pt x="10112" y="10517"/>
                  </a:lnTo>
                  <a:lnTo>
                    <a:pt x="10062" y="10585"/>
                  </a:lnTo>
                  <a:lnTo>
                    <a:pt x="10014" y="10655"/>
                  </a:lnTo>
                  <a:lnTo>
                    <a:pt x="9969" y="10724"/>
                  </a:lnTo>
                  <a:lnTo>
                    <a:pt x="9926" y="10795"/>
                  </a:lnTo>
                  <a:lnTo>
                    <a:pt x="9884" y="10868"/>
                  </a:lnTo>
                  <a:lnTo>
                    <a:pt x="9846" y="10941"/>
                  </a:lnTo>
                  <a:lnTo>
                    <a:pt x="9809" y="11015"/>
                  </a:lnTo>
                  <a:lnTo>
                    <a:pt x="9782" y="11073"/>
                  </a:lnTo>
                  <a:lnTo>
                    <a:pt x="9757" y="11131"/>
                  </a:lnTo>
                  <a:lnTo>
                    <a:pt x="9733" y="11190"/>
                  </a:lnTo>
                  <a:lnTo>
                    <a:pt x="9711" y="11248"/>
                  </a:lnTo>
                  <a:lnTo>
                    <a:pt x="9690" y="11306"/>
                  </a:lnTo>
                  <a:lnTo>
                    <a:pt x="9671" y="11366"/>
                  </a:lnTo>
                  <a:lnTo>
                    <a:pt x="9653" y="11425"/>
                  </a:lnTo>
                  <a:lnTo>
                    <a:pt x="9637" y="11485"/>
                  </a:lnTo>
                  <a:lnTo>
                    <a:pt x="9622" y="11544"/>
                  </a:lnTo>
                  <a:lnTo>
                    <a:pt x="9609" y="11603"/>
                  </a:lnTo>
                  <a:lnTo>
                    <a:pt x="9598" y="11664"/>
                  </a:lnTo>
                  <a:lnTo>
                    <a:pt x="9587" y="11723"/>
                  </a:lnTo>
                  <a:lnTo>
                    <a:pt x="9579" y="11783"/>
                  </a:lnTo>
                  <a:lnTo>
                    <a:pt x="9571" y="11843"/>
                  </a:lnTo>
                  <a:lnTo>
                    <a:pt x="9565" y="11903"/>
                  </a:lnTo>
                  <a:lnTo>
                    <a:pt x="9561" y="11962"/>
                  </a:lnTo>
                  <a:lnTo>
                    <a:pt x="9558" y="12023"/>
                  </a:lnTo>
                  <a:lnTo>
                    <a:pt x="9557" y="12082"/>
                  </a:lnTo>
                  <a:lnTo>
                    <a:pt x="9558" y="12142"/>
                  </a:lnTo>
                  <a:lnTo>
                    <a:pt x="9560" y="12202"/>
                  </a:lnTo>
                  <a:lnTo>
                    <a:pt x="9563" y="12261"/>
                  </a:lnTo>
                  <a:lnTo>
                    <a:pt x="9568" y="12320"/>
                  </a:lnTo>
                  <a:lnTo>
                    <a:pt x="9575" y="12379"/>
                  </a:lnTo>
                  <a:lnTo>
                    <a:pt x="9583" y="12438"/>
                  </a:lnTo>
                  <a:lnTo>
                    <a:pt x="9593" y="12497"/>
                  </a:lnTo>
                  <a:lnTo>
                    <a:pt x="9604" y="12555"/>
                  </a:lnTo>
                  <a:lnTo>
                    <a:pt x="9616" y="12613"/>
                  </a:lnTo>
                  <a:lnTo>
                    <a:pt x="9630" y="12672"/>
                  </a:lnTo>
                  <a:lnTo>
                    <a:pt x="9646" y="12729"/>
                  </a:lnTo>
                  <a:lnTo>
                    <a:pt x="9663" y="12786"/>
                  </a:lnTo>
                  <a:lnTo>
                    <a:pt x="9682" y="12843"/>
                  </a:lnTo>
                  <a:lnTo>
                    <a:pt x="9702" y="12899"/>
                  </a:lnTo>
                  <a:lnTo>
                    <a:pt x="9739" y="12995"/>
                  </a:lnTo>
                  <a:lnTo>
                    <a:pt x="9782" y="13087"/>
                  </a:lnTo>
                  <a:lnTo>
                    <a:pt x="9828" y="13178"/>
                  </a:lnTo>
                  <a:lnTo>
                    <a:pt x="9877" y="13266"/>
                  </a:lnTo>
                  <a:lnTo>
                    <a:pt x="9931" y="13352"/>
                  </a:lnTo>
                  <a:lnTo>
                    <a:pt x="9988" y="13435"/>
                  </a:lnTo>
                  <a:lnTo>
                    <a:pt x="10049" y="13517"/>
                  </a:lnTo>
                  <a:lnTo>
                    <a:pt x="10113" y="13595"/>
                  </a:lnTo>
                  <a:lnTo>
                    <a:pt x="10181" y="13672"/>
                  </a:lnTo>
                  <a:lnTo>
                    <a:pt x="10252" y="13745"/>
                  </a:lnTo>
                  <a:lnTo>
                    <a:pt x="10326" y="13815"/>
                  </a:lnTo>
                  <a:lnTo>
                    <a:pt x="10403" y="13883"/>
                  </a:lnTo>
                  <a:lnTo>
                    <a:pt x="10484" y="13948"/>
                  </a:lnTo>
                  <a:lnTo>
                    <a:pt x="10567" y="14011"/>
                  </a:lnTo>
                  <a:lnTo>
                    <a:pt x="10654" y="14070"/>
                  </a:lnTo>
                  <a:lnTo>
                    <a:pt x="10742" y="14127"/>
                  </a:lnTo>
                  <a:lnTo>
                    <a:pt x="10834" y="14181"/>
                  </a:lnTo>
                  <a:lnTo>
                    <a:pt x="10929" y="14231"/>
                  </a:lnTo>
                  <a:lnTo>
                    <a:pt x="11025" y="14278"/>
                  </a:lnTo>
                  <a:lnTo>
                    <a:pt x="11125" y="14322"/>
                  </a:lnTo>
                  <a:lnTo>
                    <a:pt x="11226" y="14364"/>
                  </a:lnTo>
                  <a:lnTo>
                    <a:pt x="11330" y="14401"/>
                  </a:lnTo>
                  <a:lnTo>
                    <a:pt x="11435" y="14436"/>
                  </a:lnTo>
                  <a:lnTo>
                    <a:pt x="11544" y="14466"/>
                  </a:lnTo>
                  <a:lnTo>
                    <a:pt x="11654" y="14494"/>
                  </a:lnTo>
                  <a:lnTo>
                    <a:pt x="11765" y="14519"/>
                  </a:lnTo>
                  <a:lnTo>
                    <a:pt x="11879" y="14539"/>
                  </a:lnTo>
                  <a:lnTo>
                    <a:pt x="11995" y="14556"/>
                  </a:lnTo>
                  <a:lnTo>
                    <a:pt x="12111" y="14569"/>
                  </a:lnTo>
                  <a:lnTo>
                    <a:pt x="12230" y="14578"/>
                  </a:lnTo>
                  <a:lnTo>
                    <a:pt x="12350" y="14584"/>
                  </a:lnTo>
                  <a:lnTo>
                    <a:pt x="12472" y="14586"/>
                  </a:lnTo>
                  <a:lnTo>
                    <a:pt x="12551" y="14585"/>
                  </a:lnTo>
                  <a:lnTo>
                    <a:pt x="12632" y="14583"/>
                  </a:lnTo>
                  <a:lnTo>
                    <a:pt x="12712" y="14579"/>
                  </a:lnTo>
                  <a:lnTo>
                    <a:pt x="12792" y="14573"/>
                  </a:lnTo>
                  <a:lnTo>
                    <a:pt x="12872" y="14566"/>
                  </a:lnTo>
                  <a:lnTo>
                    <a:pt x="12951" y="14557"/>
                  </a:lnTo>
                  <a:lnTo>
                    <a:pt x="13032" y="14546"/>
                  </a:lnTo>
                  <a:lnTo>
                    <a:pt x="13111" y="14534"/>
                  </a:lnTo>
                  <a:lnTo>
                    <a:pt x="13191" y="14520"/>
                  </a:lnTo>
                  <a:lnTo>
                    <a:pt x="13270" y="14505"/>
                  </a:lnTo>
                  <a:lnTo>
                    <a:pt x="13350" y="14487"/>
                  </a:lnTo>
                  <a:lnTo>
                    <a:pt x="13429" y="14468"/>
                  </a:lnTo>
                  <a:lnTo>
                    <a:pt x="13508" y="14448"/>
                  </a:lnTo>
                  <a:lnTo>
                    <a:pt x="13586" y="14426"/>
                  </a:lnTo>
                  <a:lnTo>
                    <a:pt x="13665" y="14402"/>
                  </a:lnTo>
                  <a:lnTo>
                    <a:pt x="13743" y="14377"/>
                  </a:lnTo>
                  <a:lnTo>
                    <a:pt x="13832" y="14347"/>
                  </a:lnTo>
                  <a:lnTo>
                    <a:pt x="13920" y="14313"/>
                  </a:lnTo>
                  <a:lnTo>
                    <a:pt x="14007" y="14279"/>
                  </a:lnTo>
                  <a:lnTo>
                    <a:pt x="14092" y="14243"/>
                  </a:lnTo>
                  <a:lnTo>
                    <a:pt x="14177" y="14206"/>
                  </a:lnTo>
                  <a:lnTo>
                    <a:pt x="14259" y="14165"/>
                  </a:lnTo>
                  <a:lnTo>
                    <a:pt x="14341" y="14124"/>
                  </a:lnTo>
                  <a:lnTo>
                    <a:pt x="14421" y="14081"/>
                  </a:lnTo>
                  <a:lnTo>
                    <a:pt x="14500" y="14037"/>
                  </a:lnTo>
                  <a:lnTo>
                    <a:pt x="14577" y="13990"/>
                  </a:lnTo>
                  <a:lnTo>
                    <a:pt x="14652" y="13942"/>
                  </a:lnTo>
                  <a:lnTo>
                    <a:pt x="14727" y="13893"/>
                  </a:lnTo>
                  <a:lnTo>
                    <a:pt x="14800" y="13843"/>
                  </a:lnTo>
                  <a:lnTo>
                    <a:pt x="14871" y="13790"/>
                  </a:lnTo>
                  <a:lnTo>
                    <a:pt x="14941" y="13736"/>
                  </a:lnTo>
                  <a:lnTo>
                    <a:pt x="15009" y="13681"/>
                  </a:lnTo>
                  <a:lnTo>
                    <a:pt x="15075" y="13624"/>
                  </a:lnTo>
                  <a:lnTo>
                    <a:pt x="15139" y="13566"/>
                  </a:lnTo>
                  <a:lnTo>
                    <a:pt x="15203" y="13507"/>
                  </a:lnTo>
                  <a:lnTo>
                    <a:pt x="15264" y="13446"/>
                  </a:lnTo>
                  <a:lnTo>
                    <a:pt x="15322" y="13384"/>
                  </a:lnTo>
                  <a:lnTo>
                    <a:pt x="15380" y="13320"/>
                  </a:lnTo>
                  <a:lnTo>
                    <a:pt x="15436" y="13256"/>
                  </a:lnTo>
                  <a:lnTo>
                    <a:pt x="15489" y="13191"/>
                  </a:lnTo>
                  <a:lnTo>
                    <a:pt x="15541" y="13124"/>
                  </a:lnTo>
                  <a:lnTo>
                    <a:pt x="15590" y="13056"/>
                  </a:lnTo>
                  <a:lnTo>
                    <a:pt x="15638" y="12986"/>
                  </a:lnTo>
                  <a:lnTo>
                    <a:pt x="15684" y="12917"/>
                  </a:lnTo>
                  <a:lnTo>
                    <a:pt x="15727" y="12846"/>
                  </a:lnTo>
                  <a:lnTo>
                    <a:pt x="15768" y="12773"/>
                  </a:lnTo>
                  <a:lnTo>
                    <a:pt x="15806" y="12701"/>
                  </a:lnTo>
                  <a:lnTo>
                    <a:pt x="15844" y="12626"/>
                  </a:lnTo>
                  <a:lnTo>
                    <a:pt x="15873" y="12562"/>
                  </a:lnTo>
                  <a:lnTo>
                    <a:pt x="15901" y="12498"/>
                  </a:lnTo>
                  <a:lnTo>
                    <a:pt x="15926" y="12432"/>
                  </a:lnTo>
                  <a:lnTo>
                    <a:pt x="15950" y="12367"/>
                  </a:lnTo>
                  <a:lnTo>
                    <a:pt x="15971" y="12300"/>
                  </a:lnTo>
                  <a:lnTo>
                    <a:pt x="15991" y="12235"/>
                  </a:lnTo>
                  <a:lnTo>
                    <a:pt x="16008" y="12169"/>
                  </a:lnTo>
                  <a:lnTo>
                    <a:pt x="16025" y="12102"/>
                  </a:lnTo>
                  <a:lnTo>
                    <a:pt x="16039" y="12036"/>
                  </a:lnTo>
                  <a:lnTo>
                    <a:pt x="16051" y="11969"/>
                  </a:lnTo>
                  <a:lnTo>
                    <a:pt x="16062" y="11902"/>
                  </a:lnTo>
                  <a:lnTo>
                    <a:pt x="16070" y="11836"/>
                  </a:lnTo>
                  <a:lnTo>
                    <a:pt x="16077" y="11768"/>
                  </a:lnTo>
                  <a:lnTo>
                    <a:pt x="16081" y="11702"/>
                  </a:lnTo>
                  <a:lnTo>
                    <a:pt x="16085" y="11635"/>
                  </a:lnTo>
                  <a:lnTo>
                    <a:pt x="16086" y="11568"/>
                  </a:lnTo>
                  <a:lnTo>
                    <a:pt x="16095" y="11568"/>
                  </a:lnTo>
                  <a:lnTo>
                    <a:pt x="16095" y="2515"/>
                  </a:lnTo>
                  <a:lnTo>
                    <a:pt x="16095" y="2012"/>
                  </a:lnTo>
                  <a:lnTo>
                    <a:pt x="16095" y="1006"/>
                  </a:lnTo>
                  <a:lnTo>
                    <a:pt x="16095" y="978"/>
                  </a:lnTo>
                  <a:lnTo>
                    <a:pt x="16093" y="951"/>
                  </a:lnTo>
                  <a:lnTo>
                    <a:pt x="16092" y="923"/>
                  </a:lnTo>
                  <a:lnTo>
                    <a:pt x="16089" y="895"/>
                  </a:lnTo>
                  <a:lnTo>
                    <a:pt x="16085" y="868"/>
                  </a:lnTo>
                  <a:lnTo>
                    <a:pt x="16081" y="841"/>
                  </a:lnTo>
                  <a:lnTo>
                    <a:pt x="16077" y="814"/>
                  </a:lnTo>
                  <a:lnTo>
                    <a:pt x="16071" y="787"/>
                  </a:lnTo>
                  <a:lnTo>
                    <a:pt x="16065" y="761"/>
                  </a:lnTo>
                  <a:lnTo>
                    <a:pt x="16058" y="734"/>
                  </a:lnTo>
                  <a:lnTo>
                    <a:pt x="16050" y="708"/>
                  </a:lnTo>
                  <a:lnTo>
                    <a:pt x="16042" y="682"/>
                  </a:lnTo>
                  <a:lnTo>
                    <a:pt x="16032" y="657"/>
                  </a:lnTo>
                  <a:lnTo>
                    <a:pt x="16023" y="631"/>
                  </a:lnTo>
                  <a:lnTo>
                    <a:pt x="16012" y="606"/>
                  </a:lnTo>
                  <a:lnTo>
                    <a:pt x="16000" y="581"/>
                  </a:lnTo>
                  <a:lnTo>
                    <a:pt x="15988" y="556"/>
                  </a:lnTo>
                  <a:lnTo>
                    <a:pt x="15976" y="532"/>
                  </a:lnTo>
                  <a:lnTo>
                    <a:pt x="15963" y="508"/>
                  </a:lnTo>
                  <a:lnTo>
                    <a:pt x="15949" y="485"/>
                  </a:lnTo>
                  <a:lnTo>
                    <a:pt x="15935" y="462"/>
                  </a:lnTo>
                  <a:lnTo>
                    <a:pt x="15920" y="439"/>
                  </a:lnTo>
                  <a:lnTo>
                    <a:pt x="15904" y="416"/>
                  </a:lnTo>
                  <a:lnTo>
                    <a:pt x="15888" y="394"/>
                  </a:lnTo>
                  <a:lnTo>
                    <a:pt x="15871" y="373"/>
                  </a:lnTo>
                  <a:lnTo>
                    <a:pt x="15854" y="352"/>
                  </a:lnTo>
                  <a:lnTo>
                    <a:pt x="15834" y="332"/>
                  </a:lnTo>
                  <a:lnTo>
                    <a:pt x="15816" y="312"/>
                  </a:lnTo>
                  <a:lnTo>
                    <a:pt x="15797" y="292"/>
                  </a:lnTo>
                  <a:lnTo>
                    <a:pt x="15777" y="273"/>
                  </a:lnTo>
                  <a:lnTo>
                    <a:pt x="15756" y="254"/>
                  </a:lnTo>
                  <a:lnTo>
                    <a:pt x="15735" y="2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67" name="ís1ïḍe">
              <a:extLst>
                <a:ext uri="{FF2B5EF4-FFF2-40B4-BE49-F238E27FC236}">
                  <a16:creationId xmlns:a16="http://schemas.microsoft.com/office/drawing/2014/main" id="{F85624B0-4DE1-47BC-81C3-07D43D3F0E43}"/>
                </a:ext>
              </a:extLst>
            </p:cNvPr>
            <p:cNvSpPr/>
            <p:nvPr/>
          </p:nvSpPr>
          <p:spPr bwMode="auto">
            <a:xfrm>
              <a:off x="4978220" y="922633"/>
              <a:ext cx="400967" cy="400967"/>
            </a:xfrm>
            <a:custGeom>
              <a:avLst/>
              <a:gdLst>
                <a:gd name="T0" fmla="*/ 11128 w 16095"/>
                <a:gd name="T1" fmla="*/ 11977 h 16095"/>
                <a:gd name="T2" fmla="*/ 11777 w 16095"/>
                <a:gd name="T3" fmla="*/ 9543 h 16095"/>
                <a:gd name="T4" fmla="*/ 13241 w 16095"/>
                <a:gd name="T5" fmla="*/ 8457 h 16095"/>
                <a:gd name="T6" fmla="*/ 13492 w 16095"/>
                <a:gd name="T7" fmla="*/ 6286 h 16095"/>
                <a:gd name="T8" fmla="*/ 12358 w 16095"/>
                <a:gd name="T9" fmla="*/ 4722 h 16095"/>
                <a:gd name="T10" fmla="*/ 10731 w 16095"/>
                <a:gd name="T11" fmla="*/ 2943 h 16095"/>
                <a:gd name="T12" fmla="*/ 12110 w 16095"/>
                <a:gd name="T13" fmla="*/ 1109 h 16095"/>
                <a:gd name="T14" fmla="*/ 14079 w 16095"/>
                <a:gd name="T15" fmla="*/ 2205 h 16095"/>
                <a:gd name="T16" fmla="*/ 15086 w 16095"/>
                <a:gd name="T17" fmla="*/ 6731 h 16095"/>
                <a:gd name="T18" fmla="*/ 14265 w 16095"/>
                <a:gd name="T19" fmla="*/ 11509 h 16095"/>
                <a:gd name="T20" fmla="*/ 6539 w 16095"/>
                <a:gd name="T21" fmla="*/ 8550 h 16095"/>
                <a:gd name="T22" fmla="*/ 5762 w 16095"/>
                <a:gd name="T23" fmla="*/ 8001 h 16095"/>
                <a:gd name="T24" fmla="*/ 5553 w 16095"/>
                <a:gd name="T25" fmla="*/ 6738 h 16095"/>
                <a:gd name="T26" fmla="*/ 6059 w 16095"/>
                <a:gd name="T27" fmla="*/ 5715 h 16095"/>
                <a:gd name="T28" fmla="*/ 7265 w 16095"/>
                <a:gd name="T29" fmla="*/ 5480 h 16095"/>
                <a:gd name="T30" fmla="*/ 8743 w 16095"/>
                <a:gd name="T31" fmla="*/ 4899 h 16095"/>
                <a:gd name="T32" fmla="*/ 9075 w 16095"/>
                <a:gd name="T33" fmla="*/ 6240 h 16095"/>
                <a:gd name="T34" fmla="*/ 9198 w 16095"/>
                <a:gd name="T35" fmla="*/ 9111 h 16095"/>
                <a:gd name="T36" fmla="*/ 8106 w 16095"/>
                <a:gd name="T37" fmla="*/ 8857 h 16095"/>
                <a:gd name="T38" fmla="*/ 6033 w 16095"/>
                <a:gd name="T39" fmla="*/ 15089 h 16095"/>
                <a:gd name="T40" fmla="*/ 3950 w 16095"/>
                <a:gd name="T41" fmla="*/ 10033 h 16095"/>
                <a:gd name="T42" fmla="*/ 4102 w 16095"/>
                <a:gd name="T43" fmla="*/ 9562 h 16095"/>
                <a:gd name="T44" fmla="*/ 5530 w 16095"/>
                <a:gd name="T45" fmla="*/ 13580 h 16095"/>
                <a:gd name="T46" fmla="*/ 5719 w 16095"/>
                <a:gd name="T47" fmla="*/ 14249 h 16095"/>
                <a:gd name="T48" fmla="*/ 1011 w 16095"/>
                <a:gd name="T49" fmla="*/ 6888 h 16095"/>
                <a:gd name="T50" fmla="*/ 1450 w 16095"/>
                <a:gd name="T51" fmla="*/ 5790 h 16095"/>
                <a:gd name="T52" fmla="*/ 5402 w 16095"/>
                <a:gd name="T53" fmla="*/ 5717 h 16095"/>
                <a:gd name="T54" fmla="*/ 5075 w 16095"/>
                <a:gd name="T55" fmla="*/ 6548 h 16095"/>
                <a:gd name="T56" fmla="*/ 5075 w 16095"/>
                <a:gd name="T57" fmla="*/ 7536 h 16095"/>
                <a:gd name="T58" fmla="*/ 5402 w 16095"/>
                <a:gd name="T59" fmla="*/ 8367 h 16095"/>
                <a:gd name="T60" fmla="*/ 1450 w 16095"/>
                <a:gd name="T61" fmla="*/ 8293 h 16095"/>
                <a:gd name="T62" fmla="*/ 1011 w 16095"/>
                <a:gd name="T63" fmla="*/ 7196 h 16095"/>
                <a:gd name="T64" fmla="*/ 10133 w 16095"/>
                <a:gd name="T65" fmla="*/ 5623 h 16095"/>
                <a:gd name="T66" fmla="*/ 12279 w 16095"/>
                <a:gd name="T67" fmla="*/ 5974 h 16095"/>
                <a:gd name="T68" fmla="*/ 12569 w 16095"/>
                <a:gd name="T69" fmla="*/ 7196 h 16095"/>
                <a:gd name="T70" fmla="*/ 12131 w 16095"/>
                <a:gd name="T71" fmla="*/ 8293 h 16095"/>
                <a:gd name="T72" fmla="*/ 10100 w 16095"/>
                <a:gd name="T73" fmla="*/ 8092 h 16095"/>
                <a:gd name="T74" fmla="*/ 12017 w 16095"/>
                <a:gd name="T75" fmla="*/ 72 h 16095"/>
                <a:gd name="T76" fmla="*/ 10628 w 16095"/>
                <a:gd name="T77" fmla="*/ 1060 h 16095"/>
                <a:gd name="T78" fmla="*/ 9332 w 16095"/>
                <a:gd name="T79" fmla="*/ 3046 h 16095"/>
                <a:gd name="T80" fmla="*/ 7289 w 16095"/>
                <a:gd name="T81" fmla="*/ 4450 h 16095"/>
                <a:gd name="T82" fmla="*/ 1045 w 16095"/>
                <a:gd name="T83" fmla="*/ 4826 h 16095"/>
                <a:gd name="T84" fmla="*/ 40 w 16095"/>
                <a:gd name="T85" fmla="*/ 6529 h 16095"/>
                <a:gd name="T86" fmla="*/ 454 w 16095"/>
                <a:gd name="T87" fmla="*/ 8650 h 16095"/>
                <a:gd name="T88" fmla="*/ 2012 w 16095"/>
                <a:gd name="T89" fmla="*/ 9556 h 16095"/>
                <a:gd name="T90" fmla="*/ 2785 w 16095"/>
                <a:gd name="T91" fmla="*/ 9924 h 16095"/>
                <a:gd name="T92" fmla="*/ 3026 w 16095"/>
                <a:gd name="T93" fmla="*/ 15242 h 16095"/>
                <a:gd name="T94" fmla="*/ 3500 w 16095"/>
                <a:gd name="T95" fmla="*/ 15949 h 16095"/>
                <a:gd name="T96" fmla="*/ 6332 w 16095"/>
                <a:gd name="T97" fmla="*/ 16050 h 16095"/>
                <a:gd name="T98" fmla="*/ 6960 w 16095"/>
                <a:gd name="T99" fmla="*/ 15480 h 16095"/>
                <a:gd name="T100" fmla="*/ 6942 w 16095"/>
                <a:gd name="T101" fmla="*/ 14220 h 16095"/>
                <a:gd name="T102" fmla="*/ 6548 w 16095"/>
                <a:gd name="T103" fmla="*/ 13658 h 16095"/>
                <a:gd name="T104" fmla="*/ 6615 w 16095"/>
                <a:gd name="T105" fmla="*/ 9807 h 16095"/>
                <a:gd name="T106" fmla="*/ 6860 w 16095"/>
                <a:gd name="T107" fmla="*/ 9606 h 16095"/>
                <a:gd name="T108" fmla="*/ 8713 w 16095"/>
                <a:gd name="T109" fmla="*/ 10411 h 16095"/>
                <a:gd name="T110" fmla="*/ 10205 w 16095"/>
                <a:gd name="T111" fmla="*/ 12386 h 16095"/>
                <a:gd name="T112" fmla="*/ 11427 w 16095"/>
                <a:gd name="T113" fmla="*/ 13755 h 16095"/>
                <a:gd name="T114" fmla="*/ 13576 w 16095"/>
                <a:gd name="T115" fmla="*/ 13838 h 16095"/>
                <a:gd name="T116" fmla="*/ 15810 w 16095"/>
                <a:gd name="T117" fmla="*/ 9925 h 16095"/>
                <a:gd name="T118" fmla="*/ 15810 w 16095"/>
                <a:gd name="T119" fmla="*/ 4159 h 16095"/>
                <a:gd name="T120" fmla="*/ 13576 w 16095"/>
                <a:gd name="T121" fmla="*/ 245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095" h="16095">
                  <a:moveTo>
                    <a:pt x="12574" y="13077"/>
                  </a:moveTo>
                  <a:lnTo>
                    <a:pt x="12480" y="13073"/>
                  </a:lnTo>
                  <a:lnTo>
                    <a:pt x="12386" y="13060"/>
                  </a:lnTo>
                  <a:lnTo>
                    <a:pt x="12293" y="13040"/>
                  </a:lnTo>
                  <a:lnTo>
                    <a:pt x="12201" y="13011"/>
                  </a:lnTo>
                  <a:lnTo>
                    <a:pt x="12110" y="12975"/>
                  </a:lnTo>
                  <a:lnTo>
                    <a:pt x="12021" y="12930"/>
                  </a:lnTo>
                  <a:lnTo>
                    <a:pt x="11932" y="12878"/>
                  </a:lnTo>
                  <a:lnTo>
                    <a:pt x="11845" y="12819"/>
                  </a:lnTo>
                  <a:lnTo>
                    <a:pt x="11759" y="12752"/>
                  </a:lnTo>
                  <a:lnTo>
                    <a:pt x="11675" y="12679"/>
                  </a:lnTo>
                  <a:lnTo>
                    <a:pt x="11591" y="12598"/>
                  </a:lnTo>
                  <a:lnTo>
                    <a:pt x="11510" y="12511"/>
                  </a:lnTo>
                  <a:lnTo>
                    <a:pt x="11430" y="12416"/>
                  </a:lnTo>
                  <a:lnTo>
                    <a:pt x="11352" y="12316"/>
                  </a:lnTo>
                  <a:lnTo>
                    <a:pt x="11276" y="12209"/>
                  </a:lnTo>
                  <a:lnTo>
                    <a:pt x="11201" y="12095"/>
                  </a:lnTo>
                  <a:lnTo>
                    <a:pt x="11128" y="11977"/>
                  </a:lnTo>
                  <a:lnTo>
                    <a:pt x="11056" y="11851"/>
                  </a:lnTo>
                  <a:lnTo>
                    <a:pt x="10988" y="11720"/>
                  </a:lnTo>
                  <a:lnTo>
                    <a:pt x="10920" y="11583"/>
                  </a:lnTo>
                  <a:lnTo>
                    <a:pt x="10855" y="11441"/>
                  </a:lnTo>
                  <a:lnTo>
                    <a:pt x="10792" y="11294"/>
                  </a:lnTo>
                  <a:lnTo>
                    <a:pt x="10731" y="11141"/>
                  </a:lnTo>
                  <a:lnTo>
                    <a:pt x="10672" y="10983"/>
                  </a:lnTo>
                  <a:lnTo>
                    <a:pt x="10616" y="10820"/>
                  </a:lnTo>
                  <a:lnTo>
                    <a:pt x="10561" y="10653"/>
                  </a:lnTo>
                  <a:lnTo>
                    <a:pt x="10510" y="10481"/>
                  </a:lnTo>
                  <a:lnTo>
                    <a:pt x="10461" y="10304"/>
                  </a:lnTo>
                  <a:lnTo>
                    <a:pt x="10414" y="10123"/>
                  </a:lnTo>
                  <a:lnTo>
                    <a:pt x="10370" y="9939"/>
                  </a:lnTo>
                  <a:lnTo>
                    <a:pt x="10329" y="9750"/>
                  </a:lnTo>
                  <a:lnTo>
                    <a:pt x="10291" y="9556"/>
                  </a:lnTo>
                  <a:lnTo>
                    <a:pt x="11568" y="9556"/>
                  </a:lnTo>
                  <a:lnTo>
                    <a:pt x="11673" y="9553"/>
                  </a:lnTo>
                  <a:lnTo>
                    <a:pt x="11777" y="9543"/>
                  </a:lnTo>
                  <a:lnTo>
                    <a:pt x="11878" y="9528"/>
                  </a:lnTo>
                  <a:lnTo>
                    <a:pt x="11979" y="9506"/>
                  </a:lnTo>
                  <a:lnTo>
                    <a:pt x="12076" y="9479"/>
                  </a:lnTo>
                  <a:lnTo>
                    <a:pt x="12173" y="9445"/>
                  </a:lnTo>
                  <a:lnTo>
                    <a:pt x="12266" y="9407"/>
                  </a:lnTo>
                  <a:lnTo>
                    <a:pt x="12358" y="9362"/>
                  </a:lnTo>
                  <a:lnTo>
                    <a:pt x="12447" y="9312"/>
                  </a:lnTo>
                  <a:lnTo>
                    <a:pt x="12535" y="9258"/>
                  </a:lnTo>
                  <a:lnTo>
                    <a:pt x="12618" y="9197"/>
                  </a:lnTo>
                  <a:lnTo>
                    <a:pt x="12700" y="9133"/>
                  </a:lnTo>
                  <a:lnTo>
                    <a:pt x="12779" y="9063"/>
                  </a:lnTo>
                  <a:lnTo>
                    <a:pt x="12855" y="8989"/>
                  </a:lnTo>
                  <a:lnTo>
                    <a:pt x="12927" y="8911"/>
                  </a:lnTo>
                  <a:lnTo>
                    <a:pt x="12997" y="8828"/>
                  </a:lnTo>
                  <a:lnTo>
                    <a:pt x="13063" y="8742"/>
                  </a:lnTo>
                  <a:lnTo>
                    <a:pt x="13126" y="8650"/>
                  </a:lnTo>
                  <a:lnTo>
                    <a:pt x="13186" y="8555"/>
                  </a:lnTo>
                  <a:lnTo>
                    <a:pt x="13241" y="8457"/>
                  </a:lnTo>
                  <a:lnTo>
                    <a:pt x="13292" y="8355"/>
                  </a:lnTo>
                  <a:lnTo>
                    <a:pt x="13341" y="8250"/>
                  </a:lnTo>
                  <a:lnTo>
                    <a:pt x="13385" y="8141"/>
                  </a:lnTo>
                  <a:lnTo>
                    <a:pt x="13424" y="8029"/>
                  </a:lnTo>
                  <a:lnTo>
                    <a:pt x="13460" y="7915"/>
                  </a:lnTo>
                  <a:lnTo>
                    <a:pt x="13492" y="7798"/>
                  </a:lnTo>
                  <a:lnTo>
                    <a:pt x="13518" y="7677"/>
                  </a:lnTo>
                  <a:lnTo>
                    <a:pt x="13540" y="7555"/>
                  </a:lnTo>
                  <a:lnTo>
                    <a:pt x="13557" y="7430"/>
                  </a:lnTo>
                  <a:lnTo>
                    <a:pt x="13570" y="7302"/>
                  </a:lnTo>
                  <a:lnTo>
                    <a:pt x="13577" y="7173"/>
                  </a:lnTo>
                  <a:lnTo>
                    <a:pt x="13580" y="7042"/>
                  </a:lnTo>
                  <a:lnTo>
                    <a:pt x="13577" y="6911"/>
                  </a:lnTo>
                  <a:lnTo>
                    <a:pt x="13570" y="6781"/>
                  </a:lnTo>
                  <a:lnTo>
                    <a:pt x="13557" y="6653"/>
                  </a:lnTo>
                  <a:lnTo>
                    <a:pt x="13540" y="6529"/>
                  </a:lnTo>
                  <a:lnTo>
                    <a:pt x="13518" y="6406"/>
                  </a:lnTo>
                  <a:lnTo>
                    <a:pt x="13492" y="6286"/>
                  </a:lnTo>
                  <a:lnTo>
                    <a:pt x="13460" y="6168"/>
                  </a:lnTo>
                  <a:lnTo>
                    <a:pt x="13424" y="6054"/>
                  </a:lnTo>
                  <a:lnTo>
                    <a:pt x="13385" y="5942"/>
                  </a:lnTo>
                  <a:lnTo>
                    <a:pt x="13341" y="5833"/>
                  </a:lnTo>
                  <a:lnTo>
                    <a:pt x="13292" y="5728"/>
                  </a:lnTo>
                  <a:lnTo>
                    <a:pt x="13241" y="5626"/>
                  </a:lnTo>
                  <a:lnTo>
                    <a:pt x="13186" y="5528"/>
                  </a:lnTo>
                  <a:lnTo>
                    <a:pt x="13126" y="5433"/>
                  </a:lnTo>
                  <a:lnTo>
                    <a:pt x="13063" y="5343"/>
                  </a:lnTo>
                  <a:lnTo>
                    <a:pt x="12997" y="5255"/>
                  </a:lnTo>
                  <a:lnTo>
                    <a:pt x="12927" y="5173"/>
                  </a:lnTo>
                  <a:lnTo>
                    <a:pt x="12855" y="5094"/>
                  </a:lnTo>
                  <a:lnTo>
                    <a:pt x="12779" y="5020"/>
                  </a:lnTo>
                  <a:lnTo>
                    <a:pt x="12700" y="4950"/>
                  </a:lnTo>
                  <a:lnTo>
                    <a:pt x="12618" y="4886"/>
                  </a:lnTo>
                  <a:lnTo>
                    <a:pt x="12535" y="4826"/>
                  </a:lnTo>
                  <a:lnTo>
                    <a:pt x="12447" y="4771"/>
                  </a:lnTo>
                  <a:lnTo>
                    <a:pt x="12358" y="4722"/>
                  </a:lnTo>
                  <a:lnTo>
                    <a:pt x="12266" y="4677"/>
                  </a:lnTo>
                  <a:lnTo>
                    <a:pt x="12173" y="4638"/>
                  </a:lnTo>
                  <a:lnTo>
                    <a:pt x="12076" y="4604"/>
                  </a:lnTo>
                  <a:lnTo>
                    <a:pt x="11979" y="4577"/>
                  </a:lnTo>
                  <a:lnTo>
                    <a:pt x="11878" y="4555"/>
                  </a:lnTo>
                  <a:lnTo>
                    <a:pt x="11777" y="4540"/>
                  </a:lnTo>
                  <a:lnTo>
                    <a:pt x="11673" y="4530"/>
                  </a:lnTo>
                  <a:lnTo>
                    <a:pt x="11568" y="4527"/>
                  </a:lnTo>
                  <a:lnTo>
                    <a:pt x="10291" y="4527"/>
                  </a:lnTo>
                  <a:lnTo>
                    <a:pt x="10329" y="4334"/>
                  </a:lnTo>
                  <a:lnTo>
                    <a:pt x="10370" y="4145"/>
                  </a:lnTo>
                  <a:lnTo>
                    <a:pt x="10414" y="3960"/>
                  </a:lnTo>
                  <a:lnTo>
                    <a:pt x="10461" y="3779"/>
                  </a:lnTo>
                  <a:lnTo>
                    <a:pt x="10510" y="3603"/>
                  </a:lnTo>
                  <a:lnTo>
                    <a:pt x="10561" y="3431"/>
                  </a:lnTo>
                  <a:lnTo>
                    <a:pt x="10616" y="3263"/>
                  </a:lnTo>
                  <a:lnTo>
                    <a:pt x="10672" y="3101"/>
                  </a:lnTo>
                  <a:lnTo>
                    <a:pt x="10731" y="2943"/>
                  </a:lnTo>
                  <a:lnTo>
                    <a:pt x="10792" y="2790"/>
                  </a:lnTo>
                  <a:lnTo>
                    <a:pt x="10855" y="2643"/>
                  </a:lnTo>
                  <a:lnTo>
                    <a:pt x="10920" y="2501"/>
                  </a:lnTo>
                  <a:lnTo>
                    <a:pt x="10988" y="2364"/>
                  </a:lnTo>
                  <a:lnTo>
                    <a:pt x="11056" y="2232"/>
                  </a:lnTo>
                  <a:lnTo>
                    <a:pt x="11128" y="2107"/>
                  </a:lnTo>
                  <a:lnTo>
                    <a:pt x="11201" y="1988"/>
                  </a:lnTo>
                  <a:lnTo>
                    <a:pt x="11276" y="1874"/>
                  </a:lnTo>
                  <a:lnTo>
                    <a:pt x="11352" y="1767"/>
                  </a:lnTo>
                  <a:lnTo>
                    <a:pt x="11430" y="1667"/>
                  </a:lnTo>
                  <a:lnTo>
                    <a:pt x="11510" y="1572"/>
                  </a:lnTo>
                  <a:lnTo>
                    <a:pt x="11591" y="1485"/>
                  </a:lnTo>
                  <a:lnTo>
                    <a:pt x="11675" y="1404"/>
                  </a:lnTo>
                  <a:lnTo>
                    <a:pt x="11759" y="1331"/>
                  </a:lnTo>
                  <a:lnTo>
                    <a:pt x="11845" y="1264"/>
                  </a:lnTo>
                  <a:lnTo>
                    <a:pt x="11932" y="1205"/>
                  </a:lnTo>
                  <a:lnTo>
                    <a:pt x="12021" y="1153"/>
                  </a:lnTo>
                  <a:lnTo>
                    <a:pt x="12110" y="1109"/>
                  </a:lnTo>
                  <a:lnTo>
                    <a:pt x="12201" y="1072"/>
                  </a:lnTo>
                  <a:lnTo>
                    <a:pt x="12293" y="1043"/>
                  </a:lnTo>
                  <a:lnTo>
                    <a:pt x="12386" y="1023"/>
                  </a:lnTo>
                  <a:lnTo>
                    <a:pt x="12480" y="1010"/>
                  </a:lnTo>
                  <a:lnTo>
                    <a:pt x="12574" y="1006"/>
                  </a:lnTo>
                  <a:lnTo>
                    <a:pt x="12704" y="1014"/>
                  </a:lnTo>
                  <a:lnTo>
                    <a:pt x="12832" y="1037"/>
                  </a:lnTo>
                  <a:lnTo>
                    <a:pt x="12957" y="1075"/>
                  </a:lnTo>
                  <a:lnTo>
                    <a:pt x="13081" y="1129"/>
                  </a:lnTo>
                  <a:lnTo>
                    <a:pt x="13203" y="1196"/>
                  </a:lnTo>
                  <a:lnTo>
                    <a:pt x="13323" y="1278"/>
                  </a:lnTo>
                  <a:lnTo>
                    <a:pt x="13439" y="1372"/>
                  </a:lnTo>
                  <a:lnTo>
                    <a:pt x="13553" y="1480"/>
                  </a:lnTo>
                  <a:lnTo>
                    <a:pt x="13665" y="1601"/>
                  </a:lnTo>
                  <a:lnTo>
                    <a:pt x="13773" y="1734"/>
                  </a:lnTo>
                  <a:lnTo>
                    <a:pt x="13878" y="1880"/>
                  </a:lnTo>
                  <a:lnTo>
                    <a:pt x="13981" y="2037"/>
                  </a:lnTo>
                  <a:lnTo>
                    <a:pt x="14079" y="2205"/>
                  </a:lnTo>
                  <a:lnTo>
                    <a:pt x="14174" y="2384"/>
                  </a:lnTo>
                  <a:lnTo>
                    <a:pt x="14265" y="2574"/>
                  </a:lnTo>
                  <a:lnTo>
                    <a:pt x="14353" y="2773"/>
                  </a:lnTo>
                  <a:lnTo>
                    <a:pt x="14436" y="2984"/>
                  </a:lnTo>
                  <a:lnTo>
                    <a:pt x="14515" y="3202"/>
                  </a:lnTo>
                  <a:lnTo>
                    <a:pt x="14589" y="3430"/>
                  </a:lnTo>
                  <a:lnTo>
                    <a:pt x="14660" y="3667"/>
                  </a:lnTo>
                  <a:lnTo>
                    <a:pt x="14725" y="3912"/>
                  </a:lnTo>
                  <a:lnTo>
                    <a:pt x="14785" y="4165"/>
                  </a:lnTo>
                  <a:lnTo>
                    <a:pt x="14841" y="4425"/>
                  </a:lnTo>
                  <a:lnTo>
                    <a:pt x="14892" y="4693"/>
                  </a:lnTo>
                  <a:lnTo>
                    <a:pt x="14936" y="4966"/>
                  </a:lnTo>
                  <a:lnTo>
                    <a:pt x="14976" y="5247"/>
                  </a:lnTo>
                  <a:lnTo>
                    <a:pt x="15010" y="5534"/>
                  </a:lnTo>
                  <a:lnTo>
                    <a:pt x="15038" y="5825"/>
                  </a:lnTo>
                  <a:lnTo>
                    <a:pt x="15060" y="6122"/>
                  </a:lnTo>
                  <a:lnTo>
                    <a:pt x="15076" y="6425"/>
                  </a:lnTo>
                  <a:lnTo>
                    <a:pt x="15086" y="6731"/>
                  </a:lnTo>
                  <a:lnTo>
                    <a:pt x="15089" y="7042"/>
                  </a:lnTo>
                  <a:lnTo>
                    <a:pt x="15086" y="7352"/>
                  </a:lnTo>
                  <a:lnTo>
                    <a:pt x="15076" y="7658"/>
                  </a:lnTo>
                  <a:lnTo>
                    <a:pt x="15060" y="7961"/>
                  </a:lnTo>
                  <a:lnTo>
                    <a:pt x="15038" y="8258"/>
                  </a:lnTo>
                  <a:lnTo>
                    <a:pt x="15010" y="8549"/>
                  </a:lnTo>
                  <a:lnTo>
                    <a:pt x="14976" y="8836"/>
                  </a:lnTo>
                  <a:lnTo>
                    <a:pt x="14936" y="9117"/>
                  </a:lnTo>
                  <a:lnTo>
                    <a:pt x="14892" y="9390"/>
                  </a:lnTo>
                  <a:lnTo>
                    <a:pt x="14841" y="9658"/>
                  </a:lnTo>
                  <a:lnTo>
                    <a:pt x="14785" y="9919"/>
                  </a:lnTo>
                  <a:lnTo>
                    <a:pt x="14725" y="10171"/>
                  </a:lnTo>
                  <a:lnTo>
                    <a:pt x="14660" y="10416"/>
                  </a:lnTo>
                  <a:lnTo>
                    <a:pt x="14589" y="10653"/>
                  </a:lnTo>
                  <a:lnTo>
                    <a:pt x="14515" y="10880"/>
                  </a:lnTo>
                  <a:lnTo>
                    <a:pt x="14436" y="11100"/>
                  </a:lnTo>
                  <a:lnTo>
                    <a:pt x="14353" y="11310"/>
                  </a:lnTo>
                  <a:lnTo>
                    <a:pt x="14265" y="11509"/>
                  </a:lnTo>
                  <a:lnTo>
                    <a:pt x="14174" y="11699"/>
                  </a:lnTo>
                  <a:lnTo>
                    <a:pt x="14079" y="11878"/>
                  </a:lnTo>
                  <a:lnTo>
                    <a:pt x="13981" y="12046"/>
                  </a:lnTo>
                  <a:lnTo>
                    <a:pt x="13878" y="12203"/>
                  </a:lnTo>
                  <a:lnTo>
                    <a:pt x="13773" y="12349"/>
                  </a:lnTo>
                  <a:lnTo>
                    <a:pt x="13665" y="12482"/>
                  </a:lnTo>
                  <a:lnTo>
                    <a:pt x="13553" y="12602"/>
                  </a:lnTo>
                  <a:lnTo>
                    <a:pt x="13439" y="12711"/>
                  </a:lnTo>
                  <a:lnTo>
                    <a:pt x="13323" y="12806"/>
                  </a:lnTo>
                  <a:lnTo>
                    <a:pt x="13203" y="12887"/>
                  </a:lnTo>
                  <a:lnTo>
                    <a:pt x="13081" y="12954"/>
                  </a:lnTo>
                  <a:lnTo>
                    <a:pt x="12957" y="13008"/>
                  </a:lnTo>
                  <a:lnTo>
                    <a:pt x="12832" y="13046"/>
                  </a:lnTo>
                  <a:lnTo>
                    <a:pt x="12704" y="13069"/>
                  </a:lnTo>
                  <a:lnTo>
                    <a:pt x="12574" y="13077"/>
                  </a:lnTo>
                  <a:close/>
                  <a:moveTo>
                    <a:pt x="6652" y="8557"/>
                  </a:moveTo>
                  <a:lnTo>
                    <a:pt x="6539" y="8557"/>
                  </a:lnTo>
                  <a:lnTo>
                    <a:pt x="6539" y="8550"/>
                  </a:lnTo>
                  <a:lnTo>
                    <a:pt x="6487" y="8548"/>
                  </a:lnTo>
                  <a:lnTo>
                    <a:pt x="6436" y="8542"/>
                  </a:lnTo>
                  <a:lnTo>
                    <a:pt x="6386" y="8533"/>
                  </a:lnTo>
                  <a:lnTo>
                    <a:pt x="6335" y="8520"/>
                  </a:lnTo>
                  <a:lnTo>
                    <a:pt x="6287" y="8503"/>
                  </a:lnTo>
                  <a:lnTo>
                    <a:pt x="6240" y="8483"/>
                  </a:lnTo>
                  <a:lnTo>
                    <a:pt x="6193" y="8459"/>
                  </a:lnTo>
                  <a:lnTo>
                    <a:pt x="6147" y="8432"/>
                  </a:lnTo>
                  <a:lnTo>
                    <a:pt x="6102" y="8402"/>
                  </a:lnTo>
                  <a:lnTo>
                    <a:pt x="6059" y="8368"/>
                  </a:lnTo>
                  <a:lnTo>
                    <a:pt x="6017" y="8332"/>
                  </a:lnTo>
                  <a:lnTo>
                    <a:pt x="5976" y="8293"/>
                  </a:lnTo>
                  <a:lnTo>
                    <a:pt x="5937" y="8251"/>
                  </a:lnTo>
                  <a:lnTo>
                    <a:pt x="5899" y="8206"/>
                  </a:lnTo>
                  <a:lnTo>
                    <a:pt x="5863" y="8158"/>
                  </a:lnTo>
                  <a:lnTo>
                    <a:pt x="5827" y="8109"/>
                  </a:lnTo>
                  <a:lnTo>
                    <a:pt x="5794" y="8057"/>
                  </a:lnTo>
                  <a:lnTo>
                    <a:pt x="5762" y="8001"/>
                  </a:lnTo>
                  <a:lnTo>
                    <a:pt x="5733" y="7945"/>
                  </a:lnTo>
                  <a:lnTo>
                    <a:pt x="5705" y="7886"/>
                  </a:lnTo>
                  <a:lnTo>
                    <a:pt x="5679" y="7824"/>
                  </a:lnTo>
                  <a:lnTo>
                    <a:pt x="5654" y="7761"/>
                  </a:lnTo>
                  <a:lnTo>
                    <a:pt x="5632" y="7696"/>
                  </a:lnTo>
                  <a:lnTo>
                    <a:pt x="5611" y="7629"/>
                  </a:lnTo>
                  <a:lnTo>
                    <a:pt x="5594" y="7561"/>
                  </a:lnTo>
                  <a:lnTo>
                    <a:pt x="5578" y="7490"/>
                  </a:lnTo>
                  <a:lnTo>
                    <a:pt x="5564" y="7419"/>
                  </a:lnTo>
                  <a:lnTo>
                    <a:pt x="5553" y="7345"/>
                  </a:lnTo>
                  <a:lnTo>
                    <a:pt x="5544" y="7272"/>
                  </a:lnTo>
                  <a:lnTo>
                    <a:pt x="5538" y="7196"/>
                  </a:lnTo>
                  <a:lnTo>
                    <a:pt x="5534" y="7119"/>
                  </a:lnTo>
                  <a:lnTo>
                    <a:pt x="5533" y="7042"/>
                  </a:lnTo>
                  <a:lnTo>
                    <a:pt x="5534" y="6964"/>
                  </a:lnTo>
                  <a:lnTo>
                    <a:pt x="5538" y="6888"/>
                  </a:lnTo>
                  <a:lnTo>
                    <a:pt x="5544" y="6812"/>
                  </a:lnTo>
                  <a:lnTo>
                    <a:pt x="5553" y="6738"/>
                  </a:lnTo>
                  <a:lnTo>
                    <a:pt x="5564" y="6664"/>
                  </a:lnTo>
                  <a:lnTo>
                    <a:pt x="5578" y="6593"/>
                  </a:lnTo>
                  <a:lnTo>
                    <a:pt x="5594" y="6522"/>
                  </a:lnTo>
                  <a:lnTo>
                    <a:pt x="5611" y="6454"/>
                  </a:lnTo>
                  <a:lnTo>
                    <a:pt x="5632" y="6388"/>
                  </a:lnTo>
                  <a:lnTo>
                    <a:pt x="5654" y="6322"/>
                  </a:lnTo>
                  <a:lnTo>
                    <a:pt x="5679" y="6259"/>
                  </a:lnTo>
                  <a:lnTo>
                    <a:pt x="5705" y="6199"/>
                  </a:lnTo>
                  <a:lnTo>
                    <a:pt x="5733" y="6139"/>
                  </a:lnTo>
                  <a:lnTo>
                    <a:pt x="5762" y="6082"/>
                  </a:lnTo>
                  <a:lnTo>
                    <a:pt x="5794" y="6028"/>
                  </a:lnTo>
                  <a:lnTo>
                    <a:pt x="5827" y="5974"/>
                  </a:lnTo>
                  <a:lnTo>
                    <a:pt x="5863" y="5925"/>
                  </a:lnTo>
                  <a:lnTo>
                    <a:pt x="5899" y="5878"/>
                  </a:lnTo>
                  <a:lnTo>
                    <a:pt x="5937" y="5832"/>
                  </a:lnTo>
                  <a:lnTo>
                    <a:pt x="5976" y="5790"/>
                  </a:lnTo>
                  <a:lnTo>
                    <a:pt x="6017" y="5751"/>
                  </a:lnTo>
                  <a:lnTo>
                    <a:pt x="6059" y="5715"/>
                  </a:lnTo>
                  <a:lnTo>
                    <a:pt x="6102" y="5682"/>
                  </a:lnTo>
                  <a:lnTo>
                    <a:pt x="6147" y="5651"/>
                  </a:lnTo>
                  <a:lnTo>
                    <a:pt x="6193" y="5624"/>
                  </a:lnTo>
                  <a:lnTo>
                    <a:pt x="6240" y="5600"/>
                  </a:lnTo>
                  <a:lnTo>
                    <a:pt x="6287" y="5580"/>
                  </a:lnTo>
                  <a:lnTo>
                    <a:pt x="6335" y="5563"/>
                  </a:lnTo>
                  <a:lnTo>
                    <a:pt x="6386" y="5550"/>
                  </a:lnTo>
                  <a:lnTo>
                    <a:pt x="6436" y="5541"/>
                  </a:lnTo>
                  <a:lnTo>
                    <a:pt x="6487" y="5535"/>
                  </a:lnTo>
                  <a:lnTo>
                    <a:pt x="6539" y="5533"/>
                  </a:lnTo>
                  <a:lnTo>
                    <a:pt x="6652" y="5533"/>
                  </a:lnTo>
                  <a:lnTo>
                    <a:pt x="6741" y="5532"/>
                  </a:lnTo>
                  <a:lnTo>
                    <a:pt x="6829" y="5529"/>
                  </a:lnTo>
                  <a:lnTo>
                    <a:pt x="6917" y="5523"/>
                  </a:lnTo>
                  <a:lnTo>
                    <a:pt x="7004" y="5516"/>
                  </a:lnTo>
                  <a:lnTo>
                    <a:pt x="7092" y="5505"/>
                  </a:lnTo>
                  <a:lnTo>
                    <a:pt x="7178" y="5493"/>
                  </a:lnTo>
                  <a:lnTo>
                    <a:pt x="7265" y="5480"/>
                  </a:lnTo>
                  <a:lnTo>
                    <a:pt x="7351" y="5464"/>
                  </a:lnTo>
                  <a:lnTo>
                    <a:pt x="7437" y="5446"/>
                  </a:lnTo>
                  <a:lnTo>
                    <a:pt x="7522" y="5426"/>
                  </a:lnTo>
                  <a:lnTo>
                    <a:pt x="7607" y="5405"/>
                  </a:lnTo>
                  <a:lnTo>
                    <a:pt x="7691" y="5381"/>
                  </a:lnTo>
                  <a:lnTo>
                    <a:pt x="7775" y="5355"/>
                  </a:lnTo>
                  <a:lnTo>
                    <a:pt x="7858" y="5327"/>
                  </a:lnTo>
                  <a:lnTo>
                    <a:pt x="7941" y="5297"/>
                  </a:lnTo>
                  <a:lnTo>
                    <a:pt x="8023" y="5266"/>
                  </a:lnTo>
                  <a:lnTo>
                    <a:pt x="8106" y="5232"/>
                  </a:lnTo>
                  <a:lnTo>
                    <a:pt x="8187" y="5197"/>
                  </a:lnTo>
                  <a:lnTo>
                    <a:pt x="8268" y="5159"/>
                  </a:lnTo>
                  <a:lnTo>
                    <a:pt x="8348" y="5121"/>
                  </a:lnTo>
                  <a:lnTo>
                    <a:pt x="8429" y="5080"/>
                  </a:lnTo>
                  <a:lnTo>
                    <a:pt x="8508" y="5038"/>
                  </a:lnTo>
                  <a:lnTo>
                    <a:pt x="8587" y="4993"/>
                  </a:lnTo>
                  <a:lnTo>
                    <a:pt x="8665" y="4947"/>
                  </a:lnTo>
                  <a:lnTo>
                    <a:pt x="8743" y="4899"/>
                  </a:lnTo>
                  <a:lnTo>
                    <a:pt x="8820" y="4850"/>
                  </a:lnTo>
                  <a:lnTo>
                    <a:pt x="8897" y="4798"/>
                  </a:lnTo>
                  <a:lnTo>
                    <a:pt x="8973" y="4745"/>
                  </a:lnTo>
                  <a:lnTo>
                    <a:pt x="9048" y="4691"/>
                  </a:lnTo>
                  <a:lnTo>
                    <a:pt x="9123" y="4634"/>
                  </a:lnTo>
                  <a:lnTo>
                    <a:pt x="9197" y="4577"/>
                  </a:lnTo>
                  <a:lnTo>
                    <a:pt x="9271" y="4518"/>
                  </a:lnTo>
                  <a:lnTo>
                    <a:pt x="9245" y="4670"/>
                  </a:lnTo>
                  <a:lnTo>
                    <a:pt x="9220" y="4823"/>
                  </a:lnTo>
                  <a:lnTo>
                    <a:pt x="9197" y="4977"/>
                  </a:lnTo>
                  <a:lnTo>
                    <a:pt x="9176" y="5133"/>
                  </a:lnTo>
                  <a:lnTo>
                    <a:pt x="9156" y="5289"/>
                  </a:lnTo>
                  <a:lnTo>
                    <a:pt x="9139" y="5446"/>
                  </a:lnTo>
                  <a:lnTo>
                    <a:pt x="9123" y="5604"/>
                  </a:lnTo>
                  <a:lnTo>
                    <a:pt x="9108" y="5762"/>
                  </a:lnTo>
                  <a:lnTo>
                    <a:pt x="9096" y="5921"/>
                  </a:lnTo>
                  <a:lnTo>
                    <a:pt x="9085" y="6080"/>
                  </a:lnTo>
                  <a:lnTo>
                    <a:pt x="9075" y="6240"/>
                  </a:lnTo>
                  <a:lnTo>
                    <a:pt x="9068" y="6400"/>
                  </a:lnTo>
                  <a:lnTo>
                    <a:pt x="9061" y="6560"/>
                  </a:lnTo>
                  <a:lnTo>
                    <a:pt x="9056" y="6721"/>
                  </a:lnTo>
                  <a:lnTo>
                    <a:pt x="9054" y="6881"/>
                  </a:lnTo>
                  <a:lnTo>
                    <a:pt x="9053" y="7042"/>
                  </a:lnTo>
                  <a:lnTo>
                    <a:pt x="9054" y="7203"/>
                  </a:lnTo>
                  <a:lnTo>
                    <a:pt x="9056" y="7363"/>
                  </a:lnTo>
                  <a:lnTo>
                    <a:pt x="9061" y="7524"/>
                  </a:lnTo>
                  <a:lnTo>
                    <a:pt x="9068" y="7685"/>
                  </a:lnTo>
                  <a:lnTo>
                    <a:pt x="9075" y="7846"/>
                  </a:lnTo>
                  <a:lnTo>
                    <a:pt x="9085" y="8006"/>
                  </a:lnTo>
                  <a:lnTo>
                    <a:pt x="9096" y="8166"/>
                  </a:lnTo>
                  <a:lnTo>
                    <a:pt x="9108" y="8325"/>
                  </a:lnTo>
                  <a:lnTo>
                    <a:pt x="9123" y="8484"/>
                  </a:lnTo>
                  <a:lnTo>
                    <a:pt x="9139" y="8642"/>
                  </a:lnTo>
                  <a:lnTo>
                    <a:pt x="9157" y="8799"/>
                  </a:lnTo>
                  <a:lnTo>
                    <a:pt x="9176" y="8956"/>
                  </a:lnTo>
                  <a:lnTo>
                    <a:pt x="9198" y="9111"/>
                  </a:lnTo>
                  <a:lnTo>
                    <a:pt x="9220" y="9266"/>
                  </a:lnTo>
                  <a:lnTo>
                    <a:pt x="9246" y="9420"/>
                  </a:lnTo>
                  <a:lnTo>
                    <a:pt x="9272" y="9571"/>
                  </a:lnTo>
                  <a:lnTo>
                    <a:pt x="9198" y="9512"/>
                  </a:lnTo>
                  <a:lnTo>
                    <a:pt x="9124" y="9455"/>
                  </a:lnTo>
                  <a:lnTo>
                    <a:pt x="9049" y="9398"/>
                  </a:lnTo>
                  <a:lnTo>
                    <a:pt x="8974" y="9344"/>
                  </a:lnTo>
                  <a:lnTo>
                    <a:pt x="8898" y="9291"/>
                  </a:lnTo>
                  <a:lnTo>
                    <a:pt x="8821" y="9240"/>
                  </a:lnTo>
                  <a:lnTo>
                    <a:pt x="8744" y="9190"/>
                  </a:lnTo>
                  <a:lnTo>
                    <a:pt x="8666" y="9142"/>
                  </a:lnTo>
                  <a:lnTo>
                    <a:pt x="8588" y="9097"/>
                  </a:lnTo>
                  <a:lnTo>
                    <a:pt x="8508" y="9051"/>
                  </a:lnTo>
                  <a:lnTo>
                    <a:pt x="8429" y="9009"/>
                  </a:lnTo>
                  <a:lnTo>
                    <a:pt x="8349" y="8968"/>
                  </a:lnTo>
                  <a:lnTo>
                    <a:pt x="8269" y="8930"/>
                  </a:lnTo>
                  <a:lnTo>
                    <a:pt x="8187" y="8892"/>
                  </a:lnTo>
                  <a:lnTo>
                    <a:pt x="8106" y="8857"/>
                  </a:lnTo>
                  <a:lnTo>
                    <a:pt x="8024" y="8823"/>
                  </a:lnTo>
                  <a:lnTo>
                    <a:pt x="7942" y="8792"/>
                  </a:lnTo>
                  <a:lnTo>
                    <a:pt x="7858" y="8762"/>
                  </a:lnTo>
                  <a:lnTo>
                    <a:pt x="7775" y="8735"/>
                  </a:lnTo>
                  <a:lnTo>
                    <a:pt x="7691" y="8708"/>
                  </a:lnTo>
                  <a:lnTo>
                    <a:pt x="7607" y="8684"/>
                  </a:lnTo>
                  <a:lnTo>
                    <a:pt x="7522" y="8662"/>
                  </a:lnTo>
                  <a:lnTo>
                    <a:pt x="7437" y="8643"/>
                  </a:lnTo>
                  <a:lnTo>
                    <a:pt x="7351" y="8625"/>
                  </a:lnTo>
                  <a:lnTo>
                    <a:pt x="7265" y="8609"/>
                  </a:lnTo>
                  <a:lnTo>
                    <a:pt x="7178" y="8595"/>
                  </a:lnTo>
                  <a:lnTo>
                    <a:pt x="7092" y="8584"/>
                  </a:lnTo>
                  <a:lnTo>
                    <a:pt x="7004" y="8574"/>
                  </a:lnTo>
                  <a:lnTo>
                    <a:pt x="6917" y="8567"/>
                  </a:lnTo>
                  <a:lnTo>
                    <a:pt x="6829" y="8561"/>
                  </a:lnTo>
                  <a:lnTo>
                    <a:pt x="6741" y="8558"/>
                  </a:lnTo>
                  <a:lnTo>
                    <a:pt x="6652" y="8557"/>
                  </a:lnTo>
                  <a:close/>
                  <a:moveTo>
                    <a:pt x="6033" y="15089"/>
                  </a:moveTo>
                  <a:lnTo>
                    <a:pt x="4021" y="15089"/>
                  </a:lnTo>
                  <a:lnTo>
                    <a:pt x="4021" y="10562"/>
                  </a:lnTo>
                  <a:lnTo>
                    <a:pt x="4021" y="10528"/>
                  </a:lnTo>
                  <a:lnTo>
                    <a:pt x="4020" y="10494"/>
                  </a:lnTo>
                  <a:lnTo>
                    <a:pt x="4018" y="10460"/>
                  </a:lnTo>
                  <a:lnTo>
                    <a:pt x="4016" y="10426"/>
                  </a:lnTo>
                  <a:lnTo>
                    <a:pt x="4014" y="10392"/>
                  </a:lnTo>
                  <a:lnTo>
                    <a:pt x="4011" y="10359"/>
                  </a:lnTo>
                  <a:lnTo>
                    <a:pt x="4007" y="10325"/>
                  </a:lnTo>
                  <a:lnTo>
                    <a:pt x="4003" y="10292"/>
                  </a:lnTo>
                  <a:lnTo>
                    <a:pt x="3998" y="10260"/>
                  </a:lnTo>
                  <a:lnTo>
                    <a:pt x="3993" y="10226"/>
                  </a:lnTo>
                  <a:lnTo>
                    <a:pt x="3987" y="10193"/>
                  </a:lnTo>
                  <a:lnTo>
                    <a:pt x="3980" y="10161"/>
                  </a:lnTo>
                  <a:lnTo>
                    <a:pt x="3973" y="10129"/>
                  </a:lnTo>
                  <a:lnTo>
                    <a:pt x="3966" y="10097"/>
                  </a:lnTo>
                  <a:lnTo>
                    <a:pt x="3958" y="10064"/>
                  </a:lnTo>
                  <a:lnTo>
                    <a:pt x="3950" y="10033"/>
                  </a:lnTo>
                  <a:lnTo>
                    <a:pt x="3941" y="10002"/>
                  </a:lnTo>
                  <a:lnTo>
                    <a:pt x="3932" y="9970"/>
                  </a:lnTo>
                  <a:lnTo>
                    <a:pt x="3922" y="9940"/>
                  </a:lnTo>
                  <a:lnTo>
                    <a:pt x="3912" y="9908"/>
                  </a:lnTo>
                  <a:lnTo>
                    <a:pt x="3901" y="9877"/>
                  </a:lnTo>
                  <a:lnTo>
                    <a:pt x="3890" y="9847"/>
                  </a:lnTo>
                  <a:lnTo>
                    <a:pt x="3878" y="9817"/>
                  </a:lnTo>
                  <a:lnTo>
                    <a:pt x="3866" y="9787"/>
                  </a:lnTo>
                  <a:lnTo>
                    <a:pt x="3853" y="9758"/>
                  </a:lnTo>
                  <a:lnTo>
                    <a:pt x="3840" y="9728"/>
                  </a:lnTo>
                  <a:lnTo>
                    <a:pt x="3826" y="9698"/>
                  </a:lnTo>
                  <a:lnTo>
                    <a:pt x="3811" y="9670"/>
                  </a:lnTo>
                  <a:lnTo>
                    <a:pt x="3797" y="9641"/>
                  </a:lnTo>
                  <a:lnTo>
                    <a:pt x="3782" y="9613"/>
                  </a:lnTo>
                  <a:lnTo>
                    <a:pt x="3766" y="9585"/>
                  </a:lnTo>
                  <a:lnTo>
                    <a:pt x="3750" y="9556"/>
                  </a:lnTo>
                  <a:lnTo>
                    <a:pt x="4102" y="9556"/>
                  </a:lnTo>
                  <a:lnTo>
                    <a:pt x="4102" y="9562"/>
                  </a:lnTo>
                  <a:lnTo>
                    <a:pt x="5615" y="9562"/>
                  </a:lnTo>
                  <a:lnTo>
                    <a:pt x="5605" y="9592"/>
                  </a:lnTo>
                  <a:lnTo>
                    <a:pt x="5596" y="9622"/>
                  </a:lnTo>
                  <a:lnTo>
                    <a:pt x="5587" y="9651"/>
                  </a:lnTo>
                  <a:lnTo>
                    <a:pt x="5579" y="9681"/>
                  </a:lnTo>
                  <a:lnTo>
                    <a:pt x="5572" y="9711"/>
                  </a:lnTo>
                  <a:lnTo>
                    <a:pt x="5565" y="9743"/>
                  </a:lnTo>
                  <a:lnTo>
                    <a:pt x="5558" y="9773"/>
                  </a:lnTo>
                  <a:lnTo>
                    <a:pt x="5552" y="9804"/>
                  </a:lnTo>
                  <a:lnTo>
                    <a:pt x="5547" y="9835"/>
                  </a:lnTo>
                  <a:lnTo>
                    <a:pt x="5543" y="9866"/>
                  </a:lnTo>
                  <a:lnTo>
                    <a:pt x="5539" y="9897"/>
                  </a:lnTo>
                  <a:lnTo>
                    <a:pt x="5536" y="9930"/>
                  </a:lnTo>
                  <a:lnTo>
                    <a:pt x="5533" y="9962"/>
                  </a:lnTo>
                  <a:lnTo>
                    <a:pt x="5531" y="9994"/>
                  </a:lnTo>
                  <a:lnTo>
                    <a:pt x="5530" y="10026"/>
                  </a:lnTo>
                  <a:lnTo>
                    <a:pt x="5530" y="10059"/>
                  </a:lnTo>
                  <a:lnTo>
                    <a:pt x="5530" y="13580"/>
                  </a:lnTo>
                  <a:lnTo>
                    <a:pt x="5531" y="13625"/>
                  </a:lnTo>
                  <a:lnTo>
                    <a:pt x="5533" y="13669"/>
                  </a:lnTo>
                  <a:lnTo>
                    <a:pt x="5537" y="13712"/>
                  </a:lnTo>
                  <a:lnTo>
                    <a:pt x="5542" y="13754"/>
                  </a:lnTo>
                  <a:lnTo>
                    <a:pt x="5548" y="13795"/>
                  </a:lnTo>
                  <a:lnTo>
                    <a:pt x="5556" y="13836"/>
                  </a:lnTo>
                  <a:lnTo>
                    <a:pt x="5565" y="13875"/>
                  </a:lnTo>
                  <a:lnTo>
                    <a:pt x="5575" y="13913"/>
                  </a:lnTo>
                  <a:lnTo>
                    <a:pt x="5585" y="13951"/>
                  </a:lnTo>
                  <a:lnTo>
                    <a:pt x="5597" y="13988"/>
                  </a:lnTo>
                  <a:lnTo>
                    <a:pt x="5610" y="14024"/>
                  </a:lnTo>
                  <a:lnTo>
                    <a:pt x="5624" y="14058"/>
                  </a:lnTo>
                  <a:lnTo>
                    <a:pt x="5638" y="14092"/>
                  </a:lnTo>
                  <a:lnTo>
                    <a:pt x="5653" y="14125"/>
                  </a:lnTo>
                  <a:lnTo>
                    <a:pt x="5669" y="14158"/>
                  </a:lnTo>
                  <a:lnTo>
                    <a:pt x="5686" y="14189"/>
                  </a:lnTo>
                  <a:lnTo>
                    <a:pt x="5702" y="14220"/>
                  </a:lnTo>
                  <a:lnTo>
                    <a:pt x="5719" y="14249"/>
                  </a:lnTo>
                  <a:lnTo>
                    <a:pt x="5737" y="14278"/>
                  </a:lnTo>
                  <a:lnTo>
                    <a:pt x="5754" y="14306"/>
                  </a:lnTo>
                  <a:lnTo>
                    <a:pt x="5772" y="14334"/>
                  </a:lnTo>
                  <a:lnTo>
                    <a:pt x="5790" y="14360"/>
                  </a:lnTo>
                  <a:lnTo>
                    <a:pt x="5808" y="14385"/>
                  </a:lnTo>
                  <a:lnTo>
                    <a:pt x="5826" y="14410"/>
                  </a:lnTo>
                  <a:lnTo>
                    <a:pt x="5863" y="14457"/>
                  </a:lnTo>
                  <a:lnTo>
                    <a:pt x="5897" y="14501"/>
                  </a:lnTo>
                  <a:lnTo>
                    <a:pt x="5931" y="14542"/>
                  </a:lnTo>
                  <a:lnTo>
                    <a:pt x="5962" y="14579"/>
                  </a:lnTo>
                  <a:lnTo>
                    <a:pt x="5979" y="14599"/>
                  </a:lnTo>
                  <a:lnTo>
                    <a:pt x="5997" y="14620"/>
                  </a:lnTo>
                  <a:lnTo>
                    <a:pt x="6016" y="14641"/>
                  </a:lnTo>
                  <a:lnTo>
                    <a:pt x="6033" y="14663"/>
                  </a:lnTo>
                  <a:lnTo>
                    <a:pt x="6033" y="15089"/>
                  </a:lnTo>
                  <a:close/>
                  <a:moveTo>
                    <a:pt x="1006" y="7042"/>
                  </a:moveTo>
                  <a:lnTo>
                    <a:pt x="1007" y="6964"/>
                  </a:lnTo>
                  <a:lnTo>
                    <a:pt x="1011" y="6888"/>
                  </a:lnTo>
                  <a:lnTo>
                    <a:pt x="1017" y="6812"/>
                  </a:lnTo>
                  <a:lnTo>
                    <a:pt x="1026" y="6738"/>
                  </a:lnTo>
                  <a:lnTo>
                    <a:pt x="1037" y="6664"/>
                  </a:lnTo>
                  <a:lnTo>
                    <a:pt x="1051" y="6593"/>
                  </a:lnTo>
                  <a:lnTo>
                    <a:pt x="1067" y="6522"/>
                  </a:lnTo>
                  <a:lnTo>
                    <a:pt x="1085" y="6454"/>
                  </a:lnTo>
                  <a:lnTo>
                    <a:pt x="1106" y="6388"/>
                  </a:lnTo>
                  <a:lnTo>
                    <a:pt x="1128" y="6322"/>
                  </a:lnTo>
                  <a:lnTo>
                    <a:pt x="1152" y="6259"/>
                  </a:lnTo>
                  <a:lnTo>
                    <a:pt x="1178" y="6199"/>
                  </a:lnTo>
                  <a:lnTo>
                    <a:pt x="1206" y="6139"/>
                  </a:lnTo>
                  <a:lnTo>
                    <a:pt x="1235" y="6082"/>
                  </a:lnTo>
                  <a:lnTo>
                    <a:pt x="1267" y="6028"/>
                  </a:lnTo>
                  <a:lnTo>
                    <a:pt x="1301" y="5974"/>
                  </a:lnTo>
                  <a:lnTo>
                    <a:pt x="1336" y="5925"/>
                  </a:lnTo>
                  <a:lnTo>
                    <a:pt x="1372" y="5878"/>
                  </a:lnTo>
                  <a:lnTo>
                    <a:pt x="1410" y="5832"/>
                  </a:lnTo>
                  <a:lnTo>
                    <a:pt x="1450" y="5790"/>
                  </a:lnTo>
                  <a:lnTo>
                    <a:pt x="1490" y="5751"/>
                  </a:lnTo>
                  <a:lnTo>
                    <a:pt x="1532" y="5715"/>
                  </a:lnTo>
                  <a:lnTo>
                    <a:pt x="1575" y="5682"/>
                  </a:lnTo>
                  <a:lnTo>
                    <a:pt x="1621" y="5651"/>
                  </a:lnTo>
                  <a:lnTo>
                    <a:pt x="1666" y="5624"/>
                  </a:lnTo>
                  <a:lnTo>
                    <a:pt x="1713" y="5600"/>
                  </a:lnTo>
                  <a:lnTo>
                    <a:pt x="1760" y="5580"/>
                  </a:lnTo>
                  <a:lnTo>
                    <a:pt x="1809" y="5563"/>
                  </a:lnTo>
                  <a:lnTo>
                    <a:pt x="1859" y="5550"/>
                  </a:lnTo>
                  <a:lnTo>
                    <a:pt x="1909" y="5541"/>
                  </a:lnTo>
                  <a:lnTo>
                    <a:pt x="1960" y="5535"/>
                  </a:lnTo>
                  <a:lnTo>
                    <a:pt x="2012" y="5533"/>
                  </a:lnTo>
                  <a:lnTo>
                    <a:pt x="5540" y="5533"/>
                  </a:lnTo>
                  <a:lnTo>
                    <a:pt x="5511" y="5568"/>
                  </a:lnTo>
                  <a:lnTo>
                    <a:pt x="5482" y="5603"/>
                  </a:lnTo>
                  <a:lnTo>
                    <a:pt x="5455" y="5640"/>
                  </a:lnTo>
                  <a:lnTo>
                    <a:pt x="5428" y="5678"/>
                  </a:lnTo>
                  <a:lnTo>
                    <a:pt x="5402" y="5717"/>
                  </a:lnTo>
                  <a:lnTo>
                    <a:pt x="5377" y="5756"/>
                  </a:lnTo>
                  <a:lnTo>
                    <a:pt x="5352" y="5796"/>
                  </a:lnTo>
                  <a:lnTo>
                    <a:pt x="5328" y="5837"/>
                  </a:lnTo>
                  <a:lnTo>
                    <a:pt x="5305" y="5880"/>
                  </a:lnTo>
                  <a:lnTo>
                    <a:pt x="5283" y="5922"/>
                  </a:lnTo>
                  <a:lnTo>
                    <a:pt x="5262" y="5966"/>
                  </a:lnTo>
                  <a:lnTo>
                    <a:pt x="5241" y="6010"/>
                  </a:lnTo>
                  <a:lnTo>
                    <a:pt x="5222" y="6056"/>
                  </a:lnTo>
                  <a:lnTo>
                    <a:pt x="5203" y="6102"/>
                  </a:lnTo>
                  <a:lnTo>
                    <a:pt x="5185" y="6148"/>
                  </a:lnTo>
                  <a:lnTo>
                    <a:pt x="5168" y="6196"/>
                  </a:lnTo>
                  <a:lnTo>
                    <a:pt x="5151" y="6244"/>
                  </a:lnTo>
                  <a:lnTo>
                    <a:pt x="5136" y="6293"/>
                  </a:lnTo>
                  <a:lnTo>
                    <a:pt x="5122" y="6342"/>
                  </a:lnTo>
                  <a:lnTo>
                    <a:pt x="5109" y="6393"/>
                  </a:lnTo>
                  <a:lnTo>
                    <a:pt x="5096" y="6444"/>
                  </a:lnTo>
                  <a:lnTo>
                    <a:pt x="5085" y="6495"/>
                  </a:lnTo>
                  <a:lnTo>
                    <a:pt x="5075" y="6548"/>
                  </a:lnTo>
                  <a:lnTo>
                    <a:pt x="5066" y="6600"/>
                  </a:lnTo>
                  <a:lnTo>
                    <a:pt x="5057" y="6653"/>
                  </a:lnTo>
                  <a:lnTo>
                    <a:pt x="5050" y="6708"/>
                  </a:lnTo>
                  <a:lnTo>
                    <a:pt x="5044" y="6762"/>
                  </a:lnTo>
                  <a:lnTo>
                    <a:pt x="5039" y="6816"/>
                  </a:lnTo>
                  <a:lnTo>
                    <a:pt x="5035" y="6873"/>
                  </a:lnTo>
                  <a:lnTo>
                    <a:pt x="5032" y="6928"/>
                  </a:lnTo>
                  <a:lnTo>
                    <a:pt x="5031" y="6984"/>
                  </a:lnTo>
                  <a:lnTo>
                    <a:pt x="5030" y="7042"/>
                  </a:lnTo>
                  <a:lnTo>
                    <a:pt x="5031" y="7099"/>
                  </a:lnTo>
                  <a:lnTo>
                    <a:pt x="5032" y="7155"/>
                  </a:lnTo>
                  <a:lnTo>
                    <a:pt x="5035" y="7212"/>
                  </a:lnTo>
                  <a:lnTo>
                    <a:pt x="5039" y="7267"/>
                  </a:lnTo>
                  <a:lnTo>
                    <a:pt x="5044" y="7322"/>
                  </a:lnTo>
                  <a:lnTo>
                    <a:pt x="5050" y="7377"/>
                  </a:lnTo>
                  <a:lnTo>
                    <a:pt x="5057" y="7431"/>
                  </a:lnTo>
                  <a:lnTo>
                    <a:pt x="5066" y="7484"/>
                  </a:lnTo>
                  <a:lnTo>
                    <a:pt x="5075" y="7536"/>
                  </a:lnTo>
                  <a:lnTo>
                    <a:pt x="5085" y="7589"/>
                  </a:lnTo>
                  <a:lnTo>
                    <a:pt x="5096" y="7640"/>
                  </a:lnTo>
                  <a:lnTo>
                    <a:pt x="5109" y="7691"/>
                  </a:lnTo>
                  <a:lnTo>
                    <a:pt x="5122" y="7742"/>
                  </a:lnTo>
                  <a:lnTo>
                    <a:pt x="5136" y="7791"/>
                  </a:lnTo>
                  <a:lnTo>
                    <a:pt x="5151" y="7840"/>
                  </a:lnTo>
                  <a:lnTo>
                    <a:pt x="5168" y="7888"/>
                  </a:lnTo>
                  <a:lnTo>
                    <a:pt x="5185" y="7936"/>
                  </a:lnTo>
                  <a:lnTo>
                    <a:pt x="5203" y="7982"/>
                  </a:lnTo>
                  <a:lnTo>
                    <a:pt x="5222" y="8028"/>
                  </a:lnTo>
                  <a:lnTo>
                    <a:pt x="5241" y="8074"/>
                  </a:lnTo>
                  <a:lnTo>
                    <a:pt x="5262" y="8118"/>
                  </a:lnTo>
                  <a:lnTo>
                    <a:pt x="5283" y="8161"/>
                  </a:lnTo>
                  <a:lnTo>
                    <a:pt x="5305" y="8204"/>
                  </a:lnTo>
                  <a:lnTo>
                    <a:pt x="5328" y="8247"/>
                  </a:lnTo>
                  <a:lnTo>
                    <a:pt x="5352" y="8288"/>
                  </a:lnTo>
                  <a:lnTo>
                    <a:pt x="5377" y="8328"/>
                  </a:lnTo>
                  <a:lnTo>
                    <a:pt x="5402" y="8367"/>
                  </a:lnTo>
                  <a:lnTo>
                    <a:pt x="5428" y="8406"/>
                  </a:lnTo>
                  <a:lnTo>
                    <a:pt x="5455" y="8443"/>
                  </a:lnTo>
                  <a:lnTo>
                    <a:pt x="5482" y="8480"/>
                  </a:lnTo>
                  <a:lnTo>
                    <a:pt x="5511" y="8515"/>
                  </a:lnTo>
                  <a:lnTo>
                    <a:pt x="5540" y="8550"/>
                  </a:lnTo>
                  <a:lnTo>
                    <a:pt x="2012" y="8550"/>
                  </a:lnTo>
                  <a:lnTo>
                    <a:pt x="1960" y="8548"/>
                  </a:lnTo>
                  <a:lnTo>
                    <a:pt x="1909" y="8542"/>
                  </a:lnTo>
                  <a:lnTo>
                    <a:pt x="1859" y="8533"/>
                  </a:lnTo>
                  <a:lnTo>
                    <a:pt x="1809" y="8520"/>
                  </a:lnTo>
                  <a:lnTo>
                    <a:pt x="1760" y="8503"/>
                  </a:lnTo>
                  <a:lnTo>
                    <a:pt x="1713" y="8483"/>
                  </a:lnTo>
                  <a:lnTo>
                    <a:pt x="1666" y="8459"/>
                  </a:lnTo>
                  <a:lnTo>
                    <a:pt x="1621" y="8432"/>
                  </a:lnTo>
                  <a:lnTo>
                    <a:pt x="1575" y="8402"/>
                  </a:lnTo>
                  <a:lnTo>
                    <a:pt x="1532" y="8368"/>
                  </a:lnTo>
                  <a:lnTo>
                    <a:pt x="1490" y="8332"/>
                  </a:lnTo>
                  <a:lnTo>
                    <a:pt x="1450" y="8293"/>
                  </a:lnTo>
                  <a:lnTo>
                    <a:pt x="1410" y="8251"/>
                  </a:lnTo>
                  <a:lnTo>
                    <a:pt x="1372" y="8206"/>
                  </a:lnTo>
                  <a:lnTo>
                    <a:pt x="1336" y="8158"/>
                  </a:lnTo>
                  <a:lnTo>
                    <a:pt x="1301" y="8109"/>
                  </a:lnTo>
                  <a:lnTo>
                    <a:pt x="1267" y="8057"/>
                  </a:lnTo>
                  <a:lnTo>
                    <a:pt x="1235" y="8001"/>
                  </a:lnTo>
                  <a:lnTo>
                    <a:pt x="1206" y="7945"/>
                  </a:lnTo>
                  <a:lnTo>
                    <a:pt x="1178" y="7886"/>
                  </a:lnTo>
                  <a:lnTo>
                    <a:pt x="1152" y="7824"/>
                  </a:lnTo>
                  <a:lnTo>
                    <a:pt x="1128" y="7761"/>
                  </a:lnTo>
                  <a:lnTo>
                    <a:pt x="1106" y="7696"/>
                  </a:lnTo>
                  <a:lnTo>
                    <a:pt x="1085" y="7629"/>
                  </a:lnTo>
                  <a:lnTo>
                    <a:pt x="1067" y="7561"/>
                  </a:lnTo>
                  <a:lnTo>
                    <a:pt x="1051" y="7490"/>
                  </a:lnTo>
                  <a:lnTo>
                    <a:pt x="1037" y="7419"/>
                  </a:lnTo>
                  <a:lnTo>
                    <a:pt x="1026" y="7345"/>
                  </a:lnTo>
                  <a:lnTo>
                    <a:pt x="1017" y="7272"/>
                  </a:lnTo>
                  <a:lnTo>
                    <a:pt x="1011" y="7196"/>
                  </a:lnTo>
                  <a:lnTo>
                    <a:pt x="1007" y="7119"/>
                  </a:lnTo>
                  <a:lnTo>
                    <a:pt x="1006" y="7042"/>
                  </a:lnTo>
                  <a:close/>
                  <a:moveTo>
                    <a:pt x="10059" y="7042"/>
                  </a:moveTo>
                  <a:lnTo>
                    <a:pt x="10059" y="6944"/>
                  </a:lnTo>
                  <a:lnTo>
                    <a:pt x="10060" y="6846"/>
                  </a:lnTo>
                  <a:lnTo>
                    <a:pt x="10062" y="6750"/>
                  </a:lnTo>
                  <a:lnTo>
                    <a:pt x="10064" y="6653"/>
                  </a:lnTo>
                  <a:lnTo>
                    <a:pt x="10068" y="6558"/>
                  </a:lnTo>
                  <a:lnTo>
                    <a:pt x="10071" y="6462"/>
                  </a:lnTo>
                  <a:lnTo>
                    <a:pt x="10076" y="6368"/>
                  </a:lnTo>
                  <a:lnTo>
                    <a:pt x="10082" y="6273"/>
                  </a:lnTo>
                  <a:lnTo>
                    <a:pt x="10087" y="6178"/>
                  </a:lnTo>
                  <a:lnTo>
                    <a:pt x="10093" y="6085"/>
                  </a:lnTo>
                  <a:lnTo>
                    <a:pt x="10100" y="5991"/>
                  </a:lnTo>
                  <a:lnTo>
                    <a:pt x="10107" y="5899"/>
                  </a:lnTo>
                  <a:lnTo>
                    <a:pt x="10115" y="5806"/>
                  </a:lnTo>
                  <a:lnTo>
                    <a:pt x="10124" y="5715"/>
                  </a:lnTo>
                  <a:lnTo>
                    <a:pt x="10133" y="5623"/>
                  </a:lnTo>
                  <a:lnTo>
                    <a:pt x="10142" y="5533"/>
                  </a:lnTo>
                  <a:lnTo>
                    <a:pt x="11568" y="5533"/>
                  </a:lnTo>
                  <a:lnTo>
                    <a:pt x="11620" y="5535"/>
                  </a:lnTo>
                  <a:lnTo>
                    <a:pt x="11671" y="5541"/>
                  </a:lnTo>
                  <a:lnTo>
                    <a:pt x="11721" y="5550"/>
                  </a:lnTo>
                  <a:lnTo>
                    <a:pt x="11770" y="5563"/>
                  </a:lnTo>
                  <a:lnTo>
                    <a:pt x="11820" y="5580"/>
                  </a:lnTo>
                  <a:lnTo>
                    <a:pt x="11867" y="5600"/>
                  </a:lnTo>
                  <a:lnTo>
                    <a:pt x="11914" y="5624"/>
                  </a:lnTo>
                  <a:lnTo>
                    <a:pt x="11960" y="5651"/>
                  </a:lnTo>
                  <a:lnTo>
                    <a:pt x="12004" y="5682"/>
                  </a:lnTo>
                  <a:lnTo>
                    <a:pt x="12047" y="5715"/>
                  </a:lnTo>
                  <a:lnTo>
                    <a:pt x="12089" y="5751"/>
                  </a:lnTo>
                  <a:lnTo>
                    <a:pt x="12131" y="5790"/>
                  </a:lnTo>
                  <a:lnTo>
                    <a:pt x="12170" y="5832"/>
                  </a:lnTo>
                  <a:lnTo>
                    <a:pt x="12208" y="5878"/>
                  </a:lnTo>
                  <a:lnTo>
                    <a:pt x="12244" y="5925"/>
                  </a:lnTo>
                  <a:lnTo>
                    <a:pt x="12279" y="5974"/>
                  </a:lnTo>
                  <a:lnTo>
                    <a:pt x="12313" y="6028"/>
                  </a:lnTo>
                  <a:lnTo>
                    <a:pt x="12344" y="6082"/>
                  </a:lnTo>
                  <a:lnTo>
                    <a:pt x="12374" y="6139"/>
                  </a:lnTo>
                  <a:lnTo>
                    <a:pt x="12402" y="6199"/>
                  </a:lnTo>
                  <a:lnTo>
                    <a:pt x="12428" y="6259"/>
                  </a:lnTo>
                  <a:lnTo>
                    <a:pt x="12453" y="6322"/>
                  </a:lnTo>
                  <a:lnTo>
                    <a:pt x="12475" y="6388"/>
                  </a:lnTo>
                  <a:lnTo>
                    <a:pt x="12495" y="6454"/>
                  </a:lnTo>
                  <a:lnTo>
                    <a:pt x="12513" y="6522"/>
                  </a:lnTo>
                  <a:lnTo>
                    <a:pt x="12529" y="6593"/>
                  </a:lnTo>
                  <a:lnTo>
                    <a:pt x="12542" y="6664"/>
                  </a:lnTo>
                  <a:lnTo>
                    <a:pt x="12554" y="6738"/>
                  </a:lnTo>
                  <a:lnTo>
                    <a:pt x="12562" y="6812"/>
                  </a:lnTo>
                  <a:lnTo>
                    <a:pt x="12569" y="6888"/>
                  </a:lnTo>
                  <a:lnTo>
                    <a:pt x="12573" y="6964"/>
                  </a:lnTo>
                  <a:lnTo>
                    <a:pt x="12574" y="7042"/>
                  </a:lnTo>
                  <a:lnTo>
                    <a:pt x="12573" y="7119"/>
                  </a:lnTo>
                  <a:lnTo>
                    <a:pt x="12569" y="7196"/>
                  </a:lnTo>
                  <a:lnTo>
                    <a:pt x="12562" y="7272"/>
                  </a:lnTo>
                  <a:lnTo>
                    <a:pt x="12554" y="7345"/>
                  </a:lnTo>
                  <a:lnTo>
                    <a:pt x="12542" y="7419"/>
                  </a:lnTo>
                  <a:lnTo>
                    <a:pt x="12529" y="7490"/>
                  </a:lnTo>
                  <a:lnTo>
                    <a:pt x="12513" y="7561"/>
                  </a:lnTo>
                  <a:lnTo>
                    <a:pt x="12495" y="7629"/>
                  </a:lnTo>
                  <a:lnTo>
                    <a:pt x="12475" y="7696"/>
                  </a:lnTo>
                  <a:lnTo>
                    <a:pt x="12453" y="7761"/>
                  </a:lnTo>
                  <a:lnTo>
                    <a:pt x="12428" y="7824"/>
                  </a:lnTo>
                  <a:lnTo>
                    <a:pt x="12402" y="7886"/>
                  </a:lnTo>
                  <a:lnTo>
                    <a:pt x="12374" y="7945"/>
                  </a:lnTo>
                  <a:lnTo>
                    <a:pt x="12344" y="8001"/>
                  </a:lnTo>
                  <a:lnTo>
                    <a:pt x="12313" y="8057"/>
                  </a:lnTo>
                  <a:lnTo>
                    <a:pt x="12279" y="8109"/>
                  </a:lnTo>
                  <a:lnTo>
                    <a:pt x="12244" y="8158"/>
                  </a:lnTo>
                  <a:lnTo>
                    <a:pt x="12208" y="8206"/>
                  </a:lnTo>
                  <a:lnTo>
                    <a:pt x="12170" y="8251"/>
                  </a:lnTo>
                  <a:lnTo>
                    <a:pt x="12131" y="8293"/>
                  </a:lnTo>
                  <a:lnTo>
                    <a:pt x="12089" y="8332"/>
                  </a:lnTo>
                  <a:lnTo>
                    <a:pt x="12047" y="8368"/>
                  </a:lnTo>
                  <a:lnTo>
                    <a:pt x="12004" y="8402"/>
                  </a:lnTo>
                  <a:lnTo>
                    <a:pt x="11960" y="8432"/>
                  </a:lnTo>
                  <a:lnTo>
                    <a:pt x="11914" y="8459"/>
                  </a:lnTo>
                  <a:lnTo>
                    <a:pt x="11867" y="8483"/>
                  </a:lnTo>
                  <a:lnTo>
                    <a:pt x="11820" y="8503"/>
                  </a:lnTo>
                  <a:lnTo>
                    <a:pt x="11770" y="8520"/>
                  </a:lnTo>
                  <a:lnTo>
                    <a:pt x="11721" y="8533"/>
                  </a:lnTo>
                  <a:lnTo>
                    <a:pt x="11671" y="8542"/>
                  </a:lnTo>
                  <a:lnTo>
                    <a:pt x="11620" y="8548"/>
                  </a:lnTo>
                  <a:lnTo>
                    <a:pt x="11568" y="8550"/>
                  </a:lnTo>
                  <a:lnTo>
                    <a:pt x="10142" y="8550"/>
                  </a:lnTo>
                  <a:lnTo>
                    <a:pt x="10133" y="8460"/>
                  </a:lnTo>
                  <a:lnTo>
                    <a:pt x="10124" y="8368"/>
                  </a:lnTo>
                  <a:lnTo>
                    <a:pt x="10115" y="8277"/>
                  </a:lnTo>
                  <a:lnTo>
                    <a:pt x="10107" y="8184"/>
                  </a:lnTo>
                  <a:lnTo>
                    <a:pt x="10100" y="8092"/>
                  </a:lnTo>
                  <a:lnTo>
                    <a:pt x="10093" y="7998"/>
                  </a:lnTo>
                  <a:lnTo>
                    <a:pt x="10087" y="7905"/>
                  </a:lnTo>
                  <a:lnTo>
                    <a:pt x="10082" y="7811"/>
                  </a:lnTo>
                  <a:lnTo>
                    <a:pt x="10076" y="7717"/>
                  </a:lnTo>
                  <a:lnTo>
                    <a:pt x="10071" y="7621"/>
                  </a:lnTo>
                  <a:lnTo>
                    <a:pt x="10068" y="7525"/>
                  </a:lnTo>
                  <a:lnTo>
                    <a:pt x="10064" y="7430"/>
                  </a:lnTo>
                  <a:lnTo>
                    <a:pt x="10062" y="7333"/>
                  </a:lnTo>
                  <a:lnTo>
                    <a:pt x="10060" y="7237"/>
                  </a:lnTo>
                  <a:lnTo>
                    <a:pt x="10059" y="7139"/>
                  </a:lnTo>
                  <a:lnTo>
                    <a:pt x="10059" y="7042"/>
                  </a:lnTo>
                  <a:close/>
                  <a:moveTo>
                    <a:pt x="12574" y="0"/>
                  </a:moveTo>
                  <a:lnTo>
                    <a:pt x="12478" y="2"/>
                  </a:lnTo>
                  <a:lnTo>
                    <a:pt x="12383" y="8"/>
                  </a:lnTo>
                  <a:lnTo>
                    <a:pt x="12290" y="18"/>
                  </a:lnTo>
                  <a:lnTo>
                    <a:pt x="12197" y="32"/>
                  </a:lnTo>
                  <a:lnTo>
                    <a:pt x="12106" y="50"/>
                  </a:lnTo>
                  <a:lnTo>
                    <a:pt x="12017" y="72"/>
                  </a:lnTo>
                  <a:lnTo>
                    <a:pt x="11928" y="99"/>
                  </a:lnTo>
                  <a:lnTo>
                    <a:pt x="11841" y="128"/>
                  </a:lnTo>
                  <a:lnTo>
                    <a:pt x="11755" y="161"/>
                  </a:lnTo>
                  <a:lnTo>
                    <a:pt x="11671" y="198"/>
                  </a:lnTo>
                  <a:lnTo>
                    <a:pt x="11588" y="238"/>
                  </a:lnTo>
                  <a:lnTo>
                    <a:pt x="11506" y="282"/>
                  </a:lnTo>
                  <a:lnTo>
                    <a:pt x="11425" y="329"/>
                  </a:lnTo>
                  <a:lnTo>
                    <a:pt x="11347" y="380"/>
                  </a:lnTo>
                  <a:lnTo>
                    <a:pt x="11269" y="435"/>
                  </a:lnTo>
                  <a:lnTo>
                    <a:pt x="11192" y="491"/>
                  </a:lnTo>
                  <a:lnTo>
                    <a:pt x="11117" y="552"/>
                  </a:lnTo>
                  <a:lnTo>
                    <a:pt x="11043" y="616"/>
                  </a:lnTo>
                  <a:lnTo>
                    <a:pt x="10971" y="682"/>
                  </a:lnTo>
                  <a:lnTo>
                    <a:pt x="10899" y="752"/>
                  </a:lnTo>
                  <a:lnTo>
                    <a:pt x="10829" y="825"/>
                  </a:lnTo>
                  <a:lnTo>
                    <a:pt x="10761" y="900"/>
                  </a:lnTo>
                  <a:lnTo>
                    <a:pt x="10693" y="979"/>
                  </a:lnTo>
                  <a:lnTo>
                    <a:pt x="10628" y="1060"/>
                  </a:lnTo>
                  <a:lnTo>
                    <a:pt x="10562" y="1144"/>
                  </a:lnTo>
                  <a:lnTo>
                    <a:pt x="10500" y="1230"/>
                  </a:lnTo>
                  <a:lnTo>
                    <a:pt x="10438" y="1320"/>
                  </a:lnTo>
                  <a:lnTo>
                    <a:pt x="10377" y="1412"/>
                  </a:lnTo>
                  <a:lnTo>
                    <a:pt x="10318" y="1506"/>
                  </a:lnTo>
                  <a:lnTo>
                    <a:pt x="10260" y="1602"/>
                  </a:lnTo>
                  <a:lnTo>
                    <a:pt x="10203" y="1702"/>
                  </a:lnTo>
                  <a:lnTo>
                    <a:pt x="10148" y="1804"/>
                  </a:lnTo>
                  <a:lnTo>
                    <a:pt x="10137" y="1798"/>
                  </a:lnTo>
                  <a:lnTo>
                    <a:pt x="10056" y="1952"/>
                  </a:lnTo>
                  <a:lnTo>
                    <a:pt x="9974" y="2101"/>
                  </a:lnTo>
                  <a:lnTo>
                    <a:pt x="9888" y="2247"/>
                  </a:lnTo>
                  <a:lnTo>
                    <a:pt x="9801" y="2390"/>
                  </a:lnTo>
                  <a:lnTo>
                    <a:pt x="9711" y="2529"/>
                  </a:lnTo>
                  <a:lnTo>
                    <a:pt x="9620" y="2665"/>
                  </a:lnTo>
                  <a:lnTo>
                    <a:pt x="9525" y="2796"/>
                  </a:lnTo>
                  <a:lnTo>
                    <a:pt x="9430" y="2923"/>
                  </a:lnTo>
                  <a:lnTo>
                    <a:pt x="9332" y="3046"/>
                  </a:lnTo>
                  <a:lnTo>
                    <a:pt x="9231" y="3165"/>
                  </a:lnTo>
                  <a:lnTo>
                    <a:pt x="9130" y="3279"/>
                  </a:lnTo>
                  <a:lnTo>
                    <a:pt x="9026" y="3389"/>
                  </a:lnTo>
                  <a:lnTo>
                    <a:pt x="8921" y="3495"/>
                  </a:lnTo>
                  <a:lnTo>
                    <a:pt x="8814" y="3595"/>
                  </a:lnTo>
                  <a:lnTo>
                    <a:pt x="8705" y="3692"/>
                  </a:lnTo>
                  <a:lnTo>
                    <a:pt x="8595" y="3783"/>
                  </a:lnTo>
                  <a:lnTo>
                    <a:pt x="8483" y="3870"/>
                  </a:lnTo>
                  <a:lnTo>
                    <a:pt x="8369" y="3951"/>
                  </a:lnTo>
                  <a:lnTo>
                    <a:pt x="8255" y="4029"/>
                  </a:lnTo>
                  <a:lnTo>
                    <a:pt x="8138" y="4100"/>
                  </a:lnTo>
                  <a:lnTo>
                    <a:pt x="8020" y="4167"/>
                  </a:lnTo>
                  <a:lnTo>
                    <a:pt x="7902" y="4227"/>
                  </a:lnTo>
                  <a:lnTo>
                    <a:pt x="7781" y="4283"/>
                  </a:lnTo>
                  <a:lnTo>
                    <a:pt x="7659" y="4334"/>
                  </a:lnTo>
                  <a:lnTo>
                    <a:pt x="7537" y="4378"/>
                  </a:lnTo>
                  <a:lnTo>
                    <a:pt x="7414" y="4417"/>
                  </a:lnTo>
                  <a:lnTo>
                    <a:pt x="7289" y="4450"/>
                  </a:lnTo>
                  <a:lnTo>
                    <a:pt x="7163" y="4477"/>
                  </a:lnTo>
                  <a:lnTo>
                    <a:pt x="7037" y="4499"/>
                  </a:lnTo>
                  <a:lnTo>
                    <a:pt x="6909" y="4515"/>
                  </a:lnTo>
                  <a:lnTo>
                    <a:pt x="6781" y="4524"/>
                  </a:lnTo>
                  <a:lnTo>
                    <a:pt x="6652" y="4527"/>
                  </a:lnTo>
                  <a:lnTo>
                    <a:pt x="6318" y="4527"/>
                  </a:lnTo>
                  <a:lnTo>
                    <a:pt x="4102" y="4527"/>
                  </a:lnTo>
                  <a:lnTo>
                    <a:pt x="2012" y="4527"/>
                  </a:lnTo>
                  <a:lnTo>
                    <a:pt x="1907" y="4530"/>
                  </a:lnTo>
                  <a:lnTo>
                    <a:pt x="1804" y="4540"/>
                  </a:lnTo>
                  <a:lnTo>
                    <a:pt x="1701" y="4555"/>
                  </a:lnTo>
                  <a:lnTo>
                    <a:pt x="1601" y="4577"/>
                  </a:lnTo>
                  <a:lnTo>
                    <a:pt x="1503" y="4604"/>
                  </a:lnTo>
                  <a:lnTo>
                    <a:pt x="1407" y="4638"/>
                  </a:lnTo>
                  <a:lnTo>
                    <a:pt x="1313" y="4677"/>
                  </a:lnTo>
                  <a:lnTo>
                    <a:pt x="1221" y="4722"/>
                  </a:lnTo>
                  <a:lnTo>
                    <a:pt x="1132" y="4771"/>
                  </a:lnTo>
                  <a:lnTo>
                    <a:pt x="1045" y="4826"/>
                  </a:lnTo>
                  <a:lnTo>
                    <a:pt x="961" y="4886"/>
                  </a:lnTo>
                  <a:lnTo>
                    <a:pt x="879" y="4950"/>
                  </a:lnTo>
                  <a:lnTo>
                    <a:pt x="801" y="5020"/>
                  </a:lnTo>
                  <a:lnTo>
                    <a:pt x="725" y="5094"/>
                  </a:lnTo>
                  <a:lnTo>
                    <a:pt x="652" y="5173"/>
                  </a:lnTo>
                  <a:lnTo>
                    <a:pt x="582" y="5255"/>
                  </a:lnTo>
                  <a:lnTo>
                    <a:pt x="516" y="5343"/>
                  </a:lnTo>
                  <a:lnTo>
                    <a:pt x="454" y="5433"/>
                  </a:lnTo>
                  <a:lnTo>
                    <a:pt x="394" y="5528"/>
                  </a:lnTo>
                  <a:lnTo>
                    <a:pt x="339" y="5626"/>
                  </a:lnTo>
                  <a:lnTo>
                    <a:pt x="288" y="5728"/>
                  </a:lnTo>
                  <a:lnTo>
                    <a:pt x="239" y="5833"/>
                  </a:lnTo>
                  <a:lnTo>
                    <a:pt x="195" y="5942"/>
                  </a:lnTo>
                  <a:lnTo>
                    <a:pt x="156" y="6054"/>
                  </a:lnTo>
                  <a:lnTo>
                    <a:pt x="120" y="6168"/>
                  </a:lnTo>
                  <a:lnTo>
                    <a:pt x="89" y="6286"/>
                  </a:lnTo>
                  <a:lnTo>
                    <a:pt x="62" y="6406"/>
                  </a:lnTo>
                  <a:lnTo>
                    <a:pt x="40" y="6529"/>
                  </a:lnTo>
                  <a:lnTo>
                    <a:pt x="23" y="6653"/>
                  </a:lnTo>
                  <a:lnTo>
                    <a:pt x="10" y="6781"/>
                  </a:lnTo>
                  <a:lnTo>
                    <a:pt x="3" y="6911"/>
                  </a:lnTo>
                  <a:lnTo>
                    <a:pt x="0" y="7042"/>
                  </a:lnTo>
                  <a:lnTo>
                    <a:pt x="3" y="7173"/>
                  </a:lnTo>
                  <a:lnTo>
                    <a:pt x="10" y="7302"/>
                  </a:lnTo>
                  <a:lnTo>
                    <a:pt x="23" y="7430"/>
                  </a:lnTo>
                  <a:lnTo>
                    <a:pt x="40" y="7555"/>
                  </a:lnTo>
                  <a:lnTo>
                    <a:pt x="62" y="7677"/>
                  </a:lnTo>
                  <a:lnTo>
                    <a:pt x="89" y="7798"/>
                  </a:lnTo>
                  <a:lnTo>
                    <a:pt x="120" y="7915"/>
                  </a:lnTo>
                  <a:lnTo>
                    <a:pt x="156" y="8029"/>
                  </a:lnTo>
                  <a:lnTo>
                    <a:pt x="195" y="8141"/>
                  </a:lnTo>
                  <a:lnTo>
                    <a:pt x="239" y="8250"/>
                  </a:lnTo>
                  <a:lnTo>
                    <a:pt x="288" y="8355"/>
                  </a:lnTo>
                  <a:lnTo>
                    <a:pt x="339" y="8457"/>
                  </a:lnTo>
                  <a:lnTo>
                    <a:pt x="394" y="8555"/>
                  </a:lnTo>
                  <a:lnTo>
                    <a:pt x="454" y="8650"/>
                  </a:lnTo>
                  <a:lnTo>
                    <a:pt x="516" y="8742"/>
                  </a:lnTo>
                  <a:lnTo>
                    <a:pt x="582" y="8828"/>
                  </a:lnTo>
                  <a:lnTo>
                    <a:pt x="652" y="8911"/>
                  </a:lnTo>
                  <a:lnTo>
                    <a:pt x="725" y="8989"/>
                  </a:lnTo>
                  <a:lnTo>
                    <a:pt x="801" y="9063"/>
                  </a:lnTo>
                  <a:lnTo>
                    <a:pt x="879" y="9133"/>
                  </a:lnTo>
                  <a:lnTo>
                    <a:pt x="961" y="9197"/>
                  </a:lnTo>
                  <a:lnTo>
                    <a:pt x="1045" y="9258"/>
                  </a:lnTo>
                  <a:lnTo>
                    <a:pt x="1132" y="9312"/>
                  </a:lnTo>
                  <a:lnTo>
                    <a:pt x="1221" y="9362"/>
                  </a:lnTo>
                  <a:lnTo>
                    <a:pt x="1313" y="9407"/>
                  </a:lnTo>
                  <a:lnTo>
                    <a:pt x="1407" y="9445"/>
                  </a:lnTo>
                  <a:lnTo>
                    <a:pt x="1503" y="9479"/>
                  </a:lnTo>
                  <a:lnTo>
                    <a:pt x="1601" y="9506"/>
                  </a:lnTo>
                  <a:lnTo>
                    <a:pt x="1701" y="9528"/>
                  </a:lnTo>
                  <a:lnTo>
                    <a:pt x="1804" y="9543"/>
                  </a:lnTo>
                  <a:lnTo>
                    <a:pt x="1907" y="9553"/>
                  </a:lnTo>
                  <a:lnTo>
                    <a:pt x="2012" y="9556"/>
                  </a:lnTo>
                  <a:lnTo>
                    <a:pt x="2063" y="9557"/>
                  </a:lnTo>
                  <a:lnTo>
                    <a:pt x="2114" y="9561"/>
                  </a:lnTo>
                  <a:lnTo>
                    <a:pt x="2165" y="9568"/>
                  </a:lnTo>
                  <a:lnTo>
                    <a:pt x="2214" y="9578"/>
                  </a:lnTo>
                  <a:lnTo>
                    <a:pt x="2262" y="9589"/>
                  </a:lnTo>
                  <a:lnTo>
                    <a:pt x="2311" y="9603"/>
                  </a:lnTo>
                  <a:lnTo>
                    <a:pt x="2357" y="9618"/>
                  </a:lnTo>
                  <a:lnTo>
                    <a:pt x="2402" y="9636"/>
                  </a:lnTo>
                  <a:lnTo>
                    <a:pt x="2446" y="9656"/>
                  </a:lnTo>
                  <a:lnTo>
                    <a:pt x="2490" y="9679"/>
                  </a:lnTo>
                  <a:lnTo>
                    <a:pt x="2532" y="9703"/>
                  </a:lnTo>
                  <a:lnTo>
                    <a:pt x="2573" y="9729"/>
                  </a:lnTo>
                  <a:lnTo>
                    <a:pt x="2612" y="9758"/>
                  </a:lnTo>
                  <a:lnTo>
                    <a:pt x="2650" y="9787"/>
                  </a:lnTo>
                  <a:lnTo>
                    <a:pt x="2686" y="9819"/>
                  </a:lnTo>
                  <a:lnTo>
                    <a:pt x="2721" y="9852"/>
                  </a:lnTo>
                  <a:lnTo>
                    <a:pt x="2754" y="9886"/>
                  </a:lnTo>
                  <a:lnTo>
                    <a:pt x="2785" y="9924"/>
                  </a:lnTo>
                  <a:lnTo>
                    <a:pt x="2816" y="9961"/>
                  </a:lnTo>
                  <a:lnTo>
                    <a:pt x="2844" y="10000"/>
                  </a:lnTo>
                  <a:lnTo>
                    <a:pt x="2870" y="10041"/>
                  </a:lnTo>
                  <a:lnTo>
                    <a:pt x="2894" y="10084"/>
                  </a:lnTo>
                  <a:lnTo>
                    <a:pt x="2916" y="10127"/>
                  </a:lnTo>
                  <a:lnTo>
                    <a:pt x="2936" y="10171"/>
                  </a:lnTo>
                  <a:lnTo>
                    <a:pt x="2953" y="10216"/>
                  </a:lnTo>
                  <a:lnTo>
                    <a:pt x="2970" y="10264"/>
                  </a:lnTo>
                  <a:lnTo>
                    <a:pt x="2984" y="10311"/>
                  </a:lnTo>
                  <a:lnTo>
                    <a:pt x="2995" y="10360"/>
                  </a:lnTo>
                  <a:lnTo>
                    <a:pt x="3003" y="10409"/>
                  </a:lnTo>
                  <a:lnTo>
                    <a:pt x="3010" y="10460"/>
                  </a:lnTo>
                  <a:lnTo>
                    <a:pt x="3014" y="10510"/>
                  </a:lnTo>
                  <a:lnTo>
                    <a:pt x="3015" y="10562"/>
                  </a:lnTo>
                  <a:lnTo>
                    <a:pt x="3015" y="15089"/>
                  </a:lnTo>
                  <a:lnTo>
                    <a:pt x="3016" y="15140"/>
                  </a:lnTo>
                  <a:lnTo>
                    <a:pt x="3020" y="15192"/>
                  </a:lnTo>
                  <a:lnTo>
                    <a:pt x="3026" y="15242"/>
                  </a:lnTo>
                  <a:lnTo>
                    <a:pt x="3035" y="15292"/>
                  </a:lnTo>
                  <a:lnTo>
                    <a:pt x="3046" y="15341"/>
                  </a:lnTo>
                  <a:lnTo>
                    <a:pt x="3060" y="15388"/>
                  </a:lnTo>
                  <a:lnTo>
                    <a:pt x="3076" y="15435"/>
                  </a:lnTo>
                  <a:lnTo>
                    <a:pt x="3094" y="15480"/>
                  </a:lnTo>
                  <a:lnTo>
                    <a:pt x="3114" y="15526"/>
                  </a:lnTo>
                  <a:lnTo>
                    <a:pt x="3137" y="15569"/>
                  </a:lnTo>
                  <a:lnTo>
                    <a:pt x="3161" y="15611"/>
                  </a:lnTo>
                  <a:lnTo>
                    <a:pt x="3187" y="15651"/>
                  </a:lnTo>
                  <a:lnTo>
                    <a:pt x="3215" y="15691"/>
                  </a:lnTo>
                  <a:lnTo>
                    <a:pt x="3245" y="15729"/>
                  </a:lnTo>
                  <a:lnTo>
                    <a:pt x="3276" y="15765"/>
                  </a:lnTo>
                  <a:lnTo>
                    <a:pt x="3310" y="15800"/>
                  </a:lnTo>
                  <a:lnTo>
                    <a:pt x="3345" y="15833"/>
                  </a:lnTo>
                  <a:lnTo>
                    <a:pt x="3381" y="15866"/>
                  </a:lnTo>
                  <a:lnTo>
                    <a:pt x="3419" y="15895"/>
                  </a:lnTo>
                  <a:lnTo>
                    <a:pt x="3458" y="15923"/>
                  </a:lnTo>
                  <a:lnTo>
                    <a:pt x="3500" y="15949"/>
                  </a:lnTo>
                  <a:lnTo>
                    <a:pt x="3542" y="15973"/>
                  </a:lnTo>
                  <a:lnTo>
                    <a:pt x="3585" y="15995"/>
                  </a:lnTo>
                  <a:lnTo>
                    <a:pt x="3629" y="16016"/>
                  </a:lnTo>
                  <a:lnTo>
                    <a:pt x="3675" y="16034"/>
                  </a:lnTo>
                  <a:lnTo>
                    <a:pt x="3722" y="16050"/>
                  </a:lnTo>
                  <a:lnTo>
                    <a:pt x="3769" y="16064"/>
                  </a:lnTo>
                  <a:lnTo>
                    <a:pt x="3819" y="16075"/>
                  </a:lnTo>
                  <a:lnTo>
                    <a:pt x="3868" y="16083"/>
                  </a:lnTo>
                  <a:lnTo>
                    <a:pt x="3918" y="16090"/>
                  </a:lnTo>
                  <a:lnTo>
                    <a:pt x="3969" y="16094"/>
                  </a:lnTo>
                  <a:lnTo>
                    <a:pt x="4021" y="16095"/>
                  </a:lnTo>
                  <a:lnTo>
                    <a:pt x="6033" y="16095"/>
                  </a:lnTo>
                  <a:lnTo>
                    <a:pt x="6085" y="16094"/>
                  </a:lnTo>
                  <a:lnTo>
                    <a:pt x="6135" y="16090"/>
                  </a:lnTo>
                  <a:lnTo>
                    <a:pt x="6186" y="16083"/>
                  </a:lnTo>
                  <a:lnTo>
                    <a:pt x="6236" y="16075"/>
                  </a:lnTo>
                  <a:lnTo>
                    <a:pt x="6284" y="16064"/>
                  </a:lnTo>
                  <a:lnTo>
                    <a:pt x="6332" y="16050"/>
                  </a:lnTo>
                  <a:lnTo>
                    <a:pt x="6379" y="16034"/>
                  </a:lnTo>
                  <a:lnTo>
                    <a:pt x="6425" y="16016"/>
                  </a:lnTo>
                  <a:lnTo>
                    <a:pt x="6469" y="15995"/>
                  </a:lnTo>
                  <a:lnTo>
                    <a:pt x="6512" y="15973"/>
                  </a:lnTo>
                  <a:lnTo>
                    <a:pt x="6555" y="15949"/>
                  </a:lnTo>
                  <a:lnTo>
                    <a:pt x="6595" y="15923"/>
                  </a:lnTo>
                  <a:lnTo>
                    <a:pt x="6635" y="15895"/>
                  </a:lnTo>
                  <a:lnTo>
                    <a:pt x="6672" y="15866"/>
                  </a:lnTo>
                  <a:lnTo>
                    <a:pt x="6710" y="15833"/>
                  </a:lnTo>
                  <a:lnTo>
                    <a:pt x="6744" y="15800"/>
                  </a:lnTo>
                  <a:lnTo>
                    <a:pt x="6778" y="15765"/>
                  </a:lnTo>
                  <a:lnTo>
                    <a:pt x="6809" y="15729"/>
                  </a:lnTo>
                  <a:lnTo>
                    <a:pt x="6839" y="15691"/>
                  </a:lnTo>
                  <a:lnTo>
                    <a:pt x="6867" y="15651"/>
                  </a:lnTo>
                  <a:lnTo>
                    <a:pt x="6893" y="15611"/>
                  </a:lnTo>
                  <a:lnTo>
                    <a:pt x="6917" y="15569"/>
                  </a:lnTo>
                  <a:lnTo>
                    <a:pt x="6940" y="15526"/>
                  </a:lnTo>
                  <a:lnTo>
                    <a:pt x="6960" y="15480"/>
                  </a:lnTo>
                  <a:lnTo>
                    <a:pt x="6977" y="15435"/>
                  </a:lnTo>
                  <a:lnTo>
                    <a:pt x="6993" y="15388"/>
                  </a:lnTo>
                  <a:lnTo>
                    <a:pt x="7007" y="15341"/>
                  </a:lnTo>
                  <a:lnTo>
                    <a:pt x="7018" y="15292"/>
                  </a:lnTo>
                  <a:lnTo>
                    <a:pt x="7027" y="15242"/>
                  </a:lnTo>
                  <a:lnTo>
                    <a:pt x="7034" y="15192"/>
                  </a:lnTo>
                  <a:lnTo>
                    <a:pt x="7038" y="15140"/>
                  </a:lnTo>
                  <a:lnTo>
                    <a:pt x="7039" y="15089"/>
                  </a:lnTo>
                  <a:lnTo>
                    <a:pt x="7039" y="14586"/>
                  </a:lnTo>
                  <a:lnTo>
                    <a:pt x="7038" y="14540"/>
                  </a:lnTo>
                  <a:lnTo>
                    <a:pt x="7033" y="14495"/>
                  </a:lnTo>
                  <a:lnTo>
                    <a:pt x="7026" y="14451"/>
                  </a:lnTo>
                  <a:lnTo>
                    <a:pt x="7017" y="14410"/>
                  </a:lnTo>
                  <a:lnTo>
                    <a:pt x="7005" y="14370"/>
                  </a:lnTo>
                  <a:lnTo>
                    <a:pt x="6992" y="14331"/>
                  </a:lnTo>
                  <a:lnTo>
                    <a:pt x="6977" y="14292"/>
                  </a:lnTo>
                  <a:lnTo>
                    <a:pt x="6960" y="14256"/>
                  </a:lnTo>
                  <a:lnTo>
                    <a:pt x="6942" y="14220"/>
                  </a:lnTo>
                  <a:lnTo>
                    <a:pt x="6922" y="14186"/>
                  </a:lnTo>
                  <a:lnTo>
                    <a:pt x="6901" y="14153"/>
                  </a:lnTo>
                  <a:lnTo>
                    <a:pt x="6880" y="14120"/>
                  </a:lnTo>
                  <a:lnTo>
                    <a:pt x="6857" y="14088"/>
                  </a:lnTo>
                  <a:lnTo>
                    <a:pt x="6834" y="14058"/>
                  </a:lnTo>
                  <a:lnTo>
                    <a:pt x="6810" y="14028"/>
                  </a:lnTo>
                  <a:lnTo>
                    <a:pt x="6787" y="13999"/>
                  </a:lnTo>
                  <a:lnTo>
                    <a:pt x="6740" y="13942"/>
                  </a:lnTo>
                  <a:lnTo>
                    <a:pt x="6695" y="13888"/>
                  </a:lnTo>
                  <a:lnTo>
                    <a:pt x="6673" y="13862"/>
                  </a:lnTo>
                  <a:lnTo>
                    <a:pt x="6652" y="13836"/>
                  </a:lnTo>
                  <a:lnTo>
                    <a:pt x="6632" y="13810"/>
                  </a:lnTo>
                  <a:lnTo>
                    <a:pt x="6614" y="13784"/>
                  </a:lnTo>
                  <a:lnTo>
                    <a:pt x="6597" y="13758"/>
                  </a:lnTo>
                  <a:lnTo>
                    <a:pt x="6582" y="13733"/>
                  </a:lnTo>
                  <a:lnTo>
                    <a:pt x="6569" y="13708"/>
                  </a:lnTo>
                  <a:lnTo>
                    <a:pt x="6558" y="13683"/>
                  </a:lnTo>
                  <a:lnTo>
                    <a:pt x="6548" y="13658"/>
                  </a:lnTo>
                  <a:lnTo>
                    <a:pt x="6542" y="13631"/>
                  </a:lnTo>
                  <a:lnTo>
                    <a:pt x="6537" y="13606"/>
                  </a:lnTo>
                  <a:lnTo>
                    <a:pt x="6536" y="13580"/>
                  </a:lnTo>
                  <a:lnTo>
                    <a:pt x="6536" y="10059"/>
                  </a:lnTo>
                  <a:lnTo>
                    <a:pt x="6537" y="10051"/>
                  </a:lnTo>
                  <a:lnTo>
                    <a:pt x="6540" y="10043"/>
                  </a:lnTo>
                  <a:lnTo>
                    <a:pt x="6543" y="10036"/>
                  </a:lnTo>
                  <a:lnTo>
                    <a:pt x="6545" y="10028"/>
                  </a:lnTo>
                  <a:lnTo>
                    <a:pt x="6547" y="10001"/>
                  </a:lnTo>
                  <a:lnTo>
                    <a:pt x="6551" y="9975"/>
                  </a:lnTo>
                  <a:lnTo>
                    <a:pt x="6556" y="9950"/>
                  </a:lnTo>
                  <a:lnTo>
                    <a:pt x="6563" y="9925"/>
                  </a:lnTo>
                  <a:lnTo>
                    <a:pt x="6571" y="9899"/>
                  </a:lnTo>
                  <a:lnTo>
                    <a:pt x="6580" y="9875"/>
                  </a:lnTo>
                  <a:lnTo>
                    <a:pt x="6590" y="9852"/>
                  </a:lnTo>
                  <a:lnTo>
                    <a:pt x="6601" y="9829"/>
                  </a:lnTo>
                  <a:lnTo>
                    <a:pt x="6608" y="9818"/>
                  </a:lnTo>
                  <a:lnTo>
                    <a:pt x="6615" y="9807"/>
                  </a:lnTo>
                  <a:lnTo>
                    <a:pt x="6623" y="9796"/>
                  </a:lnTo>
                  <a:lnTo>
                    <a:pt x="6631" y="9785"/>
                  </a:lnTo>
                  <a:lnTo>
                    <a:pt x="6646" y="9764"/>
                  </a:lnTo>
                  <a:lnTo>
                    <a:pt x="6663" y="9743"/>
                  </a:lnTo>
                  <a:lnTo>
                    <a:pt x="6680" y="9722"/>
                  </a:lnTo>
                  <a:lnTo>
                    <a:pt x="6699" y="9703"/>
                  </a:lnTo>
                  <a:lnTo>
                    <a:pt x="6719" y="9685"/>
                  </a:lnTo>
                  <a:lnTo>
                    <a:pt x="6739" y="9669"/>
                  </a:lnTo>
                  <a:lnTo>
                    <a:pt x="6760" y="9653"/>
                  </a:lnTo>
                  <a:lnTo>
                    <a:pt x="6783" y="9638"/>
                  </a:lnTo>
                  <a:lnTo>
                    <a:pt x="6787" y="9634"/>
                  </a:lnTo>
                  <a:lnTo>
                    <a:pt x="6790" y="9631"/>
                  </a:lnTo>
                  <a:lnTo>
                    <a:pt x="6793" y="9630"/>
                  </a:lnTo>
                  <a:lnTo>
                    <a:pt x="6796" y="9629"/>
                  </a:lnTo>
                  <a:lnTo>
                    <a:pt x="6811" y="9622"/>
                  </a:lnTo>
                  <a:lnTo>
                    <a:pt x="6827" y="9615"/>
                  </a:lnTo>
                  <a:lnTo>
                    <a:pt x="6844" y="9610"/>
                  </a:lnTo>
                  <a:lnTo>
                    <a:pt x="6860" y="9606"/>
                  </a:lnTo>
                  <a:lnTo>
                    <a:pt x="6895" y="9598"/>
                  </a:lnTo>
                  <a:lnTo>
                    <a:pt x="6929" y="9589"/>
                  </a:lnTo>
                  <a:lnTo>
                    <a:pt x="7048" y="9604"/>
                  </a:lnTo>
                  <a:lnTo>
                    <a:pt x="7166" y="9624"/>
                  </a:lnTo>
                  <a:lnTo>
                    <a:pt x="7283" y="9650"/>
                  </a:lnTo>
                  <a:lnTo>
                    <a:pt x="7400" y="9680"/>
                  </a:lnTo>
                  <a:lnTo>
                    <a:pt x="7514" y="9715"/>
                  </a:lnTo>
                  <a:lnTo>
                    <a:pt x="7629" y="9756"/>
                  </a:lnTo>
                  <a:lnTo>
                    <a:pt x="7743" y="9801"/>
                  </a:lnTo>
                  <a:lnTo>
                    <a:pt x="7855" y="9851"/>
                  </a:lnTo>
                  <a:lnTo>
                    <a:pt x="7967" y="9905"/>
                  </a:lnTo>
                  <a:lnTo>
                    <a:pt x="8077" y="9964"/>
                  </a:lnTo>
                  <a:lnTo>
                    <a:pt x="8186" y="10028"/>
                  </a:lnTo>
                  <a:lnTo>
                    <a:pt x="8294" y="10096"/>
                  </a:lnTo>
                  <a:lnTo>
                    <a:pt x="8401" y="10169"/>
                  </a:lnTo>
                  <a:lnTo>
                    <a:pt x="8506" y="10245"/>
                  </a:lnTo>
                  <a:lnTo>
                    <a:pt x="8611" y="10327"/>
                  </a:lnTo>
                  <a:lnTo>
                    <a:pt x="8713" y="10411"/>
                  </a:lnTo>
                  <a:lnTo>
                    <a:pt x="8815" y="10501"/>
                  </a:lnTo>
                  <a:lnTo>
                    <a:pt x="8915" y="10595"/>
                  </a:lnTo>
                  <a:lnTo>
                    <a:pt x="9013" y="10692"/>
                  </a:lnTo>
                  <a:lnTo>
                    <a:pt x="9110" y="10794"/>
                  </a:lnTo>
                  <a:lnTo>
                    <a:pt x="9205" y="10898"/>
                  </a:lnTo>
                  <a:lnTo>
                    <a:pt x="9299" y="11008"/>
                  </a:lnTo>
                  <a:lnTo>
                    <a:pt x="9391" y="11121"/>
                  </a:lnTo>
                  <a:lnTo>
                    <a:pt x="9481" y="11237"/>
                  </a:lnTo>
                  <a:lnTo>
                    <a:pt x="9570" y="11357"/>
                  </a:lnTo>
                  <a:lnTo>
                    <a:pt x="9657" y="11481"/>
                  </a:lnTo>
                  <a:lnTo>
                    <a:pt x="9741" y="11608"/>
                  </a:lnTo>
                  <a:lnTo>
                    <a:pt x="9825" y="11737"/>
                  </a:lnTo>
                  <a:lnTo>
                    <a:pt x="9905" y="11871"/>
                  </a:lnTo>
                  <a:lnTo>
                    <a:pt x="9985" y="12008"/>
                  </a:lnTo>
                  <a:lnTo>
                    <a:pt x="10061" y="12149"/>
                  </a:lnTo>
                  <a:lnTo>
                    <a:pt x="10137" y="12292"/>
                  </a:lnTo>
                  <a:lnTo>
                    <a:pt x="10150" y="12286"/>
                  </a:lnTo>
                  <a:lnTo>
                    <a:pt x="10205" y="12386"/>
                  </a:lnTo>
                  <a:lnTo>
                    <a:pt x="10262" y="12486"/>
                  </a:lnTo>
                  <a:lnTo>
                    <a:pt x="10320" y="12581"/>
                  </a:lnTo>
                  <a:lnTo>
                    <a:pt x="10379" y="12676"/>
                  </a:lnTo>
                  <a:lnTo>
                    <a:pt x="10440" y="12767"/>
                  </a:lnTo>
                  <a:lnTo>
                    <a:pt x="10502" y="12856"/>
                  </a:lnTo>
                  <a:lnTo>
                    <a:pt x="10565" y="12942"/>
                  </a:lnTo>
                  <a:lnTo>
                    <a:pt x="10630" y="13026"/>
                  </a:lnTo>
                  <a:lnTo>
                    <a:pt x="10696" y="13107"/>
                  </a:lnTo>
                  <a:lnTo>
                    <a:pt x="10763" y="13186"/>
                  </a:lnTo>
                  <a:lnTo>
                    <a:pt x="10832" y="13261"/>
                  </a:lnTo>
                  <a:lnTo>
                    <a:pt x="10901" y="13334"/>
                  </a:lnTo>
                  <a:lnTo>
                    <a:pt x="10973" y="13403"/>
                  </a:lnTo>
                  <a:lnTo>
                    <a:pt x="11045" y="13470"/>
                  </a:lnTo>
                  <a:lnTo>
                    <a:pt x="11119" y="13533"/>
                  </a:lnTo>
                  <a:lnTo>
                    <a:pt x="11194" y="13593"/>
                  </a:lnTo>
                  <a:lnTo>
                    <a:pt x="11271" y="13651"/>
                  </a:lnTo>
                  <a:lnTo>
                    <a:pt x="11348" y="13704"/>
                  </a:lnTo>
                  <a:lnTo>
                    <a:pt x="11427" y="13755"/>
                  </a:lnTo>
                  <a:lnTo>
                    <a:pt x="11508" y="13801"/>
                  </a:lnTo>
                  <a:lnTo>
                    <a:pt x="11589" y="13846"/>
                  </a:lnTo>
                  <a:lnTo>
                    <a:pt x="11672" y="13886"/>
                  </a:lnTo>
                  <a:lnTo>
                    <a:pt x="11756" y="13922"/>
                  </a:lnTo>
                  <a:lnTo>
                    <a:pt x="11842" y="13955"/>
                  </a:lnTo>
                  <a:lnTo>
                    <a:pt x="11929" y="13986"/>
                  </a:lnTo>
                  <a:lnTo>
                    <a:pt x="12017" y="14011"/>
                  </a:lnTo>
                  <a:lnTo>
                    <a:pt x="12106" y="14033"/>
                  </a:lnTo>
                  <a:lnTo>
                    <a:pt x="12198" y="14051"/>
                  </a:lnTo>
                  <a:lnTo>
                    <a:pt x="12290" y="14065"/>
                  </a:lnTo>
                  <a:lnTo>
                    <a:pt x="12383" y="14075"/>
                  </a:lnTo>
                  <a:lnTo>
                    <a:pt x="12478" y="14081"/>
                  </a:lnTo>
                  <a:lnTo>
                    <a:pt x="12574" y="14083"/>
                  </a:lnTo>
                  <a:lnTo>
                    <a:pt x="12787" y="14073"/>
                  </a:lnTo>
                  <a:lnTo>
                    <a:pt x="12995" y="14043"/>
                  </a:lnTo>
                  <a:lnTo>
                    <a:pt x="13195" y="13993"/>
                  </a:lnTo>
                  <a:lnTo>
                    <a:pt x="13389" y="13924"/>
                  </a:lnTo>
                  <a:lnTo>
                    <a:pt x="13576" y="13838"/>
                  </a:lnTo>
                  <a:lnTo>
                    <a:pt x="13757" y="13733"/>
                  </a:lnTo>
                  <a:lnTo>
                    <a:pt x="13932" y="13612"/>
                  </a:lnTo>
                  <a:lnTo>
                    <a:pt x="14099" y="13475"/>
                  </a:lnTo>
                  <a:lnTo>
                    <a:pt x="14260" y="13323"/>
                  </a:lnTo>
                  <a:lnTo>
                    <a:pt x="14415" y="13155"/>
                  </a:lnTo>
                  <a:lnTo>
                    <a:pt x="14563" y="12973"/>
                  </a:lnTo>
                  <a:lnTo>
                    <a:pt x="14704" y="12777"/>
                  </a:lnTo>
                  <a:lnTo>
                    <a:pt x="14839" y="12569"/>
                  </a:lnTo>
                  <a:lnTo>
                    <a:pt x="14966" y="12349"/>
                  </a:lnTo>
                  <a:lnTo>
                    <a:pt x="15087" y="12118"/>
                  </a:lnTo>
                  <a:lnTo>
                    <a:pt x="15202" y="11874"/>
                  </a:lnTo>
                  <a:lnTo>
                    <a:pt x="15309" y="11622"/>
                  </a:lnTo>
                  <a:lnTo>
                    <a:pt x="15410" y="11359"/>
                  </a:lnTo>
                  <a:lnTo>
                    <a:pt x="15504" y="11087"/>
                  </a:lnTo>
                  <a:lnTo>
                    <a:pt x="15590" y="10807"/>
                  </a:lnTo>
                  <a:lnTo>
                    <a:pt x="15670" y="10520"/>
                  </a:lnTo>
                  <a:lnTo>
                    <a:pt x="15744" y="10225"/>
                  </a:lnTo>
                  <a:lnTo>
                    <a:pt x="15810" y="9925"/>
                  </a:lnTo>
                  <a:lnTo>
                    <a:pt x="15870" y="9618"/>
                  </a:lnTo>
                  <a:lnTo>
                    <a:pt x="15923" y="9307"/>
                  </a:lnTo>
                  <a:lnTo>
                    <a:pt x="15968" y="8991"/>
                  </a:lnTo>
                  <a:lnTo>
                    <a:pt x="16006" y="8671"/>
                  </a:lnTo>
                  <a:lnTo>
                    <a:pt x="16039" y="8349"/>
                  </a:lnTo>
                  <a:lnTo>
                    <a:pt x="16063" y="8024"/>
                  </a:lnTo>
                  <a:lnTo>
                    <a:pt x="16081" y="7697"/>
                  </a:lnTo>
                  <a:lnTo>
                    <a:pt x="16091" y="7369"/>
                  </a:lnTo>
                  <a:lnTo>
                    <a:pt x="16095" y="7042"/>
                  </a:lnTo>
                  <a:lnTo>
                    <a:pt x="16091" y="6714"/>
                  </a:lnTo>
                  <a:lnTo>
                    <a:pt x="16081" y="6386"/>
                  </a:lnTo>
                  <a:lnTo>
                    <a:pt x="16063" y="6060"/>
                  </a:lnTo>
                  <a:lnTo>
                    <a:pt x="16039" y="5735"/>
                  </a:lnTo>
                  <a:lnTo>
                    <a:pt x="16006" y="5412"/>
                  </a:lnTo>
                  <a:lnTo>
                    <a:pt x="15968" y="5092"/>
                  </a:lnTo>
                  <a:lnTo>
                    <a:pt x="15923" y="4776"/>
                  </a:lnTo>
                  <a:lnTo>
                    <a:pt x="15870" y="4465"/>
                  </a:lnTo>
                  <a:lnTo>
                    <a:pt x="15810" y="4159"/>
                  </a:lnTo>
                  <a:lnTo>
                    <a:pt x="15744" y="3858"/>
                  </a:lnTo>
                  <a:lnTo>
                    <a:pt x="15670" y="3563"/>
                  </a:lnTo>
                  <a:lnTo>
                    <a:pt x="15590" y="3276"/>
                  </a:lnTo>
                  <a:lnTo>
                    <a:pt x="15504" y="2996"/>
                  </a:lnTo>
                  <a:lnTo>
                    <a:pt x="15410" y="2724"/>
                  </a:lnTo>
                  <a:lnTo>
                    <a:pt x="15309" y="2462"/>
                  </a:lnTo>
                  <a:lnTo>
                    <a:pt x="15202" y="2209"/>
                  </a:lnTo>
                  <a:lnTo>
                    <a:pt x="15087" y="1966"/>
                  </a:lnTo>
                  <a:lnTo>
                    <a:pt x="14966" y="1734"/>
                  </a:lnTo>
                  <a:lnTo>
                    <a:pt x="14839" y="1514"/>
                  </a:lnTo>
                  <a:lnTo>
                    <a:pt x="14704" y="1306"/>
                  </a:lnTo>
                  <a:lnTo>
                    <a:pt x="14563" y="1111"/>
                  </a:lnTo>
                  <a:lnTo>
                    <a:pt x="14415" y="928"/>
                  </a:lnTo>
                  <a:lnTo>
                    <a:pt x="14260" y="760"/>
                  </a:lnTo>
                  <a:lnTo>
                    <a:pt x="14099" y="609"/>
                  </a:lnTo>
                  <a:lnTo>
                    <a:pt x="13932" y="471"/>
                  </a:lnTo>
                  <a:lnTo>
                    <a:pt x="13757" y="350"/>
                  </a:lnTo>
                  <a:lnTo>
                    <a:pt x="13576" y="245"/>
                  </a:lnTo>
                  <a:lnTo>
                    <a:pt x="13389" y="159"/>
                  </a:lnTo>
                  <a:lnTo>
                    <a:pt x="13195" y="91"/>
                  </a:lnTo>
                  <a:lnTo>
                    <a:pt x="12995" y="40"/>
                  </a:lnTo>
                  <a:lnTo>
                    <a:pt x="12787" y="10"/>
                  </a:lnTo>
                  <a:lnTo>
                    <a:pt x="1257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68" name="ïśľïďe">
              <a:extLst>
                <a:ext uri="{FF2B5EF4-FFF2-40B4-BE49-F238E27FC236}">
                  <a16:creationId xmlns:a16="http://schemas.microsoft.com/office/drawing/2014/main" id="{5E23DDD7-4C62-4977-A48B-D3275560B8AE}"/>
                </a:ext>
              </a:extLst>
            </p:cNvPr>
            <p:cNvSpPr/>
            <p:nvPr/>
          </p:nvSpPr>
          <p:spPr bwMode="auto">
            <a:xfrm>
              <a:off x="4821735" y="438465"/>
              <a:ext cx="231062" cy="231062"/>
            </a:xfrm>
            <a:custGeom>
              <a:avLst/>
              <a:gdLst>
                <a:gd name="T0" fmla="*/ 15044 w 16095"/>
                <a:gd name="T1" fmla="*/ 14382 h 16095"/>
                <a:gd name="T2" fmla="*/ 14889 w 16095"/>
                <a:gd name="T3" fmla="*/ 14685 h 16095"/>
                <a:gd name="T4" fmla="*/ 14645 w 16095"/>
                <a:gd name="T5" fmla="*/ 14917 h 16095"/>
                <a:gd name="T6" fmla="*/ 14335 w 16095"/>
                <a:gd name="T7" fmla="*/ 15057 h 16095"/>
                <a:gd name="T8" fmla="*/ 1961 w 16095"/>
                <a:gd name="T9" fmla="*/ 15088 h 16095"/>
                <a:gd name="T10" fmla="*/ 1621 w 16095"/>
                <a:gd name="T11" fmla="*/ 15010 h 16095"/>
                <a:gd name="T12" fmla="*/ 1336 w 16095"/>
                <a:gd name="T13" fmla="*/ 14828 h 16095"/>
                <a:gd name="T14" fmla="*/ 1128 w 16095"/>
                <a:gd name="T15" fmla="*/ 14562 h 16095"/>
                <a:gd name="T16" fmla="*/ 1017 w 16095"/>
                <a:gd name="T17" fmla="*/ 14236 h 16095"/>
                <a:gd name="T18" fmla="*/ 1012 w 16095"/>
                <a:gd name="T19" fmla="*/ 3947 h 16095"/>
                <a:gd name="T20" fmla="*/ 1066 w 16095"/>
                <a:gd name="T21" fmla="*/ 3784 h 16095"/>
                <a:gd name="T22" fmla="*/ 1171 w 16095"/>
                <a:gd name="T23" fmla="*/ 3652 h 16095"/>
                <a:gd name="T24" fmla="*/ 1313 w 16095"/>
                <a:gd name="T25" fmla="*/ 3560 h 16095"/>
                <a:gd name="T26" fmla="*/ 1483 w 16095"/>
                <a:gd name="T27" fmla="*/ 3522 h 16095"/>
                <a:gd name="T28" fmla="*/ 2022 w 16095"/>
                <a:gd name="T29" fmla="*/ 13682 h 16095"/>
                <a:gd name="T30" fmla="*/ 2084 w 16095"/>
                <a:gd name="T31" fmla="*/ 13841 h 16095"/>
                <a:gd name="T32" fmla="*/ 2195 w 16095"/>
                <a:gd name="T33" fmla="*/ 13968 h 16095"/>
                <a:gd name="T34" fmla="*/ 2342 w 16095"/>
                <a:gd name="T35" fmla="*/ 14053 h 16095"/>
                <a:gd name="T36" fmla="*/ 2515 w 16095"/>
                <a:gd name="T37" fmla="*/ 14083 h 16095"/>
                <a:gd name="T38" fmla="*/ 2688 w 16095"/>
                <a:gd name="T39" fmla="*/ 14053 h 16095"/>
                <a:gd name="T40" fmla="*/ 2835 w 16095"/>
                <a:gd name="T41" fmla="*/ 13968 h 16095"/>
                <a:gd name="T42" fmla="*/ 2945 w 16095"/>
                <a:gd name="T43" fmla="*/ 13841 h 16095"/>
                <a:gd name="T44" fmla="*/ 3008 w 16095"/>
                <a:gd name="T45" fmla="*/ 13682 h 16095"/>
                <a:gd name="T46" fmla="*/ 3021 w 16095"/>
                <a:gd name="T47" fmla="*/ 1458 h 16095"/>
                <a:gd name="T48" fmla="*/ 3067 w 16095"/>
                <a:gd name="T49" fmla="*/ 1291 h 16095"/>
                <a:gd name="T50" fmla="*/ 3166 w 16095"/>
                <a:gd name="T51" fmla="*/ 1154 h 16095"/>
                <a:gd name="T52" fmla="*/ 3302 w 16095"/>
                <a:gd name="T53" fmla="*/ 1055 h 16095"/>
                <a:gd name="T54" fmla="*/ 3469 w 16095"/>
                <a:gd name="T55" fmla="*/ 1009 h 16095"/>
                <a:gd name="T56" fmla="*/ 14688 w 16095"/>
                <a:gd name="T57" fmla="*/ 1016 h 16095"/>
                <a:gd name="T58" fmla="*/ 14847 w 16095"/>
                <a:gd name="T59" fmla="*/ 1079 h 16095"/>
                <a:gd name="T60" fmla="*/ 14974 w 16095"/>
                <a:gd name="T61" fmla="*/ 1189 h 16095"/>
                <a:gd name="T62" fmla="*/ 15059 w 16095"/>
                <a:gd name="T63" fmla="*/ 1336 h 16095"/>
                <a:gd name="T64" fmla="*/ 15089 w 16095"/>
                <a:gd name="T65" fmla="*/ 1509 h 16095"/>
                <a:gd name="T66" fmla="*/ 3217 w 16095"/>
                <a:gd name="T67" fmla="*/ 30 h 16095"/>
                <a:gd name="T68" fmla="*/ 2738 w 16095"/>
                <a:gd name="T69" fmla="*/ 218 h 16095"/>
                <a:gd name="T70" fmla="*/ 2356 w 16095"/>
                <a:gd name="T71" fmla="*/ 549 h 16095"/>
                <a:gd name="T72" fmla="*/ 2103 w 16095"/>
                <a:gd name="T73" fmla="*/ 990 h 16095"/>
                <a:gd name="T74" fmla="*/ 2012 w 16095"/>
                <a:gd name="T75" fmla="*/ 1509 h 16095"/>
                <a:gd name="T76" fmla="*/ 1132 w 16095"/>
                <a:gd name="T77" fmla="*/ 2562 h 16095"/>
                <a:gd name="T78" fmla="*/ 665 w 16095"/>
                <a:gd name="T79" fmla="*/ 2772 h 16095"/>
                <a:gd name="T80" fmla="*/ 300 w 16095"/>
                <a:gd name="T81" fmla="*/ 3120 h 16095"/>
                <a:gd name="T82" fmla="*/ 67 w 16095"/>
                <a:gd name="T83" fmla="*/ 3575 h 16095"/>
                <a:gd name="T84" fmla="*/ 0 w 16095"/>
                <a:gd name="T85" fmla="*/ 14083 h 16095"/>
                <a:gd name="T86" fmla="*/ 122 w 16095"/>
                <a:gd name="T87" fmla="*/ 14775 h 16095"/>
                <a:gd name="T88" fmla="*/ 460 w 16095"/>
                <a:gd name="T89" fmla="*/ 15363 h 16095"/>
                <a:gd name="T90" fmla="*/ 969 w 16095"/>
                <a:gd name="T91" fmla="*/ 15803 h 16095"/>
                <a:gd name="T92" fmla="*/ 1606 w 16095"/>
                <a:gd name="T93" fmla="*/ 16054 h 16095"/>
                <a:gd name="T94" fmla="*/ 14289 w 16095"/>
                <a:gd name="T95" fmla="*/ 16085 h 16095"/>
                <a:gd name="T96" fmla="*/ 14955 w 16095"/>
                <a:gd name="T97" fmla="*/ 15897 h 16095"/>
                <a:gd name="T98" fmla="*/ 15506 w 16095"/>
                <a:gd name="T99" fmla="*/ 15506 h 16095"/>
                <a:gd name="T100" fmla="*/ 15897 w 16095"/>
                <a:gd name="T101" fmla="*/ 14955 h 16095"/>
                <a:gd name="T102" fmla="*/ 16085 w 16095"/>
                <a:gd name="T103" fmla="*/ 14289 h 16095"/>
                <a:gd name="T104" fmla="*/ 16065 w 16095"/>
                <a:gd name="T105" fmla="*/ 1204 h 16095"/>
                <a:gd name="T106" fmla="*/ 15877 w 16095"/>
                <a:gd name="T107" fmla="*/ 726 h 16095"/>
                <a:gd name="T108" fmla="*/ 15546 w 16095"/>
                <a:gd name="T109" fmla="*/ 344 h 16095"/>
                <a:gd name="T110" fmla="*/ 15105 w 16095"/>
                <a:gd name="T111" fmla="*/ 92 h 16095"/>
                <a:gd name="T112" fmla="*/ 14586 w 16095"/>
                <a:gd name="T113" fmla="*/ 0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6095">
                  <a:moveTo>
                    <a:pt x="15089" y="14083"/>
                  </a:moveTo>
                  <a:lnTo>
                    <a:pt x="15088" y="14134"/>
                  </a:lnTo>
                  <a:lnTo>
                    <a:pt x="15084" y="14186"/>
                  </a:lnTo>
                  <a:lnTo>
                    <a:pt x="15077" y="14236"/>
                  </a:lnTo>
                  <a:lnTo>
                    <a:pt x="15069" y="14285"/>
                  </a:lnTo>
                  <a:lnTo>
                    <a:pt x="15057" y="14334"/>
                  </a:lnTo>
                  <a:lnTo>
                    <a:pt x="15044" y="14382"/>
                  </a:lnTo>
                  <a:lnTo>
                    <a:pt x="15028" y="14428"/>
                  </a:lnTo>
                  <a:lnTo>
                    <a:pt x="15010" y="14474"/>
                  </a:lnTo>
                  <a:lnTo>
                    <a:pt x="14989" y="14519"/>
                  </a:lnTo>
                  <a:lnTo>
                    <a:pt x="14967" y="14562"/>
                  </a:lnTo>
                  <a:lnTo>
                    <a:pt x="14943" y="14604"/>
                  </a:lnTo>
                  <a:lnTo>
                    <a:pt x="14917" y="14645"/>
                  </a:lnTo>
                  <a:lnTo>
                    <a:pt x="14889" y="14685"/>
                  </a:lnTo>
                  <a:lnTo>
                    <a:pt x="14859" y="14723"/>
                  </a:lnTo>
                  <a:lnTo>
                    <a:pt x="14828" y="14759"/>
                  </a:lnTo>
                  <a:lnTo>
                    <a:pt x="14794" y="14794"/>
                  </a:lnTo>
                  <a:lnTo>
                    <a:pt x="14759" y="14828"/>
                  </a:lnTo>
                  <a:lnTo>
                    <a:pt x="14723" y="14859"/>
                  </a:lnTo>
                  <a:lnTo>
                    <a:pt x="14685" y="14889"/>
                  </a:lnTo>
                  <a:lnTo>
                    <a:pt x="14645" y="14917"/>
                  </a:lnTo>
                  <a:lnTo>
                    <a:pt x="14604" y="14943"/>
                  </a:lnTo>
                  <a:lnTo>
                    <a:pt x="14562" y="14967"/>
                  </a:lnTo>
                  <a:lnTo>
                    <a:pt x="14519" y="14989"/>
                  </a:lnTo>
                  <a:lnTo>
                    <a:pt x="14474" y="15010"/>
                  </a:lnTo>
                  <a:lnTo>
                    <a:pt x="14429" y="15028"/>
                  </a:lnTo>
                  <a:lnTo>
                    <a:pt x="14382" y="15044"/>
                  </a:lnTo>
                  <a:lnTo>
                    <a:pt x="14335" y="15057"/>
                  </a:lnTo>
                  <a:lnTo>
                    <a:pt x="14285" y="15069"/>
                  </a:lnTo>
                  <a:lnTo>
                    <a:pt x="14236" y="15077"/>
                  </a:lnTo>
                  <a:lnTo>
                    <a:pt x="14186" y="15084"/>
                  </a:lnTo>
                  <a:lnTo>
                    <a:pt x="14134" y="15088"/>
                  </a:lnTo>
                  <a:lnTo>
                    <a:pt x="14083" y="15089"/>
                  </a:lnTo>
                  <a:lnTo>
                    <a:pt x="2012" y="15089"/>
                  </a:lnTo>
                  <a:lnTo>
                    <a:pt x="1961" y="15088"/>
                  </a:lnTo>
                  <a:lnTo>
                    <a:pt x="1909" y="15084"/>
                  </a:lnTo>
                  <a:lnTo>
                    <a:pt x="1859" y="15077"/>
                  </a:lnTo>
                  <a:lnTo>
                    <a:pt x="1810" y="15069"/>
                  </a:lnTo>
                  <a:lnTo>
                    <a:pt x="1760" y="15057"/>
                  </a:lnTo>
                  <a:lnTo>
                    <a:pt x="1713" y="15044"/>
                  </a:lnTo>
                  <a:lnTo>
                    <a:pt x="1666" y="15028"/>
                  </a:lnTo>
                  <a:lnTo>
                    <a:pt x="1621" y="15010"/>
                  </a:lnTo>
                  <a:lnTo>
                    <a:pt x="1576" y="14989"/>
                  </a:lnTo>
                  <a:lnTo>
                    <a:pt x="1533" y="14967"/>
                  </a:lnTo>
                  <a:lnTo>
                    <a:pt x="1491" y="14943"/>
                  </a:lnTo>
                  <a:lnTo>
                    <a:pt x="1450" y="14917"/>
                  </a:lnTo>
                  <a:lnTo>
                    <a:pt x="1410" y="14889"/>
                  </a:lnTo>
                  <a:lnTo>
                    <a:pt x="1372" y="14859"/>
                  </a:lnTo>
                  <a:lnTo>
                    <a:pt x="1336" y="14828"/>
                  </a:lnTo>
                  <a:lnTo>
                    <a:pt x="1301" y="14794"/>
                  </a:lnTo>
                  <a:lnTo>
                    <a:pt x="1267" y="14759"/>
                  </a:lnTo>
                  <a:lnTo>
                    <a:pt x="1236" y="14723"/>
                  </a:lnTo>
                  <a:lnTo>
                    <a:pt x="1206" y="14685"/>
                  </a:lnTo>
                  <a:lnTo>
                    <a:pt x="1178" y="14645"/>
                  </a:lnTo>
                  <a:lnTo>
                    <a:pt x="1152" y="14604"/>
                  </a:lnTo>
                  <a:lnTo>
                    <a:pt x="1128" y="14562"/>
                  </a:lnTo>
                  <a:lnTo>
                    <a:pt x="1106" y="14519"/>
                  </a:lnTo>
                  <a:lnTo>
                    <a:pt x="1085" y="14474"/>
                  </a:lnTo>
                  <a:lnTo>
                    <a:pt x="1067" y="14428"/>
                  </a:lnTo>
                  <a:lnTo>
                    <a:pt x="1051" y="14382"/>
                  </a:lnTo>
                  <a:lnTo>
                    <a:pt x="1037" y="14334"/>
                  </a:lnTo>
                  <a:lnTo>
                    <a:pt x="1026" y="14285"/>
                  </a:lnTo>
                  <a:lnTo>
                    <a:pt x="1017" y="14236"/>
                  </a:lnTo>
                  <a:lnTo>
                    <a:pt x="1011" y="14186"/>
                  </a:lnTo>
                  <a:lnTo>
                    <a:pt x="1007" y="14134"/>
                  </a:lnTo>
                  <a:lnTo>
                    <a:pt x="1006" y="14083"/>
                  </a:lnTo>
                  <a:lnTo>
                    <a:pt x="1006" y="4024"/>
                  </a:lnTo>
                  <a:lnTo>
                    <a:pt x="1007" y="3998"/>
                  </a:lnTo>
                  <a:lnTo>
                    <a:pt x="1009" y="3972"/>
                  </a:lnTo>
                  <a:lnTo>
                    <a:pt x="1012" y="3947"/>
                  </a:lnTo>
                  <a:lnTo>
                    <a:pt x="1016" y="3922"/>
                  </a:lnTo>
                  <a:lnTo>
                    <a:pt x="1022" y="3898"/>
                  </a:lnTo>
                  <a:lnTo>
                    <a:pt x="1028" y="3874"/>
                  </a:lnTo>
                  <a:lnTo>
                    <a:pt x="1036" y="3851"/>
                  </a:lnTo>
                  <a:lnTo>
                    <a:pt x="1045" y="3828"/>
                  </a:lnTo>
                  <a:lnTo>
                    <a:pt x="1055" y="3805"/>
                  </a:lnTo>
                  <a:lnTo>
                    <a:pt x="1066" y="3784"/>
                  </a:lnTo>
                  <a:lnTo>
                    <a:pt x="1078" y="3763"/>
                  </a:lnTo>
                  <a:lnTo>
                    <a:pt x="1091" y="3743"/>
                  </a:lnTo>
                  <a:lnTo>
                    <a:pt x="1106" y="3723"/>
                  </a:lnTo>
                  <a:lnTo>
                    <a:pt x="1121" y="3704"/>
                  </a:lnTo>
                  <a:lnTo>
                    <a:pt x="1137" y="3686"/>
                  </a:lnTo>
                  <a:lnTo>
                    <a:pt x="1153" y="3669"/>
                  </a:lnTo>
                  <a:lnTo>
                    <a:pt x="1171" y="3652"/>
                  </a:lnTo>
                  <a:lnTo>
                    <a:pt x="1189" y="3635"/>
                  </a:lnTo>
                  <a:lnTo>
                    <a:pt x="1208" y="3620"/>
                  </a:lnTo>
                  <a:lnTo>
                    <a:pt x="1227" y="3606"/>
                  </a:lnTo>
                  <a:lnTo>
                    <a:pt x="1248" y="3593"/>
                  </a:lnTo>
                  <a:lnTo>
                    <a:pt x="1269" y="3581"/>
                  </a:lnTo>
                  <a:lnTo>
                    <a:pt x="1291" y="3570"/>
                  </a:lnTo>
                  <a:lnTo>
                    <a:pt x="1313" y="3560"/>
                  </a:lnTo>
                  <a:lnTo>
                    <a:pt x="1336" y="3551"/>
                  </a:lnTo>
                  <a:lnTo>
                    <a:pt x="1359" y="3544"/>
                  </a:lnTo>
                  <a:lnTo>
                    <a:pt x="1383" y="3537"/>
                  </a:lnTo>
                  <a:lnTo>
                    <a:pt x="1407" y="3531"/>
                  </a:lnTo>
                  <a:lnTo>
                    <a:pt x="1432" y="3527"/>
                  </a:lnTo>
                  <a:lnTo>
                    <a:pt x="1458" y="3524"/>
                  </a:lnTo>
                  <a:lnTo>
                    <a:pt x="1483" y="3522"/>
                  </a:lnTo>
                  <a:lnTo>
                    <a:pt x="1509" y="3521"/>
                  </a:lnTo>
                  <a:lnTo>
                    <a:pt x="2012" y="3521"/>
                  </a:lnTo>
                  <a:lnTo>
                    <a:pt x="2012" y="13580"/>
                  </a:lnTo>
                  <a:lnTo>
                    <a:pt x="2013" y="13606"/>
                  </a:lnTo>
                  <a:lnTo>
                    <a:pt x="2015" y="13631"/>
                  </a:lnTo>
                  <a:lnTo>
                    <a:pt x="2018" y="13657"/>
                  </a:lnTo>
                  <a:lnTo>
                    <a:pt x="2022" y="13682"/>
                  </a:lnTo>
                  <a:lnTo>
                    <a:pt x="2028" y="13706"/>
                  </a:lnTo>
                  <a:lnTo>
                    <a:pt x="2034" y="13730"/>
                  </a:lnTo>
                  <a:lnTo>
                    <a:pt x="2042" y="13753"/>
                  </a:lnTo>
                  <a:lnTo>
                    <a:pt x="2051" y="13776"/>
                  </a:lnTo>
                  <a:lnTo>
                    <a:pt x="2061" y="13798"/>
                  </a:lnTo>
                  <a:lnTo>
                    <a:pt x="2072" y="13821"/>
                  </a:lnTo>
                  <a:lnTo>
                    <a:pt x="2084" y="13841"/>
                  </a:lnTo>
                  <a:lnTo>
                    <a:pt x="2097" y="13862"/>
                  </a:lnTo>
                  <a:lnTo>
                    <a:pt x="2111" y="13881"/>
                  </a:lnTo>
                  <a:lnTo>
                    <a:pt x="2127" y="13900"/>
                  </a:lnTo>
                  <a:lnTo>
                    <a:pt x="2143" y="13918"/>
                  </a:lnTo>
                  <a:lnTo>
                    <a:pt x="2159" y="13936"/>
                  </a:lnTo>
                  <a:lnTo>
                    <a:pt x="2177" y="13952"/>
                  </a:lnTo>
                  <a:lnTo>
                    <a:pt x="2195" y="13968"/>
                  </a:lnTo>
                  <a:lnTo>
                    <a:pt x="2214" y="13984"/>
                  </a:lnTo>
                  <a:lnTo>
                    <a:pt x="2233" y="13998"/>
                  </a:lnTo>
                  <a:lnTo>
                    <a:pt x="2254" y="14011"/>
                  </a:lnTo>
                  <a:lnTo>
                    <a:pt x="2275" y="14023"/>
                  </a:lnTo>
                  <a:lnTo>
                    <a:pt x="2297" y="14034"/>
                  </a:lnTo>
                  <a:lnTo>
                    <a:pt x="2319" y="14044"/>
                  </a:lnTo>
                  <a:lnTo>
                    <a:pt x="2342" y="14053"/>
                  </a:lnTo>
                  <a:lnTo>
                    <a:pt x="2365" y="14061"/>
                  </a:lnTo>
                  <a:lnTo>
                    <a:pt x="2389" y="14067"/>
                  </a:lnTo>
                  <a:lnTo>
                    <a:pt x="2413" y="14073"/>
                  </a:lnTo>
                  <a:lnTo>
                    <a:pt x="2438" y="14077"/>
                  </a:lnTo>
                  <a:lnTo>
                    <a:pt x="2464" y="14080"/>
                  </a:lnTo>
                  <a:lnTo>
                    <a:pt x="2489" y="14082"/>
                  </a:lnTo>
                  <a:lnTo>
                    <a:pt x="2515" y="14083"/>
                  </a:lnTo>
                  <a:lnTo>
                    <a:pt x="2541" y="14082"/>
                  </a:lnTo>
                  <a:lnTo>
                    <a:pt x="2566" y="14080"/>
                  </a:lnTo>
                  <a:lnTo>
                    <a:pt x="2591" y="14077"/>
                  </a:lnTo>
                  <a:lnTo>
                    <a:pt x="2616" y="14073"/>
                  </a:lnTo>
                  <a:lnTo>
                    <a:pt x="2641" y="14067"/>
                  </a:lnTo>
                  <a:lnTo>
                    <a:pt x="2665" y="14061"/>
                  </a:lnTo>
                  <a:lnTo>
                    <a:pt x="2688" y="14053"/>
                  </a:lnTo>
                  <a:lnTo>
                    <a:pt x="2711" y="14044"/>
                  </a:lnTo>
                  <a:lnTo>
                    <a:pt x="2733" y="14034"/>
                  </a:lnTo>
                  <a:lnTo>
                    <a:pt x="2755" y="14023"/>
                  </a:lnTo>
                  <a:lnTo>
                    <a:pt x="2775" y="14011"/>
                  </a:lnTo>
                  <a:lnTo>
                    <a:pt x="2797" y="13998"/>
                  </a:lnTo>
                  <a:lnTo>
                    <a:pt x="2816" y="13984"/>
                  </a:lnTo>
                  <a:lnTo>
                    <a:pt x="2835" y="13968"/>
                  </a:lnTo>
                  <a:lnTo>
                    <a:pt x="2853" y="13952"/>
                  </a:lnTo>
                  <a:lnTo>
                    <a:pt x="2871" y="13936"/>
                  </a:lnTo>
                  <a:lnTo>
                    <a:pt x="2887" y="13918"/>
                  </a:lnTo>
                  <a:lnTo>
                    <a:pt x="2903" y="13900"/>
                  </a:lnTo>
                  <a:lnTo>
                    <a:pt x="2918" y="13881"/>
                  </a:lnTo>
                  <a:lnTo>
                    <a:pt x="2932" y="13862"/>
                  </a:lnTo>
                  <a:lnTo>
                    <a:pt x="2945" y="13841"/>
                  </a:lnTo>
                  <a:lnTo>
                    <a:pt x="2957" y="13821"/>
                  </a:lnTo>
                  <a:lnTo>
                    <a:pt x="2969" y="13798"/>
                  </a:lnTo>
                  <a:lnTo>
                    <a:pt x="2979" y="13776"/>
                  </a:lnTo>
                  <a:lnTo>
                    <a:pt x="2988" y="13753"/>
                  </a:lnTo>
                  <a:lnTo>
                    <a:pt x="2996" y="13730"/>
                  </a:lnTo>
                  <a:lnTo>
                    <a:pt x="3002" y="13706"/>
                  </a:lnTo>
                  <a:lnTo>
                    <a:pt x="3008" y="13682"/>
                  </a:lnTo>
                  <a:lnTo>
                    <a:pt x="3012" y="13657"/>
                  </a:lnTo>
                  <a:lnTo>
                    <a:pt x="3015" y="13631"/>
                  </a:lnTo>
                  <a:lnTo>
                    <a:pt x="3017" y="13606"/>
                  </a:lnTo>
                  <a:lnTo>
                    <a:pt x="3018" y="13580"/>
                  </a:lnTo>
                  <a:lnTo>
                    <a:pt x="3018" y="1509"/>
                  </a:lnTo>
                  <a:lnTo>
                    <a:pt x="3019" y="1483"/>
                  </a:lnTo>
                  <a:lnTo>
                    <a:pt x="3021" y="1458"/>
                  </a:lnTo>
                  <a:lnTo>
                    <a:pt x="3024" y="1432"/>
                  </a:lnTo>
                  <a:lnTo>
                    <a:pt x="3028" y="1407"/>
                  </a:lnTo>
                  <a:lnTo>
                    <a:pt x="3034" y="1383"/>
                  </a:lnTo>
                  <a:lnTo>
                    <a:pt x="3041" y="1359"/>
                  </a:lnTo>
                  <a:lnTo>
                    <a:pt x="3048" y="1336"/>
                  </a:lnTo>
                  <a:lnTo>
                    <a:pt x="3057" y="1313"/>
                  </a:lnTo>
                  <a:lnTo>
                    <a:pt x="3067" y="1291"/>
                  </a:lnTo>
                  <a:lnTo>
                    <a:pt x="3078" y="1269"/>
                  </a:lnTo>
                  <a:lnTo>
                    <a:pt x="3090" y="1248"/>
                  </a:lnTo>
                  <a:lnTo>
                    <a:pt x="3103" y="1227"/>
                  </a:lnTo>
                  <a:lnTo>
                    <a:pt x="3117" y="1208"/>
                  </a:lnTo>
                  <a:lnTo>
                    <a:pt x="3132" y="1189"/>
                  </a:lnTo>
                  <a:lnTo>
                    <a:pt x="3149" y="1171"/>
                  </a:lnTo>
                  <a:lnTo>
                    <a:pt x="3166" y="1154"/>
                  </a:lnTo>
                  <a:lnTo>
                    <a:pt x="3183" y="1137"/>
                  </a:lnTo>
                  <a:lnTo>
                    <a:pt x="3201" y="1121"/>
                  </a:lnTo>
                  <a:lnTo>
                    <a:pt x="3220" y="1106"/>
                  </a:lnTo>
                  <a:lnTo>
                    <a:pt x="3240" y="1092"/>
                  </a:lnTo>
                  <a:lnTo>
                    <a:pt x="3260" y="1079"/>
                  </a:lnTo>
                  <a:lnTo>
                    <a:pt x="3281" y="1066"/>
                  </a:lnTo>
                  <a:lnTo>
                    <a:pt x="3302" y="1055"/>
                  </a:lnTo>
                  <a:lnTo>
                    <a:pt x="3325" y="1045"/>
                  </a:lnTo>
                  <a:lnTo>
                    <a:pt x="3348" y="1036"/>
                  </a:lnTo>
                  <a:lnTo>
                    <a:pt x="3371" y="1029"/>
                  </a:lnTo>
                  <a:lnTo>
                    <a:pt x="3395" y="1022"/>
                  </a:lnTo>
                  <a:lnTo>
                    <a:pt x="3419" y="1016"/>
                  </a:lnTo>
                  <a:lnTo>
                    <a:pt x="3444" y="1012"/>
                  </a:lnTo>
                  <a:lnTo>
                    <a:pt x="3469" y="1009"/>
                  </a:lnTo>
                  <a:lnTo>
                    <a:pt x="3495" y="1007"/>
                  </a:lnTo>
                  <a:lnTo>
                    <a:pt x="3521" y="1006"/>
                  </a:lnTo>
                  <a:lnTo>
                    <a:pt x="14586" y="1006"/>
                  </a:lnTo>
                  <a:lnTo>
                    <a:pt x="14612" y="1007"/>
                  </a:lnTo>
                  <a:lnTo>
                    <a:pt x="14637" y="1009"/>
                  </a:lnTo>
                  <a:lnTo>
                    <a:pt x="14663" y="1012"/>
                  </a:lnTo>
                  <a:lnTo>
                    <a:pt x="14688" y="1016"/>
                  </a:lnTo>
                  <a:lnTo>
                    <a:pt x="14712" y="1022"/>
                  </a:lnTo>
                  <a:lnTo>
                    <a:pt x="14736" y="1029"/>
                  </a:lnTo>
                  <a:lnTo>
                    <a:pt x="14759" y="1036"/>
                  </a:lnTo>
                  <a:lnTo>
                    <a:pt x="14782" y="1045"/>
                  </a:lnTo>
                  <a:lnTo>
                    <a:pt x="14804" y="1055"/>
                  </a:lnTo>
                  <a:lnTo>
                    <a:pt x="14826" y="1066"/>
                  </a:lnTo>
                  <a:lnTo>
                    <a:pt x="14847" y="1079"/>
                  </a:lnTo>
                  <a:lnTo>
                    <a:pt x="14867" y="1092"/>
                  </a:lnTo>
                  <a:lnTo>
                    <a:pt x="14887" y="1106"/>
                  </a:lnTo>
                  <a:lnTo>
                    <a:pt x="14906" y="1121"/>
                  </a:lnTo>
                  <a:lnTo>
                    <a:pt x="14924" y="1137"/>
                  </a:lnTo>
                  <a:lnTo>
                    <a:pt x="14942" y="1154"/>
                  </a:lnTo>
                  <a:lnTo>
                    <a:pt x="14958" y="1171"/>
                  </a:lnTo>
                  <a:lnTo>
                    <a:pt x="14974" y="1189"/>
                  </a:lnTo>
                  <a:lnTo>
                    <a:pt x="14989" y="1208"/>
                  </a:lnTo>
                  <a:lnTo>
                    <a:pt x="15004" y="1227"/>
                  </a:lnTo>
                  <a:lnTo>
                    <a:pt x="15017" y="1248"/>
                  </a:lnTo>
                  <a:lnTo>
                    <a:pt x="15029" y="1269"/>
                  </a:lnTo>
                  <a:lnTo>
                    <a:pt x="15040" y="1291"/>
                  </a:lnTo>
                  <a:lnTo>
                    <a:pt x="15050" y="1313"/>
                  </a:lnTo>
                  <a:lnTo>
                    <a:pt x="15059" y="1336"/>
                  </a:lnTo>
                  <a:lnTo>
                    <a:pt x="15066" y="1359"/>
                  </a:lnTo>
                  <a:lnTo>
                    <a:pt x="15073" y="1383"/>
                  </a:lnTo>
                  <a:lnTo>
                    <a:pt x="15079" y="1407"/>
                  </a:lnTo>
                  <a:lnTo>
                    <a:pt x="15083" y="1432"/>
                  </a:lnTo>
                  <a:lnTo>
                    <a:pt x="15086" y="1458"/>
                  </a:lnTo>
                  <a:lnTo>
                    <a:pt x="15088" y="1483"/>
                  </a:lnTo>
                  <a:lnTo>
                    <a:pt x="15089" y="1509"/>
                  </a:lnTo>
                  <a:lnTo>
                    <a:pt x="15089" y="14083"/>
                  </a:lnTo>
                  <a:close/>
                  <a:moveTo>
                    <a:pt x="14586" y="0"/>
                  </a:moveTo>
                  <a:lnTo>
                    <a:pt x="3521" y="0"/>
                  </a:lnTo>
                  <a:lnTo>
                    <a:pt x="3443" y="2"/>
                  </a:lnTo>
                  <a:lnTo>
                    <a:pt x="3367" y="8"/>
                  </a:lnTo>
                  <a:lnTo>
                    <a:pt x="3291" y="17"/>
                  </a:lnTo>
                  <a:lnTo>
                    <a:pt x="3217" y="30"/>
                  </a:lnTo>
                  <a:lnTo>
                    <a:pt x="3144" y="47"/>
                  </a:lnTo>
                  <a:lnTo>
                    <a:pt x="3072" y="67"/>
                  </a:lnTo>
                  <a:lnTo>
                    <a:pt x="3002" y="92"/>
                  </a:lnTo>
                  <a:lnTo>
                    <a:pt x="2933" y="119"/>
                  </a:lnTo>
                  <a:lnTo>
                    <a:pt x="2867" y="149"/>
                  </a:lnTo>
                  <a:lnTo>
                    <a:pt x="2802" y="182"/>
                  </a:lnTo>
                  <a:lnTo>
                    <a:pt x="2738" y="218"/>
                  </a:lnTo>
                  <a:lnTo>
                    <a:pt x="2677" y="258"/>
                  </a:lnTo>
                  <a:lnTo>
                    <a:pt x="2617" y="300"/>
                  </a:lnTo>
                  <a:lnTo>
                    <a:pt x="2561" y="344"/>
                  </a:lnTo>
                  <a:lnTo>
                    <a:pt x="2506" y="391"/>
                  </a:lnTo>
                  <a:lnTo>
                    <a:pt x="2453" y="442"/>
                  </a:lnTo>
                  <a:lnTo>
                    <a:pt x="2404" y="494"/>
                  </a:lnTo>
                  <a:lnTo>
                    <a:pt x="2356" y="549"/>
                  </a:lnTo>
                  <a:lnTo>
                    <a:pt x="2312" y="606"/>
                  </a:lnTo>
                  <a:lnTo>
                    <a:pt x="2269" y="665"/>
                  </a:lnTo>
                  <a:lnTo>
                    <a:pt x="2230" y="726"/>
                  </a:lnTo>
                  <a:lnTo>
                    <a:pt x="2194" y="790"/>
                  </a:lnTo>
                  <a:lnTo>
                    <a:pt x="2161" y="854"/>
                  </a:lnTo>
                  <a:lnTo>
                    <a:pt x="2131" y="921"/>
                  </a:lnTo>
                  <a:lnTo>
                    <a:pt x="2103" y="990"/>
                  </a:lnTo>
                  <a:lnTo>
                    <a:pt x="2079" y="1060"/>
                  </a:lnTo>
                  <a:lnTo>
                    <a:pt x="2059" y="1132"/>
                  </a:lnTo>
                  <a:lnTo>
                    <a:pt x="2042" y="1204"/>
                  </a:lnTo>
                  <a:lnTo>
                    <a:pt x="2029" y="1279"/>
                  </a:lnTo>
                  <a:lnTo>
                    <a:pt x="2020" y="1354"/>
                  </a:lnTo>
                  <a:lnTo>
                    <a:pt x="2014" y="1431"/>
                  </a:lnTo>
                  <a:lnTo>
                    <a:pt x="2012" y="1509"/>
                  </a:lnTo>
                  <a:lnTo>
                    <a:pt x="2012" y="2515"/>
                  </a:lnTo>
                  <a:lnTo>
                    <a:pt x="1509" y="2515"/>
                  </a:lnTo>
                  <a:lnTo>
                    <a:pt x="1431" y="2517"/>
                  </a:lnTo>
                  <a:lnTo>
                    <a:pt x="1355" y="2523"/>
                  </a:lnTo>
                  <a:lnTo>
                    <a:pt x="1280" y="2532"/>
                  </a:lnTo>
                  <a:lnTo>
                    <a:pt x="1205" y="2545"/>
                  </a:lnTo>
                  <a:lnTo>
                    <a:pt x="1132" y="2562"/>
                  </a:lnTo>
                  <a:lnTo>
                    <a:pt x="1060" y="2582"/>
                  </a:lnTo>
                  <a:lnTo>
                    <a:pt x="990" y="2606"/>
                  </a:lnTo>
                  <a:lnTo>
                    <a:pt x="921" y="2634"/>
                  </a:lnTo>
                  <a:lnTo>
                    <a:pt x="855" y="2664"/>
                  </a:lnTo>
                  <a:lnTo>
                    <a:pt x="790" y="2697"/>
                  </a:lnTo>
                  <a:lnTo>
                    <a:pt x="726" y="2733"/>
                  </a:lnTo>
                  <a:lnTo>
                    <a:pt x="665" y="2772"/>
                  </a:lnTo>
                  <a:lnTo>
                    <a:pt x="607" y="2815"/>
                  </a:lnTo>
                  <a:lnTo>
                    <a:pt x="549" y="2859"/>
                  </a:lnTo>
                  <a:lnTo>
                    <a:pt x="494" y="2907"/>
                  </a:lnTo>
                  <a:lnTo>
                    <a:pt x="442" y="2956"/>
                  </a:lnTo>
                  <a:lnTo>
                    <a:pt x="392" y="3009"/>
                  </a:lnTo>
                  <a:lnTo>
                    <a:pt x="345" y="3064"/>
                  </a:lnTo>
                  <a:lnTo>
                    <a:pt x="300" y="3120"/>
                  </a:lnTo>
                  <a:lnTo>
                    <a:pt x="258" y="3180"/>
                  </a:lnTo>
                  <a:lnTo>
                    <a:pt x="218" y="3241"/>
                  </a:lnTo>
                  <a:lnTo>
                    <a:pt x="182" y="3305"/>
                  </a:lnTo>
                  <a:lnTo>
                    <a:pt x="149" y="3369"/>
                  </a:lnTo>
                  <a:lnTo>
                    <a:pt x="119" y="3436"/>
                  </a:lnTo>
                  <a:lnTo>
                    <a:pt x="92" y="3505"/>
                  </a:lnTo>
                  <a:lnTo>
                    <a:pt x="67" y="3575"/>
                  </a:lnTo>
                  <a:lnTo>
                    <a:pt x="47" y="3647"/>
                  </a:lnTo>
                  <a:lnTo>
                    <a:pt x="30" y="3720"/>
                  </a:lnTo>
                  <a:lnTo>
                    <a:pt x="17" y="3793"/>
                  </a:lnTo>
                  <a:lnTo>
                    <a:pt x="8" y="3869"/>
                  </a:lnTo>
                  <a:lnTo>
                    <a:pt x="2" y="3946"/>
                  </a:lnTo>
                  <a:lnTo>
                    <a:pt x="0" y="4024"/>
                  </a:lnTo>
                  <a:lnTo>
                    <a:pt x="0" y="14083"/>
                  </a:lnTo>
                  <a:lnTo>
                    <a:pt x="3" y="14187"/>
                  </a:lnTo>
                  <a:lnTo>
                    <a:pt x="10" y="14289"/>
                  </a:lnTo>
                  <a:lnTo>
                    <a:pt x="23" y="14390"/>
                  </a:lnTo>
                  <a:lnTo>
                    <a:pt x="41" y="14489"/>
                  </a:lnTo>
                  <a:lnTo>
                    <a:pt x="63" y="14586"/>
                  </a:lnTo>
                  <a:lnTo>
                    <a:pt x="91" y="14682"/>
                  </a:lnTo>
                  <a:lnTo>
                    <a:pt x="122" y="14775"/>
                  </a:lnTo>
                  <a:lnTo>
                    <a:pt x="158" y="14867"/>
                  </a:lnTo>
                  <a:lnTo>
                    <a:pt x="198" y="14955"/>
                  </a:lnTo>
                  <a:lnTo>
                    <a:pt x="242" y="15042"/>
                  </a:lnTo>
                  <a:lnTo>
                    <a:pt x="292" y="15126"/>
                  </a:lnTo>
                  <a:lnTo>
                    <a:pt x="344" y="15208"/>
                  </a:lnTo>
                  <a:lnTo>
                    <a:pt x="399" y="15287"/>
                  </a:lnTo>
                  <a:lnTo>
                    <a:pt x="460" y="15363"/>
                  </a:lnTo>
                  <a:lnTo>
                    <a:pt x="523" y="15436"/>
                  </a:lnTo>
                  <a:lnTo>
                    <a:pt x="589" y="15506"/>
                  </a:lnTo>
                  <a:lnTo>
                    <a:pt x="659" y="15572"/>
                  </a:lnTo>
                  <a:lnTo>
                    <a:pt x="732" y="15635"/>
                  </a:lnTo>
                  <a:lnTo>
                    <a:pt x="808" y="15696"/>
                  </a:lnTo>
                  <a:lnTo>
                    <a:pt x="887" y="15751"/>
                  </a:lnTo>
                  <a:lnTo>
                    <a:pt x="969" y="15803"/>
                  </a:lnTo>
                  <a:lnTo>
                    <a:pt x="1053" y="15853"/>
                  </a:lnTo>
                  <a:lnTo>
                    <a:pt x="1140" y="15897"/>
                  </a:lnTo>
                  <a:lnTo>
                    <a:pt x="1228" y="15937"/>
                  </a:lnTo>
                  <a:lnTo>
                    <a:pt x="1320" y="15973"/>
                  </a:lnTo>
                  <a:lnTo>
                    <a:pt x="1413" y="16004"/>
                  </a:lnTo>
                  <a:lnTo>
                    <a:pt x="1509" y="16032"/>
                  </a:lnTo>
                  <a:lnTo>
                    <a:pt x="1606" y="16054"/>
                  </a:lnTo>
                  <a:lnTo>
                    <a:pt x="1705" y="16072"/>
                  </a:lnTo>
                  <a:lnTo>
                    <a:pt x="1806" y="16085"/>
                  </a:lnTo>
                  <a:lnTo>
                    <a:pt x="1908" y="16092"/>
                  </a:lnTo>
                  <a:lnTo>
                    <a:pt x="2012" y="16095"/>
                  </a:lnTo>
                  <a:lnTo>
                    <a:pt x="14083" y="16095"/>
                  </a:lnTo>
                  <a:lnTo>
                    <a:pt x="14187" y="16092"/>
                  </a:lnTo>
                  <a:lnTo>
                    <a:pt x="14289" y="16085"/>
                  </a:lnTo>
                  <a:lnTo>
                    <a:pt x="14390" y="16072"/>
                  </a:lnTo>
                  <a:lnTo>
                    <a:pt x="14489" y="16054"/>
                  </a:lnTo>
                  <a:lnTo>
                    <a:pt x="14586" y="16032"/>
                  </a:lnTo>
                  <a:lnTo>
                    <a:pt x="14682" y="16004"/>
                  </a:lnTo>
                  <a:lnTo>
                    <a:pt x="14775" y="15973"/>
                  </a:lnTo>
                  <a:lnTo>
                    <a:pt x="14867" y="15937"/>
                  </a:lnTo>
                  <a:lnTo>
                    <a:pt x="14955" y="15897"/>
                  </a:lnTo>
                  <a:lnTo>
                    <a:pt x="15042" y="15853"/>
                  </a:lnTo>
                  <a:lnTo>
                    <a:pt x="15126" y="15803"/>
                  </a:lnTo>
                  <a:lnTo>
                    <a:pt x="15208" y="15751"/>
                  </a:lnTo>
                  <a:lnTo>
                    <a:pt x="15287" y="15696"/>
                  </a:lnTo>
                  <a:lnTo>
                    <a:pt x="15363" y="15635"/>
                  </a:lnTo>
                  <a:lnTo>
                    <a:pt x="15436" y="15572"/>
                  </a:lnTo>
                  <a:lnTo>
                    <a:pt x="15506" y="15506"/>
                  </a:lnTo>
                  <a:lnTo>
                    <a:pt x="15572" y="15436"/>
                  </a:lnTo>
                  <a:lnTo>
                    <a:pt x="15635" y="15363"/>
                  </a:lnTo>
                  <a:lnTo>
                    <a:pt x="15696" y="15287"/>
                  </a:lnTo>
                  <a:lnTo>
                    <a:pt x="15751" y="15208"/>
                  </a:lnTo>
                  <a:lnTo>
                    <a:pt x="15803" y="15126"/>
                  </a:lnTo>
                  <a:lnTo>
                    <a:pt x="15853" y="15042"/>
                  </a:lnTo>
                  <a:lnTo>
                    <a:pt x="15897" y="14955"/>
                  </a:lnTo>
                  <a:lnTo>
                    <a:pt x="15937" y="14867"/>
                  </a:lnTo>
                  <a:lnTo>
                    <a:pt x="15973" y="14775"/>
                  </a:lnTo>
                  <a:lnTo>
                    <a:pt x="16004" y="14682"/>
                  </a:lnTo>
                  <a:lnTo>
                    <a:pt x="16032" y="14586"/>
                  </a:lnTo>
                  <a:lnTo>
                    <a:pt x="16054" y="14489"/>
                  </a:lnTo>
                  <a:lnTo>
                    <a:pt x="16072" y="14390"/>
                  </a:lnTo>
                  <a:lnTo>
                    <a:pt x="16085" y="14289"/>
                  </a:lnTo>
                  <a:lnTo>
                    <a:pt x="16092" y="14187"/>
                  </a:lnTo>
                  <a:lnTo>
                    <a:pt x="16095" y="14083"/>
                  </a:lnTo>
                  <a:lnTo>
                    <a:pt x="16095" y="1509"/>
                  </a:lnTo>
                  <a:lnTo>
                    <a:pt x="16093" y="1431"/>
                  </a:lnTo>
                  <a:lnTo>
                    <a:pt x="16087" y="1354"/>
                  </a:lnTo>
                  <a:lnTo>
                    <a:pt x="16078" y="1279"/>
                  </a:lnTo>
                  <a:lnTo>
                    <a:pt x="16065" y="1204"/>
                  </a:lnTo>
                  <a:lnTo>
                    <a:pt x="16048" y="1132"/>
                  </a:lnTo>
                  <a:lnTo>
                    <a:pt x="16028" y="1060"/>
                  </a:lnTo>
                  <a:lnTo>
                    <a:pt x="16003" y="990"/>
                  </a:lnTo>
                  <a:lnTo>
                    <a:pt x="15976" y="921"/>
                  </a:lnTo>
                  <a:lnTo>
                    <a:pt x="15946" y="854"/>
                  </a:lnTo>
                  <a:lnTo>
                    <a:pt x="15913" y="790"/>
                  </a:lnTo>
                  <a:lnTo>
                    <a:pt x="15877" y="726"/>
                  </a:lnTo>
                  <a:lnTo>
                    <a:pt x="15837" y="665"/>
                  </a:lnTo>
                  <a:lnTo>
                    <a:pt x="15795" y="606"/>
                  </a:lnTo>
                  <a:lnTo>
                    <a:pt x="15750" y="549"/>
                  </a:lnTo>
                  <a:lnTo>
                    <a:pt x="15703" y="494"/>
                  </a:lnTo>
                  <a:lnTo>
                    <a:pt x="15653" y="442"/>
                  </a:lnTo>
                  <a:lnTo>
                    <a:pt x="15601" y="391"/>
                  </a:lnTo>
                  <a:lnTo>
                    <a:pt x="15546" y="344"/>
                  </a:lnTo>
                  <a:lnTo>
                    <a:pt x="15488" y="300"/>
                  </a:lnTo>
                  <a:lnTo>
                    <a:pt x="15430" y="258"/>
                  </a:lnTo>
                  <a:lnTo>
                    <a:pt x="15369" y="218"/>
                  </a:lnTo>
                  <a:lnTo>
                    <a:pt x="15305" y="182"/>
                  </a:lnTo>
                  <a:lnTo>
                    <a:pt x="15240" y="149"/>
                  </a:lnTo>
                  <a:lnTo>
                    <a:pt x="15174" y="119"/>
                  </a:lnTo>
                  <a:lnTo>
                    <a:pt x="15105" y="92"/>
                  </a:lnTo>
                  <a:lnTo>
                    <a:pt x="15035" y="67"/>
                  </a:lnTo>
                  <a:lnTo>
                    <a:pt x="14963" y="47"/>
                  </a:lnTo>
                  <a:lnTo>
                    <a:pt x="14890" y="30"/>
                  </a:lnTo>
                  <a:lnTo>
                    <a:pt x="14815" y="17"/>
                  </a:lnTo>
                  <a:lnTo>
                    <a:pt x="14740" y="8"/>
                  </a:lnTo>
                  <a:lnTo>
                    <a:pt x="14664" y="2"/>
                  </a:lnTo>
                  <a:lnTo>
                    <a:pt x="145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69" name="işļîdè">
              <a:extLst>
                <a:ext uri="{FF2B5EF4-FFF2-40B4-BE49-F238E27FC236}">
                  <a16:creationId xmlns:a16="http://schemas.microsoft.com/office/drawing/2014/main" id="{242F59C2-76EB-4328-8364-1D3ACB209882}"/>
                </a:ext>
              </a:extLst>
            </p:cNvPr>
            <p:cNvSpPr/>
            <p:nvPr/>
          </p:nvSpPr>
          <p:spPr bwMode="auto">
            <a:xfrm>
              <a:off x="4958779" y="525047"/>
              <a:ext cx="65335" cy="7436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1 h 503"/>
                <a:gd name="T8" fmla="*/ 4427 w 4527"/>
                <a:gd name="T9" fmla="*/ 452 h 503"/>
                <a:gd name="T10" fmla="*/ 4454 w 4527"/>
                <a:gd name="T11" fmla="*/ 428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1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0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1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89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1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5 h 503"/>
                <a:gd name="T80" fmla="*/ 154 w 4527"/>
                <a:gd name="T81" fmla="*/ 482 h 503"/>
                <a:gd name="T82" fmla="*/ 190 w 4527"/>
                <a:gd name="T83" fmla="*/ 495 h 503"/>
                <a:gd name="T84" fmla="*/ 227 w 4527"/>
                <a:gd name="T85" fmla="*/ 50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1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1"/>
                  </a:lnTo>
                  <a:lnTo>
                    <a:pt x="4362" y="488"/>
                  </a:lnTo>
                  <a:lnTo>
                    <a:pt x="4374" y="482"/>
                  </a:lnTo>
                  <a:lnTo>
                    <a:pt x="4385" y="477"/>
                  </a:lnTo>
                  <a:lnTo>
                    <a:pt x="4396" y="471"/>
                  </a:lnTo>
                  <a:lnTo>
                    <a:pt x="4406" y="465"/>
                  </a:lnTo>
                  <a:lnTo>
                    <a:pt x="4416" y="459"/>
                  </a:lnTo>
                  <a:lnTo>
                    <a:pt x="4427" y="452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8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1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3"/>
                  </a:lnTo>
                  <a:lnTo>
                    <a:pt x="4522" y="301"/>
                  </a:lnTo>
                  <a:lnTo>
                    <a:pt x="4525" y="289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1"/>
                  </a:lnTo>
                  <a:lnTo>
                    <a:pt x="4497" y="131"/>
                  </a:lnTo>
                  <a:lnTo>
                    <a:pt x="4491" y="120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0"/>
                  </a:lnTo>
                  <a:lnTo>
                    <a:pt x="32" y="131"/>
                  </a:lnTo>
                  <a:lnTo>
                    <a:pt x="26" y="141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6" y="301"/>
                  </a:lnTo>
                  <a:lnTo>
                    <a:pt x="8" y="313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1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8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2"/>
                  </a:lnTo>
                  <a:lnTo>
                    <a:pt x="112" y="459"/>
                  </a:lnTo>
                  <a:lnTo>
                    <a:pt x="122" y="465"/>
                  </a:lnTo>
                  <a:lnTo>
                    <a:pt x="132" y="471"/>
                  </a:lnTo>
                  <a:lnTo>
                    <a:pt x="143" y="477"/>
                  </a:lnTo>
                  <a:lnTo>
                    <a:pt x="154" y="482"/>
                  </a:lnTo>
                  <a:lnTo>
                    <a:pt x="166" y="488"/>
                  </a:lnTo>
                  <a:lnTo>
                    <a:pt x="177" y="491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1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70" name="iŝļíḑê">
              <a:extLst>
                <a:ext uri="{FF2B5EF4-FFF2-40B4-BE49-F238E27FC236}">
                  <a16:creationId xmlns:a16="http://schemas.microsoft.com/office/drawing/2014/main" id="{CA396FA4-D6A9-438D-A49E-41B215755347}"/>
                </a:ext>
              </a:extLst>
            </p:cNvPr>
            <p:cNvSpPr/>
            <p:nvPr/>
          </p:nvSpPr>
          <p:spPr bwMode="auto">
            <a:xfrm>
              <a:off x="4958779" y="503269"/>
              <a:ext cx="65335" cy="7436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3 h 503"/>
                <a:gd name="T8" fmla="*/ 4427 w 4527"/>
                <a:gd name="T9" fmla="*/ 452 h 503"/>
                <a:gd name="T10" fmla="*/ 4454 w 4527"/>
                <a:gd name="T11" fmla="*/ 429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2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0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2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89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2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6 h 503"/>
                <a:gd name="T80" fmla="*/ 154 w 4527"/>
                <a:gd name="T81" fmla="*/ 483 h 503"/>
                <a:gd name="T82" fmla="*/ 190 w 4527"/>
                <a:gd name="T83" fmla="*/ 495 h 503"/>
                <a:gd name="T84" fmla="*/ 227 w 4527"/>
                <a:gd name="T85" fmla="*/ 50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1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1"/>
                  </a:lnTo>
                  <a:lnTo>
                    <a:pt x="4362" y="488"/>
                  </a:lnTo>
                  <a:lnTo>
                    <a:pt x="4374" y="483"/>
                  </a:lnTo>
                  <a:lnTo>
                    <a:pt x="4385" y="478"/>
                  </a:lnTo>
                  <a:lnTo>
                    <a:pt x="4396" y="473"/>
                  </a:lnTo>
                  <a:lnTo>
                    <a:pt x="4406" y="466"/>
                  </a:lnTo>
                  <a:lnTo>
                    <a:pt x="4416" y="459"/>
                  </a:lnTo>
                  <a:lnTo>
                    <a:pt x="4427" y="452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9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2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4"/>
                  </a:lnTo>
                  <a:lnTo>
                    <a:pt x="4522" y="302"/>
                  </a:lnTo>
                  <a:lnTo>
                    <a:pt x="4525" y="289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2"/>
                  </a:lnTo>
                  <a:lnTo>
                    <a:pt x="4497" y="132"/>
                  </a:lnTo>
                  <a:lnTo>
                    <a:pt x="4491" y="120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0"/>
                  </a:lnTo>
                  <a:lnTo>
                    <a:pt x="32" y="132"/>
                  </a:lnTo>
                  <a:lnTo>
                    <a:pt x="26" y="142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6" y="302"/>
                  </a:lnTo>
                  <a:lnTo>
                    <a:pt x="8" y="314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2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9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2"/>
                  </a:lnTo>
                  <a:lnTo>
                    <a:pt x="112" y="459"/>
                  </a:lnTo>
                  <a:lnTo>
                    <a:pt x="122" y="466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6" y="488"/>
                  </a:lnTo>
                  <a:lnTo>
                    <a:pt x="177" y="491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1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71" name="iṣḻîďè">
              <a:extLst>
                <a:ext uri="{FF2B5EF4-FFF2-40B4-BE49-F238E27FC236}">
                  <a16:creationId xmlns:a16="http://schemas.microsoft.com/office/drawing/2014/main" id="{5AC2137C-ACC4-4438-A5DA-1058B7647972}"/>
                </a:ext>
              </a:extLst>
            </p:cNvPr>
            <p:cNvSpPr/>
            <p:nvPr/>
          </p:nvSpPr>
          <p:spPr bwMode="auto">
            <a:xfrm>
              <a:off x="4958779" y="482021"/>
              <a:ext cx="65335" cy="6905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3 h 503"/>
                <a:gd name="T8" fmla="*/ 4427 w 4527"/>
                <a:gd name="T9" fmla="*/ 453 h 503"/>
                <a:gd name="T10" fmla="*/ 4454 w 4527"/>
                <a:gd name="T11" fmla="*/ 428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2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1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2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90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2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7 h 503"/>
                <a:gd name="T80" fmla="*/ 154 w 4527"/>
                <a:gd name="T81" fmla="*/ 483 h 503"/>
                <a:gd name="T82" fmla="*/ 190 w 4527"/>
                <a:gd name="T83" fmla="*/ 495 h 503"/>
                <a:gd name="T84" fmla="*/ 227 w 4527"/>
                <a:gd name="T85" fmla="*/ 50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2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2"/>
                  </a:lnTo>
                  <a:lnTo>
                    <a:pt x="4362" y="488"/>
                  </a:lnTo>
                  <a:lnTo>
                    <a:pt x="4374" y="483"/>
                  </a:lnTo>
                  <a:lnTo>
                    <a:pt x="4385" y="478"/>
                  </a:lnTo>
                  <a:lnTo>
                    <a:pt x="4396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8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2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4"/>
                  </a:lnTo>
                  <a:lnTo>
                    <a:pt x="4522" y="302"/>
                  </a:lnTo>
                  <a:lnTo>
                    <a:pt x="4525" y="290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2"/>
                  </a:lnTo>
                  <a:lnTo>
                    <a:pt x="4497" y="132"/>
                  </a:lnTo>
                  <a:lnTo>
                    <a:pt x="4491" y="121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1"/>
                  </a:lnTo>
                  <a:lnTo>
                    <a:pt x="32" y="132"/>
                  </a:lnTo>
                  <a:lnTo>
                    <a:pt x="26" y="142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90"/>
                  </a:lnTo>
                  <a:lnTo>
                    <a:pt x="6" y="302"/>
                  </a:lnTo>
                  <a:lnTo>
                    <a:pt x="8" y="314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2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8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3"/>
                  </a:lnTo>
                  <a:lnTo>
                    <a:pt x="112" y="460"/>
                  </a:lnTo>
                  <a:lnTo>
                    <a:pt x="122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6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72" name="îŝḷíďè">
              <a:extLst>
                <a:ext uri="{FF2B5EF4-FFF2-40B4-BE49-F238E27FC236}">
                  <a16:creationId xmlns:a16="http://schemas.microsoft.com/office/drawing/2014/main" id="{3BB782E7-EA15-4470-81C3-C86B28A735F0}"/>
                </a:ext>
              </a:extLst>
            </p:cNvPr>
            <p:cNvSpPr/>
            <p:nvPr/>
          </p:nvSpPr>
          <p:spPr bwMode="auto">
            <a:xfrm>
              <a:off x="4879633" y="633407"/>
              <a:ext cx="64804" cy="7436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0 h 503"/>
                <a:gd name="T8" fmla="*/ 100 w 4526"/>
                <a:gd name="T9" fmla="*/ 50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1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50 h 503"/>
                <a:gd name="T28" fmla="*/ 36 w 4526"/>
                <a:gd name="T29" fmla="*/ 382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2 h 503"/>
                <a:gd name="T58" fmla="*/ 4501 w 4526"/>
                <a:gd name="T59" fmla="*/ 361 h 503"/>
                <a:gd name="T60" fmla="*/ 4515 w 4526"/>
                <a:gd name="T61" fmla="*/ 327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3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6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3"/>
                  </a:lnTo>
                  <a:lnTo>
                    <a:pt x="100" y="50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7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4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4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2"/>
                  </a:lnTo>
                  <a:lnTo>
                    <a:pt x="4490" y="382"/>
                  </a:lnTo>
                  <a:lnTo>
                    <a:pt x="4496" y="371"/>
                  </a:lnTo>
                  <a:lnTo>
                    <a:pt x="4501" y="361"/>
                  </a:lnTo>
                  <a:lnTo>
                    <a:pt x="4506" y="350"/>
                  </a:lnTo>
                  <a:lnTo>
                    <a:pt x="4511" y="338"/>
                  </a:lnTo>
                  <a:lnTo>
                    <a:pt x="4515" y="327"/>
                  </a:lnTo>
                  <a:lnTo>
                    <a:pt x="4518" y="315"/>
                  </a:lnTo>
                  <a:lnTo>
                    <a:pt x="4521" y="303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3"/>
                  </a:lnTo>
                  <a:lnTo>
                    <a:pt x="4521" y="201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0"/>
                  </a:lnTo>
                  <a:lnTo>
                    <a:pt x="4416" y="43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73" name="íšľíḍé">
              <a:extLst>
                <a:ext uri="{FF2B5EF4-FFF2-40B4-BE49-F238E27FC236}">
                  <a16:creationId xmlns:a16="http://schemas.microsoft.com/office/drawing/2014/main" id="{7F998164-CFCF-4FEA-85EA-CF93CE170D57}"/>
                </a:ext>
              </a:extLst>
            </p:cNvPr>
            <p:cNvSpPr/>
            <p:nvPr/>
          </p:nvSpPr>
          <p:spPr bwMode="auto">
            <a:xfrm>
              <a:off x="4879633" y="611629"/>
              <a:ext cx="64804" cy="7436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0 h 503"/>
                <a:gd name="T8" fmla="*/ 100 w 4526"/>
                <a:gd name="T9" fmla="*/ 51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1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49 h 503"/>
                <a:gd name="T28" fmla="*/ 36 w 4526"/>
                <a:gd name="T29" fmla="*/ 383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3 h 503"/>
                <a:gd name="T58" fmla="*/ 4501 w 4526"/>
                <a:gd name="T59" fmla="*/ 361 h 503"/>
                <a:gd name="T60" fmla="*/ 4515 w 4526"/>
                <a:gd name="T61" fmla="*/ 326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4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6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3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3"/>
                  </a:lnTo>
                  <a:lnTo>
                    <a:pt x="4490" y="383"/>
                  </a:lnTo>
                  <a:lnTo>
                    <a:pt x="4496" y="371"/>
                  </a:lnTo>
                  <a:lnTo>
                    <a:pt x="4501" y="361"/>
                  </a:lnTo>
                  <a:lnTo>
                    <a:pt x="4506" y="349"/>
                  </a:lnTo>
                  <a:lnTo>
                    <a:pt x="4511" y="338"/>
                  </a:lnTo>
                  <a:lnTo>
                    <a:pt x="4515" y="326"/>
                  </a:lnTo>
                  <a:lnTo>
                    <a:pt x="4518" y="315"/>
                  </a:lnTo>
                  <a:lnTo>
                    <a:pt x="4521" y="302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4"/>
                  </a:lnTo>
                  <a:lnTo>
                    <a:pt x="4521" y="201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1"/>
                  </a:lnTo>
                  <a:lnTo>
                    <a:pt x="4416" y="44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74" name="íṣľiḍe">
              <a:extLst>
                <a:ext uri="{FF2B5EF4-FFF2-40B4-BE49-F238E27FC236}">
                  <a16:creationId xmlns:a16="http://schemas.microsoft.com/office/drawing/2014/main" id="{2EAED4FA-4318-46B0-A33F-80358FA0A216}"/>
                </a:ext>
              </a:extLst>
            </p:cNvPr>
            <p:cNvSpPr/>
            <p:nvPr/>
          </p:nvSpPr>
          <p:spPr bwMode="auto">
            <a:xfrm>
              <a:off x="4879633" y="590382"/>
              <a:ext cx="64804" cy="6905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1 h 503"/>
                <a:gd name="T8" fmla="*/ 100 w 4526"/>
                <a:gd name="T9" fmla="*/ 51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2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50 h 503"/>
                <a:gd name="T28" fmla="*/ 36 w 4526"/>
                <a:gd name="T29" fmla="*/ 383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3 h 503"/>
                <a:gd name="T58" fmla="*/ 4501 w 4526"/>
                <a:gd name="T59" fmla="*/ 361 h 503"/>
                <a:gd name="T60" fmla="*/ 4515 w 4526"/>
                <a:gd name="T61" fmla="*/ 326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4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7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0" y="37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1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3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3"/>
                  </a:lnTo>
                  <a:lnTo>
                    <a:pt x="4490" y="383"/>
                  </a:lnTo>
                  <a:lnTo>
                    <a:pt x="4496" y="372"/>
                  </a:lnTo>
                  <a:lnTo>
                    <a:pt x="4501" y="361"/>
                  </a:lnTo>
                  <a:lnTo>
                    <a:pt x="4506" y="350"/>
                  </a:lnTo>
                  <a:lnTo>
                    <a:pt x="4511" y="338"/>
                  </a:lnTo>
                  <a:lnTo>
                    <a:pt x="4515" y="326"/>
                  </a:lnTo>
                  <a:lnTo>
                    <a:pt x="4518" y="315"/>
                  </a:lnTo>
                  <a:lnTo>
                    <a:pt x="4521" y="302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4"/>
                  </a:lnTo>
                  <a:lnTo>
                    <a:pt x="4521" y="202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1"/>
                  </a:lnTo>
                  <a:lnTo>
                    <a:pt x="4416" y="44"/>
                  </a:lnTo>
                  <a:lnTo>
                    <a:pt x="4406" y="37"/>
                  </a:lnTo>
                  <a:lnTo>
                    <a:pt x="4395" y="31"/>
                  </a:lnTo>
                  <a:lnTo>
                    <a:pt x="4384" y="26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75" name="îṡliḍè">
              <a:extLst>
                <a:ext uri="{FF2B5EF4-FFF2-40B4-BE49-F238E27FC236}">
                  <a16:creationId xmlns:a16="http://schemas.microsoft.com/office/drawing/2014/main" id="{C80B9498-3C77-4B9D-B0C9-C133BAEEF488}"/>
                </a:ext>
              </a:extLst>
            </p:cNvPr>
            <p:cNvSpPr/>
            <p:nvPr/>
          </p:nvSpPr>
          <p:spPr bwMode="auto">
            <a:xfrm>
              <a:off x="4958779" y="633407"/>
              <a:ext cx="65335" cy="7436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0 h 503"/>
                <a:gd name="T8" fmla="*/ 102 w 4527"/>
                <a:gd name="T9" fmla="*/ 50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1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50 h 503"/>
                <a:gd name="T28" fmla="*/ 37 w 4527"/>
                <a:gd name="T29" fmla="*/ 382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2 h 503"/>
                <a:gd name="T58" fmla="*/ 4502 w 4527"/>
                <a:gd name="T59" fmla="*/ 361 h 503"/>
                <a:gd name="T60" fmla="*/ 4516 w 4527"/>
                <a:gd name="T61" fmla="*/ 327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3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6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3"/>
                  </a:lnTo>
                  <a:lnTo>
                    <a:pt x="102" y="50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7"/>
                  </a:lnTo>
                  <a:lnTo>
                    <a:pt x="15" y="338"/>
                  </a:lnTo>
                  <a:lnTo>
                    <a:pt x="21" y="350"/>
                  </a:lnTo>
                  <a:lnTo>
                    <a:pt x="26" y="361"/>
                  </a:lnTo>
                  <a:lnTo>
                    <a:pt x="31" y="371"/>
                  </a:lnTo>
                  <a:lnTo>
                    <a:pt x="37" y="382"/>
                  </a:lnTo>
                  <a:lnTo>
                    <a:pt x="44" y="392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4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4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2"/>
                  </a:lnTo>
                  <a:lnTo>
                    <a:pt x="4491" y="382"/>
                  </a:lnTo>
                  <a:lnTo>
                    <a:pt x="4497" y="371"/>
                  </a:lnTo>
                  <a:lnTo>
                    <a:pt x="4502" y="361"/>
                  </a:lnTo>
                  <a:lnTo>
                    <a:pt x="4507" y="350"/>
                  </a:lnTo>
                  <a:lnTo>
                    <a:pt x="4512" y="338"/>
                  </a:lnTo>
                  <a:lnTo>
                    <a:pt x="4516" y="327"/>
                  </a:lnTo>
                  <a:lnTo>
                    <a:pt x="4519" y="315"/>
                  </a:lnTo>
                  <a:lnTo>
                    <a:pt x="4522" y="303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3"/>
                  </a:lnTo>
                  <a:lnTo>
                    <a:pt x="4522" y="201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0"/>
                  </a:lnTo>
                  <a:lnTo>
                    <a:pt x="4416" y="43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76" name="iSļiḓê">
              <a:extLst>
                <a:ext uri="{FF2B5EF4-FFF2-40B4-BE49-F238E27FC236}">
                  <a16:creationId xmlns:a16="http://schemas.microsoft.com/office/drawing/2014/main" id="{9BF352C7-D5F0-426E-8245-9401A055A8CC}"/>
                </a:ext>
              </a:extLst>
            </p:cNvPr>
            <p:cNvSpPr/>
            <p:nvPr/>
          </p:nvSpPr>
          <p:spPr bwMode="auto">
            <a:xfrm>
              <a:off x="4958779" y="611629"/>
              <a:ext cx="65335" cy="7436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0 h 503"/>
                <a:gd name="T8" fmla="*/ 102 w 4527"/>
                <a:gd name="T9" fmla="*/ 51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1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49 h 503"/>
                <a:gd name="T28" fmla="*/ 37 w 4527"/>
                <a:gd name="T29" fmla="*/ 383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3 h 503"/>
                <a:gd name="T58" fmla="*/ 4502 w 4527"/>
                <a:gd name="T59" fmla="*/ 361 h 503"/>
                <a:gd name="T60" fmla="*/ 4516 w 4527"/>
                <a:gd name="T61" fmla="*/ 326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4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6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4"/>
                  </a:lnTo>
                  <a:lnTo>
                    <a:pt x="102" y="51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1" y="349"/>
                  </a:lnTo>
                  <a:lnTo>
                    <a:pt x="26" y="361"/>
                  </a:lnTo>
                  <a:lnTo>
                    <a:pt x="31" y="371"/>
                  </a:lnTo>
                  <a:lnTo>
                    <a:pt x="37" y="383"/>
                  </a:lnTo>
                  <a:lnTo>
                    <a:pt x="44" y="393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3"/>
                  </a:lnTo>
                  <a:lnTo>
                    <a:pt x="4491" y="383"/>
                  </a:lnTo>
                  <a:lnTo>
                    <a:pt x="4497" y="371"/>
                  </a:lnTo>
                  <a:lnTo>
                    <a:pt x="4502" y="361"/>
                  </a:lnTo>
                  <a:lnTo>
                    <a:pt x="4507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19" y="315"/>
                  </a:lnTo>
                  <a:lnTo>
                    <a:pt x="4522" y="302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4"/>
                  </a:lnTo>
                  <a:lnTo>
                    <a:pt x="4522" y="201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1"/>
                  </a:lnTo>
                  <a:lnTo>
                    <a:pt x="4416" y="44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77" name="i$lïḍe">
              <a:extLst>
                <a:ext uri="{FF2B5EF4-FFF2-40B4-BE49-F238E27FC236}">
                  <a16:creationId xmlns:a16="http://schemas.microsoft.com/office/drawing/2014/main" id="{96ACBE47-556D-4478-96AE-273B76967E6B}"/>
                </a:ext>
              </a:extLst>
            </p:cNvPr>
            <p:cNvSpPr/>
            <p:nvPr/>
          </p:nvSpPr>
          <p:spPr bwMode="auto">
            <a:xfrm>
              <a:off x="4958779" y="590382"/>
              <a:ext cx="65335" cy="6905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1 h 503"/>
                <a:gd name="T8" fmla="*/ 102 w 4527"/>
                <a:gd name="T9" fmla="*/ 51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2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50 h 503"/>
                <a:gd name="T28" fmla="*/ 37 w 4527"/>
                <a:gd name="T29" fmla="*/ 383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3 h 503"/>
                <a:gd name="T58" fmla="*/ 4502 w 4527"/>
                <a:gd name="T59" fmla="*/ 361 h 503"/>
                <a:gd name="T60" fmla="*/ 4516 w 4527"/>
                <a:gd name="T61" fmla="*/ 326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4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7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1" y="37"/>
                  </a:lnTo>
                  <a:lnTo>
                    <a:pt x="111" y="44"/>
                  </a:lnTo>
                  <a:lnTo>
                    <a:pt x="102" y="51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1" y="350"/>
                  </a:lnTo>
                  <a:lnTo>
                    <a:pt x="26" y="361"/>
                  </a:lnTo>
                  <a:lnTo>
                    <a:pt x="31" y="372"/>
                  </a:lnTo>
                  <a:lnTo>
                    <a:pt x="37" y="383"/>
                  </a:lnTo>
                  <a:lnTo>
                    <a:pt x="44" y="393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3"/>
                  </a:lnTo>
                  <a:lnTo>
                    <a:pt x="4491" y="383"/>
                  </a:lnTo>
                  <a:lnTo>
                    <a:pt x="4497" y="372"/>
                  </a:lnTo>
                  <a:lnTo>
                    <a:pt x="4502" y="361"/>
                  </a:lnTo>
                  <a:lnTo>
                    <a:pt x="4507" y="350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19" y="315"/>
                  </a:lnTo>
                  <a:lnTo>
                    <a:pt x="4522" y="302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4"/>
                  </a:lnTo>
                  <a:lnTo>
                    <a:pt x="4522" y="202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1"/>
                  </a:lnTo>
                  <a:lnTo>
                    <a:pt x="4416" y="44"/>
                  </a:lnTo>
                  <a:lnTo>
                    <a:pt x="4406" y="37"/>
                  </a:lnTo>
                  <a:lnTo>
                    <a:pt x="4395" y="31"/>
                  </a:lnTo>
                  <a:lnTo>
                    <a:pt x="4384" y="26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78" name="íŝ1íḋè">
              <a:extLst>
                <a:ext uri="{FF2B5EF4-FFF2-40B4-BE49-F238E27FC236}">
                  <a16:creationId xmlns:a16="http://schemas.microsoft.com/office/drawing/2014/main" id="{76B964FF-9286-443F-BB36-891E61B8A747}"/>
                </a:ext>
              </a:extLst>
            </p:cNvPr>
            <p:cNvSpPr/>
            <p:nvPr/>
          </p:nvSpPr>
          <p:spPr bwMode="auto">
            <a:xfrm>
              <a:off x="4879633" y="546825"/>
              <a:ext cx="144480" cy="7436"/>
            </a:xfrm>
            <a:custGeom>
              <a:avLst/>
              <a:gdLst>
                <a:gd name="T0" fmla="*/ 238 w 10059"/>
                <a:gd name="T1" fmla="*/ 1 h 503"/>
                <a:gd name="T2" fmla="*/ 201 w 10059"/>
                <a:gd name="T3" fmla="*/ 5 h 503"/>
                <a:gd name="T4" fmla="*/ 165 w 10059"/>
                <a:gd name="T5" fmla="*/ 15 h 503"/>
                <a:gd name="T6" fmla="*/ 132 w 10059"/>
                <a:gd name="T7" fmla="*/ 30 h 503"/>
                <a:gd name="T8" fmla="*/ 100 w 10059"/>
                <a:gd name="T9" fmla="*/ 50 h 503"/>
                <a:gd name="T10" fmla="*/ 73 w 10059"/>
                <a:gd name="T11" fmla="*/ 73 h 503"/>
                <a:gd name="T12" fmla="*/ 50 w 10059"/>
                <a:gd name="T13" fmla="*/ 101 h 503"/>
                <a:gd name="T14" fmla="*/ 30 w 10059"/>
                <a:gd name="T15" fmla="*/ 131 h 503"/>
                <a:gd name="T16" fmla="*/ 15 w 10059"/>
                <a:gd name="T17" fmla="*/ 165 h 503"/>
                <a:gd name="T18" fmla="*/ 5 w 10059"/>
                <a:gd name="T19" fmla="*/ 201 h 503"/>
                <a:gd name="T20" fmla="*/ 0 w 10059"/>
                <a:gd name="T21" fmla="*/ 238 h 503"/>
                <a:gd name="T22" fmla="*/ 1 w 10059"/>
                <a:gd name="T23" fmla="*/ 277 h 503"/>
                <a:gd name="T24" fmla="*/ 8 w 10059"/>
                <a:gd name="T25" fmla="*/ 314 h 503"/>
                <a:gd name="T26" fmla="*/ 20 w 10059"/>
                <a:gd name="T27" fmla="*/ 349 h 503"/>
                <a:gd name="T28" fmla="*/ 36 w 10059"/>
                <a:gd name="T29" fmla="*/ 382 h 503"/>
                <a:gd name="T30" fmla="*/ 57 w 10059"/>
                <a:gd name="T31" fmla="*/ 411 h 503"/>
                <a:gd name="T32" fmla="*/ 82 w 10059"/>
                <a:gd name="T33" fmla="*/ 437 h 503"/>
                <a:gd name="T34" fmla="*/ 110 w 10059"/>
                <a:gd name="T35" fmla="*/ 460 h 503"/>
                <a:gd name="T36" fmla="*/ 143 w 10059"/>
                <a:gd name="T37" fmla="*/ 478 h 503"/>
                <a:gd name="T38" fmla="*/ 177 w 10059"/>
                <a:gd name="T39" fmla="*/ 491 h 503"/>
                <a:gd name="T40" fmla="*/ 213 w 10059"/>
                <a:gd name="T41" fmla="*/ 499 h 503"/>
                <a:gd name="T42" fmla="*/ 251 w 10059"/>
                <a:gd name="T43" fmla="*/ 503 h 503"/>
                <a:gd name="T44" fmla="*/ 9834 w 10059"/>
                <a:gd name="T45" fmla="*/ 502 h 503"/>
                <a:gd name="T46" fmla="*/ 9870 w 10059"/>
                <a:gd name="T47" fmla="*/ 494 h 503"/>
                <a:gd name="T48" fmla="*/ 9905 w 10059"/>
                <a:gd name="T49" fmla="*/ 483 h 503"/>
                <a:gd name="T50" fmla="*/ 9938 w 10059"/>
                <a:gd name="T51" fmla="*/ 466 h 503"/>
                <a:gd name="T52" fmla="*/ 9968 w 10059"/>
                <a:gd name="T53" fmla="*/ 445 h 503"/>
                <a:gd name="T54" fmla="*/ 9994 w 10059"/>
                <a:gd name="T55" fmla="*/ 420 h 503"/>
                <a:gd name="T56" fmla="*/ 10016 w 10059"/>
                <a:gd name="T57" fmla="*/ 392 h 503"/>
                <a:gd name="T58" fmla="*/ 10034 w 10059"/>
                <a:gd name="T59" fmla="*/ 361 h 503"/>
                <a:gd name="T60" fmla="*/ 10048 w 10059"/>
                <a:gd name="T61" fmla="*/ 326 h 503"/>
                <a:gd name="T62" fmla="*/ 10056 w 10059"/>
                <a:gd name="T63" fmla="*/ 289 h 503"/>
                <a:gd name="T64" fmla="*/ 10059 w 10059"/>
                <a:gd name="T65" fmla="*/ 251 h 503"/>
                <a:gd name="T66" fmla="*/ 10056 w 10059"/>
                <a:gd name="T67" fmla="*/ 213 h 503"/>
                <a:gd name="T68" fmla="*/ 10048 w 10059"/>
                <a:gd name="T69" fmla="*/ 177 h 503"/>
                <a:gd name="T70" fmla="*/ 10034 w 10059"/>
                <a:gd name="T71" fmla="*/ 142 h 503"/>
                <a:gd name="T72" fmla="*/ 10016 w 10059"/>
                <a:gd name="T73" fmla="*/ 110 h 503"/>
                <a:gd name="T74" fmla="*/ 9994 w 10059"/>
                <a:gd name="T75" fmla="*/ 82 h 503"/>
                <a:gd name="T76" fmla="*/ 9968 w 10059"/>
                <a:gd name="T77" fmla="*/ 57 h 503"/>
                <a:gd name="T78" fmla="*/ 9938 w 10059"/>
                <a:gd name="T79" fmla="*/ 36 h 503"/>
                <a:gd name="T80" fmla="*/ 9905 w 10059"/>
                <a:gd name="T81" fmla="*/ 20 h 503"/>
                <a:gd name="T82" fmla="*/ 9870 w 10059"/>
                <a:gd name="T83" fmla="*/ 8 h 503"/>
                <a:gd name="T84" fmla="*/ 9834 w 10059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9" h="503">
                  <a:moveTo>
                    <a:pt x="9808" y="0"/>
                  </a:moveTo>
                  <a:lnTo>
                    <a:pt x="251" y="0"/>
                  </a:lnTo>
                  <a:lnTo>
                    <a:pt x="238" y="1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3"/>
                  </a:lnTo>
                  <a:lnTo>
                    <a:pt x="100" y="50"/>
                  </a:lnTo>
                  <a:lnTo>
                    <a:pt x="91" y="57"/>
                  </a:lnTo>
                  <a:lnTo>
                    <a:pt x="82" y="65"/>
                  </a:lnTo>
                  <a:lnTo>
                    <a:pt x="73" y="73"/>
                  </a:lnTo>
                  <a:lnTo>
                    <a:pt x="65" y="82"/>
                  </a:lnTo>
                  <a:lnTo>
                    <a:pt x="57" y="91"/>
                  </a:lnTo>
                  <a:lnTo>
                    <a:pt x="50" y="101"/>
                  </a:lnTo>
                  <a:lnTo>
                    <a:pt x="43" y="110"/>
                  </a:lnTo>
                  <a:lnTo>
                    <a:pt x="36" y="121"/>
                  </a:lnTo>
                  <a:lnTo>
                    <a:pt x="30" y="131"/>
                  </a:lnTo>
                  <a:lnTo>
                    <a:pt x="25" y="142"/>
                  </a:lnTo>
                  <a:lnTo>
                    <a:pt x="20" y="153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6"/>
                  </a:lnTo>
                  <a:lnTo>
                    <a:pt x="0" y="238"/>
                  </a:lnTo>
                  <a:lnTo>
                    <a:pt x="0" y="251"/>
                  </a:lnTo>
                  <a:lnTo>
                    <a:pt x="0" y="264"/>
                  </a:lnTo>
                  <a:lnTo>
                    <a:pt x="1" y="277"/>
                  </a:lnTo>
                  <a:lnTo>
                    <a:pt x="3" y="289"/>
                  </a:lnTo>
                  <a:lnTo>
                    <a:pt x="5" y="302"/>
                  </a:lnTo>
                  <a:lnTo>
                    <a:pt x="8" y="314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2"/>
                  </a:lnTo>
                  <a:lnTo>
                    <a:pt x="57" y="411"/>
                  </a:lnTo>
                  <a:lnTo>
                    <a:pt x="65" y="420"/>
                  </a:lnTo>
                  <a:lnTo>
                    <a:pt x="73" y="429"/>
                  </a:lnTo>
                  <a:lnTo>
                    <a:pt x="82" y="437"/>
                  </a:lnTo>
                  <a:lnTo>
                    <a:pt x="91" y="445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6"/>
                  </a:lnTo>
                  <a:lnTo>
                    <a:pt x="132" y="472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7"/>
                  </a:lnTo>
                  <a:lnTo>
                    <a:pt x="177" y="491"/>
                  </a:lnTo>
                  <a:lnTo>
                    <a:pt x="189" y="494"/>
                  </a:lnTo>
                  <a:lnTo>
                    <a:pt x="201" y="497"/>
                  </a:lnTo>
                  <a:lnTo>
                    <a:pt x="213" y="499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9808" y="503"/>
                  </a:lnTo>
                  <a:lnTo>
                    <a:pt x="9821" y="503"/>
                  </a:lnTo>
                  <a:lnTo>
                    <a:pt x="9834" y="502"/>
                  </a:lnTo>
                  <a:lnTo>
                    <a:pt x="9846" y="499"/>
                  </a:lnTo>
                  <a:lnTo>
                    <a:pt x="9858" y="497"/>
                  </a:lnTo>
                  <a:lnTo>
                    <a:pt x="9870" y="494"/>
                  </a:lnTo>
                  <a:lnTo>
                    <a:pt x="9882" y="491"/>
                  </a:lnTo>
                  <a:lnTo>
                    <a:pt x="9894" y="487"/>
                  </a:lnTo>
                  <a:lnTo>
                    <a:pt x="9905" y="483"/>
                  </a:lnTo>
                  <a:lnTo>
                    <a:pt x="9916" y="478"/>
                  </a:lnTo>
                  <a:lnTo>
                    <a:pt x="9927" y="472"/>
                  </a:lnTo>
                  <a:lnTo>
                    <a:pt x="9938" y="466"/>
                  </a:lnTo>
                  <a:lnTo>
                    <a:pt x="9948" y="460"/>
                  </a:lnTo>
                  <a:lnTo>
                    <a:pt x="9959" y="453"/>
                  </a:lnTo>
                  <a:lnTo>
                    <a:pt x="9968" y="445"/>
                  </a:lnTo>
                  <a:lnTo>
                    <a:pt x="9977" y="437"/>
                  </a:lnTo>
                  <a:lnTo>
                    <a:pt x="9986" y="429"/>
                  </a:lnTo>
                  <a:lnTo>
                    <a:pt x="9994" y="420"/>
                  </a:lnTo>
                  <a:lnTo>
                    <a:pt x="10002" y="411"/>
                  </a:lnTo>
                  <a:lnTo>
                    <a:pt x="10009" y="402"/>
                  </a:lnTo>
                  <a:lnTo>
                    <a:pt x="10016" y="392"/>
                  </a:lnTo>
                  <a:lnTo>
                    <a:pt x="10023" y="382"/>
                  </a:lnTo>
                  <a:lnTo>
                    <a:pt x="10029" y="371"/>
                  </a:lnTo>
                  <a:lnTo>
                    <a:pt x="10034" y="361"/>
                  </a:lnTo>
                  <a:lnTo>
                    <a:pt x="10039" y="349"/>
                  </a:lnTo>
                  <a:lnTo>
                    <a:pt x="10044" y="338"/>
                  </a:lnTo>
                  <a:lnTo>
                    <a:pt x="10048" y="326"/>
                  </a:lnTo>
                  <a:lnTo>
                    <a:pt x="10051" y="314"/>
                  </a:lnTo>
                  <a:lnTo>
                    <a:pt x="10054" y="302"/>
                  </a:lnTo>
                  <a:lnTo>
                    <a:pt x="10056" y="289"/>
                  </a:lnTo>
                  <a:lnTo>
                    <a:pt x="10058" y="277"/>
                  </a:lnTo>
                  <a:lnTo>
                    <a:pt x="10059" y="264"/>
                  </a:lnTo>
                  <a:lnTo>
                    <a:pt x="10059" y="251"/>
                  </a:lnTo>
                  <a:lnTo>
                    <a:pt x="10059" y="238"/>
                  </a:lnTo>
                  <a:lnTo>
                    <a:pt x="10058" y="226"/>
                  </a:lnTo>
                  <a:lnTo>
                    <a:pt x="10056" y="213"/>
                  </a:lnTo>
                  <a:lnTo>
                    <a:pt x="10054" y="201"/>
                  </a:lnTo>
                  <a:lnTo>
                    <a:pt x="10051" y="189"/>
                  </a:lnTo>
                  <a:lnTo>
                    <a:pt x="10048" y="177"/>
                  </a:lnTo>
                  <a:lnTo>
                    <a:pt x="10044" y="165"/>
                  </a:lnTo>
                  <a:lnTo>
                    <a:pt x="10039" y="153"/>
                  </a:lnTo>
                  <a:lnTo>
                    <a:pt x="10034" y="142"/>
                  </a:lnTo>
                  <a:lnTo>
                    <a:pt x="10029" y="131"/>
                  </a:lnTo>
                  <a:lnTo>
                    <a:pt x="10023" y="121"/>
                  </a:lnTo>
                  <a:lnTo>
                    <a:pt x="10016" y="110"/>
                  </a:lnTo>
                  <a:lnTo>
                    <a:pt x="10009" y="101"/>
                  </a:lnTo>
                  <a:lnTo>
                    <a:pt x="10002" y="91"/>
                  </a:lnTo>
                  <a:lnTo>
                    <a:pt x="9994" y="82"/>
                  </a:lnTo>
                  <a:lnTo>
                    <a:pt x="9986" y="73"/>
                  </a:lnTo>
                  <a:lnTo>
                    <a:pt x="9977" y="65"/>
                  </a:lnTo>
                  <a:lnTo>
                    <a:pt x="9968" y="57"/>
                  </a:lnTo>
                  <a:lnTo>
                    <a:pt x="9959" y="50"/>
                  </a:lnTo>
                  <a:lnTo>
                    <a:pt x="9948" y="43"/>
                  </a:lnTo>
                  <a:lnTo>
                    <a:pt x="9938" y="36"/>
                  </a:lnTo>
                  <a:lnTo>
                    <a:pt x="9927" y="30"/>
                  </a:lnTo>
                  <a:lnTo>
                    <a:pt x="9916" y="25"/>
                  </a:lnTo>
                  <a:lnTo>
                    <a:pt x="9905" y="20"/>
                  </a:lnTo>
                  <a:lnTo>
                    <a:pt x="9894" y="15"/>
                  </a:lnTo>
                  <a:lnTo>
                    <a:pt x="9882" y="11"/>
                  </a:lnTo>
                  <a:lnTo>
                    <a:pt x="9870" y="8"/>
                  </a:lnTo>
                  <a:lnTo>
                    <a:pt x="9858" y="5"/>
                  </a:lnTo>
                  <a:lnTo>
                    <a:pt x="9846" y="3"/>
                  </a:lnTo>
                  <a:lnTo>
                    <a:pt x="9834" y="1"/>
                  </a:lnTo>
                  <a:lnTo>
                    <a:pt x="9821" y="1"/>
                  </a:lnTo>
                  <a:lnTo>
                    <a:pt x="98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79" name="ïṧľiḓê">
              <a:extLst>
                <a:ext uri="{FF2B5EF4-FFF2-40B4-BE49-F238E27FC236}">
                  <a16:creationId xmlns:a16="http://schemas.microsoft.com/office/drawing/2014/main" id="{43A81B68-CD68-4556-802B-4E03C4D2D5A9}"/>
                </a:ext>
              </a:extLst>
            </p:cNvPr>
            <p:cNvSpPr/>
            <p:nvPr/>
          </p:nvSpPr>
          <p:spPr bwMode="auto">
            <a:xfrm>
              <a:off x="4879633" y="568603"/>
              <a:ext cx="144480" cy="6905"/>
            </a:xfrm>
            <a:custGeom>
              <a:avLst/>
              <a:gdLst>
                <a:gd name="T0" fmla="*/ 238 w 10059"/>
                <a:gd name="T1" fmla="*/ 0 h 503"/>
                <a:gd name="T2" fmla="*/ 201 w 10059"/>
                <a:gd name="T3" fmla="*/ 5 h 503"/>
                <a:gd name="T4" fmla="*/ 165 w 10059"/>
                <a:gd name="T5" fmla="*/ 16 h 503"/>
                <a:gd name="T6" fmla="*/ 132 w 10059"/>
                <a:gd name="T7" fmla="*/ 31 h 503"/>
                <a:gd name="T8" fmla="*/ 100 w 10059"/>
                <a:gd name="T9" fmla="*/ 51 h 503"/>
                <a:gd name="T10" fmla="*/ 73 w 10059"/>
                <a:gd name="T11" fmla="*/ 74 h 503"/>
                <a:gd name="T12" fmla="*/ 50 w 10059"/>
                <a:gd name="T13" fmla="*/ 102 h 503"/>
                <a:gd name="T14" fmla="*/ 30 w 10059"/>
                <a:gd name="T15" fmla="*/ 132 h 503"/>
                <a:gd name="T16" fmla="*/ 15 w 10059"/>
                <a:gd name="T17" fmla="*/ 165 h 503"/>
                <a:gd name="T18" fmla="*/ 5 w 10059"/>
                <a:gd name="T19" fmla="*/ 202 h 503"/>
                <a:gd name="T20" fmla="*/ 0 w 10059"/>
                <a:gd name="T21" fmla="*/ 239 h 503"/>
                <a:gd name="T22" fmla="*/ 1 w 10059"/>
                <a:gd name="T23" fmla="*/ 278 h 503"/>
                <a:gd name="T24" fmla="*/ 8 w 10059"/>
                <a:gd name="T25" fmla="*/ 315 h 503"/>
                <a:gd name="T26" fmla="*/ 20 w 10059"/>
                <a:gd name="T27" fmla="*/ 350 h 503"/>
                <a:gd name="T28" fmla="*/ 36 w 10059"/>
                <a:gd name="T29" fmla="*/ 383 h 503"/>
                <a:gd name="T30" fmla="*/ 57 w 10059"/>
                <a:gd name="T31" fmla="*/ 412 h 503"/>
                <a:gd name="T32" fmla="*/ 82 w 10059"/>
                <a:gd name="T33" fmla="*/ 438 h 503"/>
                <a:gd name="T34" fmla="*/ 110 w 10059"/>
                <a:gd name="T35" fmla="*/ 460 h 503"/>
                <a:gd name="T36" fmla="*/ 143 w 10059"/>
                <a:gd name="T37" fmla="*/ 478 h 503"/>
                <a:gd name="T38" fmla="*/ 177 w 10059"/>
                <a:gd name="T39" fmla="*/ 492 h 503"/>
                <a:gd name="T40" fmla="*/ 213 w 10059"/>
                <a:gd name="T41" fmla="*/ 500 h 503"/>
                <a:gd name="T42" fmla="*/ 251 w 10059"/>
                <a:gd name="T43" fmla="*/ 503 h 503"/>
                <a:gd name="T44" fmla="*/ 9834 w 10059"/>
                <a:gd name="T45" fmla="*/ 502 h 503"/>
                <a:gd name="T46" fmla="*/ 9870 w 10059"/>
                <a:gd name="T47" fmla="*/ 495 h 503"/>
                <a:gd name="T48" fmla="*/ 9905 w 10059"/>
                <a:gd name="T49" fmla="*/ 483 h 503"/>
                <a:gd name="T50" fmla="*/ 9938 w 10059"/>
                <a:gd name="T51" fmla="*/ 467 h 503"/>
                <a:gd name="T52" fmla="*/ 9968 w 10059"/>
                <a:gd name="T53" fmla="*/ 446 h 503"/>
                <a:gd name="T54" fmla="*/ 9994 w 10059"/>
                <a:gd name="T55" fmla="*/ 421 h 503"/>
                <a:gd name="T56" fmla="*/ 10016 w 10059"/>
                <a:gd name="T57" fmla="*/ 393 h 503"/>
                <a:gd name="T58" fmla="*/ 10034 w 10059"/>
                <a:gd name="T59" fmla="*/ 362 h 503"/>
                <a:gd name="T60" fmla="*/ 10048 w 10059"/>
                <a:gd name="T61" fmla="*/ 326 h 503"/>
                <a:gd name="T62" fmla="*/ 10056 w 10059"/>
                <a:gd name="T63" fmla="*/ 290 h 503"/>
                <a:gd name="T64" fmla="*/ 10059 w 10059"/>
                <a:gd name="T65" fmla="*/ 252 h 503"/>
                <a:gd name="T66" fmla="*/ 10056 w 10059"/>
                <a:gd name="T67" fmla="*/ 214 h 503"/>
                <a:gd name="T68" fmla="*/ 10048 w 10059"/>
                <a:gd name="T69" fmla="*/ 177 h 503"/>
                <a:gd name="T70" fmla="*/ 10034 w 10059"/>
                <a:gd name="T71" fmla="*/ 143 h 503"/>
                <a:gd name="T72" fmla="*/ 10016 w 10059"/>
                <a:gd name="T73" fmla="*/ 112 h 503"/>
                <a:gd name="T74" fmla="*/ 9994 w 10059"/>
                <a:gd name="T75" fmla="*/ 83 h 503"/>
                <a:gd name="T76" fmla="*/ 9968 w 10059"/>
                <a:gd name="T77" fmla="*/ 58 h 503"/>
                <a:gd name="T78" fmla="*/ 9938 w 10059"/>
                <a:gd name="T79" fmla="*/ 37 h 503"/>
                <a:gd name="T80" fmla="*/ 9905 w 10059"/>
                <a:gd name="T81" fmla="*/ 21 h 503"/>
                <a:gd name="T82" fmla="*/ 9870 w 10059"/>
                <a:gd name="T83" fmla="*/ 8 h 503"/>
                <a:gd name="T84" fmla="*/ 9834 w 10059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9" h="503">
                  <a:moveTo>
                    <a:pt x="9808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2"/>
                  </a:lnTo>
                  <a:lnTo>
                    <a:pt x="165" y="16"/>
                  </a:lnTo>
                  <a:lnTo>
                    <a:pt x="154" y="21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0" y="37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2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90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2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4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9808" y="503"/>
                  </a:lnTo>
                  <a:lnTo>
                    <a:pt x="9821" y="503"/>
                  </a:lnTo>
                  <a:lnTo>
                    <a:pt x="9834" y="502"/>
                  </a:lnTo>
                  <a:lnTo>
                    <a:pt x="9846" y="500"/>
                  </a:lnTo>
                  <a:lnTo>
                    <a:pt x="9858" y="498"/>
                  </a:lnTo>
                  <a:lnTo>
                    <a:pt x="9870" y="495"/>
                  </a:lnTo>
                  <a:lnTo>
                    <a:pt x="9882" y="492"/>
                  </a:lnTo>
                  <a:lnTo>
                    <a:pt x="9894" y="488"/>
                  </a:lnTo>
                  <a:lnTo>
                    <a:pt x="9905" y="483"/>
                  </a:lnTo>
                  <a:lnTo>
                    <a:pt x="9916" y="478"/>
                  </a:lnTo>
                  <a:lnTo>
                    <a:pt x="9927" y="473"/>
                  </a:lnTo>
                  <a:lnTo>
                    <a:pt x="9938" y="467"/>
                  </a:lnTo>
                  <a:lnTo>
                    <a:pt x="9948" y="460"/>
                  </a:lnTo>
                  <a:lnTo>
                    <a:pt x="9959" y="454"/>
                  </a:lnTo>
                  <a:lnTo>
                    <a:pt x="9968" y="446"/>
                  </a:lnTo>
                  <a:lnTo>
                    <a:pt x="9977" y="438"/>
                  </a:lnTo>
                  <a:lnTo>
                    <a:pt x="9986" y="430"/>
                  </a:lnTo>
                  <a:lnTo>
                    <a:pt x="9994" y="421"/>
                  </a:lnTo>
                  <a:lnTo>
                    <a:pt x="10002" y="412"/>
                  </a:lnTo>
                  <a:lnTo>
                    <a:pt x="10009" y="403"/>
                  </a:lnTo>
                  <a:lnTo>
                    <a:pt x="10016" y="393"/>
                  </a:lnTo>
                  <a:lnTo>
                    <a:pt x="10023" y="383"/>
                  </a:lnTo>
                  <a:lnTo>
                    <a:pt x="10029" y="372"/>
                  </a:lnTo>
                  <a:lnTo>
                    <a:pt x="10034" y="362"/>
                  </a:lnTo>
                  <a:lnTo>
                    <a:pt x="10039" y="350"/>
                  </a:lnTo>
                  <a:lnTo>
                    <a:pt x="10044" y="338"/>
                  </a:lnTo>
                  <a:lnTo>
                    <a:pt x="10048" y="326"/>
                  </a:lnTo>
                  <a:lnTo>
                    <a:pt x="10051" y="315"/>
                  </a:lnTo>
                  <a:lnTo>
                    <a:pt x="10054" y="302"/>
                  </a:lnTo>
                  <a:lnTo>
                    <a:pt x="10056" y="290"/>
                  </a:lnTo>
                  <a:lnTo>
                    <a:pt x="10058" y="278"/>
                  </a:lnTo>
                  <a:lnTo>
                    <a:pt x="10059" y="265"/>
                  </a:lnTo>
                  <a:lnTo>
                    <a:pt x="10059" y="252"/>
                  </a:lnTo>
                  <a:lnTo>
                    <a:pt x="10059" y="239"/>
                  </a:lnTo>
                  <a:lnTo>
                    <a:pt x="10058" y="227"/>
                  </a:lnTo>
                  <a:lnTo>
                    <a:pt x="10056" y="214"/>
                  </a:lnTo>
                  <a:lnTo>
                    <a:pt x="10054" y="202"/>
                  </a:lnTo>
                  <a:lnTo>
                    <a:pt x="10051" y="190"/>
                  </a:lnTo>
                  <a:lnTo>
                    <a:pt x="10048" y="177"/>
                  </a:lnTo>
                  <a:lnTo>
                    <a:pt x="10044" y="165"/>
                  </a:lnTo>
                  <a:lnTo>
                    <a:pt x="10039" y="154"/>
                  </a:lnTo>
                  <a:lnTo>
                    <a:pt x="10034" y="143"/>
                  </a:lnTo>
                  <a:lnTo>
                    <a:pt x="10029" y="132"/>
                  </a:lnTo>
                  <a:lnTo>
                    <a:pt x="10023" y="122"/>
                  </a:lnTo>
                  <a:lnTo>
                    <a:pt x="10016" y="112"/>
                  </a:lnTo>
                  <a:lnTo>
                    <a:pt x="10009" y="102"/>
                  </a:lnTo>
                  <a:lnTo>
                    <a:pt x="10002" y="92"/>
                  </a:lnTo>
                  <a:lnTo>
                    <a:pt x="9994" y="83"/>
                  </a:lnTo>
                  <a:lnTo>
                    <a:pt x="9986" y="74"/>
                  </a:lnTo>
                  <a:lnTo>
                    <a:pt x="9977" y="66"/>
                  </a:lnTo>
                  <a:lnTo>
                    <a:pt x="9968" y="58"/>
                  </a:lnTo>
                  <a:lnTo>
                    <a:pt x="9959" y="51"/>
                  </a:lnTo>
                  <a:lnTo>
                    <a:pt x="9948" y="44"/>
                  </a:lnTo>
                  <a:lnTo>
                    <a:pt x="9938" y="37"/>
                  </a:lnTo>
                  <a:lnTo>
                    <a:pt x="9927" y="31"/>
                  </a:lnTo>
                  <a:lnTo>
                    <a:pt x="9916" y="26"/>
                  </a:lnTo>
                  <a:lnTo>
                    <a:pt x="9905" y="21"/>
                  </a:lnTo>
                  <a:lnTo>
                    <a:pt x="9894" y="16"/>
                  </a:lnTo>
                  <a:lnTo>
                    <a:pt x="9882" y="12"/>
                  </a:lnTo>
                  <a:lnTo>
                    <a:pt x="9870" y="8"/>
                  </a:lnTo>
                  <a:lnTo>
                    <a:pt x="9858" y="5"/>
                  </a:lnTo>
                  <a:lnTo>
                    <a:pt x="9846" y="3"/>
                  </a:lnTo>
                  <a:lnTo>
                    <a:pt x="9834" y="1"/>
                  </a:lnTo>
                  <a:lnTo>
                    <a:pt x="9821" y="0"/>
                  </a:lnTo>
                  <a:lnTo>
                    <a:pt x="98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80" name="íşlïḋé">
              <a:extLst>
                <a:ext uri="{FF2B5EF4-FFF2-40B4-BE49-F238E27FC236}">
                  <a16:creationId xmlns:a16="http://schemas.microsoft.com/office/drawing/2014/main" id="{8B2B9E5B-9578-422E-986A-FC7473B5DF9F}"/>
                </a:ext>
              </a:extLst>
            </p:cNvPr>
            <p:cNvSpPr/>
            <p:nvPr/>
          </p:nvSpPr>
          <p:spPr bwMode="auto">
            <a:xfrm>
              <a:off x="4879633" y="467149"/>
              <a:ext cx="64804" cy="65335"/>
            </a:xfrm>
            <a:custGeom>
              <a:avLst/>
              <a:gdLst>
                <a:gd name="T0" fmla="*/ 3521 w 4526"/>
                <a:gd name="T1" fmla="*/ 3519 h 4525"/>
                <a:gd name="T2" fmla="*/ 503 w 4526"/>
                <a:gd name="T3" fmla="*/ 4525 h 4525"/>
                <a:gd name="T4" fmla="*/ 4075 w 4526"/>
                <a:gd name="T5" fmla="*/ 4522 h 4525"/>
                <a:gd name="T6" fmla="*/ 4149 w 4526"/>
                <a:gd name="T7" fmla="*/ 4508 h 4525"/>
                <a:gd name="T8" fmla="*/ 4220 w 4526"/>
                <a:gd name="T9" fmla="*/ 4485 h 4525"/>
                <a:gd name="T10" fmla="*/ 4284 w 4526"/>
                <a:gd name="T11" fmla="*/ 4452 h 4525"/>
                <a:gd name="T12" fmla="*/ 4343 w 4526"/>
                <a:gd name="T13" fmla="*/ 4410 h 4525"/>
                <a:gd name="T14" fmla="*/ 4396 w 4526"/>
                <a:gd name="T15" fmla="*/ 4360 h 4525"/>
                <a:gd name="T16" fmla="*/ 4441 w 4526"/>
                <a:gd name="T17" fmla="*/ 4302 h 4525"/>
                <a:gd name="T18" fmla="*/ 4477 w 4526"/>
                <a:gd name="T19" fmla="*/ 4240 h 4525"/>
                <a:gd name="T20" fmla="*/ 4504 w 4526"/>
                <a:gd name="T21" fmla="*/ 4172 h 4525"/>
                <a:gd name="T22" fmla="*/ 4520 w 4526"/>
                <a:gd name="T23" fmla="*/ 4098 h 4525"/>
                <a:gd name="T24" fmla="*/ 4526 w 4526"/>
                <a:gd name="T25" fmla="*/ 4022 h 4525"/>
                <a:gd name="T26" fmla="*/ 4523 w 4526"/>
                <a:gd name="T27" fmla="*/ 452 h 4525"/>
                <a:gd name="T28" fmla="*/ 4510 w 4526"/>
                <a:gd name="T29" fmla="*/ 377 h 4525"/>
                <a:gd name="T30" fmla="*/ 4487 w 4526"/>
                <a:gd name="T31" fmla="*/ 308 h 4525"/>
                <a:gd name="T32" fmla="*/ 4454 w 4526"/>
                <a:gd name="T33" fmla="*/ 242 h 4525"/>
                <a:gd name="T34" fmla="*/ 4412 w 4526"/>
                <a:gd name="T35" fmla="*/ 183 h 4525"/>
                <a:gd name="T36" fmla="*/ 4361 w 4526"/>
                <a:gd name="T37" fmla="*/ 131 h 4525"/>
                <a:gd name="T38" fmla="*/ 4305 w 4526"/>
                <a:gd name="T39" fmla="*/ 85 h 4525"/>
                <a:gd name="T40" fmla="*/ 4242 w 4526"/>
                <a:gd name="T41" fmla="*/ 49 h 4525"/>
                <a:gd name="T42" fmla="*/ 4173 w 4526"/>
                <a:gd name="T43" fmla="*/ 22 h 4525"/>
                <a:gd name="T44" fmla="*/ 4100 w 4526"/>
                <a:gd name="T45" fmla="*/ 6 h 4525"/>
                <a:gd name="T46" fmla="*/ 4024 w 4526"/>
                <a:gd name="T47" fmla="*/ 0 h 4525"/>
                <a:gd name="T48" fmla="*/ 451 w 4526"/>
                <a:gd name="T49" fmla="*/ 3 h 4525"/>
                <a:gd name="T50" fmla="*/ 377 w 4526"/>
                <a:gd name="T51" fmla="*/ 16 h 4525"/>
                <a:gd name="T52" fmla="*/ 307 w 4526"/>
                <a:gd name="T53" fmla="*/ 39 h 4525"/>
                <a:gd name="T54" fmla="*/ 242 w 4526"/>
                <a:gd name="T55" fmla="*/ 72 h 4525"/>
                <a:gd name="T56" fmla="*/ 183 w 4526"/>
                <a:gd name="T57" fmla="*/ 115 h 4525"/>
                <a:gd name="T58" fmla="*/ 131 w 4526"/>
                <a:gd name="T59" fmla="*/ 165 h 4525"/>
                <a:gd name="T60" fmla="*/ 85 w 4526"/>
                <a:gd name="T61" fmla="*/ 222 h 4525"/>
                <a:gd name="T62" fmla="*/ 49 w 4526"/>
                <a:gd name="T63" fmla="*/ 285 h 4525"/>
                <a:gd name="T64" fmla="*/ 22 w 4526"/>
                <a:gd name="T65" fmla="*/ 353 h 4525"/>
                <a:gd name="T66" fmla="*/ 6 w 4526"/>
                <a:gd name="T67" fmla="*/ 426 h 4525"/>
                <a:gd name="T68" fmla="*/ 0 w 4526"/>
                <a:gd name="T69" fmla="*/ 503 h 4525"/>
                <a:gd name="T70" fmla="*/ 3 w 4526"/>
                <a:gd name="T71" fmla="*/ 4073 h 4525"/>
                <a:gd name="T72" fmla="*/ 16 w 4526"/>
                <a:gd name="T73" fmla="*/ 4147 h 4525"/>
                <a:gd name="T74" fmla="*/ 39 w 4526"/>
                <a:gd name="T75" fmla="*/ 4218 h 4525"/>
                <a:gd name="T76" fmla="*/ 72 w 4526"/>
                <a:gd name="T77" fmla="*/ 4282 h 4525"/>
                <a:gd name="T78" fmla="*/ 114 w 4526"/>
                <a:gd name="T79" fmla="*/ 4342 h 4525"/>
                <a:gd name="T80" fmla="*/ 165 w 4526"/>
                <a:gd name="T81" fmla="*/ 4394 h 4525"/>
                <a:gd name="T82" fmla="*/ 221 w 4526"/>
                <a:gd name="T83" fmla="*/ 4439 h 4525"/>
                <a:gd name="T84" fmla="*/ 284 w 4526"/>
                <a:gd name="T85" fmla="*/ 4475 h 4525"/>
                <a:gd name="T86" fmla="*/ 353 w 4526"/>
                <a:gd name="T87" fmla="*/ 4501 h 4525"/>
                <a:gd name="T88" fmla="*/ 426 w 4526"/>
                <a:gd name="T89" fmla="*/ 4519 h 4525"/>
                <a:gd name="T90" fmla="*/ 503 w 4526"/>
                <a:gd name="T91" fmla="*/ 4525 h 4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526" h="4525">
                  <a:moveTo>
                    <a:pt x="1006" y="1004"/>
                  </a:moveTo>
                  <a:lnTo>
                    <a:pt x="3521" y="1004"/>
                  </a:lnTo>
                  <a:lnTo>
                    <a:pt x="3521" y="3519"/>
                  </a:lnTo>
                  <a:lnTo>
                    <a:pt x="1006" y="3519"/>
                  </a:lnTo>
                  <a:lnTo>
                    <a:pt x="1006" y="1004"/>
                  </a:lnTo>
                  <a:close/>
                  <a:moveTo>
                    <a:pt x="503" y="4525"/>
                  </a:moveTo>
                  <a:lnTo>
                    <a:pt x="4024" y="4525"/>
                  </a:lnTo>
                  <a:lnTo>
                    <a:pt x="4050" y="4524"/>
                  </a:lnTo>
                  <a:lnTo>
                    <a:pt x="4075" y="4522"/>
                  </a:lnTo>
                  <a:lnTo>
                    <a:pt x="4100" y="4519"/>
                  </a:lnTo>
                  <a:lnTo>
                    <a:pt x="4125" y="4515"/>
                  </a:lnTo>
                  <a:lnTo>
                    <a:pt x="4149" y="4508"/>
                  </a:lnTo>
                  <a:lnTo>
                    <a:pt x="4173" y="4501"/>
                  </a:lnTo>
                  <a:lnTo>
                    <a:pt x="4197" y="4494"/>
                  </a:lnTo>
                  <a:lnTo>
                    <a:pt x="4220" y="4485"/>
                  </a:lnTo>
                  <a:lnTo>
                    <a:pt x="4242" y="4475"/>
                  </a:lnTo>
                  <a:lnTo>
                    <a:pt x="4263" y="4464"/>
                  </a:lnTo>
                  <a:lnTo>
                    <a:pt x="4284" y="4452"/>
                  </a:lnTo>
                  <a:lnTo>
                    <a:pt x="4305" y="4439"/>
                  </a:lnTo>
                  <a:lnTo>
                    <a:pt x="4324" y="4425"/>
                  </a:lnTo>
                  <a:lnTo>
                    <a:pt x="4343" y="4410"/>
                  </a:lnTo>
                  <a:lnTo>
                    <a:pt x="4361" y="4394"/>
                  </a:lnTo>
                  <a:lnTo>
                    <a:pt x="4380" y="4378"/>
                  </a:lnTo>
                  <a:lnTo>
                    <a:pt x="4396" y="4360"/>
                  </a:lnTo>
                  <a:lnTo>
                    <a:pt x="4412" y="4342"/>
                  </a:lnTo>
                  <a:lnTo>
                    <a:pt x="4427" y="4322"/>
                  </a:lnTo>
                  <a:lnTo>
                    <a:pt x="4441" y="4302"/>
                  </a:lnTo>
                  <a:lnTo>
                    <a:pt x="4454" y="4282"/>
                  </a:lnTo>
                  <a:lnTo>
                    <a:pt x="4466" y="4261"/>
                  </a:lnTo>
                  <a:lnTo>
                    <a:pt x="4477" y="4240"/>
                  </a:lnTo>
                  <a:lnTo>
                    <a:pt x="4487" y="4218"/>
                  </a:lnTo>
                  <a:lnTo>
                    <a:pt x="4496" y="4195"/>
                  </a:lnTo>
                  <a:lnTo>
                    <a:pt x="4504" y="4172"/>
                  </a:lnTo>
                  <a:lnTo>
                    <a:pt x="4510" y="4147"/>
                  </a:lnTo>
                  <a:lnTo>
                    <a:pt x="4516" y="4123"/>
                  </a:lnTo>
                  <a:lnTo>
                    <a:pt x="4520" y="4098"/>
                  </a:lnTo>
                  <a:lnTo>
                    <a:pt x="4523" y="4073"/>
                  </a:lnTo>
                  <a:lnTo>
                    <a:pt x="4525" y="4048"/>
                  </a:lnTo>
                  <a:lnTo>
                    <a:pt x="4526" y="4022"/>
                  </a:lnTo>
                  <a:lnTo>
                    <a:pt x="4526" y="503"/>
                  </a:lnTo>
                  <a:lnTo>
                    <a:pt x="4525" y="477"/>
                  </a:lnTo>
                  <a:lnTo>
                    <a:pt x="4523" y="452"/>
                  </a:lnTo>
                  <a:lnTo>
                    <a:pt x="4520" y="426"/>
                  </a:lnTo>
                  <a:lnTo>
                    <a:pt x="4516" y="401"/>
                  </a:lnTo>
                  <a:lnTo>
                    <a:pt x="4510" y="377"/>
                  </a:lnTo>
                  <a:lnTo>
                    <a:pt x="4504" y="353"/>
                  </a:lnTo>
                  <a:lnTo>
                    <a:pt x="4496" y="330"/>
                  </a:lnTo>
                  <a:lnTo>
                    <a:pt x="4487" y="308"/>
                  </a:lnTo>
                  <a:lnTo>
                    <a:pt x="4477" y="285"/>
                  </a:lnTo>
                  <a:lnTo>
                    <a:pt x="4466" y="263"/>
                  </a:lnTo>
                  <a:lnTo>
                    <a:pt x="4454" y="242"/>
                  </a:lnTo>
                  <a:lnTo>
                    <a:pt x="4441" y="222"/>
                  </a:lnTo>
                  <a:lnTo>
                    <a:pt x="4427" y="202"/>
                  </a:lnTo>
                  <a:lnTo>
                    <a:pt x="4412" y="183"/>
                  </a:lnTo>
                  <a:lnTo>
                    <a:pt x="4396" y="165"/>
                  </a:lnTo>
                  <a:lnTo>
                    <a:pt x="4380" y="148"/>
                  </a:lnTo>
                  <a:lnTo>
                    <a:pt x="4361" y="131"/>
                  </a:lnTo>
                  <a:lnTo>
                    <a:pt x="4343" y="115"/>
                  </a:lnTo>
                  <a:lnTo>
                    <a:pt x="4324" y="99"/>
                  </a:lnTo>
                  <a:lnTo>
                    <a:pt x="4305" y="85"/>
                  </a:lnTo>
                  <a:lnTo>
                    <a:pt x="4284" y="72"/>
                  </a:lnTo>
                  <a:lnTo>
                    <a:pt x="4263" y="60"/>
                  </a:lnTo>
                  <a:lnTo>
                    <a:pt x="4242" y="49"/>
                  </a:lnTo>
                  <a:lnTo>
                    <a:pt x="4220" y="39"/>
                  </a:lnTo>
                  <a:lnTo>
                    <a:pt x="4197" y="30"/>
                  </a:lnTo>
                  <a:lnTo>
                    <a:pt x="4173" y="22"/>
                  </a:lnTo>
                  <a:lnTo>
                    <a:pt x="4149" y="16"/>
                  </a:lnTo>
                  <a:lnTo>
                    <a:pt x="4125" y="10"/>
                  </a:lnTo>
                  <a:lnTo>
                    <a:pt x="4100" y="6"/>
                  </a:lnTo>
                  <a:lnTo>
                    <a:pt x="4075" y="3"/>
                  </a:lnTo>
                  <a:lnTo>
                    <a:pt x="4050" y="1"/>
                  </a:lnTo>
                  <a:lnTo>
                    <a:pt x="4024" y="0"/>
                  </a:lnTo>
                  <a:lnTo>
                    <a:pt x="503" y="0"/>
                  </a:lnTo>
                  <a:lnTo>
                    <a:pt x="477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4" y="49"/>
                  </a:lnTo>
                  <a:lnTo>
                    <a:pt x="262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8"/>
                  </a:lnTo>
                  <a:lnTo>
                    <a:pt x="131" y="165"/>
                  </a:lnTo>
                  <a:lnTo>
                    <a:pt x="114" y="183"/>
                  </a:lnTo>
                  <a:lnTo>
                    <a:pt x="99" y="202"/>
                  </a:lnTo>
                  <a:lnTo>
                    <a:pt x="85" y="222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8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0" y="4022"/>
                  </a:lnTo>
                  <a:lnTo>
                    <a:pt x="1" y="4048"/>
                  </a:lnTo>
                  <a:lnTo>
                    <a:pt x="3" y="4073"/>
                  </a:lnTo>
                  <a:lnTo>
                    <a:pt x="6" y="4098"/>
                  </a:lnTo>
                  <a:lnTo>
                    <a:pt x="10" y="4123"/>
                  </a:lnTo>
                  <a:lnTo>
                    <a:pt x="16" y="4147"/>
                  </a:lnTo>
                  <a:lnTo>
                    <a:pt x="22" y="4172"/>
                  </a:lnTo>
                  <a:lnTo>
                    <a:pt x="30" y="4195"/>
                  </a:lnTo>
                  <a:lnTo>
                    <a:pt x="39" y="4218"/>
                  </a:lnTo>
                  <a:lnTo>
                    <a:pt x="49" y="4240"/>
                  </a:lnTo>
                  <a:lnTo>
                    <a:pt x="60" y="4261"/>
                  </a:lnTo>
                  <a:lnTo>
                    <a:pt x="72" y="4282"/>
                  </a:lnTo>
                  <a:lnTo>
                    <a:pt x="85" y="4302"/>
                  </a:lnTo>
                  <a:lnTo>
                    <a:pt x="99" y="4322"/>
                  </a:lnTo>
                  <a:lnTo>
                    <a:pt x="114" y="4342"/>
                  </a:lnTo>
                  <a:lnTo>
                    <a:pt x="131" y="4360"/>
                  </a:lnTo>
                  <a:lnTo>
                    <a:pt x="147" y="4378"/>
                  </a:lnTo>
                  <a:lnTo>
                    <a:pt x="165" y="4394"/>
                  </a:lnTo>
                  <a:lnTo>
                    <a:pt x="183" y="4410"/>
                  </a:lnTo>
                  <a:lnTo>
                    <a:pt x="202" y="4425"/>
                  </a:lnTo>
                  <a:lnTo>
                    <a:pt x="221" y="4439"/>
                  </a:lnTo>
                  <a:lnTo>
                    <a:pt x="242" y="4452"/>
                  </a:lnTo>
                  <a:lnTo>
                    <a:pt x="262" y="4464"/>
                  </a:lnTo>
                  <a:lnTo>
                    <a:pt x="284" y="4475"/>
                  </a:lnTo>
                  <a:lnTo>
                    <a:pt x="307" y="4485"/>
                  </a:lnTo>
                  <a:lnTo>
                    <a:pt x="330" y="4494"/>
                  </a:lnTo>
                  <a:lnTo>
                    <a:pt x="353" y="4501"/>
                  </a:lnTo>
                  <a:lnTo>
                    <a:pt x="377" y="4508"/>
                  </a:lnTo>
                  <a:lnTo>
                    <a:pt x="401" y="4515"/>
                  </a:lnTo>
                  <a:lnTo>
                    <a:pt x="426" y="4519"/>
                  </a:lnTo>
                  <a:lnTo>
                    <a:pt x="451" y="4522"/>
                  </a:lnTo>
                  <a:lnTo>
                    <a:pt x="477" y="4524"/>
                  </a:lnTo>
                  <a:lnTo>
                    <a:pt x="503" y="45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81" name="íṩľídê">
              <a:extLst>
                <a:ext uri="{FF2B5EF4-FFF2-40B4-BE49-F238E27FC236}">
                  <a16:creationId xmlns:a16="http://schemas.microsoft.com/office/drawing/2014/main" id="{A8973634-31E4-4F5E-9679-6ECD92AAB4AE}"/>
                </a:ext>
              </a:extLst>
            </p:cNvPr>
            <p:cNvSpPr/>
            <p:nvPr/>
          </p:nvSpPr>
          <p:spPr bwMode="auto">
            <a:xfrm>
              <a:off x="4375644" y="1162276"/>
              <a:ext cx="613338" cy="401842"/>
            </a:xfrm>
            <a:custGeom>
              <a:avLst/>
              <a:gdLst>
                <a:gd name="T0" fmla="*/ 8477 w 16095"/>
                <a:gd name="T1" fmla="*/ 6935 h 10545"/>
                <a:gd name="T2" fmla="*/ 8249 w 16095"/>
                <a:gd name="T3" fmla="*/ 7011 h 10545"/>
                <a:gd name="T4" fmla="*/ 8006 w 16095"/>
                <a:gd name="T5" fmla="*/ 7030 h 10545"/>
                <a:gd name="T6" fmla="*/ 7768 w 16095"/>
                <a:gd name="T7" fmla="*/ 6992 h 10545"/>
                <a:gd name="T8" fmla="*/ 7547 w 16095"/>
                <a:gd name="T9" fmla="*/ 6897 h 10545"/>
                <a:gd name="T10" fmla="*/ 1006 w 16095"/>
                <a:gd name="T11" fmla="*/ 2010 h 10545"/>
                <a:gd name="T12" fmla="*/ 1038 w 16095"/>
                <a:gd name="T13" fmla="*/ 1758 h 10545"/>
                <a:gd name="T14" fmla="*/ 1152 w 16095"/>
                <a:gd name="T15" fmla="*/ 1488 h 10545"/>
                <a:gd name="T16" fmla="*/ 1336 w 16095"/>
                <a:gd name="T17" fmla="*/ 1265 h 10545"/>
                <a:gd name="T18" fmla="*/ 1576 w 16095"/>
                <a:gd name="T19" fmla="*/ 1104 h 10545"/>
                <a:gd name="T20" fmla="*/ 1859 w 16095"/>
                <a:gd name="T21" fmla="*/ 1016 h 10545"/>
                <a:gd name="T22" fmla="*/ 14186 w 16095"/>
                <a:gd name="T23" fmla="*/ 1009 h 10545"/>
                <a:gd name="T24" fmla="*/ 14474 w 16095"/>
                <a:gd name="T25" fmla="*/ 1084 h 10545"/>
                <a:gd name="T26" fmla="*/ 14723 w 16095"/>
                <a:gd name="T27" fmla="*/ 1234 h 10545"/>
                <a:gd name="T28" fmla="*/ 14917 w 16095"/>
                <a:gd name="T29" fmla="*/ 1447 h 10545"/>
                <a:gd name="T30" fmla="*/ 15044 w 16095"/>
                <a:gd name="T31" fmla="*/ 1710 h 10545"/>
                <a:gd name="T32" fmla="*/ 15089 w 16095"/>
                <a:gd name="T33" fmla="*/ 2009 h 10545"/>
                <a:gd name="T34" fmla="*/ 15089 w 16095"/>
                <a:gd name="T35" fmla="*/ 8535 h 10545"/>
                <a:gd name="T36" fmla="*/ 15044 w 16095"/>
                <a:gd name="T37" fmla="*/ 8835 h 10545"/>
                <a:gd name="T38" fmla="*/ 14917 w 16095"/>
                <a:gd name="T39" fmla="*/ 9097 h 10545"/>
                <a:gd name="T40" fmla="*/ 14723 w 16095"/>
                <a:gd name="T41" fmla="*/ 9311 h 10545"/>
                <a:gd name="T42" fmla="*/ 14474 w 16095"/>
                <a:gd name="T43" fmla="*/ 9461 h 10545"/>
                <a:gd name="T44" fmla="*/ 14186 w 16095"/>
                <a:gd name="T45" fmla="*/ 9535 h 10545"/>
                <a:gd name="T46" fmla="*/ 1859 w 16095"/>
                <a:gd name="T47" fmla="*/ 9529 h 10545"/>
                <a:gd name="T48" fmla="*/ 1576 w 16095"/>
                <a:gd name="T49" fmla="*/ 9441 h 10545"/>
                <a:gd name="T50" fmla="*/ 1336 w 16095"/>
                <a:gd name="T51" fmla="*/ 9280 h 10545"/>
                <a:gd name="T52" fmla="*/ 1152 w 16095"/>
                <a:gd name="T53" fmla="*/ 9057 h 10545"/>
                <a:gd name="T54" fmla="*/ 1038 w 16095"/>
                <a:gd name="T55" fmla="*/ 8786 h 10545"/>
                <a:gd name="T56" fmla="*/ 4945 w 16095"/>
                <a:gd name="T57" fmla="*/ 5587 h 10545"/>
                <a:gd name="T58" fmla="*/ 7271 w 16095"/>
                <a:gd name="T59" fmla="*/ 7318 h 10545"/>
                <a:gd name="T60" fmla="*/ 7435 w 16095"/>
                <a:gd name="T61" fmla="*/ 7403 h 10545"/>
                <a:gd name="T62" fmla="*/ 7605 w 16095"/>
                <a:gd name="T63" fmla="*/ 7466 h 10545"/>
                <a:gd name="T64" fmla="*/ 7780 w 16095"/>
                <a:gd name="T65" fmla="*/ 7509 h 10545"/>
                <a:gd name="T66" fmla="*/ 7958 w 16095"/>
                <a:gd name="T67" fmla="*/ 7530 h 10545"/>
                <a:gd name="T68" fmla="*/ 8137 w 16095"/>
                <a:gd name="T69" fmla="*/ 7530 h 10545"/>
                <a:gd name="T70" fmla="*/ 8315 w 16095"/>
                <a:gd name="T71" fmla="*/ 7509 h 10545"/>
                <a:gd name="T72" fmla="*/ 8490 w 16095"/>
                <a:gd name="T73" fmla="*/ 7466 h 10545"/>
                <a:gd name="T74" fmla="*/ 8660 w 16095"/>
                <a:gd name="T75" fmla="*/ 7403 h 10545"/>
                <a:gd name="T76" fmla="*/ 8823 w 16095"/>
                <a:gd name="T77" fmla="*/ 7318 h 10545"/>
                <a:gd name="T78" fmla="*/ 11150 w 16095"/>
                <a:gd name="T79" fmla="*/ 5587 h 10545"/>
                <a:gd name="T80" fmla="*/ 14083 w 16095"/>
                <a:gd name="T81" fmla="*/ 0 h 10545"/>
                <a:gd name="T82" fmla="*/ 1509 w 16095"/>
                <a:gd name="T83" fmla="*/ 63 h 10545"/>
                <a:gd name="T84" fmla="*/ 969 w 16095"/>
                <a:gd name="T85" fmla="*/ 291 h 10545"/>
                <a:gd name="T86" fmla="*/ 523 w 16095"/>
                <a:gd name="T87" fmla="*/ 658 h 10545"/>
                <a:gd name="T88" fmla="*/ 198 w 16095"/>
                <a:gd name="T89" fmla="*/ 1138 h 10545"/>
                <a:gd name="T90" fmla="*/ 23 w 16095"/>
                <a:gd name="T91" fmla="*/ 1702 h 10545"/>
                <a:gd name="T92" fmla="*/ 10 w 16095"/>
                <a:gd name="T93" fmla="*/ 8741 h 10545"/>
                <a:gd name="T94" fmla="*/ 158 w 16095"/>
                <a:gd name="T95" fmla="*/ 9318 h 10545"/>
                <a:gd name="T96" fmla="*/ 460 w 16095"/>
                <a:gd name="T97" fmla="*/ 9814 h 10545"/>
                <a:gd name="T98" fmla="*/ 887 w 16095"/>
                <a:gd name="T99" fmla="*/ 10202 h 10545"/>
                <a:gd name="T100" fmla="*/ 1413 w 16095"/>
                <a:gd name="T101" fmla="*/ 10455 h 10545"/>
                <a:gd name="T102" fmla="*/ 2012 w 16095"/>
                <a:gd name="T103" fmla="*/ 10545 h 10545"/>
                <a:gd name="T104" fmla="*/ 14586 w 16095"/>
                <a:gd name="T105" fmla="*/ 10482 h 10545"/>
                <a:gd name="T106" fmla="*/ 15126 w 16095"/>
                <a:gd name="T107" fmla="*/ 10254 h 10545"/>
                <a:gd name="T108" fmla="*/ 15572 w 16095"/>
                <a:gd name="T109" fmla="*/ 9886 h 10545"/>
                <a:gd name="T110" fmla="*/ 15897 w 16095"/>
                <a:gd name="T111" fmla="*/ 9407 h 10545"/>
                <a:gd name="T112" fmla="*/ 16072 w 16095"/>
                <a:gd name="T113" fmla="*/ 8842 h 10545"/>
                <a:gd name="T114" fmla="*/ 16085 w 16095"/>
                <a:gd name="T115" fmla="*/ 1803 h 10545"/>
                <a:gd name="T116" fmla="*/ 15937 w 16095"/>
                <a:gd name="T117" fmla="*/ 1227 h 10545"/>
                <a:gd name="T118" fmla="*/ 15635 w 16095"/>
                <a:gd name="T119" fmla="*/ 731 h 10545"/>
                <a:gd name="T120" fmla="*/ 15208 w 16095"/>
                <a:gd name="T121" fmla="*/ 343 h 10545"/>
                <a:gd name="T122" fmla="*/ 14682 w 16095"/>
                <a:gd name="T123" fmla="*/ 90 h 10545"/>
                <a:gd name="T124" fmla="*/ 14083 w 16095"/>
                <a:gd name="T125" fmla="*/ 0 h 10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95" h="10545">
                  <a:moveTo>
                    <a:pt x="8651" y="6830"/>
                  </a:moveTo>
                  <a:lnTo>
                    <a:pt x="8618" y="6853"/>
                  </a:lnTo>
                  <a:lnTo>
                    <a:pt x="8584" y="6876"/>
                  </a:lnTo>
                  <a:lnTo>
                    <a:pt x="8548" y="6897"/>
                  </a:lnTo>
                  <a:lnTo>
                    <a:pt x="8513" y="6917"/>
                  </a:lnTo>
                  <a:lnTo>
                    <a:pt x="8477" y="6935"/>
                  </a:lnTo>
                  <a:lnTo>
                    <a:pt x="8441" y="6951"/>
                  </a:lnTo>
                  <a:lnTo>
                    <a:pt x="8404" y="6966"/>
                  </a:lnTo>
                  <a:lnTo>
                    <a:pt x="8365" y="6980"/>
                  </a:lnTo>
                  <a:lnTo>
                    <a:pt x="8327" y="6992"/>
                  </a:lnTo>
                  <a:lnTo>
                    <a:pt x="8288" y="7002"/>
                  </a:lnTo>
                  <a:lnTo>
                    <a:pt x="8249" y="7011"/>
                  </a:lnTo>
                  <a:lnTo>
                    <a:pt x="8209" y="7018"/>
                  </a:lnTo>
                  <a:lnTo>
                    <a:pt x="8169" y="7023"/>
                  </a:lnTo>
                  <a:lnTo>
                    <a:pt x="8129" y="7027"/>
                  </a:lnTo>
                  <a:lnTo>
                    <a:pt x="8089" y="7030"/>
                  </a:lnTo>
                  <a:lnTo>
                    <a:pt x="8048" y="7031"/>
                  </a:lnTo>
                  <a:lnTo>
                    <a:pt x="8006" y="7030"/>
                  </a:lnTo>
                  <a:lnTo>
                    <a:pt x="7966" y="7027"/>
                  </a:lnTo>
                  <a:lnTo>
                    <a:pt x="7926" y="7023"/>
                  </a:lnTo>
                  <a:lnTo>
                    <a:pt x="7886" y="7018"/>
                  </a:lnTo>
                  <a:lnTo>
                    <a:pt x="7845" y="7011"/>
                  </a:lnTo>
                  <a:lnTo>
                    <a:pt x="7806" y="7002"/>
                  </a:lnTo>
                  <a:lnTo>
                    <a:pt x="7768" y="6992"/>
                  </a:lnTo>
                  <a:lnTo>
                    <a:pt x="7730" y="6980"/>
                  </a:lnTo>
                  <a:lnTo>
                    <a:pt x="7691" y="6966"/>
                  </a:lnTo>
                  <a:lnTo>
                    <a:pt x="7654" y="6951"/>
                  </a:lnTo>
                  <a:lnTo>
                    <a:pt x="7618" y="6935"/>
                  </a:lnTo>
                  <a:lnTo>
                    <a:pt x="7582" y="6917"/>
                  </a:lnTo>
                  <a:lnTo>
                    <a:pt x="7547" y="6897"/>
                  </a:lnTo>
                  <a:lnTo>
                    <a:pt x="7511" y="6876"/>
                  </a:lnTo>
                  <a:lnTo>
                    <a:pt x="7477" y="6853"/>
                  </a:lnTo>
                  <a:lnTo>
                    <a:pt x="7444" y="6830"/>
                  </a:lnTo>
                  <a:lnTo>
                    <a:pt x="5364" y="5273"/>
                  </a:lnTo>
                  <a:lnTo>
                    <a:pt x="4945" y="4958"/>
                  </a:lnTo>
                  <a:lnTo>
                    <a:pt x="1006" y="2010"/>
                  </a:lnTo>
                  <a:lnTo>
                    <a:pt x="1006" y="2009"/>
                  </a:lnTo>
                  <a:lnTo>
                    <a:pt x="1007" y="1957"/>
                  </a:lnTo>
                  <a:lnTo>
                    <a:pt x="1011" y="1906"/>
                  </a:lnTo>
                  <a:lnTo>
                    <a:pt x="1018" y="1856"/>
                  </a:lnTo>
                  <a:lnTo>
                    <a:pt x="1026" y="1807"/>
                  </a:lnTo>
                  <a:lnTo>
                    <a:pt x="1038" y="1758"/>
                  </a:lnTo>
                  <a:lnTo>
                    <a:pt x="1051" y="1710"/>
                  </a:lnTo>
                  <a:lnTo>
                    <a:pt x="1067" y="1663"/>
                  </a:lnTo>
                  <a:lnTo>
                    <a:pt x="1085" y="1618"/>
                  </a:lnTo>
                  <a:lnTo>
                    <a:pt x="1106" y="1574"/>
                  </a:lnTo>
                  <a:lnTo>
                    <a:pt x="1128" y="1531"/>
                  </a:lnTo>
                  <a:lnTo>
                    <a:pt x="1152" y="1488"/>
                  </a:lnTo>
                  <a:lnTo>
                    <a:pt x="1178" y="1447"/>
                  </a:lnTo>
                  <a:lnTo>
                    <a:pt x="1206" y="1408"/>
                  </a:lnTo>
                  <a:lnTo>
                    <a:pt x="1236" y="1370"/>
                  </a:lnTo>
                  <a:lnTo>
                    <a:pt x="1267" y="1334"/>
                  </a:lnTo>
                  <a:lnTo>
                    <a:pt x="1301" y="1299"/>
                  </a:lnTo>
                  <a:lnTo>
                    <a:pt x="1336" y="1265"/>
                  </a:lnTo>
                  <a:lnTo>
                    <a:pt x="1372" y="1234"/>
                  </a:lnTo>
                  <a:lnTo>
                    <a:pt x="1410" y="1204"/>
                  </a:lnTo>
                  <a:lnTo>
                    <a:pt x="1450" y="1176"/>
                  </a:lnTo>
                  <a:lnTo>
                    <a:pt x="1491" y="1150"/>
                  </a:lnTo>
                  <a:lnTo>
                    <a:pt x="1533" y="1126"/>
                  </a:lnTo>
                  <a:lnTo>
                    <a:pt x="1576" y="1104"/>
                  </a:lnTo>
                  <a:lnTo>
                    <a:pt x="1621" y="1084"/>
                  </a:lnTo>
                  <a:lnTo>
                    <a:pt x="1666" y="1066"/>
                  </a:lnTo>
                  <a:lnTo>
                    <a:pt x="1713" y="1049"/>
                  </a:lnTo>
                  <a:lnTo>
                    <a:pt x="1760" y="1036"/>
                  </a:lnTo>
                  <a:lnTo>
                    <a:pt x="1810" y="1024"/>
                  </a:lnTo>
                  <a:lnTo>
                    <a:pt x="1859" y="1016"/>
                  </a:lnTo>
                  <a:lnTo>
                    <a:pt x="1909" y="1009"/>
                  </a:lnTo>
                  <a:lnTo>
                    <a:pt x="1961" y="1005"/>
                  </a:lnTo>
                  <a:lnTo>
                    <a:pt x="2012" y="1004"/>
                  </a:lnTo>
                  <a:lnTo>
                    <a:pt x="14083" y="1004"/>
                  </a:lnTo>
                  <a:lnTo>
                    <a:pt x="14134" y="1005"/>
                  </a:lnTo>
                  <a:lnTo>
                    <a:pt x="14186" y="1009"/>
                  </a:lnTo>
                  <a:lnTo>
                    <a:pt x="14236" y="1016"/>
                  </a:lnTo>
                  <a:lnTo>
                    <a:pt x="14285" y="1024"/>
                  </a:lnTo>
                  <a:lnTo>
                    <a:pt x="14335" y="1036"/>
                  </a:lnTo>
                  <a:lnTo>
                    <a:pt x="14382" y="1049"/>
                  </a:lnTo>
                  <a:lnTo>
                    <a:pt x="14428" y="1066"/>
                  </a:lnTo>
                  <a:lnTo>
                    <a:pt x="14474" y="1084"/>
                  </a:lnTo>
                  <a:lnTo>
                    <a:pt x="14519" y="1104"/>
                  </a:lnTo>
                  <a:lnTo>
                    <a:pt x="14562" y="1126"/>
                  </a:lnTo>
                  <a:lnTo>
                    <a:pt x="14604" y="1150"/>
                  </a:lnTo>
                  <a:lnTo>
                    <a:pt x="14645" y="1176"/>
                  </a:lnTo>
                  <a:lnTo>
                    <a:pt x="14685" y="1204"/>
                  </a:lnTo>
                  <a:lnTo>
                    <a:pt x="14723" y="1234"/>
                  </a:lnTo>
                  <a:lnTo>
                    <a:pt x="14759" y="1265"/>
                  </a:lnTo>
                  <a:lnTo>
                    <a:pt x="14794" y="1299"/>
                  </a:lnTo>
                  <a:lnTo>
                    <a:pt x="14828" y="1334"/>
                  </a:lnTo>
                  <a:lnTo>
                    <a:pt x="14859" y="1370"/>
                  </a:lnTo>
                  <a:lnTo>
                    <a:pt x="14889" y="1408"/>
                  </a:lnTo>
                  <a:lnTo>
                    <a:pt x="14917" y="1447"/>
                  </a:lnTo>
                  <a:lnTo>
                    <a:pt x="14943" y="1488"/>
                  </a:lnTo>
                  <a:lnTo>
                    <a:pt x="14967" y="1531"/>
                  </a:lnTo>
                  <a:lnTo>
                    <a:pt x="14989" y="1574"/>
                  </a:lnTo>
                  <a:lnTo>
                    <a:pt x="15010" y="1618"/>
                  </a:lnTo>
                  <a:lnTo>
                    <a:pt x="15028" y="1663"/>
                  </a:lnTo>
                  <a:lnTo>
                    <a:pt x="15044" y="1710"/>
                  </a:lnTo>
                  <a:lnTo>
                    <a:pt x="15058" y="1758"/>
                  </a:lnTo>
                  <a:lnTo>
                    <a:pt x="15069" y="1807"/>
                  </a:lnTo>
                  <a:lnTo>
                    <a:pt x="15078" y="1856"/>
                  </a:lnTo>
                  <a:lnTo>
                    <a:pt x="15084" y="1906"/>
                  </a:lnTo>
                  <a:lnTo>
                    <a:pt x="15088" y="1957"/>
                  </a:lnTo>
                  <a:lnTo>
                    <a:pt x="15089" y="2009"/>
                  </a:lnTo>
                  <a:lnTo>
                    <a:pt x="8651" y="6830"/>
                  </a:lnTo>
                  <a:close/>
                  <a:moveTo>
                    <a:pt x="15089" y="7908"/>
                  </a:moveTo>
                  <a:lnTo>
                    <a:pt x="11569" y="5273"/>
                  </a:lnTo>
                  <a:lnTo>
                    <a:pt x="15089" y="2636"/>
                  </a:lnTo>
                  <a:lnTo>
                    <a:pt x="15089" y="7908"/>
                  </a:lnTo>
                  <a:close/>
                  <a:moveTo>
                    <a:pt x="15089" y="8535"/>
                  </a:moveTo>
                  <a:lnTo>
                    <a:pt x="15088" y="8588"/>
                  </a:lnTo>
                  <a:lnTo>
                    <a:pt x="15084" y="8639"/>
                  </a:lnTo>
                  <a:lnTo>
                    <a:pt x="15078" y="8689"/>
                  </a:lnTo>
                  <a:lnTo>
                    <a:pt x="15069" y="8738"/>
                  </a:lnTo>
                  <a:lnTo>
                    <a:pt x="15058" y="8786"/>
                  </a:lnTo>
                  <a:lnTo>
                    <a:pt x="15044" y="8835"/>
                  </a:lnTo>
                  <a:lnTo>
                    <a:pt x="15028" y="8881"/>
                  </a:lnTo>
                  <a:lnTo>
                    <a:pt x="15010" y="8927"/>
                  </a:lnTo>
                  <a:lnTo>
                    <a:pt x="14989" y="8971"/>
                  </a:lnTo>
                  <a:lnTo>
                    <a:pt x="14967" y="9014"/>
                  </a:lnTo>
                  <a:lnTo>
                    <a:pt x="14943" y="9057"/>
                  </a:lnTo>
                  <a:lnTo>
                    <a:pt x="14917" y="9097"/>
                  </a:lnTo>
                  <a:lnTo>
                    <a:pt x="14889" y="9137"/>
                  </a:lnTo>
                  <a:lnTo>
                    <a:pt x="14859" y="9174"/>
                  </a:lnTo>
                  <a:lnTo>
                    <a:pt x="14828" y="9211"/>
                  </a:lnTo>
                  <a:lnTo>
                    <a:pt x="14794" y="9246"/>
                  </a:lnTo>
                  <a:lnTo>
                    <a:pt x="14759" y="9280"/>
                  </a:lnTo>
                  <a:lnTo>
                    <a:pt x="14723" y="9311"/>
                  </a:lnTo>
                  <a:lnTo>
                    <a:pt x="14685" y="9341"/>
                  </a:lnTo>
                  <a:lnTo>
                    <a:pt x="14645" y="9369"/>
                  </a:lnTo>
                  <a:lnTo>
                    <a:pt x="14604" y="9395"/>
                  </a:lnTo>
                  <a:lnTo>
                    <a:pt x="14562" y="9419"/>
                  </a:lnTo>
                  <a:lnTo>
                    <a:pt x="14519" y="9441"/>
                  </a:lnTo>
                  <a:lnTo>
                    <a:pt x="14474" y="9461"/>
                  </a:lnTo>
                  <a:lnTo>
                    <a:pt x="14428" y="9479"/>
                  </a:lnTo>
                  <a:lnTo>
                    <a:pt x="14382" y="9496"/>
                  </a:lnTo>
                  <a:lnTo>
                    <a:pt x="14335" y="9509"/>
                  </a:lnTo>
                  <a:lnTo>
                    <a:pt x="14285" y="9520"/>
                  </a:lnTo>
                  <a:lnTo>
                    <a:pt x="14236" y="9529"/>
                  </a:lnTo>
                  <a:lnTo>
                    <a:pt x="14186" y="9535"/>
                  </a:lnTo>
                  <a:lnTo>
                    <a:pt x="14134" y="9539"/>
                  </a:lnTo>
                  <a:lnTo>
                    <a:pt x="14083" y="9540"/>
                  </a:lnTo>
                  <a:lnTo>
                    <a:pt x="2012" y="9540"/>
                  </a:lnTo>
                  <a:lnTo>
                    <a:pt x="1961" y="9539"/>
                  </a:lnTo>
                  <a:lnTo>
                    <a:pt x="1909" y="9535"/>
                  </a:lnTo>
                  <a:lnTo>
                    <a:pt x="1859" y="9529"/>
                  </a:lnTo>
                  <a:lnTo>
                    <a:pt x="1810" y="9520"/>
                  </a:lnTo>
                  <a:lnTo>
                    <a:pt x="1760" y="9509"/>
                  </a:lnTo>
                  <a:lnTo>
                    <a:pt x="1713" y="9496"/>
                  </a:lnTo>
                  <a:lnTo>
                    <a:pt x="1666" y="9479"/>
                  </a:lnTo>
                  <a:lnTo>
                    <a:pt x="1621" y="9461"/>
                  </a:lnTo>
                  <a:lnTo>
                    <a:pt x="1576" y="9441"/>
                  </a:lnTo>
                  <a:lnTo>
                    <a:pt x="1533" y="9419"/>
                  </a:lnTo>
                  <a:lnTo>
                    <a:pt x="1491" y="9395"/>
                  </a:lnTo>
                  <a:lnTo>
                    <a:pt x="1450" y="9369"/>
                  </a:lnTo>
                  <a:lnTo>
                    <a:pt x="1410" y="9341"/>
                  </a:lnTo>
                  <a:lnTo>
                    <a:pt x="1372" y="9311"/>
                  </a:lnTo>
                  <a:lnTo>
                    <a:pt x="1336" y="9280"/>
                  </a:lnTo>
                  <a:lnTo>
                    <a:pt x="1301" y="9246"/>
                  </a:lnTo>
                  <a:lnTo>
                    <a:pt x="1267" y="9211"/>
                  </a:lnTo>
                  <a:lnTo>
                    <a:pt x="1236" y="9174"/>
                  </a:lnTo>
                  <a:lnTo>
                    <a:pt x="1206" y="9137"/>
                  </a:lnTo>
                  <a:lnTo>
                    <a:pt x="1178" y="9097"/>
                  </a:lnTo>
                  <a:lnTo>
                    <a:pt x="1152" y="9057"/>
                  </a:lnTo>
                  <a:lnTo>
                    <a:pt x="1128" y="9014"/>
                  </a:lnTo>
                  <a:lnTo>
                    <a:pt x="1106" y="8971"/>
                  </a:lnTo>
                  <a:lnTo>
                    <a:pt x="1085" y="8927"/>
                  </a:lnTo>
                  <a:lnTo>
                    <a:pt x="1067" y="8881"/>
                  </a:lnTo>
                  <a:lnTo>
                    <a:pt x="1051" y="8835"/>
                  </a:lnTo>
                  <a:lnTo>
                    <a:pt x="1038" y="8786"/>
                  </a:lnTo>
                  <a:lnTo>
                    <a:pt x="1026" y="8738"/>
                  </a:lnTo>
                  <a:lnTo>
                    <a:pt x="1018" y="8689"/>
                  </a:lnTo>
                  <a:lnTo>
                    <a:pt x="1011" y="8639"/>
                  </a:lnTo>
                  <a:lnTo>
                    <a:pt x="1007" y="8588"/>
                  </a:lnTo>
                  <a:lnTo>
                    <a:pt x="1006" y="8535"/>
                  </a:lnTo>
                  <a:lnTo>
                    <a:pt x="4945" y="5587"/>
                  </a:lnTo>
                  <a:lnTo>
                    <a:pt x="7142" y="7232"/>
                  </a:lnTo>
                  <a:lnTo>
                    <a:pt x="7167" y="7250"/>
                  </a:lnTo>
                  <a:lnTo>
                    <a:pt x="7193" y="7268"/>
                  </a:lnTo>
                  <a:lnTo>
                    <a:pt x="7219" y="7285"/>
                  </a:lnTo>
                  <a:lnTo>
                    <a:pt x="7245" y="7302"/>
                  </a:lnTo>
                  <a:lnTo>
                    <a:pt x="7271" y="7318"/>
                  </a:lnTo>
                  <a:lnTo>
                    <a:pt x="7298" y="7333"/>
                  </a:lnTo>
                  <a:lnTo>
                    <a:pt x="7325" y="7348"/>
                  </a:lnTo>
                  <a:lnTo>
                    <a:pt x="7352" y="7363"/>
                  </a:lnTo>
                  <a:lnTo>
                    <a:pt x="7380" y="7376"/>
                  </a:lnTo>
                  <a:lnTo>
                    <a:pt x="7407" y="7391"/>
                  </a:lnTo>
                  <a:lnTo>
                    <a:pt x="7435" y="7403"/>
                  </a:lnTo>
                  <a:lnTo>
                    <a:pt x="7462" y="7415"/>
                  </a:lnTo>
                  <a:lnTo>
                    <a:pt x="7490" y="7427"/>
                  </a:lnTo>
                  <a:lnTo>
                    <a:pt x="7518" y="7437"/>
                  </a:lnTo>
                  <a:lnTo>
                    <a:pt x="7548" y="7448"/>
                  </a:lnTo>
                  <a:lnTo>
                    <a:pt x="7576" y="7457"/>
                  </a:lnTo>
                  <a:lnTo>
                    <a:pt x="7605" y="7466"/>
                  </a:lnTo>
                  <a:lnTo>
                    <a:pt x="7633" y="7475"/>
                  </a:lnTo>
                  <a:lnTo>
                    <a:pt x="7662" y="7483"/>
                  </a:lnTo>
                  <a:lnTo>
                    <a:pt x="7691" y="7490"/>
                  </a:lnTo>
                  <a:lnTo>
                    <a:pt x="7721" y="7497"/>
                  </a:lnTo>
                  <a:lnTo>
                    <a:pt x="7750" y="7503"/>
                  </a:lnTo>
                  <a:lnTo>
                    <a:pt x="7780" y="7509"/>
                  </a:lnTo>
                  <a:lnTo>
                    <a:pt x="7809" y="7514"/>
                  </a:lnTo>
                  <a:lnTo>
                    <a:pt x="7839" y="7518"/>
                  </a:lnTo>
                  <a:lnTo>
                    <a:pt x="7868" y="7522"/>
                  </a:lnTo>
                  <a:lnTo>
                    <a:pt x="7899" y="7525"/>
                  </a:lnTo>
                  <a:lnTo>
                    <a:pt x="7928" y="7528"/>
                  </a:lnTo>
                  <a:lnTo>
                    <a:pt x="7958" y="7530"/>
                  </a:lnTo>
                  <a:lnTo>
                    <a:pt x="7988" y="7531"/>
                  </a:lnTo>
                  <a:lnTo>
                    <a:pt x="8017" y="7532"/>
                  </a:lnTo>
                  <a:lnTo>
                    <a:pt x="8048" y="7532"/>
                  </a:lnTo>
                  <a:lnTo>
                    <a:pt x="8078" y="7532"/>
                  </a:lnTo>
                  <a:lnTo>
                    <a:pt x="8107" y="7531"/>
                  </a:lnTo>
                  <a:lnTo>
                    <a:pt x="8137" y="7530"/>
                  </a:lnTo>
                  <a:lnTo>
                    <a:pt x="8167" y="7528"/>
                  </a:lnTo>
                  <a:lnTo>
                    <a:pt x="8196" y="7525"/>
                  </a:lnTo>
                  <a:lnTo>
                    <a:pt x="8227" y="7522"/>
                  </a:lnTo>
                  <a:lnTo>
                    <a:pt x="8256" y="7518"/>
                  </a:lnTo>
                  <a:lnTo>
                    <a:pt x="8286" y="7514"/>
                  </a:lnTo>
                  <a:lnTo>
                    <a:pt x="8315" y="7509"/>
                  </a:lnTo>
                  <a:lnTo>
                    <a:pt x="8344" y="7503"/>
                  </a:lnTo>
                  <a:lnTo>
                    <a:pt x="8374" y="7497"/>
                  </a:lnTo>
                  <a:lnTo>
                    <a:pt x="8404" y="7490"/>
                  </a:lnTo>
                  <a:lnTo>
                    <a:pt x="8433" y="7483"/>
                  </a:lnTo>
                  <a:lnTo>
                    <a:pt x="8461" y="7475"/>
                  </a:lnTo>
                  <a:lnTo>
                    <a:pt x="8490" y="7466"/>
                  </a:lnTo>
                  <a:lnTo>
                    <a:pt x="8519" y="7457"/>
                  </a:lnTo>
                  <a:lnTo>
                    <a:pt x="8547" y="7448"/>
                  </a:lnTo>
                  <a:lnTo>
                    <a:pt x="8576" y="7437"/>
                  </a:lnTo>
                  <a:lnTo>
                    <a:pt x="8605" y="7427"/>
                  </a:lnTo>
                  <a:lnTo>
                    <a:pt x="8632" y="7415"/>
                  </a:lnTo>
                  <a:lnTo>
                    <a:pt x="8660" y="7403"/>
                  </a:lnTo>
                  <a:lnTo>
                    <a:pt x="8688" y="7391"/>
                  </a:lnTo>
                  <a:lnTo>
                    <a:pt x="8715" y="7376"/>
                  </a:lnTo>
                  <a:lnTo>
                    <a:pt x="8743" y="7363"/>
                  </a:lnTo>
                  <a:lnTo>
                    <a:pt x="8770" y="7348"/>
                  </a:lnTo>
                  <a:lnTo>
                    <a:pt x="8797" y="7333"/>
                  </a:lnTo>
                  <a:lnTo>
                    <a:pt x="8823" y="7318"/>
                  </a:lnTo>
                  <a:lnTo>
                    <a:pt x="8850" y="7302"/>
                  </a:lnTo>
                  <a:lnTo>
                    <a:pt x="8876" y="7285"/>
                  </a:lnTo>
                  <a:lnTo>
                    <a:pt x="8902" y="7268"/>
                  </a:lnTo>
                  <a:lnTo>
                    <a:pt x="8928" y="7250"/>
                  </a:lnTo>
                  <a:lnTo>
                    <a:pt x="8953" y="7232"/>
                  </a:lnTo>
                  <a:lnTo>
                    <a:pt x="11150" y="5587"/>
                  </a:lnTo>
                  <a:lnTo>
                    <a:pt x="15089" y="8535"/>
                  </a:lnTo>
                  <a:close/>
                  <a:moveTo>
                    <a:pt x="1006" y="2636"/>
                  </a:moveTo>
                  <a:lnTo>
                    <a:pt x="4527" y="5273"/>
                  </a:lnTo>
                  <a:lnTo>
                    <a:pt x="1006" y="7908"/>
                  </a:lnTo>
                  <a:lnTo>
                    <a:pt x="1006" y="2636"/>
                  </a:lnTo>
                  <a:close/>
                  <a:moveTo>
                    <a:pt x="14083" y="0"/>
                  </a:moveTo>
                  <a:lnTo>
                    <a:pt x="2012" y="0"/>
                  </a:lnTo>
                  <a:lnTo>
                    <a:pt x="1908" y="3"/>
                  </a:lnTo>
                  <a:lnTo>
                    <a:pt x="1806" y="10"/>
                  </a:lnTo>
                  <a:lnTo>
                    <a:pt x="1705" y="23"/>
                  </a:lnTo>
                  <a:lnTo>
                    <a:pt x="1606" y="41"/>
                  </a:lnTo>
                  <a:lnTo>
                    <a:pt x="1509" y="63"/>
                  </a:lnTo>
                  <a:lnTo>
                    <a:pt x="1413" y="90"/>
                  </a:lnTo>
                  <a:lnTo>
                    <a:pt x="1320" y="122"/>
                  </a:lnTo>
                  <a:lnTo>
                    <a:pt x="1229" y="158"/>
                  </a:lnTo>
                  <a:lnTo>
                    <a:pt x="1140" y="198"/>
                  </a:lnTo>
                  <a:lnTo>
                    <a:pt x="1053" y="242"/>
                  </a:lnTo>
                  <a:lnTo>
                    <a:pt x="969" y="291"/>
                  </a:lnTo>
                  <a:lnTo>
                    <a:pt x="887" y="343"/>
                  </a:lnTo>
                  <a:lnTo>
                    <a:pt x="808" y="399"/>
                  </a:lnTo>
                  <a:lnTo>
                    <a:pt x="732" y="459"/>
                  </a:lnTo>
                  <a:lnTo>
                    <a:pt x="659" y="522"/>
                  </a:lnTo>
                  <a:lnTo>
                    <a:pt x="589" y="589"/>
                  </a:lnTo>
                  <a:lnTo>
                    <a:pt x="523" y="658"/>
                  </a:lnTo>
                  <a:lnTo>
                    <a:pt x="460" y="731"/>
                  </a:lnTo>
                  <a:lnTo>
                    <a:pt x="399" y="806"/>
                  </a:lnTo>
                  <a:lnTo>
                    <a:pt x="344" y="886"/>
                  </a:lnTo>
                  <a:lnTo>
                    <a:pt x="292" y="967"/>
                  </a:lnTo>
                  <a:lnTo>
                    <a:pt x="242" y="1051"/>
                  </a:lnTo>
                  <a:lnTo>
                    <a:pt x="198" y="1138"/>
                  </a:lnTo>
                  <a:lnTo>
                    <a:pt x="158" y="1227"/>
                  </a:lnTo>
                  <a:lnTo>
                    <a:pt x="122" y="1318"/>
                  </a:lnTo>
                  <a:lnTo>
                    <a:pt x="91" y="1411"/>
                  </a:lnTo>
                  <a:lnTo>
                    <a:pt x="63" y="1506"/>
                  </a:lnTo>
                  <a:lnTo>
                    <a:pt x="41" y="1604"/>
                  </a:lnTo>
                  <a:lnTo>
                    <a:pt x="23" y="1702"/>
                  </a:lnTo>
                  <a:lnTo>
                    <a:pt x="10" y="1803"/>
                  </a:lnTo>
                  <a:lnTo>
                    <a:pt x="3" y="1905"/>
                  </a:lnTo>
                  <a:lnTo>
                    <a:pt x="0" y="2009"/>
                  </a:lnTo>
                  <a:lnTo>
                    <a:pt x="0" y="8535"/>
                  </a:lnTo>
                  <a:lnTo>
                    <a:pt x="3" y="8639"/>
                  </a:lnTo>
                  <a:lnTo>
                    <a:pt x="10" y="8741"/>
                  </a:lnTo>
                  <a:lnTo>
                    <a:pt x="23" y="8842"/>
                  </a:lnTo>
                  <a:lnTo>
                    <a:pt x="41" y="8941"/>
                  </a:lnTo>
                  <a:lnTo>
                    <a:pt x="63" y="9038"/>
                  </a:lnTo>
                  <a:lnTo>
                    <a:pt x="91" y="9133"/>
                  </a:lnTo>
                  <a:lnTo>
                    <a:pt x="122" y="9226"/>
                  </a:lnTo>
                  <a:lnTo>
                    <a:pt x="158" y="9318"/>
                  </a:lnTo>
                  <a:lnTo>
                    <a:pt x="198" y="9407"/>
                  </a:lnTo>
                  <a:lnTo>
                    <a:pt x="242" y="9494"/>
                  </a:lnTo>
                  <a:lnTo>
                    <a:pt x="292" y="9578"/>
                  </a:lnTo>
                  <a:lnTo>
                    <a:pt x="344" y="9659"/>
                  </a:lnTo>
                  <a:lnTo>
                    <a:pt x="399" y="9738"/>
                  </a:lnTo>
                  <a:lnTo>
                    <a:pt x="460" y="9814"/>
                  </a:lnTo>
                  <a:lnTo>
                    <a:pt x="523" y="9886"/>
                  </a:lnTo>
                  <a:lnTo>
                    <a:pt x="589" y="9956"/>
                  </a:lnTo>
                  <a:lnTo>
                    <a:pt x="659" y="10023"/>
                  </a:lnTo>
                  <a:lnTo>
                    <a:pt x="732" y="10086"/>
                  </a:lnTo>
                  <a:lnTo>
                    <a:pt x="808" y="10145"/>
                  </a:lnTo>
                  <a:lnTo>
                    <a:pt x="887" y="10202"/>
                  </a:lnTo>
                  <a:lnTo>
                    <a:pt x="969" y="10254"/>
                  </a:lnTo>
                  <a:lnTo>
                    <a:pt x="1053" y="10303"/>
                  </a:lnTo>
                  <a:lnTo>
                    <a:pt x="1140" y="10347"/>
                  </a:lnTo>
                  <a:lnTo>
                    <a:pt x="1229" y="10387"/>
                  </a:lnTo>
                  <a:lnTo>
                    <a:pt x="1320" y="10423"/>
                  </a:lnTo>
                  <a:lnTo>
                    <a:pt x="1413" y="10455"/>
                  </a:lnTo>
                  <a:lnTo>
                    <a:pt x="1509" y="10482"/>
                  </a:lnTo>
                  <a:lnTo>
                    <a:pt x="1606" y="10504"/>
                  </a:lnTo>
                  <a:lnTo>
                    <a:pt x="1705" y="10522"/>
                  </a:lnTo>
                  <a:lnTo>
                    <a:pt x="1806" y="10535"/>
                  </a:lnTo>
                  <a:lnTo>
                    <a:pt x="1908" y="10542"/>
                  </a:lnTo>
                  <a:lnTo>
                    <a:pt x="2012" y="10545"/>
                  </a:lnTo>
                  <a:lnTo>
                    <a:pt x="14083" y="10545"/>
                  </a:lnTo>
                  <a:lnTo>
                    <a:pt x="14187" y="10542"/>
                  </a:lnTo>
                  <a:lnTo>
                    <a:pt x="14289" y="10535"/>
                  </a:lnTo>
                  <a:lnTo>
                    <a:pt x="14390" y="10522"/>
                  </a:lnTo>
                  <a:lnTo>
                    <a:pt x="14489" y="10504"/>
                  </a:lnTo>
                  <a:lnTo>
                    <a:pt x="14586" y="10482"/>
                  </a:lnTo>
                  <a:lnTo>
                    <a:pt x="14682" y="10455"/>
                  </a:lnTo>
                  <a:lnTo>
                    <a:pt x="14775" y="10423"/>
                  </a:lnTo>
                  <a:lnTo>
                    <a:pt x="14867" y="10387"/>
                  </a:lnTo>
                  <a:lnTo>
                    <a:pt x="14955" y="10347"/>
                  </a:lnTo>
                  <a:lnTo>
                    <a:pt x="15042" y="10303"/>
                  </a:lnTo>
                  <a:lnTo>
                    <a:pt x="15126" y="10254"/>
                  </a:lnTo>
                  <a:lnTo>
                    <a:pt x="15208" y="10202"/>
                  </a:lnTo>
                  <a:lnTo>
                    <a:pt x="15287" y="10145"/>
                  </a:lnTo>
                  <a:lnTo>
                    <a:pt x="15363" y="10086"/>
                  </a:lnTo>
                  <a:lnTo>
                    <a:pt x="15436" y="10023"/>
                  </a:lnTo>
                  <a:lnTo>
                    <a:pt x="15506" y="9956"/>
                  </a:lnTo>
                  <a:lnTo>
                    <a:pt x="15572" y="9886"/>
                  </a:lnTo>
                  <a:lnTo>
                    <a:pt x="15635" y="9814"/>
                  </a:lnTo>
                  <a:lnTo>
                    <a:pt x="15696" y="9738"/>
                  </a:lnTo>
                  <a:lnTo>
                    <a:pt x="15751" y="9659"/>
                  </a:lnTo>
                  <a:lnTo>
                    <a:pt x="15803" y="9578"/>
                  </a:lnTo>
                  <a:lnTo>
                    <a:pt x="15853" y="9494"/>
                  </a:lnTo>
                  <a:lnTo>
                    <a:pt x="15897" y="9407"/>
                  </a:lnTo>
                  <a:lnTo>
                    <a:pt x="15937" y="9318"/>
                  </a:lnTo>
                  <a:lnTo>
                    <a:pt x="15973" y="9226"/>
                  </a:lnTo>
                  <a:lnTo>
                    <a:pt x="16004" y="9133"/>
                  </a:lnTo>
                  <a:lnTo>
                    <a:pt x="16032" y="9038"/>
                  </a:lnTo>
                  <a:lnTo>
                    <a:pt x="16054" y="8941"/>
                  </a:lnTo>
                  <a:lnTo>
                    <a:pt x="16072" y="8842"/>
                  </a:lnTo>
                  <a:lnTo>
                    <a:pt x="16085" y="8741"/>
                  </a:lnTo>
                  <a:lnTo>
                    <a:pt x="16092" y="8639"/>
                  </a:lnTo>
                  <a:lnTo>
                    <a:pt x="16095" y="8535"/>
                  </a:lnTo>
                  <a:lnTo>
                    <a:pt x="16095" y="2009"/>
                  </a:lnTo>
                  <a:lnTo>
                    <a:pt x="16092" y="1905"/>
                  </a:lnTo>
                  <a:lnTo>
                    <a:pt x="16085" y="1803"/>
                  </a:lnTo>
                  <a:lnTo>
                    <a:pt x="16072" y="1702"/>
                  </a:lnTo>
                  <a:lnTo>
                    <a:pt x="16054" y="1604"/>
                  </a:lnTo>
                  <a:lnTo>
                    <a:pt x="16032" y="1506"/>
                  </a:lnTo>
                  <a:lnTo>
                    <a:pt x="16004" y="1411"/>
                  </a:lnTo>
                  <a:lnTo>
                    <a:pt x="15973" y="1318"/>
                  </a:lnTo>
                  <a:lnTo>
                    <a:pt x="15937" y="1227"/>
                  </a:lnTo>
                  <a:lnTo>
                    <a:pt x="15897" y="1138"/>
                  </a:lnTo>
                  <a:lnTo>
                    <a:pt x="15853" y="1051"/>
                  </a:lnTo>
                  <a:lnTo>
                    <a:pt x="15803" y="967"/>
                  </a:lnTo>
                  <a:lnTo>
                    <a:pt x="15751" y="886"/>
                  </a:lnTo>
                  <a:lnTo>
                    <a:pt x="15696" y="806"/>
                  </a:lnTo>
                  <a:lnTo>
                    <a:pt x="15635" y="731"/>
                  </a:lnTo>
                  <a:lnTo>
                    <a:pt x="15572" y="658"/>
                  </a:lnTo>
                  <a:lnTo>
                    <a:pt x="15506" y="589"/>
                  </a:lnTo>
                  <a:lnTo>
                    <a:pt x="15436" y="522"/>
                  </a:lnTo>
                  <a:lnTo>
                    <a:pt x="15363" y="459"/>
                  </a:lnTo>
                  <a:lnTo>
                    <a:pt x="15287" y="399"/>
                  </a:lnTo>
                  <a:lnTo>
                    <a:pt x="15208" y="343"/>
                  </a:lnTo>
                  <a:lnTo>
                    <a:pt x="15126" y="291"/>
                  </a:lnTo>
                  <a:lnTo>
                    <a:pt x="15042" y="242"/>
                  </a:lnTo>
                  <a:lnTo>
                    <a:pt x="14955" y="198"/>
                  </a:lnTo>
                  <a:lnTo>
                    <a:pt x="14867" y="158"/>
                  </a:lnTo>
                  <a:lnTo>
                    <a:pt x="14775" y="122"/>
                  </a:lnTo>
                  <a:lnTo>
                    <a:pt x="14682" y="90"/>
                  </a:lnTo>
                  <a:lnTo>
                    <a:pt x="14586" y="63"/>
                  </a:lnTo>
                  <a:lnTo>
                    <a:pt x="14489" y="41"/>
                  </a:lnTo>
                  <a:lnTo>
                    <a:pt x="14390" y="23"/>
                  </a:lnTo>
                  <a:lnTo>
                    <a:pt x="14289" y="10"/>
                  </a:lnTo>
                  <a:lnTo>
                    <a:pt x="14187" y="3"/>
                  </a:lnTo>
                  <a:lnTo>
                    <a:pt x="1408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82" name="îs1îde">
              <a:extLst>
                <a:ext uri="{FF2B5EF4-FFF2-40B4-BE49-F238E27FC236}">
                  <a16:creationId xmlns:a16="http://schemas.microsoft.com/office/drawing/2014/main" id="{5189D732-C948-4EE8-8A7C-3952EDC7602E}"/>
                </a:ext>
              </a:extLst>
            </p:cNvPr>
            <p:cNvSpPr/>
            <p:nvPr/>
          </p:nvSpPr>
          <p:spPr bwMode="auto">
            <a:xfrm>
              <a:off x="3753344" y="27138"/>
              <a:ext cx="614748" cy="613337"/>
            </a:xfrm>
            <a:custGeom>
              <a:avLst/>
              <a:gdLst>
                <a:gd name="T0" fmla="*/ 14736 w 16132"/>
                <a:gd name="T1" fmla="*/ 7927 h 16095"/>
                <a:gd name="T2" fmla="*/ 12966 w 16132"/>
                <a:gd name="T3" fmla="*/ 8091 h 16095"/>
                <a:gd name="T4" fmla="*/ 12858 w 16132"/>
                <a:gd name="T5" fmla="*/ 8337 h 16095"/>
                <a:gd name="T6" fmla="*/ 13033 w 16132"/>
                <a:gd name="T7" fmla="*/ 8539 h 16095"/>
                <a:gd name="T8" fmla="*/ 14789 w 16132"/>
                <a:gd name="T9" fmla="*/ 8901 h 16095"/>
                <a:gd name="T10" fmla="*/ 14828 w 16132"/>
                <a:gd name="T11" fmla="*/ 9762 h 16095"/>
                <a:gd name="T12" fmla="*/ 13953 w 16132"/>
                <a:gd name="T13" fmla="*/ 10554 h 16095"/>
                <a:gd name="T14" fmla="*/ 12394 w 16132"/>
                <a:gd name="T15" fmla="*/ 10673 h 16095"/>
                <a:gd name="T16" fmla="*/ 12387 w 16132"/>
                <a:gd name="T17" fmla="*/ 10945 h 16095"/>
                <a:gd name="T18" fmla="*/ 13673 w 16132"/>
                <a:gd name="T19" fmla="*/ 11067 h 16095"/>
                <a:gd name="T20" fmla="*/ 14319 w 16132"/>
                <a:gd name="T21" fmla="*/ 11774 h 16095"/>
                <a:gd name="T22" fmla="*/ 13891 w 16132"/>
                <a:gd name="T23" fmla="*/ 12812 h 16095"/>
                <a:gd name="T24" fmla="*/ 12009 w 16132"/>
                <a:gd name="T25" fmla="*/ 13092 h 16095"/>
                <a:gd name="T26" fmla="*/ 11846 w 16132"/>
                <a:gd name="T27" fmla="*/ 13303 h 16095"/>
                <a:gd name="T28" fmla="*/ 11966 w 16132"/>
                <a:gd name="T29" fmla="*/ 13544 h 16095"/>
                <a:gd name="T30" fmla="*/ 13288 w 16132"/>
                <a:gd name="T31" fmla="*/ 13730 h 16095"/>
                <a:gd name="T32" fmla="*/ 13358 w 16132"/>
                <a:gd name="T33" fmla="*/ 14429 h 16095"/>
                <a:gd name="T34" fmla="*/ 12917 w 16132"/>
                <a:gd name="T35" fmla="*/ 14986 h 16095"/>
                <a:gd name="T36" fmla="*/ 8700 w 16132"/>
                <a:gd name="T37" fmla="*/ 15051 h 16095"/>
                <a:gd name="T38" fmla="*/ 5570 w 16132"/>
                <a:gd name="T39" fmla="*/ 14483 h 16095"/>
                <a:gd name="T40" fmla="*/ 4191 w 16132"/>
                <a:gd name="T41" fmla="*/ 14088 h 16095"/>
                <a:gd name="T42" fmla="*/ 4067 w 16132"/>
                <a:gd name="T43" fmla="*/ 6631 h 16095"/>
                <a:gd name="T44" fmla="*/ 4433 w 16132"/>
                <a:gd name="T45" fmla="*/ 6297 h 16095"/>
                <a:gd name="T46" fmla="*/ 7138 w 16132"/>
                <a:gd name="T47" fmla="*/ 3681 h 16095"/>
                <a:gd name="T48" fmla="*/ 7616 w 16132"/>
                <a:gd name="T49" fmla="*/ 1286 h 16095"/>
                <a:gd name="T50" fmla="*/ 8117 w 16132"/>
                <a:gd name="T51" fmla="*/ 1009 h 16095"/>
                <a:gd name="T52" fmla="*/ 9386 w 16132"/>
                <a:gd name="T53" fmla="*/ 2464 h 16095"/>
                <a:gd name="T54" fmla="*/ 9452 w 16132"/>
                <a:gd name="T55" fmla="*/ 4763 h 16095"/>
                <a:gd name="T56" fmla="*/ 12897 w 16132"/>
                <a:gd name="T57" fmla="*/ 6065 h 16095"/>
                <a:gd name="T58" fmla="*/ 14749 w 16132"/>
                <a:gd name="T59" fmla="*/ 6317 h 16095"/>
                <a:gd name="T60" fmla="*/ 15121 w 16132"/>
                <a:gd name="T61" fmla="*/ 6923 h 16095"/>
                <a:gd name="T62" fmla="*/ 3443 w 16132"/>
                <a:gd name="T63" fmla="*/ 14868 h 16095"/>
                <a:gd name="T64" fmla="*/ 1461 w 16132"/>
                <a:gd name="T65" fmla="*/ 15086 h 16095"/>
                <a:gd name="T66" fmla="*/ 1038 w 16132"/>
                <a:gd name="T67" fmla="*/ 14759 h 16095"/>
                <a:gd name="T68" fmla="*/ 1139 w 16132"/>
                <a:gd name="T69" fmla="*/ 6201 h 16095"/>
                <a:gd name="T70" fmla="*/ 3151 w 16132"/>
                <a:gd name="T71" fmla="*/ 6052 h 16095"/>
                <a:gd name="T72" fmla="*/ 3519 w 16132"/>
                <a:gd name="T73" fmla="*/ 6437 h 16095"/>
                <a:gd name="T74" fmla="*/ 12860 w 16132"/>
                <a:gd name="T75" fmla="*/ 5106 h 16095"/>
                <a:gd name="T76" fmla="*/ 10549 w 16132"/>
                <a:gd name="T77" fmla="*/ 3394 h 16095"/>
                <a:gd name="T78" fmla="*/ 9053 w 16132"/>
                <a:gd name="T79" fmla="*/ 347 h 16095"/>
                <a:gd name="T80" fmla="*/ 7112 w 16132"/>
                <a:gd name="T81" fmla="*/ 342 h 16095"/>
                <a:gd name="T82" fmla="*/ 6522 w 16132"/>
                <a:gd name="T83" fmla="*/ 2020 h 16095"/>
                <a:gd name="T84" fmla="*/ 5109 w 16132"/>
                <a:gd name="T85" fmla="*/ 4776 h 16095"/>
                <a:gd name="T86" fmla="*/ 3758 w 16132"/>
                <a:gd name="T87" fmla="*/ 5238 h 16095"/>
                <a:gd name="T88" fmla="*/ 1512 w 16132"/>
                <a:gd name="T89" fmla="*/ 5030 h 16095"/>
                <a:gd name="T90" fmla="*/ 149 w 16132"/>
                <a:gd name="T91" fmla="*/ 5885 h 16095"/>
                <a:gd name="T92" fmla="*/ 300 w 16132"/>
                <a:gd name="T93" fmla="*/ 15488 h 16095"/>
                <a:gd name="T94" fmla="*/ 3191 w 16132"/>
                <a:gd name="T95" fmla="*/ 16086 h 16095"/>
                <a:gd name="T96" fmla="*/ 4206 w 16132"/>
                <a:gd name="T97" fmla="*/ 15494 h 16095"/>
                <a:gd name="T98" fmla="*/ 5348 w 16132"/>
                <a:gd name="T99" fmla="*/ 15463 h 16095"/>
                <a:gd name="T100" fmla="*/ 8325 w 16132"/>
                <a:gd name="T101" fmla="*/ 16027 h 16095"/>
                <a:gd name="T102" fmla="*/ 13194 w 16132"/>
                <a:gd name="T103" fmla="*/ 15959 h 16095"/>
                <a:gd name="T104" fmla="*/ 14200 w 16132"/>
                <a:gd name="T105" fmla="*/ 15031 h 16095"/>
                <a:gd name="T106" fmla="*/ 14426 w 16132"/>
                <a:gd name="T107" fmla="*/ 13944 h 16095"/>
                <a:gd name="T108" fmla="*/ 14933 w 16132"/>
                <a:gd name="T109" fmla="*/ 13091 h 16095"/>
                <a:gd name="T110" fmla="*/ 15321 w 16132"/>
                <a:gd name="T111" fmla="*/ 11883 h 16095"/>
                <a:gd name="T112" fmla="*/ 15240 w 16132"/>
                <a:gd name="T113" fmla="*/ 11003 h 16095"/>
                <a:gd name="T114" fmla="*/ 15776 w 16132"/>
                <a:gd name="T115" fmla="*/ 10098 h 16095"/>
                <a:gd name="T116" fmla="*/ 15890 w 16132"/>
                <a:gd name="T117" fmla="*/ 9058 h 16095"/>
                <a:gd name="T118" fmla="*/ 15834 w 16132"/>
                <a:gd name="T119" fmla="*/ 8258 h 16095"/>
                <a:gd name="T120" fmla="*/ 16112 w 16132"/>
                <a:gd name="T121" fmla="*/ 7457 h 16095"/>
                <a:gd name="T122" fmla="*/ 15972 w 16132"/>
                <a:gd name="T123" fmla="*/ 6305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32" h="16095">
                  <a:moveTo>
                    <a:pt x="15113" y="7310"/>
                  </a:moveTo>
                  <a:lnTo>
                    <a:pt x="15112" y="7334"/>
                  </a:lnTo>
                  <a:lnTo>
                    <a:pt x="15110" y="7359"/>
                  </a:lnTo>
                  <a:lnTo>
                    <a:pt x="15107" y="7387"/>
                  </a:lnTo>
                  <a:lnTo>
                    <a:pt x="15103" y="7414"/>
                  </a:lnTo>
                  <a:lnTo>
                    <a:pt x="15099" y="7442"/>
                  </a:lnTo>
                  <a:lnTo>
                    <a:pt x="15092" y="7471"/>
                  </a:lnTo>
                  <a:lnTo>
                    <a:pt x="15085" y="7500"/>
                  </a:lnTo>
                  <a:lnTo>
                    <a:pt x="15076" y="7530"/>
                  </a:lnTo>
                  <a:lnTo>
                    <a:pt x="15066" y="7561"/>
                  </a:lnTo>
                  <a:lnTo>
                    <a:pt x="15054" y="7592"/>
                  </a:lnTo>
                  <a:lnTo>
                    <a:pt x="15041" y="7622"/>
                  </a:lnTo>
                  <a:lnTo>
                    <a:pt x="15025" y="7653"/>
                  </a:lnTo>
                  <a:lnTo>
                    <a:pt x="15008" y="7683"/>
                  </a:lnTo>
                  <a:lnTo>
                    <a:pt x="14988" y="7714"/>
                  </a:lnTo>
                  <a:lnTo>
                    <a:pt x="14965" y="7743"/>
                  </a:lnTo>
                  <a:lnTo>
                    <a:pt x="14941" y="7772"/>
                  </a:lnTo>
                  <a:lnTo>
                    <a:pt x="14914" y="7800"/>
                  </a:lnTo>
                  <a:lnTo>
                    <a:pt x="14884" y="7828"/>
                  </a:lnTo>
                  <a:lnTo>
                    <a:pt x="14852" y="7854"/>
                  </a:lnTo>
                  <a:lnTo>
                    <a:pt x="14816" y="7880"/>
                  </a:lnTo>
                  <a:lnTo>
                    <a:pt x="14777" y="7904"/>
                  </a:lnTo>
                  <a:lnTo>
                    <a:pt x="14736" y="7927"/>
                  </a:lnTo>
                  <a:lnTo>
                    <a:pt x="14690" y="7948"/>
                  </a:lnTo>
                  <a:lnTo>
                    <a:pt x="14642" y="7967"/>
                  </a:lnTo>
                  <a:lnTo>
                    <a:pt x="14589" y="7985"/>
                  </a:lnTo>
                  <a:lnTo>
                    <a:pt x="14534" y="8000"/>
                  </a:lnTo>
                  <a:lnTo>
                    <a:pt x="14474" y="8014"/>
                  </a:lnTo>
                  <a:lnTo>
                    <a:pt x="14411" y="8026"/>
                  </a:lnTo>
                  <a:lnTo>
                    <a:pt x="14343" y="8035"/>
                  </a:lnTo>
                  <a:lnTo>
                    <a:pt x="14272" y="8041"/>
                  </a:lnTo>
                  <a:lnTo>
                    <a:pt x="14196" y="8046"/>
                  </a:lnTo>
                  <a:lnTo>
                    <a:pt x="14116" y="8048"/>
                  </a:lnTo>
                  <a:lnTo>
                    <a:pt x="13107" y="8048"/>
                  </a:lnTo>
                  <a:lnTo>
                    <a:pt x="13094" y="8048"/>
                  </a:lnTo>
                  <a:lnTo>
                    <a:pt x="13081" y="8049"/>
                  </a:lnTo>
                  <a:lnTo>
                    <a:pt x="13069" y="8051"/>
                  </a:lnTo>
                  <a:lnTo>
                    <a:pt x="13057" y="8053"/>
                  </a:lnTo>
                  <a:lnTo>
                    <a:pt x="13044" y="8056"/>
                  </a:lnTo>
                  <a:lnTo>
                    <a:pt x="13033" y="8059"/>
                  </a:lnTo>
                  <a:lnTo>
                    <a:pt x="13021" y="8063"/>
                  </a:lnTo>
                  <a:lnTo>
                    <a:pt x="13009" y="8068"/>
                  </a:lnTo>
                  <a:lnTo>
                    <a:pt x="12998" y="8073"/>
                  </a:lnTo>
                  <a:lnTo>
                    <a:pt x="12987" y="8078"/>
                  </a:lnTo>
                  <a:lnTo>
                    <a:pt x="12976" y="8084"/>
                  </a:lnTo>
                  <a:lnTo>
                    <a:pt x="12966" y="8091"/>
                  </a:lnTo>
                  <a:lnTo>
                    <a:pt x="12956" y="8098"/>
                  </a:lnTo>
                  <a:lnTo>
                    <a:pt x="12947" y="8105"/>
                  </a:lnTo>
                  <a:lnTo>
                    <a:pt x="12938" y="8113"/>
                  </a:lnTo>
                  <a:lnTo>
                    <a:pt x="12929" y="8121"/>
                  </a:lnTo>
                  <a:lnTo>
                    <a:pt x="12921" y="8130"/>
                  </a:lnTo>
                  <a:lnTo>
                    <a:pt x="12913" y="8139"/>
                  </a:lnTo>
                  <a:lnTo>
                    <a:pt x="12906" y="8148"/>
                  </a:lnTo>
                  <a:lnTo>
                    <a:pt x="12899" y="8158"/>
                  </a:lnTo>
                  <a:lnTo>
                    <a:pt x="12891" y="8168"/>
                  </a:lnTo>
                  <a:lnTo>
                    <a:pt x="12885" y="8179"/>
                  </a:lnTo>
                  <a:lnTo>
                    <a:pt x="12880" y="8189"/>
                  </a:lnTo>
                  <a:lnTo>
                    <a:pt x="12875" y="8200"/>
                  </a:lnTo>
                  <a:lnTo>
                    <a:pt x="12870" y="8212"/>
                  </a:lnTo>
                  <a:lnTo>
                    <a:pt x="12866" y="8224"/>
                  </a:lnTo>
                  <a:lnTo>
                    <a:pt x="12863" y="8236"/>
                  </a:lnTo>
                  <a:lnTo>
                    <a:pt x="12860" y="8248"/>
                  </a:lnTo>
                  <a:lnTo>
                    <a:pt x="12858" y="8261"/>
                  </a:lnTo>
                  <a:lnTo>
                    <a:pt x="12856" y="8273"/>
                  </a:lnTo>
                  <a:lnTo>
                    <a:pt x="12855" y="8286"/>
                  </a:lnTo>
                  <a:lnTo>
                    <a:pt x="12855" y="8299"/>
                  </a:lnTo>
                  <a:lnTo>
                    <a:pt x="12855" y="8312"/>
                  </a:lnTo>
                  <a:lnTo>
                    <a:pt x="12856" y="8324"/>
                  </a:lnTo>
                  <a:lnTo>
                    <a:pt x="12858" y="8337"/>
                  </a:lnTo>
                  <a:lnTo>
                    <a:pt x="12860" y="8349"/>
                  </a:lnTo>
                  <a:lnTo>
                    <a:pt x="12863" y="8361"/>
                  </a:lnTo>
                  <a:lnTo>
                    <a:pt x="12866" y="8373"/>
                  </a:lnTo>
                  <a:lnTo>
                    <a:pt x="12870" y="8385"/>
                  </a:lnTo>
                  <a:lnTo>
                    <a:pt x="12875" y="8397"/>
                  </a:lnTo>
                  <a:lnTo>
                    <a:pt x="12880" y="8408"/>
                  </a:lnTo>
                  <a:lnTo>
                    <a:pt x="12885" y="8419"/>
                  </a:lnTo>
                  <a:lnTo>
                    <a:pt x="12891" y="8430"/>
                  </a:lnTo>
                  <a:lnTo>
                    <a:pt x="12899" y="8440"/>
                  </a:lnTo>
                  <a:lnTo>
                    <a:pt x="12906" y="8450"/>
                  </a:lnTo>
                  <a:lnTo>
                    <a:pt x="12913" y="8459"/>
                  </a:lnTo>
                  <a:lnTo>
                    <a:pt x="12921" y="8468"/>
                  </a:lnTo>
                  <a:lnTo>
                    <a:pt x="12929" y="8477"/>
                  </a:lnTo>
                  <a:lnTo>
                    <a:pt x="12938" y="8485"/>
                  </a:lnTo>
                  <a:lnTo>
                    <a:pt x="12947" y="8493"/>
                  </a:lnTo>
                  <a:lnTo>
                    <a:pt x="12956" y="8500"/>
                  </a:lnTo>
                  <a:lnTo>
                    <a:pt x="12966" y="8507"/>
                  </a:lnTo>
                  <a:lnTo>
                    <a:pt x="12976" y="8514"/>
                  </a:lnTo>
                  <a:lnTo>
                    <a:pt x="12987" y="8520"/>
                  </a:lnTo>
                  <a:lnTo>
                    <a:pt x="12998" y="8525"/>
                  </a:lnTo>
                  <a:lnTo>
                    <a:pt x="13009" y="8530"/>
                  </a:lnTo>
                  <a:lnTo>
                    <a:pt x="13021" y="8535"/>
                  </a:lnTo>
                  <a:lnTo>
                    <a:pt x="13033" y="8539"/>
                  </a:lnTo>
                  <a:lnTo>
                    <a:pt x="13044" y="8542"/>
                  </a:lnTo>
                  <a:lnTo>
                    <a:pt x="13057" y="8545"/>
                  </a:lnTo>
                  <a:lnTo>
                    <a:pt x="13069" y="8547"/>
                  </a:lnTo>
                  <a:lnTo>
                    <a:pt x="13081" y="8549"/>
                  </a:lnTo>
                  <a:lnTo>
                    <a:pt x="13094" y="8550"/>
                  </a:lnTo>
                  <a:lnTo>
                    <a:pt x="13107" y="8550"/>
                  </a:lnTo>
                  <a:lnTo>
                    <a:pt x="14084" y="8550"/>
                  </a:lnTo>
                  <a:lnTo>
                    <a:pt x="14153" y="8552"/>
                  </a:lnTo>
                  <a:lnTo>
                    <a:pt x="14218" y="8558"/>
                  </a:lnTo>
                  <a:lnTo>
                    <a:pt x="14280" y="8567"/>
                  </a:lnTo>
                  <a:lnTo>
                    <a:pt x="14338" y="8578"/>
                  </a:lnTo>
                  <a:lnTo>
                    <a:pt x="14393" y="8593"/>
                  </a:lnTo>
                  <a:lnTo>
                    <a:pt x="14443" y="8610"/>
                  </a:lnTo>
                  <a:lnTo>
                    <a:pt x="14492" y="8630"/>
                  </a:lnTo>
                  <a:lnTo>
                    <a:pt x="14536" y="8653"/>
                  </a:lnTo>
                  <a:lnTo>
                    <a:pt x="14577" y="8678"/>
                  </a:lnTo>
                  <a:lnTo>
                    <a:pt x="14617" y="8704"/>
                  </a:lnTo>
                  <a:lnTo>
                    <a:pt x="14652" y="8734"/>
                  </a:lnTo>
                  <a:lnTo>
                    <a:pt x="14684" y="8765"/>
                  </a:lnTo>
                  <a:lnTo>
                    <a:pt x="14714" y="8797"/>
                  </a:lnTo>
                  <a:lnTo>
                    <a:pt x="14742" y="8830"/>
                  </a:lnTo>
                  <a:lnTo>
                    <a:pt x="14767" y="8865"/>
                  </a:lnTo>
                  <a:lnTo>
                    <a:pt x="14789" y="8901"/>
                  </a:lnTo>
                  <a:lnTo>
                    <a:pt x="14809" y="8938"/>
                  </a:lnTo>
                  <a:lnTo>
                    <a:pt x="14827" y="8975"/>
                  </a:lnTo>
                  <a:lnTo>
                    <a:pt x="14842" y="9013"/>
                  </a:lnTo>
                  <a:lnTo>
                    <a:pt x="14857" y="9051"/>
                  </a:lnTo>
                  <a:lnTo>
                    <a:pt x="14868" y="9091"/>
                  </a:lnTo>
                  <a:lnTo>
                    <a:pt x="14878" y="9129"/>
                  </a:lnTo>
                  <a:lnTo>
                    <a:pt x="14886" y="9167"/>
                  </a:lnTo>
                  <a:lnTo>
                    <a:pt x="14892" y="9205"/>
                  </a:lnTo>
                  <a:lnTo>
                    <a:pt x="14896" y="9244"/>
                  </a:lnTo>
                  <a:lnTo>
                    <a:pt x="14899" y="9280"/>
                  </a:lnTo>
                  <a:lnTo>
                    <a:pt x="14901" y="9316"/>
                  </a:lnTo>
                  <a:lnTo>
                    <a:pt x="14901" y="9351"/>
                  </a:lnTo>
                  <a:lnTo>
                    <a:pt x="14900" y="9385"/>
                  </a:lnTo>
                  <a:lnTo>
                    <a:pt x="14898" y="9418"/>
                  </a:lnTo>
                  <a:lnTo>
                    <a:pt x="14895" y="9449"/>
                  </a:lnTo>
                  <a:lnTo>
                    <a:pt x="14891" y="9478"/>
                  </a:lnTo>
                  <a:lnTo>
                    <a:pt x="14885" y="9514"/>
                  </a:lnTo>
                  <a:lnTo>
                    <a:pt x="14878" y="9551"/>
                  </a:lnTo>
                  <a:lnTo>
                    <a:pt x="14870" y="9592"/>
                  </a:lnTo>
                  <a:lnTo>
                    <a:pt x="14862" y="9632"/>
                  </a:lnTo>
                  <a:lnTo>
                    <a:pt x="14852" y="9674"/>
                  </a:lnTo>
                  <a:lnTo>
                    <a:pt x="14840" y="9717"/>
                  </a:lnTo>
                  <a:lnTo>
                    <a:pt x="14828" y="9762"/>
                  </a:lnTo>
                  <a:lnTo>
                    <a:pt x="14814" y="9806"/>
                  </a:lnTo>
                  <a:lnTo>
                    <a:pt x="14799" y="9850"/>
                  </a:lnTo>
                  <a:lnTo>
                    <a:pt x="14782" y="9895"/>
                  </a:lnTo>
                  <a:lnTo>
                    <a:pt x="14764" y="9941"/>
                  </a:lnTo>
                  <a:lnTo>
                    <a:pt x="14744" y="9986"/>
                  </a:lnTo>
                  <a:lnTo>
                    <a:pt x="14721" y="10030"/>
                  </a:lnTo>
                  <a:lnTo>
                    <a:pt x="14697" y="10074"/>
                  </a:lnTo>
                  <a:lnTo>
                    <a:pt x="14671" y="10118"/>
                  </a:lnTo>
                  <a:lnTo>
                    <a:pt x="14642" y="10161"/>
                  </a:lnTo>
                  <a:lnTo>
                    <a:pt x="14612" y="10202"/>
                  </a:lnTo>
                  <a:lnTo>
                    <a:pt x="14578" y="10242"/>
                  </a:lnTo>
                  <a:lnTo>
                    <a:pt x="14542" y="10281"/>
                  </a:lnTo>
                  <a:lnTo>
                    <a:pt x="14504" y="10318"/>
                  </a:lnTo>
                  <a:lnTo>
                    <a:pt x="14462" y="10353"/>
                  </a:lnTo>
                  <a:lnTo>
                    <a:pt x="14419" y="10386"/>
                  </a:lnTo>
                  <a:lnTo>
                    <a:pt x="14372" y="10417"/>
                  </a:lnTo>
                  <a:lnTo>
                    <a:pt x="14322" y="10446"/>
                  </a:lnTo>
                  <a:lnTo>
                    <a:pt x="14269" y="10472"/>
                  </a:lnTo>
                  <a:lnTo>
                    <a:pt x="14212" y="10494"/>
                  </a:lnTo>
                  <a:lnTo>
                    <a:pt x="14153" y="10514"/>
                  </a:lnTo>
                  <a:lnTo>
                    <a:pt x="14089" y="10531"/>
                  </a:lnTo>
                  <a:lnTo>
                    <a:pt x="14023" y="10544"/>
                  </a:lnTo>
                  <a:lnTo>
                    <a:pt x="13953" y="10554"/>
                  </a:lnTo>
                  <a:lnTo>
                    <a:pt x="13879" y="10560"/>
                  </a:lnTo>
                  <a:lnTo>
                    <a:pt x="13801" y="10562"/>
                  </a:lnTo>
                  <a:lnTo>
                    <a:pt x="12603" y="10562"/>
                  </a:lnTo>
                  <a:lnTo>
                    <a:pt x="12590" y="10562"/>
                  </a:lnTo>
                  <a:lnTo>
                    <a:pt x="12577" y="10563"/>
                  </a:lnTo>
                  <a:lnTo>
                    <a:pt x="12565" y="10565"/>
                  </a:lnTo>
                  <a:lnTo>
                    <a:pt x="12553" y="10567"/>
                  </a:lnTo>
                  <a:lnTo>
                    <a:pt x="12540" y="10570"/>
                  </a:lnTo>
                  <a:lnTo>
                    <a:pt x="12529" y="10573"/>
                  </a:lnTo>
                  <a:lnTo>
                    <a:pt x="12516" y="10577"/>
                  </a:lnTo>
                  <a:lnTo>
                    <a:pt x="12505" y="10582"/>
                  </a:lnTo>
                  <a:lnTo>
                    <a:pt x="12494" y="10587"/>
                  </a:lnTo>
                  <a:lnTo>
                    <a:pt x="12483" y="10593"/>
                  </a:lnTo>
                  <a:lnTo>
                    <a:pt x="12472" y="10599"/>
                  </a:lnTo>
                  <a:lnTo>
                    <a:pt x="12462" y="10606"/>
                  </a:lnTo>
                  <a:lnTo>
                    <a:pt x="12452" y="10612"/>
                  </a:lnTo>
                  <a:lnTo>
                    <a:pt x="12443" y="10620"/>
                  </a:lnTo>
                  <a:lnTo>
                    <a:pt x="12434" y="10628"/>
                  </a:lnTo>
                  <a:lnTo>
                    <a:pt x="12425" y="10636"/>
                  </a:lnTo>
                  <a:lnTo>
                    <a:pt x="12417" y="10645"/>
                  </a:lnTo>
                  <a:lnTo>
                    <a:pt x="12409" y="10654"/>
                  </a:lnTo>
                  <a:lnTo>
                    <a:pt x="12401" y="10663"/>
                  </a:lnTo>
                  <a:lnTo>
                    <a:pt x="12394" y="10673"/>
                  </a:lnTo>
                  <a:lnTo>
                    <a:pt x="12387" y="10683"/>
                  </a:lnTo>
                  <a:lnTo>
                    <a:pt x="12381" y="10694"/>
                  </a:lnTo>
                  <a:lnTo>
                    <a:pt x="12376" y="10704"/>
                  </a:lnTo>
                  <a:lnTo>
                    <a:pt x="12371" y="10715"/>
                  </a:lnTo>
                  <a:lnTo>
                    <a:pt x="12366" y="10727"/>
                  </a:lnTo>
                  <a:lnTo>
                    <a:pt x="12362" y="10738"/>
                  </a:lnTo>
                  <a:lnTo>
                    <a:pt x="12359" y="10750"/>
                  </a:lnTo>
                  <a:lnTo>
                    <a:pt x="12356" y="10763"/>
                  </a:lnTo>
                  <a:lnTo>
                    <a:pt x="12354" y="10776"/>
                  </a:lnTo>
                  <a:lnTo>
                    <a:pt x="12352" y="10788"/>
                  </a:lnTo>
                  <a:lnTo>
                    <a:pt x="12351" y="10801"/>
                  </a:lnTo>
                  <a:lnTo>
                    <a:pt x="12351" y="10814"/>
                  </a:lnTo>
                  <a:lnTo>
                    <a:pt x="12351" y="10827"/>
                  </a:lnTo>
                  <a:lnTo>
                    <a:pt x="12352" y="10839"/>
                  </a:lnTo>
                  <a:lnTo>
                    <a:pt x="12354" y="10852"/>
                  </a:lnTo>
                  <a:lnTo>
                    <a:pt x="12356" y="10864"/>
                  </a:lnTo>
                  <a:lnTo>
                    <a:pt x="12359" y="10876"/>
                  </a:lnTo>
                  <a:lnTo>
                    <a:pt x="12362" y="10888"/>
                  </a:lnTo>
                  <a:lnTo>
                    <a:pt x="12366" y="10900"/>
                  </a:lnTo>
                  <a:lnTo>
                    <a:pt x="12371" y="10911"/>
                  </a:lnTo>
                  <a:lnTo>
                    <a:pt x="12376" y="10922"/>
                  </a:lnTo>
                  <a:lnTo>
                    <a:pt x="12381" y="10934"/>
                  </a:lnTo>
                  <a:lnTo>
                    <a:pt x="12387" y="10945"/>
                  </a:lnTo>
                  <a:lnTo>
                    <a:pt x="12394" y="10955"/>
                  </a:lnTo>
                  <a:lnTo>
                    <a:pt x="12401" y="10964"/>
                  </a:lnTo>
                  <a:lnTo>
                    <a:pt x="12409" y="10974"/>
                  </a:lnTo>
                  <a:lnTo>
                    <a:pt x="12417" y="10983"/>
                  </a:lnTo>
                  <a:lnTo>
                    <a:pt x="12425" y="10992"/>
                  </a:lnTo>
                  <a:lnTo>
                    <a:pt x="12434" y="11000"/>
                  </a:lnTo>
                  <a:lnTo>
                    <a:pt x="12443" y="11008"/>
                  </a:lnTo>
                  <a:lnTo>
                    <a:pt x="12452" y="11015"/>
                  </a:lnTo>
                  <a:lnTo>
                    <a:pt x="12462" y="11022"/>
                  </a:lnTo>
                  <a:lnTo>
                    <a:pt x="12472" y="11029"/>
                  </a:lnTo>
                  <a:lnTo>
                    <a:pt x="12483" y="11035"/>
                  </a:lnTo>
                  <a:lnTo>
                    <a:pt x="12494" y="11040"/>
                  </a:lnTo>
                  <a:lnTo>
                    <a:pt x="12505" y="11045"/>
                  </a:lnTo>
                  <a:lnTo>
                    <a:pt x="12516" y="11050"/>
                  </a:lnTo>
                  <a:lnTo>
                    <a:pt x="12529" y="11054"/>
                  </a:lnTo>
                  <a:lnTo>
                    <a:pt x="12540" y="11057"/>
                  </a:lnTo>
                  <a:lnTo>
                    <a:pt x="12553" y="11060"/>
                  </a:lnTo>
                  <a:lnTo>
                    <a:pt x="12565" y="11062"/>
                  </a:lnTo>
                  <a:lnTo>
                    <a:pt x="12577" y="11064"/>
                  </a:lnTo>
                  <a:lnTo>
                    <a:pt x="12590" y="11065"/>
                  </a:lnTo>
                  <a:lnTo>
                    <a:pt x="12603" y="11065"/>
                  </a:lnTo>
                  <a:lnTo>
                    <a:pt x="13595" y="11065"/>
                  </a:lnTo>
                  <a:lnTo>
                    <a:pt x="13673" y="11067"/>
                  </a:lnTo>
                  <a:lnTo>
                    <a:pt x="13744" y="11072"/>
                  </a:lnTo>
                  <a:lnTo>
                    <a:pt x="13811" y="11081"/>
                  </a:lnTo>
                  <a:lnTo>
                    <a:pt x="13874" y="11093"/>
                  </a:lnTo>
                  <a:lnTo>
                    <a:pt x="13930" y="11110"/>
                  </a:lnTo>
                  <a:lnTo>
                    <a:pt x="13982" y="11128"/>
                  </a:lnTo>
                  <a:lnTo>
                    <a:pt x="14031" y="11149"/>
                  </a:lnTo>
                  <a:lnTo>
                    <a:pt x="14074" y="11173"/>
                  </a:lnTo>
                  <a:lnTo>
                    <a:pt x="14113" y="11199"/>
                  </a:lnTo>
                  <a:lnTo>
                    <a:pt x="14149" y="11227"/>
                  </a:lnTo>
                  <a:lnTo>
                    <a:pt x="14181" y="11257"/>
                  </a:lnTo>
                  <a:lnTo>
                    <a:pt x="14209" y="11291"/>
                  </a:lnTo>
                  <a:lnTo>
                    <a:pt x="14233" y="11325"/>
                  </a:lnTo>
                  <a:lnTo>
                    <a:pt x="14255" y="11361"/>
                  </a:lnTo>
                  <a:lnTo>
                    <a:pt x="14273" y="11398"/>
                  </a:lnTo>
                  <a:lnTo>
                    <a:pt x="14288" y="11438"/>
                  </a:lnTo>
                  <a:lnTo>
                    <a:pt x="14300" y="11477"/>
                  </a:lnTo>
                  <a:lnTo>
                    <a:pt x="14309" y="11518"/>
                  </a:lnTo>
                  <a:lnTo>
                    <a:pt x="14316" y="11560"/>
                  </a:lnTo>
                  <a:lnTo>
                    <a:pt x="14321" y="11602"/>
                  </a:lnTo>
                  <a:lnTo>
                    <a:pt x="14323" y="11645"/>
                  </a:lnTo>
                  <a:lnTo>
                    <a:pt x="14323" y="11688"/>
                  </a:lnTo>
                  <a:lnTo>
                    <a:pt x="14322" y="11731"/>
                  </a:lnTo>
                  <a:lnTo>
                    <a:pt x="14319" y="11774"/>
                  </a:lnTo>
                  <a:lnTo>
                    <a:pt x="14314" y="11818"/>
                  </a:lnTo>
                  <a:lnTo>
                    <a:pt x="14308" y="11860"/>
                  </a:lnTo>
                  <a:lnTo>
                    <a:pt x="14300" y="11902"/>
                  </a:lnTo>
                  <a:lnTo>
                    <a:pt x="14292" y="11943"/>
                  </a:lnTo>
                  <a:lnTo>
                    <a:pt x="14282" y="11984"/>
                  </a:lnTo>
                  <a:lnTo>
                    <a:pt x="14272" y="12024"/>
                  </a:lnTo>
                  <a:lnTo>
                    <a:pt x="14261" y="12062"/>
                  </a:lnTo>
                  <a:lnTo>
                    <a:pt x="14250" y="12098"/>
                  </a:lnTo>
                  <a:lnTo>
                    <a:pt x="14220" y="12193"/>
                  </a:lnTo>
                  <a:lnTo>
                    <a:pt x="14190" y="12287"/>
                  </a:lnTo>
                  <a:lnTo>
                    <a:pt x="14175" y="12333"/>
                  </a:lnTo>
                  <a:lnTo>
                    <a:pt x="14159" y="12377"/>
                  </a:lnTo>
                  <a:lnTo>
                    <a:pt x="14143" y="12422"/>
                  </a:lnTo>
                  <a:lnTo>
                    <a:pt x="14125" y="12466"/>
                  </a:lnTo>
                  <a:lnTo>
                    <a:pt x="14105" y="12509"/>
                  </a:lnTo>
                  <a:lnTo>
                    <a:pt x="14086" y="12551"/>
                  </a:lnTo>
                  <a:lnTo>
                    <a:pt x="14064" y="12591"/>
                  </a:lnTo>
                  <a:lnTo>
                    <a:pt x="14041" y="12632"/>
                  </a:lnTo>
                  <a:lnTo>
                    <a:pt x="14016" y="12670"/>
                  </a:lnTo>
                  <a:lnTo>
                    <a:pt x="13987" y="12707"/>
                  </a:lnTo>
                  <a:lnTo>
                    <a:pt x="13958" y="12743"/>
                  </a:lnTo>
                  <a:lnTo>
                    <a:pt x="13926" y="12778"/>
                  </a:lnTo>
                  <a:lnTo>
                    <a:pt x="13891" y="12812"/>
                  </a:lnTo>
                  <a:lnTo>
                    <a:pt x="13853" y="12843"/>
                  </a:lnTo>
                  <a:lnTo>
                    <a:pt x="13812" y="12873"/>
                  </a:lnTo>
                  <a:lnTo>
                    <a:pt x="13769" y="12901"/>
                  </a:lnTo>
                  <a:lnTo>
                    <a:pt x="13721" y="12928"/>
                  </a:lnTo>
                  <a:lnTo>
                    <a:pt x="13670" y="12952"/>
                  </a:lnTo>
                  <a:lnTo>
                    <a:pt x="13615" y="12976"/>
                  </a:lnTo>
                  <a:lnTo>
                    <a:pt x="13556" y="12996"/>
                  </a:lnTo>
                  <a:lnTo>
                    <a:pt x="13493" y="13014"/>
                  </a:lnTo>
                  <a:lnTo>
                    <a:pt x="13426" y="13030"/>
                  </a:lnTo>
                  <a:lnTo>
                    <a:pt x="13354" y="13044"/>
                  </a:lnTo>
                  <a:lnTo>
                    <a:pt x="13277" y="13056"/>
                  </a:lnTo>
                  <a:lnTo>
                    <a:pt x="13195" y="13065"/>
                  </a:lnTo>
                  <a:lnTo>
                    <a:pt x="13108" y="13072"/>
                  </a:lnTo>
                  <a:lnTo>
                    <a:pt x="13017" y="13076"/>
                  </a:lnTo>
                  <a:lnTo>
                    <a:pt x="12919" y="13077"/>
                  </a:lnTo>
                  <a:lnTo>
                    <a:pt x="12097" y="13077"/>
                  </a:lnTo>
                  <a:lnTo>
                    <a:pt x="12084" y="13077"/>
                  </a:lnTo>
                  <a:lnTo>
                    <a:pt x="12071" y="13078"/>
                  </a:lnTo>
                  <a:lnTo>
                    <a:pt x="12058" y="13080"/>
                  </a:lnTo>
                  <a:lnTo>
                    <a:pt x="12046" y="13082"/>
                  </a:lnTo>
                  <a:lnTo>
                    <a:pt x="12033" y="13085"/>
                  </a:lnTo>
                  <a:lnTo>
                    <a:pt x="12021" y="13088"/>
                  </a:lnTo>
                  <a:lnTo>
                    <a:pt x="12009" y="13092"/>
                  </a:lnTo>
                  <a:lnTo>
                    <a:pt x="11998" y="13097"/>
                  </a:lnTo>
                  <a:lnTo>
                    <a:pt x="11987" y="13102"/>
                  </a:lnTo>
                  <a:lnTo>
                    <a:pt x="11976" y="13107"/>
                  </a:lnTo>
                  <a:lnTo>
                    <a:pt x="11966" y="13113"/>
                  </a:lnTo>
                  <a:lnTo>
                    <a:pt x="11956" y="13120"/>
                  </a:lnTo>
                  <a:lnTo>
                    <a:pt x="11946" y="13127"/>
                  </a:lnTo>
                  <a:lnTo>
                    <a:pt x="11936" y="13135"/>
                  </a:lnTo>
                  <a:lnTo>
                    <a:pt x="11927" y="13143"/>
                  </a:lnTo>
                  <a:lnTo>
                    <a:pt x="11919" y="13151"/>
                  </a:lnTo>
                  <a:lnTo>
                    <a:pt x="11909" y="13160"/>
                  </a:lnTo>
                  <a:lnTo>
                    <a:pt x="11901" y="13169"/>
                  </a:lnTo>
                  <a:lnTo>
                    <a:pt x="11894" y="13178"/>
                  </a:lnTo>
                  <a:lnTo>
                    <a:pt x="11887" y="13188"/>
                  </a:lnTo>
                  <a:lnTo>
                    <a:pt x="11881" y="13198"/>
                  </a:lnTo>
                  <a:lnTo>
                    <a:pt x="11875" y="13209"/>
                  </a:lnTo>
                  <a:lnTo>
                    <a:pt x="11869" y="13219"/>
                  </a:lnTo>
                  <a:lnTo>
                    <a:pt x="11864" y="13230"/>
                  </a:lnTo>
                  <a:lnTo>
                    <a:pt x="11860" y="13242"/>
                  </a:lnTo>
                  <a:lnTo>
                    <a:pt x="11856" y="13253"/>
                  </a:lnTo>
                  <a:lnTo>
                    <a:pt x="11852" y="13265"/>
                  </a:lnTo>
                  <a:lnTo>
                    <a:pt x="11850" y="13277"/>
                  </a:lnTo>
                  <a:lnTo>
                    <a:pt x="11847" y="13290"/>
                  </a:lnTo>
                  <a:lnTo>
                    <a:pt x="11846" y="13303"/>
                  </a:lnTo>
                  <a:lnTo>
                    <a:pt x="11845" y="13316"/>
                  </a:lnTo>
                  <a:lnTo>
                    <a:pt x="11845" y="13329"/>
                  </a:lnTo>
                  <a:lnTo>
                    <a:pt x="11845" y="13342"/>
                  </a:lnTo>
                  <a:lnTo>
                    <a:pt x="11846" y="13354"/>
                  </a:lnTo>
                  <a:lnTo>
                    <a:pt x="11847" y="13367"/>
                  </a:lnTo>
                  <a:lnTo>
                    <a:pt x="11850" y="13379"/>
                  </a:lnTo>
                  <a:lnTo>
                    <a:pt x="11852" y="13391"/>
                  </a:lnTo>
                  <a:lnTo>
                    <a:pt x="11856" y="13403"/>
                  </a:lnTo>
                  <a:lnTo>
                    <a:pt x="11860" y="13415"/>
                  </a:lnTo>
                  <a:lnTo>
                    <a:pt x="11864" y="13426"/>
                  </a:lnTo>
                  <a:lnTo>
                    <a:pt x="11869" y="13437"/>
                  </a:lnTo>
                  <a:lnTo>
                    <a:pt x="11875" y="13448"/>
                  </a:lnTo>
                  <a:lnTo>
                    <a:pt x="11881" y="13458"/>
                  </a:lnTo>
                  <a:lnTo>
                    <a:pt x="11887" y="13468"/>
                  </a:lnTo>
                  <a:lnTo>
                    <a:pt x="11894" y="13479"/>
                  </a:lnTo>
                  <a:lnTo>
                    <a:pt x="11901" y="13489"/>
                  </a:lnTo>
                  <a:lnTo>
                    <a:pt x="11909" y="13498"/>
                  </a:lnTo>
                  <a:lnTo>
                    <a:pt x="11919" y="13507"/>
                  </a:lnTo>
                  <a:lnTo>
                    <a:pt x="11927" y="13515"/>
                  </a:lnTo>
                  <a:lnTo>
                    <a:pt x="11936" y="13523"/>
                  </a:lnTo>
                  <a:lnTo>
                    <a:pt x="11946" y="13530"/>
                  </a:lnTo>
                  <a:lnTo>
                    <a:pt x="11956" y="13537"/>
                  </a:lnTo>
                  <a:lnTo>
                    <a:pt x="11966" y="13544"/>
                  </a:lnTo>
                  <a:lnTo>
                    <a:pt x="11976" y="13550"/>
                  </a:lnTo>
                  <a:lnTo>
                    <a:pt x="11987" y="13555"/>
                  </a:lnTo>
                  <a:lnTo>
                    <a:pt x="11998" y="13560"/>
                  </a:lnTo>
                  <a:lnTo>
                    <a:pt x="12009" y="13565"/>
                  </a:lnTo>
                  <a:lnTo>
                    <a:pt x="12021" y="13569"/>
                  </a:lnTo>
                  <a:lnTo>
                    <a:pt x="12033" y="13572"/>
                  </a:lnTo>
                  <a:lnTo>
                    <a:pt x="12046" y="13575"/>
                  </a:lnTo>
                  <a:lnTo>
                    <a:pt x="12058" y="13577"/>
                  </a:lnTo>
                  <a:lnTo>
                    <a:pt x="12071" y="13579"/>
                  </a:lnTo>
                  <a:lnTo>
                    <a:pt x="12084" y="13580"/>
                  </a:lnTo>
                  <a:lnTo>
                    <a:pt x="12097" y="13580"/>
                  </a:lnTo>
                  <a:lnTo>
                    <a:pt x="12886" y="13580"/>
                  </a:lnTo>
                  <a:lnTo>
                    <a:pt x="12937" y="13581"/>
                  </a:lnTo>
                  <a:lnTo>
                    <a:pt x="12984" y="13586"/>
                  </a:lnTo>
                  <a:lnTo>
                    <a:pt x="13029" y="13593"/>
                  </a:lnTo>
                  <a:lnTo>
                    <a:pt x="13070" y="13603"/>
                  </a:lnTo>
                  <a:lnTo>
                    <a:pt x="13108" y="13615"/>
                  </a:lnTo>
                  <a:lnTo>
                    <a:pt x="13145" y="13629"/>
                  </a:lnTo>
                  <a:lnTo>
                    <a:pt x="13178" y="13646"/>
                  </a:lnTo>
                  <a:lnTo>
                    <a:pt x="13209" y="13665"/>
                  </a:lnTo>
                  <a:lnTo>
                    <a:pt x="13237" y="13685"/>
                  </a:lnTo>
                  <a:lnTo>
                    <a:pt x="13264" y="13707"/>
                  </a:lnTo>
                  <a:lnTo>
                    <a:pt x="13288" y="13730"/>
                  </a:lnTo>
                  <a:lnTo>
                    <a:pt x="13309" y="13754"/>
                  </a:lnTo>
                  <a:lnTo>
                    <a:pt x="13328" y="13780"/>
                  </a:lnTo>
                  <a:lnTo>
                    <a:pt x="13346" y="13807"/>
                  </a:lnTo>
                  <a:lnTo>
                    <a:pt x="13361" y="13836"/>
                  </a:lnTo>
                  <a:lnTo>
                    <a:pt x="13375" y="13864"/>
                  </a:lnTo>
                  <a:lnTo>
                    <a:pt x="13388" y="13893"/>
                  </a:lnTo>
                  <a:lnTo>
                    <a:pt x="13398" y="13922"/>
                  </a:lnTo>
                  <a:lnTo>
                    <a:pt x="13406" y="13952"/>
                  </a:lnTo>
                  <a:lnTo>
                    <a:pt x="13413" y="13982"/>
                  </a:lnTo>
                  <a:lnTo>
                    <a:pt x="13419" y="14011"/>
                  </a:lnTo>
                  <a:lnTo>
                    <a:pt x="13423" y="14041"/>
                  </a:lnTo>
                  <a:lnTo>
                    <a:pt x="13426" y="14070"/>
                  </a:lnTo>
                  <a:lnTo>
                    <a:pt x="13427" y="14098"/>
                  </a:lnTo>
                  <a:lnTo>
                    <a:pt x="13428" y="14126"/>
                  </a:lnTo>
                  <a:lnTo>
                    <a:pt x="13427" y="14153"/>
                  </a:lnTo>
                  <a:lnTo>
                    <a:pt x="13426" y="14179"/>
                  </a:lnTo>
                  <a:lnTo>
                    <a:pt x="13424" y="14204"/>
                  </a:lnTo>
                  <a:lnTo>
                    <a:pt x="13420" y="14227"/>
                  </a:lnTo>
                  <a:lnTo>
                    <a:pt x="13417" y="14249"/>
                  </a:lnTo>
                  <a:lnTo>
                    <a:pt x="13412" y="14269"/>
                  </a:lnTo>
                  <a:lnTo>
                    <a:pt x="13407" y="14287"/>
                  </a:lnTo>
                  <a:lnTo>
                    <a:pt x="13383" y="14361"/>
                  </a:lnTo>
                  <a:lnTo>
                    <a:pt x="13358" y="14429"/>
                  </a:lnTo>
                  <a:lnTo>
                    <a:pt x="13335" y="14490"/>
                  </a:lnTo>
                  <a:lnTo>
                    <a:pt x="13314" y="14543"/>
                  </a:lnTo>
                  <a:lnTo>
                    <a:pt x="13296" y="14586"/>
                  </a:lnTo>
                  <a:lnTo>
                    <a:pt x="13281" y="14619"/>
                  </a:lnTo>
                  <a:lnTo>
                    <a:pt x="13271" y="14640"/>
                  </a:lnTo>
                  <a:lnTo>
                    <a:pt x="13266" y="14649"/>
                  </a:lnTo>
                  <a:lnTo>
                    <a:pt x="13251" y="14676"/>
                  </a:lnTo>
                  <a:lnTo>
                    <a:pt x="13236" y="14700"/>
                  </a:lnTo>
                  <a:lnTo>
                    <a:pt x="13220" y="14724"/>
                  </a:lnTo>
                  <a:lnTo>
                    <a:pt x="13204" y="14747"/>
                  </a:lnTo>
                  <a:lnTo>
                    <a:pt x="13187" y="14770"/>
                  </a:lnTo>
                  <a:lnTo>
                    <a:pt x="13169" y="14792"/>
                  </a:lnTo>
                  <a:lnTo>
                    <a:pt x="13151" y="14813"/>
                  </a:lnTo>
                  <a:lnTo>
                    <a:pt x="13131" y="14835"/>
                  </a:lnTo>
                  <a:lnTo>
                    <a:pt x="13111" y="14854"/>
                  </a:lnTo>
                  <a:lnTo>
                    <a:pt x="13090" y="14873"/>
                  </a:lnTo>
                  <a:lnTo>
                    <a:pt x="13068" y="14892"/>
                  </a:lnTo>
                  <a:lnTo>
                    <a:pt x="13046" y="14909"/>
                  </a:lnTo>
                  <a:lnTo>
                    <a:pt x="13022" y="14926"/>
                  </a:lnTo>
                  <a:lnTo>
                    <a:pt x="12997" y="14942"/>
                  </a:lnTo>
                  <a:lnTo>
                    <a:pt x="12971" y="14957"/>
                  </a:lnTo>
                  <a:lnTo>
                    <a:pt x="12945" y="14972"/>
                  </a:lnTo>
                  <a:lnTo>
                    <a:pt x="12917" y="14986"/>
                  </a:lnTo>
                  <a:lnTo>
                    <a:pt x="12888" y="14999"/>
                  </a:lnTo>
                  <a:lnTo>
                    <a:pt x="12858" y="15011"/>
                  </a:lnTo>
                  <a:lnTo>
                    <a:pt x="12827" y="15023"/>
                  </a:lnTo>
                  <a:lnTo>
                    <a:pt x="12795" y="15033"/>
                  </a:lnTo>
                  <a:lnTo>
                    <a:pt x="12760" y="15043"/>
                  </a:lnTo>
                  <a:lnTo>
                    <a:pt x="12726" y="15051"/>
                  </a:lnTo>
                  <a:lnTo>
                    <a:pt x="12690" y="15059"/>
                  </a:lnTo>
                  <a:lnTo>
                    <a:pt x="12653" y="15066"/>
                  </a:lnTo>
                  <a:lnTo>
                    <a:pt x="12613" y="15072"/>
                  </a:lnTo>
                  <a:lnTo>
                    <a:pt x="12573" y="15077"/>
                  </a:lnTo>
                  <a:lnTo>
                    <a:pt x="12531" y="15081"/>
                  </a:lnTo>
                  <a:lnTo>
                    <a:pt x="12487" y="15085"/>
                  </a:lnTo>
                  <a:lnTo>
                    <a:pt x="12443" y="15087"/>
                  </a:lnTo>
                  <a:lnTo>
                    <a:pt x="12396" y="15088"/>
                  </a:lnTo>
                  <a:lnTo>
                    <a:pt x="12349" y="15089"/>
                  </a:lnTo>
                  <a:lnTo>
                    <a:pt x="9592" y="15089"/>
                  </a:lnTo>
                  <a:lnTo>
                    <a:pt x="9463" y="15088"/>
                  </a:lnTo>
                  <a:lnTo>
                    <a:pt x="9333" y="15085"/>
                  </a:lnTo>
                  <a:lnTo>
                    <a:pt x="9205" y="15081"/>
                  </a:lnTo>
                  <a:lnTo>
                    <a:pt x="9077" y="15076"/>
                  </a:lnTo>
                  <a:lnTo>
                    <a:pt x="8950" y="15069"/>
                  </a:lnTo>
                  <a:lnTo>
                    <a:pt x="8824" y="15060"/>
                  </a:lnTo>
                  <a:lnTo>
                    <a:pt x="8700" y="15051"/>
                  </a:lnTo>
                  <a:lnTo>
                    <a:pt x="8577" y="15040"/>
                  </a:lnTo>
                  <a:lnTo>
                    <a:pt x="8457" y="15029"/>
                  </a:lnTo>
                  <a:lnTo>
                    <a:pt x="8338" y="15016"/>
                  </a:lnTo>
                  <a:lnTo>
                    <a:pt x="8223" y="15004"/>
                  </a:lnTo>
                  <a:lnTo>
                    <a:pt x="8110" y="14989"/>
                  </a:lnTo>
                  <a:lnTo>
                    <a:pt x="7999" y="14975"/>
                  </a:lnTo>
                  <a:lnTo>
                    <a:pt x="7893" y="14961"/>
                  </a:lnTo>
                  <a:lnTo>
                    <a:pt x="7790" y="14946"/>
                  </a:lnTo>
                  <a:lnTo>
                    <a:pt x="7690" y="14931"/>
                  </a:lnTo>
                  <a:lnTo>
                    <a:pt x="7594" y="14916"/>
                  </a:lnTo>
                  <a:lnTo>
                    <a:pt x="7503" y="14902"/>
                  </a:lnTo>
                  <a:lnTo>
                    <a:pt x="7416" y="14887"/>
                  </a:lnTo>
                  <a:lnTo>
                    <a:pt x="7334" y="14873"/>
                  </a:lnTo>
                  <a:lnTo>
                    <a:pt x="7184" y="14846"/>
                  </a:lnTo>
                  <a:lnTo>
                    <a:pt x="7056" y="14821"/>
                  </a:lnTo>
                  <a:lnTo>
                    <a:pt x="6952" y="14800"/>
                  </a:lnTo>
                  <a:lnTo>
                    <a:pt x="6873" y="14784"/>
                  </a:lnTo>
                  <a:lnTo>
                    <a:pt x="6822" y="14772"/>
                  </a:lnTo>
                  <a:lnTo>
                    <a:pt x="6800" y="14767"/>
                  </a:lnTo>
                  <a:lnTo>
                    <a:pt x="6430" y="14683"/>
                  </a:lnTo>
                  <a:lnTo>
                    <a:pt x="6103" y="14607"/>
                  </a:lnTo>
                  <a:lnTo>
                    <a:pt x="5818" y="14541"/>
                  </a:lnTo>
                  <a:lnTo>
                    <a:pt x="5570" y="14483"/>
                  </a:lnTo>
                  <a:lnTo>
                    <a:pt x="5356" y="14433"/>
                  </a:lnTo>
                  <a:lnTo>
                    <a:pt x="5174" y="14390"/>
                  </a:lnTo>
                  <a:lnTo>
                    <a:pt x="5022" y="14354"/>
                  </a:lnTo>
                  <a:lnTo>
                    <a:pt x="4895" y="14324"/>
                  </a:lnTo>
                  <a:lnTo>
                    <a:pt x="4791" y="14298"/>
                  </a:lnTo>
                  <a:lnTo>
                    <a:pt x="4709" y="14277"/>
                  </a:lnTo>
                  <a:lnTo>
                    <a:pt x="4642" y="14260"/>
                  </a:lnTo>
                  <a:lnTo>
                    <a:pt x="4590" y="14247"/>
                  </a:lnTo>
                  <a:lnTo>
                    <a:pt x="4548" y="14236"/>
                  </a:lnTo>
                  <a:lnTo>
                    <a:pt x="4516" y="14227"/>
                  </a:lnTo>
                  <a:lnTo>
                    <a:pt x="4489" y="14219"/>
                  </a:lnTo>
                  <a:lnTo>
                    <a:pt x="4464" y="14212"/>
                  </a:lnTo>
                  <a:lnTo>
                    <a:pt x="4445" y="14208"/>
                  </a:lnTo>
                  <a:lnTo>
                    <a:pt x="4397" y="14195"/>
                  </a:lnTo>
                  <a:lnTo>
                    <a:pt x="4365" y="14184"/>
                  </a:lnTo>
                  <a:lnTo>
                    <a:pt x="4328" y="14170"/>
                  </a:lnTo>
                  <a:lnTo>
                    <a:pt x="4309" y="14161"/>
                  </a:lnTo>
                  <a:lnTo>
                    <a:pt x="4290" y="14152"/>
                  </a:lnTo>
                  <a:lnTo>
                    <a:pt x="4270" y="14141"/>
                  </a:lnTo>
                  <a:lnTo>
                    <a:pt x="4250" y="14129"/>
                  </a:lnTo>
                  <a:lnTo>
                    <a:pt x="4231" y="14117"/>
                  </a:lnTo>
                  <a:lnTo>
                    <a:pt x="4210" y="14103"/>
                  </a:lnTo>
                  <a:lnTo>
                    <a:pt x="4191" y="14088"/>
                  </a:lnTo>
                  <a:lnTo>
                    <a:pt x="4172" y="14072"/>
                  </a:lnTo>
                  <a:lnTo>
                    <a:pt x="4154" y="14055"/>
                  </a:lnTo>
                  <a:lnTo>
                    <a:pt x="4136" y="14036"/>
                  </a:lnTo>
                  <a:lnTo>
                    <a:pt x="4119" y="14016"/>
                  </a:lnTo>
                  <a:lnTo>
                    <a:pt x="4104" y="13995"/>
                  </a:lnTo>
                  <a:lnTo>
                    <a:pt x="4089" y="13971"/>
                  </a:lnTo>
                  <a:lnTo>
                    <a:pt x="4076" y="13947"/>
                  </a:lnTo>
                  <a:lnTo>
                    <a:pt x="4065" y="13921"/>
                  </a:lnTo>
                  <a:lnTo>
                    <a:pt x="4055" y="13894"/>
                  </a:lnTo>
                  <a:lnTo>
                    <a:pt x="4047" y="13866"/>
                  </a:lnTo>
                  <a:lnTo>
                    <a:pt x="4042" y="13835"/>
                  </a:lnTo>
                  <a:lnTo>
                    <a:pt x="4038" y="13802"/>
                  </a:lnTo>
                  <a:lnTo>
                    <a:pt x="4037" y="13768"/>
                  </a:lnTo>
                  <a:lnTo>
                    <a:pt x="4033" y="6821"/>
                  </a:lnTo>
                  <a:lnTo>
                    <a:pt x="4033" y="6800"/>
                  </a:lnTo>
                  <a:lnTo>
                    <a:pt x="4035" y="6778"/>
                  </a:lnTo>
                  <a:lnTo>
                    <a:pt x="4037" y="6756"/>
                  </a:lnTo>
                  <a:lnTo>
                    <a:pt x="4040" y="6735"/>
                  </a:lnTo>
                  <a:lnTo>
                    <a:pt x="4044" y="6714"/>
                  </a:lnTo>
                  <a:lnTo>
                    <a:pt x="4048" y="6693"/>
                  </a:lnTo>
                  <a:lnTo>
                    <a:pt x="4054" y="6671"/>
                  </a:lnTo>
                  <a:lnTo>
                    <a:pt x="4060" y="6651"/>
                  </a:lnTo>
                  <a:lnTo>
                    <a:pt x="4067" y="6631"/>
                  </a:lnTo>
                  <a:lnTo>
                    <a:pt x="4075" y="6611"/>
                  </a:lnTo>
                  <a:lnTo>
                    <a:pt x="4084" y="6592"/>
                  </a:lnTo>
                  <a:lnTo>
                    <a:pt x="4093" y="6573"/>
                  </a:lnTo>
                  <a:lnTo>
                    <a:pt x="4105" y="6554"/>
                  </a:lnTo>
                  <a:lnTo>
                    <a:pt x="4115" y="6536"/>
                  </a:lnTo>
                  <a:lnTo>
                    <a:pt x="4127" y="6517"/>
                  </a:lnTo>
                  <a:lnTo>
                    <a:pt x="4140" y="6499"/>
                  </a:lnTo>
                  <a:lnTo>
                    <a:pt x="4153" y="6482"/>
                  </a:lnTo>
                  <a:lnTo>
                    <a:pt x="4167" y="6466"/>
                  </a:lnTo>
                  <a:lnTo>
                    <a:pt x="4181" y="6450"/>
                  </a:lnTo>
                  <a:lnTo>
                    <a:pt x="4197" y="6435"/>
                  </a:lnTo>
                  <a:lnTo>
                    <a:pt x="4213" y="6420"/>
                  </a:lnTo>
                  <a:lnTo>
                    <a:pt x="4230" y="6405"/>
                  </a:lnTo>
                  <a:lnTo>
                    <a:pt x="4248" y="6392"/>
                  </a:lnTo>
                  <a:lnTo>
                    <a:pt x="4266" y="6379"/>
                  </a:lnTo>
                  <a:lnTo>
                    <a:pt x="4284" y="6366"/>
                  </a:lnTo>
                  <a:lnTo>
                    <a:pt x="4303" y="6354"/>
                  </a:lnTo>
                  <a:lnTo>
                    <a:pt x="4323" y="6342"/>
                  </a:lnTo>
                  <a:lnTo>
                    <a:pt x="4345" y="6332"/>
                  </a:lnTo>
                  <a:lnTo>
                    <a:pt x="4366" y="6322"/>
                  </a:lnTo>
                  <a:lnTo>
                    <a:pt x="4388" y="6313"/>
                  </a:lnTo>
                  <a:lnTo>
                    <a:pt x="4410" y="6305"/>
                  </a:lnTo>
                  <a:lnTo>
                    <a:pt x="4433" y="6297"/>
                  </a:lnTo>
                  <a:lnTo>
                    <a:pt x="4458" y="6288"/>
                  </a:lnTo>
                  <a:lnTo>
                    <a:pt x="4486" y="6279"/>
                  </a:lnTo>
                  <a:lnTo>
                    <a:pt x="4513" y="6270"/>
                  </a:lnTo>
                  <a:lnTo>
                    <a:pt x="4537" y="6260"/>
                  </a:lnTo>
                  <a:lnTo>
                    <a:pt x="4749" y="6167"/>
                  </a:lnTo>
                  <a:lnTo>
                    <a:pt x="4951" y="6069"/>
                  </a:lnTo>
                  <a:lnTo>
                    <a:pt x="5143" y="5963"/>
                  </a:lnTo>
                  <a:lnTo>
                    <a:pt x="5328" y="5853"/>
                  </a:lnTo>
                  <a:lnTo>
                    <a:pt x="5503" y="5737"/>
                  </a:lnTo>
                  <a:lnTo>
                    <a:pt x="5669" y="5615"/>
                  </a:lnTo>
                  <a:lnTo>
                    <a:pt x="5829" y="5488"/>
                  </a:lnTo>
                  <a:lnTo>
                    <a:pt x="5979" y="5357"/>
                  </a:lnTo>
                  <a:lnTo>
                    <a:pt x="6121" y="5222"/>
                  </a:lnTo>
                  <a:lnTo>
                    <a:pt x="6255" y="5082"/>
                  </a:lnTo>
                  <a:lnTo>
                    <a:pt x="6382" y="4938"/>
                  </a:lnTo>
                  <a:lnTo>
                    <a:pt x="6501" y="4790"/>
                  </a:lnTo>
                  <a:lnTo>
                    <a:pt x="6613" y="4639"/>
                  </a:lnTo>
                  <a:lnTo>
                    <a:pt x="6717" y="4485"/>
                  </a:lnTo>
                  <a:lnTo>
                    <a:pt x="6815" y="4330"/>
                  </a:lnTo>
                  <a:lnTo>
                    <a:pt x="6906" y="4170"/>
                  </a:lnTo>
                  <a:lnTo>
                    <a:pt x="6989" y="4009"/>
                  </a:lnTo>
                  <a:lnTo>
                    <a:pt x="7067" y="3846"/>
                  </a:lnTo>
                  <a:lnTo>
                    <a:pt x="7138" y="3681"/>
                  </a:lnTo>
                  <a:lnTo>
                    <a:pt x="7203" y="3514"/>
                  </a:lnTo>
                  <a:lnTo>
                    <a:pt x="7262" y="3347"/>
                  </a:lnTo>
                  <a:lnTo>
                    <a:pt x="7315" y="3179"/>
                  </a:lnTo>
                  <a:lnTo>
                    <a:pt x="7362" y="3010"/>
                  </a:lnTo>
                  <a:lnTo>
                    <a:pt x="7405" y="2840"/>
                  </a:lnTo>
                  <a:lnTo>
                    <a:pt x="7441" y="2671"/>
                  </a:lnTo>
                  <a:lnTo>
                    <a:pt x="7472" y="2502"/>
                  </a:lnTo>
                  <a:lnTo>
                    <a:pt x="7498" y="2334"/>
                  </a:lnTo>
                  <a:lnTo>
                    <a:pt x="7521" y="2166"/>
                  </a:lnTo>
                  <a:lnTo>
                    <a:pt x="7538" y="2000"/>
                  </a:lnTo>
                  <a:lnTo>
                    <a:pt x="7550" y="1834"/>
                  </a:lnTo>
                  <a:lnTo>
                    <a:pt x="7558" y="1671"/>
                  </a:lnTo>
                  <a:lnTo>
                    <a:pt x="7562" y="1509"/>
                  </a:lnTo>
                  <a:lnTo>
                    <a:pt x="7563" y="1486"/>
                  </a:lnTo>
                  <a:lnTo>
                    <a:pt x="7565" y="1464"/>
                  </a:lnTo>
                  <a:lnTo>
                    <a:pt x="7568" y="1441"/>
                  </a:lnTo>
                  <a:lnTo>
                    <a:pt x="7571" y="1418"/>
                  </a:lnTo>
                  <a:lnTo>
                    <a:pt x="7576" y="1395"/>
                  </a:lnTo>
                  <a:lnTo>
                    <a:pt x="7582" y="1373"/>
                  </a:lnTo>
                  <a:lnTo>
                    <a:pt x="7589" y="1351"/>
                  </a:lnTo>
                  <a:lnTo>
                    <a:pt x="7597" y="1329"/>
                  </a:lnTo>
                  <a:lnTo>
                    <a:pt x="7606" y="1307"/>
                  </a:lnTo>
                  <a:lnTo>
                    <a:pt x="7616" y="1286"/>
                  </a:lnTo>
                  <a:lnTo>
                    <a:pt x="7627" y="1264"/>
                  </a:lnTo>
                  <a:lnTo>
                    <a:pt x="7640" y="1244"/>
                  </a:lnTo>
                  <a:lnTo>
                    <a:pt x="7653" y="1223"/>
                  </a:lnTo>
                  <a:lnTo>
                    <a:pt x="7667" y="1204"/>
                  </a:lnTo>
                  <a:lnTo>
                    <a:pt x="7681" y="1185"/>
                  </a:lnTo>
                  <a:lnTo>
                    <a:pt x="7697" y="1167"/>
                  </a:lnTo>
                  <a:lnTo>
                    <a:pt x="7713" y="1150"/>
                  </a:lnTo>
                  <a:lnTo>
                    <a:pt x="7731" y="1133"/>
                  </a:lnTo>
                  <a:lnTo>
                    <a:pt x="7749" y="1117"/>
                  </a:lnTo>
                  <a:lnTo>
                    <a:pt x="7769" y="1102"/>
                  </a:lnTo>
                  <a:lnTo>
                    <a:pt x="7789" y="1087"/>
                  </a:lnTo>
                  <a:lnTo>
                    <a:pt x="7810" y="1074"/>
                  </a:lnTo>
                  <a:lnTo>
                    <a:pt x="7832" y="1061"/>
                  </a:lnTo>
                  <a:lnTo>
                    <a:pt x="7854" y="1050"/>
                  </a:lnTo>
                  <a:lnTo>
                    <a:pt x="7878" y="1040"/>
                  </a:lnTo>
                  <a:lnTo>
                    <a:pt x="7903" y="1032"/>
                  </a:lnTo>
                  <a:lnTo>
                    <a:pt x="7928" y="1024"/>
                  </a:lnTo>
                  <a:lnTo>
                    <a:pt x="7954" y="1018"/>
                  </a:lnTo>
                  <a:lnTo>
                    <a:pt x="7980" y="1013"/>
                  </a:lnTo>
                  <a:lnTo>
                    <a:pt x="8009" y="1009"/>
                  </a:lnTo>
                  <a:lnTo>
                    <a:pt x="8037" y="1007"/>
                  </a:lnTo>
                  <a:lnTo>
                    <a:pt x="8066" y="1006"/>
                  </a:lnTo>
                  <a:lnTo>
                    <a:pt x="8117" y="1009"/>
                  </a:lnTo>
                  <a:lnTo>
                    <a:pt x="8171" y="1018"/>
                  </a:lnTo>
                  <a:lnTo>
                    <a:pt x="8225" y="1033"/>
                  </a:lnTo>
                  <a:lnTo>
                    <a:pt x="8283" y="1054"/>
                  </a:lnTo>
                  <a:lnTo>
                    <a:pt x="8340" y="1081"/>
                  </a:lnTo>
                  <a:lnTo>
                    <a:pt x="8400" y="1114"/>
                  </a:lnTo>
                  <a:lnTo>
                    <a:pt x="8460" y="1151"/>
                  </a:lnTo>
                  <a:lnTo>
                    <a:pt x="8522" y="1193"/>
                  </a:lnTo>
                  <a:lnTo>
                    <a:pt x="8583" y="1241"/>
                  </a:lnTo>
                  <a:lnTo>
                    <a:pt x="8645" y="1294"/>
                  </a:lnTo>
                  <a:lnTo>
                    <a:pt x="8706" y="1351"/>
                  </a:lnTo>
                  <a:lnTo>
                    <a:pt x="8767" y="1413"/>
                  </a:lnTo>
                  <a:lnTo>
                    <a:pt x="8827" y="1480"/>
                  </a:lnTo>
                  <a:lnTo>
                    <a:pt x="8888" y="1550"/>
                  </a:lnTo>
                  <a:lnTo>
                    <a:pt x="8946" y="1626"/>
                  </a:lnTo>
                  <a:lnTo>
                    <a:pt x="9004" y="1705"/>
                  </a:lnTo>
                  <a:lnTo>
                    <a:pt x="9059" y="1788"/>
                  </a:lnTo>
                  <a:lnTo>
                    <a:pt x="9114" y="1874"/>
                  </a:lnTo>
                  <a:lnTo>
                    <a:pt x="9165" y="1965"/>
                  </a:lnTo>
                  <a:lnTo>
                    <a:pt x="9215" y="2058"/>
                  </a:lnTo>
                  <a:lnTo>
                    <a:pt x="9262" y="2155"/>
                  </a:lnTo>
                  <a:lnTo>
                    <a:pt x="9306" y="2255"/>
                  </a:lnTo>
                  <a:lnTo>
                    <a:pt x="9347" y="2358"/>
                  </a:lnTo>
                  <a:lnTo>
                    <a:pt x="9386" y="2464"/>
                  </a:lnTo>
                  <a:lnTo>
                    <a:pt x="9420" y="2572"/>
                  </a:lnTo>
                  <a:lnTo>
                    <a:pt x="9450" y="2683"/>
                  </a:lnTo>
                  <a:lnTo>
                    <a:pt x="9478" y="2797"/>
                  </a:lnTo>
                  <a:lnTo>
                    <a:pt x="9500" y="2912"/>
                  </a:lnTo>
                  <a:lnTo>
                    <a:pt x="9517" y="3030"/>
                  </a:lnTo>
                  <a:lnTo>
                    <a:pt x="9530" y="3150"/>
                  </a:lnTo>
                  <a:lnTo>
                    <a:pt x="9538" y="3271"/>
                  </a:lnTo>
                  <a:lnTo>
                    <a:pt x="9541" y="3394"/>
                  </a:lnTo>
                  <a:lnTo>
                    <a:pt x="9540" y="3606"/>
                  </a:lnTo>
                  <a:lnTo>
                    <a:pt x="9538" y="3799"/>
                  </a:lnTo>
                  <a:lnTo>
                    <a:pt x="9536" y="3889"/>
                  </a:lnTo>
                  <a:lnTo>
                    <a:pt x="9534" y="3974"/>
                  </a:lnTo>
                  <a:lnTo>
                    <a:pt x="9531" y="4056"/>
                  </a:lnTo>
                  <a:lnTo>
                    <a:pt x="9527" y="4135"/>
                  </a:lnTo>
                  <a:lnTo>
                    <a:pt x="9523" y="4211"/>
                  </a:lnTo>
                  <a:lnTo>
                    <a:pt x="9517" y="4284"/>
                  </a:lnTo>
                  <a:lnTo>
                    <a:pt x="9511" y="4357"/>
                  </a:lnTo>
                  <a:lnTo>
                    <a:pt x="9504" y="4426"/>
                  </a:lnTo>
                  <a:lnTo>
                    <a:pt x="9496" y="4495"/>
                  </a:lnTo>
                  <a:lnTo>
                    <a:pt x="9487" y="4562"/>
                  </a:lnTo>
                  <a:lnTo>
                    <a:pt x="9477" y="4629"/>
                  </a:lnTo>
                  <a:lnTo>
                    <a:pt x="9464" y="4696"/>
                  </a:lnTo>
                  <a:lnTo>
                    <a:pt x="9452" y="4763"/>
                  </a:lnTo>
                  <a:lnTo>
                    <a:pt x="9438" y="4831"/>
                  </a:lnTo>
                  <a:lnTo>
                    <a:pt x="9423" y="4899"/>
                  </a:lnTo>
                  <a:lnTo>
                    <a:pt x="9406" y="4968"/>
                  </a:lnTo>
                  <a:lnTo>
                    <a:pt x="9388" y="5040"/>
                  </a:lnTo>
                  <a:lnTo>
                    <a:pt x="9369" y="5112"/>
                  </a:lnTo>
                  <a:lnTo>
                    <a:pt x="9347" y="5188"/>
                  </a:lnTo>
                  <a:lnTo>
                    <a:pt x="9324" y="5266"/>
                  </a:lnTo>
                  <a:lnTo>
                    <a:pt x="9299" y="5348"/>
                  </a:lnTo>
                  <a:lnTo>
                    <a:pt x="9273" y="5432"/>
                  </a:lnTo>
                  <a:lnTo>
                    <a:pt x="9245" y="5522"/>
                  </a:lnTo>
                  <a:lnTo>
                    <a:pt x="9214" y="5614"/>
                  </a:lnTo>
                  <a:lnTo>
                    <a:pt x="9149" y="5814"/>
                  </a:lnTo>
                  <a:lnTo>
                    <a:pt x="9074" y="6036"/>
                  </a:lnTo>
                  <a:lnTo>
                    <a:pt x="9962" y="6037"/>
                  </a:lnTo>
                  <a:lnTo>
                    <a:pt x="10738" y="6039"/>
                  </a:lnTo>
                  <a:lnTo>
                    <a:pt x="11087" y="6041"/>
                  </a:lnTo>
                  <a:lnTo>
                    <a:pt x="11411" y="6043"/>
                  </a:lnTo>
                  <a:lnTo>
                    <a:pt x="11712" y="6046"/>
                  </a:lnTo>
                  <a:lnTo>
                    <a:pt x="11990" y="6049"/>
                  </a:lnTo>
                  <a:lnTo>
                    <a:pt x="12247" y="6052"/>
                  </a:lnTo>
                  <a:lnTo>
                    <a:pt x="12483" y="6056"/>
                  </a:lnTo>
                  <a:lnTo>
                    <a:pt x="12699" y="6060"/>
                  </a:lnTo>
                  <a:lnTo>
                    <a:pt x="12897" y="6065"/>
                  </a:lnTo>
                  <a:lnTo>
                    <a:pt x="13077" y="6070"/>
                  </a:lnTo>
                  <a:lnTo>
                    <a:pt x="13241" y="6075"/>
                  </a:lnTo>
                  <a:lnTo>
                    <a:pt x="13390" y="6080"/>
                  </a:lnTo>
                  <a:lnTo>
                    <a:pt x="13524" y="6086"/>
                  </a:lnTo>
                  <a:lnTo>
                    <a:pt x="13644" y="6092"/>
                  </a:lnTo>
                  <a:lnTo>
                    <a:pt x="13752" y="6099"/>
                  </a:lnTo>
                  <a:lnTo>
                    <a:pt x="13848" y="6106"/>
                  </a:lnTo>
                  <a:lnTo>
                    <a:pt x="13934" y="6113"/>
                  </a:lnTo>
                  <a:lnTo>
                    <a:pt x="14011" y="6121"/>
                  </a:lnTo>
                  <a:lnTo>
                    <a:pt x="14079" y="6129"/>
                  </a:lnTo>
                  <a:lnTo>
                    <a:pt x="14140" y="6137"/>
                  </a:lnTo>
                  <a:lnTo>
                    <a:pt x="14195" y="6145"/>
                  </a:lnTo>
                  <a:lnTo>
                    <a:pt x="14245" y="6154"/>
                  </a:lnTo>
                  <a:lnTo>
                    <a:pt x="14289" y="6163"/>
                  </a:lnTo>
                  <a:lnTo>
                    <a:pt x="14330" y="6172"/>
                  </a:lnTo>
                  <a:lnTo>
                    <a:pt x="14371" y="6182"/>
                  </a:lnTo>
                  <a:lnTo>
                    <a:pt x="14446" y="6203"/>
                  </a:lnTo>
                  <a:lnTo>
                    <a:pt x="14526" y="6224"/>
                  </a:lnTo>
                  <a:lnTo>
                    <a:pt x="14575" y="6240"/>
                  </a:lnTo>
                  <a:lnTo>
                    <a:pt x="14623" y="6257"/>
                  </a:lnTo>
                  <a:lnTo>
                    <a:pt x="14668" y="6276"/>
                  </a:lnTo>
                  <a:lnTo>
                    <a:pt x="14709" y="6296"/>
                  </a:lnTo>
                  <a:lnTo>
                    <a:pt x="14749" y="6317"/>
                  </a:lnTo>
                  <a:lnTo>
                    <a:pt x="14785" y="6340"/>
                  </a:lnTo>
                  <a:lnTo>
                    <a:pt x="14819" y="6364"/>
                  </a:lnTo>
                  <a:lnTo>
                    <a:pt x="14852" y="6389"/>
                  </a:lnTo>
                  <a:lnTo>
                    <a:pt x="14881" y="6414"/>
                  </a:lnTo>
                  <a:lnTo>
                    <a:pt x="14909" y="6441"/>
                  </a:lnTo>
                  <a:lnTo>
                    <a:pt x="14934" y="6468"/>
                  </a:lnTo>
                  <a:lnTo>
                    <a:pt x="14957" y="6495"/>
                  </a:lnTo>
                  <a:lnTo>
                    <a:pt x="14979" y="6524"/>
                  </a:lnTo>
                  <a:lnTo>
                    <a:pt x="14998" y="6552"/>
                  </a:lnTo>
                  <a:lnTo>
                    <a:pt x="15016" y="6581"/>
                  </a:lnTo>
                  <a:lnTo>
                    <a:pt x="15031" y="6609"/>
                  </a:lnTo>
                  <a:lnTo>
                    <a:pt x="15046" y="6638"/>
                  </a:lnTo>
                  <a:lnTo>
                    <a:pt x="15058" y="6666"/>
                  </a:lnTo>
                  <a:lnTo>
                    <a:pt x="15070" y="6695"/>
                  </a:lnTo>
                  <a:lnTo>
                    <a:pt x="15079" y="6723"/>
                  </a:lnTo>
                  <a:lnTo>
                    <a:pt x="15088" y="6751"/>
                  </a:lnTo>
                  <a:lnTo>
                    <a:pt x="15097" y="6778"/>
                  </a:lnTo>
                  <a:lnTo>
                    <a:pt x="15103" y="6804"/>
                  </a:lnTo>
                  <a:lnTo>
                    <a:pt x="15108" y="6829"/>
                  </a:lnTo>
                  <a:lnTo>
                    <a:pt x="15113" y="6854"/>
                  </a:lnTo>
                  <a:lnTo>
                    <a:pt x="15116" y="6879"/>
                  </a:lnTo>
                  <a:lnTo>
                    <a:pt x="15119" y="6901"/>
                  </a:lnTo>
                  <a:lnTo>
                    <a:pt x="15121" y="6923"/>
                  </a:lnTo>
                  <a:lnTo>
                    <a:pt x="15123" y="6961"/>
                  </a:lnTo>
                  <a:lnTo>
                    <a:pt x="15124" y="6994"/>
                  </a:lnTo>
                  <a:lnTo>
                    <a:pt x="15124" y="7051"/>
                  </a:lnTo>
                  <a:lnTo>
                    <a:pt x="15123" y="7093"/>
                  </a:lnTo>
                  <a:lnTo>
                    <a:pt x="15122" y="7126"/>
                  </a:lnTo>
                  <a:lnTo>
                    <a:pt x="15121" y="7153"/>
                  </a:lnTo>
                  <a:lnTo>
                    <a:pt x="15119" y="7181"/>
                  </a:lnTo>
                  <a:lnTo>
                    <a:pt x="15117" y="7215"/>
                  </a:lnTo>
                  <a:lnTo>
                    <a:pt x="15115" y="7256"/>
                  </a:lnTo>
                  <a:lnTo>
                    <a:pt x="15113" y="7310"/>
                  </a:lnTo>
                  <a:close/>
                  <a:moveTo>
                    <a:pt x="3529" y="14586"/>
                  </a:moveTo>
                  <a:lnTo>
                    <a:pt x="3528" y="14612"/>
                  </a:lnTo>
                  <a:lnTo>
                    <a:pt x="3526" y="14637"/>
                  </a:lnTo>
                  <a:lnTo>
                    <a:pt x="3523" y="14663"/>
                  </a:lnTo>
                  <a:lnTo>
                    <a:pt x="3519" y="14688"/>
                  </a:lnTo>
                  <a:lnTo>
                    <a:pt x="3513" y="14712"/>
                  </a:lnTo>
                  <a:lnTo>
                    <a:pt x="3507" y="14736"/>
                  </a:lnTo>
                  <a:lnTo>
                    <a:pt x="3499" y="14759"/>
                  </a:lnTo>
                  <a:lnTo>
                    <a:pt x="3490" y="14782"/>
                  </a:lnTo>
                  <a:lnTo>
                    <a:pt x="3479" y="14804"/>
                  </a:lnTo>
                  <a:lnTo>
                    <a:pt x="3468" y="14826"/>
                  </a:lnTo>
                  <a:lnTo>
                    <a:pt x="3456" y="14847"/>
                  </a:lnTo>
                  <a:lnTo>
                    <a:pt x="3443" y="14868"/>
                  </a:lnTo>
                  <a:lnTo>
                    <a:pt x="3429" y="14887"/>
                  </a:lnTo>
                  <a:lnTo>
                    <a:pt x="3414" y="14906"/>
                  </a:lnTo>
                  <a:lnTo>
                    <a:pt x="3398" y="14924"/>
                  </a:lnTo>
                  <a:lnTo>
                    <a:pt x="3382" y="14942"/>
                  </a:lnTo>
                  <a:lnTo>
                    <a:pt x="3364" y="14958"/>
                  </a:lnTo>
                  <a:lnTo>
                    <a:pt x="3345" y="14974"/>
                  </a:lnTo>
                  <a:lnTo>
                    <a:pt x="3326" y="14989"/>
                  </a:lnTo>
                  <a:lnTo>
                    <a:pt x="3307" y="15004"/>
                  </a:lnTo>
                  <a:lnTo>
                    <a:pt x="3286" y="15017"/>
                  </a:lnTo>
                  <a:lnTo>
                    <a:pt x="3265" y="15029"/>
                  </a:lnTo>
                  <a:lnTo>
                    <a:pt x="3244" y="15040"/>
                  </a:lnTo>
                  <a:lnTo>
                    <a:pt x="3221" y="15050"/>
                  </a:lnTo>
                  <a:lnTo>
                    <a:pt x="3198" y="15059"/>
                  </a:lnTo>
                  <a:lnTo>
                    <a:pt x="3175" y="15067"/>
                  </a:lnTo>
                  <a:lnTo>
                    <a:pt x="3151" y="15073"/>
                  </a:lnTo>
                  <a:lnTo>
                    <a:pt x="3127" y="15079"/>
                  </a:lnTo>
                  <a:lnTo>
                    <a:pt x="3101" y="15083"/>
                  </a:lnTo>
                  <a:lnTo>
                    <a:pt x="3076" y="15086"/>
                  </a:lnTo>
                  <a:lnTo>
                    <a:pt x="3051" y="15088"/>
                  </a:lnTo>
                  <a:lnTo>
                    <a:pt x="3025" y="15089"/>
                  </a:lnTo>
                  <a:lnTo>
                    <a:pt x="1512" y="15089"/>
                  </a:lnTo>
                  <a:lnTo>
                    <a:pt x="1486" y="15088"/>
                  </a:lnTo>
                  <a:lnTo>
                    <a:pt x="1461" y="15086"/>
                  </a:lnTo>
                  <a:lnTo>
                    <a:pt x="1436" y="15083"/>
                  </a:lnTo>
                  <a:lnTo>
                    <a:pt x="1411" y="15079"/>
                  </a:lnTo>
                  <a:lnTo>
                    <a:pt x="1386" y="15073"/>
                  </a:lnTo>
                  <a:lnTo>
                    <a:pt x="1362" y="15067"/>
                  </a:lnTo>
                  <a:lnTo>
                    <a:pt x="1339" y="15059"/>
                  </a:lnTo>
                  <a:lnTo>
                    <a:pt x="1316" y="15050"/>
                  </a:lnTo>
                  <a:lnTo>
                    <a:pt x="1294" y="15040"/>
                  </a:lnTo>
                  <a:lnTo>
                    <a:pt x="1272" y="15029"/>
                  </a:lnTo>
                  <a:lnTo>
                    <a:pt x="1251" y="15017"/>
                  </a:lnTo>
                  <a:lnTo>
                    <a:pt x="1230" y="15004"/>
                  </a:lnTo>
                  <a:lnTo>
                    <a:pt x="1211" y="14989"/>
                  </a:lnTo>
                  <a:lnTo>
                    <a:pt x="1192" y="14974"/>
                  </a:lnTo>
                  <a:lnTo>
                    <a:pt x="1174" y="14958"/>
                  </a:lnTo>
                  <a:lnTo>
                    <a:pt x="1155" y="14942"/>
                  </a:lnTo>
                  <a:lnTo>
                    <a:pt x="1139" y="14924"/>
                  </a:lnTo>
                  <a:lnTo>
                    <a:pt x="1123" y="14906"/>
                  </a:lnTo>
                  <a:lnTo>
                    <a:pt x="1108" y="14887"/>
                  </a:lnTo>
                  <a:lnTo>
                    <a:pt x="1094" y="14868"/>
                  </a:lnTo>
                  <a:lnTo>
                    <a:pt x="1081" y="14847"/>
                  </a:lnTo>
                  <a:lnTo>
                    <a:pt x="1069" y="14826"/>
                  </a:lnTo>
                  <a:lnTo>
                    <a:pt x="1058" y="14804"/>
                  </a:lnTo>
                  <a:lnTo>
                    <a:pt x="1048" y="14782"/>
                  </a:lnTo>
                  <a:lnTo>
                    <a:pt x="1038" y="14759"/>
                  </a:lnTo>
                  <a:lnTo>
                    <a:pt x="1030" y="14736"/>
                  </a:lnTo>
                  <a:lnTo>
                    <a:pt x="1024" y="14712"/>
                  </a:lnTo>
                  <a:lnTo>
                    <a:pt x="1018" y="14688"/>
                  </a:lnTo>
                  <a:lnTo>
                    <a:pt x="1014" y="14663"/>
                  </a:lnTo>
                  <a:lnTo>
                    <a:pt x="1011" y="14637"/>
                  </a:lnTo>
                  <a:lnTo>
                    <a:pt x="1009" y="14612"/>
                  </a:lnTo>
                  <a:lnTo>
                    <a:pt x="1008" y="14586"/>
                  </a:lnTo>
                  <a:lnTo>
                    <a:pt x="1008" y="6539"/>
                  </a:lnTo>
                  <a:lnTo>
                    <a:pt x="1009" y="6512"/>
                  </a:lnTo>
                  <a:lnTo>
                    <a:pt x="1011" y="6487"/>
                  </a:lnTo>
                  <a:lnTo>
                    <a:pt x="1014" y="6462"/>
                  </a:lnTo>
                  <a:lnTo>
                    <a:pt x="1018" y="6437"/>
                  </a:lnTo>
                  <a:lnTo>
                    <a:pt x="1024" y="6413"/>
                  </a:lnTo>
                  <a:lnTo>
                    <a:pt x="1030" y="6389"/>
                  </a:lnTo>
                  <a:lnTo>
                    <a:pt x="1038" y="6366"/>
                  </a:lnTo>
                  <a:lnTo>
                    <a:pt x="1048" y="6342"/>
                  </a:lnTo>
                  <a:lnTo>
                    <a:pt x="1058" y="6320"/>
                  </a:lnTo>
                  <a:lnTo>
                    <a:pt x="1069" y="6298"/>
                  </a:lnTo>
                  <a:lnTo>
                    <a:pt x="1081" y="6278"/>
                  </a:lnTo>
                  <a:lnTo>
                    <a:pt x="1094" y="6257"/>
                  </a:lnTo>
                  <a:lnTo>
                    <a:pt x="1108" y="6238"/>
                  </a:lnTo>
                  <a:lnTo>
                    <a:pt x="1123" y="6219"/>
                  </a:lnTo>
                  <a:lnTo>
                    <a:pt x="1139" y="6201"/>
                  </a:lnTo>
                  <a:lnTo>
                    <a:pt x="1155" y="6182"/>
                  </a:lnTo>
                  <a:lnTo>
                    <a:pt x="1174" y="6166"/>
                  </a:lnTo>
                  <a:lnTo>
                    <a:pt x="1192" y="6150"/>
                  </a:lnTo>
                  <a:lnTo>
                    <a:pt x="1211" y="6135"/>
                  </a:lnTo>
                  <a:lnTo>
                    <a:pt x="1230" y="6121"/>
                  </a:lnTo>
                  <a:lnTo>
                    <a:pt x="1251" y="6108"/>
                  </a:lnTo>
                  <a:lnTo>
                    <a:pt x="1272" y="6096"/>
                  </a:lnTo>
                  <a:lnTo>
                    <a:pt x="1294" y="6085"/>
                  </a:lnTo>
                  <a:lnTo>
                    <a:pt x="1316" y="6075"/>
                  </a:lnTo>
                  <a:lnTo>
                    <a:pt x="1339" y="6066"/>
                  </a:lnTo>
                  <a:lnTo>
                    <a:pt x="1362" y="6058"/>
                  </a:lnTo>
                  <a:lnTo>
                    <a:pt x="1386" y="6052"/>
                  </a:lnTo>
                  <a:lnTo>
                    <a:pt x="1411" y="6046"/>
                  </a:lnTo>
                  <a:lnTo>
                    <a:pt x="1436" y="6042"/>
                  </a:lnTo>
                  <a:lnTo>
                    <a:pt x="1461" y="6039"/>
                  </a:lnTo>
                  <a:lnTo>
                    <a:pt x="1486" y="6037"/>
                  </a:lnTo>
                  <a:lnTo>
                    <a:pt x="1512" y="6036"/>
                  </a:lnTo>
                  <a:lnTo>
                    <a:pt x="3025" y="6036"/>
                  </a:lnTo>
                  <a:lnTo>
                    <a:pt x="3051" y="6037"/>
                  </a:lnTo>
                  <a:lnTo>
                    <a:pt x="3076" y="6039"/>
                  </a:lnTo>
                  <a:lnTo>
                    <a:pt x="3101" y="6042"/>
                  </a:lnTo>
                  <a:lnTo>
                    <a:pt x="3127" y="6046"/>
                  </a:lnTo>
                  <a:lnTo>
                    <a:pt x="3151" y="6052"/>
                  </a:lnTo>
                  <a:lnTo>
                    <a:pt x="3175" y="6058"/>
                  </a:lnTo>
                  <a:lnTo>
                    <a:pt x="3198" y="6066"/>
                  </a:lnTo>
                  <a:lnTo>
                    <a:pt x="3221" y="6075"/>
                  </a:lnTo>
                  <a:lnTo>
                    <a:pt x="3244" y="6085"/>
                  </a:lnTo>
                  <a:lnTo>
                    <a:pt x="3265" y="6096"/>
                  </a:lnTo>
                  <a:lnTo>
                    <a:pt x="3286" y="6108"/>
                  </a:lnTo>
                  <a:lnTo>
                    <a:pt x="3307" y="6121"/>
                  </a:lnTo>
                  <a:lnTo>
                    <a:pt x="3326" y="6135"/>
                  </a:lnTo>
                  <a:lnTo>
                    <a:pt x="3345" y="6150"/>
                  </a:lnTo>
                  <a:lnTo>
                    <a:pt x="3364" y="6166"/>
                  </a:lnTo>
                  <a:lnTo>
                    <a:pt x="3382" y="6182"/>
                  </a:lnTo>
                  <a:lnTo>
                    <a:pt x="3398" y="6201"/>
                  </a:lnTo>
                  <a:lnTo>
                    <a:pt x="3414" y="6219"/>
                  </a:lnTo>
                  <a:lnTo>
                    <a:pt x="3429" y="6238"/>
                  </a:lnTo>
                  <a:lnTo>
                    <a:pt x="3443" y="6257"/>
                  </a:lnTo>
                  <a:lnTo>
                    <a:pt x="3456" y="6278"/>
                  </a:lnTo>
                  <a:lnTo>
                    <a:pt x="3468" y="6298"/>
                  </a:lnTo>
                  <a:lnTo>
                    <a:pt x="3479" y="6320"/>
                  </a:lnTo>
                  <a:lnTo>
                    <a:pt x="3490" y="6342"/>
                  </a:lnTo>
                  <a:lnTo>
                    <a:pt x="3499" y="6366"/>
                  </a:lnTo>
                  <a:lnTo>
                    <a:pt x="3507" y="6389"/>
                  </a:lnTo>
                  <a:lnTo>
                    <a:pt x="3513" y="6413"/>
                  </a:lnTo>
                  <a:lnTo>
                    <a:pt x="3519" y="6437"/>
                  </a:lnTo>
                  <a:lnTo>
                    <a:pt x="3523" y="6462"/>
                  </a:lnTo>
                  <a:lnTo>
                    <a:pt x="3526" y="6487"/>
                  </a:lnTo>
                  <a:lnTo>
                    <a:pt x="3528" y="6512"/>
                  </a:lnTo>
                  <a:lnTo>
                    <a:pt x="3529" y="6539"/>
                  </a:lnTo>
                  <a:lnTo>
                    <a:pt x="3529" y="14586"/>
                  </a:lnTo>
                  <a:close/>
                  <a:moveTo>
                    <a:pt x="14702" y="5267"/>
                  </a:moveTo>
                  <a:lnTo>
                    <a:pt x="14641" y="5252"/>
                  </a:lnTo>
                  <a:lnTo>
                    <a:pt x="14574" y="5238"/>
                  </a:lnTo>
                  <a:lnTo>
                    <a:pt x="14504" y="5225"/>
                  </a:lnTo>
                  <a:lnTo>
                    <a:pt x="14427" y="5213"/>
                  </a:lnTo>
                  <a:lnTo>
                    <a:pt x="14345" y="5201"/>
                  </a:lnTo>
                  <a:lnTo>
                    <a:pt x="14260" y="5190"/>
                  </a:lnTo>
                  <a:lnTo>
                    <a:pt x="14169" y="5181"/>
                  </a:lnTo>
                  <a:lnTo>
                    <a:pt x="14073" y="5171"/>
                  </a:lnTo>
                  <a:lnTo>
                    <a:pt x="13972" y="5162"/>
                  </a:lnTo>
                  <a:lnTo>
                    <a:pt x="13867" y="5154"/>
                  </a:lnTo>
                  <a:lnTo>
                    <a:pt x="13758" y="5146"/>
                  </a:lnTo>
                  <a:lnTo>
                    <a:pt x="13644" y="5139"/>
                  </a:lnTo>
                  <a:lnTo>
                    <a:pt x="13524" y="5133"/>
                  </a:lnTo>
                  <a:lnTo>
                    <a:pt x="13401" y="5127"/>
                  </a:lnTo>
                  <a:lnTo>
                    <a:pt x="13273" y="5121"/>
                  </a:lnTo>
                  <a:lnTo>
                    <a:pt x="13140" y="5116"/>
                  </a:lnTo>
                  <a:lnTo>
                    <a:pt x="12860" y="5106"/>
                  </a:lnTo>
                  <a:lnTo>
                    <a:pt x="12564" y="5098"/>
                  </a:lnTo>
                  <a:lnTo>
                    <a:pt x="12249" y="5090"/>
                  </a:lnTo>
                  <a:lnTo>
                    <a:pt x="11918" y="5082"/>
                  </a:lnTo>
                  <a:lnTo>
                    <a:pt x="11569" y="5074"/>
                  </a:lnTo>
                  <a:lnTo>
                    <a:pt x="11204" y="5066"/>
                  </a:lnTo>
                  <a:lnTo>
                    <a:pt x="10822" y="5057"/>
                  </a:lnTo>
                  <a:lnTo>
                    <a:pt x="10423" y="5047"/>
                  </a:lnTo>
                  <a:lnTo>
                    <a:pt x="10441" y="4958"/>
                  </a:lnTo>
                  <a:lnTo>
                    <a:pt x="10459" y="4871"/>
                  </a:lnTo>
                  <a:lnTo>
                    <a:pt x="10473" y="4783"/>
                  </a:lnTo>
                  <a:lnTo>
                    <a:pt x="10487" y="4696"/>
                  </a:lnTo>
                  <a:lnTo>
                    <a:pt x="10498" y="4606"/>
                  </a:lnTo>
                  <a:lnTo>
                    <a:pt x="10508" y="4516"/>
                  </a:lnTo>
                  <a:lnTo>
                    <a:pt x="10517" y="4422"/>
                  </a:lnTo>
                  <a:lnTo>
                    <a:pt x="10525" y="4327"/>
                  </a:lnTo>
                  <a:lnTo>
                    <a:pt x="10531" y="4228"/>
                  </a:lnTo>
                  <a:lnTo>
                    <a:pt x="10536" y="4124"/>
                  </a:lnTo>
                  <a:lnTo>
                    <a:pt x="10541" y="4017"/>
                  </a:lnTo>
                  <a:lnTo>
                    <a:pt x="10544" y="3905"/>
                  </a:lnTo>
                  <a:lnTo>
                    <a:pt x="10546" y="3786"/>
                  </a:lnTo>
                  <a:lnTo>
                    <a:pt x="10548" y="3663"/>
                  </a:lnTo>
                  <a:lnTo>
                    <a:pt x="10549" y="3532"/>
                  </a:lnTo>
                  <a:lnTo>
                    <a:pt x="10549" y="3394"/>
                  </a:lnTo>
                  <a:lnTo>
                    <a:pt x="10545" y="3225"/>
                  </a:lnTo>
                  <a:lnTo>
                    <a:pt x="10534" y="3058"/>
                  </a:lnTo>
                  <a:lnTo>
                    <a:pt x="10516" y="2893"/>
                  </a:lnTo>
                  <a:lnTo>
                    <a:pt x="10491" y="2730"/>
                  </a:lnTo>
                  <a:lnTo>
                    <a:pt x="10459" y="2569"/>
                  </a:lnTo>
                  <a:lnTo>
                    <a:pt x="10420" y="2410"/>
                  </a:lnTo>
                  <a:lnTo>
                    <a:pt x="10376" y="2255"/>
                  </a:lnTo>
                  <a:lnTo>
                    <a:pt x="10325" y="2102"/>
                  </a:lnTo>
                  <a:lnTo>
                    <a:pt x="10269" y="1953"/>
                  </a:lnTo>
                  <a:lnTo>
                    <a:pt x="10209" y="1807"/>
                  </a:lnTo>
                  <a:lnTo>
                    <a:pt x="10142" y="1665"/>
                  </a:lnTo>
                  <a:lnTo>
                    <a:pt x="10071" y="1527"/>
                  </a:lnTo>
                  <a:lnTo>
                    <a:pt x="9996" y="1393"/>
                  </a:lnTo>
                  <a:lnTo>
                    <a:pt x="9916" y="1264"/>
                  </a:lnTo>
                  <a:lnTo>
                    <a:pt x="9832" y="1140"/>
                  </a:lnTo>
                  <a:lnTo>
                    <a:pt x="9745" y="1020"/>
                  </a:lnTo>
                  <a:lnTo>
                    <a:pt x="9654" y="906"/>
                  </a:lnTo>
                  <a:lnTo>
                    <a:pt x="9560" y="798"/>
                  </a:lnTo>
                  <a:lnTo>
                    <a:pt x="9463" y="695"/>
                  </a:lnTo>
                  <a:lnTo>
                    <a:pt x="9365" y="599"/>
                  </a:lnTo>
                  <a:lnTo>
                    <a:pt x="9263" y="508"/>
                  </a:lnTo>
                  <a:lnTo>
                    <a:pt x="9159" y="423"/>
                  </a:lnTo>
                  <a:lnTo>
                    <a:pt x="9053" y="347"/>
                  </a:lnTo>
                  <a:lnTo>
                    <a:pt x="8946" y="277"/>
                  </a:lnTo>
                  <a:lnTo>
                    <a:pt x="8837" y="214"/>
                  </a:lnTo>
                  <a:lnTo>
                    <a:pt x="8728" y="159"/>
                  </a:lnTo>
                  <a:lnTo>
                    <a:pt x="8619" y="112"/>
                  </a:lnTo>
                  <a:lnTo>
                    <a:pt x="8508" y="71"/>
                  </a:lnTo>
                  <a:lnTo>
                    <a:pt x="8397" y="41"/>
                  </a:lnTo>
                  <a:lnTo>
                    <a:pt x="8286" y="18"/>
                  </a:lnTo>
                  <a:lnTo>
                    <a:pt x="8176" y="5"/>
                  </a:lnTo>
                  <a:lnTo>
                    <a:pt x="8066" y="0"/>
                  </a:lnTo>
                  <a:lnTo>
                    <a:pt x="7989" y="2"/>
                  </a:lnTo>
                  <a:lnTo>
                    <a:pt x="7914" y="8"/>
                  </a:lnTo>
                  <a:lnTo>
                    <a:pt x="7839" y="17"/>
                  </a:lnTo>
                  <a:lnTo>
                    <a:pt x="7766" y="30"/>
                  </a:lnTo>
                  <a:lnTo>
                    <a:pt x="7693" y="47"/>
                  </a:lnTo>
                  <a:lnTo>
                    <a:pt x="7621" y="67"/>
                  </a:lnTo>
                  <a:lnTo>
                    <a:pt x="7552" y="91"/>
                  </a:lnTo>
                  <a:lnTo>
                    <a:pt x="7484" y="118"/>
                  </a:lnTo>
                  <a:lnTo>
                    <a:pt x="7418" y="148"/>
                  </a:lnTo>
                  <a:lnTo>
                    <a:pt x="7353" y="181"/>
                  </a:lnTo>
                  <a:lnTo>
                    <a:pt x="7290" y="217"/>
                  </a:lnTo>
                  <a:lnTo>
                    <a:pt x="7229" y="256"/>
                  </a:lnTo>
                  <a:lnTo>
                    <a:pt x="7170" y="298"/>
                  </a:lnTo>
                  <a:lnTo>
                    <a:pt x="7112" y="342"/>
                  </a:lnTo>
                  <a:lnTo>
                    <a:pt x="7058" y="389"/>
                  </a:lnTo>
                  <a:lnTo>
                    <a:pt x="7005" y="439"/>
                  </a:lnTo>
                  <a:lnTo>
                    <a:pt x="6955" y="491"/>
                  </a:lnTo>
                  <a:lnTo>
                    <a:pt x="6908" y="545"/>
                  </a:lnTo>
                  <a:lnTo>
                    <a:pt x="6862" y="602"/>
                  </a:lnTo>
                  <a:lnTo>
                    <a:pt x="6820" y="661"/>
                  </a:lnTo>
                  <a:lnTo>
                    <a:pt x="6780" y="721"/>
                  </a:lnTo>
                  <a:lnTo>
                    <a:pt x="6743" y="784"/>
                  </a:lnTo>
                  <a:lnTo>
                    <a:pt x="6710" y="848"/>
                  </a:lnTo>
                  <a:lnTo>
                    <a:pt x="6679" y="914"/>
                  </a:lnTo>
                  <a:lnTo>
                    <a:pt x="6651" y="983"/>
                  </a:lnTo>
                  <a:lnTo>
                    <a:pt x="6626" y="1052"/>
                  </a:lnTo>
                  <a:lnTo>
                    <a:pt x="6605" y="1123"/>
                  </a:lnTo>
                  <a:lnTo>
                    <a:pt x="6588" y="1195"/>
                  </a:lnTo>
                  <a:lnTo>
                    <a:pt x="6574" y="1269"/>
                  </a:lnTo>
                  <a:lnTo>
                    <a:pt x="6564" y="1344"/>
                  </a:lnTo>
                  <a:lnTo>
                    <a:pt x="6557" y="1419"/>
                  </a:lnTo>
                  <a:lnTo>
                    <a:pt x="6554" y="1497"/>
                  </a:lnTo>
                  <a:lnTo>
                    <a:pt x="6552" y="1593"/>
                  </a:lnTo>
                  <a:lnTo>
                    <a:pt x="6548" y="1695"/>
                  </a:lnTo>
                  <a:lnTo>
                    <a:pt x="6542" y="1800"/>
                  </a:lnTo>
                  <a:lnTo>
                    <a:pt x="6533" y="1908"/>
                  </a:lnTo>
                  <a:lnTo>
                    <a:pt x="6522" y="2020"/>
                  </a:lnTo>
                  <a:lnTo>
                    <a:pt x="6508" y="2134"/>
                  </a:lnTo>
                  <a:lnTo>
                    <a:pt x="6492" y="2250"/>
                  </a:lnTo>
                  <a:lnTo>
                    <a:pt x="6472" y="2370"/>
                  </a:lnTo>
                  <a:lnTo>
                    <a:pt x="6449" y="2491"/>
                  </a:lnTo>
                  <a:lnTo>
                    <a:pt x="6422" y="2613"/>
                  </a:lnTo>
                  <a:lnTo>
                    <a:pt x="6391" y="2737"/>
                  </a:lnTo>
                  <a:lnTo>
                    <a:pt x="6357" y="2863"/>
                  </a:lnTo>
                  <a:lnTo>
                    <a:pt x="6318" y="2989"/>
                  </a:lnTo>
                  <a:lnTo>
                    <a:pt x="6275" y="3115"/>
                  </a:lnTo>
                  <a:lnTo>
                    <a:pt x="6228" y="3242"/>
                  </a:lnTo>
                  <a:lnTo>
                    <a:pt x="6176" y="3369"/>
                  </a:lnTo>
                  <a:lnTo>
                    <a:pt x="6118" y="3496"/>
                  </a:lnTo>
                  <a:lnTo>
                    <a:pt x="6057" y="3620"/>
                  </a:lnTo>
                  <a:lnTo>
                    <a:pt x="5989" y="3745"/>
                  </a:lnTo>
                  <a:lnTo>
                    <a:pt x="5915" y="3869"/>
                  </a:lnTo>
                  <a:lnTo>
                    <a:pt x="5837" y="3991"/>
                  </a:lnTo>
                  <a:lnTo>
                    <a:pt x="5752" y="4111"/>
                  </a:lnTo>
                  <a:lnTo>
                    <a:pt x="5661" y="4229"/>
                  </a:lnTo>
                  <a:lnTo>
                    <a:pt x="5565" y="4345"/>
                  </a:lnTo>
                  <a:lnTo>
                    <a:pt x="5461" y="4457"/>
                  </a:lnTo>
                  <a:lnTo>
                    <a:pt x="5351" y="4567"/>
                  </a:lnTo>
                  <a:lnTo>
                    <a:pt x="5233" y="4674"/>
                  </a:lnTo>
                  <a:lnTo>
                    <a:pt x="5109" y="4776"/>
                  </a:lnTo>
                  <a:lnTo>
                    <a:pt x="4978" y="4876"/>
                  </a:lnTo>
                  <a:lnTo>
                    <a:pt x="4839" y="4970"/>
                  </a:lnTo>
                  <a:lnTo>
                    <a:pt x="4691" y="5061"/>
                  </a:lnTo>
                  <a:lnTo>
                    <a:pt x="4537" y="5146"/>
                  </a:lnTo>
                  <a:lnTo>
                    <a:pt x="4481" y="5176"/>
                  </a:lnTo>
                  <a:lnTo>
                    <a:pt x="4409" y="5212"/>
                  </a:lnTo>
                  <a:lnTo>
                    <a:pt x="4328" y="5252"/>
                  </a:lnTo>
                  <a:lnTo>
                    <a:pt x="4245" y="5294"/>
                  </a:lnTo>
                  <a:lnTo>
                    <a:pt x="4164" y="5333"/>
                  </a:lnTo>
                  <a:lnTo>
                    <a:pt x="4093" y="5368"/>
                  </a:lnTo>
                  <a:lnTo>
                    <a:pt x="4039" y="5394"/>
                  </a:lnTo>
                  <a:lnTo>
                    <a:pt x="4007" y="5409"/>
                  </a:lnTo>
                  <a:lnTo>
                    <a:pt x="4033" y="5432"/>
                  </a:lnTo>
                  <a:lnTo>
                    <a:pt x="4008" y="5411"/>
                  </a:lnTo>
                  <a:lnTo>
                    <a:pt x="3983" y="5390"/>
                  </a:lnTo>
                  <a:lnTo>
                    <a:pt x="3956" y="5370"/>
                  </a:lnTo>
                  <a:lnTo>
                    <a:pt x="3929" y="5350"/>
                  </a:lnTo>
                  <a:lnTo>
                    <a:pt x="3902" y="5329"/>
                  </a:lnTo>
                  <a:lnTo>
                    <a:pt x="3874" y="5310"/>
                  </a:lnTo>
                  <a:lnTo>
                    <a:pt x="3845" y="5291"/>
                  </a:lnTo>
                  <a:lnTo>
                    <a:pt x="3817" y="5273"/>
                  </a:lnTo>
                  <a:lnTo>
                    <a:pt x="3787" y="5255"/>
                  </a:lnTo>
                  <a:lnTo>
                    <a:pt x="3758" y="5238"/>
                  </a:lnTo>
                  <a:lnTo>
                    <a:pt x="3728" y="5221"/>
                  </a:lnTo>
                  <a:lnTo>
                    <a:pt x="3697" y="5205"/>
                  </a:lnTo>
                  <a:lnTo>
                    <a:pt x="3666" y="5189"/>
                  </a:lnTo>
                  <a:lnTo>
                    <a:pt x="3635" y="5174"/>
                  </a:lnTo>
                  <a:lnTo>
                    <a:pt x="3603" y="5159"/>
                  </a:lnTo>
                  <a:lnTo>
                    <a:pt x="3571" y="5145"/>
                  </a:lnTo>
                  <a:lnTo>
                    <a:pt x="3539" y="5132"/>
                  </a:lnTo>
                  <a:lnTo>
                    <a:pt x="3506" y="5120"/>
                  </a:lnTo>
                  <a:lnTo>
                    <a:pt x="3472" y="5108"/>
                  </a:lnTo>
                  <a:lnTo>
                    <a:pt x="3439" y="5097"/>
                  </a:lnTo>
                  <a:lnTo>
                    <a:pt x="3406" y="5087"/>
                  </a:lnTo>
                  <a:lnTo>
                    <a:pt x="3373" y="5077"/>
                  </a:lnTo>
                  <a:lnTo>
                    <a:pt x="3338" y="5068"/>
                  </a:lnTo>
                  <a:lnTo>
                    <a:pt x="3304" y="5061"/>
                  </a:lnTo>
                  <a:lnTo>
                    <a:pt x="3270" y="5054"/>
                  </a:lnTo>
                  <a:lnTo>
                    <a:pt x="3235" y="5048"/>
                  </a:lnTo>
                  <a:lnTo>
                    <a:pt x="3200" y="5042"/>
                  </a:lnTo>
                  <a:lnTo>
                    <a:pt x="3165" y="5038"/>
                  </a:lnTo>
                  <a:lnTo>
                    <a:pt x="3131" y="5034"/>
                  </a:lnTo>
                  <a:lnTo>
                    <a:pt x="3095" y="5032"/>
                  </a:lnTo>
                  <a:lnTo>
                    <a:pt x="3060" y="5030"/>
                  </a:lnTo>
                  <a:lnTo>
                    <a:pt x="3025" y="5030"/>
                  </a:lnTo>
                  <a:lnTo>
                    <a:pt x="1512" y="5030"/>
                  </a:lnTo>
                  <a:lnTo>
                    <a:pt x="1435" y="5032"/>
                  </a:lnTo>
                  <a:lnTo>
                    <a:pt x="1358" y="5038"/>
                  </a:lnTo>
                  <a:lnTo>
                    <a:pt x="1282" y="5047"/>
                  </a:lnTo>
                  <a:lnTo>
                    <a:pt x="1208" y="5061"/>
                  </a:lnTo>
                  <a:lnTo>
                    <a:pt x="1135" y="5077"/>
                  </a:lnTo>
                  <a:lnTo>
                    <a:pt x="1063" y="5098"/>
                  </a:lnTo>
                  <a:lnTo>
                    <a:pt x="993" y="5121"/>
                  </a:lnTo>
                  <a:lnTo>
                    <a:pt x="925" y="5148"/>
                  </a:lnTo>
                  <a:lnTo>
                    <a:pt x="857" y="5179"/>
                  </a:lnTo>
                  <a:lnTo>
                    <a:pt x="792" y="5212"/>
                  </a:lnTo>
                  <a:lnTo>
                    <a:pt x="729" y="5248"/>
                  </a:lnTo>
                  <a:lnTo>
                    <a:pt x="667" y="5288"/>
                  </a:lnTo>
                  <a:lnTo>
                    <a:pt x="608" y="5329"/>
                  </a:lnTo>
                  <a:lnTo>
                    <a:pt x="551" y="5375"/>
                  </a:lnTo>
                  <a:lnTo>
                    <a:pt x="496" y="5422"/>
                  </a:lnTo>
                  <a:lnTo>
                    <a:pt x="444" y="5472"/>
                  </a:lnTo>
                  <a:lnTo>
                    <a:pt x="393" y="5525"/>
                  </a:lnTo>
                  <a:lnTo>
                    <a:pt x="346" y="5579"/>
                  </a:lnTo>
                  <a:lnTo>
                    <a:pt x="300" y="5636"/>
                  </a:lnTo>
                  <a:lnTo>
                    <a:pt x="259" y="5696"/>
                  </a:lnTo>
                  <a:lnTo>
                    <a:pt x="219" y="5757"/>
                  </a:lnTo>
                  <a:lnTo>
                    <a:pt x="182" y="5820"/>
                  </a:lnTo>
                  <a:lnTo>
                    <a:pt x="149" y="5885"/>
                  </a:lnTo>
                  <a:lnTo>
                    <a:pt x="119" y="5952"/>
                  </a:lnTo>
                  <a:lnTo>
                    <a:pt x="92" y="6021"/>
                  </a:lnTo>
                  <a:lnTo>
                    <a:pt x="69" y="6090"/>
                  </a:lnTo>
                  <a:lnTo>
                    <a:pt x="47" y="6162"/>
                  </a:lnTo>
                  <a:lnTo>
                    <a:pt x="31" y="6235"/>
                  </a:lnTo>
                  <a:lnTo>
                    <a:pt x="17" y="6309"/>
                  </a:lnTo>
                  <a:lnTo>
                    <a:pt x="8" y="6385"/>
                  </a:lnTo>
                  <a:lnTo>
                    <a:pt x="2" y="6461"/>
                  </a:lnTo>
                  <a:lnTo>
                    <a:pt x="0" y="6539"/>
                  </a:lnTo>
                  <a:lnTo>
                    <a:pt x="0" y="14586"/>
                  </a:lnTo>
                  <a:lnTo>
                    <a:pt x="2" y="14664"/>
                  </a:lnTo>
                  <a:lnTo>
                    <a:pt x="8" y="14740"/>
                  </a:lnTo>
                  <a:lnTo>
                    <a:pt x="17" y="14815"/>
                  </a:lnTo>
                  <a:lnTo>
                    <a:pt x="31" y="14890"/>
                  </a:lnTo>
                  <a:lnTo>
                    <a:pt x="47" y="14962"/>
                  </a:lnTo>
                  <a:lnTo>
                    <a:pt x="69" y="15034"/>
                  </a:lnTo>
                  <a:lnTo>
                    <a:pt x="92" y="15104"/>
                  </a:lnTo>
                  <a:lnTo>
                    <a:pt x="119" y="15173"/>
                  </a:lnTo>
                  <a:lnTo>
                    <a:pt x="149" y="15240"/>
                  </a:lnTo>
                  <a:lnTo>
                    <a:pt x="182" y="15304"/>
                  </a:lnTo>
                  <a:lnTo>
                    <a:pt x="219" y="15368"/>
                  </a:lnTo>
                  <a:lnTo>
                    <a:pt x="259" y="15429"/>
                  </a:lnTo>
                  <a:lnTo>
                    <a:pt x="300" y="15488"/>
                  </a:lnTo>
                  <a:lnTo>
                    <a:pt x="346" y="15545"/>
                  </a:lnTo>
                  <a:lnTo>
                    <a:pt x="393" y="15600"/>
                  </a:lnTo>
                  <a:lnTo>
                    <a:pt x="444" y="15652"/>
                  </a:lnTo>
                  <a:lnTo>
                    <a:pt x="496" y="15703"/>
                  </a:lnTo>
                  <a:lnTo>
                    <a:pt x="551" y="15750"/>
                  </a:lnTo>
                  <a:lnTo>
                    <a:pt x="608" y="15795"/>
                  </a:lnTo>
                  <a:lnTo>
                    <a:pt x="667" y="15836"/>
                  </a:lnTo>
                  <a:lnTo>
                    <a:pt x="729" y="15876"/>
                  </a:lnTo>
                  <a:lnTo>
                    <a:pt x="792" y="15913"/>
                  </a:lnTo>
                  <a:lnTo>
                    <a:pt x="857" y="15946"/>
                  </a:lnTo>
                  <a:lnTo>
                    <a:pt x="925" y="15976"/>
                  </a:lnTo>
                  <a:lnTo>
                    <a:pt x="993" y="16003"/>
                  </a:lnTo>
                  <a:lnTo>
                    <a:pt x="1063" y="16027"/>
                  </a:lnTo>
                  <a:lnTo>
                    <a:pt x="1135" y="16048"/>
                  </a:lnTo>
                  <a:lnTo>
                    <a:pt x="1208" y="16064"/>
                  </a:lnTo>
                  <a:lnTo>
                    <a:pt x="1282" y="16078"/>
                  </a:lnTo>
                  <a:lnTo>
                    <a:pt x="1358" y="16087"/>
                  </a:lnTo>
                  <a:lnTo>
                    <a:pt x="1435" y="16093"/>
                  </a:lnTo>
                  <a:lnTo>
                    <a:pt x="1512" y="16095"/>
                  </a:lnTo>
                  <a:lnTo>
                    <a:pt x="3025" y="16095"/>
                  </a:lnTo>
                  <a:lnTo>
                    <a:pt x="3080" y="16094"/>
                  </a:lnTo>
                  <a:lnTo>
                    <a:pt x="3136" y="16091"/>
                  </a:lnTo>
                  <a:lnTo>
                    <a:pt x="3191" y="16086"/>
                  </a:lnTo>
                  <a:lnTo>
                    <a:pt x="3245" y="16079"/>
                  </a:lnTo>
                  <a:lnTo>
                    <a:pt x="3298" y="16069"/>
                  </a:lnTo>
                  <a:lnTo>
                    <a:pt x="3351" y="16058"/>
                  </a:lnTo>
                  <a:lnTo>
                    <a:pt x="3403" y="16046"/>
                  </a:lnTo>
                  <a:lnTo>
                    <a:pt x="3454" y="16031"/>
                  </a:lnTo>
                  <a:lnTo>
                    <a:pt x="3505" y="16015"/>
                  </a:lnTo>
                  <a:lnTo>
                    <a:pt x="3554" y="15995"/>
                  </a:lnTo>
                  <a:lnTo>
                    <a:pt x="3602" y="15975"/>
                  </a:lnTo>
                  <a:lnTo>
                    <a:pt x="3650" y="15954"/>
                  </a:lnTo>
                  <a:lnTo>
                    <a:pt x="3697" y="15930"/>
                  </a:lnTo>
                  <a:lnTo>
                    <a:pt x="3743" y="15906"/>
                  </a:lnTo>
                  <a:lnTo>
                    <a:pt x="3787" y="15879"/>
                  </a:lnTo>
                  <a:lnTo>
                    <a:pt x="3831" y="15851"/>
                  </a:lnTo>
                  <a:lnTo>
                    <a:pt x="3874" y="15821"/>
                  </a:lnTo>
                  <a:lnTo>
                    <a:pt x="3916" y="15790"/>
                  </a:lnTo>
                  <a:lnTo>
                    <a:pt x="3956" y="15758"/>
                  </a:lnTo>
                  <a:lnTo>
                    <a:pt x="3996" y="15724"/>
                  </a:lnTo>
                  <a:lnTo>
                    <a:pt x="4034" y="15689"/>
                  </a:lnTo>
                  <a:lnTo>
                    <a:pt x="4071" y="15652"/>
                  </a:lnTo>
                  <a:lnTo>
                    <a:pt x="4107" y="15615"/>
                  </a:lnTo>
                  <a:lnTo>
                    <a:pt x="4142" y="15576"/>
                  </a:lnTo>
                  <a:lnTo>
                    <a:pt x="4175" y="15536"/>
                  </a:lnTo>
                  <a:lnTo>
                    <a:pt x="4206" y="15494"/>
                  </a:lnTo>
                  <a:lnTo>
                    <a:pt x="4238" y="15452"/>
                  </a:lnTo>
                  <a:lnTo>
                    <a:pt x="4267" y="15409"/>
                  </a:lnTo>
                  <a:lnTo>
                    <a:pt x="4294" y="15365"/>
                  </a:lnTo>
                  <a:lnTo>
                    <a:pt x="4321" y="15319"/>
                  </a:lnTo>
                  <a:lnTo>
                    <a:pt x="4347" y="15273"/>
                  </a:lnTo>
                  <a:lnTo>
                    <a:pt x="4370" y="15226"/>
                  </a:lnTo>
                  <a:lnTo>
                    <a:pt x="4381" y="15230"/>
                  </a:lnTo>
                  <a:lnTo>
                    <a:pt x="4393" y="15233"/>
                  </a:lnTo>
                  <a:lnTo>
                    <a:pt x="4420" y="15239"/>
                  </a:lnTo>
                  <a:lnTo>
                    <a:pt x="4448" y="15247"/>
                  </a:lnTo>
                  <a:lnTo>
                    <a:pt x="4480" y="15255"/>
                  </a:lnTo>
                  <a:lnTo>
                    <a:pt x="4514" y="15264"/>
                  </a:lnTo>
                  <a:lnTo>
                    <a:pt x="4525" y="15266"/>
                  </a:lnTo>
                  <a:lnTo>
                    <a:pt x="4537" y="15270"/>
                  </a:lnTo>
                  <a:lnTo>
                    <a:pt x="4595" y="15284"/>
                  </a:lnTo>
                  <a:lnTo>
                    <a:pt x="4659" y="15299"/>
                  </a:lnTo>
                  <a:lnTo>
                    <a:pt x="4732" y="15317"/>
                  </a:lnTo>
                  <a:lnTo>
                    <a:pt x="4811" y="15337"/>
                  </a:lnTo>
                  <a:lnTo>
                    <a:pt x="4899" y="15358"/>
                  </a:lnTo>
                  <a:lnTo>
                    <a:pt x="4997" y="15381"/>
                  </a:lnTo>
                  <a:lnTo>
                    <a:pt x="5104" y="15406"/>
                  </a:lnTo>
                  <a:lnTo>
                    <a:pt x="5221" y="15433"/>
                  </a:lnTo>
                  <a:lnTo>
                    <a:pt x="5348" y="15463"/>
                  </a:lnTo>
                  <a:lnTo>
                    <a:pt x="5486" y="15495"/>
                  </a:lnTo>
                  <a:lnTo>
                    <a:pt x="5636" y="15531"/>
                  </a:lnTo>
                  <a:lnTo>
                    <a:pt x="5798" y="15569"/>
                  </a:lnTo>
                  <a:lnTo>
                    <a:pt x="5974" y="15609"/>
                  </a:lnTo>
                  <a:lnTo>
                    <a:pt x="6162" y="15652"/>
                  </a:lnTo>
                  <a:lnTo>
                    <a:pt x="6365" y="15700"/>
                  </a:lnTo>
                  <a:lnTo>
                    <a:pt x="6581" y="15749"/>
                  </a:lnTo>
                  <a:lnTo>
                    <a:pt x="6642" y="15762"/>
                  </a:lnTo>
                  <a:lnTo>
                    <a:pt x="6727" y="15780"/>
                  </a:lnTo>
                  <a:lnTo>
                    <a:pt x="6834" y="15802"/>
                  </a:lnTo>
                  <a:lnTo>
                    <a:pt x="6963" y="15827"/>
                  </a:lnTo>
                  <a:lnTo>
                    <a:pt x="7111" y="15855"/>
                  </a:lnTo>
                  <a:lnTo>
                    <a:pt x="7278" y="15884"/>
                  </a:lnTo>
                  <a:lnTo>
                    <a:pt x="7366" y="15899"/>
                  </a:lnTo>
                  <a:lnTo>
                    <a:pt x="7460" y="15914"/>
                  </a:lnTo>
                  <a:lnTo>
                    <a:pt x="7557" y="15929"/>
                  </a:lnTo>
                  <a:lnTo>
                    <a:pt x="7658" y="15944"/>
                  </a:lnTo>
                  <a:lnTo>
                    <a:pt x="7762" y="15958"/>
                  </a:lnTo>
                  <a:lnTo>
                    <a:pt x="7868" y="15973"/>
                  </a:lnTo>
                  <a:lnTo>
                    <a:pt x="7978" y="15987"/>
                  </a:lnTo>
                  <a:lnTo>
                    <a:pt x="8091" y="16000"/>
                  </a:lnTo>
                  <a:lnTo>
                    <a:pt x="8207" y="16015"/>
                  </a:lnTo>
                  <a:lnTo>
                    <a:pt x="8325" y="16027"/>
                  </a:lnTo>
                  <a:lnTo>
                    <a:pt x="8445" y="16039"/>
                  </a:lnTo>
                  <a:lnTo>
                    <a:pt x="8567" y="16049"/>
                  </a:lnTo>
                  <a:lnTo>
                    <a:pt x="8691" y="16059"/>
                  </a:lnTo>
                  <a:lnTo>
                    <a:pt x="8816" y="16068"/>
                  </a:lnTo>
                  <a:lnTo>
                    <a:pt x="8943" y="16076"/>
                  </a:lnTo>
                  <a:lnTo>
                    <a:pt x="9071" y="16083"/>
                  </a:lnTo>
                  <a:lnTo>
                    <a:pt x="9200" y="16088"/>
                  </a:lnTo>
                  <a:lnTo>
                    <a:pt x="9330" y="16092"/>
                  </a:lnTo>
                  <a:lnTo>
                    <a:pt x="9461" y="16094"/>
                  </a:lnTo>
                  <a:lnTo>
                    <a:pt x="9592" y="16095"/>
                  </a:lnTo>
                  <a:lnTo>
                    <a:pt x="12349" y="16095"/>
                  </a:lnTo>
                  <a:lnTo>
                    <a:pt x="12427" y="16094"/>
                  </a:lnTo>
                  <a:lnTo>
                    <a:pt x="12503" y="16091"/>
                  </a:lnTo>
                  <a:lnTo>
                    <a:pt x="12579" y="16087"/>
                  </a:lnTo>
                  <a:lnTo>
                    <a:pt x="12653" y="16080"/>
                  </a:lnTo>
                  <a:lnTo>
                    <a:pt x="12725" y="16071"/>
                  </a:lnTo>
                  <a:lnTo>
                    <a:pt x="12797" y="16061"/>
                  </a:lnTo>
                  <a:lnTo>
                    <a:pt x="12866" y="16049"/>
                  </a:lnTo>
                  <a:lnTo>
                    <a:pt x="12935" y="16035"/>
                  </a:lnTo>
                  <a:lnTo>
                    <a:pt x="13001" y="16019"/>
                  </a:lnTo>
                  <a:lnTo>
                    <a:pt x="13067" y="16000"/>
                  </a:lnTo>
                  <a:lnTo>
                    <a:pt x="13131" y="15980"/>
                  </a:lnTo>
                  <a:lnTo>
                    <a:pt x="13194" y="15959"/>
                  </a:lnTo>
                  <a:lnTo>
                    <a:pt x="13255" y="15935"/>
                  </a:lnTo>
                  <a:lnTo>
                    <a:pt x="13316" y="15910"/>
                  </a:lnTo>
                  <a:lnTo>
                    <a:pt x="13374" y="15882"/>
                  </a:lnTo>
                  <a:lnTo>
                    <a:pt x="13431" y="15853"/>
                  </a:lnTo>
                  <a:lnTo>
                    <a:pt x="13487" y="15821"/>
                  </a:lnTo>
                  <a:lnTo>
                    <a:pt x="13542" y="15788"/>
                  </a:lnTo>
                  <a:lnTo>
                    <a:pt x="13594" y="15753"/>
                  </a:lnTo>
                  <a:lnTo>
                    <a:pt x="13646" y="15717"/>
                  </a:lnTo>
                  <a:lnTo>
                    <a:pt x="13696" y="15678"/>
                  </a:lnTo>
                  <a:lnTo>
                    <a:pt x="13745" y="15637"/>
                  </a:lnTo>
                  <a:lnTo>
                    <a:pt x="13792" y="15594"/>
                  </a:lnTo>
                  <a:lnTo>
                    <a:pt x="13838" y="15550"/>
                  </a:lnTo>
                  <a:lnTo>
                    <a:pt x="13883" y="15504"/>
                  </a:lnTo>
                  <a:lnTo>
                    <a:pt x="13926" y="15455"/>
                  </a:lnTo>
                  <a:lnTo>
                    <a:pt x="13967" y="15405"/>
                  </a:lnTo>
                  <a:lnTo>
                    <a:pt x="14008" y="15353"/>
                  </a:lnTo>
                  <a:lnTo>
                    <a:pt x="14046" y="15298"/>
                  </a:lnTo>
                  <a:lnTo>
                    <a:pt x="14084" y="15243"/>
                  </a:lnTo>
                  <a:lnTo>
                    <a:pt x="14120" y="15185"/>
                  </a:lnTo>
                  <a:lnTo>
                    <a:pt x="14154" y="15125"/>
                  </a:lnTo>
                  <a:lnTo>
                    <a:pt x="14161" y="15112"/>
                  </a:lnTo>
                  <a:lnTo>
                    <a:pt x="14177" y="15080"/>
                  </a:lnTo>
                  <a:lnTo>
                    <a:pt x="14200" y="15031"/>
                  </a:lnTo>
                  <a:lnTo>
                    <a:pt x="14228" y="14965"/>
                  </a:lnTo>
                  <a:lnTo>
                    <a:pt x="14245" y="14928"/>
                  </a:lnTo>
                  <a:lnTo>
                    <a:pt x="14262" y="14887"/>
                  </a:lnTo>
                  <a:lnTo>
                    <a:pt x="14279" y="14843"/>
                  </a:lnTo>
                  <a:lnTo>
                    <a:pt x="14297" y="14796"/>
                  </a:lnTo>
                  <a:lnTo>
                    <a:pt x="14315" y="14746"/>
                  </a:lnTo>
                  <a:lnTo>
                    <a:pt x="14334" y="14695"/>
                  </a:lnTo>
                  <a:lnTo>
                    <a:pt x="14352" y="14640"/>
                  </a:lnTo>
                  <a:lnTo>
                    <a:pt x="14370" y="14584"/>
                  </a:lnTo>
                  <a:lnTo>
                    <a:pt x="14383" y="14540"/>
                  </a:lnTo>
                  <a:lnTo>
                    <a:pt x="14395" y="14494"/>
                  </a:lnTo>
                  <a:lnTo>
                    <a:pt x="14405" y="14445"/>
                  </a:lnTo>
                  <a:lnTo>
                    <a:pt x="14414" y="14395"/>
                  </a:lnTo>
                  <a:lnTo>
                    <a:pt x="14422" y="14344"/>
                  </a:lnTo>
                  <a:lnTo>
                    <a:pt x="14428" y="14290"/>
                  </a:lnTo>
                  <a:lnTo>
                    <a:pt x="14432" y="14235"/>
                  </a:lnTo>
                  <a:lnTo>
                    <a:pt x="14435" y="14179"/>
                  </a:lnTo>
                  <a:lnTo>
                    <a:pt x="14436" y="14121"/>
                  </a:lnTo>
                  <a:lnTo>
                    <a:pt x="14435" y="14063"/>
                  </a:lnTo>
                  <a:lnTo>
                    <a:pt x="14433" y="14034"/>
                  </a:lnTo>
                  <a:lnTo>
                    <a:pt x="14432" y="14004"/>
                  </a:lnTo>
                  <a:lnTo>
                    <a:pt x="14429" y="13974"/>
                  </a:lnTo>
                  <a:lnTo>
                    <a:pt x="14426" y="13944"/>
                  </a:lnTo>
                  <a:lnTo>
                    <a:pt x="14423" y="13914"/>
                  </a:lnTo>
                  <a:lnTo>
                    <a:pt x="14419" y="13883"/>
                  </a:lnTo>
                  <a:lnTo>
                    <a:pt x="14414" y="13853"/>
                  </a:lnTo>
                  <a:lnTo>
                    <a:pt x="14409" y="13823"/>
                  </a:lnTo>
                  <a:lnTo>
                    <a:pt x="14404" y="13791"/>
                  </a:lnTo>
                  <a:lnTo>
                    <a:pt x="14397" y="13760"/>
                  </a:lnTo>
                  <a:lnTo>
                    <a:pt x="14390" y="13730"/>
                  </a:lnTo>
                  <a:lnTo>
                    <a:pt x="14382" y="13699"/>
                  </a:lnTo>
                  <a:lnTo>
                    <a:pt x="14432" y="13664"/>
                  </a:lnTo>
                  <a:lnTo>
                    <a:pt x="14479" y="13627"/>
                  </a:lnTo>
                  <a:lnTo>
                    <a:pt x="14525" y="13589"/>
                  </a:lnTo>
                  <a:lnTo>
                    <a:pt x="14568" y="13551"/>
                  </a:lnTo>
                  <a:lnTo>
                    <a:pt x="14610" y="13513"/>
                  </a:lnTo>
                  <a:lnTo>
                    <a:pt x="14650" y="13473"/>
                  </a:lnTo>
                  <a:lnTo>
                    <a:pt x="14688" y="13432"/>
                  </a:lnTo>
                  <a:lnTo>
                    <a:pt x="14723" y="13391"/>
                  </a:lnTo>
                  <a:lnTo>
                    <a:pt x="14759" y="13349"/>
                  </a:lnTo>
                  <a:lnTo>
                    <a:pt x="14791" y="13307"/>
                  </a:lnTo>
                  <a:lnTo>
                    <a:pt x="14822" y="13264"/>
                  </a:lnTo>
                  <a:lnTo>
                    <a:pt x="14853" y="13222"/>
                  </a:lnTo>
                  <a:lnTo>
                    <a:pt x="14881" y="13179"/>
                  </a:lnTo>
                  <a:lnTo>
                    <a:pt x="14907" y="13135"/>
                  </a:lnTo>
                  <a:lnTo>
                    <a:pt x="14933" y="13091"/>
                  </a:lnTo>
                  <a:lnTo>
                    <a:pt x="14956" y="13048"/>
                  </a:lnTo>
                  <a:lnTo>
                    <a:pt x="14980" y="13005"/>
                  </a:lnTo>
                  <a:lnTo>
                    <a:pt x="15002" y="12962"/>
                  </a:lnTo>
                  <a:lnTo>
                    <a:pt x="15022" y="12917"/>
                  </a:lnTo>
                  <a:lnTo>
                    <a:pt x="15041" y="12875"/>
                  </a:lnTo>
                  <a:lnTo>
                    <a:pt x="15060" y="12832"/>
                  </a:lnTo>
                  <a:lnTo>
                    <a:pt x="15077" y="12789"/>
                  </a:lnTo>
                  <a:lnTo>
                    <a:pt x="15094" y="12747"/>
                  </a:lnTo>
                  <a:lnTo>
                    <a:pt x="15110" y="12706"/>
                  </a:lnTo>
                  <a:lnTo>
                    <a:pt x="15139" y="12626"/>
                  </a:lnTo>
                  <a:lnTo>
                    <a:pt x="15165" y="12547"/>
                  </a:lnTo>
                  <a:lnTo>
                    <a:pt x="15189" y="12473"/>
                  </a:lnTo>
                  <a:lnTo>
                    <a:pt x="15210" y="12401"/>
                  </a:lnTo>
                  <a:lnTo>
                    <a:pt x="15228" y="12346"/>
                  </a:lnTo>
                  <a:lnTo>
                    <a:pt x="15244" y="12291"/>
                  </a:lnTo>
                  <a:lnTo>
                    <a:pt x="15258" y="12237"/>
                  </a:lnTo>
                  <a:lnTo>
                    <a:pt x="15271" y="12184"/>
                  </a:lnTo>
                  <a:lnTo>
                    <a:pt x="15282" y="12132"/>
                  </a:lnTo>
                  <a:lnTo>
                    <a:pt x="15293" y="12080"/>
                  </a:lnTo>
                  <a:lnTo>
                    <a:pt x="15301" y="12029"/>
                  </a:lnTo>
                  <a:lnTo>
                    <a:pt x="15309" y="11980"/>
                  </a:lnTo>
                  <a:lnTo>
                    <a:pt x="15316" y="11930"/>
                  </a:lnTo>
                  <a:lnTo>
                    <a:pt x="15321" y="11883"/>
                  </a:lnTo>
                  <a:lnTo>
                    <a:pt x="15326" y="11836"/>
                  </a:lnTo>
                  <a:lnTo>
                    <a:pt x="15329" y="11790"/>
                  </a:lnTo>
                  <a:lnTo>
                    <a:pt x="15331" y="11743"/>
                  </a:lnTo>
                  <a:lnTo>
                    <a:pt x="15332" y="11699"/>
                  </a:lnTo>
                  <a:lnTo>
                    <a:pt x="15332" y="11655"/>
                  </a:lnTo>
                  <a:lnTo>
                    <a:pt x="15331" y="11612"/>
                  </a:lnTo>
                  <a:lnTo>
                    <a:pt x="15330" y="11569"/>
                  </a:lnTo>
                  <a:lnTo>
                    <a:pt x="15327" y="11528"/>
                  </a:lnTo>
                  <a:lnTo>
                    <a:pt x="15323" y="11488"/>
                  </a:lnTo>
                  <a:lnTo>
                    <a:pt x="15319" y="11448"/>
                  </a:lnTo>
                  <a:lnTo>
                    <a:pt x="15314" y="11408"/>
                  </a:lnTo>
                  <a:lnTo>
                    <a:pt x="15308" y="11370"/>
                  </a:lnTo>
                  <a:lnTo>
                    <a:pt x="15301" y="11333"/>
                  </a:lnTo>
                  <a:lnTo>
                    <a:pt x="15294" y="11296"/>
                  </a:lnTo>
                  <a:lnTo>
                    <a:pt x="15285" y="11260"/>
                  </a:lnTo>
                  <a:lnTo>
                    <a:pt x="15277" y="11225"/>
                  </a:lnTo>
                  <a:lnTo>
                    <a:pt x="15267" y="11191"/>
                  </a:lnTo>
                  <a:lnTo>
                    <a:pt x="15257" y="11157"/>
                  </a:lnTo>
                  <a:lnTo>
                    <a:pt x="15247" y="11124"/>
                  </a:lnTo>
                  <a:lnTo>
                    <a:pt x="15236" y="11092"/>
                  </a:lnTo>
                  <a:lnTo>
                    <a:pt x="15224" y="11060"/>
                  </a:lnTo>
                  <a:lnTo>
                    <a:pt x="15211" y="11030"/>
                  </a:lnTo>
                  <a:lnTo>
                    <a:pt x="15240" y="11003"/>
                  </a:lnTo>
                  <a:lnTo>
                    <a:pt x="15268" y="10975"/>
                  </a:lnTo>
                  <a:lnTo>
                    <a:pt x="15296" y="10946"/>
                  </a:lnTo>
                  <a:lnTo>
                    <a:pt x="15323" y="10915"/>
                  </a:lnTo>
                  <a:lnTo>
                    <a:pt x="15351" y="10884"/>
                  </a:lnTo>
                  <a:lnTo>
                    <a:pt x="15377" y="10852"/>
                  </a:lnTo>
                  <a:lnTo>
                    <a:pt x="15404" y="10820"/>
                  </a:lnTo>
                  <a:lnTo>
                    <a:pt x="15430" y="10786"/>
                  </a:lnTo>
                  <a:lnTo>
                    <a:pt x="15455" y="10750"/>
                  </a:lnTo>
                  <a:lnTo>
                    <a:pt x="15481" y="10715"/>
                  </a:lnTo>
                  <a:lnTo>
                    <a:pt x="15505" y="10678"/>
                  </a:lnTo>
                  <a:lnTo>
                    <a:pt x="15529" y="10640"/>
                  </a:lnTo>
                  <a:lnTo>
                    <a:pt x="15553" y="10601"/>
                  </a:lnTo>
                  <a:lnTo>
                    <a:pt x="15576" y="10560"/>
                  </a:lnTo>
                  <a:lnTo>
                    <a:pt x="15600" y="10519"/>
                  </a:lnTo>
                  <a:lnTo>
                    <a:pt x="15622" y="10477"/>
                  </a:lnTo>
                  <a:lnTo>
                    <a:pt x="15643" y="10434"/>
                  </a:lnTo>
                  <a:lnTo>
                    <a:pt x="15664" y="10389"/>
                  </a:lnTo>
                  <a:lnTo>
                    <a:pt x="15684" y="10344"/>
                  </a:lnTo>
                  <a:lnTo>
                    <a:pt x="15705" y="10297"/>
                  </a:lnTo>
                  <a:lnTo>
                    <a:pt x="15724" y="10248"/>
                  </a:lnTo>
                  <a:lnTo>
                    <a:pt x="15742" y="10199"/>
                  </a:lnTo>
                  <a:lnTo>
                    <a:pt x="15760" y="10149"/>
                  </a:lnTo>
                  <a:lnTo>
                    <a:pt x="15776" y="10098"/>
                  </a:lnTo>
                  <a:lnTo>
                    <a:pt x="15793" y="10044"/>
                  </a:lnTo>
                  <a:lnTo>
                    <a:pt x="15808" y="9991"/>
                  </a:lnTo>
                  <a:lnTo>
                    <a:pt x="15823" y="9936"/>
                  </a:lnTo>
                  <a:lnTo>
                    <a:pt x="15838" y="9878"/>
                  </a:lnTo>
                  <a:lnTo>
                    <a:pt x="15851" y="9821"/>
                  </a:lnTo>
                  <a:lnTo>
                    <a:pt x="15863" y="9762"/>
                  </a:lnTo>
                  <a:lnTo>
                    <a:pt x="15875" y="9701"/>
                  </a:lnTo>
                  <a:lnTo>
                    <a:pt x="15885" y="9639"/>
                  </a:lnTo>
                  <a:lnTo>
                    <a:pt x="15891" y="9600"/>
                  </a:lnTo>
                  <a:lnTo>
                    <a:pt x="15896" y="9561"/>
                  </a:lnTo>
                  <a:lnTo>
                    <a:pt x="15901" y="9522"/>
                  </a:lnTo>
                  <a:lnTo>
                    <a:pt x="15904" y="9483"/>
                  </a:lnTo>
                  <a:lnTo>
                    <a:pt x="15907" y="9445"/>
                  </a:lnTo>
                  <a:lnTo>
                    <a:pt x="15909" y="9406"/>
                  </a:lnTo>
                  <a:lnTo>
                    <a:pt x="15910" y="9366"/>
                  </a:lnTo>
                  <a:lnTo>
                    <a:pt x="15910" y="9328"/>
                  </a:lnTo>
                  <a:lnTo>
                    <a:pt x="15910" y="9289"/>
                  </a:lnTo>
                  <a:lnTo>
                    <a:pt x="15908" y="9251"/>
                  </a:lnTo>
                  <a:lnTo>
                    <a:pt x="15906" y="9211"/>
                  </a:lnTo>
                  <a:lnTo>
                    <a:pt x="15904" y="9173"/>
                  </a:lnTo>
                  <a:lnTo>
                    <a:pt x="15900" y="9135"/>
                  </a:lnTo>
                  <a:lnTo>
                    <a:pt x="15896" y="9097"/>
                  </a:lnTo>
                  <a:lnTo>
                    <a:pt x="15890" y="9058"/>
                  </a:lnTo>
                  <a:lnTo>
                    <a:pt x="15885" y="9020"/>
                  </a:lnTo>
                  <a:lnTo>
                    <a:pt x="15878" y="8982"/>
                  </a:lnTo>
                  <a:lnTo>
                    <a:pt x="15871" y="8945"/>
                  </a:lnTo>
                  <a:lnTo>
                    <a:pt x="15862" y="8907"/>
                  </a:lnTo>
                  <a:lnTo>
                    <a:pt x="15854" y="8870"/>
                  </a:lnTo>
                  <a:lnTo>
                    <a:pt x="15844" y="8833"/>
                  </a:lnTo>
                  <a:lnTo>
                    <a:pt x="15834" y="8796"/>
                  </a:lnTo>
                  <a:lnTo>
                    <a:pt x="15822" y="8760"/>
                  </a:lnTo>
                  <a:lnTo>
                    <a:pt x="15810" y="8723"/>
                  </a:lnTo>
                  <a:lnTo>
                    <a:pt x="15797" y="8687"/>
                  </a:lnTo>
                  <a:lnTo>
                    <a:pt x="15784" y="8652"/>
                  </a:lnTo>
                  <a:lnTo>
                    <a:pt x="15770" y="8617"/>
                  </a:lnTo>
                  <a:lnTo>
                    <a:pt x="15755" y="8582"/>
                  </a:lnTo>
                  <a:lnTo>
                    <a:pt x="15740" y="8547"/>
                  </a:lnTo>
                  <a:lnTo>
                    <a:pt x="15724" y="8513"/>
                  </a:lnTo>
                  <a:lnTo>
                    <a:pt x="15707" y="8479"/>
                  </a:lnTo>
                  <a:lnTo>
                    <a:pt x="15689" y="8446"/>
                  </a:lnTo>
                  <a:lnTo>
                    <a:pt x="15716" y="8416"/>
                  </a:lnTo>
                  <a:lnTo>
                    <a:pt x="15741" y="8384"/>
                  </a:lnTo>
                  <a:lnTo>
                    <a:pt x="15766" y="8353"/>
                  </a:lnTo>
                  <a:lnTo>
                    <a:pt x="15789" y="8322"/>
                  </a:lnTo>
                  <a:lnTo>
                    <a:pt x="15812" y="8290"/>
                  </a:lnTo>
                  <a:lnTo>
                    <a:pt x="15834" y="8258"/>
                  </a:lnTo>
                  <a:lnTo>
                    <a:pt x="15855" y="8226"/>
                  </a:lnTo>
                  <a:lnTo>
                    <a:pt x="15875" y="8192"/>
                  </a:lnTo>
                  <a:lnTo>
                    <a:pt x="15894" y="8159"/>
                  </a:lnTo>
                  <a:lnTo>
                    <a:pt x="15913" y="8125"/>
                  </a:lnTo>
                  <a:lnTo>
                    <a:pt x="15930" y="8092"/>
                  </a:lnTo>
                  <a:lnTo>
                    <a:pt x="15947" y="8058"/>
                  </a:lnTo>
                  <a:lnTo>
                    <a:pt x="15963" y="8022"/>
                  </a:lnTo>
                  <a:lnTo>
                    <a:pt x="15979" y="7988"/>
                  </a:lnTo>
                  <a:lnTo>
                    <a:pt x="15993" y="7953"/>
                  </a:lnTo>
                  <a:lnTo>
                    <a:pt x="16006" y="7918"/>
                  </a:lnTo>
                  <a:lnTo>
                    <a:pt x="16019" y="7884"/>
                  </a:lnTo>
                  <a:lnTo>
                    <a:pt x="16031" y="7847"/>
                  </a:lnTo>
                  <a:lnTo>
                    <a:pt x="16042" y="7812"/>
                  </a:lnTo>
                  <a:lnTo>
                    <a:pt x="16052" y="7777"/>
                  </a:lnTo>
                  <a:lnTo>
                    <a:pt x="16062" y="7742"/>
                  </a:lnTo>
                  <a:lnTo>
                    <a:pt x="16070" y="7705"/>
                  </a:lnTo>
                  <a:lnTo>
                    <a:pt x="16079" y="7670"/>
                  </a:lnTo>
                  <a:lnTo>
                    <a:pt x="16087" y="7634"/>
                  </a:lnTo>
                  <a:lnTo>
                    <a:pt x="16093" y="7599"/>
                  </a:lnTo>
                  <a:lnTo>
                    <a:pt x="16099" y="7564"/>
                  </a:lnTo>
                  <a:lnTo>
                    <a:pt x="16104" y="7527"/>
                  </a:lnTo>
                  <a:lnTo>
                    <a:pt x="16109" y="7492"/>
                  </a:lnTo>
                  <a:lnTo>
                    <a:pt x="16112" y="7457"/>
                  </a:lnTo>
                  <a:lnTo>
                    <a:pt x="16115" y="7422"/>
                  </a:lnTo>
                  <a:lnTo>
                    <a:pt x="16118" y="7387"/>
                  </a:lnTo>
                  <a:lnTo>
                    <a:pt x="16119" y="7351"/>
                  </a:lnTo>
                  <a:lnTo>
                    <a:pt x="16125" y="7246"/>
                  </a:lnTo>
                  <a:lnTo>
                    <a:pt x="16127" y="7223"/>
                  </a:lnTo>
                  <a:lnTo>
                    <a:pt x="16128" y="7199"/>
                  </a:lnTo>
                  <a:lnTo>
                    <a:pt x="16129" y="7175"/>
                  </a:lnTo>
                  <a:lnTo>
                    <a:pt x="16130" y="7149"/>
                  </a:lnTo>
                  <a:lnTo>
                    <a:pt x="16131" y="7120"/>
                  </a:lnTo>
                  <a:lnTo>
                    <a:pt x="16132" y="7086"/>
                  </a:lnTo>
                  <a:lnTo>
                    <a:pt x="16132" y="7044"/>
                  </a:lnTo>
                  <a:lnTo>
                    <a:pt x="16132" y="6994"/>
                  </a:lnTo>
                  <a:lnTo>
                    <a:pt x="16131" y="6934"/>
                  </a:lnTo>
                  <a:lnTo>
                    <a:pt x="16127" y="6874"/>
                  </a:lnTo>
                  <a:lnTo>
                    <a:pt x="16120" y="6811"/>
                  </a:lnTo>
                  <a:lnTo>
                    <a:pt x="16111" y="6749"/>
                  </a:lnTo>
                  <a:lnTo>
                    <a:pt x="16100" y="6686"/>
                  </a:lnTo>
                  <a:lnTo>
                    <a:pt x="16085" y="6623"/>
                  </a:lnTo>
                  <a:lnTo>
                    <a:pt x="16067" y="6560"/>
                  </a:lnTo>
                  <a:lnTo>
                    <a:pt x="16047" y="6495"/>
                  </a:lnTo>
                  <a:lnTo>
                    <a:pt x="16025" y="6432"/>
                  </a:lnTo>
                  <a:lnTo>
                    <a:pt x="16000" y="6369"/>
                  </a:lnTo>
                  <a:lnTo>
                    <a:pt x="15972" y="6305"/>
                  </a:lnTo>
                  <a:lnTo>
                    <a:pt x="15940" y="6243"/>
                  </a:lnTo>
                  <a:lnTo>
                    <a:pt x="15906" y="6180"/>
                  </a:lnTo>
                  <a:lnTo>
                    <a:pt x="15870" y="6119"/>
                  </a:lnTo>
                  <a:lnTo>
                    <a:pt x="15831" y="6058"/>
                  </a:lnTo>
                  <a:lnTo>
                    <a:pt x="15788" y="5997"/>
                  </a:lnTo>
                  <a:lnTo>
                    <a:pt x="15743" y="5939"/>
                  </a:lnTo>
                  <a:lnTo>
                    <a:pt x="15694" y="5881"/>
                  </a:lnTo>
                  <a:lnTo>
                    <a:pt x="15643" y="5824"/>
                  </a:lnTo>
                  <a:lnTo>
                    <a:pt x="15590" y="5770"/>
                  </a:lnTo>
                  <a:lnTo>
                    <a:pt x="15532" y="5716"/>
                  </a:lnTo>
                  <a:lnTo>
                    <a:pt x="15473" y="5664"/>
                  </a:lnTo>
                  <a:lnTo>
                    <a:pt x="15409" y="5614"/>
                  </a:lnTo>
                  <a:lnTo>
                    <a:pt x="15344" y="5566"/>
                  </a:lnTo>
                  <a:lnTo>
                    <a:pt x="15274" y="5521"/>
                  </a:lnTo>
                  <a:lnTo>
                    <a:pt x="15201" y="5476"/>
                  </a:lnTo>
                  <a:lnTo>
                    <a:pt x="15127" y="5435"/>
                  </a:lnTo>
                  <a:lnTo>
                    <a:pt x="15048" y="5396"/>
                  </a:lnTo>
                  <a:lnTo>
                    <a:pt x="14966" y="5360"/>
                  </a:lnTo>
                  <a:lnTo>
                    <a:pt x="14882" y="5325"/>
                  </a:lnTo>
                  <a:lnTo>
                    <a:pt x="14794" y="5295"/>
                  </a:lnTo>
                  <a:lnTo>
                    <a:pt x="14702" y="52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 dirty="0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83" name="iṥliďé">
              <a:extLst>
                <a:ext uri="{FF2B5EF4-FFF2-40B4-BE49-F238E27FC236}">
                  <a16:creationId xmlns:a16="http://schemas.microsoft.com/office/drawing/2014/main" id="{64FE632A-037C-491F-980B-CC0B0B01507F}"/>
                </a:ext>
              </a:extLst>
            </p:cNvPr>
            <p:cNvSpPr/>
            <p:nvPr/>
          </p:nvSpPr>
          <p:spPr bwMode="auto">
            <a:xfrm>
              <a:off x="3811153" y="524857"/>
              <a:ext cx="57809" cy="57808"/>
            </a:xfrm>
            <a:custGeom>
              <a:avLst/>
              <a:gdLst>
                <a:gd name="T0" fmla="*/ 706 w 1513"/>
                <a:gd name="T1" fmla="*/ 1001 h 1509"/>
                <a:gd name="T2" fmla="*/ 648 w 1513"/>
                <a:gd name="T3" fmla="*/ 981 h 1509"/>
                <a:gd name="T4" fmla="*/ 596 w 1513"/>
                <a:gd name="T5" fmla="*/ 949 h 1509"/>
                <a:gd name="T6" fmla="*/ 555 w 1513"/>
                <a:gd name="T7" fmla="*/ 905 h 1509"/>
                <a:gd name="T8" fmla="*/ 525 w 1513"/>
                <a:gd name="T9" fmla="*/ 852 h 1509"/>
                <a:gd name="T10" fmla="*/ 508 w 1513"/>
                <a:gd name="T11" fmla="*/ 793 h 1509"/>
                <a:gd name="T12" fmla="*/ 507 w 1513"/>
                <a:gd name="T13" fmla="*/ 728 h 1509"/>
                <a:gd name="T14" fmla="*/ 520 w 1513"/>
                <a:gd name="T15" fmla="*/ 668 h 1509"/>
                <a:gd name="T16" fmla="*/ 548 w 1513"/>
                <a:gd name="T17" fmla="*/ 614 h 1509"/>
                <a:gd name="T18" fmla="*/ 587 w 1513"/>
                <a:gd name="T19" fmla="*/ 569 h 1509"/>
                <a:gd name="T20" fmla="*/ 637 w 1513"/>
                <a:gd name="T21" fmla="*/ 533 h 1509"/>
                <a:gd name="T22" fmla="*/ 694 w 1513"/>
                <a:gd name="T23" fmla="*/ 511 h 1509"/>
                <a:gd name="T24" fmla="*/ 757 w 1513"/>
                <a:gd name="T25" fmla="*/ 503 h 1509"/>
                <a:gd name="T26" fmla="*/ 819 w 1513"/>
                <a:gd name="T27" fmla="*/ 511 h 1509"/>
                <a:gd name="T28" fmla="*/ 877 w 1513"/>
                <a:gd name="T29" fmla="*/ 533 h 1509"/>
                <a:gd name="T30" fmla="*/ 926 w 1513"/>
                <a:gd name="T31" fmla="*/ 569 h 1509"/>
                <a:gd name="T32" fmla="*/ 965 w 1513"/>
                <a:gd name="T33" fmla="*/ 614 h 1509"/>
                <a:gd name="T34" fmla="*/ 994 w 1513"/>
                <a:gd name="T35" fmla="*/ 668 h 1509"/>
                <a:gd name="T36" fmla="*/ 1008 w 1513"/>
                <a:gd name="T37" fmla="*/ 728 h 1509"/>
                <a:gd name="T38" fmla="*/ 1006 w 1513"/>
                <a:gd name="T39" fmla="*/ 793 h 1509"/>
                <a:gd name="T40" fmla="*/ 988 w 1513"/>
                <a:gd name="T41" fmla="*/ 852 h 1509"/>
                <a:gd name="T42" fmla="*/ 958 w 1513"/>
                <a:gd name="T43" fmla="*/ 905 h 1509"/>
                <a:gd name="T44" fmla="*/ 917 w 1513"/>
                <a:gd name="T45" fmla="*/ 949 h 1509"/>
                <a:gd name="T46" fmla="*/ 865 w 1513"/>
                <a:gd name="T47" fmla="*/ 981 h 1509"/>
                <a:gd name="T48" fmla="*/ 807 w 1513"/>
                <a:gd name="T49" fmla="*/ 1001 h 1509"/>
                <a:gd name="T50" fmla="*/ 757 w 1513"/>
                <a:gd name="T51" fmla="*/ 0 h 1509"/>
                <a:gd name="T52" fmla="*/ 568 w 1513"/>
                <a:gd name="T53" fmla="*/ 23 h 1509"/>
                <a:gd name="T54" fmla="*/ 397 w 1513"/>
                <a:gd name="T55" fmla="*/ 91 h 1509"/>
                <a:gd name="T56" fmla="*/ 248 w 1513"/>
                <a:gd name="T57" fmla="*/ 196 h 1509"/>
                <a:gd name="T58" fmla="*/ 129 w 1513"/>
                <a:gd name="T59" fmla="*/ 333 h 1509"/>
                <a:gd name="T60" fmla="*/ 47 w 1513"/>
                <a:gd name="T61" fmla="*/ 495 h 1509"/>
                <a:gd name="T62" fmla="*/ 4 w 1513"/>
                <a:gd name="T63" fmla="*/ 677 h 1509"/>
                <a:gd name="T64" fmla="*/ 9 w 1513"/>
                <a:gd name="T65" fmla="*/ 869 h 1509"/>
                <a:gd name="T66" fmla="*/ 60 w 1513"/>
                <a:gd name="T67" fmla="*/ 1048 h 1509"/>
                <a:gd name="T68" fmla="*/ 151 w 1513"/>
                <a:gd name="T69" fmla="*/ 1206 h 1509"/>
                <a:gd name="T70" fmla="*/ 276 w 1513"/>
                <a:gd name="T71" fmla="*/ 1337 h 1509"/>
                <a:gd name="T72" fmla="*/ 429 w 1513"/>
                <a:gd name="T73" fmla="*/ 1435 h 1509"/>
                <a:gd name="T74" fmla="*/ 604 w 1513"/>
                <a:gd name="T75" fmla="*/ 1494 h 1509"/>
                <a:gd name="T76" fmla="*/ 796 w 1513"/>
                <a:gd name="T77" fmla="*/ 1508 h 1509"/>
                <a:gd name="T78" fmla="*/ 981 w 1513"/>
                <a:gd name="T79" fmla="*/ 1475 h 1509"/>
                <a:gd name="T80" fmla="*/ 1149 w 1513"/>
                <a:gd name="T81" fmla="*/ 1399 h 1509"/>
                <a:gd name="T82" fmla="*/ 1291 w 1513"/>
                <a:gd name="T83" fmla="*/ 1288 h 1509"/>
                <a:gd name="T84" fmla="*/ 1404 w 1513"/>
                <a:gd name="T85" fmla="*/ 1146 h 1509"/>
                <a:gd name="T86" fmla="*/ 1478 w 1513"/>
                <a:gd name="T87" fmla="*/ 979 h 1509"/>
                <a:gd name="T88" fmla="*/ 1512 w 1513"/>
                <a:gd name="T89" fmla="*/ 793 h 1509"/>
                <a:gd name="T90" fmla="*/ 1498 w 1513"/>
                <a:gd name="T91" fmla="*/ 603 h 1509"/>
                <a:gd name="T92" fmla="*/ 1438 w 1513"/>
                <a:gd name="T93" fmla="*/ 428 h 1509"/>
                <a:gd name="T94" fmla="*/ 1340 w 1513"/>
                <a:gd name="T95" fmla="*/ 275 h 1509"/>
                <a:gd name="T96" fmla="*/ 1209 w 1513"/>
                <a:gd name="T97" fmla="*/ 150 h 1509"/>
                <a:gd name="T98" fmla="*/ 1051 w 1513"/>
                <a:gd name="T99" fmla="*/ 60 h 1509"/>
                <a:gd name="T100" fmla="*/ 872 w 1513"/>
                <a:gd name="T101" fmla="*/ 8 h 1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13" h="1509">
                  <a:moveTo>
                    <a:pt x="757" y="1006"/>
                  </a:moveTo>
                  <a:lnTo>
                    <a:pt x="743" y="1006"/>
                  </a:lnTo>
                  <a:lnTo>
                    <a:pt x="731" y="1005"/>
                  </a:lnTo>
                  <a:lnTo>
                    <a:pt x="718" y="1003"/>
                  </a:lnTo>
                  <a:lnTo>
                    <a:pt x="706" y="1001"/>
                  </a:lnTo>
                  <a:lnTo>
                    <a:pt x="694" y="998"/>
                  </a:lnTo>
                  <a:lnTo>
                    <a:pt x="682" y="995"/>
                  </a:lnTo>
                  <a:lnTo>
                    <a:pt x="670" y="991"/>
                  </a:lnTo>
                  <a:lnTo>
                    <a:pt x="659" y="986"/>
                  </a:lnTo>
                  <a:lnTo>
                    <a:pt x="648" y="981"/>
                  </a:lnTo>
                  <a:lnTo>
                    <a:pt x="637" y="976"/>
                  </a:lnTo>
                  <a:lnTo>
                    <a:pt x="626" y="970"/>
                  </a:lnTo>
                  <a:lnTo>
                    <a:pt x="616" y="963"/>
                  </a:lnTo>
                  <a:lnTo>
                    <a:pt x="606" y="956"/>
                  </a:lnTo>
                  <a:lnTo>
                    <a:pt x="596" y="949"/>
                  </a:lnTo>
                  <a:lnTo>
                    <a:pt x="587" y="941"/>
                  </a:lnTo>
                  <a:lnTo>
                    <a:pt x="579" y="932"/>
                  </a:lnTo>
                  <a:lnTo>
                    <a:pt x="570" y="924"/>
                  </a:lnTo>
                  <a:lnTo>
                    <a:pt x="563" y="915"/>
                  </a:lnTo>
                  <a:lnTo>
                    <a:pt x="555" y="905"/>
                  </a:lnTo>
                  <a:lnTo>
                    <a:pt x="548" y="894"/>
                  </a:lnTo>
                  <a:lnTo>
                    <a:pt x="542" y="884"/>
                  </a:lnTo>
                  <a:lnTo>
                    <a:pt x="536" y="874"/>
                  </a:lnTo>
                  <a:lnTo>
                    <a:pt x="530" y="863"/>
                  </a:lnTo>
                  <a:lnTo>
                    <a:pt x="525" y="852"/>
                  </a:lnTo>
                  <a:lnTo>
                    <a:pt x="520" y="841"/>
                  </a:lnTo>
                  <a:lnTo>
                    <a:pt x="517" y="829"/>
                  </a:lnTo>
                  <a:lnTo>
                    <a:pt x="513" y="817"/>
                  </a:lnTo>
                  <a:lnTo>
                    <a:pt x="510" y="805"/>
                  </a:lnTo>
                  <a:lnTo>
                    <a:pt x="508" y="793"/>
                  </a:lnTo>
                  <a:lnTo>
                    <a:pt x="507" y="780"/>
                  </a:lnTo>
                  <a:lnTo>
                    <a:pt x="506" y="768"/>
                  </a:lnTo>
                  <a:lnTo>
                    <a:pt x="505" y="755"/>
                  </a:lnTo>
                  <a:lnTo>
                    <a:pt x="506" y="742"/>
                  </a:lnTo>
                  <a:lnTo>
                    <a:pt x="507" y="728"/>
                  </a:lnTo>
                  <a:lnTo>
                    <a:pt x="508" y="716"/>
                  </a:lnTo>
                  <a:lnTo>
                    <a:pt x="510" y="704"/>
                  </a:lnTo>
                  <a:lnTo>
                    <a:pt x="513" y="692"/>
                  </a:lnTo>
                  <a:lnTo>
                    <a:pt x="517" y="680"/>
                  </a:lnTo>
                  <a:lnTo>
                    <a:pt x="520" y="668"/>
                  </a:lnTo>
                  <a:lnTo>
                    <a:pt x="525" y="657"/>
                  </a:lnTo>
                  <a:lnTo>
                    <a:pt x="530" y="646"/>
                  </a:lnTo>
                  <a:lnTo>
                    <a:pt x="536" y="635"/>
                  </a:lnTo>
                  <a:lnTo>
                    <a:pt x="542" y="624"/>
                  </a:lnTo>
                  <a:lnTo>
                    <a:pt x="548" y="614"/>
                  </a:lnTo>
                  <a:lnTo>
                    <a:pt x="555" y="605"/>
                  </a:lnTo>
                  <a:lnTo>
                    <a:pt x="563" y="595"/>
                  </a:lnTo>
                  <a:lnTo>
                    <a:pt x="570" y="586"/>
                  </a:lnTo>
                  <a:lnTo>
                    <a:pt x="579" y="577"/>
                  </a:lnTo>
                  <a:lnTo>
                    <a:pt x="587" y="569"/>
                  </a:lnTo>
                  <a:lnTo>
                    <a:pt x="596" y="560"/>
                  </a:lnTo>
                  <a:lnTo>
                    <a:pt x="606" y="553"/>
                  </a:lnTo>
                  <a:lnTo>
                    <a:pt x="616" y="546"/>
                  </a:lnTo>
                  <a:lnTo>
                    <a:pt x="626" y="539"/>
                  </a:lnTo>
                  <a:lnTo>
                    <a:pt x="637" y="533"/>
                  </a:lnTo>
                  <a:lnTo>
                    <a:pt x="648" y="528"/>
                  </a:lnTo>
                  <a:lnTo>
                    <a:pt x="659" y="523"/>
                  </a:lnTo>
                  <a:lnTo>
                    <a:pt x="670" y="518"/>
                  </a:lnTo>
                  <a:lnTo>
                    <a:pt x="682" y="514"/>
                  </a:lnTo>
                  <a:lnTo>
                    <a:pt x="694" y="511"/>
                  </a:lnTo>
                  <a:lnTo>
                    <a:pt x="706" y="508"/>
                  </a:lnTo>
                  <a:lnTo>
                    <a:pt x="718" y="506"/>
                  </a:lnTo>
                  <a:lnTo>
                    <a:pt x="731" y="504"/>
                  </a:lnTo>
                  <a:lnTo>
                    <a:pt x="743" y="503"/>
                  </a:lnTo>
                  <a:lnTo>
                    <a:pt x="757" y="503"/>
                  </a:lnTo>
                  <a:lnTo>
                    <a:pt x="770" y="503"/>
                  </a:lnTo>
                  <a:lnTo>
                    <a:pt x="783" y="504"/>
                  </a:lnTo>
                  <a:lnTo>
                    <a:pt x="795" y="506"/>
                  </a:lnTo>
                  <a:lnTo>
                    <a:pt x="807" y="508"/>
                  </a:lnTo>
                  <a:lnTo>
                    <a:pt x="819" y="511"/>
                  </a:lnTo>
                  <a:lnTo>
                    <a:pt x="831" y="514"/>
                  </a:lnTo>
                  <a:lnTo>
                    <a:pt x="843" y="518"/>
                  </a:lnTo>
                  <a:lnTo>
                    <a:pt x="854" y="523"/>
                  </a:lnTo>
                  <a:lnTo>
                    <a:pt x="865" y="528"/>
                  </a:lnTo>
                  <a:lnTo>
                    <a:pt x="877" y="533"/>
                  </a:lnTo>
                  <a:lnTo>
                    <a:pt x="888" y="539"/>
                  </a:lnTo>
                  <a:lnTo>
                    <a:pt x="898" y="546"/>
                  </a:lnTo>
                  <a:lnTo>
                    <a:pt x="908" y="553"/>
                  </a:lnTo>
                  <a:lnTo>
                    <a:pt x="917" y="560"/>
                  </a:lnTo>
                  <a:lnTo>
                    <a:pt x="926" y="569"/>
                  </a:lnTo>
                  <a:lnTo>
                    <a:pt x="935" y="577"/>
                  </a:lnTo>
                  <a:lnTo>
                    <a:pt x="943" y="586"/>
                  </a:lnTo>
                  <a:lnTo>
                    <a:pt x="951" y="595"/>
                  </a:lnTo>
                  <a:lnTo>
                    <a:pt x="958" y="605"/>
                  </a:lnTo>
                  <a:lnTo>
                    <a:pt x="965" y="614"/>
                  </a:lnTo>
                  <a:lnTo>
                    <a:pt x="972" y="624"/>
                  </a:lnTo>
                  <a:lnTo>
                    <a:pt x="978" y="635"/>
                  </a:lnTo>
                  <a:lnTo>
                    <a:pt x="983" y="646"/>
                  </a:lnTo>
                  <a:lnTo>
                    <a:pt x="988" y="657"/>
                  </a:lnTo>
                  <a:lnTo>
                    <a:pt x="994" y="668"/>
                  </a:lnTo>
                  <a:lnTo>
                    <a:pt x="998" y="680"/>
                  </a:lnTo>
                  <a:lnTo>
                    <a:pt x="1001" y="692"/>
                  </a:lnTo>
                  <a:lnTo>
                    <a:pt x="1004" y="704"/>
                  </a:lnTo>
                  <a:lnTo>
                    <a:pt x="1006" y="716"/>
                  </a:lnTo>
                  <a:lnTo>
                    <a:pt x="1008" y="728"/>
                  </a:lnTo>
                  <a:lnTo>
                    <a:pt x="1009" y="742"/>
                  </a:lnTo>
                  <a:lnTo>
                    <a:pt x="1009" y="755"/>
                  </a:lnTo>
                  <a:lnTo>
                    <a:pt x="1009" y="768"/>
                  </a:lnTo>
                  <a:lnTo>
                    <a:pt x="1008" y="780"/>
                  </a:lnTo>
                  <a:lnTo>
                    <a:pt x="1006" y="793"/>
                  </a:lnTo>
                  <a:lnTo>
                    <a:pt x="1004" y="805"/>
                  </a:lnTo>
                  <a:lnTo>
                    <a:pt x="1001" y="817"/>
                  </a:lnTo>
                  <a:lnTo>
                    <a:pt x="998" y="829"/>
                  </a:lnTo>
                  <a:lnTo>
                    <a:pt x="994" y="841"/>
                  </a:lnTo>
                  <a:lnTo>
                    <a:pt x="988" y="852"/>
                  </a:lnTo>
                  <a:lnTo>
                    <a:pt x="983" y="863"/>
                  </a:lnTo>
                  <a:lnTo>
                    <a:pt x="978" y="874"/>
                  </a:lnTo>
                  <a:lnTo>
                    <a:pt x="972" y="884"/>
                  </a:lnTo>
                  <a:lnTo>
                    <a:pt x="965" y="894"/>
                  </a:lnTo>
                  <a:lnTo>
                    <a:pt x="958" y="905"/>
                  </a:lnTo>
                  <a:lnTo>
                    <a:pt x="951" y="915"/>
                  </a:lnTo>
                  <a:lnTo>
                    <a:pt x="943" y="924"/>
                  </a:lnTo>
                  <a:lnTo>
                    <a:pt x="935" y="932"/>
                  </a:lnTo>
                  <a:lnTo>
                    <a:pt x="926" y="941"/>
                  </a:lnTo>
                  <a:lnTo>
                    <a:pt x="917" y="949"/>
                  </a:lnTo>
                  <a:lnTo>
                    <a:pt x="908" y="956"/>
                  </a:lnTo>
                  <a:lnTo>
                    <a:pt x="898" y="963"/>
                  </a:lnTo>
                  <a:lnTo>
                    <a:pt x="888" y="970"/>
                  </a:lnTo>
                  <a:lnTo>
                    <a:pt x="877" y="976"/>
                  </a:lnTo>
                  <a:lnTo>
                    <a:pt x="865" y="981"/>
                  </a:lnTo>
                  <a:lnTo>
                    <a:pt x="854" y="986"/>
                  </a:lnTo>
                  <a:lnTo>
                    <a:pt x="843" y="991"/>
                  </a:lnTo>
                  <a:lnTo>
                    <a:pt x="831" y="995"/>
                  </a:lnTo>
                  <a:lnTo>
                    <a:pt x="819" y="998"/>
                  </a:lnTo>
                  <a:lnTo>
                    <a:pt x="807" y="1001"/>
                  </a:lnTo>
                  <a:lnTo>
                    <a:pt x="795" y="1003"/>
                  </a:lnTo>
                  <a:lnTo>
                    <a:pt x="783" y="1005"/>
                  </a:lnTo>
                  <a:lnTo>
                    <a:pt x="770" y="1006"/>
                  </a:lnTo>
                  <a:lnTo>
                    <a:pt x="757" y="1006"/>
                  </a:lnTo>
                  <a:close/>
                  <a:moveTo>
                    <a:pt x="757" y="0"/>
                  </a:moveTo>
                  <a:lnTo>
                    <a:pt x="718" y="1"/>
                  </a:lnTo>
                  <a:lnTo>
                    <a:pt x="679" y="4"/>
                  </a:lnTo>
                  <a:lnTo>
                    <a:pt x="642" y="8"/>
                  </a:lnTo>
                  <a:lnTo>
                    <a:pt x="604" y="15"/>
                  </a:lnTo>
                  <a:lnTo>
                    <a:pt x="568" y="23"/>
                  </a:lnTo>
                  <a:lnTo>
                    <a:pt x="532" y="34"/>
                  </a:lnTo>
                  <a:lnTo>
                    <a:pt x="496" y="45"/>
                  </a:lnTo>
                  <a:lnTo>
                    <a:pt x="462" y="60"/>
                  </a:lnTo>
                  <a:lnTo>
                    <a:pt x="429" y="75"/>
                  </a:lnTo>
                  <a:lnTo>
                    <a:pt x="397" y="91"/>
                  </a:lnTo>
                  <a:lnTo>
                    <a:pt x="364" y="109"/>
                  </a:lnTo>
                  <a:lnTo>
                    <a:pt x="334" y="129"/>
                  </a:lnTo>
                  <a:lnTo>
                    <a:pt x="304" y="150"/>
                  </a:lnTo>
                  <a:lnTo>
                    <a:pt x="276" y="172"/>
                  </a:lnTo>
                  <a:lnTo>
                    <a:pt x="248" y="196"/>
                  </a:lnTo>
                  <a:lnTo>
                    <a:pt x="222" y="221"/>
                  </a:lnTo>
                  <a:lnTo>
                    <a:pt x="197" y="248"/>
                  </a:lnTo>
                  <a:lnTo>
                    <a:pt x="174" y="275"/>
                  </a:lnTo>
                  <a:lnTo>
                    <a:pt x="151" y="303"/>
                  </a:lnTo>
                  <a:lnTo>
                    <a:pt x="129" y="333"/>
                  </a:lnTo>
                  <a:lnTo>
                    <a:pt x="110" y="363"/>
                  </a:lnTo>
                  <a:lnTo>
                    <a:pt x="92" y="395"/>
                  </a:lnTo>
                  <a:lnTo>
                    <a:pt x="75" y="428"/>
                  </a:lnTo>
                  <a:lnTo>
                    <a:pt x="60" y="461"/>
                  </a:lnTo>
                  <a:lnTo>
                    <a:pt x="47" y="495"/>
                  </a:lnTo>
                  <a:lnTo>
                    <a:pt x="35" y="530"/>
                  </a:lnTo>
                  <a:lnTo>
                    <a:pt x="25" y="567"/>
                  </a:lnTo>
                  <a:lnTo>
                    <a:pt x="17" y="603"/>
                  </a:lnTo>
                  <a:lnTo>
                    <a:pt x="9" y="640"/>
                  </a:lnTo>
                  <a:lnTo>
                    <a:pt x="4" y="677"/>
                  </a:lnTo>
                  <a:lnTo>
                    <a:pt x="1" y="715"/>
                  </a:lnTo>
                  <a:lnTo>
                    <a:pt x="0" y="755"/>
                  </a:lnTo>
                  <a:lnTo>
                    <a:pt x="1" y="793"/>
                  </a:lnTo>
                  <a:lnTo>
                    <a:pt x="4" y="832"/>
                  </a:lnTo>
                  <a:lnTo>
                    <a:pt x="9" y="869"/>
                  </a:lnTo>
                  <a:lnTo>
                    <a:pt x="17" y="907"/>
                  </a:lnTo>
                  <a:lnTo>
                    <a:pt x="25" y="943"/>
                  </a:lnTo>
                  <a:lnTo>
                    <a:pt x="35" y="979"/>
                  </a:lnTo>
                  <a:lnTo>
                    <a:pt x="47" y="1014"/>
                  </a:lnTo>
                  <a:lnTo>
                    <a:pt x="60" y="1048"/>
                  </a:lnTo>
                  <a:lnTo>
                    <a:pt x="75" y="1082"/>
                  </a:lnTo>
                  <a:lnTo>
                    <a:pt x="92" y="1114"/>
                  </a:lnTo>
                  <a:lnTo>
                    <a:pt x="110" y="1146"/>
                  </a:lnTo>
                  <a:lnTo>
                    <a:pt x="129" y="1176"/>
                  </a:lnTo>
                  <a:lnTo>
                    <a:pt x="151" y="1206"/>
                  </a:lnTo>
                  <a:lnTo>
                    <a:pt x="174" y="1234"/>
                  </a:lnTo>
                  <a:lnTo>
                    <a:pt x="197" y="1262"/>
                  </a:lnTo>
                  <a:lnTo>
                    <a:pt x="222" y="1288"/>
                  </a:lnTo>
                  <a:lnTo>
                    <a:pt x="248" y="1313"/>
                  </a:lnTo>
                  <a:lnTo>
                    <a:pt x="276" y="1337"/>
                  </a:lnTo>
                  <a:lnTo>
                    <a:pt x="304" y="1359"/>
                  </a:lnTo>
                  <a:lnTo>
                    <a:pt x="334" y="1380"/>
                  </a:lnTo>
                  <a:lnTo>
                    <a:pt x="364" y="1399"/>
                  </a:lnTo>
                  <a:lnTo>
                    <a:pt x="397" y="1418"/>
                  </a:lnTo>
                  <a:lnTo>
                    <a:pt x="429" y="1435"/>
                  </a:lnTo>
                  <a:lnTo>
                    <a:pt x="462" y="1450"/>
                  </a:lnTo>
                  <a:lnTo>
                    <a:pt x="496" y="1463"/>
                  </a:lnTo>
                  <a:lnTo>
                    <a:pt x="532" y="1475"/>
                  </a:lnTo>
                  <a:lnTo>
                    <a:pt x="568" y="1485"/>
                  </a:lnTo>
                  <a:lnTo>
                    <a:pt x="604" y="1494"/>
                  </a:lnTo>
                  <a:lnTo>
                    <a:pt x="642" y="1500"/>
                  </a:lnTo>
                  <a:lnTo>
                    <a:pt x="679" y="1505"/>
                  </a:lnTo>
                  <a:lnTo>
                    <a:pt x="718" y="1508"/>
                  </a:lnTo>
                  <a:lnTo>
                    <a:pt x="757" y="1509"/>
                  </a:lnTo>
                  <a:lnTo>
                    <a:pt x="796" y="1508"/>
                  </a:lnTo>
                  <a:lnTo>
                    <a:pt x="834" y="1505"/>
                  </a:lnTo>
                  <a:lnTo>
                    <a:pt x="872" y="1500"/>
                  </a:lnTo>
                  <a:lnTo>
                    <a:pt x="909" y="1494"/>
                  </a:lnTo>
                  <a:lnTo>
                    <a:pt x="945" y="1485"/>
                  </a:lnTo>
                  <a:lnTo>
                    <a:pt x="981" y="1475"/>
                  </a:lnTo>
                  <a:lnTo>
                    <a:pt x="1017" y="1463"/>
                  </a:lnTo>
                  <a:lnTo>
                    <a:pt x="1051" y="1450"/>
                  </a:lnTo>
                  <a:lnTo>
                    <a:pt x="1084" y="1435"/>
                  </a:lnTo>
                  <a:lnTo>
                    <a:pt x="1118" y="1418"/>
                  </a:lnTo>
                  <a:lnTo>
                    <a:pt x="1149" y="1399"/>
                  </a:lnTo>
                  <a:lnTo>
                    <a:pt x="1179" y="1380"/>
                  </a:lnTo>
                  <a:lnTo>
                    <a:pt x="1209" y="1359"/>
                  </a:lnTo>
                  <a:lnTo>
                    <a:pt x="1237" y="1337"/>
                  </a:lnTo>
                  <a:lnTo>
                    <a:pt x="1265" y="1313"/>
                  </a:lnTo>
                  <a:lnTo>
                    <a:pt x="1291" y="1288"/>
                  </a:lnTo>
                  <a:lnTo>
                    <a:pt x="1316" y="1262"/>
                  </a:lnTo>
                  <a:lnTo>
                    <a:pt x="1340" y="1234"/>
                  </a:lnTo>
                  <a:lnTo>
                    <a:pt x="1363" y="1206"/>
                  </a:lnTo>
                  <a:lnTo>
                    <a:pt x="1384" y="1176"/>
                  </a:lnTo>
                  <a:lnTo>
                    <a:pt x="1404" y="1146"/>
                  </a:lnTo>
                  <a:lnTo>
                    <a:pt x="1422" y="1114"/>
                  </a:lnTo>
                  <a:lnTo>
                    <a:pt x="1438" y="1082"/>
                  </a:lnTo>
                  <a:lnTo>
                    <a:pt x="1453" y="1048"/>
                  </a:lnTo>
                  <a:lnTo>
                    <a:pt x="1467" y="1014"/>
                  </a:lnTo>
                  <a:lnTo>
                    <a:pt x="1478" y="979"/>
                  </a:lnTo>
                  <a:lnTo>
                    <a:pt x="1490" y="943"/>
                  </a:lnTo>
                  <a:lnTo>
                    <a:pt x="1498" y="907"/>
                  </a:lnTo>
                  <a:lnTo>
                    <a:pt x="1505" y="869"/>
                  </a:lnTo>
                  <a:lnTo>
                    <a:pt x="1509" y="832"/>
                  </a:lnTo>
                  <a:lnTo>
                    <a:pt x="1512" y="793"/>
                  </a:lnTo>
                  <a:lnTo>
                    <a:pt x="1513" y="755"/>
                  </a:lnTo>
                  <a:lnTo>
                    <a:pt x="1512" y="715"/>
                  </a:lnTo>
                  <a:lnTo>
                    <a:pt x="1509" y="677"/>
                  </a:lnTo>
                  <a:lnTo>
                    <a:pt x="1505" y="640"/>
                  </a:lnTo>
                  <a:lnTo>
                    <a:pt x="1498" y="603"/>
                  </a:lnTo>
                  <a:lnTo>
                    <a:pt x="1490" y="567"/>
                  </a:lnTo>
                  <a:lnTo>
                    <a:pt x="1478" y="530"/>
                  </a:lnTo>
                  <a:lnTo>
                    <a:pt x="1467" y="495"/>
                  </a:lnTo>
                  <a:lnTo>
                    <a:pt x="1453" y="461"/>
                  </a:lnTo>
                  <a:lnTo>
                    <a:pt x="1438" y="428"/>
                  </a:lnTo>
                  <a:lnTo>
                    <a:pt x="1422" y="395"/>
                  </a:lnTo>
                  <a:lnTo>
                    <a:pt x="1404" y="363"/>
                  </a:lnTo>
                  <a:lnTo>
                    <a:pt x="1384" y="333"/>
                  </a:lnTo>
                  <a:lnTo>
                    <a:pt x="1363" y="303"/>
                  </a:lnTo>
                  <a:lnTo>
                    <a:pt x="1340" y="275"/>
                  </a:lnTo>
                  <a:lnTo>
                    <a:pt x="1316" y="248"/>
                  </a:lnTo>
                  <a:lnTo>
                    <a:pt x="1291" y="221"/>
                  </a:lnTo>
                  <a:lnTo>
                    <a:pt x="1265" y="196"/>
                  </a:lnTo>
                  <a:lnTo>
                    <a:pt x="1237" y="172"/>
                  </a:lnTo>
                  <a:lnTo>
                    <a:pt x="1209" y="150"/>
                  </a:lnTo>
                  <a:lnTo>
                    <a:pt x="1179" y="129"/>
                  </a:lnTo>
                  <a:lnTo>
                    <a:pt x="1149" y="109"/>
                  </a:lnTo>
                  <a:lnTo>
                    <a:pt x="1118" y="91"/>
                  </a:lnTo>
                  <a:lnTo>
                    <a:pt x="1084" y="75"/>
                  </a:lnTo>
                  <a:lnTo>
                    <a:pt x="1051" y="60"/>
                  </a:lnTo>
                  <a:lnTo>
                    <a:pt x="1017" y="45"/>
                  </a:lnTo>
                  <a:lnTo>
                    <a:pt x="981" y="34"/>
                  </a:lnTo>
                  <a:lnTo>
                    <a:pt x="945" y="23"/>
                  </a:lnTo>
                  <a:lnTo>
                    <a:pt x="909" y="15"/>
                  </a:lnTo>
                  <a:lnTo>
                    <a:pt x="872" y="8"/>
                  </a:lnTo>
                  <a:lnTo>
                    <a:pt x="834" y="4"/>
                  </a:lnTo>
                  <a:lnTo>
                    <a:pt x="796" y="1"/>
                  </a:lnTo>
                  <a:lnTo>
                    <a:pt x="7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84" name="ï$lïḋé">
              <a:extLst>
                <a:ext uri="{FF2B5EF4-FFF2-40B4-BE49-F238E27FC236}">
                  <a16:creationId xmlns:a16="http://schemas.microsoft.com/office/drawing/2014/main" id="{4D96A89B-388E-435B-8DEF-B263E9C25679}"/>
                </a:ext>
              </a:extLst>
            </p:cNvPr>
            <p:cNvSpPr/>
            <p:nvPr/>
          </p:nvSpPr>
          <p:spPr bwMode="auto">
            <a:xfrm>
              <a:off x="3645957" y="689771"/>
              <a:ext cx="373600" cy="398323"/>
            </a:xfrm>
            <a:custGeom>
              <a:avLst/>
              <a:gdLst>
                <a:gd name="T0" fmla="*/ 14069 w 15096"/>
                <a:gd name="T1" fmla="*/ 14285 h 16095"/>
                <a:gd name="T2" fmla="*/ 13990 w 15096"/>
                <a:gd name="T3" fmla="*/ 14519 h 16095"/>
                <a:gd name="T4" fmla="*/ 13859 w 15096"/>
                <a:gd name="T5" fmla="*/ 14723 h 16095"/>
                <a:gd name="T6" fmla="*/ 13685 w 15096"/>
                <a:gd name="T7" fmla="*/ 14889 h 16095"/>
                <a:gd name="T8" fmla="*/ 13475 w 15096"/>
                <a:gd name="T9" fmla="*/ 15010 h 16095"/>
                <a:gd name="T10" fmla="*/ 13236 w 15096"/>
                <a:gd name="T11" fmla="*/ 15077 h 16095"/>
                <a:gd name="T12" fmla="*/ 1961 w 15096"/>
                <a:gd name="T13" fmla="*/ 15088 h 16095"/>
                <a:gd name="T14" fmla="*/ 1714 w 15096"/>
                <a:gd name="T15" fmla="*/ 15044 h 16095"/>
                <a:gd name="T16" fmla="*/ 1491 w 15096"/>
                <a:gd name="T17" fmla="*/ 14943 h 16095"/>
                <a:gd name="T18" fmla="*/ 1301 w 15096"/>
                <a:gd name="T19" fmla="*/ 14794 h 16095"/>
                <a:gd name="T20" fmla="*/ 1152 w 15096"/>
                <a:gd name="T21" fmla="*/ 14604 h 16095"/>
                <a:gd name="T22" fmla="*/ 1052 w 15096"/>
                <a:gd name="T23" fmla="*/ 14382 h 16095"/>
                <a:gd name="T24" fmla="*/ 1007 w 15096"/>
                <a:gd name="T25" fmla="*/ 14134 h 16095"/>
                <a:gd name="T26" fmla="*/ 1018 w 15096"/>
                <a:gd name="T27" fmla="*/ 1859 h 16095"/>
                <a:gd name="T28" fmla="*/ 1086 w 15096"/>
                <a:gd name="T29" fmla="*/ 1621 h 16095"/>
                <a:gd name="T30" fmla="*/ 1207 w 15096"/>
                <a:gd name="T31" fmla="*/ 1410 h 16095"/>
                <a:gd name="T32" fmla="*/ 1373 w 15096"/>
                <a:gd name="T33" fmla="*/ 1236 h 16095"/>
                <a:gd name="T34" fmla="*/ 1577 w 15096"/>
                <a:gd name="T35" fmla="*/ 1106 h 16095"/>
                <a:gd name="T36" fmla="*/ 1811 w 15096"/>
                <a:gd name="T37" fmla="*/ 1026 h 16095"/>
                <a:gd name="T38" fmla="*/ 13083 w 15096"/>
                <a:gd name="T39" fmla="*/ 1006 h 16095"/>
                <a:gd name="T40" fmla="*/ 13335 w 15096"/>
                <a:gd name="T41" fmla="*/ 1038 h 16095"/>
                <a:gd name="T42" fmla="*/ 13562 w 15096"/>
                <a:gd name="T43" fmla="*/ 1128 h 16095"/>
                <a:gd name="T44" fmla="*/ 13760 w 15096"/>
                <a:gd name="T45" fmla="*/ 1267 h 16095"/>
                <a:gd name="T46" fmla="*/ 13918 w 15096"/>
                <a:gd name="T47" fmla="*/ 1450 h 16095"/>
                <a:gd name="T48" fmla="*/ 14028 w 15096"/>
                <a:gd name="T49" fmla="*/ 1667 h 16095"/>
                <a:gd name="T50" fmla="*/ 14085 w 15096"/>
                <a:gd name="T51" fmla="*/ 1909 h 16095"/>
                <a:gd name="T52" fmla="*/ 2013 w 15096"/>
                <a:gd name="T53" fmla="*/ 0 h 16095"/>
                <a:gd name="T54" fmla="*/ 1510 w 15096"/>
                <a:gd name="T55" fmla="*/ 63 h 16095"/>
                <a:gd name="T56" fmla="*/ 1054 w 15096"/>
                <a:gd name="T57" fmla="*/ 242 h 16095"/>
                <a:gd name="T58" fmla="*/ 659 w 15096"/>
                <a:gd name="T59" fmla="*/ 523 h 16095"/>
                <a:gd name="T60" fmla="*/ 344 w 15096"/>
                <a:gd name="T61" fmla="*/ 887 h 16095"/>
                <a:gd name="T62" fmla="*/ 122 w 15096"/>
                <a:gd name="T63" fmla="*/ 1320 h 16095"/>
                <a:gd name="T64" fmla="*/ 10 w 15096"/>
                <a:gd name="T65" fmla="*/ 1807 h 16095"/>
                <a:gd name="T66" fmla="*/ 10 w 15096"/>
                <a:gd name="T67" fmla="*/ 14289 h 16095"/>
                <a:gd name="T68" fmla="*/ 122 w 15096"/>
                <a:gd name="T69" fmla="*/ 14775 h 16095"/>
                <a:gd name="T70" fmla="*/ 344 w 15096"/>
                <a:gd name="T71" fmla="*/ 15208 h 16095"/>
                <a:gd name="T72" fmla="*/ 659 w 15096"/>
                <a:gd name="T73" fmla="*/ 15572 h 16095"/>
                <a:gd name="T74" fmla="*/ 1054 w 15096"/>
                <a:gd name="T75" fmla="*/ 15853 h 16095"/>
                <a:gd name="T76" fmla="*/ 1510 w 15096"/>
                <a:gd name="T77" fmla="*/ 16032 h 16095"/>
                <a:gd name="T78" fmla="*/ 2013 w 15096"/>
                <a:gd name="T79" fmla="*/ 16095 h 16095"/>
                <a:gd name="T80" fmla="*/ 13489 w 15096"/>
                <a:gd name="T81" fmla="*/ 16054 h 16095"/>
                <a:gd name="T82" fmla="*/ 13956 w 15096"/>
                <a:gd name="T83" fmla="*/ 15897 h 16095"/>
                <a:gd name="T84" fmla="*/ 14363 w 15096"/>
                <a:gd name="T85" fmla="*/ 15635 h 16095"/>
                <a:gd name="T86" fmla="*/ 14696 w 15096"/>
                <a:gd name="T87" fmla="*/ 15287 h 16095"/>
                <a:gd name="T88" fmla="*/ 14938 w 15096"/>
                <a:gd name="T89" fmla="*/ 14867 h 16095"/>
                <a:gd name="T90" fmla="*/ 15073 w 15096"/>
                <a:gd name="T91" fmla="*/ 14390 h 16095"/>
                <a:gd name="T92" fmla="*/ 15093 w 15096"/>
                <a:gd name="T93" fmla="*/ 1908 h 16095"/>
                <a:gd name="T94" fmla="*/ 15005 w 15096"/>
                <a:gd name="T95" fmla="*/ 1413 h 16095"/>
                <a:gd name="T96" fmla="*/ 14804 w 15096"/>
                <a:gd name="T97" fmla="*/ 969 h 16095"/>
                <a:gd name="T98" fmla="*/ 14506 w 15096"/>
                <a:gd name="T99" fmla="*/ 589 h 16095"/>
                <a:gd name="T100" fmla="*/ 14127 w 15096"/>
                <a:gd name="T101" fmla="*/ 292 h 16095"/>
                <a:gd name="T102" fmla="*/ 13682 w 15096"/>
                <a:gd name="T103" fmla="*/ 91 h 16095"/>
                <a:gd name="T104" fmla="*/ 13187 w 15096"/>
                <a:gd name="T105" fmla="*/ 3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096" h="16095">
                  <a:moveTo>
                    <a:pt x="14090" y="14083"/>
                  </a:moveTo>
                  <a:lnTo>
                    <a:pt x="14089" y="14134"/>
                  </a:lnTo>
                  <a:lnTo>
                    <a:pt x="14085" y="14186"/>
                  </a:lnTo>
                  <a:lnTo>
                    <a:pt x="14079" y="14236"/>
                  </a:lnTo>
                  <a:lnTo>
                    <a:pt x="14069" y="14285"/>
                  </a:lnTo>
                  <a:lnTo>
                    <a:pt x="14058" y="14334"/>
                  </a:lnTo>
                  <a:lnTo>
                    <a:pt x="14044" y="14382"/>
                  </a:lnTo>
                  <a:lnTo>
                    <a:pt x="14028" y="14428"/>
                  </a:lnTo>
                  <a:lnTo>
                    <a:pt x="14010" y="14474"/>
                  </a:lnTo>
                  <a:lnTo>
                    <a:pt x="13990" y="14519"/>
                  </a:lnTo>
                  <a:lnTo>
                    <a:pt x="13968" y="14562"/>
                  </a:lnTo>
                  <a:lnTo>
                    <a:pt x="13944" y="14604"/>
                  </a:lnTo>
                  <a:lnTo>
                    <a:pt x="13918" y="14645"/>
                  </a:lnTo>
                  <a:lnTo>
                    <a:pt x="13889" y="14685"/>
                  </a:lnTo>
                  <a:lnTo>
                    <a:pt x="13859" y="14723"/>
                  </a:lnTo>
                  <a:lnTo>
                    <a:pt x="13828" y="14759"/>
                  </a:lnTo>
                  <a:lnTo>
                    <a:pt x="13795" y="14794"/>
                  </a:lnTo>
                  <a:lnTo>
                    <a:pt x="13760" y="14828"/>
                  </a:lnTo>
                  <a:lnTo>
                    <a:pt x="13723" y="14859"/>
                  </a:lnTo>
                  <a:lnTo>
                    <a:pt x="13685" y="14889"/>
                  </a:lnTo>
                  <a:lnTo>
                    <a:pt x="13646" y="14917"/>
                  </a:lnTo>
                  <a:lnTo>
                    <a:pt x="13605" y="14943"/>
                  </a:lnTo>
                  <a:lnTo>
                    <a:pt x="13562" y="14967"/>
                  </a:lnTo>
                  <a:lnTo>
                    <a:pt x="13519" y="14989"/>
                  </a:lnTo>
                  <a:lnTo>
                    <a:pt x="13475" y="15010"/>
                  </a:lnTo>
                  <a:lnTo>
                    <a:pt x="13428" y="15028"/>
                  </a:lnTo>
                  <a:lnTo>
                    <a:pt x="13382" y="15044"/>
                  </a:lnTo>
                  <a:lnTo>
                    <a:pt x="13335" y="15057"/>
                  </a:lnTo>
                  <a:lnTo>
                    <a:pt x="13285" y="15069"/>
                  </a:lnTo>
                  <a:lnTo>
                    <a:pt x="13236" y="15077"/>
                  </a:lnTo>
                  <a:lnTo>
                    <a:pt x="13186" y="15084"/>
                  </a:lnTo>
                  <a:lnTo>
                    <a:pt x="13135" y="15088"/>
                  </a:lnTo>
                  <a:lnTo>
                    <a:pt x="13083" y="15089"/>
                  </a:lnTo>
                  <a:lnTo>
                    <a:pt x="2013" y="15089"/>
                  </a:lnTo>
                  <a:lnTo>
                    <a:pt x="1961" y="15088"/>
                  </a:lnTo>
                  <a:lnTo>
                    <a:pt x="1910" y="15084"/>
                  </a:lnTo>
                  <a:lnTo>
                    <a:pt x="1860" y="15077"/>
                  </a:lnTo>
                  <a:lnTo>
                    <a:pt x="1811" y="15069"/>
                  </a:lnTo>
                  <a:lnTo>
                    <a:pt x="1761" y="15057"/>
                  </a:lnTo>
                  <a:lnTo>
                    <a:pt x="1714" y="15044"/>
                  </a:lnTo>
                  <a:lnTo>
                    <a:pt x="1667" y="15028"/>
                  </a:lnTo>
                  <a:lnTo>
                    <a:pt x="1621" y="15010"/>
                  </a:lnTo>
                  <a:lnTo>
                    <a:pt x="1577" y="14989"/>
                  </a:lnTo>
                  <a:lnTo>
                    <a:pt x="1534" y="14967"/>
                  </a:lnTo>
                  <a:lnTo>
                    <a:pt x="1491" y="14943"/>
                  </a:lnTo>
                  <a:lnTo>
                    <a:pt x="1450" y="14917"/>
                  </a:lnTo>
                  <a:lnTo>
                    <a:pt x="1411" y="14889"/>
                  </a:lnTo>
                  <a:lnTo>
                    <a:pt x="1373" y="14859"/>
                  </a:lnTo>
                  <a:lnTo>
                    <a:pt x="1336" y="14828"/>
                  </a:lnTo>
                  <a:lnTo>
                    <a:pt x="1301" y="14794"/>
                  </a:lnTo>
                  <a:lnTo>
                    <a:pt x="1268" y="14759"/>
                  </a:lnTo>
                  <a:lnTo>
                    <a:pt x="1237" y="14723"/>
                  </a:lnTo>
                  <a:lnTo>
                    <a:pt x="1207" y="14685"/>
                  </a:lnTo>
                  <a:lnTo>
                    <a:pt x="1178" y="14645"/>
                  </a:lnTo>
                  <a:lnTo>
                    <a:pt x="1152" y="14604"/>
                  </a:lnTo>
                  <a:lnTo>
                    <a:pt x="1128" y="14562"/>
                  </a:lnTo>
                  <a:lnTo>
                    <a:pt x="1106" y="14519"/>
                  </a:lnTo>
                  <a:lnTo>
                    <a:pt x="1086" y="14474"/>
                  </a:lnTo>
                  <a:lnTo>
                    <a:pt x="1068" y="14428"/>
                  </a:lnTo>
                  <a:lnTo>
                    <a:pt x="1052" y="14382"/>
                  </a:lnTo>
                  <a:lnTo>
                    <a:pt x="1039" y="14334"/>
                  </a:lnTo>
                  <a:lnTo>
                    <a:pt x="1027" y="14285"/>
                  </a:lnTo>
                  <a:lnTo>
                    <a:pt x="1018" y="14236"/>
                  </a:lnTo>
                  <a:lnTo>
                    <a:pt x="1011" y="14186"/>
                  </a:lnTo>
                  <a:lnTo>
                    <a:pt x="1007" y="14134"/>
                  </a:lnTo>
                  <a:lnTo>
                    <a:pt x="1006" y="14083"/>
                  </a:lnTo>
                  <a:lnTo>
                    <a:pt x="1006" y="2012"/>
                  </a:lnTo>
                  <a:lnTo>
                    <a:pt x="1007" y="1961"/>
                  </a:lnTo>
                  <a:lnTo>
                    <a:pt x="1011" y="1909"/>
                  </a:lnTo>
                  <a:lnTo>
                    <a:pt x="1018" y="1859"/>
                  </a:lnTo>
                  <a:lnTo>
                    <a:pt x="1027" y="1810"/>
                  </a:lnTo>
                  <a:lnTo>
                    <a:pt x="1039" y="1760"/>
                  </a:lnTo>
                  <a:lnTo>
                    <a:pt x="1052" y="1713"/>
                  </a:lnTo>
                  <a:lnTo>
                    <a:pt x="1068" y="1667"/>
                  </a:lnTo>
                  <a:lnTo>
                    <a:pt x="1086" y="1621"/>
                  </a:lnTo>
                  <a:lnTo>
                    <a:pt x="1106" y="1576"/>
                  </a:lnTo>
                  <a:lnTo>
                    <a:pt x="1128" y="1533"/>
                  </a:lnTo>
                  <a:lnTo>
                    <a:pt x="1152" y="1491"/>
                  </a:lnTo>
                  <a:lnTo>
                    <a:pt x="1178" y="1450"/>
                  </a:lnTo>
                  <a:lnTo>
                    <a:pt x="1207" y="1410"/>
                  </a:lnTo>
                  <a:lnTo>
                    <a:pt x="1237" y="1372"/>
                  </a:lnTo>
                  <a:lnTo>
                    <a:pt x="1268" y="1336"/>
                  </a:lnTo>
                  <a:lnTo>
                    <a:pt x="1301" y="1301"/>
                  </a:lnTo>
                  <a:lnTo>
                    <a:pt x="1336" y="1267"/>
                  </a:lnTo>
                  <a:lnTo>
                    <a:pt x="1373" y="1236"/>
                  </a:lnTo>
                  <a:lnTo>
                    <a:pt x="1411" y="1206"/>
                  </a:lnTo>
                  <a:lnTo>
                    <a:pt x="1450" y="1178"/>
                  </a:lnTo>
                  <a:lnTo>
                    <a:pt x="1491" y="1152"/>
                  </a:lnTo>
                  <a:lnTo>
                    <a:pt x="1534" y="1128"/>
                  </a:lnTo>
                  <a:lnTo>
                    <a:pt x="1577" y="1106"/>
                  </a:lnTo>
                  <a:lnTo>
                    <a:pt x="1621" y="1085"/>
                  </a:lnTo>
                  <a:lnTo>
                    <a:pt x="1667" y="1067"/>
                  </a:lnTo>
                  <a:lnTo>
                    <a:pt x="1714" y="1051"/>
                  </a:lnTo>
                  <a:lnTo>
                    <a:pt x="1761" y="1038"/>
                  </a:lnTo>
                  <a:lnTo>
                    <a:pt x="1811" y="1026"/>
                  </a:lnTo>
                  <a:lnTo>
                    <a:pt x="1860" y="1018"/>
                  </a:lnTo>
                  <a:lnTo>
                    <a:pt x="1910" y="1011"/>
                  </a:lnTo>
                  <a:lnTo>
                    <a:pt x="1961" y="1007"/>
                  </a:lnTo>
                  <a:lnTo>
                    <a:pt x="2013" y="1006"/>
                  </a:lnTo>
                  <a:lnTo>
                    <a:pt x="13083" y="1006"/>
                  </a:lnTo>
                  <a:lnTo>
                    <a:pt x="13135" y="1007"/>
                  </a:lnTo>
                  <a:lnTo>
                    <a:pt x="13186" y="1011"/>
                  </a:lnTo>
                  <a:lnTo>
                    <a:pt x="13236" y="1018"/>
                  </a:lnTo>
                  <a:lnTo>
                    <a:pt x="13285" y="1026"/>
                  </a:lnTo>
                  <a:lnTo>
                    <a:pt x="13335" y="1038"/>
                  </a:lnTo>
                  <a:lnTo>
                    <a:pt x="13382" y="1051"/>
                  </a:lnTo>
                  <a:lnTo>
                    <a:pt x="13428" y="1067"/>
                  </a:lnTo>
                  <a:lnTo>
                    <a:pt x="13475" y="1085"/>
                  </a:lnTo>
                  <a:lnTo>
                    <a:pt x="13519" y="1106"/>
                  </a:lnTo>
                  <a:lnTo>
                    <a:pt x="13562" y="1128"/>
                  </a:lnTo>
                  <a:lnTo>
                    <a:pt x="13605" y="1152"/>
                  </a:lnTo>
                  <a:lnTo>
                    <a:pt x="13646" y="1178"/>
                  </a:lnTo>
                  <a:lnTo>
                    <a:pt x="13685" y="1206"/>
                  </a:lnTo>
                  <a:lnTo>
                    <a:pt x="13723" y="1236"/>
                  </a:lnTo>
                  <a:lnTo>
                    <a:pt x="13760" y="1267"/>
                  </a:lnTo>
                  <a:lnTo>
                    <a:pt x="13795" y="1301"/>
                  </a:lnTo>
                  <a:lnTo>
                    <a:pt x="13828" y="1336"/>
                  </a:lnTo>
                  <a:lnTo>
                    <a:pt x="13859" y="1372"/>
                  </a:lnTo>
                  <a:lnTo>
                    <a:pt x="13889" y="1410"/>
                  </a:lnTo>
                  <a:lnTo>
                    <a:pt x="13918" y="1450"/>
                  </a:lnTo>
                  <a:lnTo>
                    <a:pt x="13944" y="1491"/>
                  </a:lnTo>
                  <a:lnTo>
                    <a:pt x="13968" y="1533"/>
                  </a:lnTo>
                  <a:lnTo>
                    <a:pt x="13990" y="1576"/>
                  </a:lnTo>
                  <a:lnTo>
                    <a:pt x="14010" y="1621"/>
                  </a:lnTo>
                  <a:lnTo>
                    <a:pt x="14028" y="1667"/>
                  </a:lnTo>
                  <a:lnTo>
                    <a:pt x="14044" y="1713"/>
                  </a:lnTo>
                  <a:lnTo>
                    <a:pt x="14058" y="1760"/>
                  </a:lnTo>
                  <a:lnTo>
                    <a:pt x="14069" y="1810"/>
                  </a:lnTo>
                  <a:lnTo>
                    <a:pt x="14079" y="1859"/>
                  </a:lnTo>
                  <a:lnTo>
                    <a:pt x="14085" y="1909"/>
                  </a:lnTo>
                  <a:lnTo>
                    <a:pt x="14089" y="1961"/>
                  </a:lnTo>
                  <a:lnTo>
                    <a:pt x="14090" y="2012"/>
                  </a:lnTo>
                  <a:lnTo>
                    <a:pt x="14090" y="14083"/>
                  </a:lnTo>
                  <a:close/>
                  <a:moveTo>
                    <a:pt x="13083" y="0"/>
                  </a:moveTo>
                  <a:lnTo>
                    <a:pt x="2013" y="0"/>
                  </a:lnTo>
                  <a:lnTo>
                    <a:pt x="1909" y="3"/>
                  </a:lnTo>
                  <a:lnTo>
                    <a:pt x="1806" y="10"/>
                  </a:lnTo>
                  <a:lnTo>
                    <a:pt x="1706" y="23"/>
                  </a:lnTo>
                  <a:lnTo>
                    <a:pt x="1607" y="41"/>
                  </a:lnTo>
                  <a:lnTo>
                    <a:pt x="1510" y="63"/>
                  </a:lnTo>
                  <a:lnTo>
                    <a:pt x="1414" y="91"/>
                  </a:lnTo>
                  <a:lnTo>
                    <a:pt x="1320" y="122"/>
                  </a:lnTo>
                  <a:lnTo>
                    <a:pt x="1229" y="158"/>
                  </a:lnTo>
                  <a:lnTo>
                    <a:pt x="1140" y="198"/>
                  </a:lnTo>
                  <a:lnTo>
                    <a:pt x="1054" y="242"/>
                  </a:lnTo>
                  <a:lnTo>
                    <a:pt x="969" y="292"/>
                  </a:lnTo>
                  <a:lnTo>
                    <a:pt x="888" y="344"/>
                  </a:lnTo>
                  <a:lnTo>
                    <a:pt x="808" y="399"/>
                  </a:lnTo>
                  <a:lnTo>
                    <a:pt x="733" y="460"/>
                  </a:lnTo>
                  <a:lnTo>
                    <a:pt x="659" y="523"/>
                  </a:lnTo>
                  <a:lnTo>
                    <a:pt x="590" y="589"/>
                  </a:lnTo>
                  <a:lnTo>
                    <a:pt x="523" y="659"/>
                  </a:lnTo>
                  <a:lnTo>
                    <a:pt x="460" y="732"/>
                  </a:lnTo>
                  <a:lnTo>
                    <a:pt x="400" y="808"/>
                  </a:lnTo>
                  <a:lnTo>
                    <a:pt x="344" y="887"/>
                  </a:lnTo>
                  <a:lnTo>
                    <a:pt x="292" y="969"/>
                  </a:lnTo>
                  <a:lnTo>
                    <a:pt x="243" y="1053"/>
                  </a:lnTo>
                  <a:lnTo>
                    <a:pt x="198" y="1140"/>
                  </a:lnTo>
                  <a:lnTo>
                    <a:pt x="158" y="1229"/>
                  </a:lnTo>
                  <a:lnTo>
                    <a:pt x="122" y="1320"/>
                  </a:lnTo>
                  <a:lnTo>
                    <a:pt x="91" y="1413"/>
                  </a:lnTo>
                  <a:lnTo>
                    <a:pt x="63" y="1509"/>
                  </a:lnTo>
                  <a:lnTo>
                    <a:pt x="41" y="1606"/>
                  </a:lnTo>
                  <a:lnTo>
                    <a:pt x="23" y="1705"/>
                  </a:lnTo>
                  <a:lnTo>
                    <a:pt x="10" y="1807"/>
                  </a:lnTo>
                  <a:lnTo>
                    <a:pt x="3" y="1908"/>
                  </a:lnTo>
                  <a:lnTo>
                    <a:pt x="0" y="2012"/>
                  </a:lnTo>
                  <a:lnTo>
                    <a:pt x="0" y="14083"/>
                  </a:lnTo>
                  <a:lnTo>
                    <a:pt x="3" y="14187"/>
                  </a:lnTo>
                  <a:lnTo>
                    <a:pt x="10" y="14289"/>
                  </a:lnTo>
                  <a:lnTo>
                    <a:pt x="23" y="14390"/>
                  </a:lnTo>
                  <a:lnTo>
                    <a:pt x="41" y="14489"/>
                  </a:lnTo>
                  <a:lnTo>
                    <a:pt x="63" y="14586"/>
                  </a:lnTo>
                  <a:lnTo>
                    <a:pt x="91" y="14682"/>
                  </a:lnTo>
                  <a:lnTo>
                    <a:pt x="122" y="14775"/>
                  </a:lnTo>
                  <a:lnTo>
                    <a:pt x="158" y="14867"/>
                  </a:lnTo>
                  <a:lnTo>
                    <a:pt x="198" y="14955"/>
                  </a:lnTo>
                  <a:lnTo>
                    <a:pt x="243" y="15042"/>
                  </a:lnTo>
                  <a:lnTo>
                    <a:pt x="292" y="15126"/>
                  </a:lnTo>
                  <a:lnTo>
                    <a:pt x="344" y="15208"/>
                  </a:lnTo>
                  <a:lnTo>
                    <a:pt x="400" y="15287"/>
                  </a:lnTo>
                  <a:lnTo>
                    <a:pt x="460" y="15363"/>
                  </a:lnTo>
                  <a:lnTo>
                    <a:pt x="523" y="15436"/>
                  </a:lnTo>
                  <a:lnTo>
                    <a:pt x="590" y="15506"/>
                  </a:lnTo>
                  <a:lnTo>
                    <a:pt x="659" y="15572"/>
                  </a:lnTo>
                  <a:lnTo>
                    <a:pt x="733" y="15635"/>
                  </a:lnTo>
                  <a:lnTo>
                    <a:pt x="808" y="15696"/>
                  </a:lnTo>
                  <a:lnTo>
                    <a:pt x="888" y="15751"/>
                  </a:lnTo>
                  <a:lnTo>
                    <a:pt x="969" y="15803"/>
                  </a:lnTo>
                  <a:lnTo>
                    <a:pt x="1054" y="15853"/>
                  </a:lnTo>
                  <a:lnTo>
                    <a:pt x="1140" y="15897"/>
                  </a:lnTo>
                  <a:lnTo>
                    <a:pt x="1229" y="15937"/>
                  </a:lnTo>
                  <a:lnTo>
                    <a:pt x="1320" y="15973"/>
                  </a:lnTo>
                  <a:lnTo>
                    <a:pt x="1414" y="16004"/>
                  </a:lnTo>
                  <a:lnTo>
                    <a:pt x="1510" y="16032"/>
                  </a:lnTo>
                  <a:lnTo>
                    <a:pt x="1607" y="16054"/>
                  </a:lnTo>
                  <a:lnTo>
                    <a:pt x="1706" y="16072"/>
                  </a:lnTo>
                  <a:lnTo>
                    <a:pt x="1806" y="16085"/>
                  </a:lnTo>
                  <a:lnTo>
                    <a:pt x="1909" y="16092"/>
                  </a:lnTo>
                  <a:lnTo>
                    <a:pt x="2013" y="16095"/>
                  </a:lnTo>
                  <a:lnTo>
                    <a:pt x="13083" y="16095"/>
                  </a:lnTo>
                  <a:lnTo>
                    <a:pt x="13187" y="16092"/>
                  </a:lnTo>
                  <a:lnTo>
                    <a:pt x="13289" y="16085"/>
                  </a:lnTo>
                  <a:lnTo>
                    <a:pt x="13390" y="16072"/>
                  </a:lnTo>
                  <a:lnTo>
                    <a:pt x="13489" y="16054"/>
                  </a:lnTo>
                  <a:lnTo>
                    <a:pt x="13586" y="16032"/>
                  </a:lnTo>
                  <a:lnTo>
                    <a:pt x="13682" y="16004"/>
                  </a:lnTo>
                  <a:lnTo>
                    <a:pt x="13776" y="15973"/>
                  </a:lnTo>
                  <a:lnTo>
                    <a:pt x="13866" y="15937"/>
                  </a:lnTo>
                  <a:lnTo>
                    <a:pt x="13956" y="15897"/>
                  </a:lnTo>
                  <a:lnTo>
                    <a:pt x="14042" y="15853"/>
                  </a:lnTo>
                  <a:lnTo>
                    <a:pt x="14127" y="15803"/>
                  </a:lnTo>
                  <a:lnTo>
                    <a:pt x="14208" y="15751"/>
                  </a:lnTo>
                  <a:lnTo>
                    <a:pt x="14288" y="15696"/>
                  </a:lnTo>
                  <a:lnTo>
                    <a:pt x="14363" y="15635"/>
                  </a:lnTo>
                  <a:lnTo>
                    <a:pt x="14437" y="15572"/>
                  </a:lnTo>
                  <a:lnTo>
                    <a:pt x="14506" y="15506"/>
                  </a:lnTo>
                  <a:lnTo>
                    <a:pt x="14573" y="15436"/>
                  </a:lnTo>
                  <a:lnTo>
                    <a:pt x="14636" y="15363"/>
                  </a:lnTo>
                  <a:lnTo>
                    <a:pt x="14696" y="15287"/>
                  </a:lnTo>
                  <a:lnTo>
                    <a:pt x="14752" y="15208"/>
                  </a:lnTo>
                  <a:lnTo>
                    <a:pt x="14804" y="15126"/>
                  </a:lnTo>
                  <a:lnTo>
                    <a:pt x="14853" y="15042"/>
                  </a:lnTo>
                  <a:lnTo>
                    <a:pt x="14898" y="14955"/>
                  </a:lnTo>
                  <a:lnTo>
                    <a:pt x="14938" y="14867"/>
                  </a:lnTo>
                  <a:lnTo>
                    <a:pt x="14974" y="14775"/>
                  </a:lnTo>
                  <a:lnTo>
                    <a:pt x="15005" y="14682"/>
                  </a:lnTo>
                  <a:lnTo>
                    <a:pt x="15033" y="14586"/>
                  </a:lnTo>
                  <a:lnTo>
                    <a:pt x="15055" y="14489"/>
                  </a:lnTo>
                  <a:lnTo>
                    <a:pt x="15073" y="14390"/>
                  </a:lnTo>
                  <a:lnTo>
                    <a:pt x="15086" y="14289"/>
                  </a:lnTo>
                  <a:lnTo>
                    <a:pt x="15093" y="14187"/>
                  </a:lnTo>
                  <a:lnTo>
                    <a:pt x="15096" y="14083"/>
                  </a:lnTo>
                  <a:lnTo>
                    <a:pt x="15096" y="2012"/>
                  </a:lnTo>
                  <a:lnTo>
                    <a:pt x="15093" y="1908"/>
                  </a:lnTo>
                  <a:lnTo>
                    <a:pt x="15086" y="1807"/>
                  </a:lnTo>
                  <a:lnTo>
                    <a:pt x="15073" y="1705"/>
                  </a:lnTo>
                  <a:lnTo>
                    <a:pt x="15055" y="1606"/>
                  </a:lnTo>
                  <a:lnTo>
                    <a:pt x="15033" y="1509"/>
                  </a:lnTo>
                  <a:lnTo>
                    <a:pt x="15005" y="1413"/>
                  </a:lnTo>
                  <a:lnTo>
                    <a:pt x="14974" y="1320"/>
                  </a:lnTo>
                  <a:lnTo>
                    <a:pt x="14938" y="1229"/>
                  </a:lnTo>
                  <a:lnTo>
                    <a:pt x="14898" y="1140"/>
                  </a:lnTo>
                  <a:lnTo>
                    <a:pt x="14853" y="1053"/>
                  </a:lnTo>
                  <a:lnTo>
                    <a:pt x="14804" y="969"/>
                  </a:lnTo>
                  <a:lnTo>
                    <a:pt x="14752" y="887"/>
                  </a:lnTo>
                  <a:lnTo>
                    <a:pt x="14696" y="808"/>
                  </a:lnTo>
                  <a:lnTo>
                    <a:pt x="14636" y="732"/>
                  </a:lnTo>
                  <a:lnTo>
                    <a:pt x="14573" y="659"/>
                  </a:lnTo>
                  <a:lnTo>
                    <a:pt x="14506" y="589"/>
                  </a:lnTo>
                  <a:lnTo>
                    <a:pt x="14437" y="523"/>
                  </a:lnTo>
                  <a:lnTo>
                    <a:pt x="14363" y="460"/>
                  </a:lnTo>
                  <a:lnTo>
                    <a:pt x="14288" y="399"/>
                  </a:lnTo>
                  <a:lnTo>
                    <a:pt x="14208" y="344"/>
                  </a:lnTo>
                  <a:lnTo>
                    <a:pt x="14127" y="292"/>
                  </a:lnTo>
                  <a:lnTo>
                    <a:pt x="14042" y="242"/>
                  </a:lnTo>
                  <a:lnTo>
                    <a:pt x="13956" y="198"/>
                  </a:lnTo>
                  <a:lnTo>
                    <a:pt x="13866" y="158"/>
                  </a:lnTo>
                  <a:lnTo>
                    <a:pt x="13776" y="122"/>
                  </a:lnTo>
                  <a:lnTo>
                    <a:pt x="13682" y="91"/>
                  </a:lnTo>
                  <a:lnTo>
                    <a:pt x="13586" y="63"/>
                  </a:lnTo>
                  <a:lnTo>
                    <a:pt x="13489" y="41"/>
                  </a:lnTo>
                  <a:lnTo>
                    <a:pt x="13390" y="23"/>
                  </a:lnTo>
                  <a:lnTo>
                    <a:pt x="13289" y="10"/>
                  </a:lnTo>
                  <a:lnTo>
                    <a:pt x="13187" y="3"/>
                  </a:lnTo>
                  <a:lnTo>
                    <a:pt x="1308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85" name="ïSlîḓê">
              <a:extLst>
                <a:ext uri="{FF2B5EF4-FFF2-40B4-BE49-F238E27FC236}">
                  <a16:creationId xmlns:a16="http://schemas.microsoft.com/office/drawing/2014/main" id="{5F5C34BD-D651-408E-9E9C-03F254BCE325}"/>
                </a:ext>
              </a:extLst>
            </p:cNvPr>
            <p:cNvSpPr/>
            <p:nvPr/>
          </p:nvSpPr>
          <p:spPr bwMode="auto">
            <a:xfrm>
              <a:off x="3695404" y="739218"/>
              <a:ext cx="274706" cy="249066"/>
            </a:xfrm>
            <a:custGeom>
              <a:avLst/>
              <a:gdLst>
                <a:gd name="T0" fmla="*/ 10567 w 11070"/>
                <a:gd name="T1" fmla="*/ 8239 h 10059"/>
                <a:gd name="T2" fmla="*/ 2516 w 11070"/>
                <a:gd name="T3" fmla="*/ 3018 h 10059"/>
                <a:gd name="T4" fmla="*/ 503 w 11070"/>
                <a:gd name="T5" fmla="*/ 9556 h 10059"/>
                <a:gd name="T6" fmla="*/ 8932 w 11070"/>
                <a:gd name="T7" fmla="*/ 5703 h 10059"/>
                <a:gd name="T8" fmla="*/ 8852 w 11070"/>
                <a:gd name="T9" fmla="*/ 5630 h 10059"/>
                <a:gd name="T10" fmla="*/ 8762 w 11070"/>
                <a:gd name="T11" fmla="*/ 5577 h 10059"/>
                <a:gd name="T12" fmla="*/ 8661 w 11070"/>
                <a:gd name="T13" fmla="*/ 5544 h 10059"/>
                <a:gd name="T14" fmla="*/ 8554 w 11070"/>
                <a:gd name="T15" fmla="*/ 5533 h 10059"/>
                <a:gd name="T16" fmla="*/ 8448 w 11070"/>
                <a:gd name="T17" fmla="*/ 5544 h 10059"/>
                <a:gd name="T18" fmla="*/ 8347 w 11070"/>
                <a:gd name="T19" fmla="*/ 5577 h 10059"/>
                <a:gd name="T20" fmla="*/ 8256 w 11070"/>
                <a:gd name="T21" fmla="*/ 5630 h 10059"/>
                <a:gd name="T22" fmla="*/ 8177 w 11070"/>
                <a:gd name="T23" fmla="*/ 5703 h 10059"/>
                <a:gd name="T24" fmla="*/ 2856 w 11070"/>
                <a:gd name="T25" fmla="*/ 2646 h 10059"/>
                <a:gd name="T26" fmla="*/ 2769 w 11070"/>
                <a:gd name="T27" fmla="*/ 2583 h 10059"/>
                <a:gd name="T28" fmla="*/ 2674 w 11070"/>
                <a:gd name="T29" fmla="*/ 2540 h 10059"/>
                <a:gd name="T30" fmla="*/ 2570 w 11070"/>
                <a:gd name="T31" fmla="*/ 2518 h 10059"/>
                <a:gd name="T32" fmla="*/ 2462 w 11070"/>
                <a:gd name="T33" fmla="*/ 2518 h 10059"/>
                <a:gd name="T34" fmla="*/ 2358 w 11070"/>
                <a:gd name="T35" fmla="*/ 2540 h 10059"/>
                <a:gd name="T36" fmla="*/ 2262 w 11070"/>
                <a:gd name="T37" fmla="*/ 2583 h 10059"/>
                <a:gd name="T38" fmla="*/ 2177 w 11070"/>
                <a:gd name="T39" fmla="*/ 2646 h 10059"/>
                <a:gd name="T40" fmla="*/ 503 w 11070"/>
                <a:gd name="T41" fmla="*/ 503 h 10059"/>
                <a:gd name="T42" fmla="*/ 477 w 11070"/>
                <a:gd name="T43" fmla="*/ 1 h 10059"/>
                <a:gd name="T44" fmla="*/ 377 w 11070"/>
                <a:gd name="T45" fmla="*/ 16 h 10059"/>
                <a:gd name="T46" fmla="*/ 285 w 11070"/>
                <a:gd name="T47" fmla="*/ 49 h 10059"/>
                <a:gd name="T48" fmla="*/ 202 w 11070"/>
                <a:gd name="T49" fmla="*/ 99 h 10059"/>
                <a:gd name="T50" fmla="*/ 131 w 11070"/>
                <a:gd name="T51" fmla="*/ 165 h 10059"/>
                <a:gd name="T52" fmla="*/ 72 w 11070"/>
                <a:gd name="T53" fmla="*/ 242 h 10059"/>
                <a:gd name="T54" fmla="*/ 30 w 11070"/>
                <a:gd name="T55" fmla="*/ 330 h 10059"/>
                <a:gd name="T56" fmla="*/ 6 w 11070"/>
                <a:gd name="T57" fmla="*/ 426 h 10059"/>
                <a:gd name="T58" fmla="*/ 0 w 11070"/>
                <a:gd name="T59" fmla="*/ 9556 h 10059"/>
                <a:gd name="T60" fmla="*/ 10 w 11070"/>
                <a:gd name="T61" fmla="*/ 9658 h 10059"/>
                <a:gd name="T62" fmla="*/ 39 w 11070"/>
                <a:gd name="T63" fmla="*/ 9752 h 10059"/>
                <a:gd name="T64" fmla="*/ 85 w 11070"/>
                <a:gd name="T65" fmla="*/ 9838 h 10059"/>
                <a:gd name="T66" fmla="*/ 147 w 11070"/>
                <a:gd name="T67" fmla="*/ 9912 h 10059"/>
                <a:gd name="T68" fmla="*/ 221 w 11070"/>
                <a:gd name="T69" fmla="*/ 9974 h 10059"/>
                <a:gd name="T70" fmla="*/ 307 w 11070"/>
                <a:gd name="T71" fmla="*/ 10020 h 10059"/>
                <a:gd name="T72" fmla="*/ 401 w 11070"/>
                <a:gd name="T73" fmla="*/ 10049 h 10059"/>
                <a:gd name="T74" fmla="*/ 503 w 11070"/>
                <a:gd name="T75" fmla="*/ 10059 h 10059"/>
                <a:gd name="T76" fmla="*/ 10643 w 11070"/>
                <a:gd name="T77" fmla="*/ 10053 h 10059"/>
                <a:gd name="T78" fmla="*/ 10740 w 11070"/>
                <a:gd name="T79" fmla="*/ 10029 h 10059"/>
                <a:gd name="T80" fmla="*/ 10829 w 11070"/>
                <a:gd name="T81" fmla="*/ 9987 h 10059"/>
                <a:gd name="T82" fmla="*/ 10905 w 11070"/>
                <a:gd name="T83" fmla="*/ 9928 h 10059"/>
                <a:gd name="T84" fmla="*/ 10971 w 11070"/>
                <a:gd name="T85" fmla="*/ 9857 h 10059"/>
                <a:gd name="T86" fmla="*/ 11021 w 11070"/>
                <a:gd name="T87" fmla="*/ 9775 h 10059"/>
                <a:gd name="T88" fmla="*/ 11054 w 11070"/>
                <a:gd name="T89" fmla="*/ 9682 h 10059"/>
                <a:gd name="T90" fmla="*/ 11069 w 11070"/>
                <a:gd name="T91" fmla="*/ 9582 h 10059"/>
                <a:gd name="T92" fmla="*/ 11068 w 11070"/>
                <a:gd name="T93" fmla="*/ 452 h 10059"/>
                <a:gd name="T94" fmla="*/ 11048 w 11070"/>
                <a:gd name="T95" fmla="*/ 353 h 10059"/>
                <a:gd name="T96" fmla="*/ 11010 w 11070"/>
                <a:gd name="T97" fmla="*/ 263 h 10059"/>
                <a:gd name="T98" fmla="*/ 10955 w 11070"/>
                <a:gd name="T99" fmla="*/ 183 h 10059"/>
                <a:gd name="T100" fmla="*/ 10887 w 11070"/>
                <a:gd name="T101" fmla="*/ 115 h 10059"/>
                <a:gd name="T102" fmla="*/ 10808 w 11070"/>
                <a:gd name="T103" fmla="*/ 60 h 10059"/>
                <a:gd name="T104" fmla="*/ 10717 w 11070"/>
                <a:gd name="T105" fmla="*/ 22 h 10059"/>
                <a:gd name="T106" fmla="*/ 10618 w 11070"/>
                <a:gd name="T107" fmla="*/ 3 h 10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070" h="10059">
                  <a:moveTo>
                    <a:pt x="8928" y="9556"/>
                  </a:moveTo>
                  <a:lnTo>
                    <a:pt x="7203" y="7568"/>
                  </a:lnTo>
                  <a:lnTo>
                    <a:pt x="8554" y="6036"/>
                  </a:lnTo>
                  <a:lnTo>
                    <a:pt x="10567" y="8239"/>
                  </a:lnTo>
                  <a:lnTo>
                    <a:pt x="10567" y="9556"/>
                  </a:lnTo>
                  <a:lnTo>
                    <a:pt x="8928" y="9556"/>
                  </a:lnTo>
                  <a:close/>
                  <a:moveTo>
                    <a:pt x="503" y="5330"/>
                  </a:moveTo>
                  <a:lnTo>
                    <a:pt x="2516" y="3018"/>
                  </a:lnTo>
                  <a:lnTo>
                    <a:pt x="6575" y="7616"/>
                  </a:lnTo>
                  <a:lnTo>
                    <a:pt x="6866" y="7948"/>
                  </a:lnTo>
                  <a:lnTo>
                    <a:pt x="8256" y="9556"/>
                  </a:lnTo>
                  <a:lnTo>
                    <a:pt x="503" y="9556"/>
                  </a:lnTo>
                  <a:lnTo>
                    <a:pt x="503" y="5330"/>
                  </a:lnTo>
                  <a:close/>
                  <a:moveTo>
                    <a:pt x="10567" y="503"/>
                  </a:moveTo>
                  <a:lnTo>
                    <a:pt x="10567" y="7479"/>
                  </a:lnTo>
                  <a:lnTo>
                    <a:pt x="8932" y="5703"/>
                  </a:lnTo>
                  <a:lnTo>
                    <a:pt x="8913" y="5682"/>
                  </a:lnTo>
                  <a:lnTo>
                    <a:pt x="8894" y="5664"/>
                  </a:lnTo>
                  <a:lnTo>
                    <a:pt x="8873" y="5647"/>
                  </a:lnTo>
                  <a:lnTo>
                    <a:pt x="8852" y="5630"/>
                  </a:lnTo>
                  <a:lnTo>
                    <a:pt x="8831" y="5615"/>
                  </a:lnTo>
                  <a:lnTo>
                    <a:pt x="8808" y="5601"/>
                  </a:lnTo>
                  <a:lnTo>
                    <a:pt x="8785" y="5589"/>
                  </a:lnTo>
                  <a:lnTo>
                    <a:pt x="8762" y="5577"/>
                  </a:lnTo>
                  <a:lnTo>
                    <a:pt x="8736" y="5567"/>
                  </a:lnTo>
                  <a:lnTo>
                    <a:pt x="8712" y="5558"/>
                  </a:lnTo>
                  <a:lnTo>
                    <a:pt x="8686" y="5551"/>
                  </a:lnTo>
                  <a:lnTo>
                    <a:pt x="8661" y="5544"/>
                  </a:lnTo>
                  <a:lnTo>
                    <a:pt x="8635" y="5539"/>
                  </a:lnTo>
                  <a:lnTo>
                    <a:pt x="8608" y="5536"/>
                  </a:lnTo>
                  <a:lnTo>
                    <a:pt x="8581" y="5534"/>
                  </a:lnTo>
                  <a:lnTo>
                    <a:pt x="8554" y="5533"/>
                  </a:lnTo>
                  <a:lnTo>
                    <a:pt x="8527" y="5534"/>
                  </a:lnTo>
                  <a:lnTo>
                    <a:pt x="8501" y="5536"/>
                  </a:lnTo>
                  <a:lnTo>
                    <a:pt x="8474" y="5539"/>
                  </a:lnTo>
                  <a:lnTo>
                    <a:pt x="8448" y="5544"/>
                  </a:lnTo>
                  <a:lnTo>
                    <a:pt x="8422" y="5551"/>
                  </a:lnTo>
                  <a:lnTo>
                    <a:pt x="8396" y="5558"/>
                  </a:lnTo>
                  <a:lnTo>
                    <a:pt x="8372" y="5567"/>
                  </a:lnTo>
                  <a:lnTo>
                    <a:pt x="8347" y="5577"/>
                  </a:lnTo>
                  <a:lnTo>
                    <a:pt x="8324" y="5589"/>
                  </a:lnTo>
                  <a:lnTo>
                    <a:pt x="8301" y="5601"/>
                  </a:lnTo>
                  <a:lnTo>
                    <a:pt x="8277" y="5615"/>
                  </a:lnTo>
                  <a:lnTo>
                    <a:pt x="8256" y="5630"/>
                  </a:lnTo>
                  <a:lnTo>
                    <a:pt x="8235" y="5647"/>
                  </a:lnTo>
                  <a:lnTo>
                    <a:pt x="8215" y="5664"/>
                  </a:lnTo>
                  <a:lnTo>
                    <a:pt x="8195" y="5682"/>
                  </a:lnTo>
                  <a:lnTo>
                    <a:pt x="8177" y="5703"/>
                  </a:lnTo>
                  <a:lnTo>
                    <a:pt x="6867" y="7187"/>
                  </a:lnTo>
                  <a:lnTo>
                    <a:pt x="2893" y="2685"/>
                  </a:lnTo>
                  <a:lnTo>
                    <a:pt x="2875" y="2665"/>
                  </a:lnTo>
                  <a:lnTo>
                    <a:pt x="2856" y="2646"/>
                  </a:lnTo>
                  <a:lnTo>
                    <a:pt x="2835" y="2629"/>
                  </a:lnTo>
                  <a:lnTo>
                    <a:pt x="2814" y="2612"/>
                  </a:lnTo>
                  <a:lnTo>
                    <a:pt x="2793" y="2597"/>
                  </a:lnTo>
                  <a:lnTo>
                    <a:pt x="2769" y="2583"/>
                  </a:lnTo>
                  <a:lnTo>
                    <a:pt x="2746" y="2571"/>
                  </a:lnTo>
                  <a:lnTo>
                    <a:pt x="2723" y="2559"/>
                  </a:lnTo>
                  <a:lnTo>
                    <a:pt x="2698" y="2549"/>
                  </a:lnTo>
                  <a:lnTo>
                    <a:pt x="2674" y="2540"/>
                  </a:lnTo>
                  <a:lnTo>
                    <a:pt x="2648" y="2533"/>
                  </a:lnTo>
                  <a:lnTo>
                    <a:pt x="2622" y="2526"/>
                  </a:lnTo>
                  <a:lnTo>
                    <a:pt x="2596" y="2521"/>
                  </a:lnTo>
                  <a:lnTo>
                    <a:pt x="2570" y="2518"/>
                  </a:lnTo>
                  <a:lnTo>
                    <a:pt x="2543" y="2516"/>
                  </a:lnTo>
                  <a:lnTo>
                    <a:pt x="2516" y="2515"/>
                  </a:lnTo>
                  <a:lnTo>
                    <a:pt x="2489" y="2516"/>
                  </a:lnTo>
                  <a:lnTo>
                    <a:pt x="2462" y="2518"/>
                  </a:lnTo>
                  <a:lnTo>
                    <a:pt x="2435" y="2521"/>
                  </a:lnTo>
                  <a:lnTo>
                    <a:pt x="2409" y="2526"/>
                  </a:lnTo>
                  <a:lnTo>
                    <a:pt x="2384" y="2533"/>
                  </a:lnTo>
                  <a:lnTo>
                    <a:pt x="2358" y="2540"/>
                  </a:lnTo>
                  <a:lnTo>
                    <a:pt x="2334" y="2549"/>
                  </a:lnTo>
                  <a:lnTo>
                    <a:pt x="2308" y="2559"/>
                  </a:lnTo>
                  <a:lnTo>
                    <a:pt x="2285" y="2571"/>
                  </a:lnTo>
                  <a:lnTo>
                    <a:pt x="2262" y="2583"/>
                  </a:lnTo>
                  <a:lnTo>
                    <a:pt x="2239" y="2597"/>
                  </a:lnTo>
                  <a:lnTo>
                    <a:pt x="2218" y="2612"/>
                  </a:lnTo>
                  <a:lnTo>
                    <a:pt x="2197" y="2629"/>
                  </a:lnTo>
                  <a:lnTo>
                    <a:pt x="2177" y="2646"/>
                  </a:lnTo>
                  <a:lnTo>
                    <a:pt x="2157" y="2665"/>
                  </a:lnTo>
                  <a:lnTo>
                    <a:pt x="2138" y="2685"/>
                  </a:lnTo>
                  <a:lnTo>
                    <a:pt x="503" y="4570"/>
                  </a:lnTo>
                  <a:lnTo>
                    <a:pt x="503" y="503"/>
                  </a:lnTo>
                  <a:lnTo>
                    <a:pt x="10567" y="503"/>
                  </a:lnTo>
                  <a:close/>
                  <a:moveTo>
                    <a:pt x="10567" y="0"/>
                  </a:moveTo>
                  <a:lnTo>
                    <a:pt x="503" y="0"/>
                  </a:lnTo>
                  <a:lnTo>
                    <a:pt x="477" y="1"/>
                  </a:lnTo>
                  <a:lnTo>
                    <a:pt x="452" y="3"/>
                  </a:lnTo>
                  <a:lnTo>
                    <a:pt x="427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99" y="202"/>
                  </a:lnTo>
                  <a:lnTo>
                    <a:pt x="85" y="221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3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0" y="9556"/>
                  </a:lnTo>
                  <a:lnTo>
                    <a:pt x="1" y="9582"/>
                  </a:lnTo>
                  <a:lnTo>
                    <a:pt x="3" y="9608"/>
                  </a:lnTo>
                  <a:lnTo>
                    <a:pt x="6" y="9633"/>
                  </a:lnTo>
                  <a:lnTo>
                    <a:pt x="10" y="9658"/>
                  </a:lnTo>
                  <a:lnTo>
                    <a:pt x="16" y="9682"/>
                  </a:lnTo>
                  <a:lnTo>
                    <a:pt x="23" y="9706"/>
                  </a:lnTo>
                  <a:lnTo>
                    <a:pt x="30" y="9729"/>
                  </a:lnTo>
                  <a:lnTo>
                    <a:pt x="39" y="9752"/>
                  </a:lnTo>
                  <a:lnTo>
                    <a:pt x="49" y="9775"/>
                  </a:lnTo>
                  <a:lnTo>
                    <a:pt x="60" y="9797"/>
                  </a:lnTo>
                  <a:lnTo>
                    <a:pt x="72" y="9817"/>
                  </a:lnTo>
                  <a:lnTo>
                    <a:pt x="85" y="9838"/>
                  </a:lnTo>
                  <a:lnTo>
                    <a:pt x="99" y="9857"/>
                  </a:lnTo>
                  <a:lnTo>
                    <a:pt x="115" y="9876"/>
                  </a:lnTo>
                  <a:lnTo>
                    <a:pt x="131" y="9894"/>
                  </a:lnTo>
                  <a:lnTo>
                    <a:pt x="147" y="9912"/>
                  </a:lnTo>
                  <a:lnTo>
                    <a:pt x="165" y="9928"/>
                  </a:lnTo>
                  <a:lnTo>
                    <a:pt x="183" y="9945"/>
                  </a:lnTo>
                  <a:lnTo>
                    <a:pt x="202" y="9960"/>
                  </a:lnTo>
                  <a:lnTo>
                    <a:pt x="221" y="9974"/>
                  </a:lnTo>
                  <a:lnTo>
                    <a:pt x="242" y="9987"/>
                  </a:lnTo>
                  <a:lnTo>
                    <a:pt x="263" y="9999"/>
                  </a:lnTo>
                  <a:lnTo>
                    <a:pt x="285" y="10010"/>
                  </a:lnTo>
                  <a:lnTo>
                    <a:pt x="307" y="10020"/>
                  </a:lnTo>
                  <a:lnTo>
                    <a:pt x="330" y="10029"/>
                  </a:lnTo>
                  <a:lnTo>
                    <a:pt x="353" y="10037"/>
                  </a:lnTo>
                  <a:lnTo>
                    <a:pt x="377" y="10043"/>
                  </a:lnTo>
                  <a:lnTo>
                    <a:pt x="401" y="10049"/>
                  </a:lnTo>
                  <a:lnTo>
                    <a:pt x="427" y="10053"/>
                  </a:lnTo>
                  <a:lnTo>
                    <a:pt x="452" y="10056"/>
                  </a:lnTo>
                  <a:lnTo>
                    <a:pt x="477" y="10058"/>
                  </a:lnTo>
                  <a:lnTo>
                    <a:pt x="503" y="10059"/>
                  </a:lnTo>
                  <a:lnTo>
                    <a:pt x="10567" y="10059"/>
                  </a:lnTo>
                  <a:lnTo>
                    <a:pt x="10593" y="10058"/>
                  </a:lnTo>
                  <a:lnTo>
                    <a:pt x="10618" y="10056"/>
                  </a:lnTo>
                  <a:lnTo>
                    <a:pt x="10643" y="10053"/>
                  </a:lnTo>
                  <a:lnTo>
                    <a:pt x="10669" y="10049"/>
                  </a:lnTo>
                  <a:lnTo>
                    <a:pt x="10693" y="10043"/>
                  </a:lnTo>
                  <a:lnTo>
                    <a:pt x="10717" y="10037"/>
                  </a:lnTo>
                  <a:lnTo>
                    <a:pt x="10740" y="10029"/>
                  </a:lnTo>
                  <a:lnTo>
                    <a:pt x="10763" y="10020"/>
                  </a:lnTo>
                  <a:lnTo>
                    <a:pt x="10785" y="10010"/>
                  </a:lnTo>
                  <a:lnTo>
                    <a:pt x="10808" y="9999"/>
                  </a:lnTo>
                  <a:lnTo>
                    <a:pt x="10829" y="9987"/>
                  </a:lnTo>
                  <a:lnTo>
                    <a:pt x="10849" y="9974"/>
                  </a:lnTo>
                  <a:lnTo>
                    <a:pt x="10868" y="9960"/>
                  </a:lnTo>
                  <a:lnTo>
                    <a:pt x="10887" y="9945"/>
                  </a:lnTo>
                  <a:lnTo>
                    <a:pt x="10905" y="9928"/>
                  </a:lnTo>
                  <a:lnTo>
                    <a:pt x="10923" y="9912"/>
                  </a:lnTo>
                  <a:lnTo>
                    <a:pt x="10939" y="9894"/>
                  </a:lnTo>
                  <a:lnTo>
                    <a:pt x="10955" y="9876"/>
                  </a:lnTo>
                  <a:lnTo>
                    <a:pt x="10971" y="9857"/>
                  </a:lnTo>
                  <a:lnTo>
                    <a:pt x="10985" y="9838"/>
                  </a:lnTo>
                  <a:lnTo>
                    <a:pt x="10998" y="9817"/>
                  </a:lnTo>
                  <a:lnTo>
                    <a:pt x="11010" y="9797"/>
                  </a:lnTo>
                  <a:lnTo>
                    <a:pt x="11021" y="9775"/>
                  </a:lnTo>
                  <a:lnTo>
                    <a:pt x="11031" y="9752"/>
                  </a:lnTo>
                  <a:lnTo>
                    <a:pt x="11040" y="9729"/>
                  </a:lnTo>
                  <a:lnTo>
                    <a:pt x="11048" y="9706"/>
                  </a:lnTo>
                  <a:lnTo>
                    <a:pt x="11054" y="9682"/>
                  </a:lnTo>
                  <a:lnTo>
                    <a:pt x="11060" y="9658"/>
                  </a:lnTo>
                  <a:lnTo>
                    <a:pt x="11064" y="9633"/>
                  </a:lnTo>
                  <a:lnTo>
                    <a:pt x="11068" y="9608"/>
                  </a:lnTo>
                  <a:lnTo>
                    <a:pt x="11069" y="9582"/>
                  </a:lnTo>
                  <a:lnTo>
                    <a:pt x="11070" y="9556"/>
                  </a:lnTo>
                  <a:lnTo>
                    <a:pt x="11070" y="503"/>
                  </a:lnTo>
                  <a:lnTo>
                    <a:pt x="11069" y="477"/>
                  </a:lnTo>
                  <a:lnTo>
                    <a:pt x="11068" y="452"/>
                  </a:lnTo>
                  <a:lnTo>
                    <a:pt x="11064" y="426"/>
                  </a:lnTo>
                  <a:lnTo>
                    <a:pt x="11060" y="401"/>
                  </a:lnTo>
                  <a:lnTo>
                    <a:pt x="11054" y="377"/>
                  </a:lnTo>
                  <a:lnTo>
                    <a:pt x="11048" y="353"/>
                  </a:lnTo>
                  <a:lnTo>
                    <a:pt x="11040" y="330"/>
                  </a:lnTo>
                  <a:lnTo>
                    <a:pt x="11031" y="307"/>
                  </a:lnTo>
                  <a:lnTo>
                    <a:pt x="11021" y="285"/>
                  </a:lnTo>
                  <a:lnTo>
                    <a:pt x="11010" y="263"/>
                  </a:lnTo>
                  <a:lnTo>
                    <a:pt x="10998" y="242"/>
                  </a:lnTo>
                  <a:lnTo>
                    <a:pt x="10985" y="221"/>
                  </a:lnTo>
                  <a:lnTo>
                    <a:pt x="10971" y="202"/>
                  </a:lnTo>
                  <a:lnTo>
                    <a:pt x="10955" y="183"/>
                  </a:lnTo>
                  <a:lnTo>
                    <a:pt x="10939" y="165"/>
                  </a:lnTo>
                  <a:lnTo>
                    <a:pt x="10923" y="147"/>
                  </a:lnTo>
                  <a:lnTo>
                    <a:pt x="10905" y="131"/>
                  </a:lnTo>
                  <a:lnTo>
                    <a:pt x="10887" y="115"/>
                  </a:lnTo>
                  <a:lnTo>
                    <a:pt x="10868" y="99"/>
                  </a:lnTo>
                  <a:lnTo>
                    <a:pt x="10849" y="85"/>
                  </a:lnTo>
                  <a:lnTo>
                    <a:pt x="10829" y="72"/>
                  </a:lnTo>
                  <a:lnTo>
                    <a:pt x="10808" y="60"/>
                  </a:lnTo>
                  <a:lnTo>
                    <a:pt x="10785" y="49"/>
                  </a:lnTo>
                  <a:lnTo>
                    <a:pt x="10763" y="39"/>
                  </a:lnTo>
                  <a:lnTo>
                    <a:pt x="10740" y="30"/>
                  </a:lnTo>
                  <a:lnTo>
                    <a:pt x="10717" y="22"/>
                  </a:lnTo>
                  <a:lnTo>
                    <a:pt x="10693" y="16"/>
                  </a:lnTo>
                  <a:lnTo>
                    <a:pt x="10669" y="10"/>
                  </a:lnTo>
                  <a:lnTo>
                    <a:pt x="10643" y="6"/>
                  </a:lnTo>
                  <a:lnTo>
                    <a:pt x="10618" y="3"/>
                  </a:lnTo>
                  <a:lnTo>
                    <a:pt x="10593" y="1"/>
                  </a:lnTo>
                  <a:lnTo>
                    <a:pt x="105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86" name="îś1îḑê">
              <a:extLst>
                <a:ext uri="{FF2B5EF4-FFF2-40B4-BE49-F238E27FC236}">
                  <a16:creationId xmlns:a16="http://schemas.microsoft.com/office/drawing/2014/main" id="{0CF97F8E-B69C-48CB-9B9B-B1473D4B5F96}"/>
                </a:ext>
              </a:extLst>
            </p:cNvPr>
            <p:cNvSpPr/>
            <p:nvPr/>
          </p:nvSpPr>
          <p:spPr bwMode="auto">
            <a:xfrm>
              <a:off x="3845577" y="776761"/>
              <a:ext cx="74171" cy="75086"/>
            </a:xfrm>
            <a:custGeom>
              <a:avLst/>
              <a:gdLst>
                <a:gd name="T0" fmla="*/ 1712 w 3019"/>
                <a:gd name="T1" fmla="*/ 523 h 3018"/>
                <a:gd name="T2" fmla="*/ 1946 w 3019"/>
                <a:gd name="T3" fmla="*/ 602 h 3018"/>
                <a:gd name="T4" fmla="*/ 2150 w 3019"/>
                <a:gd name="T5" fmla="*/ 732 h 3018"/>
                <a:gd name="T6" fmla="*/ 2316 w 3019"/>
                <a:gd name="T7" fmla="*/ 907 h 3018"/>
                <a:gd name="T8" fmla="*/ 2437 w 3019"/>
                <a:gd name="T9" fmla="*/ 1117 h 3018"/>
                <a:gd name="T10" fmla="*/ 2504 w 3019"/>
                <a:gd name="T11" fmla="*/ 1356 h 3018"/>
                <a:gd name="T12" fmla="*/ 2511 w 3019"/>
                <a:gd name="T13" fmla="*/ 1611 h 3018"/>
                <a:gd name="T14" fmla="*/ 2455 w 3019"/>
                <a:gd name="T15" fmla="*/ 1854 h 3018"/>
                <a:gd name="T16" fmla="*/ 2344 w 3019"/>
                <a:gd name="T17" fmla="*/ 2071 h 3018"/>
                <a:gd name="T18" fmla="*/ 2186 w 3019"/>
                <a:gd name="T19" fmla="*/ 2253 h 3018"/>
                <a:gd name="T20" fmla="*/ 1989 w 3019"/>
                <a:gd name="T21" fmla="*/ 2393 h 3018"/>
                <a:gd name="T22" fmla="*/ 1761 w 3019"/>
                <a:gd name="T23" fmla="*/ 2482 h 3018"/>
                <a:gd name="T24" fmla="*/ 1510 w 3019"/>
                <a:gd name="T25" fmla="*/ 2515 h 3018"/>
                <a:gd name="T26" fmla="*/ 1258 w 3019"/>
                <a:gd name="T27" fmla="*/ 2482 h 3018"/>
                <a:gd name="T28" fmla="*/ 1031 w 3019"/>
                <a:gd name="T29" fmla="*/ 2393 h 3018"/>
                <a:gd name="T30" fmla="*/ 833 w 3019"/>
                <a:gd name="T31" fmla="*/ 2253 h 3018"/>
                <a:gd name="T32" fmla="*/ 675 w 3019"/>
                <a:gd name="T33" fmla="*/ 2071 h 3018"/>
                <a:gd name="T34" fmla="*/ 565 w 3019"/>
                <a:gd name="T35" fmla="*/ 1854 h 3018"/>
                <a:gd name="T36" fmla="*/ 508 w 3019"/>
                <a:gd name="T37" fmla="*/ 1611 h 3018"/>
                <a:gd name="T38" fmla="*/ 514 w 3019"/>
                <a:gd name="T39" fmla="*/ 1356 h 3018"/>
                <a:gd name="T40" fmla="*/ 583 w 3019"/>
                <a:gd name="T41" fmla="*/ 1117 h 3018"/>
                <a:gd name="T42" fmla="*/ 704 w 3019"/>
                <a:gd name="T43" fmla="*/ 907 h 3018"/>
                <a:gd name="T44" fmla="*/ 870 w 3019"/>
                <a:gd name="T45" fmla="*/ 732 h 3018"/>
                <a:gd name="T46" fmla="*/ 1074 w 3019"/>
                <a:gd name="T47" fmla="*/ 602 h 3018"/>
                <a:gd name="T48" fmla="*/ 1308 w 3019"/>
                <a:gd name="T49" fmla="*/ 523 h 3018"/>
                <a:gd name="T50" fmla="*/ 1510 w 3019"/>
                <a:gd name="T51" fmla="*/ 3018 h 3018"/>
                <a:gd name="T52" fmla="*/ 1887 w 3019"/>
                <a:gd name="T53" fmla="*/ 2969 h 3018"/>
                <a:gd name="T54" fmla="*/ 2229 w 3019"/>
                <a:gd name="T55" fmla="*/ 2836 h 3018"/>
                <a:gd name="T56" fmla="*/ 2525 w 3019"/>
                <a:gd name="T57" fmla="*/ 2625 h 3018"/>
                <a:gd name="T58" fmla="*/ 2762 w 3019"/>
                <a:gd name="T59" fmla="*/ 2352 h 3018"/>
                <a:gd name="T60" fmla="*/ 2928 w 3019"/>
                <a:gd name="T61" fmla="*/ 2028 h 3018"/>
                <a:gd name="T62" fmla="*/ 3011 w 3019"/>
                <a:gd name="T63" fmla="*/ 1663 h 3018"/>
                <a:gd name="T64" fmla="*/ 3002 w 3019"/>
                <a:gd name="T65" fmla="*/ 1278 h 3018"/>
                <a:gd name="T66" fmla="*/ 2901 w 3019"/>
                <a:gd name="T67" fmla="*/ 921 h 3018"/>
                <a:gd name="T68" fmla="*/ 2719 w 3019"/>
                <a:gd name="T69" fmla="*/ 605 h 3018"/>
                <a:gd name="T70" fmla="*/ 2470 w 3019"/>
                <a:gd name="T71" fmla="*/ 344 h 3018"/>
                <a:gd name="T72" fmla="*/ 2164 w 3019"/>
                <a:gd name="T73" fmla="*/ 149 h 3018"/>
                <a:gd name="T74" fmla="*/ 1814 w 3019"/>
                <a:gd name="T75" fmla="*/ 30 h 3018"/>
                <a:gd name="T76" fmla="*/ 1432 w 3019"/>
                <a:gd name="T77" fmla="*/ 2 h 3018"/>
                <a:gd name="T78" fmla="*/ 1061 w 3019"/>
                <a:gd name="T79" fmla="*/ 67 h 3018"/>
                <a:gd name="T80" fmla="*/ 727 w 3019"/>
                <a:gd name="T81" fmla="*/ 218 h 3018"/>
                <a:gd name="T82" fmla="*/ 442 w 3019"/>
                <a:gd name="T83" fmla="*/ 441 h 3018"/>
                <a:gd name="T84" fmla="*/ 219 w 3019"/>
                <a:gd name="T85" fmla="*/ 726 h 3018"/>
                <a:gd name="T86" fmla="*/ 68 w 3019"/>
                <a:gd name="T87" fmla="*/ 1060 h 3018"/>
                <a:gd name="T88" fmla="*/ 2 w 3019"/>
                <a:gd name="T89" fmla="*/ 1431 h 3018"/>
                <a:gd name="T90" fmla="*/ 30 w 3019"/>
                <a:gd name="T91" fmla="*/ 1812 h 3018"/>
                <a:gd name="T92" fmla="*/ 149 w 3019"/>
                <a:gd name="T93" fmla="*/ 2163 h 3018"/>
                <a:gd name="T94" fmla="*/ 344 w 3019"/>
                <a:gd name="T95" fmla="*/ 2468 h 3018"/>
                <a:gd name="T96" fmla="*/ 606 w 3019"/>
                <a:gd name="T97" fmla="*/ 2718 h 3018"/>
                <a:gd name="T98" fmla="*/ 922 w 3019"/>
                <a:gd name="T99" fmla="*/ 2899 h 3018"/>
                <a:gd name="T100" fmla="*/ 1280 w 3019"/>
                <a:gd name="T101" fmla="*/ 2999 h 30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019" h="3018">
                  <a:moveTo>
                    <a:pt x="1510" y="503"/>
                  </a:moveTo>
                  <a:lnTo>
                    <a:pt x="1561" y="504"/>
                  </a:lnTo>
                  <a:lnTo>
                    <a:pt x="1612" y="508"/>
                  </a:lnTo>
                  <a:lnTo>
                    <a:pt x="1663" y="514"/>
                  </a:lnTo>
                  <a:lnTo>
                    <a:pt x="1712" y="523"/>
                  </a:lnTo>
                  <a:lnTo>
                    <a:pt x="1761" y="534"/>
                  </a:lnTo>
                  <a:lnTo>
                    <a:pt x="1809" y="548"/>
                  </a:lnTo>
                  <a:lnTo>
                    <a:pt x="1856" y="564"/>
                  </a:lnTo>
                  <a:lnTo>
                    <a:pt x="1901" y="581"/>
                  </a:lnTo>
                  <a:lnTo>
                    <a:pt x="1946" y="602"/>
                  </a:lnTo>
                  <a:lnTo>
                    <a:pt x="1989" y="624"/>
                  </a:lnTo>
                  <a:lnTo>
                    <a:pt x="2031" y="649"/>
                  </a:lnTo>
                  <a:lnTo>
                    <a:pt x="2072" y="675"/>
                  </a:lnTo>
                  <a:lnTo>
                    <a:pt x="2112" y="703"/>
                  </a:lnTo>
                  <a:lnTo>
                    <a:pt x="2150" y="732"/>
                  </a:lnTo>
                  <a:lnTo>
                    <a:pt x="2186" y="764"/>
                  </a:lnTo>
                  <a:lnTo>
                    <a:pt x="2221" y="797"/>
                  </a:lnTo>
                  <a:lnTo>
                    <a:pt x="2255" y="833"/>
                  </a:lnTo>
                  <a:lnTo>
                    <a:pt x="2286" y="869"/>
                  </a:lnTo>
                  <a:lnTo>
                    <a:pt x="2316" y="907"/>
                  </a:lnTo>
                  <a:lnTo>
                    <a:pt x="2344" y="946"/>
                  </a:lnTo>
                  <a:lnTo>
                    <a:pt x="2370" y="988"/>
                  </a:lnTo>
                  <a:lnTo>
                    <a:pt x="2394" y="1029"/>
                  </a:lnTo>
                  <a:lnTo>
                    <a:pt x="2417" y="1073"/>
                  </a:lnTo>
                  <a:lnTo>
                    <a:pt x="2437" y="1117"/>
                  </a:lnTo>
                  <a:lnTo>
                    <a:pt x="2455" y="1163"/>
                  </a:lnTo>
                  <a:lnTo>
                    <a:pt x="2471" y="1210"/>
                  </a:lnTo>
                  <a:lnTo>
                    <a:pt x="2484" y="1257"/>
                  </a:lnTo>
                  <a:lnTo>
                    <a:pt x="2496" y="1305"/>
                  </a:lnTo>
                  <a:lnTo>
                    <a:pt x="2504" y="1356"/>
                  </a:lnTo>
                  <a:lnTo>
                    <a:pt x="2511" y="1406"/>
                  </a:lnTo>
                  <a:lnTo>
                    <a:pt x="2515" y="1456"/>
                  </a:lnTo>
                  <a:lnTo>
                    <a:pt x="2516" y="1509"/>
                  </a:lnTo>
                  <a:lnTo>
                    <a:pt x="2515" y="1560"/>
                  </a:lnTo>
                  <a:lnTo>
                    <a:pt x="2511" y="1611"/>
                  </a:lnTo>
                  <a:lnTo>
                    <a:pt x="2504" y="1662"/>
                  </a:lnTo>
                  <a:lnTo>
                    <a:pt x="2496" y="1711"/>
                  </a:lnTo>
                  <a:lnTo>
                    <a:pt x="2484" y="1759"/>
                  </a:lnTo>
                  <a:lnTo>
                    <a:pt x="2471" y="1807"/>
                  </a:lnTo>
                  <a:lnTo>
                    <a:pt x="2455" y="1854"/>
                  </a:lnTo>
                  <a:lnTo>
                    <a:pt x="2437" y="1900"/>
                  </a:lnTo>
                  <a:lnTo>
                    <a:pt x="2417" y="1944"/>
                  </a:lnTo>
                  <a:lnTo>
                    <a:pt x="2394" y="1988"/>
                  </a:lnTo>
                  <a:lnTo>
                    <a:pt x="2370" y="2030"/>
                  </a:lnTo>
                  <a:lnTo>
                    <a:pt x="2344" y="2071"/>
                  </a:lnTo>
                  <a:lnTo>
                    <a:pt x="2316" y="2110"/>
                  </a:lnTo>
                  <a:lnTo>
                    <a:pt x="2286" y="2148"/>
                  </a:lnTo>
                  <a:lnTo>
                    <a:pt x="2255" y="2185"/>
                  </a:lnTo>
                  <a:lnTo>
                    <a:pt x="2221" y="2220"/>
                  </a:lnTo>
                  <a:lnTo>
                    <a:pt x="2186" y="2253"/>
                  </a:lnTo>
                  <a:lnTo>
                    <a:pt x="2150" y="2284"/>
                  </a:lnTo>
                  <a:lnTo>
                    <a:pt x="2112" y="2314"/>
                  </a:lnTo>
                  <a:lnTo>
                    <a:pt x="2072" y="2343"/>
                  </a:lnTo>
                  <a:lnTo>
                    <a:pt x="2031" y="2369"/>
                  </a:lnTo>
                  <a:lnTo>
                    <a:pt x="1989" y="2393"/>
                  </a:lnTo>
                  <a:lnTo>
                    <a:pt x="1946" y="2415"/>
                  </a:lnTo>
                  <a:lnTo>
                    <a:pt x="1901" y="2435"/>
                  </a:lnTo>
                  <a:lnTo>
                    <a:pt x="1856" y="2453"/>
                  </a:lnTo>
                  <a:lnTo>
                    <a:pt x="1809" y="2469"/>
                  </a:lnTo>
                  <a:lnTo>
                    <a:pt x="1761" y="2482"/>
                  </a:lnTo>
                  <a:lnTo>
                    <a:pt x="1712" y="2494"/>
                  </a:lnTo>
                  <a:lnTo>
                    <a:pt x="1663" y="2503"/>
                  </a:lnTo>
                  <a:lnTo>
                    <a:pt x="1612" y="2510"/>
                  </a:lnTo>
                  <a:lnTo>
                    <a:pt x="1561" y="2514"/>
                  </a:lnTo>
                  <a:lnTo>
                    <a:pt x="1510" y="2515"/>
                  </a:lnTo>
                  <a:lnTo>
                    <a:pt x="1458" y="2514"/>
                  </a:lnTo>
                  <a:lnTo>
                    <a:pt x="1407" y="2510"/>
                  </a:lnTo>
                  <a:lnTo>
                    <a:pt x="1357" y="2503"/>
                  </a:lnTo>
                  <a:lnTo>
                    <a:pt x="1308" y="2494"/>
                  </a:lnTo>
                  <a:lnTo>
                    <a:pt x="1258" y="2482"/>
                  </a:lnTo>
                  <a:lnTo>
                    <a:pt x="1211" y="2469"/>
                  </a:lnTo>
                  <a:lnTo>
                    <a:pt x="1165" y="2453"/>
                  </a:lnTo>
                  <a:lnTo>
                    <a:pt x="1118" y="2435"/>
                  </a:lnTo>
                  <a:lnTo>
                    <a:pt x="1074" y="2415"/>
                  </a:lnTo>
                  <a:lnTo>
                    <a:pt x="1031" y="2393"/>
                  </a:lnTo>
                  <a:lnTo>
                    <a:pt x="988" y="2369"/>
                  </a:lnTo>
                  <a:lnTo>
                    <a:pt x="947" y="2343"/>
                  </a:lnTo>
                  <a:lnTo>
                    <a:pt x="908" y="2314"/>
                  </a:lnTo>
                  <a:lnTo>
                    <a:pt x="870" y="2284"/>
                  </a:lnTo>
                  <a:lnTo>
                    <a:pt x="833" y="2253"/>
                  </a:lnTo>
                  <a:lnTo>
                    <a:pt x="798" y="2220"/>
                  </a:lnTo>
                  <a:lnTo>
                    <a:pt x="765" y="2185"/>
                  </a:lnTo>
                  <a:lnTo>
                    <a:pt x="734" y="2148"/>
                  </a:lnTo>
                  <a:lnTo>
                    <a:pt x="704" y="2110"/>
                  </a:lnTo>
                  <a:lnTo>
                    <a:pt x="675" y="2071"/>
                  </a:lnTo>
                  <a:lnTo>
                    <a:pt x="649" y="2030"/>
                  </a:lnTo>
                  <a:lnTo>
                    <a:pt x="625" y="1988"/>
                  </a:lnTo>
                  <a:lnTo>
                    <a:pt x="603" y="1944"/>
                  </a:lnTo>
                  <a:lnTo>
                    <a:pt x="583" y="1900"/>
                  </a:lnTo>
                  <a:lnTo>
                    <a:pt x="565" y="1854"/>
                  </a:lnTo>
                  <a:lnTo>
                    <a:pt x="549" y="1807"/>
                  </a:lnTo>
                  <a:lnTo>
                    <a:pt x="536" y="1759"/>
                  </a:lnTo>
                  <a:lnTo>
                    <a:pt x="524" y="1711"/>
                  </a:lnTo>
                  <a:lnTo>
                    <a:pt x="514" y="1662"/>
                  </a:lnTo>
                  <a:lnTo>
                    <a:pt x="508" y="1611"/>
                  </a:lnTo>
                  <a:lnTo>
                    <a:pt x="504" y="1560"/>
                  </a:lnTo>
                  <a:lnTo>
                    <a:pt x="503" y="1509"/>
                  </a:lnTo>
                  <a:lnTo>
                    <a:pt x="504" y="1456"/>
                  </a:lnTo>
                  <a:lnTo>
                    <a:pt x="508" y="1406"/>
                  </a:lnTo>
                  <a:lnTo>
                    <a:pt x="514" y="1356"/>
                  </a:lnTo>
                  <a:lnTo>
                    <a:pt x="524" y="1305"/>
                  </a:lnTo>
                  <a:lnTo>
                    <a:pt x="536" y="1257"/>
                  </a:lnTo>
                  <a:lnTo>
                    <a:pt x="549" y="1210"/>
                  </a:lnTo>
                  <a:lnTo>
                    <a:pt x="565" y="1163"/>
                  </a:lnTo>
                  <a:lnTo>
                    <a:pt x="583" y="1117"/>
                  </a:lnTo>
                  <a:lnTo>
                    <a:pt x="603" y="1073"/>
                  </a:lnTo>
                  <a:lnTo>
                    <a:pt x="625" y="1029"/>
                  </a:lnTo>
                  <a:lnTo>
                    <a:pt x="649" y="988"/>
                  </a:lnTo>
                  <a:lnTo>
                    <a:pt x="675" y="946"/>
                  </a:lnTo>
                  <a:lnTo>
                    <a:pt x="704" y="907"/>
                  </a:lnTo>
                  <a:lnTo>
                    <a:pt x="734" y="869"/>
                  </a:lnTo>
                  <a:lnTo>
                    <a:pt x="765" y="833"/>
                  </a:lnTo>
                  <a:lnTo>
                    <a:pt x="798" y="797"/>
                  </a:lnTo>
                  <a:lnTo>
                    <a:pt x="833" y="764"/>
                  </a:lnTo>
                  <a:lnTo>
                    <a:pt x="870" y="732"/>
                  </a:lnTo>
                  <a:lnTo>
                    <a:pt x="908" y="703"/>
                  </a:lnTo>
                  <a:lnTo>
                    <a:pt x="947" y="675"/>
                  </a:lnTo>
                  <a:lnTo>
                    <a:pt x="988" y="649"/>
                  </a:lnTo>
                  <a:lnTo>
                    <a:pt x="1031" y="624"/>
                  </a:lnTo>
                  <a:lnTo>
                    <a:pt x="1074" y="602"/>
                  </a:lnTo>
                  <a:lnTo>
                    <a:pt x="1118" y="581"/>
                  </a:lnTo>
                  <a:lnTo>
                    <a:pt x="1165" y="564"/>
                  </a:lnTo>
                  <a:lnTo>
                    <a:pt x="1211" y="548"/>
                  </a:lnTo>
                  <a:lnTo>
                    <a:pt x="1258" y="534"/>
                  </a:lnTo>
                  <a:lnTo>
                    <a:pt x="1308" y="523"/>
                  </a:lnTo>
                  <a:lnTo>
                    <a:pt x="1357" y="514"/>
                  </a:lnTo>
                  <a:lnTo>
                    <a:pt x="1407" y="508"/>
                  </a:lnTo>
                  <a:lnTo>
                    <a:pt x="1458" y="504"/>
                  </a:lnTo>
                  <a:lnTo>
                    <a:pt x="1510" y="503"/>
                  </a:lnTo>
                  <a:close/>
                  <a:moveTo>
                    <a:pt x="1510" y="3018"/>
                  </a:moveTo>
                  <a:lnTo>
                    <a:pt x="1587" y="3016"/>
                  </a:lnTo>
                  <a:lnTo>
                    <a:pt x="1664" y="3010"/>
                  </a:lnTo>
                  <a:lnTo>
                    <a:pt x="1739" y="2999"/>
                  </a:lnTo>
                  <a:lnTo>
                    <a:pt x="1814" y="2986"/>
                  </a:lnTo>
                  <a:lnTo>
                    <a:pt x="1887" y="2969"/>
                  </a:lnTo>
                  <a:lnTo>
                    <a:pt x="1959" y="2949"/>
                  </a:lnTo>
                  <a:lnTo>
                    <a:pt x="2029" y="2926"/>
                  </a:lnTo>
                  <a:lnTo>
                    <a:pt x="2098" y="2899"/>
                  </a:lnTo>
                  <a:lnTo>
                    <a:pt x="2164" y="2869"/>
                  </a:lnTo>
                  <a:lnTo>
                    <a:pt x="2229" y="2836"/>
                  </a:lnTo>
                  <a:lnTo>
                    <a:pt x="2293" y="2799"/>
                  </a:lnTo>
                  <a:lnTo>
                    <a:pt x="2354" y="2760"/>
                  </a:lnTo>
                  <a:lnTo>
                    <a:pt x="2413" y="2718"/>
                  </a:lnTo>
                  <a:lnTo>
                    <a:pt x="2470" y="2673"/>
                  </a:lnTo>
                  <a:lnTo>
                    <a:pt x="2525" y="2625"/>
                  </a:lnTo>
                  <a:lnTo>
                    <a:pt x="2578" y="2575"/>
                  </a:lnTo>
                  <a:lnTo>
                    <a:pt x="2627" y="2523"/>
                  </a:lnTo>
                  <a:lnTo>
                    <a:pt x="2675" y="2468"/>
                  </a:lnTo>
                  <a:lnTo>
                    <a:pt x="2719" y="2411"/>
                  </a:lnTo>
                  <a:lnTo>
                    <a:pt x="2762" y="2352"/>
                  </a:lnTo>
                  <a:lnTo>
                    <a:pt x="2801" y="2291"/>
                  </a:lnTo>
                  <a:lnTo>
                    <a:pt x="2837" y="2228"/>
                  </a:lnTo>
                  <a:lnTo>
                    <a:pt x="2870" y="2163"/>
                  </a:lnTo>
                  <a:lnTo>
                    <a:pt x="2901" y="2096"/>
                  </a:lnTo>
                  <a:lnTo>
                    <a:pt x="2928" y="2028"/>
                  </a:lnTo>
                  <a:lnTo>
                    <a:pt x="2952" y="1957"/>
                  </a:lnTo>
                  <a:lnTo>
                    <a:pt x="2972" y="1886"/>
                  </a:lnTo>
                  <a:lnTo>
                    <a:pt x="2989" y="1812"/>
                  </a:lnTo>
                  <a:lnTo>
                    <a:pt x="3002" y="1738"/>
                  </a:lnTo>
                  <a:lnTo>
                    <a:pt x="3011" y="1663"/>
                  </a:lnTo>
                  <a:lnTo>
                    <a:pt x="3017" y="1586"/>
                  </a:lnTo>
                  <a:lnTo>
                    <a:pt x="3019" y="1509"/>
                  </a:lnTo>
                  <a:lnTo>
                    <a:pt x="3017" y="1431"/>
                  </a:lnTo>
                  <a:lnTo>
                    <a:pt x="3011" y="1354"/>
                  </a:lnTo>
                  <a:lnTo>
                    <a:pt x="3002" y="1278"/>
                  </a:lnTo>
                  <a:lnTo>
                    <a:pt x="2989" y="1204"/>
                  </a:lnTo>
                  <a:lnTo>
                    <a:pt x="2972" y="1131"/>
                  </a:lnTo>
                  <a:lnTo>
                    <a:pt x="2952" y="1060"/>
                  </a:lnTo>
                  <a:lnTo>
                    <a:pt x="2928" y="990"/>
                  </a:lnTo>
                  <a:lnTo>
                    <a:pt x="2901" y="921"/>
                  </a:lnTo>
                  <a:lnTo>
                    <a:pt x="2870" y="854"/>
                  </a:lnTo>
                  <a:lnTo>
                    <a:pt x="2837" y="789"/>
                  </a:lnTo>
                  <a:lnTo>
                    <a:pt x="2801" y="726"/>
                  </a:lnTo>
                  <a:lnTo>
                    <a:pt x="2762" y="665"/>
                  </a:lnTo>
                  <a:lnTo>
                    <a:pt x="2719" y="605"/>
                  </a:lnTo>
                  <a:lnTo>
                    <a:pt x="2675" y="549"/>
                  </a:lnTo>
                  <a:lnTo>
                    <a:pt x="2627" y="494"/>
                  </a:lnTo>
                  <a:lnTo>
                    <a:pt x="2578" y="441"/>
                  </a:lnTo>
                  <a:lnTo>
                    <a:pt x="2525" y="391"/>
                  </a:lnTo>
                  <a:lnTo>
                    <a:pt x="2470" y="344"/>
                  </a:lnTo>
                  <a:lnTo>
                    <a:pt x="2413" y="300"/>
                  </a:lnTo>
                  <a:lnTo>
                    <a:pt x="2354" y="257"/>
                  </a:lnTo>
                  <a:lnTo>
                    <a:pt x="2293" y="218"/>
                  </a:lnTo>
                  <a:lnTo>
                    <a:pt x="2229" y="182"/>
                  </a:lnTo>
                  <a:lnTo>
                    <a:pt x="2164" y="149"/>
                  </a:lnTo>
                  <a:lnTo>
                    <a:pt x="2098" y="118"/>
                  </a:lnTo>
                  <a:lnTo>
                    <a:pt x="2029" y="91"/>
                  </a:lnTo>
                  <a:lnTo>
                    <a:pt x="1959" y="67"/>
                  </a:lnTo>
                  <a:lnTo>
                    <a:pt x="1887" y="47"/>
                  </a:lnTo>
                  <a:lnTo>
                    <a:pt x="1814" y="30"/>
                  </a:lnTo>
                  <a:lnTo>
                    <a:pt x="1739" y="17"/>
                  </a:lnTo>
                  <a:lnTo>
                    <a:pt x="1664" y="8"/>
                  </a:lnTo>
                  <a:lnTo>
                    <a:pt x="1587" y="2"/>
                  </a:lnTo>
                  <a:lnTo>
                    <a:pt x="1510" y="0"/>
                  </a:lnTo>
                  <a:lnTo>
                    <a:pt x="1432" y="2"/>
                  </a:lnTo>
                  <a:lnTo>
                    <a:pt x="1356" y="8"/>
                  </a:lnTo>
                  <a:lnTo>
                    <a:pt x="1280" y="17"/>
                  </a:lnTo>
                  <a:lnTo>
                    <a:pt x="1206" y="30"/>
                  </a:lnTo>
                  <a:lnTo>
                    <a:pt x="1132" y="47"/>
                  </a:lnTo>
                  <a:lnTo>
                    <a:pt x="1061" y="67"/>
                  </a:lnTo>
                  <a:lnTo>
                    <a:pt x="990" y="91"/>
                  </a:lnTo>
                  <a:lnTo>
                    <a:pt x="922" y="118"/>
                  </a:lnTo>
                  <a:lnTo>
                    <a:pt x="856" y="149"/>
                  </a:lnTo>
                  <a:lnTo>
                    <a:pt x="790" y="182"/>
                  </a:lnTo>
                  <a:lnTo>
                    <a:pt x="727" y="218"/>
                  </a:lnTo>
                  <a:lnTo>
                    <a:pt x="665" y="257"/>
                  </a:lnTo>
                  <a:lnTo>
                    <a:pt x="606" y="300"/>
                  </a:lnTo>
                  <a:lnTo>
                    <a:pt x="550" y="344"/>
                  </a:lnTo>
                  <a:lnTo>
                    <a:pt x="494" y="391"/>
                  </a:lnTo>
                  <a:lnTo>
                    <a:pt x="442" y="441"/>
                  </a:lnTo>
                  <a:lnTo>
                    <a:pt x="393" y="494"/>
                  </a:lnTo>
                  <a:lnTo>
                    <a:pt x="344" y="549"/>
                  </a:lnTo>
                  <a:lnTo>
                    <a:pt x="300" y="605"/>
                  </a:lnTo>
                  <a:lnTo>
                    <a:pt x="258" y="665"/>
                  </a:lnTo>
                  <a:lnTo>
                    <a:pt x="219" y="726"/>
                  </a:lnTo>
                  <a:lnTo>
                    <a:pt x="182" y="789"/>
                  </a:lnTo>
                  <a:lnTo>
                    <a:pt x="149" y="854"/>
                  </a:lnTo>
                  <a:lnTo>
                    <a:pt x="119" y="921"/>
                  </a:lnTo>
                  <a:lnTo>
                    <a:pt x="92" y="990"/>
                  </a:lnTo>
                  <a:lnTo>
                    <a:pt x="68" y="1060"/>
                  </a:lnTo>
                  <a:lnTo>
                    <a:pt x="48" y="1131"/>
                  </a:lnTo>
                  <a:lnTo>
                    <a:pt x="30" y="1204"/>
                  </a:lnTo>
                  <a:lnTo>
                    <a:pt x="17" y="1278"/>
                  </a:lnTo>
                  <a:lnTo>
                    <a:pt x="8" y="1354"/>
                  </a:lnTo>
                  <a:lnTo>
                    <a:pt x="2" y="1431"/>
                  </a:lnTo>
                  <a:lnTo>
                    <a:pt x="0" y="1509"/>
                  </a:lnTo>
                  <a:lnTo>
                    <a:pt x="2" y="1586"/>
                  </a:lnTo>
                  <a:lnTo>
                    <a:pt x="8" y="1663"/>
                  </a:lnTo>
                  <a:lnTo>
                    <a:pt x="17" y="1738"/>
                  </a:lnTo>
                  <a:lnTo>
                    <a:pt x="30" y="1812"/>
                  </a:lnTo>
                  <a:lnTo>
                    <a:pt x="48" y="1886"/>
                  </a:lnTo>
                  <a:lnTo>
                    <a:pt x="68" y="1957"/>
                  </a:lnTo>
                  <a:lnTo>
                    <a:pt x="92" y="2028"/>
                  </a:lnTo>
                  <a:lnTo>
                    <a:pt x="119" y="2096"/>
                  </a:lnTo>
                  <a:lnTo>
                    <a:pt x="149" y="2163"/>
                  </a:lnTo>
                  <a:lnTo>
                    <a:pt x="182" y="2228"/>
                  </a:lnTo>
                  <a:lnTo>
                    <a:pt x="219" y="2291"/>
                  </a:lnTo>
                  <a:lnTo>
                    <a:pt x="258" y="2352"/>
                  </a:lnTo>
                  <a:lnTo>
                    <a:pt x="300" y="2411"/>
                  </a:lnTo>
                  <a:lnTo>
                    <a:pt x="344" y="2468"/>
                  </a:lnTo>
                  <a:lnTo>
                    <a:pt x="393" y="2523"/>
                  </a:lnTo>
                  <a:lnTo>
                    <a:pt x="442" y="2575"/>
                  </a:lnTo>
                  <a:lnTo>
                    <a:pt x="494" y="2625"/>
                  </a:lnTo>
                  <a:lnTo>
                    <a:pt x="550" y="2673"/>
                  </a:lnTo>
                  <a:lnTo>
                    <a:pt x="606" y="2718"/>
                  </a:lnTo>
                  <a:lnTo>
                    <a:pt x="665" y="2760"/>
                  </a:lnTo>
                  <a:lnTo>
                    <a:pt x="727" y="2799"/>
                  </a:lnTo>
                  <a:lnTo>
                    <a:pt x="790" y="2836"/>
                  </a:lnTo>
                  <a:lnTo>
                    <a:pt x="856" y="2869"/>
                  </a:lnTo>
                  <a:lnTo>
                    <a:pt x="922" y="2899"/>
                  </a:lnTo>
                  <a:lnTo>
                    <a:pt x="990" y="2926"/>
                  </a:lnTo>
                  <a:lnTo>
                    <a:pt x="1061" y="2949"/>
                  </a:lnTo>
                  <a:lnTo>
                    <a:pt x="1132" y="2969"/>
                  </a:lnTo>
                  <a:lnTo>
                    <a:pt x="1206" y="2986"/>
                  </a:lnTo>
                  <a:lnTo>
                    <a:pt x="1280" y="2999"/>
                  </a:lnTo>
                  <a:lnTo>
                    <a:pt x="1356" y="3010"/>
                  </a:lnTo>
                  <a:lnTo>
                    <a:pt x="1432" y="3016"/>
                  </a:lnTo>
                  <a:lnTo>
                    <a:pt x="1510" y="30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87" name="ïšļiḑe">
              <a:extLst>
                <a:ext uri="{FF2B5EF4-FFF2-40B4-BE49-F238E27FC236}">
                  <a16:creationId xmlns:a16="http://schemas.microsoft.com/office/drawing/2014/main" id="{A0D28386-FF33-4D78-8B5E-05957FEB040A}"/>
                </a:ext>
              </a:extLst>
            </p:cNvPr>
            <p:cNvSpPr/>
            <p:nvPr/>
          </p:nvSpPr>
          <p:spPr bwMode="auto">
            <a:xfrm>
              <a:off x="3388314" y="34270"/>
              <a:ext cx="305223" cy="286279"/>
            </a:xfrm>
            <a:custGeom>
              <a:avLst/>
              <a:gdLst>
                <a:gd name="T0" fmla="*/ 12874 w 16095"/>
                <a:gd name="T1" fmla="*/ 4005 h 15096"/>
                <a:gd name="T2" fmla="*/ 12597 w 16095"/>
                <a:gd name="T3" fmla="*/ 3904 h 15096"/>
                <a:gd name="T4" fmla="*/ 12366 w 16095"/>
                <a:gd name="T5" fmla="*/ 3731 h 15096"/>
                <a:gd name="T6" fmla="*/ 12192 w 16095"/>
                <a:gd name="T7" fmla="*/ 3498 h 15096"/>
                <a:gd name="T8" fmla="*/ 12090 w 16095"/>
                <a:gd name="T9" fmla="*/ 3221 h 15096"/>
                <a:gd name="T10" fmla="*/ 12071 w 16095"/>
                <a:gd name="T11" fmla="*/ 1006 h 15096"/>
                <a:gd name="T12" fmla="*/ 15083 w 16095"/>
                <a:gd name="T13" fmla="*/ 13663 h 15096"/>
                <a:gd name="T14" fmla="*/ 15040 w 16095"/>
                <a:gd name="T15" fmla="*/ 13805 h 15096"/>
                <a:gd name="T16" fmla="*/ 14958 w 16095"/>
                <a:gd name="T17" fmla="*/ 13925 h 15096"/>
                <a:gd name="T18" fmla="*/ 14848 w 16095"/>
                <a:gd name="T19" fmla="*/ 14017 h 15096"/>
                <a:gd name="T20" fmla="*/ 14712 w 16095"/>
                <a:gd name="T21" fmla="*/ 14073 h 15096"/>
                <a:gd name="T22" fmla="*/ 1509 w 16095"/>
                <a:gd name="T23" fmla="*/ 14090 h 15096"/>
                <a:gd name="T24" fmla="*/ 1359 w 16095"/>
                <a:gd name="T25" fmla="*/ 14067 h 15096"/>
                <a:gd name="T26" fmla="*/ 1227 w 16095"/>
                <a:gd name="T27" fmla="*/ 14004 h 15096"/>
                <a:gd name="T28" fmla="*/ 1121 w 16095"/>
                <a:gd name="T29" fmla="*/ 13906 h 15096"/>
                <a:gd name="T30" fmla="*/ 1045 w 16095"/>
                <a:gd name="T31" fmla="*/ 13783 h 15096"/>
                <a:gd name="T32" fmla="*/ 1009 w 16095"/>
                <a:gd name="T33" fmla="*/ 13638 h 15096"/>
                <a:gd name="T34" fmla="*/ 1012 w 16095"/>
                <a:gd name="T35" fmla="*/ 1433 h 15096"/>
                <a:gd name="T36" fmla="*/ 1055 w 16095"/>
                <a:gd name="T37" fmla="*/ 1291 h 15096"/>
                <a:gd name="T38" fmla="*/ 1137 w 16095"/>
                <a:gd name="T39" fmla="*/ 1171 h 15096"/>
                <a:gd name="T40" fmla="*/ 1248 w 16095"/>
                <a:gd name="T41" fmla="*/ 1079 h 15096"/>
                <a:gd name="T42" fmla="*/ 1383 w 16095"/>
                <a:gd name="T43" fmla="*/ 1023 h 15096"/>
                <a:gd name="T44" fmla="*/ 11568 w 16095"/>
                <a:gd name="T45" fmla="*/ 1006 h 15096"/>
                <a:gd name="T46" fmla="*/ 11598 w 16095"/>
                <a:gd name="T47" fmla="*/ 3323 h 15096"/>
                <a:gd name="T48" fmla="*/ 11749 w 16095"/>
                <a:gd name="T49" fmla="*/ 3739 h 15096"/>
                <a:gd name="T50" fmla="*/ 12010 w 16095"/>
                <a:gd name="T51" fmla="*/ 4087 h 15096"/>
                <a:gd name="T52" fmla="*/ 12357 w 16095"/>
                <a:gd name="T53" fmla="*/ 4347 h 15096"/>
                <a:gd name="T54" fmla="*/ 12772 w 16095"/>
                <a:gd name="T55" fmla="*/ 4499 h 15096"/>
                <a:gd name="T56" fmla="*/ 15089 w 16095"/>
                <a:gd name="T57" fmla="*/ 4529 h 15096"/>
                <a:gd name="T58" fmla="*/ 12728 w 16095"/>
                <a:gd name="T59" fmla="*/ 244 h 15096"/>
                <a:gd name="T60" fmla="*/ 12608 w 16095"/>
                <a:gd name="T61" fmla="*/ 156 h 15096"/>
                <a:gd name="T62" fmla="*/ 12479 w 16095"/>
                <a:gd name="T63" fmla="*/ 87 h 15096"/>
                <a:gd name="T64" fmla="*/ 12340 w 16095"/>
                <a:gd name="T65" fmla="*/ 36 h 15096"/>
                <a:gd name="T66" fmla="*/ 12195 w 16095"/>
                <a:gd name="T67" fmla="*/ 8 h 15096"/>
                <a:gd name="T68" fmla="*/ 1509 w 16095"/>
                <a:gd name="T69" fmla="*/ 0 h 15096"/>
                <a:gd name="T70" fmla="*/ 1060 w 16095"/>
                <a:gd name="T71" fmla="*/ 68 h 15096"/>
                <a:gd name="T72" fmla="*/ 666 w 16095"/>
                <a:gd name="T73" fmla="*/ 259 h 15096"/>
                <a:gd name="T74" fmla="*/ 345 w 16095"/>
                <a:gd name="T75" fmla="*/ 549 h 15096"/>
                <a:gd name="T76" fmla="*/ 119 w 16095"/>
                <a:gd name="T77" fmla="*/ 923 h 15096"/>
                <a:gd name="T78" fmla="*/ 8 w 16095"/>
                <a:gd name="T79" fmla="*/ 1356 h 15096"/>
                <a:gd name="T80" fmla="*/ 17 w 16095"/>
                <a:gd name="T81" fmla="*/ 13816 h 15096"/>
                <a:gd name="T82" fmla="*/ 149 w 16095"/>
                <a:gd name="T83" fmla="*/ 14241 h 15096"/>
                <a:gd name="T84" fmla="*/ 392 w 16095"/>
                <a:gd name="T85" fmla="*/ 14601 h 15096"/>
                <a:gd name="T86" fmla="*/ 727 w 16095"/>
                <a:gd name="T87" fmla="*/ 14878 h 15096"/>
                <a:gd name="T88" fmla="*/ 1133 w 16095"/>
                <a:gd name="T89" fmla="*/ 15049 h 15096"/>
                <a:gd name="T90" fmla="*/ 14586 w 16095"/>
                <a:gd name="T91" fmla="*/ 15096 h 15096"/>
                <a:gd name="T92" fmla="*/ 15035 w 16095"/>
                <a:gd name="T93" fmla="*/ 15028 h 15096"/>
                <a:gd name="T94" fmla="*/ 15429 w 16095"/>
                <a:gd name="T95" fmla="*/ 14837 h 15096"/>
                <a:gd name="T96" fmla="*/ 15750 w 16095"/>
                <a:gd name="T97" fmla="*/ 14547 h 15096"/>
                <a:gd name="T98" fmla="*/ 15976 w 16095"/>
                <a:gd name="T99" fmla="*/ 14173 h 15096"/>
                <a:gd name="T100" fmla="*/ 16087 w 16095"/>
                <a:gd name="T101" fmla="*/ 13740 h 15096"/>
                <a:gd name="T102" fmla="*/ 16092 w 16095"/>
                <a:gd name="T103" fmla="*/ 3951 h 15096"/>
                <a:gd name="T104" fmla="*/ 16070 w 16095"/>
                <a:gd name="T105" fmla="*/ 3804 h 15096"/>
                <a:gd name="T106" fmla="*/ 16028 w 16095"/>
                <a:gd name="T107" fmla="*/ 3663 h 15096"/>
                <a:gd name="T108" fmla="*/ 15964 w 16095"/>
                <a:gd name="T109" fmla="*/ 3530 h 15096"/>
                <a:gd name="T110" fmla="*/ 15883 w 16095"/>
                <a:gd name="T111" fmla="*/ 3408 h 15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095" h="15096">
                  <a:moveTo>
                    <a:pt x="13579" y="4026"/>
                  </a:moveTo>
                  <a:lnTo>
                    <a:pt x="13076" y="4026"/>
                  </a:lnTo>
                  <a:lnTo>
                    <a:pt x="13025" y="4025"/>
                  </a:lnTo>
                  <a:lnTo>
                    <a:pt x="12974" y="4021"/>
                  </a:lnTo>
                  <a:lnTo>
                    <a:pt x="12923" y="4014"/>
                  </a:lnTo>
                  <a:lnTo>
                    <a:pt x="12874" y="4005"/>
                  </a:lnTo>
                  <a:lnTo>
                    <a:pt x="12826" y="3993"/>
                  </a:lnTo>
                  <a:lnTo>
                    <a:pt x="12777" y="3980"/>
                  </a:lnTo>
                  <a:lnTo>
                    <a:pt x="12731" y="3964"/>
                  </a:lnTo>
                  <a:lnTo>
                    <a:pt x="12685" y="3946"/>
                  </a:lnTo>
                  <a:lnTo>
                    <a:pt x="12641" y="3926"/>
                  </a:lnTo>
                  <a:lnTo>
                    <a:pt x="12597" y="3904"/>
                  </a:lnTo>
                  <a:lnTo>
                    <a:pt x="12555" y="3880"/>
                  </a:lnTo>
                  <a:lnTo>
                    <a:pt x="12515" y="3854"/>
                  </a:lnTo>
                  <a:lnTo>
                    <a:pt x="12475" y="3825"/>
                  </a:lnTo>
                  <a:lnTo>
                    <a:pt x="12437" y="3795"/>
                  </a:lnTo>
                  <a:lnTo>
                    <a:pt x="12400" y="3764"/>
                  </a:lnTo>
                  <a:lnTo>
                    <a:pt x="12366" y="3731"/>
                  </a:lnTo>
                  <a:lnTo>
                    <a:pt x="12332" y="3696"/>
                  </a:lnTo>
                  <a:lnTo>
                    <a:pt x="12301" y="3659"/>
                  </a:lnTo>
                  <a:lnTo>
                    <a:pt x="12270" y="3621"/>
                  </a:lnTo>
                  <a:lnTo>
                    <a:pt x="12242" y="3582"/>
                  </a:lnTo>
                  <a:lnTo>
                    <a:pt x="12216" y="3541"/>
                  </a:lnTo>
                  <a:lnTo>
                    <a:pt x="12192" y="3498"/>
                  </a:lnTo>
                  <a:lnTo>
                    <a:pt x="12170" y="3455"/>
                  </a:lnTo>
                  <a:lnTo>
                    <a:pt x="12150" y="3411"/>
                  </a:lnTo>
                  <a:lnTo>
                    <a:pt x="12132" y="3365"/>
                  </a:lnTo>
                  <a:lnTo>
                    <a:pt x="12116" y="3318"/>
                  </a:lnTo>
                  <a:lnTo>
                    <a:pt x="12102" y="3271"/>
                  </a:lnTo>
                  <a:lnTo>
                    <a:pt x="12090" y="3221"/>
                  </a:lnTo>
                  <a:lnTo>
                    <a:pt x="12082" y="3172"/>
                  </a:lnTo>
                  <a:lnTo>
                    <a:pt x="12075" y="3122"/>
                  </a:lnTo>
                  <a:lnTo>
                    <a:pt x="12071" y="3071"/>
                  </a:lnTo>
                  <a:lnTo>
                    <a:pt x="12070" y="3019"/>
                  </a:lnTo>
                  <a:lnTo>
                    <a:pt x="12071" y="3019"/>
                  </a:lnTo>
                  <a:lnTo>
                    <a:pt x="12071" y="1006"/>
                  </a:lnTo>
                  <a:lnTo>
                    <a:pt x="15089" y="4026"/>
                  </a:lnTo>
                  <a:lnTo>
                    <a:pt x="13579" y="4026"/>
                  </a:lnTo>
                  <a:close/>
                  <a:moveTo>
                    <a:pt x="15089" y="13586"/>
                  </a:moveTo>
                  <a:lnTo>
                    <a:pt x="15088" y="13613"/>
                  </a:lnTo>
                  <a:lnTo>
                    <a:pt x="15087" y="13638"/>
                  </a:lnTo>
                  <a:lnTo>
                    <a:pt x="15083" y="13663"/>
                  </a:lnTo>
                  <a:lnTo>
                    <a:pt x="15079" y="13688"/>
                  </a:lnTo>
                  <a:lnTo>
                    <a:pt x="15073" y="13712"/>
                  </a:lnTo>
                  <a:lnTo>
                    <a:pt x="15067" y="13736"/>
                  </a:lnTo>
                  <a:lnTo>
                    <a:pt x="15059" y="13760"/>
                  </a:lnTo>
                  <a:lnTo>
                    <a:pt x="15050" y="13783"/>
                  </a:lnTo>
                  <a:lnTo>
                    <a:pt x="15040" y="13805"/>
                  </a:lnTo>
                  <a:lnTo>
                    <a:pt x="15029" y="13827"/>
                  </a:lnTo>
                  <a:lnTo>
                    <a:pt x="15017" y="13847"/>
                  </a:lnTo>
                  <a:lnTo>
                    <a:pt x="15004" y="13868"/>
                  </a:lnTo>
                  <a:lnTo>
                    <a:pt x="14989" y="13887"/>
                  </a:lnTo>
                  <a:lnTo>
                    <a:pt x="14974" y="13906"/>
                  </a:lnTo>
                  <a:lnTo>
                    <a:pt x="14958" y="13925"/>
                  </a:lnTo>
                  <a:lnTo>
                    <a:pt x="14942" y="13943"/>
                  </a:lnTo>
                  <a:lnTo>
                    <a:pt x="14924" y="13959"/>
                  </a:lnTo>
                  <a:lnTo>
                    <a:pt x="14906" y="13975"/>
                  </a:lnTo>
                  <a:lnTo>
                    <a:pt x="14887" y="13990"/>
                  </a:lnTo>
                  <a:lnTo>
                    <a:pt x="14868" y="14004"/>
                  </a:lnTo>
                  <a:lnTo>
                    <a:pt x="14848" y="14017"/>
                  </a:lnTo>
                  <a:lnTo>
                    <a:pt x="14827" y="14029"/>
                  </a:lnTo>
                  <a:lnTo>
                    <a:pt x="14804" y="14040"/>
                  </a:lnTo>
                  <a:lnTo>
                    <a:pt x="14782" y="14050"/>
                  </a:lnTo>
                  <a:lnTo>
                    <a:pt x="14759" y="14059"/>
                  </a:lnTo>
                  <a:lnTo>
                    <a:pt x="14736" y="14067"/>
                  </a:lnTo>
                  <a:lnTo>
                    <a:pt x="14712" y="14073"/>
                  </a:lnTo>
                  <a:lnTo>
                    <a:pt x="14688" y="14080"/>
                  </a:lnTo>
                  <a:lnTo>
                    <a:pt x="14663" y="14084"/>
                  </a:lnTo>
                  <a:lnTo>
                    <a:pt x="14637" y="14087"/>
                  </a:lnTo>
                  <a:lnTo>
                    <a:pt x="14612" y="14089"/>
                  </a:lnTo>
                  <a:lnTo>
                    <a:pt x="14586" y="14090"/>
                  </a:lnTo>
                  <a:lnTo>
                    <a:pt x="1509" y="14090"/>
                  </a:lnTo>
                  <a:lnTo>
                    <a:pt x="1483" y="14089"/>
                  </a:lnTo>
                  <a:lnTo>
                    <a:pt x="1458" y="14087"/>
                  </a:lnTo>
                  <a:lnTo>
                    <a:pt x="1432" y="14084"/>
                  </a:lnTo>
                  <a:lnTo>
                    <a:pt x="1407" y="14080"/>
                  </a:lnTo>
                  <a:lnTo>
                    <a:pt x="1383" y="14073"/>
                  </a:lnTo>
                  <a:lnTo>
                    <a:pt x="1359" y="14067"/>
                  </a:lnTo>
                  <a:lnTo>
                    <a:pt x="1336" y="14059"/>
                  </a:lnTo>
                  <a:lnTo>
                    <a:pt x="1313" y="14050"/>
                  </a:lnTo>
                  <a:lnTo>
                    <a:pt x="1291" y="14040"/>
                  </a:lnTo>
                  <a:lnTo>
                    <a:pt x="1268" y="14029"/>
                  </a:lnTo>
                  <a:lnTo>
                    <a:pt x="1248" y="14017"/>
                  </a:lnTo>
                  <a:lnTo>
                    <a:pt x="1227" y="14004"/>
                  </a:lnTo>
                  <a:lnTo>
                    <a:pt x="1208" y="13990"/>
                  </a:lnTo>
                  <a:lnTo>
                    <a:pt x="1189" y="13975"/>
                  </a:lnTo>
                  <a:lnTo>
                    <a:pt x="1171" y="13959"/>
                  </a:lnTo>
                  <a:lnTo>
                    <a:pt x="1153" y="13943"/>
                  </a:lnTo>
                  <a:lnTo>
                    <a:pt x="1137" y="13925"/>
                  </a:lnTo>
                  <a:lnTo>
                    <a:pt x="1121" y="13906"/>
                  </a:lnTo>
                  <a:lnTo>
                    <a:pt x="1106" y="13887"/>
                  </a:lnTo>
                  <a:lnTo>
                    <a:pt x="1091" y="13868"/>
                  </a:lnTo>
                  <a:lnTo>
                    <a:pt x="1078" y="13847"/>
                  </a:lnTo>
                  <a:lnTo>
                    <a:pt x="1066" y="13827"/>
                  </a:lnTo>
                  <a:lnTo>
                    <a:pt x="1055" y="13805"/>
                  </a:lnTo>
                  <a:lnTo>
                    <a:pt x="1045" y="13783"/>
                  </a:lnTo>
                  <a:lnTo>
                    <a:pt x="1036" y="13760"/>
                  </a:lnTo>
                  <a:lnTo>
                    <a:pt x="1029" y="13736"/>
                  </a:lnTo>
                  <a:lnTo>
                    <a:pt x="1022" y="13712"/>
                  </a:lnTo>
                  <a:lnTo>
                    <a:pt x="1016" y="13688"/>
                  </a:lnTo>
                  <a:lnTo>
                    <a:pt x="1012" y="13663"/>
                  </a:lnTo>
                  <a:lnTo>
                    <a:pt x="1009" y="13638"/>
                  </a:lnTo>
                  <a:lnTo>
                    <a:pt x="1007" y="13613"/>
                  </a:lnTo>
                  <a:lnTo>
                    <a:pt x="1006" y="13586"/>
                  </a:lnTo>
                  <a:lnTo>
                    <a:pt x="1006" y="1510"/>
                  </a:lnTo>
                  <a:lnTo>
                    <a:pt x="1007" y="1483"/>
                  </a:lnTo>
                  <a:lnTo>
                    <a:pt x="1009" y="1458"/>
                  </a:lnTo>
                  <a:lnTo>
                    <a:pt x="1012" y="1433"/>
                  </a:lnTo>
                  <a:lnTo>
                    <a:pt x="1016" y="1408"/>
                  </a:lnTo>
                  <a:lnTo>
                    <a:pt x="1022" y="1384"/>
                  </a:lnTo>
                  <a:lnTo>
                    <a:pt x="1029" y="1360"/>
                  </a:lnTo>
                  <a:lnTo>
                    <a:pt x="1036" y="1336"/>
                  </a:lnTo>
                  <a:lnTo>
                    <a:pt x="1045" y="1313"/>
                  </a:lnTo>
                  <a:lnTo>
                    <a:pt x="1055" y="1291"/>
                  </a:lnTo>
                  <a:lnTo>
                    <a:pt x="1066" y="1270"/>
                  </a:lnTo>
                  <a:lnTo>
                    <a:pt x="1078" y="1249"/>
                  </a:lnTo>
                  <a:lnTo>
                    <a:pt x="1091" y="1228"/>
                  </a:lnTo>
                  <a:lnTo>
                    <a:pt x="1106" y="1209"/>
                  </a:lnTo>
                  <a:lnTo>
                    <a:pt x="1121" y="1190"/>
                  </a:lnTo>
                  <a:lnTo>
                    <a:pt x="1137" y="1171"/>
                  </a:lnTo>
                  <a:lnTo>
                    <a:pt x="1153" y="1153"/>
                  </a:lnTo>
                  <a:lnTo>
                    <a:pt x="1171" y="1137"/>
                  </a:lnTo>
                  <a:lnTo>
                    <a:pt x="1189" y="1121"/>
                  </a:lnTo>
                  <a:lnTo>
                    <a:pt x="1208" y="1106"/>
                  </a:lnTo>
                  <a:lnTo>
                    <a:pt x="1227" y="1092"/>
                  </a:lnTo>
                  <a:lnTo>
                    <a:pt x="1248" y="1079"/>
                  </a:lnTo>
                  <a:lnTo>
                    <a:pt x="1268" y="1067"/>
                  </a:lnTo>
                  <a:lnTo>
                    <a:pt x="1291" y="1056"/>
                  </a:lnTo>
                  <a:lnTo>
                    <a:pt x="1313" y="1046"/>
                  </a:lnTo>
                  <a:lnTo>
                    <a:pt x="1336" y="1037"/>
                  </a:lnTo>
                  <a:lnTo>
                    <a:pt x="1359" y="1030"/>
                  </a:lnTo>
                  <a:lnTo>
                    <a:pt x="1383" y="1023"/>
                  </a:lnTo>
                  <a:lnTo>
                    <a:pt x="1407" y="1016"/>
                  </a:lnTo>
                  <a:lnTo>
                    <a:pt x="1432" y="1012"/>
                  </a:lnTo>
                  <a:lnTo>
                    <a:pt x="1458" y="1009"/>
                  </a:lnTo>
                  <a:lnTo>
                    <a:pt x="1483" y="1007"/>
                  </a:lnTo>
                  <a:lnTo>
                    <a:pt x="1509" y="1006"/>
                  </a:lnTo>
                  <a:lnTo>
                    <a:pt x="11568" y="1006"/>
                  </a:lnTo>
                  <a:lnTo>
                    <a:pt x="11568" y="3019"/>
                  </a:lnTo>
                  <a:lnTo>
                    <a:pt x="11567" y="3019"/>
                  </a:lnTo>
                  <a:lnTo>
                    <a:pt x="11569" y="3097"/>
                  </a:lnTo>
                  <a:lnTo>
                    <a:pt x="11575" y="3173"/>
                  </a:lnTo>
                  <a:lnTo>
                    <a:pt x="11584" y="3249"/>
                  </a:lnTo>
                  <a:lnTo>
                    <a:pt x="11598" y="3323"/>
                  </a:lnTo>
                  <a:lnTo>
                    <a:pt x="11615" y="3397"/>
                  </a:lnTo>
                  <a:lnTo>
                    <a:pt x="11636" y="3468"/>
                  </a:lnTo>
                  <a:lnTo>
                    <a:pt x="11659" y="3539"/>
                  </a:lnTo>
                  <a:lnTo>
                    <a:pt x="11686" y="3607"/>
                  </a:lnTo>
                  <a:lnTo>
                    <a:pt x="11716" y="3673"/>
                  </a:lnTo>
                  <a:lnTo>
                    <a:pt x="11749" y="3739"/>
                  </a:lnTo>
                  <a:lnTo>
                    <a:pt x="11786" y="3802"/>
                  </a:lnTo>
                  <a:lnTo>
                    <a:pt x="11825" y="3864"/>
                  </a:lnTo>
                  <a:lnTo>
                    <a:pt x="11867" y="3922"/>
                  </a:lnTo>
                  <a:lnTo>
                    <a:pt x="11912" y="3979"/>
                  </a:lnTo>
                  <a:lnTo>
                    <a:pt x="11960" y="4035"/>
                  </a:lnTo>
                  <a:lnTo>
                    <a:pt x="12010" y="4087"/>
                  </a:lnTo>
                  <a:lnTo>
                    <a:pt x="12062" y="4136"/>
                  </a:lnTo>
                  <a:lnTo>
                    <a:pt x="12117" y="4184"/>
                  </a:lnTo>
                  <a:lnTo>
                    <a:pt x="12174" y="4229"/>
                  </a:lnTo>
                  <a:lnTo>
                    <a:pt x="12233" y="4271"/>
                  </a:lnTo>
                  <a:lnTo>
                    <a:pt x="12295" y="4310"/>
                  </a:lnTo>
                  <a:lnTo>
                    <a:pt x="12357" y="4347"/>
                  </a:lnTo>
                  <a:lnTo>
                    <a:pt x="12422" y="4380"/>
                  </a:lnTo>
                  <a:lnTo>
                    <a:pt x="12490" y="4410"/>
                  </a:lnTo>
                  <a:lnTo>
                    <a:pt x="12558" y="4437"/>
                  </a:lnTo>
                  <a:lnTo>
                    <a:pt x="12628" y="4461"/>
                  </a:lnTo>
                  <a:lnTo>
                    <a:pt x="12700" y="4481"/>
                  </a:lnTo>
                  <a:lnTo>
                    <a:pt x="12772" y="4499"/>
                  </a:lnTo>
                  <a:lnTo>
                    <a:pt x="12847" y="4512"/>
                  </a:lnTo>
                  <a:lnTo>
                    <a:pt x="12922" y="4521"/>
                  </a:lnTo>
                  <a:lnTo>
                    <a:pt x="12999" y="4527"/>
                  </a:lnTo>
                  <a:lnTo>
                    <a:pt x="13076" y="4529"/>
                  </a:lnTo>
                  <a:lnTo>
                    <a:pt x="13579" y="4529"/>
                  </a:lnTo>
                  <a:lnTo>
                    <a:pt x="15089" y="4529"/>
                  </a:lnTo>
                  <a:lnTo>
                    <a:pt x="15089" y="13586"/>
                  </a:lnTo>
                  <a:close/>
                  <a:moveTo>
                    <a:pt x="15800" y="3314"/>
                  </a:moveTo>
                  <a:lnTo>
                    <a:pt x="12782" y="295"/>
                  </a:lnTo>
                  <a:lnTo>
                    <a:pt x="12764" y="278"/>
                  </a:lnTo>
                  <a:lnTo>
                    <a:pt x="12746" y="261"/>
                  </a:lnTo>
                  <a:lnTo>
                    <a:pt x="12728" y="244"/>
                  </a:lnTo>
                  <a:lnTo>
                    <a:pt x="12709" y="228"/>
                  </a:lnTo>
                  <a:lnTo>
                    <a:pt x="12690" y="212"/>
                  </a:lnTo>
                  <a:lnTo>
                    <a:pt x="12670" y="197"/>
                  </a:lnTo>
                  <a:lnTo>
                    <a:pt x="12650" y="183"/>
                  </a:lnTo>
                  <a:lnTo>
                    <a:pt x="12630" y="169"/>
                  </a:lnTo>
                  <a:lnTo>
                    <a:pt x="12608" y="156"/>
                  </a:lnTo>
                  <a:lnTo>
                    <a:pt x="12587" y="143"/>
                  </a:lnTo>
                  <a:lnTo>
                    <a:pt x="12566" y="131"/>
                  </a:lnTo>
                  <a:lnTo>
                    <a:pt x="12545" y="119"/>
                  </a:lnTo>
                  <a:lnTo>
                    <a:pt x="12523" y="108"/>
                  </a:lnTo>
                  <a:lnTo>
                    <a:pt x="12501" y="97"/>
                  </a:lnTo>
                  <a:lnTo>
                    <a:pt x="12479" y="87"/>
                  </a:lnTo>
                  <a:lnTo>
                    <a:pt x="12457" y="76"/>
                  </a:lnTo>
                  <a:lnTo>
                    <a:pt x="12433" y="67"/>
                  </a:lnTo>
                  <a:lnTo>
                    <a:pt x="12410" y="59"/>
                  </a:lnTo>
                  <a:lnTo>
                    <a:pt x="12387" y="51"/>
                  </a:lnTo>
                  <a:lnTo>
                    <a:pt x="12364" y="43"/>
                  </a:lnTo>
                  <a:lnTo>
                    <a:pt x="12340" y="36"/>
                  </a:lnTo>
                  <a:lnTo>
                    <a:pt x="12317" y="30"/>
                  </a:lnTo>
                  <a:lnTo>
                    <a:pt x="12293" y="25"/>
                  </a:lnTo>
                  <a:lnTo>
                    <a:pt x="12268" y="19"/>
                  </a:lnTo>
                  <a:lnTo>
                    <a:pt x="12244" y="15"/>
                  </a:lnTo>
                  <a:lnTo>
                    <a:pt x="12220" y="11"/>
                  </a:lnTo>
                  <a:lnTo>
                    <a:pt x="12195" y="8"/>
                  </a:lnTo>
                  <a:lnTo>
                    <a:pt x="12171" y="5"/>
                  </a:lnTo>
                  <a:lnTo>
                    <a:pt x="12146" y="3"/>
                  </a:lnTo>
                  <a:lnTo>
                    <a:pt x="12122" y="1"/>
                  </a:lnTo>
                  <a:lnTo>
                    <a:pt x="12096" y="0"/>
                  </a:lnTo>
                  <a:lnTo>
                    <a:pt x="12071" y="0"/>
                  </a:lnTo>
                  <a:lnTo>
                    <a:pt x="1509" y="0"/>
                  </a:lnTo>
                  <a:lnTo>
                    <a:pt x="1431" y="2"/>
                  </a:lnTo>
                  <a:lnTo>
                    <a:pt x="1355" y="8"/>
                  </a:lnTo>
                  <a:lnTo>
                    <a:pt x="1280" y="17"/>
                  </a:lnTo>
                  <a:lnTo>
                    <a:pt x="1205" y="31"/>
                  </a:lnTo>
                  <a:lnTo>
                    <a:pt x="1133" y="47"/>
                  </a:lnTo>
                  <a:lnTo>
                    <a:pt x="1060" y="68"/>
                  </a:lnTo>
                  <a:lnTo>
                    <a:pt x="991" y="92"/>
                  </a:lnTo>
                  <a:lnTo>
                    <a:pt x="922" y="119"/>
                  </a:lnTo>
                  <a:lnTo>
                    <a:pt x="855" y="149"/>
                  </a:lnTo>
                  <a:lnTo>
                    <a:pt x="791" y="182"/>
                  </a:lnTo>
                  <a:lnTo>
                    <a:pt x="727" y="218"/>
                  </a:lnTo>
                  <a:lnTo>
                    <a:pt x="666" y="259"/>
                  </a:lnTo>
                  <a:lnTo>
                    <a:pt x="607" y="300"/>
                  </a:lnTo>
                  <a:lnTo>
                    <a:pt x="549" y="345"/>
                  </a:lnTo>
                  <a:lnTo>
                    <a:pt x="495" y="392"/>
                  </a:lnTo>
                  <a:lnTo>
                    <a:pt x="443" y="443"/>
                  </a:lnTo>
                  <a:lnTo>
                    <a:pt x="392" y="495"/>
                  </a:lnTo>
                  <a:lnTo>
                    <a:pt x="345" y="549"/>
                  </a:lnTo>
                  <a:lnTo>
                    <a:pt x="300" y="607"/>
                  </a:lnTo>
                  <a:lnTo>
                    <a:pt x="259" y="666"/>
                  </a:lnTo>
                  <a:lnTo>
                    <a:pt x="218" y="728"/>
                  </a:lnTo>
                  <a:lnTo>
                    <a:pt x="182" y="791"/>
                  </a:lnTo>
                  <a:lnTo>
                    <a:pt x="149" y="855"/>
                  </a:lnTo>
                  <a:lnTo>
                    <a:pt x="119" y="923"/>
                  </a:lnTo>
                  <a:lnTo>
                    <a:pt x="92" y="991"/>
                  </a:lnTo>
                  <a:lnTo>
                    <a:pt x="68" y="1061"/>
                  </a:lnTo>
                  <a:lnTo>
                    <a:pt x="47" y="1133"/>
                  </a:lnTo>
                  <a:lnTo>
                    <a:pt x="31" y="1206"/>
                  </a:lnTo>
                  <a:lnTo>
                    <a:pt x="17" y="1280"/>
                  </a:lnTo>
                  <a:lnTo>
                    <a:pt x="8" y="1356"/>
                  </a:lnTo>
                  <a:lnTo>
                    <a:pt x="2" y="1432"/>
                  </a:lnTo>
                  <a:lnTo>
                    <a:pt x="0" y="1510"/>
                  </a:lnTo>
                  <a:lnTo>
                    <a:pt x="0" y="13586"/>
                  </a:lnTo>
                  <a:lnTo>
                    <a:pt x="2" y="13664"/>
                  </a:lnTo>
                  <a:lnTo>
                    <a:pt x="8" y="13740"/>
                  </a:lnTo>
                  <a:lnTo>
                    <a:pt x="17" y="13816"/>
                  </a:lnTo>
                  <a:lnTo>
                    <a:pt x="31" y="13890"/>
                  </a:lnTo>
                  <a:lnTo>
                    <a:pt x="47" y="13963"/>
                  </a:lnTo>
                  <a:lnTo>
                    <a:pt x="68" y="14035"/>
                  </a:lnTo>
                  <a:lnTo>
                    <a:pt x="92" y="14105"/>
                  </a:lnTo>
                  <a:lnTo>
                    <a:pt x="119" y="14173"/>
                  </a:lnTo>
                  <a:lnTo>
                    <a:pt x="149" y="14241"/>
                  </a:lnTo>
                  <a:lnTo>
                    <a:pt x="182" y="14305"/>
                  </a:lnTo>
                  <a:lnTo>
                    <a:pt x="218" y="14368"/>
                  </a:lnTo>
                  <a:lnTo>
                    <a:pt x="259" y="14430"/>
                  </a:lnTo>
                  <a:lnTo>
                    <a:pt x="300" y="14489"/>
                  </a:lnTo>
                  <a:lnTo>
                    <a:pt x="345" y="14547"/>
                  </a:lnTo>
                  <a:lnTo>
                    <a:pt x="392" y="14601"/>
                  </a:lnTo>
                  <a:lnTo>
                    <a:pt x="443" y="14653"/>
                  </a:lnTo>
                  <a:lnTo>
                    <a:pt x="495" y="14704"/>
                  </a:lnTo>
                  <a:lnTo>
                    <a:pt x="549" y="14751"/>
                  </a:lnTo>
                  <a:lnTo>
                    <a:pt x="607" y="14796"/>
                  </a:lnTo>
                  <a:lnTo>
                    <a:pt x="666" y="14837"/>
                  </a:lnTo>
                  <a:lnTo>
                    <a:pt x="727" y="14878"/>
                  </a:lnTo>
                  <a:lnTo>
                    <a:pt x="791" y="14914"/>
                  </a:lnTo>
                  <a:lnTo>
                    <a:pt x="855" y="14947"/>
                  </a:lnTo>
                  <a:lnTo>
                    <a:pt x="922" y="14977"/>
                  </a:lnTo>
                  <a:lnTo>
                    <a:pt x="991" y="15004"/>
                  </a:lnTo>
                  <a:lnTo>
                    <a:pt x="1060" y="15028"/>
                  </a:lnTo>
                  <a:lnTo>
                    <a:pt x="1133" y="15049"/>
                  </a:lnTo>
                  <a:lnTo>
                    <a:pt x="1205" y="15065"/>
                  </a:lnTo>
                  <a:lnTo>
                    <a:pt x="1280" y="15079"/>
                  </a:lnTo>
                  <a:lnTo>
                    <a:pt x="1355" y="15088"/>
                  </a:lnTo>
                  <a:lnTo>
                    <a:pt x="1431" y="15094"/>
                  </a:lnTo>
                  <a:lnTo>
                    <a:pt x="1509" y="15096"/>
                  </a:lnTo>
                  <a:lnTo>
                    <a:pt x="14586" y="15096"/>
                  </a:lnTo>
                  <a:lnTo>
                    <a:pt x="14664" y="15094"/>
                  </a:lnTo>
                  <a:lnTo>
                    <a:pt x="14740" y="15088"/>
                  </a:lnTo>
                  <a:lnTo>
                    <a:pt x="14815" y="15079"/>
                  </a:lnTo>
                  <a:lnTo>
                    <a:pt x="14890" y="15065"/>
                  </a:lnTo>
                  <a:lnTo>
                    <a:pt x="14962" y="15049"/>
                  </a:lnTo>
                  <a:lnTo>
                    <a:pt x="15035" y="15028"/>
                  </a:lnTo>
                  <a:lnTo>
                    <a:pt x="15104" y="15004"/>
                  </a:lnTo>
                  <a:lnTo>
                    <a:pt x="15173" y="14977"/>
                  </a:lnTo>
                  <a:lnTo>
                    <a:pt x="15240" y="14947"/>
                  </a:lnTo>
                  <a:lnTo>
                    <a:pt x="15304" y="14914"/>
                  </a:lnTo>
                  <a:lnTo>
                    <a:pt x="15368" y="14878"/>
                  </a:lnTo>
                  <a:lnTo>
                    <a:pt x="15429" y="14837"/>
                  </a:lnTo>
                  <a:lnTo>
                    <a:pt x="15488" y="14796"/>
                  </a:lnTo>
                  <a:lnTo>
                    <a:pt x="15546" y="14751"/>
                  </a:lnTo>
                  <a:lnTo>
                    <a:pt x="15600" y="14704"/>
                  </a:lnTo>
                  <a:lnTo>
                    <a:pt x="15652" y="14653"/>
                  </a:lnTo>
                  <a:lnTo>
                    <a:pt x="15703" y="14601"/>
                  </a:lnTo>
                  <a:lnTo>
                    <a:pt x="15750" y="14547"/>
                  </a:lnTo>
                  <a:lnTo>
                    <a:pt x="15795" y="14489"/>
                  </a:lnTo>
                  <a:lnTo>
                    <a:pt x="15836" y="14430"/>
                  </a:lnTo>
                  <a:lnTo>
                    <a:pt x="15877" y="14368"/>
                  </a:lnTo>
                  <a:lnTo>
                    <a:pt x="15913" y="14305"/>
                  </a:lnTo>
                  <a:lnTo>
                    <a:pt x="15946" y="14241"/>
                  </a:lnTo>
                  <a:lnTo>
                    <a:pt x="15976" y="14173"/>
                  </a:lnTo>
                  <a:lnTo>
                    <a:pt x="16003" y="14105"/>
                  </a:lnTo>
                  <a:lnTo>
                    <a:pt x="16027" y="14035"/>
                  </a:lnTo>
                  <a:lnTo>
                    <a:pt x="16048" y="13963"/>
                  </a:lnTo>
                  <a:lnTo>
                    <a:pt x="16064" y="13890"/>
                  </a:lnTo>
                  <a:lnTo>
                    <a:pt x="16078" y="13816"/>
                  </a:lnTo>
                  <a:lnTo>
                    <a:pt x="16087" y="13740"/>
                  </a:lnTo>
                  <a:lnTo>
                    <a:pt x="16093" y="13664"/>
                  </a:lnTo>
                  <a:lnTo>
                    <a:pt x="16095" y="13586"/>
                  </a:lnTo>
                  <a:lnTo>
                    <a:pt x="16095" y="4026"/>
                  </a:lnTo>
                  <a:lnTo>
                    <a:pt x="16095" y="4000"/>
                  </a:lnTo>
                  <a:lnTo>
                    <a:pt x="16094" y="3975"/>
                  </a:lnTo>
                  <a:lnTo>
                    <a:pt x="16092" y="3951"/>
                  </a:lnTo>
                  <a:lnTo>
                    <a:pt x="16090" y="3926"/>
                  </a:lnTo>
                  <a:lnTo>
                    <a:pt x="16087" y="3902"/>
                  </a:lnTo>
                  <a:lnTo>
                    <a:pt x="16084" y="3877"/>
                  </a:lnTo>
                  <a:lnTo>
                    <a:pt x="16080" y="3852"/>
                  </a:lnTo>
                  <a:lnTo>
                    <a:pt x="16076" y="3828"/>
                  </a:lnTo>
                  <a:lnTo>
                    <a:pt x="16070" y="3804"/>
                  </a:lnTo>
                  <a:lnTo>
                    <a:pt x="16065" y="3780"/>
                  </a:lnTo>
                  <a:lnTo>
                    <a:pt x="16059" y="3757"/>
                  </a:lnTo>
                  <a:lnTo>
                    <a:pt x="16052" y="3733"/>
                  </a:lnTo>
                  <a:lnTo>
                    <a:pt x="16044" y="3710"/>
                  </a:lnTo>
                  <a:lnTo>
                    <a:pt x="16036" y="3686"/>
                  </a:lnTo>
                  <a:lnTo>
                    <a:pt x="16028" y="3663"/>
                  </a:lnTo>
                  <a:lnTo>
                    <a:pt x="16019" y="3641"/>
                  </a:lnTo>
                  <a:lnTo>
                    <a:pt x="16008" y="3618"/>
                  </a:lnTo>
                  <a:lnTo>
                    <a:pt x="15998" y="3596"/>
                  </a:lnTo>
                  <a:lnTo>
                    <a:pt x="15987" y="3574"/>
                  </a:lnTo>
                  <a:lnTo>
                    <a:pt x="15976" y="3552"/>
                  </a:lnTo>
                  <a:lnTo>
                    <a:pt x="15964" y="3530"/>
                  </a:lnTo>
                  <a:lnTo>
                    <a:pt x="15952" y="3509"/>
                  </a:lnTo>
                  <a:lnTo>
                    <a:pt x="15939" y="3488"/>
                  </a:lnTo>
                  <a:lnTo>
                    <a:pt x="15926" y="3467"/>
                  </a:lnTo>
                  <a:lnTo>
                    <a:pt x="15912" y="3447"/>
                  </a:lnTo>
                  <a:lnTo>
                    <a:pt x="15898" y="3427"/>
                  </a:lnTo>
                  <a:lnTo>
                    <a:pt x="15883" y="3408"/>
                  </a:lnTo>
                  <a:lnTo>
                    <a:pt x="15867" y="3388"/>
                  </a:lnTo>
                  <a:lnTo>
                    <a:pt x="15852" y="3368"/>
                  </a:lnTo>
                  <a:lnTo>
                    <a:pt x="15834" y="3350"/>
                  </a:lnTo>
                  <a:lnTo>
                    <a:pt x="15817" y="3332"/>
                  </a:lnTo>
                  <a:lnTo>
                    <a:pt x="15800" y="33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5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88" name="i$ļíďè">
              <a:extLst>
                <a:ext uri="{FF2B5EF4-FFF2-40B4-BE49-F238E27FC236}">
                  <a16:creationId xmlns:a16="http://schemas.microsoft.com/office/drawing/2014/main" id="{5148362C-27D5-46F1-8007-D6B6CA15F1FC}"/>
                </a:ext>
              </a:extLst>
            </p:cNvPr>
            <p:cNvSpPr/>
            <p:nvPr/>
          </p:nvSpPr>
          <p:spPr bwMode="auto">
            <a:xfrm>
              <a:off x="3531453" y="91806"/>
              <a:ext cx="56834" cy="9122"/>
            </a:xfrm>
            <a:custGeom>
              <a:avLst/>
              <a:gdLst>
                <a:gd name="T0" fmla="*/ 2779 w 3017"/>
                <a:gd name="T1" fmla="*/ 503 h 503"/>
                <a:gd name="T2" fmla="*/ 2816 w 3017"/>
                <a:gd name="T3" fmla="*/ 498 h 503"/>
                <a:gd name="T4" fmla="*/ 2852 w 3017"/>
                <a:gd name="T5" fmla="*/ 488 h 503"/>
                <a:gd name="T6" fmla="*/ 2886 w 3017"/>
                <a:gd name="T7" fmla="*/ 473 h 503"/>
                <a:gd name="T8" fmla="*/ 2917 w 3017"/>
                <a:gd name="T9" fmla="*/ 453 h 503"/>
                <a:gd name="T10" fmla="*/ 2944 w 3017"/>
                <a:gd name="T11" fmla="*/ 430 h 503"/>
                <a:gd name="T12" fmla="*/ 2967 w 3017"/>
                <a:gd name="T13" fmla="*/ 403 h 503"/>
                <a:gd name="T14" fmla="*/ 2987 w 3017"/>
                <a:gd name="T15" fmla="*/ 372 h 503"/>
                <a:gd name="T16" fmla="*/ 3002 w 3017"/>
                <a:gd name="T17" fmla="*/ 338 h 503"/>
                <a:gd name="T18" fmla="*/ 3012 w 3017"/>
                <a:gd name="T19" fmla="*/ 302 h 503"/>
                <a:gd name="T20" fmla="*/ 3017 w 3017"/>
                <a:gd name="T21" fmla="*/ 265 h 503"/>
                <a:gd name="T22" fmla="*/ 3016 w 3017"/>
                <a:gd name="T23" fmla="*/ 227 h 503"/>
                <a:gd name="T24" fmla="*/ 3009 w 3017"/>
                <a:gd name="T25" fmla="*/ 189 h 503"/>
                <a:gd name="T26" fmla="*/ 2997 w 3017"/>
                <a:gd name="T27" fmla="*/ 154 h 503"/>
                <a:gd name="T28" fmla="*/ 2981 w 3017"/>
                <a:gd name="T29" fmla="*/ 121 h 503"/>
                <a:gd name="T30" fmla="*/ 2960 w 3017"/>
                <a:gd name="T31" fmla="*/ 92 h 503"/>
                <a:gd name="T32" fmla="*/ 2935 w 3017"/>
                <a:gd name="T33" fmla="*/ 66 h 503"/>
                <a:gd name="T34" fmla="*/ 2907 w 3017"/>
                <a:gd name="T35" fmla="*/ 43 h 503"/>
                <a:gd name="T36" fmla="*/ 2875 w 3017"/>
                <a:gd name="T37" fmla="*/ 25 h 503"/>
                <a:gd name="T38" fmla="*/ 2840 w 3017"/>
                <a:gd name="T39" fmla="*/ 11 h 503"/>
                <a:gd name="T40" fmla="*/ 2804 w 3017"/>
                <a:gd name="T41" fmla="*/ 3 h 503"/>
                <a:gd name="T42" fmla="*/ 2766 w 3017"/>
                <a:gd name="T43" fmla="*/ 0 h 503"/>
                <a:gd name="T44" fmla="*/ 226 w 3017"/>
                <a:gd name="T45" fmla="*/ 1 h 503"/>
                <a:gd name="T46" fmla="*/ 189 w 3017"/>
                <a:gd name="T47" fmla="*/ 8 h 503"/>
                <a:gd name="T48" fmla="*/ 153 w 3017"/>
                <a:gd name="T49" fmla="*/ 20 h 503"/>
                <a:gd name="T50" fmla="*/ 121 w 3017"/>
                <a:gd name="T51" fmla="*/ 36 h 503"/>
                <a:gd name="T52" fmla="*/ 91 w 3017"/>
                <a:gd name="T53" fmla="*/ 58 h 503"/>
                <a:gd name="T54" fmla="*/ 65 w 3017"/>
                <a:gd name="T55" fmla="*/ 83 h 503"/>
                <a:gd name="T56" fmla="*/ 43 w 3017"/>
                <a:gd name="T57" fmla="*/ 111 h 503"/>
                <a:gd name="T58" fmla="*/ 25 w 3017"/>
                <a:gd name="T59" fmla="*/ 143 h 503"/>
                <a:gd name="T60" fmla="*/ 11 w 3017"/>
                <a:gd name="T61" fmla="*/ 177 h 503"/>
                <a:gd name="T62" fmla="*/ 3 w 3017"/>
                <a:gd name="T63" fmla="*/ 214 h 503"/>
                <a:gd name="T64" fmla="*/ 0 w 3017"/>
                <a:gd name="T65" fmla="*/ 252 h 503"/>
                <a:gd name="T66" fmla="*/ 3 w 3017"/>
                <a:gd name="T67" fmla="*/ 290 h 503"/>
                <a:gd name="T68" fmla="*/ 11 w 3017"/>
                <a:gd name="T69" fmla="*/ 326 h 503"/>
                <a:gd name="T70" fmla="*/ 25 w 3017"/>
                <a:gd name="T71" fmla="*/ 360 h 503"/>
                <a:gd name="T72" fmla="*/ 43 w 3017"/>
                <a:gd name="T73" fmla="*/ 393 h 503"/>
                <a:gd name="T74" fmla="*/ 65 w 3017"/>
                <a:gd name="T75" fmla="*/ 421 h 503"/>
                <a:gd name="T76" fmla="*/ 91 w 3017"/>
                <a:gd name="T77" fmla="*/ 446 h 503"/>
                <a:gd name="T78" fmla="*/ 121 w 3017"/>
                <a:gd name="T79" fmla="*/ 467 h 503"/>
                <a:gd name="T80" fmla="*/ 153 w 3017"/>
                <a:gd name="T81" fmla="*/ 483 h 503"/>
                <a:gd name="T82" fmla="*/ 189 w 3017"/>
                <a:gd name="T83" fmla="*/ 495 h 503"/>
                <a:gd name="T84" fmla="*/ 226 w 3017"/>
                <a:gd name="T85" fmla="*/ 50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17" h="503">
                  <a:moveTo>
                    <a:pt x="251" y="503"/>
                  </a:moveTo>
                  <a:lnTo>
                    <a:pt x="2766" y="503"/>
                  </a:lnTo>
                  <a:lnTo>
                    <a:pt x="2779" y="503"/>
                  </a:lnTo>
                  <a:lnTo>
                    <a:pt x="2792" y="502"/>
                  </a:lnTo>
                  <a:lnTo>
                    <a:pt x="2804" y="500"/>
                  </a:lnTo>
                  <a:lnTo>
                    <a:pt x="2816" y="498"/>
                  </a:lnTo>
                  <a:lnTo>
                    <a:pt x="2829" y="495"/>
                  </a:lnTo>
                  <a:lnTo>
                    <a:pt x="2840" y="492"/>
                  </a:lnTo>
                  <a:lnTo>
                    <a:pt x="2852" y="488"/>
                  </a:lnTo>
                  <a:lnTo>
                    <a:pt x="2863" y="483"/>
                  </a:lnTo>
                  <a:lnTo>
                    <a:pt x="2875" y="478"/>
                  </a:lnTo>
                  <a:lnTo>
                    <a:pt x="2886" y="473"/>
                  </a:lnTo>
                  <a:lnTo>
                    <a:pt x="2897" y="467"/>
                  </a:lnTo>
                  <a:lnTo>
                    <a:pt x="2907" y="460"/>
                  </a:lnTo>
                  <a:lnTo>
                    <a:pt x="2917" y="453"/>
                  </a:lnTo>
                  <a:lnTo>
                    <a:pt x="2926" y="446"/>
                  </a:lnTo>
                  <a:lnTo>
                    <a:pt x="2935" y="438"/>
                  </a:lnTo>
                  <a:lnTo>
                    <a:pt x="2944" y="430"/>
                  </a:lnTo>
                  <a:lnTo>
                    <a:pt x="2952" y="421"/>
                  </a:lnTo>
                  <a:lnTo>
                    <a:pt x="2960" y="412"/>
                  </a:lnTo>
                  <a:lnTo>
                    <a:pt x="2967" y="403"/>
                  </a:lnTo>
                  <a:lnTo>
                    <a:pt x="2974" y="393"/>
                  </a:lnTo>
                  <a:lnTo>
                    <a:pt x="2981" y="383"/>
                  </a:lnTo>
                  <a:lnTo>
                    <a:pt x="2987" y="372"/>
                  </a:lnTo>
                  <a:lnTo>
                    <a:pt x="2992" y="360"/>
                  </a:lnTo>
                  <a:lnTo>
                    <a:pt x="2997" y="349"/>
                  </a:lnTo>
                  <a:lnTo>
                    <a:pt x="3002" y="338"/>
                  </a:lnTo>
                  <a:lnTo>
                    <a:pt x="3006" y="326"/>
                  </a:lnTo>
                  <a:lnTo>
                    <a:pt x="3009" y="314"/>
                  </a:lnTo>
                  <a:lnTo>
                    <a:pt x="3012" y="302"/>
                  </a:lnTo>
                  <a:lnTo>
                    <a:pt x="3014" y="290"/>
                  </a:lnTo>
                  <a:lnTo>
                    <a:pt x="3016" y="278"/>
                  </a:lnTo>
                  <a:lnTo>
                    <a:pt x="3017" y="265"/>
                  </a:lnTo>
                  <a:lnTo>
                    <a:pt x="3017" y="252"/>
                  </a:lnTo>
                  <a:lnTo>
                    <a:pt x="3017" y="239"/>
                  </a:lnTo>
                  <a:lnTo>
                    <a:pt x="3016" y="227"/>
                  </a:lnTo>
                  <a:lnTo>
                    <a:pt x="3014" y="214"/>
                  </a:lnTo>
                  <a:lnTo>
                    <a:pt x="3012" y="201"/>
                  </a:lnTo>
                  <a:lnTo>
                    <a:pt x="3009" y="189"/>
                  </a:lnTo>
                  <a:lnTo>
                    <a:pt x="3006" y="177"/>
                  </a:lnTo>
                  <a:lnTo>
                    <a:pt x="3002" y="165"/>
                  </a:lnTo>
                  <a:lnTo>
                    <a:pt x="2997" y="154"/>
                  </a:lnTo>
                  <a:lnTo>
                    <a:pt x="2992" y="143"/>
                  </a:lnTo>
                  <a:lnTo>
                    <a:pt x="2987" y="132"/>
                  </a:lnTo>
                  <a:lnTo>
                    <a:pt x="2981" y="121"/>
                  </a:lnTo>
                  <a:lnTo>
                    <a:pt x="2974" y="111"/>
                  </a:lnTo>
                  <a:lnTo>
                    <a:pt x="2967" y="101"/>
                  </a:lnTo>
                  <a:lnTo>
                    <a:pt x="2960" y="92"/>
                  </a:lnTo>
                  <a:lnTo>
                    <a:pt x="2952" y="83"/>
                  </a:lnTo>
                  <a:lnTo>
                    <a:pt x="2944" y="74"/>
                  </a:lnTo>
                  <a:lnTo>
                    <a:pt x="2935" y="66"/>
                  </a:lnTo>
                  <a:lnTo>
                    <a:pt x="2926" y="58"/>
                  </a:lnTo>
                  <a:lnTo>
                    <a:pt x="2917" y="51"/>
                  </a:lnTo>
                  <a:lnTo>
                    <a:pt x="2907" y="43"/>
                  </a:lnTo>
                  <a:lnTo>
                    <a:pt x="2897" y="36"/>
                  </a:lnTo>
                  <a:lnTo>
                    <a:pt x="2886" y="30"/>
                  </a:lnTo>
                  <a:lnTo>
                    <a:pt x="2875" y="25"/>
                  </a:lnTo>
                  <a:lnTo>
                    <a:pt x="2863" y="20"/>
                  </a:lnTo>
                  <a:lnTo>
                    <a:pt x="2852" y="15"/>
                  </a:lnTo>
                  <a:lnTo>
                    <a:pt x="2840" y="11"/>
                  </a:lnTo>
                  <a:lnTo>
                    <a:pt x="2829" y="8"/>
                  </a:lnTo>
                  <a:lnTo>
                    <a:pt x="2816" y="5"/>
                  </a:lnTo>
                  <a:lnTo>
                    <a:pt x="2804" y="3"/>
                  </a:lnTo>
                  <a:lnTo>
                    <a:pt x="2792" y="1"/>
                  </a:lnTo>
                  <a:lnTo>
                    <a:pt x="2779" y="0"/>
                  </a:lnTo>
                  <a:lnTo>
                    <a:pt x="2766" y="0"/>
                  </a:lnTo>
                  <a:lnTo>
                    <a:pt x="251" y="0"/>
                  </a:lnTo>
                  <a:lnTo>
                    <a:pt x="238" y="0"/>
                  </a:lnTo>
                  <a:lnTo>
                    <a:pt x="226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3" y="20"/>
                  </a:lnTo>
                  <a:lnTo>
                    <a:pt x="142" y="25"/>
                  </a:lnTo>
                  <a:lnTo>
                    <a:pt x="131" y="30"/>
                  </a:lnTo>
                  <a:lnTo>
                    <a:pt x="121" y="36"/>
                  </a:lnTo>
                  <a:lnTo>
                    <a:pt x="110" y="43"/>
                  </a:lnTo>
                  <a:lnTo>
                    <a:pt x="101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1"/>
                  </a:lnTo>
                  <a:lnTo>
                    <a:pt x="43" y="111"/>
                  </a:lnTo>
                  <a:lnTo>
                    <a:pt x="36" y="121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2" y="227"/>
                  </a:lnTo>
                  <a:lnTo>
                    <a:pt x="1" y="239"/>
                  </a:lnTo>
                  <a:lnTo>
                    <a:pt x="0" y="252"/>
                  </a:lnTo>
                  <a:lnTo>
                    <a:pt x="1" y="265"/>
                  </a:lnTo>
                  <a:lnTo>
                    <a:pt x="2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4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1" y="453"/>
                  </a:lnTo>
                  <a:lnTo>
                    <a:pt x="110" y="460"/>
                  </a:lnTo>
                  <a:lnTo>
                    <a:pt x="121" y="467"/>
                  </a:lnTo>
                  <a:lnTo>
                    <a:pt x="131" y="473"/>
                  </a:lnTo>
                  <a:lnTo>
                    <a:pt x="142" y="478"/>
                  </a:lnTo>
                  <a:lnTo>
                    <a:pt x="153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6" y="502"/>
                  </a:lnTo>
                  <a:lnTo>
                    <a:pt x="238" y="503"/>
                  </a:lnTo>
                  <a:lnTo>
                    <a:pt x="251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89" name="îś1íďê">
              <a:extLst>
                <a:ext uri="{FF2B5EF4-FFF2-40B4-BE49-F238E27FC236}">
                  <a16:creationId xmlns:a16="http://schemas.microsoft.com/office/drawing/2014/main" id="{F0D5C306-38B5-421D-AAC5-3DCC5B0B34F1}"/>
                </a:ext>
              </a:extLst>
            </p:cNvPr>
            <p:cNvSpPr/>
            <p:nvPr/>
          </p:nvSpPr>
          <p:spPr bwMode="auto">
            <a:xfrm>
              <a:off x="3531453" y="119873"/>
              <a:ext cx="56834" cy="9823"/>
            </a:xfrm>
            <a:custGeom>
              <a:avLst/>
              <a:gdLst>
                <a:gd name="T0" fmla="*/ 2779 w 3017"/>
                <a:gd name="T1" fmla="*/ 503 h 503"/>
                <a:gd name="T2" fmla="*/ 2816 w 3017"/>
                <a:gd name="T3" fmla="*/ 498 h 503"/>
                <a:gd name="T4" fmla="*/ 2852 w 3017"/>
                <a:gd name="T5" fmla="*/ 488 h 503"/>
                <a:gd name="T6" fmla="*/ 2886 w 3017"/>
                <a:gd name="T7" fmla="*/ 473 h 503"/>
                <a:gd name="T8" fmla="*/ 2917 w 3017"/>
                <a:gd name="T9" fmla="*/ 453 h 503"/>
                <a:gd name="T10" fmla="*/ 2944 w 3017"/>
                <a:gd name="T11" fmla="*/ 430 h 503"/>
                <a:gd name="T12" fmla="*/ 2967 w 3017"/>
                <a:gd name="T13" fmla="*/ 402 h 503"/>
                <a:gd name="T14" fmla="*/ 2987 w 3017"/>
                <a:gd name="T15" fmla="*/ 371 h 503"/>
                <a:gd name="T16" fmla="*/ 3002 w 3017"/>
                <a:gd name="T17" fmla="*/ 338 h 503"/>
                <a:gd name="T18" fmla="*/ 3012 w 3017"/>
                <a:gd name="T19" fmla="*/ 302 h 503"/>
                <a:gd name="T20" fmla="*/ 3017 w 3017"/>
                <a:gd name="T21" fmla="*/ 264 h 503"/>
                <a:gd name="T22" fmla="*/ 3016 w 3017"/>
                <a:gd name="T23" fmla="*/ 225 h 503"/>
                <a:gd name="T24" fmla="*/ 3009 w 3017"/>
                <a:gd name="T25" fmla="*/ 189 h 503"/>
                <a:gd name="T26" fmla="*/ 2997 w 3017"/>
                <a:gd name="T27" fmla="*/ 154 h 503"/>
                <a:gd name="T28" fmla="*/ 2981 w 3017"/>
                <a:gd name="T29" fmla="*/ 121 h 503"/>
                <a:gd name="T30" fmla="*/ 2960 w 3017"/>
                <a:gd name="T31" fmla="*/ 91 h 503"/>
                <a:gd name="T32" fmla="*/ 2935 w 3017"/>
                <a:gd name="T33" fmla="*/ 65 h 503"/>
                <a:gd name="T34" fmla="*/ 2907 w 3017"/>
                <a:gd name="T35" fmla="*/ 43 h 503"/>
                <a:gd name="T36" fmla="*/ 2875 w 3017"/>
                <a:gd name="T37" fmla="*/ 25 h 503"/>
                <a:gd name="T38" fmla="*/ 2840 w 3017"/>
                <a:gd name="T39" fmla="*/ 11 h 503"/>
                <a:gd name="T40" fmla="*/ 2804 w 3017"/>
                <a:gd name="T41" fmla="*/ 3 h 503"/>
                <a:gd name="T42" fmla="*/ 2766 w 3017"/>
                <a:gd name="T43" fmla="*/ 0 h 503"/>
                <a:gd name="T44" fmla="*/ 226 w 3017"/>
                <a:gd name="T45" fmla="*/ 1 h 503"/>
                <a:gd name="T46" fmla="*/ 189 w 3017"/>
                <a:gd name="T47" fmla="*/ 8 h 503"/>
                <a:gd name="T48" fmla="*/ 153 w 3017"/>
                <a:gd name="T49" fmla="*/ 20 h 503"/>
                <a:gd name="T50" fmla="*/ 121 w 3017"/>
                <a:gd name="T51" fmla="*/ 36 h 503"/>
                <a:gd name="T52" fmla="*/ 91 w 3017"/>
                <a:gd name="T53" fmla="*/ 57 h 503"/>
                <a:gd name="T54" fmla="*/ 65 w 3017"/>
                <a:gd name="T55" fmla="*/ 82 h 503"/>
                <a:gd name="T56" fmla="*/ 43 w 3017"/>
                <a:gd name="T57" fmla="*/ 111 h 503"/>
                <a:gd name="T58" fmla="*/ 25 w 3017"/>
                <a:gd name="T59" fmla="*/ 143 h 503"/>
                <a:gd name="T60" fmla="*/ 11 w 3017"/>
                <a:gd name="T61" fmla="*/ 177 h 503"/>
                <a:gd name="T62" fmla="*/ 3 w 3017"/>
                <a:gd name="T63" fmla="*/ 213 h 503"/>
                <a:gd name="T64" fmla="*/ 0 w 3017"/>
                <a:gd name="T65" fmla="*/ 251 h 503"/>
                <a:gd name="T66" fmla="*/ 3 w 3017"/>
                <a:gd name="T67" fmla="*/ 290 h 503"/>
                <a:gd name="T68" fmla="*/ 11 w 3017"/>
                <a:gd name="T69" fmla="*/ 326 h 503"/>
                <a:gd name="T70" fmla="*/ 25 w 3017"/>
                <a:gd name="T71" fmla="*/ 360 h 503"/>
                <a:gd name="T72" fmla="*/ 43 w 3017"/>
                <a:gd name="T73" fmla="*/ 392 h 503"/>
                <a:gd name="T74" fmla="*/ 65 w 3017"/>
                <a:gd name="T75" fmla="*/ 420 h 503"/>
                <a:gd name="T76" fmla="*/ 91 w 3017"/>
                <a:gd name="T77" fmla="*/ 446 h 503"/>
                <a:gd name="T78" fmla="*/ 121 w 3017"/>
                <a:gd name="T79" fmla="*/ 467 h 503"/>
                <a:gd name="T80" fmla="*/ 153 w 3017"/>
                <a:gd name="T81" fmla="*/ 483 h 503"/>
                <a:gd name="T82" fmla="*/ 189 w 3017"/>
                <a:gd name="T83" fmla="*/ 495 h 503"/>
                <a:gd name="T84" fmla="*/ 226 w 3017"/>
                <a:gd name="T85" fmla="*/ 50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17" h="503">
                  <a:moveTo>
                    <a:pt x="251" y="503"/>
                  </a:moveTo>
                  <a:lnTo>
                    <a:pt x="2766" y="503"/>
                  </a:lnTo>
                  <a:lnTo>
                    <a:pt x="2779" y="503"/>
                  </a:lnTo>
                  <a:lnTo>
                    <a:pt x="2792" y="502"/>
                  </a:lnTo>
                  <a:lnTo>
                    <a:pt x="2804" y="500"/>
                  </a:lnTo>
                  <a:lnTo>
                    <a:pt x="2816" y="498"/>
                  </a:lnTo>
                  <a:lnTo>
                    <a:pt x="2829" y="495"/>
                  </a:lnTo>
                  <a:lnTo>
                    <a:pt x="2840" y="492"/>
                  </a:lnTo>
                  <a:lnTo>
                    <a:pt x="2852" y="488"/>
                  </a:lnTo>
                  <a:lnTo>
                    <a:pt x="2863" y="483"/>
                  </a:lnTo>
                  <a:lnTo>
                    <a:pt x="2875" y="478"/>
                  </a:lnTo>
                  <a:lnTo>
                    <a:pt x="2886" y="473"/>
                  </a:lnTo>
                  <a:lnTo>
                    <a:pt x="2897" y="467"/>
                  </a:lnTo>
                  <a:lnTo>
                    <a:pt x="2907" y="460"/>
                  </a:lnTo>
                  <a:lnTo>
                    <a:pt x="2917" y="453"/>
                  </a:lnTo>
                  <a:lnTo>
                    <a:pt x="2926" y="446"/>
                  </a:lnTo>
                  <a:lnTo>
                    <a:pt x="2935" y="438"/>
                  </a:lnTo>
                  <a:lnTo>
                    <a:pt x="2944" y="430"/>
                  </a:lnTo>
                  <a:lnTo>
                    <a:pt x="2952" y="420"/>
                  </a:lnTo>
                  <a:lnTo>
                    <a:pt x="2960" y="411"/>
                  </a:lnTo>
                  <a:lnTo>
                    <a:pt x="2967" y="402"/>
                  </a:lnTo>
                  <a:lnTo>
                    <a:pt x="2974" y="392"/>
                  </a:lnTo>
                  <a:lnTo>
                    <a:pt x="2981" y="382"/>
                  </a:lnTo>
                  <a:lnTo>
                    <a:pt x="2987" y="371"/>
                  </a:lnTo>
                  <a:lnTo>
                    <a:pt x="2992" y="360"/>
                  </a:lnTo>
                  <a:lnTo>
                    <a:pt x="2997" y="349"/>
                  </a:lnTo>
                  <a:lnTo>
                    <a:pt x="3002" y="338"/>
                  </a:lnTo>
                  <a:lnTo>
                    <a:pt x="3006" y="326"/>
                  </a:lnTo>
                  <a:lnTo>
                    <a:pt x="3009" y="314"/>
                  </a:lnTo>
                  <a:lnTo>
                    <a:pt x="3012" y="302"/>
                  </a:lnTo>
                  <a:lnTo>
                    <a:pt x="3014" y="290"/>
                  </a:lnTo>
                  <a:lnTo>
                    <a:pt x="3016" y="278"/>
                  </a:lnTo>
                  <a:lnTo>
                    <a:pt x="3017" y="264"/>
                  </a:lnTo>
                  <a:lnTo>
                    <a:pt x="3017" y="251"/>
                  </a:lnTo>
                  <a:lnTo>
                    <a:pt x="3017" y="238"/>
                  </a:lnTo>
                  <a:lnTo>
                    <a:pt x="3016" y="225"/>
                  </a:lnTo>
                  <a:lnTo>
                    <a:pt x="3014" y="213"/>
                  </a:lnTo>
                  <a:lnTo>
                    <a:pt x="3012" y="201"/>
                  </a:lnTo>
                  <a:lnTo>
                    <a:pt x="3009" y="189"/>
                  </a:lnTo>
                  <a:lnTo>
                    <a:pt x="3006" y="177"/>
                  </a:lnTo>
                  <a:lnTo>
                    <a:pt x="3002" y="165"/>
                  </a:lnTo>
                  <a:lnTo>
                    <a:pt x="2997" y="154"/>
                  </a:lnTo>
                  <a:lnTo>
                    <a:pt x="2992" y="143"/>
                  </a:lnTo>
                  <a:lnTo>
                    <a:pt x="2987" y="132"/>
                  </a:lnTo>
                  <a:lnTo>
                    <a:pt x="2981" y="121"/>
                  </a:lnTo>
                  <a:lnTo>
                    <a:pt x="2974" y="111"/>
                  </a:lnTo>
                  <a:lnTo>
                    <a:pt x="2967" y="100"/>
                  </a:lnTo>
                  <a:lnTo>
                    <a:pt x="2960" y="91"/>
                  </a:lnTo>
                  <a:lnTo>
                    <a:pt x="2952" y="82"/>
                  </a:lnTo>
                  <a:lnTo>
                    <a:pt x="2944" y="73"/>
                  </a:lnTo>
                  <a:lnTo>
                    <a:pt x="2935" y="65"/>
                  </a:lnTo>
                  <a:lnTo>
                    <a:pt x="2926" y="57"/>
                  </a:lnTo>
                  <a:lnTo>
                    <a:pt x="2917" y="50"/>
                  </a:lnTo>
                  <a:lnTo>
                    <a:pt x="2907" y="43"/>
                  </a:lnTo>
                  <a:lnTo>
                    <a:pt x="2897" y="36"/>
                  </a:lnTo>
                  <a:lnTo>
                    <a:pt x="2886" y="30"/>
                  </a:lnTo>
                  <a:lnTo>
                    <a:pt x="2875" y="25"/>
                  </a:lnTo>
                  <a:lnTo>
                    <a:pt x="2863" y="20"/>
                  </a:lnTo>
                  <a:lnTo>
                    <a:pt x="2852" y="15"/>
                  </a:lnTo>
                  <a:lnTo>
                    <a:pt x="2840" y="11"/>
                  </a:lnTo>
                  <a:lnTo>
                    <a:pt x="2829" y="8"/>
                  </a:lnTo>
                  <a:lnTo>
                    <a:pt x="2816" y="5"/>
                  </a:lnTo>
                  <a:lnTo>
                    <a:pt x="2804" y="3"/>
                  </a:lnTo>
                  <a:lnTo>
                    <a:pt x="2792" y="1"/>
                  </a:lnTo>
                  <a:lnTo>
                    <a:pt x="2779" y="0"/>
                  </a:lnTo>
                  <a:lnTo>
                    <a:pt x="2766" y="0"/>
                  </a:lnTo>
                  <a:lnTo>
                    <a:pt x="251" y="0"/>
                  </a:lnTo>
                  <a:lnTo>
                    <a:pt x="238" y="0"/>
                  </a:lnTo>
                  <a:lnTo>
                    <a:pt x="226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3" y="20"/>
                  </a:lnTo>
                  <a:lnTo>
                    <a:pt x="142" y="25"/>
                  </a:lnTo>
                  <a:lnTo>
                    <a:pt x="131" y="30"/>
                  </a:lnTo>
                  <a:lnTo>
                    <a:pt x="121" y="36"/>
                  </a:lnTo>
                  <a:lnTo>
                    <a:pt x="110" y="43"/>
                  </a:lnTo>
                  <a:lnTo>
                    <a:pt x="101" y="50"/>
                  </a:lnTo>
                  <a:lnTo>
                    <a:pt x="91" y="57"/>
                  </a:lnTo>
                  <a:lnTo>
                    <a:pt x="82" y="65"/>
                  </a:lnTo>
                  <a:lnTo>
                    <a:pt x="73" y="73"/>
                  </a:lnTo>
                  <a:lnTo>
                    <a:pt x="65" y="82"/>
                  </a:lnTo>
                  <a:lnTo>
                    <a:pt x="57" y="91"/>
                  </a:lnTo>
                  <a:lnTo>
                    <a:pt x="50" y="100"/>
                  </a:lnTo>
                  <a:lnTo>
                    <a:pt x="43" y="111"/>
                  </a:lnTo>
                  <a:lnTo>
                    <a:pt x="36" y="121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4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2"/>
                  </a:lnTo>
                  <a:lnTo>
                    <a:pt x="57" y="411"/>
                  </a:lnTo>
                  <a:lnTo>
                    <a:pt x="65" y="420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1" y="453"/>
                  </a:lnTo>
                  <a:lnTo>
                    <a:pt x="110" y="460"/>
                  </a:lnTo>
                  <a:lnTo>
                    <a:pt x="121" y="467"/>
                  </a:lnTo>
                  <a:lnTo>
                    <a:pt x="131" y="473"/>
                  </a:lnTo>
                  <a:lnTo>
                    <a:pt x="142" y="478"/>
                  </a:lnTo>
                  <a:lnTo>
                    <a:pt x="153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6" y="502"/>
                  </a:lnTo>
                  <a:lnTo>
                    <a:pt x="238" y="503"/>
                  </a:lnTo>
                  <a:lnTo>
                    <a:pt x="251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90" name="íṡ1ïḑe">
              <a:extLst>
                <a:ext uri="{FF2B5EF4-FFF2-40B4-BE49-F238E27FC236}">
                  <a16:creationId xmlns:a16="http://schemas.microsoft.com/office/drawing/2014/main" id="{DD2B0E85-2C2A-426C-9DC4-93C93FCC13A2}"/>
                </a:ext>
              </a:extLst>
            </p:cNvPr>
            <p:cNvSpPr/>
            <p:nvPr/>
          </p:nvSpPr>
          <p:spPr bwMode="auto">
            <a:xfrm>
              <a:off x="3531453" y="148641"/>
              <a:ext cx="124194" cy="9823"/>
            </a:xfrm>
            <a:custGeom>
              <a:avLst/>
              <a:gdLst>
                <a:gd name="T0" fmla="*/ 2 w 6538"/>
                <a:gd name="T1" fmla="*/ 278 h 504"/>
                <a:gd name="T2" fmla="*/ 8 w 6538"/>
                <a:gd name="T3" fmla="*/ 315 h 504"/>
                <a:gd name="T4" fmla="*/ 20 w 6538"/>
                <a:gd name="T5" fmla="*/ 350 h 504"/>
                <a:gd name="T6" fmla="*/ 36 w 6538"/>
                <a:gd name="T7" fmla="*/ 383 h 504"/>
                <a:gd name="T8" fmla="*/ 57 w 6538"/>
                <a:gd name="T9" fmla="*/ 412 h 504"/>
                <a:gd name="T10" fmla="*/ 82 w 6538"/>
                <a:gd name="T11" fmla="*/ 438 h 504"/>
                <a:gd name="T12" fmla="*/ 110 w 6538"/>
                <a:gd name="T13" fmla="*/ 460 h 504"/>
                <a:gd name="T14" fmla="*/ 142 w 6538"/>
                <a:gd name="T15" fmla="*/ 478 h 504"/>
                <a:gd name="T16" fmla="*/ 177 w 6538"/>
                <a:gd name="T17" fmla="*/ 493 h 504"/>
                <a:gd name="T18" fmla="*/ 213 w 6538"/>
                <a:gd name="T19" fmla="*/ 501 h 504"/>
                <a:gd name="T20" fmla="*/ 251 w 6538"/>
                <a:gd name="T21" fmla="*/ 504 h 504"/>
                <a:gd name="T22" fmla="*/ 6313 w 6538"/>
                <a:gd name="T23" fmla="*/ 503 h 504"/>
                <a:gd name="T24" fmla="*/ 6349 w 6538"/>
                <a:gd name="T25" fmla="*/ 496 h 504"/>
                <a:gd name="T26" fmla="*/ 6384 w 6538"/>
                <a:gd name="T27" fmla="*/ 483 h 504"/>
                <a:gd name="T28" fmla="*/ 6416 w 6538"/>
                <a:gd name="T29" fmla="*/ 467 h 504"/>
                <a:gd name="T30" fmla="*/ 6447 w 6538"/>
                <a:gd name="T31" fmla="*/ 446 h 504"/>
                <a:gd name="T32" fmla="*/ 6473 w 6538"/>
                <a:gd name="T33" fmla="*/ 421 h 504"/>
                <a:gd name="T34" fmla="*/ 6495 w 6538"/>
                <a:gd name="T35" fmla="*/ 393 h 504"/>
                <a:gd name="T36" fmla="*/ 6513 w 6538"/>
                <a:gd name="T37" fmla="*/ 361 h 504"/>
                <a:gd name="T38" fmla="*/ 6527 w 6538"/>
                <a:gd name="T39" fmla="*/ 326 h 504"/>
                <a:gd name="T40" fmla="*/ 6535 w 6538"/>
                <a:gd name="T41" fmla="*/ 290 h 504"/>
                <a:gd name="T42" fmla="*/ 6538 w 6538"/>
                <a:gd name="T43" fmla="*/ 252 h 504"/>
                <a:gd name="T44" fmla="*/ 6535 w 6538"/>
                <a:gd name="T45" fmla="*/ 214 h 504"/>
                <a:gd name="T46" fmla="*/ 6527 w 6538"/>
                <a:gd name="T47" fmla="*/ 178 h 504"/>
                <a:gd name="T48" fmla="*/ 6513 w 6538"/>
                <a:gd name="T49" fmla="*/ 143 h 504"/>
                <a:gd name="T50" fmla="*/ 6495 w 6538"/>
                <a:gd name="T51" fmla="*/ 111 h 504"/>
                <a:gd name="T52" fmla="*/ 6473 w 6538"/>
                <a:gd name="T53" fmla="*/ 83 h 504"/>
                <a:gd name="T54" fmla="*/ 6447 w 6538"/>
                <a:gd name="T55" fmla="*/ 58 h 504"/>
                <a:gd name="T56" fmla="*/ 6416 w 6538"/>
                <a:gd name="T57" fmla="*/ 37 h 504"/>
                <a:gd name="T58" fmla="*/ 6384 w 6538"/>
                <a:gd name="T59" fmla="*/ 21 h 504"/>
                <a:gd name="T60" fmla="*/ 6349 w 6538"/>
                <a:gd name="T61" fmla="*/ 8 h 504"/>
                <a:gd name="T62" fmla="*/ 6313 w 6538"/>
                <a:gd name="T63" fmla="*/ 1 h 504"/>
                <a:gd name="T64" fmla="*/ 251 w 6538"/>
                <a:gd name="T65" fmla="*/ 0 h 504"/>
                <a:gd name="T66" fmla="*/ 213 w 6538"/>
                <a:gd name="T67" fmla="*/ 3 h 504"/>
                <a:gd name="T68" fmla="*/ 177 w 6538"/>
                <a:gd name="T69" fmla="*/ 11 h 504"/>
                <a:gd name="T70" fmla="*/ 142 w 6538"/>
                <a:gd name="T71" fmla="*/ 26 h 504"/>
                <a:gd name="T72" fmla="*/ 110 w 6538"/>
                <a:gd name="T73" fmla="*/ 44 h 504"/>
                <a:gd name="T74" fmla="*/ 82 w 6538"/>
                <a:gd name="T75" fmla="*/ 66 h 504"/>
                <a:gd name="T76" fmla="*/ 57 w 6538"/>
                <a:gd name="T77" fmla="*/ 92 h 504"/>
                <a:gd name="T78" fmla="*/ 36 w 6538"/>
                <a:gd name="T79" fmla="*/ 121 h 504"/>
                <a:gd name="T80" fmla="*/ 20 w 6538"/>
                <a:gd name="T81" fmla="*/ 154 h 504"/>
                <a:gd name="T82" fmla="*/ 8 w 6538"/>
                <a:gd name="T83" fmla="*/ 190 h 504"/>
                <a:gd name="T84" fmla="*/ 2 w 6538"/>
                <a:gd name="T85" fmla="*/ 226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538" h="504">
                  <a:moveTo>
                    <a:pt x="0" y="252"/>
                  </a:moveTo>
                  <a:lnTo>
                    <a:pt x="1" y="265"/>
                  </a:lnTo>
                  <a:lnTo>
                    <a:pt x="2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9"/>
                  </a:lnTo>
                  <a:lnTo>
                    <a:pt x="20" y="350"/>
                  </a:lnTo>
                  <a:lnTo>
                    <a:pt x="25" y="361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1" y="453"/>
                  </a:lnTo>
                  <a:lnTo>
                    <a:pt x="110" y="460"/>
                  </a:lnTo>
                  <a:lnTo>
                    <a:pt x="121" y="467"/>
                  </a:lnTo>
                  <a:lnTo>
                    <a:pt x="131" y="473"/>
                  </a:lnTo>
                  <a:lnTo>
                    <a:pt x="142" y="478"/>
                  </a:lnTo>
                  <a:lnTo>
                    <a:pt x="153" y="483"/>
                  </a:lnTo>
                  <a:lnTo>
                    <a:pt x="165" y="489"/>
                  </a:lnTo>
                  <a:lnTo>
                    <a:pt x="177" y="493"/>
                  </a:lnTo>
                  <a:lnTo>
                    <a:pt x="189" y="496"/>
                  </a:lnTo>
                  <a:lnTo>
                    <a:pt x="201" y="499"/>
                  </a:lnTo>
                  <a:lnTo>
                    <a:pt x="213" y="501"/>
                  </a:lnTo>
                  <a:lnTo>
                    <a:pt x="226" y="503"/>
                  </a:lnTo>
                  <a:lnTo>
                    <a:pt x="238" y="504"/>
                  </a:lnTo>
                  <a:lnTo>
                    <a:pt x="251" y="504"/>
                  </a:lnTo>
                  <a:lnTo>
                    <a:pt x="6287" y="504"/>
                  </a:lnTo>
                  <a:lnTo>
                    <a:pt x="6300" y="504"/>
                  </a:lnTo>
                  <a:lnTo>
                    <a:pt x="6313" y="503"/>
                  </a:lnTo>
                  <a:lnTo>
                    <a:pt x="6325" y="501"/>
                  </a:lnTo>
                  <a:lnTo>
                    <a:pt x="6337" y="499"/>
                  </a:lnTo>
                  <a:lnTo>
                    <a:pt x="6349" y="496"/>
                  </a:lnTo>
                  <a:lnTo>
                    <a:pt x="6361" y="493"/>
                  </a:lnTo>
                  <a:lnTo>
                    <a:pt x="6373" y="489"/>
                  </a:lnTo>
                  <a:lnTo>
                    <a:pt x="6384" y="483"/>
                  </a:lnTo>
                  <a:lnTo>
                    <a:pt x="6395" y="478"/>
                  </a:lnTo>
                  <a:lnTo>
                    <a:pt x="6406" y="473"/>
                  </a:lnTo>
                  <a:lnTo>
                    <a:pt x="6416" y="467"/>
                  </a:lnTo>
                  <a:lnTo>
                    <a:pt x="6427" y="460"/>
                  </a:lnTo>
                  <a:lnTo>
                    <a:pt x="6437" y="453"/>
                  </a:lnTo>
                  <a:lnTo>
                    <a:pt x="6447" y="446"/>
                  </a:lnTo>
                  <a:lnTo>
                    <a:pt x="6456" y="438"/>
                  </a:lnTo>
                  <a:lnTo>
                    <a:pt x="6465" y="430"/>
                  </a:lnTo>
                  <a:lnTo>
                    <a:pt x="6473" y="421"/>
                  </a:lnTo>
                  <a:lnTo>
                    <a:pt x="6481" y="412"/>
                  </a:lnTo>
                  <a:lnTo>
                    <a:pt x="6488" y="403"/>
                  </a:lnTo>
                  <a:lnTo>
                    <a:pt x="6495" y="393"/>
                  </a:lnTo>
                  <a:lnTo>
                    <a:pt x="6502" y="383"/>
                  </a:lnTo>
                  <a:lnTo>
                    <a:pt x="6508" y="372"/>
                  </a:lnTo>
                  <a:lnTo>
                    <a:pt x="6513" y="361"/>
                  </a:lnTo>
                  <a:lnTo>
                    <a:pt x="6518" y="350"/>
                  </a:lnTo>
                  <a:lnTo>
                    <a:pt x="6523" y="339"/>
                  </a:lnTo>
                  <a:lnTo>
                    <a:pt x="6527" y="326"/>
                  </a:lnTo>
                  <a:lnTo>
                    <a:pt x="6530" y="315"/>
                  </a:lnTo>
                  <a:lnTo>
                    <a:pt x="6533" y="302"/>
                  </a:lnTo>
                  <a:lnTo>
                    <a:pt x="6535" y="290"/>
                  </a:lnTo>
                  <a:lnTo>
                    <a:pt x="6537" y="278"/>
                  </a:lnTo>
                  <a:lnTo>
                    <a:pt x="6538" y="265"/>
                  </a:lnTo>
                  <a:lnTo>
                    <a:pt x="6538" y="252"/>
                  </a:lnTo>
                  <a:lnTo>
                    <a:pt x="6538" y="239"/>
                  </a:lnTo>
                  <a:lnTo>
                    <a:pt x="6537" y="226"/>
                  </a:lnTo>
                  <a:lnTo>
                    <a:pt x="6535" y="214"/>
                  </a:lnTo>
                  <a:lnTo>
                    <a:pt x="6533" y="202"/>
                  </a:lnTo>
                  <a:lnTo>
                    <a:pt x="6530" y="190"/>
                  </a:lnTo>
                  <a:lnTo>
                    <a:pt x="6527" y="178"/>
                  </a:lnTo>
                  <a:lnTo>
                    <a:pt x="6523" y="165"/>
                  </a:lnTo>
                  <a:lnTo>
                    <a:pt x="6518" y="154"/>
                  </a:lnTo>
                  <a:lnTo>
                    <a:pt x="6513" y="143"/>
                  </a:lnTo>
                  <a:lnTo>
                    <a:pt x="6508" y="132"/>
                  </a:lnTo>
                  <a:lnTo>
                    <a:pt x="6502" y="121"/>
                  </a:lnTo>
                  <a:lnTo>
                    <a:pt x="6495" y="111"/>
                  </a:lnTo>
                  <a:lnTo>
                    <a:pt x="6488" y="101"/>
                  </a:lnTo>
                  <a:lnTo>
                    <a:pt x="6481" y="92"/>
                  </a:lnTo>
                  <a:lnTo>
                    <a:pt x="6473" y="83"/>
                  </a:lnTo>
                  <a:lnTo>
                    <a:pt x="6465" y="74"/>
                  </a:lnTo>
                  <a:lnTo>
                    <a:pt x="6456" y="66"/>
                  </a:lnTo>
                  <a:lnTo>
                    <a:pt x="6447" y="58"/>
                  </a:lnTo>
                  <a:lnTo>
                    <a:pt x="6437" y="51"/>
                  </a:lnTo>
                  <a:lnTo>
                    <a:pt x="6427" y="44"/>
                  </a:lnTo>
                  <a:lnTo>
                    <a:pt x="6416" y="37"/>
                  </a:lnTo>
                  <a:lnTo>
                    <a:pt x="6406" y="31"/>
                  </a:lnTo>
                  <a:lnTo>
                    <a:pt x="6395" y="26"/>
                  </a:lnTo>
                  <a:lnTo>
                    <a:pt x="6384" y="21"/>
                  </a:lnTo>
                  <a:lnTo>
                    <a:pt x="6373" y="15"/>
                  </a:lnTo>
                  <a:lnTo>
                    <a:pt x="6361" y="11"/>
                  </a:lnTo>
                  <a:lnTo>
                    <a:pt x="6349" y="8"/>
                  </a:lnTo>
                  <a:lnTo>
                    <a:pt x="6337" y="5"/>
                  </a:lnTo>
                  <a:lnTo>
                    <a:pt x="6325" y="3"/>
                  </a:lnTo>
                  <a:lnTo>
                    <a:pt x="6313" y="1"/>
                  </a:lnTo>
                  <a:lnTo>
                    <a:pt x="6300" y="0"/>
                  </a:lnTo>
                  <a:lnTo>
                    <a:pt x="6287" y="0"/>
                  </a:lnTo>
                  <a:lnTo>
                    <a:pt x="251" y="0"/>
                  </a:lnTo>
                  <a:lnTo>
                    <a:pt x="238" y="0"/>
                  </a:lnTo>
                  <a:lnTo>
                    <a:pt x="226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3" y="21"/>
                  </a:lnTo>
                  <a:lnTo>
                    <a:pt x="142" y="26"/>
                  </a:lnTo>
                  <a:lnTo>
                    <a:pt x="131" y="31"/>
                  </a:lnTo>
                  <a:lnTo>
                    <a:pt x="121" y="37"/>
                  </a:lnTo>
                  <a:lnTo>
                    <a:pt x="110" y="44"/>
                  </a:lnTo>
                  <a:lnTo>
                    <a:pt x="101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1"/>
                  </a:lnTo>
                  <a:lnTo>
                    <a:pt x="43" y="111"/>
                  </a:lnTo>
                  <a:lnTo>
                    <a:pt x="36" y="121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8"/>
                  </a:lnTo>
                  <a:lnTo>
                    <a:pt x="8" y="190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2" y="226"/>
                  </a:lnTo>
                  <a:lnTo>
                    <a:pt x="1" y="239"/>
                  </a:lnTo>
                  <a:lnTo>
                    <a:pt x="0" y="2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91" name="îSľídê">
              <a:extLst>
                <a:ext uri="{FF2B5EF4-FFF2-40B4-BE49-F238E27FC236}">
                  <a16:creationId xmlns:a16="http://schemas.microsoft.com/office/drawing/2014/main" id="{2E915177-EAE0-4A42-BFC6-5106A90144FF}"/>
                </a:ext>
              </a:extLst>
            </p:cNvPr>
            <p:cNvSpPr/>
            <p:nvPr/>
          </p:nvSpPr>
          <p:spPr bwMode="auto">
            <a:xfrm>
              <a:off x="3426204" y="206178"/>
              <a:ext cx="229443" cy="9122"/>
            </a:xfrm>
            <a:custGeom>
              <a:avLst/>
              <a:gdLst>
                <a:gd name="T0" fmla="*/ 238 w 12071"/>
                <a:gd name="T1" fmla="*/ 1 h 503"/>
                <a:gd name="T2" fmla="*/ 201 w 12071"/>
                <a:gd name="T3" fmla="*/ 5 h 503"/>
                <a:gd name="T4" fmla="*/ 165 w 12071"/>
                <a:gd name="T5" fmla="*/ 15 h 503"/>
                <a:gd name="T6" fmla="*/ 132 w 12071"/>
                <a:gd name="T7" fmla="*/ 30 h 503"/>
                <a:gd name="T8" fmla="*/ 100 w 12071"/>
                <a:gd name="T9" fmla="*/ 50 h 503"/>
                <a:gd name="T10" fmla="*/ 73 w 12071"/>
                <a:gd name="T11" fmla="*/ 73 h 503"/>
                <a:gd name="T12" fmla="*/ 50 w 12071"/>
                <a:gd name="T13" fmla="*/ 101 h 503"/>
                <a:gd name="T14" fmla="*/ 30 w 12071"/>
                <a:gd name="T15" fmla="*/ 131 h 503"/>
                <a:gd name="T16" fmla="*/ 15 w 12071"/>
                <a:gd name="T17" fmla="*/ 165 h 503"/>
                <a:gd name="T18" fmla="*/ 5 w 12071"/>
                <a:gd name="T19" fmla="*/ 201 h 503"/>
                <a:gd name="T20" fmla="*/ 0 w 12071"/>
                <a:gd name="T21" fmla="*/ 238 h 503"/>
                <a:gd name="T22" fmla="*/ 1 w 12071"/>
                <a:gd name="T23" fmla="*/ 277 h 503"/>
                <a:gd name="T24" fmla="*/ 8 w 12071"/>
                <a:gd name="T25" fmla="*/ 315 h 503"/>
                <a:gd name="T26" fmla="*/ 20 w 12071"/>
                <a:gd name="T27" fmla="*/ 349 h 503"/>
                <a:gd name="T28" fmla="*/ 36 w 12071"/>
                <a:gd name="T29" fmla="*/ 382 h 503"/>
                <a:gd name="T30" fmla="*/ 57 w 12071"/>
                <a:gd name="T31" fmla="*/ 411 h 503"/>
                <a:gd name="T32" fmla="*/ 82 w 12071"/>
                <a:gd name="T33" fmla="*/ 437 h 503"/>
                <a:gd name="T34" fmla="*/ 111 w 12071"/>
                <a:gd name="T35" fmla="*/ 460 h 503"/>
                <a:gd name="T36" fmla="*/ 143 w 12071"/>
                <a:gd name="T37" fmla="*/ 479 h 503"/>
                <a:gd name="T38" fmla="*/ 177 w 12071"/>
                <a:gd name="T39" fmla="*/ 492 h 503"/>
                <a:gd name="T40" fmla="*/ 213 w 12071"/>
                <a:gd name="T41" fmla="*/ 500 h 503"/>
                <a:gd name="T42" fmla="*/ 251 w 12071"/>
                <a:gd name="T43" fmla="*/ 503 h 503"/>
                <a:gd name="T44" fmla="*/ 11846 w 12071"/>
                <a:gd name="T45" fmla="*/ 502 h 503"/>
                <a:gd name="T46" fmla="*/ 11882 w 12071"/>
                <a:gd name="T47" fmla="*/ 495 h 503"/>
                <a:gd name="T48" fmla="*/ 11917 w 12071"/>
                <a:gd name="T49" fmla="*/ 484 h 503"/>
                <a:gd name="T50" fmla="*/ 11949 w 12071"/>
                <a:gd name="T51" fmla="*/ 467 h 503"/>
                <a:gd name="T52" fmla="*/ 11980 w 12071"/>
                <a:gd name="T53" fmla="*/ 445 h 503"/>
                <a:gd name="T54" fmla="*/ 12006 w 12071"/>
                <a:gd name="T55" fmla="*/ 420 h 503"/>
                <a:gd name="T56" fmla="*/ 12028 w 12071"/>
                <a:gd name="T57" fmla="*/ 392 h 503"/>
                <a:gd name="T58" fmla="*/ 12046 w 12071"/>
                <a:gd name="T59" fmla="*/ 360 h 503"/>
                <a:gd name="T60" fmla="*/ 12060 w 12071"/>
                <a:gd name="T61" fmla="*/ 326 h 503"/>
                <a:gd name="T62" fmla="*/ 12068 w 12071"/>
                <a:gd name="T63" fmla="*/ 289 h 503"/>
                <a:gd name="T64" fmla="*/ 12071 w 12071"/>
                <a:gd name="T65" fmla="*/ 251 h 503"/>
                <a:gd name="T66" fmla="*/ 12068 w 12071"/>
                <a:gd name="T67" fmla="*/ 213 h 503"/>
                <a:gd name="T68" fmla="*/ 12060 w 12071"/>
                <a:gd name="T69" fmla="*/ 177 h 503"/>
                <a:gd name="T70" fmla="*/ 12046 w 12071"/>
                <a:gd name="T71" fmla="*/ 143 h 503"/>
                <a:gd name="T72" fmla="*/ 12028 w 12071"/>
                <a:gd name="T73" fmla="*/ 110 h 503"/>
                <a:gd name="T74" fmla="*/ 12006 w 12071"/>
                <a:gd name="T75" fmla="*/ 82 h 503"/>
                <a:gd name="T76" fmla="*/ 11980 w 12071"/>
                <a:gd name="T77" fmla="*/ 57 h 503"/>
                <a:gd name="T78" fmla="*/ 11949 w 12071"/>
                <a:gd name="T79" fmla="*/ 36 h 503"/>
                <a:gd name="T80" fmla="*/ 11917 w 12071"/>
                <a:gd name="T81" fmla="*/ 20 h 503"/>
                <a:gd name="T82" fmla="*/ 11882 w 12071"/>
                <a:gd name="T83" fmla="*/ 8 h 503"/>
                <a:gd name="T84" fmla="*/ 11846 w 12071"/>
                <a:gd name="T85" fmla="*/ 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71" h="503">
                  <a:moveTo>
                    <a:pt x="11820" y="0"/>
                  </a:moveTo>
                  <a:lnTo>
                    <a:pt x="251" y="0"/>
                  </a:lnTo>
                  <a:lnTo>
                    <a:pt x="238" y="1"/>
                  </a:lnTo>
                  <a:lnTo>
                    <a:pt x="225" y="2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8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3"/>
                  </a:lnTo>
                  <a:lnTo>
                    <a:pt x="100" y="50"/>
                  </a:lnTo>
                  <a:lnTo>
                    <a:pt x="91" y="57"/>
                  </a:lnTo>
                  <a:lnTo>
                    <a:pt x="82" y="65"/>
                  </a:lnTo>
                  <a:lnTo>
                    <a:pt x="73" y="73"/>
                  </a:lnTo>
                  <a:lnTo>
                    <a:pt x="65" y="82"/>
                  </a:lnTo>
                  <a:lnTo>
                    <a:pt x="57" y="91"/>
                  </a:lnTo>
                  <a:lnTo>
                    <a:pt x="50" y="101"/>
                  </a:lnTo>
                  <a:lnTo>
                    <a:pt x="43" y="110"/>
                  </a:lnTo>
                  <a:lnTo>
                    <a:pt x="36" y="121"/>
                  </a:lnTo>
                  <a:lnTo>
                    <a:pt x="30" y="131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6"/>
                  </a:lnTo>
                  <a:lnTo>
                    <a:pt x="0" y="238"/>
                  </a:lnTo>
                  <a:lnTo>
                    <a:pt x="0" y="251"/>
                  </a:lnTo>
                  <a:lnTo>
                    <a:pt x="0" y="264"/>
                  </a:lnTo>
                  <a:lnTo>
                    <a:pt x="1" y="277"/>
                  </a:lnTo>
                  <a:lnTo>
                    <a:pt x="3" y="289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2"/>
                  </a:lnTo>
                  <a:lnTo>
                    <a:pt x="57" y="411"/>
                  </a:lnTo>
                  <a:lnTo>
                    <a:pt x="65" y="420"/>
                  </a:lnTo>
                  <a:lnTo>
                    <a:pt x="73" y="429"/>
                  </a:lnTo>
                  <a:lnTo>
                    <a:pt x="82" y="437"/>
                  </a:lnTo>
                  <a:lnTo>
                    <a:pt x="91" y="445"/>
                  </a:lnTo>
                  <a:lnTo>
                    <a:pt x="100" y="452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9"/>
                  </a:lnTo>
                  <a:lnTo>
                    <a:pt x="154" y="484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8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11820" y="503"/>
                  </a:lnTo>
                  <a:lnTo>
                    <a:pt x="11833" y="503"/>
                  </a:lnTo>
                  <a:lnTo>
                    <a:pt x="11846" y="502"/>
                  </a:lnTo>
                  <a:lnTo>
                    <a:pt x="11858" y="500"/>
                  </a:lnTo>
                  <a:lnTo>
                    <a:pt x="11870" y="498"/>
                  </a:lnTo>
                  <a:lnTo>
                    <a:pt x="11882" y="495"/>
                  </a:lnTo>
                  <a:lnTo>
                    <a:pt x="11894" y="492"/>
                  </a:lnTo>
                  <a:lnTo>
                    <a:pt x="11906" y="488"/>
                  </a:lnTo>
                  <a:lnTo>
                    <a:pt x="11917" y="484"/>
                  </a:lnTo>
                  <a:lnTo>
                    <a:pt x="11928" y="479"/>
                  </a:lnTo>
                  <a:lnTo>
                    <a:pt x="11939" y="473"/>
                  </a:lnTo>
                  <a:lnTo>
                    <a:pt x="11949" y="467"/>
                  </a:lnTo>
                  <a:lnTo>
                    <a:pt x="11960" y="460"/>
                  </a:lnTo>
                  <a:lnTo>
                    <a:pt x="11970" y="452"/>
                  </a:lnTo>
                  <a:lnTo>
                    <a:pt x="11980" y="445"/>
                  </a:lnTo>
                  <a:lnTo>
                    <a:pt x="11989" y="437"/>
                  </a:lnTo>
                  <a:lnTo>
                    <a:pt x="11998" y="429"/>
                  </a:lnTo>
                  <a:lnTo>
                    <a:pt x="12006" y="420"/>
                  </a:lnTo>
                  <a:lnTo>
                    <a:pt x="12014" y="411"/>
                  </a:lnTo>
                  <a:lnTo>
                    <a:pt x="12021" y="402"/>
                  </a:lnTo>
                  <a:lnTo>
                    <a:pt x="12028" y="392"/>
                  </a:lnTo>
                  <a:lnTo>
                    <a:pt x="12035" y="382"/>
                  </a:lnTo>
                  <a:lnTo>
                    <a:pt x="12041" y="371"/>
                  </a:lnTo>
                  <a:lnTo>
                    <a:pt x="12046" y="360"/>
                  </a:lnTo>
                  <a:lnTo>
                    <a:pt x="12051" y="349"/>
                  </a:lnTo>
                  <a:lnTo>
                    <a:pt x="12056" y="338"/>
                  </a:lnTo>
                  <a:lnTo>
                    <a:pt x="12060" y="326"/>
                  </a:lnTo>
                  <a:lnTo>
                    <a:pt x="12063" y="315"/>
                  </a:lnTo>
                  <a:lnTo>
                    <a:pt x="12066" y="303"/>
                  </a:lnTo>
                  <a:lnTo>
                    <a:pt x="12068" y="289"/>
                  </a:lnTo>
                  <a:lnTo>
                    <a:pt x="12070" y="277"/>
                  </a:lnTo>
                  <a:lnTo>
                    <a:pt x="12071" y="264"/>
                  </a:lnTo>
                  <a:lnTo>
                    <a:pt x="12071" y="251"/>
                  </a:lnTo>
                  <a:lnTo>
                    <a:pt x="12071" y="238"/>
                  </a:lnTo>
                  <a:lnTo>
                    <a:pt x="12070" y="226"/>
                  </a:lnTo>
                  <a:lnTo>
                    <a:pt x="12068" y="213"/>
                  </a:lnTo>
                  <a:lnTo>
                    <a:pt x="12066" y="201"/>
                  </a:lnTo>
                  <a:lnTo>
                    <a:pt x="12063" y="189"/>
                  </a:lnTo>
                  <a:lnTo>
                    <a:pt x="12060" y="177"/>
                  </a:lnTo>
                  <a:lnTo>
                    <a:pt x="12056" y="165"/>
                  </a:lnTo>
                  <a:lnTo>
                    <a:pt x="12051" y="154"/>
                  </a:lnTo>
                  <a:lnTo>
                    <a:pt x="12046" y="143"/>
                  </a:lnTo>
                  <a:lnTo>
                    <a:pt x="12041" y="131"/>
                  </a:lnTo>
                  <a:lnTo>
                    <a:pt x="12035" y="121"/>
                  </a:lnTo>
                  <a:lnTo>
                    <a:pt x="12028" y="110"/>
                  </a:lnTo>
                  <a:lnTo>
                    <a:pt x="12021" y="101"/>
                  </a:lnTo>
                  <a:lnTo>
                    <a:pt x="12014" y="91"/>
                  </a:lnTo>
                  <a:lnTo>
                    <a:pt x="12006" y="82"/>
                  </a:lnTo>
                  <a:lnTo>
                    <a:pt x="11998" y="73"/>
                  </a:lnTo>
                  <a:lnTo>
                    <a:pt x="11989" y="65"/>
                  </a:lnTo>
                  <a:lnTo>
                    <a:pt x="11980" y="57"/>
                  </a:lnTo>
                  <a:lnTo>
                    <a:pt x="11970" y="50"/>
                  </a:lnTo>
                  <a:lnTo>
                    <a:pt x="11960" y="43"/>
                  </a:lnTo>
                  <a:lnTo>
                    <a:pt x="11949" y="36"/>
                  </a:lnTo>
                  <a:lnTo>
                    <a:pt x="11939" y="30"/>
                  </a:lnTo>
                  <a:lnTo>
                    <a:pt x="11928" y="25"/>
                  </a:lnTo>
                  <a:lnTo>
                    <a:pt x="11917" y="20"/>
                  </a:lnTo>
                  <a:lnTo>
                    <a:pt x="11906" y="15"/>
                  </a:lnTo>
                  <a:lnTo>
                    <a:pt x="11894" y="11"/>
                  </a:lnTo>
                  <a:lnTo>
                    <a:pt x="11882" y="8"/>
                  </a:lnTo>
                  <a:lnTo>
                    <a:pt x="11870" y="5"/>
                  </a:lnTo>
                  <a:lnTo>
                    <a:pt x="11858" y="3"/>
                  </a:lnTo>
                  <a:lnTo>
                    <a:pt x="11846" y="2"/>
                  </a:lnTo>
                  <a:lnTo>
                    <a:pt x="11833" y="1"/>
                  </a:lnTo>
                  <a:lnTo>
                    <a:pt x="118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92" name="iṥḻíḍê">
              <a:extLst>
                <a:ext uri="{FF2B5EF4-FFF2-40B4-BE49-F238E27FC236}">
                  <a16:creationId xmlns:a16="http://schemas.microsoft.com/office/drawing/2014/main" id="{A5772D9E-1967-495E-A1A6-802980BE4F36}"/>
                </a:ext>
              </a:extLst>
            </p:cNvPr>
            <p:cNvSpPr/>
            <p:nvPr/>
          </p:nvSpPr>
          <p:spPr bwMode="auto">
            <a:xfrm>
              <a:off x="3426204" y="234946"/>
              <a:ext cx="229443" cy="9122"/>
            </a:xfrm>
            <a:custGeom>
              <a:avLst/>
              <a:gdLst>
                <a:gd name="T0" fmla="*/ 238 w 12071"/>
                <a:gd name="T1" fmla="*/ 1 h 503"/>
                <a:gd name="T2" fmla="*/ 201 w 12071"/>
                <a:gd name="T3" fmla="*/ 5 h 503"/>
                <a:gd name="T4" fmla="*/ 165 w 12071"/>
                <a:gd name="T5" fmla="*/ 15 h 503"/>
                <a:gd name="T6" fmla="*/ 132 w 12071"/>
                <a:gd name="T7" fmla="*/ 30 h 503"/>
                <a:gd name="T8" fmla="*/ 100 w 12071"/>
                <a:gd name="T9" fmla="*/ 51 h 503"/>
                <a:gd name="T10" fmla="*/ 73 w 12071"/>
                <a:gd name="T11" fmla="*/ 74 h 503"/>
                <a:gd name="T12" fmla="*/ 50 w 12071"/>
                <a:gd name="T13" fmla="*/ 102 h 503"/>
                <a:gd name="T14" fmla="*/ 30 w 12071"/>
                <a:gd name="T15" fmla="*/ 132 h 503"/>
                <a:gd name="T16" fmla="*/ 15 w 12071"/>
                <a:gd name="T17" fmla="*/ 165 h 503"/>
                <a:gd name="T18" fmla="*/ 5 w 12071"/>
                <a:gd name="T19" fmla="*/ 201 h 503"/>
                <a:gd name="T20" fmla="*/ 0 w 12071"/>
                <a:gd name="T21" fmla="*/ 239 h 503"/>
                <a:gd name="T22" fmla="*/ 1 w 12071"/>
                <a:gd name="T23" fmla="*/ 278 h 503"/>
                <a:gd name="T24" fmla="*/ 8 w 12071"/>
                <a:gd name="T25" fmla="*/ 315 h 503"/>
                <a:gd name="T26" fmla="*/ 20 w 12071"/>
                <a:gd name="T27" fmla="*/ 349 h 503"/>
                <a:gd name="T28" fmla="*/ 36 w 12071"/>
                <a:gd name="T29" fmla="*/ 383 h 503"/>
                <a:gd name="T30" fmla="*/ 57 w 12071"/>
                <a:gd name="T31" fmla="*/ 412 h 503"/>
                <a:gd name="T32" fmla="*/ 82 w 12071"/>
                <a:gd name="T33" fmla="*/ 438 h 503"/>
                <a:gd name="T34" fmla="*/ 111 w 12071"/>
                <a:gd name="T35" fmla="*/ 460 h 503"/>
                <a:gd name="T36" fmla="*/ 143 w 12071"/>
                <a:gd name="T37" fmla="*/ 478 h 503"/>
                <a:gd name="T38" fmla="*/ 177 w 12071"/>
                <a:gd name="T39" fmla="*/ 492 h 503"/>
                <a:gd name="T40" fmla="*/ 213 w 12071"/>
                <a:gd name="T41" fmla="*/ 500 h 503"/>
                <a:gd name="T42" fmla="*/ 251 w 12071"/>
                <a:gd name="T43" fmla="*/ 503 h 503"/>
                <a:gd name="T44" fmla="*/ 11846 w 12071"/>
                <a:gd name="T45" fmla="*/ 502 h 503"/>
                <a:gd name="T46" fmla="*/ 11882 w 12071"/>
                <a:gd name="T47" fmla="*/ 495 h 503"/>
                <a:gd name="T48" fmla="*/ 11917 w 12071"/>
                <a:gd name="T49" fmla="*/ 483 h 503"/>
                <a:gd name="T50" fmla="*/ 11949 w 12071"/>
                <a:gd name="T51" fmla="*/ 467 h 503"/>
                <a:gd name="T52" fmla="*/ 11980 w 12071"/>
                <a:gd name="T53" fmla="*/ 446 h 503"/>
                <a:gd name="T54" fmla="*/ 12006 w 12071"/>
                <a:gd name="T55" fmla="*/ 421 h 503"/>
                <a:gd name="T56" fmla="*/ 12028 w 12071"/>
                <a:gd name="T57" fmla="*/ 393 h 503"/>
                <a:gd name="T58" fmla="*/ 12046 w 12071"/>
                <a:gd name="T59" fmla="*/ 360 h 503"/>
                <a:gd name="T60" fmla="*/ 12060 w 12071"/>
                <a:gd name="T61" fmla="*/ 326 h 503"/>
                <a:gd name="T62" fmla="*/ 12068 w 12071"/>
                <a:gd name="T63" fmla="*/ 290 h 503"/>
                <a:gd name="T64" fmla="*/ 12071 w 12071"/>
                <a:gd name="T65" fmla="*/ 252 h 503"/>
                <a:gd name="T66" fmla="*/ 12068 w 12071"/>
                <a:gd name="T67" fmla="*/ 214 h 503"/>
                <a:gd name="T68" fmla="*/ 12060 w 12071"/>
                <a:gd name="T69" fmla="*/ 177 h 503"/>
                <a:gd name="T70" fmla="*/ 12046 w 12071"/>
                <a:gd name="T71" fmla="*/ 143 h 503"/>
                <a:gd name="T72" fmla="*/ 12028 w 12071"/>
                <a:gd name="T73" fmla="*/ 111 h 503"/>
                <a:gd name="T74" fmla="*/ 12006 w 12071"/>
                <a:gd name="T75" fmla="*/ 83 h 503"/>
                <a:gd name="T76" fmla="*/ 11980 w 12071"/>
                <a:gd name="T77" fmla="*/ 58 h 503"/>
                <a:gd name="T78" fmla="*/ 11949 w 12071"/>
                <a:gd name="T79" fmla="*/ 36 h 503"/>
                <a:gd name="T80" fmla="*/ 11917 w 12071"/>
                <a:gd name="T81" fmla="*/ 20 h 503"/>
                <a:gd name="T82" fmla="*/ 11882 w 12071"/>
                <a:gd name="T83" fmla="*/ 8 h 503"/>
                <a:gd name="T84" fmla="*/ 11846 w 12071"/>
                <a:gd name="T85" fmla="*/ 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71" h="503">
                  <a:moveTo>
                    <a:pt x="11820" y="0"/>
                  </a:moveTo>
                  <a:lnTo>
                    <a:pt x="251" y="0"/>
                  </a:lnTo>
                  <a:lnTo>
                    <a:pt x="238" y="1"/>
                  </a:lnTo>
                  <a:lnTo>
                    <a:pt x="225" y="2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8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3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1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8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11820" y="503"/>
                  </a:lnTo>
                  <a:lnTo>
                    <a:pt x="11833" y="503"/>
                  </a:lnTo>
                  <a:lnTo>
                    <a:pt x="11846" y="502"/>
                  </a:lnTo>
                  <a:lnTo>
                    <a:pt x="11858" y="500"/>
                  </a:lnTo>
                  <a:lnTo>
                    <a:pt x="11870" y="498"/>
                  </a:lnTo>
                  <a:lnTo>
                    <a:pt x="11882" y="495"/>
                  </a:lnTo>
                  <a:lnTo>
                    <a:pt x="11894" y="492"/>
                  </a:lnTo>
                  <a:lnTo>
                    <a:pt x="11906" y="488"/>
                  </a:lnTo>
                  <a:lnTo>
                    <a:pt x="11917" y="483"/>
                  </a:lnTo>
                  <a:lnTo>
                    <a:pt x="11928" y="478"/>
                  </a:lnTo>
                  <a:lnTo>
                    <a:pt x="11939" y="473"/>
                  </a:lnTo>
                  <a:lnTo>
                    <a:pt x="11949" y="467"/>
                  </a:lnTo>
                  <a:lnTo>
                    <a:pt x="11960" y="460"/>
                  </a:lnTo>
                  <a:lnTo>
                    <a:pt x="11970" y="453"/>
                  </a:lnTo>
                  <a:lnTo>
                    <a:pt x="11980" y="446"/>
                  </a:lnTo>
                  <a:lnTo>
                    <a:pt x="11989" y="438"/>
                  </a:lnTo>
                  <a:lnTo>
                    <a:pt x="11998" y="430"/>
                  </a:lnTo>
                  <a:lnTo>
                    <a:pt x="12006" y="421"/>
                  </a:lnTo>
                  <a:lnTo>
                    <a:pt x="12014" y="412"/>
                  </a:lnTo>
                  <a:lnTo>
                    <a:pt x="12021" y="403"/>
                  </a:lnTo>
                  <a:lnTo>
                    <a:pt x="12028" y="393"/>
                  </a:lnTo>
                  <a:lnTo>
                    <a:pt x="12035" y="383"/>
                  </a:lnTo>
                  <a:lnTo>
                    <a:pt x="12041" y="372"/>
                  </a:lnTo>
                  <a:lnTo>
                    <a:pt x="12046" y="360"/>
                  </a:lnTo>
                  <a:lnTo>
                    <a:pt x="12051" y="349"/>
                  </a:lnTo>
                  <a:lnTo>
                    <a:pt x="12056" y="338"/>
                  </a:lnTo>
                  <a:lnTo>
                    <a:pt x="12060" y="326"/>
                  </a:lnTo>
                  <a:lnTo>
                    <a:pt x="12063" y="315"/>
                  </a:lnTo>
                  <a:lnTo>
                    <a:pt x="12066" y="302"/>
                  </a:lnTo>
                  <a:lnTo>
                    <a:pt x="12068" y="290"/>
                  </a:lnTo>
                  <a:lnTo>
                    <a:pt x="12070" y="278"/>
                  </a:lnTo>
                  <a:lnTo>
                    <a:pt x="12071" y="265"/>
                  </a:lnTo>
                  <a:lnTo>
                    <a:pt x="12071" y="252"/>
                  </a:lnTo>
                  <a:lnTo>
                    <a:pt x="12071" y="239"/>
                  </a:lnTo>
                  <a:lnTo>
                    <a:pt x="12070" y="227"/>
                  </a:lnTo>
                  <a:lnTo>
                    <a:pt x="12068" y="214"/>
                  </a:lnTo>
                  <a:lnTo>
                    <a:pt x="12066" y="201"/>
                  </a:lnTo>
                  <a:lnTo>
                    <a:pt x="12063" y="189"/>
                  </a:lnTo>
                  <a:lnTo>
                    <a:pt x="12060" y="177"/>
                  </a:lnTo>
                  <a:lnTo>
                    <a:pt x="12056" y="165"/>
                  </a:lnTo>
                  <a:lnTo>
                    <a:pt x="12051" y="154"/>
                  </a:lnTo>
                  <a:lnTo>
                    <a:pt x="12046" y="143"/>
                  </a:lnTo>
                  <a:lnTo>
                    <a:pt x="12041" y="132"/>
                  </a:lnTo>
                  <a:lnTo>
                    <a:pt x="12035" y="121"/>
                  </a:lnTo>
                  <a:lnTo>
                    <a:pt x="12028" y="111"/>
                  </a:lnTo>
                  <a:lnTo>
                    <a:pt x="12021" y="102"/>
                  </a:lnTo>
                  <a:lnTo>
                    <a:pt x="12014" y="92"/>
                  </a:lnTo>
                  <a:lnTo>
                    <a:pt x="12006" y="83"/>
                  </a:lnTo>
                  <a:lnTo>
                    <a:pt x="11998" y="74"/>
                  </a:lnTo>
                  <a:lnTo>
                    <a:pt x="11989" y="66"/>
                  </a:lnTo>
                  <a:lnTo>
                    <a:pt x="11980" y="58"/>
                  </a:lnTo>
                  <a:lnTo>
                    <a:pt x="11970" y="51"/>
                  </a:lnTo>
                  <a:lnTo>
                    <a:pt x="11960" y="43"/>
                  </a:lnTo>
                  <a:lnTo>
                    <a:pt x="11949" y="36"/>
                  </a:lnTo>
                  <a:lnTo>
                    <a:pt x="11939" y="30"/>
                  </a:lnTo>
                  <a:lnTo>
                    <a:pt x="11928" y="25"/>
                  </a:lnTo>
                  <a:lnTo>
                    <a:pt x="11917" y="20"/>
                  </a:lnTo>
                  <a:lnTo>
                    <a:pt x="11906" y="15"/>
                  </a:lnTo>
                  <a:lnTo>
                    <a:pt x="11894" y="11"/>
                  </a:lnTo>
                  <a:lnTo>
                    <a:pt x="11882" y="8"/>
                  </a:lnTo>
                  <a:lnTo>
                    <a:pt x="11870" y="5"/>
                  </a:lnTo>
                  <a:lnTo>
                    <a:pt x="11858" y="3"/>
                  </a:lnTo>
                  <a:lnTo>
                    <a:pt x="11846" y="2"/>
                  </a:lnTo>
                  <a:lnTo>
                    <a:pt x="11833" y="1"/>
                  </a:lnTo>
                  <a:lnTo>
                    <a:pt x="118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93" name="iṧḷiḓe">
              <a:extLst>
                <a:ext uri="{FF2B5EF4-FFF2-40B4-BE49-F238E27FC236}">
                  <a16:creationId xmlns:a16="http://schemas.microsoft.com/office/drawing/2014/main" id="{8CF5BE9E-558C-403B-A1BE-A907FBFF19F9}"/>
                </a:ext>
              </a:extLst>
            </p:cNvPr>
            <p:cNvSpPr/>
            <p:nvPr/>
          </p:nvSpPr>
          <p:spPr bwMode="auto">
            <a:xfrm>
              <a:off x="3426204" y="263013"/>
              <a:ext cx="229443" cy="9823"/>
            </a:xfrm>
            <a:custGeom>
              <a:avLst/>
              <a:gdLst>
                <a:gd name="T0" fmla="*/ 238 w 12071"/>
                <a:gd name="T1" fmla="*/ 1 h 503"/>
                <a:gd name="T2" fmla="*/ 201 w 12071"/>
                <a:gd name="T3" fmla="*/ 5 h 503"/>
                <a:gd name="T4" fmla="*/ 165 w 12071"/>
                <a:gd name="T5" fmla="*/ 15 h 503"/>
                <a:gd name="T6" fmla="*/ 132 w 12071"/>
                <a:gd name="T7" fmla="*/ 30 h 503"/>
                <a:gd name="T8" fmla="*/ 100 w 12071"/>
                <a:gd name="T9" fmla="*/ 50 h 503"/>
                <a:gd name="T10" fmla="*/ 73 w 12071"/>
                <a:gd name="T11" fmla="*/ 73 h 503"/>
                <a:gd name="T12" fmla="*/ 50 w 12071"/>
                <a:gd name="T13" fmla="*/ 100 h 503"/>
                <a:gd name="T14" fmla="*/ 30 w 12071"/>
                <a:gd name="T15" fmla="*/ 132 h 503"/>
                <a:gd name="T16" fmla="*/ 15 w 12071"/>
                <a:gd name="T17" fmla="*/ 165 h 503"/>
                <a:gd name="T18" fmla="*/ 5 w 12071"/>
                <a:gd name="T19" fmla="*/ 201 h 503"/>
                <a:gd name="T20" fmla="*/ 0 w 12071"/>
                <a:gd name="T21" fmla="*/ 238 h 503"/>
                <a:gd name="T22" fmla="*/ 1 w 12071"/>
                <a:gd name="T23" fmla="*/ 278 h 503"/>
                <a:gd name="T24" fmla="*/ 8 w 12071"/>
                <a:gd name="T25" fmla="*/ 315 h 503"/>
                <a:gd name="T26" fmla="*/ 20 w 12071"/>
                <a:gd name="T27" fmla="*/ 349 h 503"/>
                <a:gd name="T28" fmla="*/ 36 w 12071"/>
                <a:gd name="T29" fmla="*/ 382 h 503"/>
                <a:gd name="T30" fmla="*/ 57 w 12071"/>
                <a:gd name="T31" fmla="*/ 411 h 503"/>
                <a:gd name="T32" fmla="*/ 82 w 12071"/>
                <a:gd name="T33" fmla="*/ 438 h 503"/>
                <a:gd name="T34" fmla="*/ 111 w 12071"/>
                <a:gd name="T35" fmla="*/ 460 h 503"/>
                <a:gd name="T36" fmla="*/ 143 w 12071"/>
                <a:gd name="T37" fmla="*/ 479 h 503"/>
                <a:gd name="T38" fmla="*/ 177 w 12071"/>
                <a:gd name="T39" fmla="*/ 492 h 503"/>
                <a:gd name="T40" fmla="*/ 213 w 12071"/>
                <a:gd name="T41" fmla="*/ 500 h 503"/>
                <a:gd name="T42" fmla="*/ 251 w 12071"/>
                <a:gd name="T43" fmla="*/ 503 h 503"/>
                <a:gd name="T44" fmla="*/ 11846 w 12071"/>
                <a:gd name="T45" fmla="*/ 502 h 503"/>
                <a:gd name="T46" fmla="*/ 11882 w 12071"/>
                <a:gd name="T47" fmla="*/ 495 h 503"/>
                <a:gd name="T48" fmla="*/ 11917 w 12071"/>
                <a:gd name="T49" fmla="*/ 484 h 503"/>
                <a:gd name="T50" fmla="*/ 11949 w 12071"/>
                <a:gd name="T51" fmla="*/ 467 h 503"/>
                <a:gd name="T52" fmla="*/ 11980 w 12071"/>
                <a:gd name="T53" fmla="*/ 446 h 503"/>
                <a:gd name="T54" fmla="*/ 12006 w 12071"/>
                <a:gd name="T55" fmla="*/ 420 h 503"/>
                <a:gd name="T56" fmla="*/ 12028 w 12071"/>
                <a:gd name="T57" fmla="*/ 392 h 503"/>
                <a:gd name="T58" fmla="*/ 12046 w 12071"/>
                <a:gd name="T59" fmla="*/ 360 h 503"/>
                <a:gd name="T60" fmla="*/ 12060 w 12071"/>
                <a:gd name="T61" fmla="*/ 326 h 503"/>
                <a:gd name="T62" fmla="*/ 12068 w 12071"/>
                <a:gd name="T63" fmla="*/ 290 h 503"/>
                <a:gd name="T64" fmla="*/ 12071 w 12071"/>
                <a:gd name="T65" fmla="*/ 251 h 503"/>
                <a:gd name="T66" fmla="*/ 12068 w 12071"/>
                <a:gd name="T67" fmla="*/ 213 h 503"/>
                <a:gd name="T68" fmla="*/ 12060 w 12071"/>
                <a:gd name="T69" fmla="*/ 177 h 503"/>
                <a:gd name="T70" fmla="*/ 12046 w 12071"/>
                <a:gd name="T71" fmla="*/ 143 h 503"/>
                <a:gd name="T72" fmla="*/ 12028 w 12071"/>
                <a:gd name="T73" fmla="*/ 111 h 503"/>
                <a:gd name="T74" fmla="*/ 12006 w 12071"/>
                <a:gd name="T75" fmla="*/ 82 h 503"/>
                <a:gd name="T76" fmla="*/ 11980 w 12071"/>
                <a:gd name="T77" fmla="*/ 57 h 503"/>
                <a:gd name="T78" fmla="*/ 11949 w 12071"/>
                <a:gd name="T79" fmla="*/ 36 h 503"/>
                <a:gd name="T80" fmla="*/ 11917 w 12071"/>
                <a:gd name="T81" fmla="*/ 20 h 503"/>
                <a:gd name="T82" fmla="*/ 11882 w 12071"/>
                <a:gd name="T83" fmla="*/ 8 h 503"/>
                <a:gd name="T84" fmla="*/ 11846 w 12071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71" h="503">
                  <a:moveTo>
                    <a:pt x="11820" y="0"/>
                  </a:moveTo>
                  <a:lnTo>
                    <a:pt x="251" y="0"/>
                  </a:lnTo>
                  <a:lnTo>
                    <a:pt x="238" y="1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8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3"/>
                  </a:lnTo>
                  <a:lnTo>
                    <a:pt x="100" y="50"/>
                  </a:lnTo>
                  <a:lnTo>
                    <a:pt x="91" y="57"/>
                  </a:lnTo>
                  <a:lnTo>
                    <a:pt x="82" y="65"/>
                  </a:lnTo>
                  <a:lnTo>
                    <a:pt x="73" y="73"/>
                  </a:lnTo>
                  <a:lnTo>
                    <a:pt x="65" y="82"/>
                  </a:lnTo>
                  <a:lnTo>
                    <a:pt x="57" y="91"/>
                  </a:lnTo>
                  <a:lnTo>
                    <a:pt x="50" y="100"/>
                  </a:lnTo>
                  <a:lnTo>
                    <a:pt x="43" y="111"/>
                  </a:lnTo>
                  <a:lnTo>
                    <a:pt x="36" y="121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6"/>
                  </a:lnTo>
                  <a:lnTo>
                    <a:pt x="0" y="238"/>
                  </a:lnTo>
                  <a:lnTo>
                    <a:pt x="0" y="251"/>
                  </a:lnTo>
                  <a:lnTo>
                    <a:pt x="0" y="264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2"/>
                  </a:lnTo>
                  <a:lnTo>
                    <a:pt x="57" y="411"/>
                  </a:lnTo>
                  <a:lnTo>
                    <a:pt x="65" y="420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9"/>
                  </a:lnTo>
                  <a:lnTo>
                    <a:pt x="154" y="484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8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11820" y="503"/>
                  </a:lnTo>
                  <a:lnTo>
                    <a:pt x="11833" y="503"/>
                  </a:lnTo>
                  <a:lnTo>
                    <a:pt x="11846" y="502"/>
                  </a:lnTo>
                  <a:lnTo>
                    <a:pt x="11858" y="500"/>
                  </a:lnTo>
                  <a:lnTo>
                    <a:pt x="11870" y="498"/>
                  </a:lnTo>
                  <a:lnTo>
                    <a:pt x="11882" y="495"/>
                  </a:lnTo>
                  <a:lnTo>
                    <a:pt x="11894" y="492"/>
                  </a:lnTo>
                  <a:lnTo>
                    <a:pt x="11906" y="488"/>
                  </a:lnTo>
                  <a:lnTo>
                    <a:pt x="11917" y="484"/>
                  </a:lnTo>
                  <a:lnTo>
                    <a:pt x="11928" y="479"/>
                  </a:lnTo>
                  <a:lnTo>
                    <a:pt x="11939" y="473"/>
                  </a:lnTo>
                  <a:lnTo>
                    <a:pt x="11949" y="467"/>
                  </a:lnTo>
                  <a:lnTo>
                    <a:pt x="11960" y="460"/>
                  </a:lnTo>
                  <a:lnTo>
                    <a:pt x="11970" y="453"/>
                  </a:lnTo>
                  <a:lnTo>
                    <a:pt x="11980" y="446"/>
                  </a:lnTo>
                  <a:lnTo>
                    <a:pt x="11989" y="438"/>
                  </a:lnTo>
                  <a:lnTo>
                    <a:pt x="11998" y="430"/>
                  </a:lnTo>
                  <a:lnTo>
                    <a:pt x="12006" y="420"/>
                  </a:lnTo>
                  <a:lnTo>
                    <a:pt x="12014" y="411"/>
                  </a:lnTo>
                  <a:lnTo>
                    <a:pt x="12021" y="402"/>
                  </a:lnTo>
                  <a:lnTo>
                    <a:pt x="12028" y="392"/>
                  </a:lnTo>
                  <a:lnTo>
                    <a:pt x="12035" y="382"/>
                  </a:lnTo>
                  <a:lnTo>
                    <a:pt x="12041" y="371"/>
                  </a:lnTo>
                  <a:lnTo>
                    <a:pt x="12046" y="360"/>
                  </a:lnTo>
                  <a:lnTo>
                    <a:pt x="12051" y="349"/>
                  </a:lnTo>
                  <a:lnTo>
                    <a:pt x="12056" y="338"/>
                  </a:lnTo>
                  <a:lnTo>
                    <a:pt x="12060" y="326"/>
                  </a:lnTo>
                  <a:lnTo>
                    <a:pt x="12063" y="315"/>
                  </a:lnTo>
                  <a:lnTo>
                    <a:pt x="12066" y="303"/>
                  </a:lnTo>
                  <a:lnTo>
                    <a:pt x="12068" y="290"/>
                  </a:lnTo>
                  <a:lnTo>
                    <a:pt x="12070" y="278"/>
                  </a:lnTo>
                  <a:lnTo>
                    <a:pt x="12071" y="264"/>
                  </a:lnTo>
                  <a:lnTo>
                    <a:pt x="12071" y="251"/>
                  </a:lnTo>
                  <a:lnTo>
                    <a:pt x="12071" y="238"/>
                  </a:lnTo>
                  <a:lnTo>
                    <a:pt x="12070" y="226"/>
                  </a:lnTo>
                  <a:lnTo>
                    <a:pt x="12068" y="213"/>
                  </a:lnTo>
                  <a:lnTo>
                    <a:pt x="12066" y="201"/>
                  </a:lnTo>
                  <a:lnTo>
                    <a:pt x="12063" y="189"/>
                  </a:lnTo>
                  <a:lnTo>
                    <a:pt x="12060" y="177"/>
                  </a:lnTo>
                  <a:lnTo>
                    <a:pt x="12056" y="165"/>
                  </a:lnTo>
                  <a:lnTo>
                    <a:pt x="12051" y="154"/>
                  </a:lnTo>
                  <a:lnTo>
                    <a:pt x="12046" y="143"/>
                  </a:lnTo>
                  <a:lnTo>
                    <a:pt x="12041" y="132"/>
                  </a:lnTo>
                  <a:lnTo>
                    <a:pt x="12035" y="121"/>
                  </a:lnTo>
                  <a:lnTo>
                    <a:pt x="12028" y="111"/>
                  </a:lnTo>
                  <a:lnTo>
                    <a:pt x="12021" y="100"/>
                  </a:lnTo>
                  <a:lnTo>
                    <a:pt x="12014" y="91"/>
                  </a:lnTo>
                  <a:lnTo>
                    <a:pt x="12006" y="82"/>
                  </a:lnTo>
                  <a:lnTo>
                    <a:pt x="11998" y="73"/>
                  </a:lnTo>
                  <a:lnTo>
                    <a:pt x="11989" y="65"/>
                  </a:lnTo>
                  <a:lnTo>
                    <a:pt x="11980" y="57"/>
                  </a:lnTo>
                  <a:lnTo>
                    <a:pt x="11970" y="50"/>
                  </a:lnTo>
                  <a:lnTo>
                    <a:pt x="11960" y="43"/>
                  </a:lnTo>
                  <a:lnTo>
                    <a:pt x="11949" y="36"/>
                  </a:lnTo>
                  <a:lnTo>
                    <a:pt x="11939" y="30"/>
                  </a:lnTo>
                  <a:lnTo>
                    <a:pt x="11928" y="25"/>
                  </a:lnTo>
                  <a:lnTo>
                    <a:pt x="11917" y="20"/>
                  </a:lnTo>
                  <a:lnTo>
                    <a:pt x="11906" y="15"/>
                  </a:lnTo>
                  <a:lnTo>
                    <a:pt x="11894" y="11"/>
                  </a:lnTo>
                  <a:lnTo>
                    <a:pt x="11882" y="8"/>
                  </a:lnTo>
                  <a:lnTo>
                    <a:pt x="11870" y="5"/>
                  </a:lnTo>
                  <a:lnTo>
                    <a:pt x="11858" y="3"/>
                  </a:lnTo>
                  <a:lnTo>
                    <a:pt x="11846" y="1"/>
                  </a:lnTo>
                  <a:lnTo>
                    <a:pt x="11833" y="1"/>
                  </a:lnTo>
                  <a:lnTo>
                    <a:pt x="118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94" name="ïṣ1ïďè">
              <a:extLst>
                <a:ext uri="{FF2B5EF4-FFF2-40B4-BE49-F238E27FC236}">
                  <a16:creationId xmlns:a16="http://schemas.microsoft.com/office/drawing/2014/main" id="{97CD5BC1-B2F8-4518-A621-36BED9FFBC3B}"/>
                </a:ext>
              </a:extLst>
            </p:cNvPr>
            <p:cNvSpPr/>
            <p:nvPr/>
          </p:nvSpPr>
          <p:spPr bwMode="auto">
            <a:xfrm>
              <a:off x="3426204" y="177409"/>
              <a:ext cx="229443" cy="9823"/>
            </a:xfrm>
            <a:custGeom>
              <a:avLst/>
              <a:gdLst>
                <a:gd name="T0" fmla="*/ 238 w 12071"/>
                <a:gd name="T1" fmla="*/ 0 h 503"/>
                <a:gd name="T2" fmla="*/ 201 w 12071"/>
                <a:gd name="T3" fmla="*/ 5 h 503"/>
                <a:gd name="T4" fmla="*/ 165 w 12071"/>
                <a:gd name="T5" fmla="*/ 15 h 503"/>
                <a:gd name="T6" fmla="*/ 132 w 12071"/>
                <a:gd name="T7" fmla="*/ 30 h 503"/>
                <a:gd name="T8" fmla="*/ 100 w 12071"/>
                <a:gd name="T9" fmla="*/ 50 h 503"/>
                <a:gd name="T10" fmla="*/ 73 w 12071"/>
                <a:gd name="T11" fmla="*/ 73 h 503"/>
                <a:gd name="T12" fmla="*/ 50 w 12071"/>
                <a:gd name="T13" fmla="*/ 101 h 503"/>
                <a:gd name="T14" fmla="*/ 30 w 12071"/>
                <a:gd name="T15" fmla="*/ 132 h 503"/>
                <a:gd name="T16" fmla="*/ 15 w 12071"/>
                <a:gd name="T17" fmla="*/ 165 h 503"/>
                <a:gd name="T18" fmla="*/ 5 w 12071"/>
                <a:gd name="T19" fmla="*/ 201 h 503"/>
                <a:gd name="T20" fmla="*/ 0 w 12071"/>
                <a:gd name="T21" fmla="*/ 239 h 503"/>
                <a:gd name="T22" fmla="*/ 1 w 12071"/>
                <a:gd name="T23" fmla="*/ 278 h 503"/>
                <a:gd name="T24" fmla="*/ 8 w 12071"/>
                <a:gd name="T25" fmla="*/ 315 h 503"/>
                <a:gd name="T26" fmla="*/ 20 w 12071"/>
                <a:gd name="T27" fmla="*/ 349 h 503"/>
                <a:gd name="T28" fmla="*/ 36 w 12071"/>
                <a:gd name="T29" fmla="*/ 382 h 503"/>
                <a:gd name="T30" fmla="*/ 57 w 12071"/>
                <a:gd name="T31" fmla="*/ 412 h 503"/>
                <a:gd name="T32" fmla="*/ 82 w 12071"/>
                <a:gd name="T33" fmla="*/ 438 h 503"/>
                <a:gd name="T34" fmla="*/ 111 w 12071"/>
                <a:gd name="T35" fmla="*/ 460 h 503"/>
                <a:gd name="T36" fmla="*/ 143 w 12071"/>
                <a:gd name="T37" fmla="*/ 478 h 503"/>
                <a:gd name="T38" fmla="*/ 177 w 12071"/>
                <a:gd name="T39" fmla="*/ 492 h 503"/>
                <a:gd name="T40" fmla="*/ 213 w 12071"/>
                <a:gd name="T41" fmla="*/ 500 h 503"/>
                <a:gd name="T42" fmla="*/ 251 w 12071"/>
                <a:gd name="T43" fmla="*/ 503 h 503"/>
                <a:gd name="T44" fmla="*/ 11846 w 12071"/>
                <a:gd name="T45" fmla="*/ 502 h 503"/>
                <a:gd name="T46" fmla="*/ 11882 w 12071"/>
                <a:gd name="T47" fmla="*/ 495 h 503"/>
                <a:gd name="T48" fmla="*/ 11917 w 12071"/>
                <a:gd name="T49" fmla="*/ 483 h 503"/>
                <a:gd name="T50" fmla="*/ 11949 w 12071"/>
                <a:gd name="T51" fmla="*/ 467 h 503"/>
                <a:gd name="T52" fmla="*/ 11980 w 12071"/>
                <a:gd name="T53" fmla="*/ 446 h 503"/>
                <a:gd name="T54" fmla="*/ 12006 w 12071"/>
                <a:gd name="T55" fmla="*/ 421 h 503"/>
                <a:gd name="T56" fmla="*/ 12028 w 12071"/>
                <a:gd name="T57" fmla="*/ 392 h 503"/>
                <a:gd name="T58" fmla="*/ 12046 w 12071"/>
                <a:gd name="T59" fmla="*/ 360 h 503"/>
                <a:gd name="T60" fmla="*/ 12060 w 12071"/>
                <a:gd name="T61" fmla="*/ 326 h 503"/>
                <a:gd name="T62" fmla="*/ 12068 w 12071"/>
                <a:gd name="T63" fmla="*/ 290 h 503"/>
                <a:gd name="T64" fmla="*/ 12071 w 12071"/>
                <a:gd name="T65" fmla="*/ 252 h 503"/>
                <a:gd name="T66" fmla="*/ 12068 w 12071"/>
                <a:gd name="T67" fmla="*/ 213 h 503"/>
                <a:gd name="T68" fmla="*/ 12060 w 12071"/>
                <a:gd name="T69" fmla="*/ 177 h 503"/>
                <a:gd name="T70" fmla="*/ 12046 w 12071"/>
                <a:gd name="T71" fmla="*/ 143 h 503"/>
                <a:gd name="T72" fmla="*/ 12028 w 12071"/>
                <a:gd name="T73" fmla="*/ 111 h 503"/>
                <a:gd name="T74" fmla="*/ 12006 w 12071"/>
                <a:gd name="T75" fmla="*/ 83 h 503"/>
                <a:gd name="T76" fmla="*/ 11980 w 12071"/>
                <a:gd name="T77" fmla="*/ 57 h 503"/>
                <a:gd name="T78" fmla="*/ 11949 w 12071"/>
                <a:gd name="T79" fmla="*/ 36 h 503"/>
                <a:gd name="T80" fmla="*/ 11917 w 12071"/>
                <a:gd name="T81" fmla="*/ 20 h 503"/>
                <a:gd name="T82" fmla="*/ 11882 w 12071"/>
                <a:gd name="T83" fmla="*/ 8 h 503"/>
                <a:gd name="T84" fmla="*/ 11846 w 12071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71" h="503">
                  <a:moveTo>
                    <a:pt x="11820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8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3"/>
                  </a:lnTo>
                  <a:lnTo>
                    <a:pt x="100" y="50"/>
                  </a:lnTo>
                  <a:lnTo>
                    <a:pt x="91" y="57"/>
                  </a:lnTo>
                  <a:lnTo>
                    <a:pt x="82" y="65"/>
                  </a:lnTo>
                  <a:lnTo>
                    <a:pt x="73" y="73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1"/>
                  </a:lnTo>
                  <a:lnTo>
                    <a:pt x="43" y="111"/>
                  </a:lnTo>
                  <a:lnTo>
                    <a:pt x="36" y="121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6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8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11820" y="503"/>
                  </a:lnTo>
                  <a:lnTo>
                    <a:pt x="11833" y="503"/>
                  </a:lnTo>
                  <a:lnTo>
                    <a:pt x="11846" y="502"/>
                  </a:lnTo>
                  <a:lnTo>
                    <a:pt x="11858" y="500"/>
                  </a:lnTo>
                  <a:lnTo>
                    <a:pt x="11870" y="498"/>
                  </a:lnTo>
                  <a:lnTo>
                    <a:pt x="11882" y="495"/>
                  </a:lnTo>
                  <a:lnTo>
                    <a:pt x="11894" y="492"/>
                  </a:lnTo>
                  <a:lnTo>
                    <a:pt x="11906" y="488"/>
                  </a:lnTo>
                  <a:lnTo>
                    <a:pt x="11917" y="483"/>
                  </a:lnTo>
                  <a:lnTo>
                    <a:pt x="11928" y="478"/>
                  </a:lnTo>
                  <a:lnTo>
                    <a:pt x="11939" y="473"/>
                  </a:lnTo>
                  <a:lnTo>
                    <a:pt x="11949" y="467"/>
                  </a:lnTo>
                  <a:lnTo>
                    <a:pt x="11960" y="460"/>
                  </a:lnTo>
                  <a:lnTo>
                    <a:pt x="11970" y="453"/>
                  </a:lnTo>
                  <a:lnTo>
                    <a:pt x="11980" y="446"/>
                  </a:lnTo>
                  <a:lnTo>
                    <a:pt x="11989" y="438"/>
                  </a:lnTo>
                  <a:lnTo>
                    <a:pt x="11998" y="430"/>
                  </a:lnTo>
                  <a:lnTo>
                    <a:pt x="12006" y="421"/>
                  </a:lnTo>
                  <a:lnTo>
                    <a:pt x="12014" y="412"/>
                  </a:lnTo>
                  <a:lnTo>
                    <a:pt x="12021" y="403"/>
                  </a:lnTo>
                  <a:lnTo>
                    <a:pt x="12028" y="392"/>
                  </a:lnTo>
                  <a:lnTo>
                    <a:pt x="12035" y="382"/>
                  </a:lnTo>
                  <a:lnTo>
                    <a:pt x="12041" y="371"/>
                  </a:lnTo>
                  <a:lnTo>
                    <a:pt x="12046" y="360"/>
                  </a:lnTo>
                  <a:lnTo>
                    <a:pt x="12051" y="349"/>
                  </a:lnTo>
                  <a:lnTo>
                    <a:pt x="12056" y="338"/>
                  </a:lnTo>
                  <a:lnTo>
                    <a:pt x="12060" y="326"/>
                  </a:lnTo>
                  <a:lnTo>
                    <a:pt x="12063" y="315"/>
                  </a:lnTo>
                  <a:lnTo>
                    <a:pt x="12066" y="302"/>
                  </a:lnTo>
                  <a:lnTo>
                    <a:pt x="12068" y="290"/>
                  </a:lnTo>
                  <a:lnTo>
                    <a:pt x="12070" y="278"/>
                  </a:lnTo>
                  <a:lnTo>
                    <a:pt x="12071" y="265"/>
                  </a:lnTo>
                  <a:lnTo>
                    <a:pt x="12071" y="252"/>
                  </a:lnTo>
                  <a:lnTo>
                    <a:pt x="12071" y="239"/>
                  </a:lnTo>
                  <a:lnTo>
                    <a:pt x="12070" y="226"/>
                  </a:lnTo>
                  <a:lnTo>
                    <a:pt x="12068" y="213"/>
                  </a:lnTo>
                  <a:lnTo>
                    <a:pt x="12066" y="201"/>
                  </a:lnTo>
                  <a:lnTo>
                    <a:pt x="12063" y="189"/>
                  </a:lnTo>
                  <a:lnTo>
                    <a:pt x="12060" y="177"/>
                  </a:lnTo>
                  <a:lnTo>
                    <a:pt x="12056" y="165"/>
                  </a:lnTo>
                  <a:lnTo>
                    <a:pt x="12051" y="154"/>
                  </a:lnTo>
                  <a:lnTo>
                    <a:pt x="12046" y="143"/>
                  </a:lnTo>
                  <a:lnTo>
                    <a:pt x="12041" y="132"/>
                  </a:lnTo>
                  <a:lnTo>
                    <a:pt x="12035" y="121"/>
                  </a:lnTo>
                  <a:lnTo>
                    <a:pt x="12028" y="111"/>
                  </a:lnTo>
                  <a:lnTo>
                    <a:pt x="12021" y="101"/>
                  </a:lnTo>
                  <a:lnTo>
                    <a:pt x="12014" y="92"/>
                  </a:lnTo>
                  <a:lnTo>
                    <a:pt x="12006" y="83"/>
                  </a:lnTo>
                  <a:lnTo>
                    <a:pt x="11998" y="73"/>
                  </a:lnTo>
                  <a:lnTo>
                    <a:pt x="11989" y="65"/>
                  </a:lnTo>
                  <a:lnTo>
                    <a:pt x="11980" y="57"/>
                  </a:lnTo>
                  <a:lnTo>
                    <a:pt x="11970" y="50"/>
                  </a:lnTo>
                  <a:lnTo>
                    <a:pt x="11960" y="43"/>
                  </a:lnTo>
                  <a:lnTo>
                    <a:pt x="11949" y="36"/>
                  </a:lnTo>
                  <a:lnTo>
                    <a:pt x="11939" y="30"/>
                  </a:lnTo>
                  <a:lnTo>
                    <a:pt x="11928" y="25"/>
                  </a:lnTo>
                  <a:lnTo>
                    <a:pt x="11917" y="20"/>
                  </a:lnTo>
                  <a:lnTo>
                    <a:pt x="11906" y="15"/>
                  </a:lnTo>
                  <a:lnTo>
                    <a:pt x="11894" y="11"/>
                  </a:lnTo>
                  <a:lnTo>
                    <a:pt x="11882" y="8"/>
                  </a:lnTo>
                  <a:lnTo>
                    <a:pt x="11870" y="5"/>
                  </a:lnTo>
                  <a:lnTo>
                    <a:pt x="11858" y="3"/>
                  </a:lnTo>
                  <a:lnTo>
                    <a:pt x="11846" y="1"/>
                  </a:lnTo>
                  <a:lnTo>
                    <a:pt x="11833" y="0"/>
                  </a:lnTo>
                  <a:lnTo>
                    <a:pt x="118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95" name="îsľiḋe">
              <a:extLst>
                <a:ext uri="{FF2B5EF4-FFF2-40B4-BE49-F238E27FC236}">
                  <a16:creationId xmlns:a16="http://schemas.microsoft.com/office/drawing/2014/main" id="{670AF43C-8D12-4476-8C90-D7453F880105}"/>
                </a:ext>
              </a:extLst>
            </p:cNvPr>
            <p:cNvSpPr/>
            <p:nvPr/>
          </p:nvSpPr>
          <p:spPr bwMode="auto">
            <a:xfrm>
              <a:off x="3426204" y="81983"/>
              <a:ext cx="86304" cy="76482"/>
            </a:xfrm>
            <a:custGeom>
              <a:avLst/>
              <a:gdLst>
                <a:gd name="T0" fmla="*/ 3521 w 4527"/>
                <a:gd name="T1" fmla="*/ 3019 h 4026"/>
                <a:gd name="T2" fmla="*/ 503 w 4527"/>
                <a:gd name="T3" fmla="*/ 4026 h 4026"/>
                <a:gd name="T4" fmla="*/ 4076 w 4527"/>
                <a:gd name="T5" fmla="*/ 4023 h 4026"/>
                <a:gd name="T6" fmla="*/ 4149 w 4527"/>
                <a:gd name="T7" fmla="*/ 4009 h 4026"/>
                <a:gd name="T8" fmla="*/ 4220 w 4527"/>
                <a:gd name="T9" fmla="*/ 3986 h 4026"/>
                <a:gd name="T10" fmla="*/ 4285 w 4527"/>
                <a:gd name="T11" fmla="*/ 3953 h 4026"/>
                <a:gd name="T12" fmla="*/ 4345 w 4527"/>
                <a:gd name="T13" fmla="*/ 3911 h 4026"/>
                <a:gd name="T14" fmla="*/ 4397 w 4527"/>
                <a:gd name="T15" fmla="*/ 3861 h 4026"/>
                <a:gd name="T16" fmla="*/ 4441 w 4527"/>
                <a:gd name="T17" fmla="*/ 3804 h 4026"/>
                <a:gd name="T18" fmla="*/ 4477 w 4527"/>
                <a:gd name="T19" fmla="*/ 3741 h 4026"/>
                <a:gd name="T20" fmla="*/ 4504 w 4527"/>
                <a:gd name="T21" fmla="*/ 3672 h 4026"/>
                <a:gd name="T22" fmla="*/ 4522 w 4527"/>
                <a:gd name="T23" fmla="*/ 3599 h 4026"/>
                <a:gd name="T24" fmla="*/ 4527 w 4527"/>
                <a:gd name="T25" fmla="*/ 3522 h 4026"/>
                <a:gd name="T26" fmla="*/ 4525 w 4527"/>
                <a:gd name="T27" fmla="*/ 452 h 4026"/>
                <a:gd name="T28" fmla="*/ 4512 w 4527"/>
                <a:gd name="T29" fmla="*/ 377 h 4026"/>
                <a:gd name="T30" fmla="*/ 4487 w 4527"/>
                <a:gd name="T31" fmla="*/ 307 h 4026"/>
                <a:gd name="T32" fmla="*/ 4454 w 4527"/>
                <a:gd name="T33" fmla="*/ 243 h 4026"/>
                <a:gd name="T34" fmla="*/ 4412 w 4527"/>
                <a:gd name="T35" fmla="*/ 183 h 4026"/>
                <a:gd name="T36" fmla="*/ 4363 w 4527"/>
                <a:gd name="T37" fmla="*/ 131 h 4026"/>
                <a:gd name="T38" fmla="*/ 4305 w 4527"/>
                <a:gd name="T39" fmla="*/ 86 h 4026"/>
                <a:gd name="T40" fmla="*/ 4242 w 4527"/>
                <a:gd name="T41" fmla="*/ 49 h 4026"/>
                <a:gd name="T42" fmla="*/ 4174 w 4527"/>
                <a:gd name="T43" fmla="*/ 22 h 4026"/>
                <a:gd name="T44" fmla="*/ 4101 w 4527"/>
                <a:gd name="T45" fmla="*/ 6 h 4026"/>
                <a:gd name="T46" fmla="*/ 4024 w 4527"/>
                <a:gd name="T47" fmla="*/ 0 h 4026"/>
                <a:gd name="T48" fmla="*/ 452 w 4527"/>
                <a:gd name="T49" fmla="*/ 3 h 4026"/>
                <a:gd name="T50" fmla="*/ 377 w 4527"/>
                <a:gd name="T51" fmla="*/ 16 h 4026"/>
                <a:gd name="T52" fmla="*/ 307 w 4527"/>
                <a:gd name="T53" fmla="*/ 39 h 4026"/>
                <a:gd name="T54" fmla="*/ 242 w 4527"/>
                <a:gd name="T55" fmla="*/ 72 h 4026"/>
                <a:gd name="T56" fmla="*/ 183 w 4527"/>
                <a:gd name="T57" fmla="*/ 115 h 4026"/>
                <a:gd name="T58" fmla="*/ 131 w 4527"/>
                <a:gd name="T59" fmla="*/ 165 h 4026"/>
                <a:gd name="T60" fmla="*/ 85 w 4527"/>
                <a:gd name="T61" fmla="*/ 221 h 4026"/>
                <a:gd name="T62" fmla="*/ 49 w 4527"/>
                <a:gd name="T63" fmla="*/ 285 h 4026"/>
                <a:gd name="T64" fmla="*/ 22 w 4527"/>
                <a:gd name="T65" fmla="*/ 353 h 4026"/>
                <a:gd name="T66" fmla="*/ 6 w 4527"/>
                <a:gd name="T67" fmla="*/ 427 h 4026"/>
                <a:gd name="T68" fmla="*/ 0 w 4527"/>
                <a:gd name="T69" fmla="*/ 503 h 4026"/>
                <a:gd name="T70" fmla="*/ 3 w 4527"/>
                <a:gd name="T71" fmla="*/ 3574 h 4026"/>
                <a:gd name="T72" fmla="*/ 16 w 4527"/>
                <a:gd name="T73" fmla="*/ 3648 h 4026"/>
                <a:gd name="T74" fmla="*/ 39 w 4527"/>
                <a:gd name="T75" fmla="*/ 3719 h 4026"/>
                <a:gd name="T76" fmla="*/ 72 w 4527"/>
                <a:gd name="T77" fmla="*/ 3783 h 4026"/>
                <a:gd name="T78" fmla="*/ 115 w 4527"/>
                <a:gd name="T79" fmla="*/ 3842 h 4026"/>
                <a:gd name="T80" fmla="*/ 165 w 4527"/>
                <a:gd name="T81" fmla="*/ 3895 h 4026"/>
                <a:gd name="T82" fmla="*/ 221 w 4527"/>
                <a:gd name="T83" fmla="*/ 3940 h 4026"/>
                <a:gd name="T84" fmla="*/ 285 w 4527"/>
                <a:gd name="T85" fmla="*/ 3976 h 4026"/>
                <a:gd name="T86" fmla="*/ 353 w 4527"/>
                <a:gd name="T87" fmla="*/ 4003 h 4026"/>
                <a:gd name="T88" fmla="*/ 426 w 4527"/>
                <a:gd name="T89" fmla="*/ 4020 h 4026"/>
                <a:gd name="T90" fmla="*/ 503 w 4527"/>
                <a:gd name="T91" fmla="*/ 4026 h 40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527" h="4026">
                  <a:moveTo>
                    <a:pt x="1006" y="1006"/>
                  </a:moveTo>
                  <a:lnTo>
                    <a:pt x="3521" y="1006"/>
                  </a:lnTo>
                  <a:lnTo>
                    <a:pt x="3521" y="3019"/>
                  </a:lnTo>
                  <a:lnTo>
                    <a:pt x="1006" y="3019"/>
                  </a:lnTo>
                  <a:lnTo>
                    <a:pt x="1006" y="1006"/>
                  </a:lnTo>
                  <a:close/>
                  <a:moveTo>
                    <a:pt x="503" y="4026"/>
                  </a:moveTo>
                  <a:lnTo>
                    <a:pt x="4024" y="4026"/>
                  </a:lnTo>
                  <a:lnTo>
                    <a:pt x="4050" y="4025"/>
                  </a:lnTo>
                  <a:lnTo>
                    <a:pt x="4076" y="4023"/>
                  </a:lnTo>
                  <a:lnTo>
                    <a:pt x="4101" y="4020"/>
                  </a:lnTo>
                  <a:lnTo>
                    <a:pt x="4125" y="4016"/>
                  </a:lnTo>
                  <a:lnTo>
                    <a:pt x="4149" y="4009"/>
                  </a:lnTo>
                  <a:lnTo>
                    <a:pt x="4174" y="4003"/>
                  </a:lnTo>
                  <a:lnTo>
                    <a:pt x="4197" y="3995"/>
                  </a:lnTo>
                  <a:lnTo>
                    <a:pt x="4220" y="3986"/>
                  </a:lnTo>
                  <a:lnTo>
                    <a:pt x="4242" y="3976"/>
                  </a:lnTo>
                  <a:lnTo>
                    <a:pt x="4264" y="3965"/>
                  </a:lnTo>
                  <a:lnTo>
                    <a:pt x="4285" y="3953"/>
                  </a:lnTo>
                  <a:lnTo>
                    <a:pt x="4305" y="3940"/>
                  </a:lnTo>
                  <a:lnTo>
                    <a:pt x="4325" y="3926"/>
                  </a:lnTo>
                  <a:lnTo>
                    <a:pt x="4345" y="3911"/>
                  </a:lnTo>
                  <a:lnTo>
                    <a:pt x="4363" y="3895"/>
                  </a:lnTo>
                  <a:lnTo>
                    <a:pt x="4380" y="3879"/>
                  </a:lnTo>
                  <a:lnTo>
                    <a:pt x="4397" y="3861"/>
                  </a:lnTo>
                  <a:lnTo>
                    <a:pt x="4412" y="3842"/>
                  </a:lnTo>
                  <a:lnTo>
                    <a:pt x="4427" y="3823"/>
                  </a:lnTo>
                  <a:lnTo>
                    <a:pt x="4441" y="3804"/>
                  </a:lnTo>
                  <a:lnTo>
                    <a:pt x="4454" y="3783"/>
                  </a:lnTo>
                  <a:lnTo>
                    <a:pt x="4466" y="3762"/>
                  </a:lnTo>
                  <a:lnTo>
                    <a:pt x="4477" y="3741"/>
                  </a:lnTo>
                  <a:lnTo>
                    <a:pt x="4487" y="3719"/>
                  </a:lnTo>
                  <a:lnTo>
                    <a:pt x="4496" y="3696"/>
                  </a:lnTo>
                  <a:lnTo>
                    <a:pt x="4504" y="3672"/>
                  </a:lnTo>
                  <a:lnTo>
                    <a:pt x="4512" y="3648"/>
                  </a:lnTo>
                  <a:lnTo>
                    <a:pt x="4517" y="3624"/>
                  </a:lnTo>
                  <a:lnTo>
                    <a:pt x="4522" y="3599"/>
                  </a:lnTo>
                  <a:lnTo>
                    <a:pt x="4525" y="3574"/>
                  </a:lnTo>
                  <a:lnTo>
                    <a:pt x="4527" y="3549"/>
                  </a:lnTo>
                  <a:lnTo>
                    <a:pt x="4527" y="3522"/>
                  </a:lnTo>
                  <a:lnTo>
                    <a:pt x="4527" y="503"/>
                  </a:lnTo>
                  <a:lnTo>
                    <a:pt x="4527" y="477"/>
                  </a:lnTo>
                  <a:lnTo>
                    <a:pt x="4525" y="452"/>
                  </a:lnTo>
                  <a:lnTo>
                    <a:pt x="4522" y="427"/>
                  </a:lnTo>
                  <a:lnTo>
                    <a:pt x="4517" y="402"/>
                  </a:lnTo>
                  <a:lnTo>
                    <a:pt x="4512" y="377"/>
                  </a:lnTo>
                  <a:lnTo>
                    <a:pt x="4504" y="353"/>
                  </a:lnTo>
                  <a:lnTo>
                    <a:pt x="4496" y="330"/>
                  </a:lnTo>
                  <a:lnTo>
                    <a:pt x="4487" y="307"/>
                  </a:lnTo>
                  <a:lnTo>
                    <a:pt x="4477" y="285"/>
                  </a:lnTo>
                  <a:lnTo>
                    <a:pt x="4466" y="264"/>
                  </a:lnTo>
                  <a:lnTo>
                    <a:pt x="4454" y="243"/>
                  </a:lnTo>
                  <a:lnTo>
                    <a:pt x="4441" y="221"/>
                  </a:lnTo>
                  <a:lnTo>
                    <a:pt x="4427" y="202"/>
                  </a:lnTo>
                  <a:lnTo>
                    <a:pt x="4412" y="183"/>
                  </a:lnTo>
                  <a:lnTo>
                    <a:pt x="4397" y="165"/>
                  </a:lnTo>
                  <a:lnTo>
                    <a:pt x="4380" y="147"/>
                  </a:lnTo>
                  <a:lnTo>
                    <a:pt x="4363" y="131"/>
                  </a:lnTo>
                  <a:lnTo>
                    <a:pt x="4345" y="115"/>
                  </a:lnTo>
                  <a:lnTo>
                    <a:pt x="4325" y="100"/>
                  </a:lnTo>
                  <a:lnTo>
                    <a:pt x="4305" y="86"/>
                  </a:lnTo>
                  <a:lnTo>
                    <a:pt x="4285" y="72"/>
                  </a:lnTo>
                  <a:lnTo>
                    <a:pt x="4264" y="60"/>
                  </a:lnTo>
                  <a:lnTo>
                    <a:pt x="4242" y="49"/>
                  </a:lnTo>
                  <a:lnTo>
                    <a:pt x="4220" y="39"/>
                  </a:lnTo>
                  <a:lnTo>
                    <a:pt x="4197" y="30"/>
                  </a:lnTo>
                  <a:lnTo>
                    <a:pt x="4174" y="22"/>
                  </a:lnTo>
                  <a:lnTo>
                    <a:pt x="4149" y="16"/>
                  </a:lnTo>
                  <a:lnTo>
                    <a:pt x="4125" y="10"/>
                  </a:lnTo>
                  <a:lnTo>
                    <a:pt x="4101" y="6"/>
                  </a:lnTo>
                  <a:lnTo>
                    <a:pt x="4076" y="3"/>
                  </a:lnTo>
                  <a:lnTo>
                    <a:pt x="4050" y="1"/>
                  </a:lnTo>
                  <a:lnTo>
                    <a:pt x="4024" y="0"/>
                  </a:lnTo>
                  <a:lnTo>
                    <a:pt x="503" y="0"/>
                  </a:lnTo>
                  <a:lnTo>
                    <a:pt x="477" y="1"/>
                  </a:lnTo>
                  <a:lnTo>
                    <a:pt x="452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2" y="60"/>
                  </a:lnTo>
                  <a:lnTo>
                    <a:pt x="242" y="72"/>
                  </a:lnTo>
                  <a:lnTo>
                    <a:pt x="221" y="86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99" y="202"/>
                  </a:lnTo>
                  <a:lnTo>
                    <a:pt x="85" y="221"/>
                  </a:lnTo>
                  <a:lnTo>
                    <a:pt x="72" y="243"/>
                  </a:lnTo>
                  <a:lnTo>
                    <a:pt x="60" y="264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0" y="3522"/>
                  </a:lnTo>
                  <a:lnTo>
                    <a:pt x="1" y="3549"/>
                  </a:lnTo>
                  <a:lnTo>
                    <a:pt x="3" y="3574"/>
                  </a:lnTo>
                  <a:lnTo>
                    <a:pt x="6" y="3599"/>
                  </a:lnTo>
                  <a:lnTo>
                    <a:pt x="10" y="3624"/>
                  </a:lnTo>
                  <a:lnTo>
                    <a:pt x="16" y="3648"/>
                  </a:lnTo>
                  <a:lnTo>
                    <a:pt x="22" y="3672"/>
                  </a:lnTo>
                  <a:lnTo>
                    <a:pt x="30" y="3696"/>
                  </a:lnTo>
                  <a:lnTo>
                    <a:pt x="39" y="3719"/>
                  </a:lnTo>
                  <a:lnTo>
                    <a:pt x="49" y="3741"/>
                  </a:lnTo>
                  <a:lnTo>
                    <a:pt x="60" y="3762"/>
                  </a:lnTo>
                  <a:lnTo>
                    <a:pt x="72" y="3783"/>
                  </a:lnTo>
                  <a:lnTo>
                    <a:pt x="85" y="3804"/>
                  </a:lnTo>
                  <a:lnTo>
                    <a:pt x="99" y="3823"/>
                  </a:lnTo>
                  <a:lnTo>
                    <a:pt x="115" y="3842"/>
                  </a:lnTo>
                  <a:lnTo>
                    <a:pt x="131" y="3861"/>
                  </a:lnTo>
                  <a:lnTo>
                    <a:pt x="147" y="3879"/>
                  </a:lnTo>
                  <a:lnTo>
                    <a:pt x="165" y="3895"/>
                  </a:lnTo>
                  <a:lnTo>
                    <a:pt x="183" y="3911"/>
                  </a:lnTo>
                  <a:lnTo>
                    <a:pt x="202" y="3926"/>
                  </a:lnTo>
                  <a:lnTo>
                    <a:pt x="221" y="3940"/>
                  </a:lnTo>
                  <a:lnTo>
                    <a:pt x="242" y="3953"/>
                  </a:lnTo>
                  <a:lnTo>
                    <a:pt x="262" y="3965"/>
                  </a:lnTo>
                  <a:lnTo>
                    <a:pt x="285" y="3976"/>
                  </a:lnTo>
                  <a:lnTo>
                    <a:pt x="307" y="3986"/>
                  </a:lnTo>
                  <a:lnTo>
                    <a:pt x="330" y="3995"/>
                  </a:lnTo>
                  <a:lnTo>
                    <a:pt x="353" y="4003"/>
                  </a:lnTo>
                  <a:lnTo>
                    <a:pt x="377" y="4009"/>
                  </a:lnTo>
                  <a:lnTo>
                    <a:pt x="401" y="4016"/>
                  </a:lnTo>
                  <a:lnTo>
                    <a:pt x="426" y="4020"/>
                  </a:lnTo>
                  <a:lnTo>
                    <a:pt x="452" y="4023"/>
                  </a:lnTo>
                  <a:lnTo>
                    <a:pt x="477" y="4025"/>
                  </a:lnTo>
                  <a:lnTo>
                    <a:pt x="503" y="40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96" name="ïşľîḑè">
              <a:extLst>
                <a:ext uri="{FF2B5EF4-FFF2-40B4-BE49-F238E27FC236}">
                  <a16:creationId xmlns:a16="http://schemas.microsoft.com/office/drawing/2014/main" id="{BD3019AD-AE3B-4AAB-A3EF-22ADFEACB060}"/>
                </a:ext>
              </a:extLst>
            </p:cNvPr>
            <p:cNvSpPr/>
            <p:nvPr/>
          </p:nvSpPr>
          <p:spPr bwMode="auto">
            <a:xfrm>
              <a:off x="2348575" y="1122194"/>
              <a:ext cx="39479" cy="39479"/>
            </a:xfrm>
            <a:custGeom>
              <a:avLst/>
              <a:gdLst>
                <a:gd name="T0" fmla="*/ 554 w 1006"/>
                <a:gd name="T1" fmla="*/ 1003 h 1006"/>
                <a:gd name="T2" fmla="*/ 628 w 1006"/>
                <a:gd name="T3" fmla="*/ 990 h 1006"/>
                <a:gd name="T4" fmla="*/ 699 w 1006"/>
                <a:gd name="T5" fmla="*/ 966 h 1006"/>
                <a:gd name="T6" fmla="*/ 763 w 1006"/>
                <a:gd name="T7" fmla="*/ 932 h 1006"/>
                <a:gd name="T8" fmla="*/ 822 w 1006"/>
                <a:gd name="T9" fmla="*/ 891 h 1006"/>
                <a:gd name="T10" fmla="*/ 875 w 1006"/>
                <a:gd name="T11" fmla="*/ 841 h 1006"/>
                <a:gd name="T12" fmla="*/ 920 w 1006"/>
                <a:gd name="T13" fmla="*/ 783 h 1006"/>
                <a:gd name="T14" fmla="*/ 956 w 1006"/>
                <a:gd name="T15" fmla="*/ 721 h 1006"/>
                <a:gd name="T16" fmla="*/ 983 w 1006"/>
                <a:gd name="T17" fmla="*/ 653 h 1006"/>
                <a:gd name="T18" fmla="*/ 999 w 1006"/>
                <a:gd name="T19" fmla="*/ 579 h 1006"/>
                <a:gd name="T20" fmla="*/ 1006 w 1006"/>
                <a:gd name="T21" fmla="*/ 503 h 1006"/>
                <a:gd name="T22" fmla="*/ 999 w 1006"/>
                <a:gd name="T23" fmla="*/ 426 h 1006"/>
                <a:gd name="T24" fmla="*/ 983 w 1006"/>
                <a:gd name="T25" fmla="*/ 353 h 1006"/>
                <a:gd name="T26" fmla="*/ 956 w 1006"/>
                <a:gd name="T27" fmla="*/ 284 h 1006"/>
                <a:gd name="T28" fmla="*/ 920 w 1006"/>
                <a:gd name="T29" fmla="*/ 221 h 1006"/>
                <a:gd name="T30" fmla="*/ 875 w 1006"/>
                <a:gd name="T31" fmla="*/ 164 h 1006"/>
                <a:gd name="T32" fmla="*/ 822 w 1006"/>
                <a:gd name="T33" fmla="*/ 114 h 1006"/>
                <a:gd name="T34" fmla="*/ 763 w 1006"/>
                <a:gd name="T35" fmla="*/ 72 h 1006"/>
                <a:gd name="T36" fmla="*/ 699 w 1006"/>
                <a:gd name="T37" fmla="*/ 39 h 1006"/>
                <a:gd name="T38" fmla="*/ 628 w 1006"/>
                <a:gd name="T39" fmla="*/ 15 h 1006"/>
                <a:gd name="T40" fmla="*/ 554 w 1006"/>
                <a:gd name="T41" fmla="*/ 2 h 1006"/>
                <a:gd name="T42" fmla="*/ 476 w 1006"/>
                <a:gd name="T43" fmla="*/ 0 h 1006"/>
                <a:gd name="T44" fmla="*/ 401 w 1006"/>
                <a:gd name="T45" fmla="*/ 10 h 1006"/>
                <a:gd name="T46" fmla="*/ 330 w 1006"/>
                <a:gd name="T47" fmla="*/ 30 h 1006"/>
                <a:gd name="T48" fmla="*/ 263 w 1006"/>
                <a:gd name="T49" fmla="*/ 60 h 1006"/>
                <a:gd name="T50" fmla="*/ 202 w 1006"/>
                <a:gd name="T51" fmla="*/ 99 h 1006"/>
                <a:gd name="T52" fmla="*/ 147 w 1006"/>
                <a:gd name="T53" fmla="*/ 147 h 1006"/>
                <a:gd name="T54" fmla="*/ 99 w 1006"/>
                <a:gd name="T55" fmla="*/ 201 h 1006"/>
                <a:gd name="T56" fmla="*/ 60 w 1006"/>
                <a:gd name="T57" fmla="*/ 262 h 1006"/>
                <a:gd name="T58" fmla="*/ 30 w 1006"/>
                <a:gd name="T59" fmla="*/ 330 h 1006"/>
                <a:gd name="T60" fmla="*/ 10 w 1006"/>
                <a:gd name="T61" fmla="*/ 401 h 1006"/>
                <a:gd name="T62" fmla="*/ 1 w 1006"/>
                <a:gd name="T63" fmla="*/ 477 h 1006"/>
                <a:gd name="T64" fmla="*/ 3 w 1006"/>
                <a:gd name="T65" fmla="*/ 554 h 1006"/>
                <a:gd name="T66" fmla="*/ 16 w 1006"/>
                <a:gd name="T67" fmla="*/ 628 h 1006"/>
                <a:gd name="T68" fmla="*/ 39 w 1006"/>
                <a:gd name="T69" fmla="*/ 699 h 1006"/>
                <a:gd name="T70" fmla="*/ 72 w 1006"/>
                <a:gd name="T71" fmla="*/ 763 h 1006"/>
                <a:gd name="T72" fmla="*/ 114 w 1006"/>
                <a:gd name="T73" fmla="*/ 823 h 1006"/>
                <a:gd name="T74" fmla="*/ 165 w 1006"/>
                <a:gd name="T75" fmla="*/ 875 h 1006"/>
                <a:gd name="T76" fmla="*/ 221 w 1006"/>
                <a:gd name="T77" fmla="*/ 919 h 1006"/>
                <a:gd name="T78" fmla="*/ 284 w 1006"/>
                <a:gd name="T79" fmla="*/ 956 h 1006"/>
                <a:gd name="T80" fmla="*/ 353 w 1006"/>
                <a:gd name="T81" fmla="*/ 983 h 1006"/>
                <a:gd name="T82" fmla="*/ 426 w 1006"/>
                <a:gd name="T83" fmla="*/ 1000 h 1006"/>
                <a:gd name="T84" fmla="*/ 503 w 1006"/>
                <a:gd name="T85" fmla="*/ 10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1006">
                  <a:moveTo>
                    <a:pt x="503" y="1006"/>
                  </a:moveTo>
                  <a:lnTo>
                    <a:pt x="529" y="1005"/>
                  </a:lnTo>
                  <a:lnTo>
                    <a:pt x="554" y="1003"/>
                  </a:lnTo>
                  <a:lnTo>
                    <a:pt x="579" y="1000"/>
                  </a:lnTo>
                  <a:lnTo>
                    <a:pt x="604" y="996"/>
                  </a:lnTo>
                  <a:lnTo>
                    <a:pt x="628" y="990"/>
                  </a:lnTo>
                  <a:lnTo>
                    <a:pt x="652" y="983"/>
                  </a:lnTo>
                  <a:lnTo>
                    <a:pt x="676" y="974"/>
                  </a:lnTo>
                  <a:lnTo>
                    <a:pt x="699" y="966"/>
                  </a:lnTo>
                  <a:lnTo>
                    <a:pt x="721" y="956"/>
                  </a:lnTo>
                  <a:lnTo>
                    <a:pt x="742" y="944"/>
                  </a:lnTo>
                  <a:lnTo>
                    <a:pt x="763" y="932"/>
                  </a:lnTo>
                  <a:lnTo>
                    <a:pt x="784" y="919"/>
                  </a:lnTo>
                  <a:lnTo>
                    <a:pt x="803" y="906"/>
                  </a:lnTo>
                  <a:lnTo>
                    <a:pt x="822" y="891"/>
                  </a:lnTo>
                  <a:lnTo>
                    <a:pt x="841" y="875"/>
                  </a:lnTo>
                  <a:lnTo>
                    <a:pt x="859" y="858"/>
                  </a:lnTo>
                  <a:lnTo>
                    <a:pt x="875" y="841"/>
                  </a:lnTo>
                  <a:lnTo>
                    <a:pt x="891" y="823"/>
                  </a:lnTo>
                  <a:lnTo>
                    <a:pt x="906" y="803"/>
                  </a:lnTo>
                  <a:lnTo>
                    <a:pt x="920" y="783"/>
                  </a:lnTo>
                  <a:lnTo>
                    <a:pt x="933" y="763"/>
                  </a:lnTo>
                  <a:lnTo>
                    <a:pt x="945" y="742"/>
                  </a:lnTo>
                  <a:lnTo>
                    <a:pt x="956" y="721"/>
                  </a:lnTo>
                  <a:lnTo>
                    <a:pt x="966" y="699"/>
                  </a:lnTo>
                  <a:lnTo>
                    <a:pt x="975" y="676"/>
                  </a:lnTo>
                  <a:lnTo>
                    <a:pt x="983" y="653"/>
                  </a:lnTo>
                  <a:lnTo>
                    <a:pt x="989" y="628"/>
                  </a:lnTo>
                  <a:lnTo>
                    <a:pt x="995" y="604"/>
                  </a:lnTo>
                  <a:lnTo>
                    <a:pt x="999" y="579"/>
                  </a:lnTo>
                  <a:lnTo>
                    <a:pt x="1002" y="554"/>
                  </a:lnTo>
                  <a:lnTo>
                    <a:pt x="1004" y="529"/>
                  </a:lnTo>
                  <a:lnTo>
                    <a:pt x="1006" y="503"/>
                  </a:lnTo>
                  <a:lnTo>
                    <a:pt x="1004" y="477"/>
                  </a:lnTo>
                  <a:lnTo>
                    <a:pt x="1002" y="451"/>
                  </a:lnTo>
                  <a:lnTo>
                    <a:pt x="999" y="426"/>
                  </a:lnTo>
                  <a:lnTo>
                    <a:pt x="995" y="401"/>
                  </a:lnTo>
                  <a:lnTo>
                    <a:pt x="989" y="377"/>
                  </a:lnTo>
                  <a:lnTo>
                    <a:pt x="983" y="353"/>
                  </a:lnTo>
                  <a:lnTo>
                    <a:pt x="975" y="330"/>
                  </a:lnTo>
                  <a:lnTo>
                    <a:pt x="966" y="307"/>
                  </a:lnTo>
                  <a:lnTo>
                    <a:pt x="956" y="284"/>
                  </a:lnTo>
                  <a:lnTo>
                    <a:pt x="945" y="262"/>
                  </a:lnTo>
                  <a:lnTo>
                    <a:pt x="933" y="241"/>
                  </a:lnTo>
                  <a:lnTo>
                    <a:pt x="920" y="221"/>
                  </a:lnTo>
                  <a:lnTo>
                    <a:pt x="906" y="201"/>
                  </a:lnTo>
                  <a:lnTo>
                    <a:pt x="891" y="183"/>
                  </a:lnTo>
                  <a:lnTo>
                    <a:pt x="875" y="164"/>
                  </a:lnTo>
                  <a:lnTo>
                    <a:pt x="859" y="147"/>
                  </a:lnTo>
                  <a:lnTo>
                    <a:pt x="841" y="130"/>
                  </a:lnTo>
                  <a:lnTo>
                    <a:pt x="822" y="114"/>
                  </a:lnTo>
                  <a:lnTo>
                    <a:pt x="803" y="99"/>
                  </a:lnTo>
                  <a:lnTo>
                    <a:pt x="784" y="85"/>
                  </a:lnTo>
                  <a:lnTo>
                    <a:pt x="763" y="72"/>
                  </a:lnTo>
                  <a:lnTo>
                    <a:pt x="742" y="60"/>
                  </a:lnTo>
                  <a:lnTo>
                    <a:pt x="721" y="49"/>
                  </a:lnTo>
                  <a:lnTo>
                    <a:pt x="699" y="39"/>
                  </a:lnTo>
                  <a:lnTo>
                    <a:pt x="676" y="30"/>
                  </a:lnTo>
                  <a:lnTo>
                    <a:pt x="652" y="22"/>
                  </a:lnTo>
                  <a:lnTo>
                    <a:pt x="628" y="15"/>
                  </a:lnTo>
                  <a:lnTo>
                    <a:pt x="604" y="10"/>
                  </a:lnTo>
                  <a:lnTo>
                    <a:pt x="579" y="5"/>
                  </a:lnTo>
                  <a:lnTo>
                    <a:pt x="554" y="2"/>
                  </a:lnTo>
                  <a:lnTo>
                    <a:pt x="529" y="0"/>
                  </a:lnTo>
                  <a:lnTo>
                    <a:pt x="503" y="0"/>
                  </a:lnTo>
                  <a:lnTo>
                    <a:pt x="476" y="0"/>
                  </a:lnTo>
                  <a:lnTo>
                    <a:pt x="451" y="2"/>
                  </a:lnTo>
                  <a:lnTo>
                    <a:pt x="426" y="5"/>
                  </a:lnTo>
                  <a:lnTo>
                    <a:pt x="401" y="10"/>
                  </a:lnTo>
                  <a:lnTo>
                    <a:pt x="377" y="15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4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4"/>
                  </a:lnTo>
                  <a:lnTo>
                    <a:pt x="165" y="130"/>
                  </a:lnTo>
                  <a:lnTo>
                    <a:pt x="147" y="147"/>
                  </a:lnTo>
                  <a:lnTo>
                    <a:pt x="131" y="164"/>
                  </a:lnTo>
                  <a:lnTo>
                    <a:pt x="114" y="183"/>
                  </a:lnTo>
                  <a:lnTo>
                    <a:pt x="99" y="201"/>
                  </a:lnTo>
                  <a:lnTo>
                    <a:pt x="85" y="221"/>
                  </a:lnTo>
                  <a:lnTo>
                    <a:pt x="72" y="241"/>
                  </a:lnTo>
                  <a:lnTo>
                    <a:pt x="60" y="262"/>
                  </a:lnTo>
                  <a:lnTo>
                    <a:pt x="49" y="284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1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1" y="529"/>
                  </a:lnTo>
                  <a:lnTo>
                    <a:pt x="3" y="554"/>
                  </a:lnTo>
                  <a:lnTo>
                    <a:pt x="6" y="579"/>
                  </a:lnTo>
                  <a:lnTo>
                    <a:pt x="10" y="604"/>
                  </a:lnTo>
                  <a:lnTo>
                    <a:pt x="16" y="628"/>
                  </a:lnTo>
                  <a:lnTo>
                    <a:pt x="22" y="653"/>
                  </a:lnTo>
                  <a:lnTo>
                    <a:pt x="30" y="676"/>
                  </a:lnTo>
                  <a:lnTo>
                    <a:pt x="39" y="699"/>
                  </a:lnTo>
                  <a:lnTo>
                    <a:pt x="49" y="721"/>
                  </a:lnTo>
                  <a:lnTo>
                    <a:pt x="60" y="742"/>
                  </a:lnTo>
                  <a:lnTo>
                    <a:pt x="72" y="763"/>
                  </a:lnTo>
                  <a:lnTo>
                    <a:pt x="85" y="783"/>
                  </a:lnTo>
                  <a:lnTo>
                    <a:pt x="99" y="803"/>
                  </a:lnTo>
                  <a:lnTo>
                    <a:pt x="114" y="823"/>
                  </a:lnTo>
                  <a:lnTo>
                    <a:pt x="131" y="841"/>
                  </a:lnTo>
                  <a:lnTo>
                    <a:pt x="147" y="858"/>
                  </a:lnTo>
                  <a:lnTo>
                    <a:pt x="165" y="875"/>
                  </a:lnTo>
                  <a:lnTo>
                    <a:pt x="183" y="891"/>
                  </a:lnTo>
                  <a:lnTo>
                    <a:pt x="202" y="906"/>
                  </a:lnTo>
                  <a:lnTo>
                    <a:pt x="221" y="919"/>
                  </a:lnTo>
                  <a:lnTo>
                    <a:pt x="242" y="932"/>
                  </a:lnTo>
                  <a:lnTo>
                    <a:pt x="263" y="944"/>
                  </a:lnTo>
                  <a:lnTo>
                    <a:pt x="284" y="956"/>
                  </a:lnTo>
                  <a:lnTo>
                    <a:pt x="307" y="966"/>
                  </a:lnTo>
                  <a:lnTo>
                    <a:pt x="330" y="974"/>
                  </a:lnTo>
                  <a:lnTo>
                    <a:pt x="353" y="983"/>
                  </a:lnTo>
                  <a:lnTo>
                    <a:pt x="377" y="990"/>
                  </a:lnTo>
                  <a:lnTo>
                    <a:pt x="401" y="996"/>
                  </a:lnTo>
                  <a:lnTo>
                    <a:pt x="426" y="1000"/>
                  </a:lnTo>
                  <a:lnTo>
                    <a:pt x="451" y="1003"/>
                  </a:lnTo>
                  <a:lnTo>
                    <a:pt x="476" y="1005"/>
                  </a:lnTo>
                  <a:lnTo>
                    <a:pt x="503" y="10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97" name="îṧ1ïdè">
              <a:extLst>
                <a:ext uri="{FF2B5EF4-FFF2-40B4-BE49-F238E27FC236}">
                  <a16:creationId xmlns:a16="http://schemas.microsoft.com/office/drawing/2014/main" id="{243FD7FD-1547-4020-A73D-34240E9179D7}"/>
                </a:ext>
              </a:extLst>
            </p:cNvPr>
            <p:cNvSpPr/>
            <p:nvPr/>
          </p:nvSpPr>
          <p:spPr bwMode="auto">
            <a:xfrm>
              <a:off x="2348575" y="1352017"/>
              <a:ext cx="39479" cy="39479"/>
            </a:xfrm>
            <a:custGeom>
              <a:avLst/>
              <a:gdLst>
                <a:gd name="T0" fmla="*/ 451 w 1006"/>
                <a:gd name="T1" fmla="*/ 3 h 1006"/>
                <a:gd name="T2" fmla="*/ 377 w 1006"/>
                <a:gd name="T3" fmla="*/ 16 h 1006"/>
                <a:gd name="T4" fmla="*/ 307 w 1006"/>
                <a:gd name="T5" fmla="*/ 40 h 1006"/>
                <a:gd name="T6" fmla="*/ 242 w 1006"/>
                <a:gd name="T7" fmla="*/ 73 h 1006"/>
                <a:gd name="T8" fmla="*/ 183 w 1006"/>
                <a:gd name="T9" fmla="*/ 115 h 1006"/>
                <a:gd name="T10" fmla="*/ 131 w 1006"/>
                <a:gd name="T11" fmla="*/ 165 h 1006"/>
                <a:gd name="T12" fmla="*/ 85 w 1006"/>
                <a:gd name="T13" fmla="*/ 222 h 1006"/>
                <a:gd name="T14" fmla="*/ 49 w 1006"/>
                <a:gd name="T15" fmla="*/ 285 h 1006"/>
                <a:gd name="T16" fmla="*/ 22 w 1006"/>
                <a:gd name="T17" fmla="*/ 353 h 1006"/>
                <a:gd name="T18" fmla="*/ 6 w 1006"/>
                <a:gd name="T19" fmla="*/ 427 h 1006"/>
                <a:gd name="T20" fmla="*/ 0 w 1006"/>
                <a:gd name="T21" fmla="*/ 503 h 1006"/>
                <a:gd name="T22" fmla="*/ 6 w 1006"/>
                <a:gd name="T23" fmla="*/ 580 h 1006"/>
                <a:gd name="T24" fmla="*/ 22 w 1006"/>
                <a:gd name="T25" fmla="*/ 653 h 1006"/>
                <a:gd name="T26" fmla="*/ 49 w 1006"/>
                <a:gd name="T27" fmla="*/ 722 h 1006"/>
                <a:gd name="T28" fmla="*/ 85 w 1006"/>
                <a:gd name="T29" fmla="*/ 785 h 1006"/>
                <a:gd name="T30" fmla="*/ 131 w 1006"/>
                <a:gd name="T31" fmla="*/ 841 h 1006"/>
                <a:gd name="T32" fmla="*/ 183 w 1006"/>
                <a:gd name="T33" fmla="*/ 892 h 1006"/>
                <a:gd name="T34" fmla="*/ 242 w 1006"/>
                <a:gd name="T35" fmla="*/ 934 h 1006"/>
                <a:gd name="T36" fmla="*/ 307 w 1006"/>
                <a:gd name="T37" fmla="*/ 967 h 1006"/>
                <a:gd name="T38" fmla="*/ 377 w 1006"/>
                <a:gd name="T39" fmla="*/ 990 h 1006"/>
                <a:gd name="T40" fmla="*/ 451 w 1006"/>
                <a:gd name="T41" fmla="*/ 1003 h 1006"/>
                <a:gd name="T42" fmla="*/ 529 w 1006"/>
                <a:gd name="T43" fmla="*/ 1005 h 1006"/>
                <a:gd name="T44" fmla="*/ 604 w 1006"/>
                <a:gd name="T45" fmla="*/ 996 h 1006"/>
                <a:gd name="T46" fmla="*/ 676 w 1006"/>
                <a:gd name="T47" fmla="*/ 976 h 1006"/>
                <a:gd name="T48" fmla="*/ 742 w 1006"/>
                <a:gd name="T49" fmla="*/ 946 h 1006"/>
                <a:gd name="T50" fmla="*/ 803 w 1006"/>
                <a:gd name="T51" fmla="*/ 907 h 1006"/>
                <a:gd name="T52" fmla="*/ 859 w 1006"/>
                <a:gd name="T53" fmla="*/ 859 h 1006"/>
                <a:gd name="T54" fmla="*/ 906 w 1006"/>
                <a:gd name="T55" fmla="*/ 804 h 1006"/>
                <a:gd name="T56" fmla="*/ 945 w 1006"/>
                <a:gd name="T57" fmla="*/ 743 h 1006"/>
                <a:gd name="T58" fmla="*/ 975 w 1006"/>
                <a:gd name="T59" fmla="*/ 676 h 1006"/>
                <a:gd name="T60" fmla="*/ 995 w 1006"/>
                <a:gd name="T61" fmla="*/ 605 h 1006"/>
                <a:gd name="T62" fmla="*/ 1004 w 1006"/>
                <a:gd name="T63" fmla="*/ 529 h 1006"/>
                <a:gd name="T64" fmla="*/ 1002 w 1006"/>
                <a:gd name="T65" fmla="*/ 452 h 1006"/>
                <a:gd name="T66" fmla="*/ 989 w 1006"/>
                <a:gd name="T67" fmla="*/ 378 h 1006"/>
                <a:gd name="T68" fmla="*/ 966 w 1006"/>
                <a:gd name="T69" fmla="*/ 307 h 1006"/>
                <a:gd name="T70" fmla="*/ 933 w 1006"/>
                <a:gd name="T71" fmla="*/ 243 h 1006"/>
                <a:gd name="T72" fmla="*/ 891 w 1006"/>
                <a:gd name="T73" fmla="*/ 183 h 1006"/>
                <a:gd name="T74" fmla="*/ 841 w 1006"/>
                <a:gd name="T75" fmla="*/ 131 h 1006"/>
                <a:gd name="T76" fmla="*/ 784 w 1006"/>
                <a:gd name="T77" fmla="*/ 86 h 1006"/>
                <a:gd name="T78" fmla="*/ 721 w 1006"/>
                <a:gd name="T79" fmla="*/ 50 h 1006"/>
                <a:gd name="T80" fmla="*/ 652 w 1006"/>
                <a:gd name="T81" fmla="*/ 22 h 1006"/>
                <a:gd name="T82" fmla="*/ 579 w 1006"/>
                <a:gd name="T83" fmla="*/ 6 h 1006"/>
                <a:gd name="T84" fmla="*/ 503 w 1006"/>
                <a:gd name="T85" fmla="*/ 0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1006">
                  <a:moveTo>
                    <a:pt x="503" y="0"/>
                  </a:moveTo>
                  <a:lnTo>
                    <a:pt x="476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1"/>
                  </a:lnTo>
                  <a:lnTo>
                    <a:pt x="307" y="40"/>
                  </a:lnTo>
                  <a:lnTo>
                    <a:pt x="284" y="50"/>
                  </a:lnTo>
                  <a:lnTo>
                    <a:pt x="263" y="61"/>
                  </a:lnTo>
                  <a:lnTo>
                    <a:pt x="242" y="73"/>
                  </a:lnTo>
                  <a:lnTo>
                    <a:pt x="221" y="86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4" y="183"/>
                  </a:lnTo>
                  <a:lnTo>
                    <a:pt x="99" y="203"/>
                  </a:lnTo>
                  <a:lnTo>
                    <a:pt x="85" y="222"/>
                  </a:lnTo>
                  <a:lnTo>
                    <a:pt x="72" y="243"/>
                  </a:lnTo>
                  <a:lnTo>
                    <a:pt x="60" y="264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8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1" y="529"/>
                  </a:lnTo>
                  <a:lnTo>
                    <a:pt x="3" y="555"/>
                  </a:lnTo>
                  <a:lnTo>
                    <a:pt x="6" y="580"/>
                  </a:lnTo>
                  <a:lnTo>
                    <a:pt x="10" y="605"/>
                  </a:lnTo>
                  <a:lnTo>
                    <a:pt x="16" y="629"/>
                  </a:lnTo>
                  <a:lnTo>
                    <a:pt x="22" y="653"/>
                  </a:lnTo>
                  <a:lnTo>
                    <a:pt x="30" y="676"/>
                  </a:lnTo>
                  <a:lnTo>
                    <a:pt x="39" y="699"/>
                  </a:lnTo>
                  <a:lnTo>
                    <a:pt x="49" y="722"/>
                  </a:lnTo>
                  <a:lnTo>
                    <a:pt x="60" y="743"/>
                  </a:lnTo>
                  <a:lnTo>
                    <a:pt x="72" y="764"/>
                  </a:lnTo>
                  <a:lnTo>
                    <a:pt x="85" y="785"/>
                  </a:lnTo>
                  <a:lnTo>
                    <a:pt x="99" y="804"/>
                  </a:lnTo>
                  <a:lnTo>
                    <a:pt x="114" y="823"/>
                  </a:lnTo>
                  <a:lnTo>
                    <a:pt x="131" y="841"/>
                  </a:lnTo>
                  <a:lnTo>
                    <a:pt x="147" y="859"/>
                  </a:lnTo>
                  <a:lnTo>
                    <a:pt x="165" y="876"/>
                  </a:lnTo>
                  <a:lnTo>
                    <a:pt x="183" y="892"/>
                  </a:lnTo>
                  <a:lnTo>
                    <a:pt x="202" y="907"/>
                  </a:lnTo>
                  <a:lnTo>
                    <a:pt x="221" y="921"/>
                  </a:lnTo>
                  <a:lnTo>
                    <a:pt x="242" y="934"/>
                  </a:lnTo>
                  <a:lnTo>
                    <a:pt x="263" y="946"/>
                  </a:lnTo>
                  <a:lnTo>
                    <a:pt x="284" y="957"/>
                  </a:lnTo>
                  <a:lnTo>
                    <a:pt x="307" y="967"/>
                  </a:lnTo>
                  <a:lnTo>
                    <a:pt x="330" y="976"/>
                  </a:lnTo>
                  <a:lnTo>
                    <a:pt x="353" y="984"/>
                  </a:lnTo>
                  <a:lnTo>
                    <a:pt x="377" y="990"/>
                  </a:lnTo>
                  <a:lnTo>
                    <a:pt x="401" y="996"/>
                  </a:lnTo>
                  <a:lnTo>
                    <a:pt x="426" y="1000"/>
                  </a:lnTo>
                  <a:lnTo>
                    <a:pt x="451" y="1003"/>
                  </a:lnTo>
                  <a:lnTo>
                    <a:pt x="476" y="1005"/>
                  </a:lnTo>
                  <a:lnTo>
                    <a:pt x="503" y="1006"/>
                  </a:lnTo>
                  <a:lnTo>
                    <a:pt x="529" y="1005"/>
                  </a:lnTo>
                  <a:lnTo>
                    <a:pt x="554" y="1003"/>
                  </a:lnTo>
                  <a:lnTo>
                    <a:pt x="579" y="1000"/>
                  </a:lnTo>
                  <a:lnTo>
                    <a:pt x="604" y="996"/>
                  </a:lnTo>
                  <a:lnTo>
                    <a:pt x="628" y="990"/>
                  </a:lnTo>
                  <a:lnTo>
                    <a:pt x="652" y="984"/>
                  </a:lnTo>
                  <a:lnTo>
                    <a:pt x="676" y="976"/>
                  </a:lnTo>
                  <a:lnTo>
                    <a:pt x="699" y="967"/>
                  </a:lnTo>
                  <a:lnTo>
                    <a:pt x="721" y="957"/>
                  </a:lnTo>
                  <a:lnTo>
                    <a:pt x="742" y="946"/>
                  </a:lnTo>
                  <a:lnTo>
                    <a:pt x="763" y="934"/>
                  </a:lnTo>
                  <a:lnTo>
                    <a:pt x="784" y="921"/>
                  </a:lnTo>
                  <a:lnTo>
                    <a:pt x="803" y="907"/>
                  </a:lnTo>
                  <a:lnTo>
                    <a:pt x="822" y="892"/>
                  </a:lnTo>
                  <a:lnTo>
                    <a:pt x="841" y="876"/>
                  </a:lnTo>
                  <a:lnTo>
                    <a:pt x="859" y="859"/>
                  </a:lnTo>
                  <a:lnTo>
                    <a:pt x="875" y="841"/>
                  </a:lnTo>
                  <a:lnTo>
                    <a:pt x="891" y="823"/>
                  </a:lnTo>
                  <a:lnTo>
                    <a:pt x="906" y="804"/>
                  </a:lnTo>
                  <a:lnTo>
                    <a:pt x="920" y="785"/>
                  </a:lnTo>
                  <a:lnTo>
                    <a:pt x="933" y="764"/>
                  </a:lnTo>
                  <a:lnTo>
                    <a:pt x="945" y="743"/>
                  </a:lnTo>
                  <a:lnTo>
                    <a:pt x="956" y="722"/>
                  </a:lnTo>
                  <a:lnTo>
                    <a:pt x="966" y="699"/>
                  </a:lnTo>
                  <a:lnTo>
                    <a:pt x="975" y="676"/>
                  </a:lnTo>
                  <a:lnTo>
                    <a:pt x="983" y="653"/>
                  </a:lnTo>
                  <a:lnTo>
                    <a:pt x="989" y="629"/>
                  </a:lnTo>
                  <a:lnTo>
                    <a:pt x="995" y="605"/>
                  </a:lnTo>
                  <a:lnTo>
                    <a:pt x="999" y="580"/>
                  </a:lnTo>
                  <a:lnTo>
                    <a:pt x="1002" y="555"/>
                  </a:lnTo>
                  <a:lnTo>
                    <a:pt x="1004" y="529"/>
                  </a:lnTo>
                  <a:lnTo>
                    <a:pt x="1006" y="503"/>
                  </a:lnTo>
                  <a:lnTo>
                    <a:pt x="1004" y="477"/>
                  </a:lnTo>
                  <a:lnTo>
                    <a:pt x="1002" y="452"/>
                  </a:lnTo>
                  <a:lnTo>
                    <a:pt x="999" y="427"/>
                  </a:lnTo>
                  <a:lnTo>
                    <a:pt x="995" y="402"/>
                  </a:lnTo>
                  <a:lnTo>
                    <a:pt x="989" y="378"/>
                  </a:lnTo>
                  <a:lnTo>
                    <a:pt x="983" y="353"/>
                  </a:lnTo>
                  <a:lnTo>
                    <a:pt x="975" y="330"/>
                  </a:lnTo>
                  <a:lnTo>
                    <a:pt x="966" y="307"/>
                  </a:lnTo>
                  <a:lnTo>
                    <a:pt x="956" y="285"/>
                  </a:lnTo>
                  <a:lnTo>
                    <a:pt x="945" y="264"/>
                  </a:lnTo>
                  <a:lnTo>
                    <a:pt x="933" y="243"/>
                  </a:lnTo>
                  <a:lnTo>
                    <a:pt x="920" y="222"/>
                  </a:lnTo>
                  <a:lnTo>
                    <a:pt x="906" y="203"/>
                  </a:lnTo>
                  <a:lnTo>
                    <a:pt x="891" y="183"/>
                  </a:lnTo>
                  <a:lnTo>
                    <a:pt x="875" y="165"/>
                  </a:lnTo>
                  <a:lnTo>
                    <a:pt x="859" y="147"/>
                  </a:lnTo>
                  <a:lnTo>
                    <a:pt x="841" y="131"/>
                  </a:lnTo>
                  <a:lnTo>
                    <a:pt x="822" y="115"/>
                  </a:lnTo>
                  <a:lnTo>
                    <a:pt x="803" y="100"/>
                  </a:lnTo>
                  <a:lnTo>
                    <a:pt x="784" y="86"/>
                  </a:lnTo>
                  <a:lnTo>
                    <a:pt x="763" y="73"/>
                  </a:lnTo>
                  <a:lnTo>
                    <a:pt x="742" y="61"/>
                  </a:lnTo>
                  <a:lnTo>
                    <a:pt x="721" y="50"/>
                  </a:lnTo>
                  <a:lnTo>
                    <a:pt x="699" y="40"/>
                  </a:lnTo>
                  <a:lnTo>
                    <a:pt x="676" y="31"/>
                  </a:lnTo>
                  <a:lnTo>
                    <a:pt x="652" y="22"/>
                  </a:lnTo>
                  <a:lnTo>
                    <a:pt x="628" y="16"/>
                  </a:lnTo>
                  <a:lnTo>
                    <a:pt x="604" y="10"/>
                  </a:lnTo>
                  <a:lnTo>
                    <a:pt x="579" y="6"/>
                  </a:lnTo>
                  <a:lnTo>
                    <a:pt x="554" y="3"/>
                  </a:lnTo>
                  <a:lnTo>
                    <a:pt x="529" y="1"/>
                  </a:lnTo>
                  <a:lnTo>
                    <a:pt x="50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98" name="íṡḻiḍe">
              <a:extLst>
                <a:ext uri="{FF2B5EF4-FFF2-40B4-BE49-F238E27FC236}">
                  <a16:creationId xmlns:a16="http://schemas.microsoft.com/office/drawing/2014/main" id="{7841193A-7A37-4B85-B7FB-66EBD6BA04C1}"/>
                </a:ext>
              </a:extLst>
            </p:cNvPr>
            <p:cNvSpPr/>
            <p:nvPr/>
          </p:nvSpPr>
          <p:spPr bwMode="auto">
            <a:xfrm>
              <a:off x="2234368" y="1237810"/>
              <a:ext cx="38068" cy="38069"/>
            </a:xfrm>
            <a:custGeom>
              <a:avLst/>
              <a:gdLst>
                <a:gd name="T0" fmla="*/ 451 w 1005"/>
                <a:gd name="T1" fmla="*/ 2 h 1005"/>
                <a:gd name="T2" fmla="*/ 377 w 1005"/>
                <a:gd name="T3" fmla="*/ 15 h 1005"/>
                <a:gd name="T4" fmla="*/ 306 w 1005"/>
                <a:gd name="T5" fmla="*/ 39 h 1005"/>
                <a:gd name="T6" fmla="*/ 242 w 1005"/>
                <a:gd name="T7" fmla="*/ 72 h 1005"/>
                <a:gd name="T8" fmla="*/ 183 w 1005"/>
                <a:gd name="T9" fmla="*/ 114 h 1005"/>
                <a:gd name="T10" fmla="*/ 130 w 1005"/>
                <a:gd name="T11" fmla="*/ 163 h 1005"/>
                <a:gd name="T12" fmla="*/ 85 w 1005"/>
                <a:gd name="T13" fmla="*/ 221 h 1005"/>
                <a:gd name="T14" fmla="*/ 49 w 1005"/>
                <a:gd name="T15" fmla="*/ 284 h 1005"/>
                <a:gd name="T16" fmla="*/ 23 w 1005"/>
                <a:gd name="T17" fmla="*/ 353 h 1005"/>
                <a:gd name="T18" fmla="*/ 6 w 1005"/>
                <a:gd name="T19" fmla="*/ 426 h 1005"/>
                <a:gd name="T20" fmla="*/ 0 w 1005"/>
                <a:gd name="T21" fmla="*/ 503 h 1005"/>
                <a:gd name="T22" fmla="*/ 6 w 1005"/>
                <a:gd name="T23" fmla="*/ 579 h 1005"/>
                <a:gd name="T24" fmla="*/ 23 w 1005"/>
                <a:gd name="T25" fmla="*/ 652 h 1005"/>
                <a:gd name="T26" fmla="*/ 49 w 1005"/>
                <a:gd name="T27" fmla="*/ 721 h 1005"/>
                <a:gd name="T28" fmla="*/ 85 w 1005"/>
                <a:gd name="T29" fmla="*/ 783 h 1005"/>
                <a:gd name="T30" fmla="*/ 130 w 1005"/>
                <a:gd name="T31" fmla="*/ 840 h 1005"/>
                <a:gd name="T32" fmla="*/ 183 w 1005"/>
                <a:gd name="T33" fmla="*/ 891 h 1005"/>
                <a:gd name="T34" fmla="*/ 242 w 1005"/>
                <a:gd name="T35" fmla="*/ 932 h 1005"/>
                <a:gd name="T36" fmla="*/ 306 w 1005"/>
                <a:gd name="T37" fmla="*/ 966 h 1005"/>
                <a:gd name="T38" fmla="*/ 377 w 1005"/>
                <a:gd name="T39" fmla="*/ 989 h 1005"/>
                <a:gd name="T40" fmla="*/ 451 w 1005"/>
                <a:gd name="T41" fmla="*/ 1002 h 1005"/>
                <a:gd name="T42" fmla="*/ 529 w 1005"/>
                <a:gd name="T43" fmla="*/ 1004 h 1005"/>
                <a:gd name="T44" fmla="*/ 604 w 1005"/>
                <a:gd name="T45" fmla="*/ 995 h 1005"/>
                <a:gd name="T46" fmla="*/ 675 w 1005"/>
                <a:gd name="T47" fmla="*/ 975 h 1005"/>
                <a:gd name="T48" fmla="*/ 743 w 1005"/>
                <a:gd name="T49" fmla="*/ 944 h 1005"/>
                <a:gd name="T50" fmla="*/ 803 w 1005"/>
                <a:gd name="T51" fmla="*/ 906 h 1005"/>
                <a:gd name="T52" fmla="*/ 858 w 1005"/>
                <a:gd name="T53" fmla="*/ 858 h 1005"/>
                <a:gd name="T54" fmla="*/ 906 w 1005"/>
                <a:gd name="T55" fmla="*/ 803 h 1005"/>
                <a:gd name="T56" fmla="*/ 945 w 1005"/>
                <a:gd name="T57" fmla="*/ 742 h 1005"/>
                <a:gd name="T58" fmla="*/ 975 w 1005"/>
                <a:gd name="T59" fmla="*/ 676 h 1005"/>
                <a:gd name="T60" fmla="*/ 995 w 1005"/>
                <a:gd name="T61" fmla="*/ 604 h 1005"/>
                <a:gd name="T62" fmla="*/ 1004 w 1005"/>
                <a:gd name="T63" fmla="*/ 529 h 1005"/>
                <a:gd name="T64" fmla="*/ 1002 w 1005"/>
                <a:gd name="T65" fmla="*/ 451 h 1005"/>
                <a:gd name="T66" fmla="*/ 989 w 1005"/>
                <a:gd name="T67" fmla="*/ 377 h 1005"/>
                <a:gd name="T68" fmla="*/ 966 w 1005"/>
                <a:gd name="T69" fmla="*/ 306 h 1005"/>
                <a:gd name="T70" fmla="*/ 933 w 1005"/>
                <a:gd name="T71" fmla="*/ 241 h 1005"/>
                <a:gd name="T72" fmla="*/ 891 w 1005"/>
                <a:gd name="T73" fmla="*/ 183 h 1005"/>
                <a:gd name="T74" fmla="*/ 840 w 1005"/>
                <a:gd name="T75" fmla="*/ 130 h 1005"/>
                <a:gd name="T76" fmla="*/ 784 w 1005"/>
                <a:gd name="T77" fmla="*/ 85 h 1005"/>
                <a:gd name="T78" fmla="*/ 721 w 1005"/>
                <a:gd name="T79" fmla="*/ 49 h 1005"/>
                <a:gd name="T80" fmla="*/ 652 w 1005"/>
                <a:gd name="T81" fmla="*/ 22 h 1005"/>
                <a:gd name="T82" fmla="*/ 579 w 1005"/>
                <a:gd name="T83" fmla="*/ 6 h 1005"/>
                <a:gd name="T84" fmla="*/ 502 w 1005"/>
                <a:gd name="T85" fmla="*/ 0 h 10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" h="1005">
                  <a:moveTo>
                    <a:pt x="502" y="0"/>
                  </a:moveTo>
                  <a:lnTo>
                    <a:pt x="476" y="0"/>
                  </a:lnTo>
                  <a:lnTo>
                    <a:pt x="451" y="2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5"/>
                  </a:lnTo>
                  <a:lnTo>
                    <a:pt x="353" y="22"/>
                  </a:lnTo>
                  <a:lnTo>
                    <a:pt x="329" y="30"/>
                  </a:lnTo>
                  <a:lnTo>
                    <a:pt x="306" y="39"/>
                  </a:lnTo>
                  <a:lnTo>
                    <a:pt x="284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4"/>
                  </a:lnTo>
                  <a:lnTo>
                    <a:pt x="165" y="130"/>
                  </a:lnTo>
                  <a:lnTo>
                    <a:pt x="146" y="146"/>
                  </a:lnTo>
                  <a:lnTo>
                    <a:pt x="130" y="163"/>
                  </a:lnTo>
                  <a:lnTo>
                    <a:pt x="114" y="183"/>
                  </a:lnTo>
                  <a:lnTo>
                    <a:pt x="99" y="201"/>
                  </a:lnTo>
                  <a:lnTo>
                    <a:pt x="85" y="221"/>
                  </a:lnTo>
                  <a:lnTo>
                    <a:pt x="72" y="241"/>
                  </a:lnTo>
                  <a:lnTo>
                    <a:pt x="60" y="262"/>
                  </a:lnTo>
                  <a:lnTo>
                    <a:pt x="49" y="284"/>
                  </a:lnTo>
                  <a:lnTo>
                    <a:pt x="39" y="306"/>
                  </a:lnTo>
                  <a:lnTo>
                    <a:pt x="30" y="329"/>
                  </a:lnTo>
                  <a:lnTo>
                    <a:pt x="23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1"/>
                  </a:lnTo>
                  <a:lnTo>
                    <a:pt x="1" y="476"/>
                  </a:lnTo>
                  <a:lnTo>
                    <a:pt x="0" y="503"/>
                  </a:lnTo>
                  <a:lnTo>
                    <a:pt x="1" y="529"/>
                  </a:lnTo>
                  <a:lnTo>
                    <a:pt x="3" y="554"/>
                  </a:lnTo>
                  <a:lnTo>
                    <a:pt x="6" y="579"/>
                  </a:lnTo>
                  <a:lnTo>
                    <a:pt x="10" y="604"/>
                  </a:lnTo>
                  <a:lnTo>
                    <a:pt x="16" y="628"/>
                  </a:lnTo>
                  <a:lnTo>
                    <a:pt x="23" y="652"/>
                  </a:lnTo>
                  <a:lnTo>
                    <a:pt x="30" y="676"/>
                  </a:lnTo>
                  <a:lnTo>
                    <a:pt x="39" y="699"/>
                  </a:lnTo>
                  <a:lnTo>
                    <a:pt x="49" y="721"/>
                  </a:lnTo>
                  <a:lnTo>
                    <a:pt x="60" y="742"/>
                  </a:lnTo>
                  <a:lnTo>
                    <a:pt x="72" y="763"/>
                  </a:lnTo>
                  <a:lnTo>
                    <a:pt x="85" y="783"/>
                  </a:lnTo>
                  <a:lnTo>
                    <a:pt x="99" y="803"/>
                  </a:lnTo>
                  <a:lnTo>
                    <a:pt x="114" y="822"/>
                  </a:lnTo>
                  <a:lnTo>
                    <a:pt x="130" y="840"/>
                  </a:lnTo>
                  <a:lnTo>
                    <a:pt x="146" y="858"/>
                  </a:lnTo>
                  <a:lnTo>
                    <a:pt x="165" y="875"/>
                  </a:lnTo>
                  <a:lnTo>
                    <a:pt x="183" y="891"/>
                  </a:lnTo>
                  <a:lnTo>
                    <a:pt x="202" y="906"/>
                  </a:lnTo>
                  <a:lnTo>
                    <a:pt x="221" y="920"/>
                  </a:lnTo>
                  <a:lnTo>
                    <a:pt x="242" y="932"/>
                  </a:lnTo>
                  <a:lnTo>
                    <a:pt x="263" y="944"/>
                  </a:lnTo>
                  <a:lnTo>
                    <a:pt x="284" y="956"/>
                  </a:lnTo>
                  <a:lnTo>
                    <a:pt x="306" y="966"/>
                  </a:lnTo>
                  <a:lnTo>
                    <a:pt x="329" y="975"/>
                  </a:lnTo>
                  <a:lnTo>
                    <a:pt x="353" y="982"/>
                  </a:lnTo>
                  <a:lnTo>
                    <a:pt x="377" y="989"/>
                  </a:lnTo>
                  <a:lnTo>
                    <a:pt x="401" y="995"/>
                  </a:lnTo>
                  <a:lnTo>
                    <a:pt x="426" y="999"/>
                  </a:lnTo>
                  <a:lnTo>
                    <a:pt x="451" y="1002"/>
                  </a:lnTo>
                  <a:lnTo>
                    <a:pt x="476" y="1004"/>
                  </a:lnTo>
                  <a:lnTo>
                    <a:pt x="502" y="1005"/>
                  </a:lnTo>
                  <a:lnTo>
                    <a:pt x="529" y="1004"/>
                  </a:lnTo>
                  <a:lnTo>
                    <a:pt x="554" y="1002"/>
                  </a:lnTo>
                  <a:lnTo>
                    <a:pt x="579" y="999"/>
                  </a:lnTo>
                  <a:lnTo>
                    <a:pt x="604" y="995"/>
                  </a:lnTo>
                  <a:lnTo>
                    <a:pt x="628" y="989"/>
                  </a:lnTo>
                  <a:lnTo>
                    <a:pt x="652" y="982"/>
                  </a:lnTo>
                  <a:lnTo>
                    <a:pt x="675" y="975"/>
                  </a:lnTo>
                  <a:lnTo>
                    <a:pt x="699" y="966"/>
                  </a:lnTo>
                  <a:lnTo>
                    <a:pt x="721" y="956"/>
                  </a:lnTo>
                  <a:lnTo>
                    <a:pt x="743" y="944"/>
                  </a:lnTo>
                  <a:lnTo>
                    <a:pt x="764" y="932"/>
                  </a:lnTo>
                  <a:lnTo>
                    <a:pt x="784" y="920"/>
                  </a:lnTo>
                  <a:lnTo>
                    <a:pt x="803" y="906"/>
                  </a:lnTo>
                  <a:lnTo>
                    <a:pt x="822" y="891"/>
                  </a:lnTo>
                  <a:lnTo>
                    <a:pt x="840" y="875"/>
                  </a:lnTo>
                  <a:lnTo>
                    <a:pt x="858" y="858"/>
                  </a:lnTo>
                  <a:lnTo>
                    <a:pt x="875" y="840"/>
                  </a:lnTo>
                  <a:lnTo>
                    <a:pt x="891" y="822"/>
                  </a:lnTo>
                  <a:lnTo>
                    <a:pt x="906" y="803"/>
                  </a:lnTo>
                  <a:lnTo>
                    <a:pt x="920" y="783"/>
                  </a:lnTo>
                  <a:lnTo>
                    <a:pt x="933" y="763"/>
                  </a:lnTo>
                  <a:lnTo>
                    <a:pt x="945" y="742"/>
                  </a:lnTo>
                  <a:lnTo>
                    <a:pt x="956" y="721"/>
                  </a:lnTo>
                  <a:lnTo>
                    <a:pt x="966" y="699"/>
                  </a:lnTo>
                  <a:lnTo>
                    <a:pt x="975" y="676"/>
                  </a:lnTo>
                  <a:lnTo>
                    <a:pt x="983" y="652"/>
                  </a:lnTo>
                  <a:lnTo>
                    <a:pt x="989" y="628"/>
                  </a:lnTo>
                  <a:lnTo>
                    <a:pt x="995" y="604"/>
                  </a:lnTo>
                  <a:lnTo>
                    <a:pt x="999" y="579"/>
                  </a:lnTo>
                  <a:lnTo>
                    <a:pt x="1002" y="554"/>
                  </a:lnTo>
                  <a:lnTo>
                    <a:pt x="1004" y="529"/>
                  </a:lnTo>
                  <a:lnTo>
                    <a:pt x="1005" y="503"/>
                  </a:lnTo>
                  <a:lnTo>
                    <a:pt x="1004" y="476"/>
                  </a:lnTo>
                  <a:lnTo>
                    <a:pt x="1002" y="451"/>
                  </a:lnTo>
                  <a:lnTo>
                    <a:pt x="999" y="426"/>
                  </a:lnTo>
                  <a:lnTo>
                    <a:pt x="995" y="401"/>
                  </a:lnTo>
                  <a:lnTo>
                    <a:pt x="989" y="377"/>
                  </a:lnTo>
                  <a:lnTo>
                    <a:pt x="983" y="353"/>
                  </a:lnTo>
                  <a:lnTo>
                    <a:pt x="975" y="329"/>
                  </a:lnTo>
                  <a:lnTo>
                    <a:pt x="966" y="306"/>
                  </a:lnTo>
                  <a:lnTo>
                    <a:pt x="956" y="284"/>
                  </a:lnTo>
                  <a:lnTo>
                    <a:pt x="945" y="262"/>
                  </a:lnTo>
                  <a:lnTo>
                    <a:pt x="933" y="241"/>
                  </a:lnTo>
                  <a:lnTo>
                    <a:pt x="920" y="221"/>
                  </a:lnTo>
                  <a:lnTo>
                    <a:pt x="906" y="201"/>
                  </a:lnTo>
                  <a:lnTo>
                    <a:pt x="891" y="183"/>
                  </a:lnTo>
                  <a:lnTo>
                    <a:pt x="875" y="163"/>
                  </a:lnTo>
                  <a:lnTo>
                    <a:pt x="858" y="146"/>
                  </a:lnTo>
                  <a:lnTo>
                    <a:pt x="840" y="130"/>
                  </a:lnTo>
                  <a:lnTo>
                    <a:pt x="822" y="114"/>
                  </a:lnTo>
                  <a:lnTo>
                    <a:pt x="803" y="99"/>
                  </a:lnTo>
                  <a:lnTo>
                    <a:pt x="784" y="85"/>
                  </a:lnTo>
                  <a:lnTo>
                    <a:pt x="764" y="72"/>
                  </a:lnTo>
                  <a:lnTo>
                    <a:pt x="743" y="60"/>
                  </a:lnTo>
                  <a:lnTo>
                    <a:pt x="721" y="49"/>
                  </a:lnTo>
                  <a:lnTo>
                    <a:pt x="699" y="39"/>
                  </a:lnTo>
                  <a:lnTo>
                    <a:pt x="675" y="30"/>
                  </a:lnTo>
                  <a:lnTo>
                    <a:pt x="652" y="22"/>
                  </a:lnTo>
                  <a:lnTo>
                    <a:pt x="628" y="15"/>
                  </a:lnTo>
                  <a:lnTo>
                    <a:pt x="604" y="10"/>
                  </a:lnTo>
                  <a:lnTo>
                    <a:pt x="579" y="6"/>
                  </a:lnTo>
                  <a:lnTo>
                    <a:pt x="554" y="2"/>
                  </a:lnTo>
                  <a:lnTo>
                    <a:pt x="529" y="0"/>
                  </a:lnTo>
                  <a:lnTo>
                    <a:pt x="50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99" name="í$ļïďê">
              <a:extLst>
                <a:ext uri="{FF2B5EF4-FFF2-40B4-BE49-F238E27FC236}">
                  <a16:creationId xmlns:a16="http://schemas.microsoft.com/office/drawing/2014/main" id="{2286516B-084A-4F24-A566-05FCCC2E1E71}"/>
                </a:ext>
              </a:extLst>
            </p:cNvPr>
            <p:cNvSpPr/>
            <p:nvPr/>
          </p:nvSpPr>
          <p:spPr bwMode="auto">
            <a:xfrm>
              <a:off x="2464191" y="1237810"/>
              <a:ext cx="38068" cy="38069"/>
            </a:xfrm>
            <a:custGeom>
              <a:avLst/>
              <a:gdLst>
                <a:gd name="T0" fmla="*/ 3 w 1006"/>
                <a:gd name="T1" fmla="*/ 554 h 1005"/>
                <a:gd name="T2" fmla="*/ 16 w 1006"/>
                <a:gd name="T3" fmla="*/ 628 h 1005"/>
                <a:gd name="T4" fmla="*/ 39 w 1006"/>
                <a:gd name="T5" fmla="*/ 699 h 1005"/>
                <a:gd name="T6" fmla="*/ 72 w 1006"/>
                <a:gd name="T7" fmla="*/ 763 h 1005"/>
                <a:gd name="T8" fmla="*/ 115 w 1006"/>
                <a:gd name="T9" fmla="*/ 822 h 1005"/>
                <a:gd name="T10" fmla="*/ 165 w 1006"/>
                <a:gd name="T11" fmla="*/ 875 h 1005"/>
                <a:gd name="T12" fmla="*/ 221 w 1006"/>
                <a:gd name="T13" fmla="*/ 920 h 1005"/>
                <a:gd name="T14" fmla="*/ 285 w 1006"/>
                <a:gd name="T15" fmla="*/ 956 h 1005"/>
                <a:gd name="T16" fmla="*/ 353 w 1006"/>
                <a:gd name="T17" fmla="*/ 982 h 1005"/>
                <a:gd name="T18" fmla="*/ 426 w 1006"/>
                <a:gd name="T19" fmla="*/ 999 h 1005"/>
                <a:gd name="T20" fmla="*/ 503 w 1006"/>
                <a:gd name="T21" fmla="*/ 1005 h 1005"/>
                <a:gd name="T22" fmla="*/ 579 w 1006"/>
                <a:gd name="T23" fmla="*/ 999 h 1005"/>
                <a:gd name="T24" fmla="*/ 653 w 1006"/>
                <a:gd name="T25" fmla="*/ 982 h 1005"/>
                <a:gd name="T26" fmla="*/ 721 w 1006"/>
                <a:gd name="T27" fmla="*/ 956 h 1005"/>
                <a:gd name="T28" fmla="*/ 784 w 1006"/>
                <a:gd name="T29" fmla="*/ 920 h 1005"/>
                <a:gd name="T30" fmla="*/ 841 w 1006"/>
                <a:gd name="T31" fmla="*/ 875 h 1005"/>
                <a:gd name="T32" fmla="*/ 891 w 1006"/>
                <a:gd name="T33" fmla="*/ 822 h 1005"/>
                <a:gd name="T34" fmla="*/ 933 w 1006"/>
                <a:gd name="T35" fmla="*/ 763 h 1005"/>
                <a:gd name="T36" fmla="*/ 966 w 1006"/>
                <a:gd name="T37" fmla="*/ 699 h 1005"/>
                <a:gd name="T38" fmla="*/ 990 w 1006"/>
                <a:gd name="T39" fmla="*/ 628 h 1005"/>
                <a:gd name="T40" fmla="*/ 1003 w 1006"/>
                <a:gd name="T41" fmla="*/ 554 h 1005"/>
                <a:gd name="T42" fmla="*/ 1005 w 1006"/>
                <a:gd name="T43" fmla="*/ 476 h 1005"/>
                <a:gd name="T44" fmla="*/ 996 w 1006"/>
                <a:gd name="T45" fmla="*/ 401 h 1005"/>
                <a:gd name="T46" fmla="*/ 976 w 1006"/>
                <a:gd name="T47" fmla="*/ 329 h 1005"/>
                <a:gd name="T48" fmla="*/ 945 w 1006"/>
                <a:gd name="T49" fmla="*/ 262 h 1005"/>
                <a:gd name="T50" fmla="*/ 906 w 1006"/>
                <a:gd name="T51" fmla="*/ 201 h 1005"/>
                <a:gd name="T52" fmla="*/ 859 w 1006"/>
                <a:gd name="T53" fmla="*/ 146 h 1005"/>
                <a:gd name="T54" fmla="*/ 804 w 1006"/>
                <a:gd name="T55" fmla="*/ 99 h 1005"/>
                <a:gd name="T56" fmla="*/ 742 w 1006"/>
                <a:gd name="T57" fmla="*/ 60 h 1005"/>
                <a:gd name="T58" fmla="*/ 676 w 1006"/>
                <a:gd name="T59" fmla="*/ 30 h 1005"/>
                <a:gd name="T60" fmla="*/ 604 w 1006"/>
                <a:gd name="T61" fmla="*/ 10 h 1005"/>
                <a:gd name="T62" fmla="*/ 529 w 1006"/>
                <a:gd name="T63" fmla="*/ 0 h 1005"/>
                <a:gd name="T64" fmla="*/ 452 w 1006"/>
                <a:gd name="T65" fmla="*/ 2 h 1005"/>
                <a:gd name="T66" fmla="*/ 377 w 1006"/>
                <a:gd name="T67" fmla="*/ 15 h 1005"/>
                <a:gd name="T68" fmla="*/ 307 w 1006"/>
                <a:gd name="T69" fmla="*/ 39 h 1005"/>
                <a:gd name="T70" fmla="*/ 242 w 1006"/>
                <a:gd name="T71" fmla="*/ 72 h 1005"/>
                <a:gd name="T72" fmla="*/ 183 w 1006"/>
                <a:gd name="T73" fmla="*/ 114 h 1005"/>
                <a:gd name="T74" fmla="*/ 131 w 1006"/>
                <a:gd name="T75" fmla="*/ 163 h 1005"/>
                <a:gd name="T76" fmla="*/ 85 w 1006"/>
                <a:gd name="T77" fmla="*/ 221 h 1005"/>
                <a:gd name="T78" fmla="*/ 49 w 1006"/>
                <a:gd name="T79" fmla="*/ 284 h 1005"/>
                <a:gd name="T80" fmla="*/ 22 w 1006"/>
                <a:gd name="T81" fmla="*/ 353 h 1005"/>
                <a:gd name="T82" fmla="*/ 6 w 1006"/>
                <a:gd name="T83" fmla="*/ 426 h 1005"/>
                <a:gd name="T84" fmla="*/ 0 w 1006"/>
                <a:gd name="T85" fmla="*/ 503 h 10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1005">
                  <a:moveTo>
                    <a:pt x="0" y="503"/>
                  </a:moveTo>
                  <a:lnTo>
                    <a:pt x="1" y="529"/>
                  </a:lnTo>
                  <a:lnTo>
                    <a:pt x="3" y="554"/>
                  </a:lnTo>
                  <a:lnTo>
                    <a:pt x="6" y="579"/>
                  </a:lnTo>
                  <a:lnTo>
                    <a:pt x="10" y="604"/>
                  </a:lnTo>
                  <a:lnTo>
                    <a:pt x="16" y="628"/>
                  </a:lnTo>
                  <a:lnTo>
                    <a:pt x="22" y="652"/>
                  </a:lnTo>
                  <a:lnTo>
                    <a:pt x="30" y="676"/>
                  </a:lnTo>
                  <a:lnTo>
                    <a:pt x="39" y="699"/>
                  </a:lnTo>
                  <a:lnTo>
                    <a:pt x="49" y="721"/>
                  </a:lnTo>
                  <a:lnTo>
                    <a:pt x="60" y="742"/>
                  </a:lnTo>
                  <a:lnTo>
                    <a:pt x="72" y="763"/>
                  </a:lnTo>
                  <a:lnTo>
                    <a:pt x="85" y="783"/>
                  </a:lnTo>
                  <a:lnTo>
                    <a:pt x="100" y="803"/>
                  </a:lnTo>
                  <a:lnTo>
                    <a:pt x="115" y="822"/>
                  </a:lnTo>
                  <a:lnTo>
                    <a:pt x="131" y="840"/>
                  </a:lnTo>
                  <a:lnTo>
                    <a:pt x="147" y="858"/>
                  </a:lnTo>
                  <a:lnTo>
                    <a:pt x="165" y="875"/>
                  </a:lnTo>
                  <a:lnTo>
                    <a:pt x="183" y="891"/>
                  </a:lnTo>
                  <a:lnTo>
                    <a:pt x="202" y="906"/>
                  </a:lnTo>
                  <a:lnTo>
                    <a:pt x="221" y="920"/>
                  </a:lnTo>
                  <a:lnTo>
                    <a:pt x="242" y="932"/>
                  </a:lnTo>
                  <a:lnTo>
                    <a:pt x="263" y="944"/>
                  </a:lnTo>
                  <a:lnTo>
                    <a:pt x="285" y="956"/>
                  </a:lnTo>
                  <a:lnTo>
                    <a:pt x="307" y="966"/>
                  </a:lnTo>
                  <a:lnTo>
                    <a:pt x="330" y="975"/>
                  </a:lnTo>
                  <a:lnTo>
                    <a:pt x="353" y="982"/>
                  </a:lnTo>
                  <a:lnTo>
                    <a:pt x="377" y="989"/>
                  </a:lnTo>
                  <a:lnTo>
                    <a:pt x="401" y="995"/>
                  </a:lnTo>
                  <a:lnTo>
                    <a:pt x="426" y="999"/>
                  </a:lnTo>
                  <a:lnTo>
                    <a:pt x="452" y="1002"/>
                  </a:lnTo>
                  <a:lnTo>
                    <a:pt x="477" y="1004"/>
                  </a:lnTo>
                  <a:lnTo>
                    <a:pt x="503" y="1005"/>
                  </a:lnTo>
                  <a:lnTo>
                    <a:pt x="529" y="1004"/>
                  </a:lnTo>
                  <a:lnTo>
                    <a:pt x="554" y="1002"/>
                  </a:lnTo>
                  <a:lnTo>
                    <a:pt x="579" y="999"/>
                  </a:lnTo>
                  <a:lnTo>
                    <a:pt x="604" y="995"/>
                  </a:lnTo>
                  <a:lnTo>
                    <a:pt x="629" y="989"/>
                  </a:lnTo>
                  <a:lnTo>
                    <a:pt x="653" y="982"/>
                  </a:lnTo>
                  <a:lnTo>
                    <a:pt x="676" y="975"/>
                  </a:lnTo>
                  <a:lnTo>
                    <a:pt x="699" y="966"/>
                  </a:lnTo>
                  <a:lnTo>
                    <a:pt x="721" y="956"/>
                  </a:lnTo>
                  <a:lnTo>
                    <a:pt x="742" y="944"/>
                  </a:lnTo>
                  <a:lnTo>
                    <a:pt x="763" y="932"/>
                  </a:lnTo>
                  <a:lnTo>
                    <a:pt x="784" y="920"/>
                  </a:lnTo>
                  <a:lnTo>
                    <a:pt x="804" y="906"/>
                  </a:lnTo>
                  <a:lnTo>
                    <a:pt x="823" y="891"/>
                  </a:lnTo>
                  <a:lnTo>
                    <a:pt x="841" y="875"/>
                  </a:lnTo>
                  <a:lnTo>
                    <a:pt x="859" y="858"/>
                  </a:lnTo>
                  <a:lnTo>
                    <a:pt x="875" y="840"/>
                  </a:lnTo>
                  <a:lnTo>
                    <a:pt x="891" y="822"/>
                  </a:lnTo>
                  <a:lnTo>
                    <a:pt x="906" y="803"/>
                  </a:lnTo>
                  <a:lnTo>
                    <a:pt x="920" y="783"/>
                  </a:lnTo>
                  <a:lnTo>
                    <a:pt x="933" y="763"/>
                  </a:lnTo>
                  <a:lnTo>
                    <a:pt x="945" y="742"/>
                  </a:lnTo>
                  <a:lnTo>
                    <a:pt x="956" y="721"/>
                  </a:lnTo>
                  <a:lnTo>
                    <a:pt x="966" y="699"/>
                  </a:lnTo>
                  <a:lnTo>
                    <a:pt x="976" y="676"/>
                  </a:lnTo>
                  <a:lnTo>
                    <a:pt x="984" y="652"/>
                  </a:lnTo>
                  <a:lnTo>
                    <a:pt x="990" y="628"/>
                  </a:lnTo>
                  <a:lnTo>
                    <a:pt x="996" y="604"/>
                  </a:lnTo>
                  <a:lnTo>
                    <a:pt x="1000" y="579"/>
                  </a:lnTo>
                  <a:lnTo>
                    <a:pt x="1003" y="554"/>
                  </a:lnTo>
                  <a:lnTo>
                    <a:pt x="1005" y="529"/>
                  </a:lnTo>
                  <a:lnTo>
                    <a:pt x="1006" y="503"/>
                  </a:lnTo>
                  <a:lnTo>
                    <a:pt x="1005" y="476"/>
                  </a:lnTo>
                  <a:lnTo>
                    <a:pt x="1003" y="451"/>
                  </a:lnTo>
                  <a:lnTo>
                    <a:pt x="1000" y="426"/>
                  </a:lnTo>
                  <a:lnTo>
                    <a:pt x="996" y="401"/>
                  </a:lnTo>
                  <a:lnTo>
                    <a:pt x="990" y="377"/>
                  </a:lnTo>
                  <a:lnTo>
                    <a:pt x="984" y="353"/>
                  </a:lnTo>
                  <a:lnTo>
                    <a:pt x="976" y="329"/>
                  </a:lnTo>
                  <a:lnTo>
                    <a:pt x="966" y="306"/>
                  </a:lnTo>
                  <a:lnTo>
                    <a:pt x="956" y="284"/>
                  </a:lnTo>
                  <a:lnTo>
                    <a:pt x="945" y="262"/>
                  </a:lnTo>
                  <a:lnTo>
                    <a:pt x="933" y="241"/>
                  </a:lnTo>
                  <a:lnTo>
                    <a:pt x="920" y="221"/>
                  </a:lnTo>
                  <a:lnTo>
                    <a:pt x="906" y="201"/>
                  </a:lnTo>
                  <a:lnTo>
                    <a:pt x="891" y="183"/>
                  </a:lnTo>
                  <a:lnTo>
                    <a:pt x="875" y="163"/>
                  </a:lnTo>
                  <a:lnTo>
                    <a:pt x="859" y="146"/>
                  </a:lnTo>
                  <a:lnTo>
                    <a:pt x="841" y="130"/>
                  </a:lnTo>
                  <a:lnTo>
                    <a:pt x="823" y="114"/>
                  </a:lnTo>
                  <a:lnTo>
                    <a:pt x="804" y="99"/>
                  </a:lnTo>
                  <a:lnTo>
                    <a:pt x="784" y="85"/>
                  </a:lnTo>
                  <a:lnTo>
                    <a:pt x="763" y="72"/>
                  </a:lnTo>
                  <a:lnTo>
                    <a:pt x="742" y="60"/>
                  </a:lnTo>
                  <a:lnTo>
                    <a:pt x="721" y="49"/>
                  </a:lnTo>
                  <a:lnTo>
                    <a:pt x="699" y="39"/>
                  </a:lnTo>
                  <a:lnTo>
                    <a:pt x="676" y="30"/>
                  </a:lnTo>
                  <a:lnTo>
                    <a:pt x="653" y="22"/>
                  </a:lnTo>
                  <a:lnTo>
                    <a:pt x="629" y="15"/>
                  </a:lnTo>
                  <a:lnTo>
                    <a:pt x="604" y="10"/>
                  </a:lnTo>
                  <a:lnTo>
                    <a:pt x="579" y="6"/>
                  </a:lnTo>
                  <a:lnTo>
                    <a:pt x="554" y="2"/>
                  </a:lnTo>
                  <a:lnTo>
                    <a:pt x="529" y="0"/>
                  </a:lnTo>
                  <a:lnTo>
                    <a:pt x="503" y="0"/>
                  </a:lnTo>
                  <a:lnTo>
                    <a:pt x="477" y="0"/>
                  </a:lnTo>
                  <a:lnTo>
                    <a:pt x="452" y="2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5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4"/>
                  </a:lnTo>
                  <a:lnTo>
                    <a:pt x="165" y="130"/>
                  </a:lnTo>
                  <a:lnTo>
                    <a:pt x="147" y="146"/>
                  </a:lnTo>
                  <a:lnTo>
                    <a:pt x="131" y="163"/>
                  </a:lnTo>
                  <a:lnTo>
                    <a:pt x="115" y="183"/>
                  </a:lnTo>
                  <a:lnTo>
                    <a:pt x="100" y="201"/>
                  </a:lnTo>
                  <a:lnTo>
                    <a:pt x="85" y="221"/>
                  </a:lnTo>
                  <a:lnTo>
                    <a:pt x="72" y="241"/>
                  </a:lnTo>
                  <a:lnTo>
                    <a:pt x="60" y="262"/>
                  </a:lnTo>
                  <a:lnTo>
                    <a:pt x="49" y="284"/>
                  </a:lnTo>
                  <a:lnTo>
                    <a:pt x="39" y="306"/>
                  </a:lnTo>
                  <a:lnTo>
                    <a:pt x="30" y="329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1"/>
                  </a:lnTo>
                  <a:lnTo>
                    <a:pt x="1" y="476"/>
                  </a:lnTo>
                  <a:lnTo>
                    <a:pt x="0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00" name="ïŝ1ïḑê">
              <a:extLst>
                <a:ext uri="{FF2B5EF4-FFF2-40B4-BE49-F238E27FC236}">
                  <a16:creationId xmlns:a16="http://schemas.microsoft.com/office/drawing/2014/main" id="{A15ECB7F-BFB1-4356-B5E4-F5C8B9D0213F}"/>
                </a:ext>
              </a:extLst>
            </p:cNvPr>
            <p:cNvSpPr/>
            <p:nvPr/>
          </p:nvSpPr>
          <p:spPr bwMode="auto">
            <a:xfrm>
              <a:off x="2268207" y="1319588"/>
              <a:ext cx="38068" cy="38069"/>
            </a:xfrm>
            <a:custGeom>
              <a:avLst/>
              <a:gdLst>
                <a:gd name="T0" fmla="*/ 113 w 1006"/>
                <a:gd name="T1" fmla="*/ 186 h 1006"/>
                <a:gd name="T2" fmla="*/ 70 w 1006"/>
                <a:gd name="T3" fmla="*/ 248 h 1006"/>
                <a:gd name="T4" fmla="*/ 37 w 1006"/>
                <a:gd name="T5" fmla="*/ 314 h 1006"/>
                <a:gd name="T6" fmla="*/ 14 w 1006"/>
                <a:gd name="T7" fmla="*/ 383 h 1006"/>
                <a:gd name="T8" fmla="*/ 2 w 1006"/>
                <a:gd name="T9" fmla="*/ 455 h 1006"/>
                <a:gd name="T10" fmla="*/ 1 w 1006"/>
                <a:gd name="T11" fmla="*/ 527 h 1006"/>
                <a:gd name="T12" fmla="*/ 9 w 1006"/>
                <a:gd name="T13" fmla="*/ 600 h 1006"/>
                <a:gd name="T14" fmla="*/ 28 w 1006"/>
                <a:gd name="T15" fmla="*/ 669 h 1006"/>
                <a:gd name="T16" fmla="*/ 58 w 1006"/>
                <a:gd name="T17" fmla="*/ 737 h 1006"/>
                <a:gd name="T18" fmla="*/ 97 w 1006"/>
                <a:gd name="T19" fmla="*/ 801 h 1006"/>
                <a:gd name="T20" fmla="*/ 148 w 1006"/>
                <a:gd name="T21" fmla="*/ 859 h 1006"/>
                <a:gd name="T22" fmla="*/ 206 w 1006"/>
                <a:gd name="T23" fmla="*/ 908 h 1006"/>
                <a:gd name="T24" fmla="*/ 269 w 1006"/>
                <a:gd name="T25" fmla="*/ 949 h 1006"/>
                <a:gd name="T26" fmla="*/ 337 w 1006"/>
                <a:gd name="T27" fmla="*/ 978 h 1006"/>
                <a:gd name="T28" fmla="*/ 407 w 1006"/>
                <a:gd name="T29" fmla="*/ 997 h 1006"/>
                <a:gd name="T30" fmla="*/ 479 w 1006"/>
                <a:gd name="T31" fmla="*/ 1006 h 1006"/>
                <a:gd name="T32" fmla="*/ 551 w 1006"/>
                <a:gd name="T33" fmla="*/ 1004 h 1006"/>
                <a:gd name="T34" fmla="*/ 622 w 1006"/>
                <a:gd name="T35" fmla="*/ 992 h 1006"/>
                <a:gd name="T36" fmla="*/ 693 w 1006"/>
                <a:gd name="T37" fmla="*/ 970 h 1006"/>
                <a:gd name="T38" fmla="*/ 759 w 1006"/>
                <a:gd name="T39" fmla="*/ 937 h 1006"/>
                <a:gd name="T40" fmla="*/ 820 w 1006"/>
                <a:gd name="T41" fmla="*/ 893 h 1006"/>
                <a:gd name="T42" fmla="*/ 877 w 1006"/>
                <a:gd name="T43" fmla="*/ 840 h 1006"/>
                <a:gd name="T44" fmla="*/ 924 w 1006"/>
                <a:gd name="T45" fmla="*/ 780 h 1006"/>
                <a:gd name="T46" fmla="*/ 960 w 1006"/>
                <a:gd name="T47" fmla="*/ 714 h 1006"/>
                <a:gd name="T48" fmla="*/ 985 w 1006"/>
                <a:gd name="T49" fmla="*/ 646 h 1006"/>
                <a:gd name="T50" fmla="*/ 1001 w 1006"/>
                <a:gd name="T51" fmla="*/ 576 h 1006"/>
                <a:gd name="T52" fmla="*/ 1006 w 1006"/>
                <a:gd name="T53" fmla="*/ 503 h 1006"/>
                <a:gd name="T54" fmla="*/ 1001 w 1006"/>
                <a:gd name="T55" fmla="*/ 431 h 1006"/>
                <a:gd name="T56" fmla="*/ 985 w 1006"/>
                <a:gd name="T57" fmla="*/ 360 h 1006"/>
                <a:gd name="T58" fmla="*/ 960 w 1006"/>
                <a:gd name="T59" fmla="*/ 292 h 1006"/>
                <a:gd name="T60" fmla="*/ 924 w 1006"/>
                <a:gd name="T61" fmla="*/ 226 h 1006"/>
                <a:gd name="T62" fmla="*/ 877 w 1006"/>
                <a:gd name="T63" fmla="*/ 166 h 1006"/>
                <a:gd name="T64" fmla="*/ 820 w 1006"/>
                <a:gd name="T65" fmla="*/ 113 h 1006"/>
                <a:gd name="T66" fmla="*/ 759 w 1006"/>
                <a:gd name="T67" fmla="*/ 70 h 1006"/>
                <a:gd name="T68" fmla="*/ 693 w 1006"/>
                <a:gd name="T69" fmla="*/ 37 h 1006"/>
                <a:gd name="T70" fmla="*/ 622 w 1006"/>
                <a:gd name="T71" fmla="*/ 14 h 1006"/>
                <a:gd name="T72" fmla="*/ 551 w 1006"/>
                <a:gd name="T73" fmla="*/ 2 h 1006"/>
                <a:gd name="T74" fmla="*/ 479 w 1006"/>
                <a:gd name="T75" fmla="*/ 1 h 1006"/>
                <a:gd name="T76" fmla="*/ 407 w 1006"/>
                <a:gd name="T77" fmla="*/ 9 h 1006"/>
                <a:gd name="T78" fmla="*/ 337 w 1006"/>
                <a:gd name="T79" fmla="*/ 28 h 1006"/>
                <a:gd name="T80" fmla="*/ 269 w 1006"/>
                <a:gd name="T81" fmla="*/ 57 h 1006"/>
                <a:gd name="T82" fmla="*/ 206 w 1006"/>
                <a:gd name="T83" fmla="*/ 98 h 1006"/>
                <a:gd name="T84" fmla="*/ 148 w 1006"/>
                <a:gd name="T85" fmla="*/ 148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1006">
                  <a:moveTo>
                    <a:pt x="148" y="148"/>
                  </a:moveTo>
                  <a:lnTo>
                    <a:pt x="130" y="166"/>
                  </a:lnTo>
                  <a:lnTo>
                    <a:pt x="113" y="186"/>
                  </a:lnTo>
                  <a:lnTo>
                    <a:pt x="97" y="206"/>
                  </a:lnTo>
                  <a:lnTo>
                    <a:pt x="83" y="226"/>
                  </a:lnTo>
                  <a:lnTo>
                    <a:pt x="70" y="248"/>
                  </a:lnTo>
                  <a:lnTo>
                    <a:pt x="58" y="270"/>
                  </a:lnTo>
                  <a:lnTo>
                    <a:pt x="47" y="292"/>
                  </a:lnTo>
                  <a:lnTo>
                    <a:pt x="37" y="314"/>
                  </a:lnTo>
                  <a:lnTo>
                    <a:pt x="28" y="337"/>
                  </a:lnTo>
                  <a:lnTo>
                    <a:pt x="21" y="360"/>
                  </a:lnTo>
                  <a:lnTo>
                    <a:pt x="14" y="383"/>
                  </a:lnTo>
                  <a:lnTo>
                    <a:pt x="9" y="408"/>
                  </a:lnTo>
                  <a:lnTo>
                    <a:pt x="5" y="431"/>
                  </a:lnTo>
                  <a:lnTo>
                    <a:pt x="2" y="455"/>
                  </a:lnTo>
                  <a:lnTo>
                    <a:pt x="1" y="479"/>
                  </a:lnTo>
                  <a:lnTo>
                    <a:pt x="0" y="503"/>
                  </a:lnTo>
                  <a:lnTo>
                    <a:pt x="1" y="527"/>
                  </a:lnTo>
                  <a:lnTo>
                    <a:pt x="2" y="551"/>
                  </a:lnTo>
                  <a:lnTo>
                    <a:pt x="5" y="576"/>
                  </a:lnTo>
                  <a:lnTo>
                    <a:pt x="9" y="600"/>
                  </a:lnTo>
                  <a:lnTo>
                    <a:pt x="14" y="623"/>
                  </a:lnTo>
                  <a:lnTo>
                    <a:pt x="21" y="646"/>
                  </a:lnTo>
                  <a:lnTo>
                    <a:pt x="28" y="669"/>
                  </a:lnTo>
                  <a:lnTo>
                    <a:pt x="37" y="692"/>
                  </a:lnTo>
                  <a:lnTo>
                    <a:pt x="47" y="714"/>
                  </a:lnTo>
                  <a:lnTo>
                    <a:pt x="58" y="737"/>
                  </a:lnTo>
                  <a:lnTo>
                    <a:pt x="70" y="759"/>
                  </a:lnTo>
                  <a:lnTo>
                    <a:pt x="83" y="780"/>
                  </a:lnTo>
                  <a:lnTo>
                    <a:pt x="97" y="801"/>
                  </a:lnTo>
                  <a:lnTo>
                    <a:pt x="113" y="821"/>
                  </a:lnTo>
                  <a:lnTo>
                    <a:pt x="130" y="840"/>
                  </a:lnTo>
                  <a:lnTo>
                    <a:pt x="148" y="859"/>
                  </a:lnTo>
                  <a:lnTo>
                    <a:pt x="167" y="876"/>
                  </a:lnTo>
                  <a:lnTo>
                    <a:pt x="186" y="893"/>
                  </a:lnTo>
                  <a:lnTo>
                    <a:pt x="206" y="908"/>
                  </a:lnTo>
                  <a:lnTo>
                    <a:pt x="227" y="924"/>
                  </a:lnTo>
                  <a:lnTo>
                    <a:pt x="248" y="937"/>
                  </a:lnTo>
                  <a:lnTo>
                    <a:pt x="269" y="949"/>
                  </a:lnTo>
                  <a:lnTo>
                    <a:pt x="291" y="960"/>
                  </a:lnTo>
                  <a:lnTo>
                    <a:pt x="314" y="970"/>
                  </a:lnTo>
                  <a:lnTo>
                    <a:pt x="337" y="978"/>
                  </a:lnTo>
                  <a:lnTo>
                    <a:pt x="360" y="986"/>
                  </a:lnTo>
                  <a:lnTo>
                    <a:pt x="384" y="992"/>
                  </a:lnTo>
                  <a:lnTo>
                    <a:pt x="407" y="997"/>
                  </a:lnTo>
                  <a:lnTo>
                    <a:pt x="431" y="1001"/>
                  </a:lnTo>
                  <a:lnTo>
                    <a:pt x="455" y="1004"/>
                  </a:lnTo>
                  <a:lnTo>
                    <a:pt x="479" y="1006"/>
                  </a:lnTo>
                  <a:lnTo>
                    <a:pt x="503" y="1006"/>
                  </a:lnTo>
                  <a:lnTo>
                    <a:pt x="527" y="1006"/>
                  </a:lnTo>
                  <a:lnTo>
                    <a:pt x="551" y="1004"/>
                  </a:lnTo>
                  <a:lnTo>
                    <a:pt x="575" y="1001"/>
                  </a:lnTo>
                  <a:lnTo>
                    <a:pt x="599" y="997"/>
                  </a:lnTo>
                  <a:lnTo>
                    <a:pt x="622" y="992"/>
                  </a:lnTo>
                  <a:lnTo>
                    <a:pt x="646" y="986"/>
                  </a:lnTo>
                  <a:lnTo>
                    <a:pt x="669" y="978"/>
                  </a:lnTo>
                  <a:lnTo>
                    <a:pt x="693" y="970"/>
                  </a:lnTo>
                  <a:lnTo>
                    <a:pt x="715" y="960"/>
                  </a:lnTo>
                  <a:lnTo>
                    <a:pt x="737" y="949"/>
                  </a:lnTo>
                  <a:lnTo>
                    <a:pt x="759" y="937"/>
                  </a:lnTo>
                  <a:lnTo>
                    <a:pt x="780" y="924"/>
                  </a:lnTo>
                  <a:lnTo>
                    <a:pt x="800" y="908"/>
                  </a:lnTo>
                  <a:lnTo>
                    <a:pt x="820" y="893"/>
                  </a:lnTo>
                  <a:lnTo>
                    <a:pt x="840" y="876"/>
                  </a:lnTo>
                  <a:lnTo>
                    <a:pt x="859" y="859"/>
                  </a:lnTo>
                  <a:lnTo>
                    <a:pt x="877" y="840"/>
                  </a:lnTo>
                  <a:lnTo>
                    <a:pt x="894" y="821"/>
                  </a:lnTo>
                  <a:lnTo>
                    <a:pt x="909" y="801"/>
                  </a:lnTo>
                  <a:lnTo>
                    <a:pt x="924" y="780"/>
                  </a:lnTo>
                  <a:lnTo>
                    <a:pt x="937" y="759"/>
                  </a:lnTo>
                  <a:lnTo>
                    <a:pt x="949" y="737"/>
                  </a:lnTo>
                  <a:lnTo>
                    <a:pt x="960" y="714"/>
                  </a:lnTo>
                  <a:lnTo>
                    <a:pt x="969" y="692"/>
                  </a:lnTo>
                  <a:lnTo>
                    <a:pt x="978" y="669"/>
                  </a:lnTo>
                  <a:lnTo>
                    <a:pt x="985" y="646"/>
                  </a:lnTo>
                  <a:lnTo>
                    <a:pt x="992" y="623"/>
                  </a:lnTo>
                  <a:lnTo>
                    <a:pt x="997" y="600"/>
                  </a:lnTo>
                  <a:lnTo>
                    <a:pt x="1001" y="576"/>
                  </a:lnTo>
                  <a:lnTo>
                    <a:pt x="1004" y="551"/>
                  </a:lnTo>
                  <a:lnTo>
                    <a:pt x="1005" y="527"/>
                  </a:lnTo>
                  <a:lnTo>
                    <a:pt x="1006" y="503"/>
                  </a:lnTo>
                  <a:lnTo>
                    <a:pt x="1005" y="479"/>
                  </a:lnTo>
                  <a:lnTo>
                    <a:pt x="1004" y="455"/>
                  </a:lnTo>
                  <a:lnTo>
                    <a:pt x="1001" y="431"/>
                  </a:lnTo>
                  <a:lnTo>
                    <a:pt x="997" y="408"/>
                  </a:lnTo>
                  <a:lnTo>
                    <a:pt x="992" y="383"/>
                  </a:lnTo>
                  <a:lnTo>
                    <a:pt x="985" y="360"/>
                  </a:lnTo>
                  <a:lnTo>
                    <a:pt x="978" y="337"/>
                  </a:lnTo>
                  <a:lnTo>
                    <a:pt x="969" y="314"/>
                  </a:lnTo>
                  <a:lnTo>
                    <a:pt x="960" y="292"/>
                  </a:lnTo>
                  <a:lnTo>
                    <a:pt x="949" y="270"/>
                  </a:lnTo>
                  <a:lnTo>
                    <a:pt x="937" y="248"/>
                  </a:lnTo>
                  <a:lnTo>
                    <a:pt x="924" y="226"/>
                  </a:lnTo>
                  <a:lnTo>
                    <a:pt x="909" y="206"/>
                  </a:lnTo>
                  <a:lnTo>
                    <a:pt x="894" y="186"/>
                  </a:lnTo>
                  <a:lnTo>
                    <a:pt x="877" y="166"/>
                  </a:lnTo>
                  <a:lnTo>
                    <a:pt x="859" y="148"/>
                  </a:lnTo>
                  <a:lnTo>
                    <a:pt x="840" y="130"/>
                  </a:lnTo>
                  <a:lnTo>
                    <a:pt x="820" y="113"/>
                  </a:lnTo>
                  <a:lnTo>
                    <a:pt x="800" y="98"/>
                  </a:lnTo>
                  <a:lnTo>
                    <a:pt x="780" y="84"/>
                  </a:lnTo>
                  <a:lnTo>
                    <a:pt x="759" y="70"/>
                  </a:lnTo>
                  <a:lnTo>
                    <a:pt x="737" y="57"/>
                  </a:lnTo>
                  <a:lnTo>
                    <a:pt x="715" y="46"/>
                  </a:lnTo>
                  <a:lnTo>
                    <a:pt x="693" y="37"/>
                  </a:lnTo>
                  <a:lnTo>
                    <a:pt x="669" y="28"/>
                  </a:lnTo>
                  <a:lnTo>
                    <a:pt x="646" y="21"/>
                  </a:lnTo>
                  <a:lnTo>
                    <a:pt x="622" y="14"/>
                  </a:lnTo>
                  <a:lnTo>
                    <a:pt x="599" y="9"/>
                  </a:lnTo>
                  <a:lnTo>
                    <a:pt x="575" y="5"/>
                  </a:lnTo>
                  <a:lnTo>
                    <a:pt x="551" y="2"/>
                  </a:lnTo>
                  <a:lnTo>
                    <a:pt x="527" y="1"/>
                  </a:lnTo>
                  <a:lnTo>
                    <a:pt x="503" y="0"/>
                  </a:lnTo>
                  <a:lnTo>
                    <a:pt x="479" y="1"/>
                  </a:lnTo>
                  <a:lnTo>
                    <a:pt x="455" y="2"/>
                  </a:lnTo>
                  <a:lnTo>
                    <a:pt x="431" y="5"/>
                  </a:lnTo>
                  <a:lnTo>
                    <a:pt x="407" y="9"/>
                  </a:lnTo>
                  <a:lnTo>
                    <a:pt x="384" y="14"/>
                  </a:lnTo>
                  <a:lnTo>
                    <a:pt x="360" y="21"/>
                  </a:lnTo>
                  <a:lnTo>
                    <a:pt x="337" y="28"/>
                  </a:lnTo>
                  <a:lnTo>
                    <a:pt x="314" y="37"/>
                  </a:lnTo>
                  <a:lnTo>
                    <a:pt x="291" y="46"/>
                  </a:lnTo>
                  <a:lnTo>
                    <a:pt x="269" y="57"/>
                  </a:lnTo>
                  <a:lnTo>
                    <a:pt x="248" y="70"/>
                  </a:lnTo>
                  <a:lnTo>
                    <a:pt x="227" y="84"/>
                  </a:lnTo>
                  <a:lnTo>
                    <a:pt x="206" y="98"/>
                  </a:lnTo>
                  <a:lnTo>
                    <a:pt x="186" y="113"/>
                  </a:lnTo>
                  <a:lnTo>
                    <a:pt x="167" y="130"/>
                  </a:lnTo>
                  <a:lnTo>
                    <a:pt x="148" y="1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01" name="íSlîḍè">
              <a:extLst>
                <a:ext uri="{FF2B5EF4-FFF2-40B4-BE49-F238E27FC236}">
                  <a16:creationId xmlns:a16="http://schemas.microsoft.com/office/drawing/2014/main" id="{E47EF0E5-2320-4C1A-BDA7-09BC572CBE5A}"/>
                </a:ext>
              </a:extLst>
            </p:cNvPr>
            <p:cNvSpPr/>
            <p:nvPr/>
          </p:nvSpPr>
          <p:spPr bwMode="auto">
            <a:xfrm>
              <a:off x="2268207" y="1156033"/>
              <a:ext cx="38068" cy="38069"/>
            </a:xfrm>
            <a:custGeom>
              <a:avLst/>
              <a:gdLst>
                <a:gd name="T0" fmla="*/ 113 w 1006"/>
                <a:gd name="T1" fmla="*/ 186 h 1007"/>
                <a:gd name="T2" fmla="*/ 70 w 1006"/>
                <a:gd name="T3" fmla="*/ 248 h 1007"/>
                <a:gd name="T4" fmla="*/ 37 w 1006"/>
                <a:gd name="T5" fmla="*/ 315 h 1007"/>
                <a:gd name="T6" fmla="*/ 14 w 1006"/>
                <a:gd name="T7" fmla="*/ 384 h 1007"/>
                <a:gd name="T8" fmla="*/ 2 w 1006"/>
                <a:gd name="T9" fmla="*/ 456 h 1007"/>
                <a:gd name="T10" fmla="*/ 0 w 1006"/>
                <a:gd name="T11" fmla="*/ 527 h 1007"/>
                <a:gd name="T12" fmla="*/ 9 w 1006"/>
                <a:gd name="T13" fmla="*/ 599 h 1007"/>
                <a:gd name="T14" fmla="*/ 28 w 1006"/>
                <a:gd name="T15" fmla="*/ 670 h 1007"/>
                <a:gd name="T16" fmla="*/ 57 w 1006"/>
                <a:gd name="T17" fmla="*/ 737 h 1007"/>
                <a:gd name="T18" fmla="*/ 97 w 1006"/>
                <a:gd name="T19" fmla="*/ 801 h 1007"/>
                <a:gd name="T20" fmla="*/ 146 w 1006"/>
                <a:gd name="T21" fmla="*/ 859 h 1007"/>
                <a:gd name="T22" fmla="*/ 206 w 1006"/>
                <a:gd name="T23" fmla="*/ 909 h 1007"/>
                <a:gd name="T24" fmla="*/ 269 w 1006"/>
                <a:gd name="T25" fmla="*/ 950 h 1007"/>
                <a:gd name="T26" fmla="*/ 337 w 1006"/>
                <a:gd name="T27" fmla="*/ 979 h 1007"/>
                <a:gd name="T28" fmla="*/ 407 w 1006"/>
                <a:gd name="T29" fmla="*/ 998 h 1007"/>
                <a:gd name="T30" fmla="*/ 478 w 1006"/>
                <a:gd name="T31" fmla="*/ 1006 h 1007"/>
                <a:gd name="T32" fmla="*/ 551 w 1006"/>
                <a:gd name="T33" fmla="*/ 1004 h 1007"/>
                <a:gd name="T34" fmla="*/ 622 w 1006"/>
                <a:gd name="T35" fmla="*/ 992 h 1007"/>
                <a:gd name="T36" fmla="*/ 693 w 1006"/>
                <a:gd name="T37" fmla="*/ 970 h 1007"/>
                <a:gd name="T38" fmla="*/ 759 w 1006"/>
                <a:gd name="T39" fmla="*/ 936 h 1007"/>
                <a:gd name="T40" fmla="*/ 820 w 1006"/>
                <a:gd name="T41" fmla="*/ 893 h 1007"/>
                <a:gd name="T42" fmla="*/ 877 w 1006"/>
                <a:gd name="T43" fmla="*/ 840 h 1007"/>
                <a:gd name="T44" fmla="*/ 924 w 1006"/>
                <a:gd name="T45" fmla="*/ 780 h 1007"/>
                <a:gd name="T46" fmla="*/ 960 w 1006"/>
                <a:gd name="T47" fmla="*/ 715 h 1007"/>
                <a:gd name="T48" fmla="*/ 985 w 1006"/>
                <a:gd name="T49" fmla="*/ 647 h 1007"/>
                <a:gd name="T50" fmla="*/ 1001 w 1006"/>
                <a:gd name="T51" fmla="*/ 575 h 1007"/>
                <a:gd name="T52" fmla="*/ 1006 w 1006"/>
                <a:gd name="T53" fmla="*/ 503 h 1007"/>
                <a:gd name="T54" fmla="*/ 1001 w 1006"/>
                <a:gd name="T55" fmla="*/ 431 h 1007"/>
                <a:gd name="T56" fmla="*/ 985 w 1006"/>
                <a:gd name="T57" fmla="*/ 360 h 1007"/>
                <a:gd name="T58" fmla="*/ 960 w 1006"/>
                <a:gd name="T59" fmla="*/ 292 h 1007"/>
                <a:gd name="T60" fmla="*/ 924 w 1006"/>
                <a:gd name="T61" fmla="*/ 227 h 1007"/>
                <a:gd name="T62" fmla="*/ 877 w 1006"/>
                <a:gd name="T63" fmla="*/ 167 h 1007"/>
                <a:gd name="T64" fmla="*/ 820 w 1006"/>
                <a:gd name="T65" fmla="*/ 114 h 1007"/>
                <a:gd name="T66" fmla="*/ 759 w 1006"/>
                <a:gd name="T67" fmla="*/ 70 h 1007"/>
                <a:gd name="T68" fmla="*/ 693 w 1006"/>
                <a:gd name="T69" fmla="*/ 37 h 1007"/>
                <a:gd name="T70" fmla="*/ 622 w 1006"/>
                <a:gd name="T71" fmla="*/ 15 h 1007"/>
                <a:gd name="T72" fmla="*/ 551 w 1006"/>
                <a:gd name="T73" fmla="*/ 2 h 1007"/>
                <a:gd name="T74" fmla="*/ 479 w 1006"/>
                <a:gd name="T75" fmla="*/ 1 h 1007"/>
                <a:gd name="T76" fmla="*/ 407 w 1006"/>
                <a:gd name="T77" fmla="*/ 9 h 1007"/>
                <a:gd name="T78" fmla="*/ 337 w 1006"/>
                <a:gd name="T79" fmla="*/ 28 h 1007"/>
                <a:gd name="T80" fmla="*/ 269 w 1006"/>
                <a:gd name="T81" fmla="*/ 58 h 1007"/>
                <a:gd name="T82" fmla="*/ 206 w 1006"/>
                <a:gd name="T83" fmla="*/ 98 h 1007"/>
                <a:gd name="T84" fmla="*/ 148 w 1006"/>
                <a:gd name="T85" fmla="*/ 148 h 10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1007">
                  <a:moveTo>
                    <a:pt x="148" y="148"/>
                  </a:moveTo>
                  <a:lnTo>
                    <a:pt x="130" y="167"/>
                  </a:lnTo>
                  <a:lnTo>
                    <a:pt x="113" y="186"/>
                  </a:lnTo>
                  <a:lnTo>
                    <a:pt x="97" y="206"/>
                  </a:lnTo>
                  <a:lnTo>
                    <a:pt x="83" y="227"/>
                  </a:lnTo>
                  <a:lnTo>
                    <a:pt x="70" y="248"/>
                  </a:lnTo>
                  <a:lnTo>
                    <a:pt x="58" y="270"/>
                  </a:lnTo>
                  <a:lnTo>
                    <a:pt x="47" y="292"/>
                  </a:lnTo>
                  <a:lnTo>
                    <a:pt x="37" y="315"/>
                  </a:lnTo>
                  <a:lnTo>
                    <a:pt x="28" y="337"/>
                  </a:lnTo>
                  <a:lnTo>
                    <a:pt x="21" y="360"/>
                  </a:lnTo>
                  <a:lnTo>
                    <a:pt x="14" y="384"/>
                  </a:lnTo>
                  <a:lnTo>
                    <a:pt x="9" y="407"/>
                  </a:lnTo>
                  <a:lnTo>
                    <a:pt x="5" y="431"/>
                  </a:lnTo>
                  <a:lnTo>
                    <a:pt x="2" y="456"/>
                  </a:lnTo>
                  <a:lnTo>
                    <a:pt x="1" y="480"/>
                  </a:lnTo>
                  <a:lnTo>
                    <a:pt x="0" y="503"/>
                  </a:lnTo>
                  <a:lnTo>
                    <a:pt x="0" y="527"/>
                  </a:lnTo>
                  <a:lnTo>
                    <a:pt x="2" y="551"/>
                  </a:lnTo>
                  <a:lnTo>
                    <a:pt x="5" y="575"/>
                  </a:lnTo>
                  <a:lnTo>
                    <a:pt x="9" y="599"/>
                  </a:lnTo>
                  <a:lnTo>
                    <a:pt x="14" y="623"/>
                  </a:lnTo>
                  <a:lnTo>
                    <a:pt x="20" y="647"/>
                  </a:lnTo>
                  <a:lnTo>
                    <a:pt x="28" y="670"/>
                  </a:lnTo>
                  <a:lnTo>
                    <a:pt x="36" y="692"/>
                  </a:lnTo>
                  <a:lnTo>
                    <a:pt x="46" y="715"/>
                  </a:lnTo>
                  <a:lnTo>
                    <a:pt x="57" y="737"/>
                  </a:lnTo>
                  <a:lnTo>
                    <a:pt x="69" y="758"/>
                  </a:lnTo>
                  <a:lnTo>
                    <a:pt x="82" y="780"/>
                  </a:lnTo>
                  <a:lnTo>
                    <a:pt x="97" y="801"/>
                  </a:lnTo>
                  <a:lnTo>
                    <a:pt x="112" y="821"/>
                  </a:lnTo>
                  <a:lnTo>
                    <a:pt x="129" y="840"/>
                  </a:lnTo>
                  <a:lnTo>
                    <a:pt x="146" y="859"/>
                  </a:lnTo>
                  <a:lnTo>
                    <a:pt x="166" y="877"/>
                  </a:lnTo>
                  <a:lnTo>
                    <a:pt x="186" y="893"/>
                  </a:lnTo>
                  <a:lnTo>
                    <a:pt x="206" y="909"/>
                  </a:lnTo>
                  <a:lnTo>
                    <a:pt x="226" y="923"/>
                  </a:lnTo>
                  <a:lnTo>
                    <a:pt x="247" y="936"/>
                  </a:lnTo>
                  <a:lnTo>
                    <a:pt x="269" y="950"/>
                  </a:lnTo>
                  <a:lnTo>
                    <a:pt x="291" y="960"/>
                  </a:lnTo>
                  <a:lnTo>
                    <a:pt x="313" y="970"/>
                  </a:lnTo>
                  <a:lnTo>
                    <a:pt x="337" y="979"/>
                  </a:lnTo>
                  <a:lnTo>
                    <a:pt x="360" y="986"/>
                  </a:lnTo>
                  <a:lnTo>
                    <a:pt x="383" y="992"/>
                  </a:lnTo>
                  <a:lnTo>
                    <a:pt x="407" y="998"/>
                  </a:lnTo>
                  <a:lnTo>
                    <a:pt x="431" y="1002"/>
                  </a:lnTo>
                  <a:lnTo>
                    <a:pt x="454" y="1004"/>
                  </a:lnTo>
                  <a:lnTo>
                    <a:pt x="478" y="1006"/>
                  </a:lnTo>
                  <a:lnTo>
                    <a:pt x="502" y="1007"/>
                  </a:lnTo>
                  <a:lnTo>
                    <a:pt x="527" y="1006"/>
                  </a:lnTo>
                  <a:lnTo>
                    <a:pt x="551" y="1004"/>
                  </a:lnTo>
                  <a:lnTo>
                    <a:pt x="575" y="1002"/>
                  </a:lnTo>
                  <a:lnTo>
                    <a:pt x="599" y="998"/>
                  </a:lnTo>
                  <a:lnTo>
                    <a:pt x="622" y="992"/>
                  </a:lnTo>
                  <a:lnTo>
                    <a:pt x="646" y="986"/>
                  </a:lnTo>
                  <a:lnTo>
                    <a:pt x="669" y="979"/>
                  </a:lnTo>
                  <a:lnTo>
                    <a:pt x="693" y="970"/>
                  </a:lnTo>
                  <a:lnTo>
                    <a:pt x="715" y="960"/>
                  </a:lnTo>
                  <a:lnTo>
                    <a:pt x="737" y="950"/>
                  </a:lnTo>
                  <a:lnTo>
                    <a:pt x="759" y="936"/>
                  </a:lnTo>
                  <a:lnTo>
                    <a:pt x="780" y="923"/>
                  </a:lnTo>
                  <a:lnTo>
                    <a:pt x="800" y="909"/>
                  </a:lnTo>
                  <a:lnTo>
                    <a:pt x="820" y="893"/>
                  </a:lnTo>
                  <a:lnTo>
                    <a:pt x="840" y="877"/>
                  </a:lnTo>
                  <a:lnTo>
                    <a:pt x="859" y="859"/>
                  </a:lnTo>
                  <a:lnTo>
                    <a:pt x="877" y="840"/>
                  </a:lnTo>
                  <a:lnTo>
                    <a:pt x="894" y="821"/>
                  </a:lnTo>
                  <a:lnTo>
                    <a:pt x="909" y="801"/>
                  </a:lnTo>
                  <a:lnTo>
                    <a:pt x="924" y="780"/>
                  </a:lnTo>
                  <a:lnTo>
                    <a:pt x="937" y="758"/>
                  </a:lnTo>
                  <a:lnTo>
                    <a:pt x="949" y="737"/>
                  </a:lnTo>
                  <a:lnTo>
                    <a:pt x="960" y="715"/>
                  </a:lnTo>
                  <a:lnTo>
                    <a:pt x="969" y="692"/>
                  </a:lnTo>
                  <a:lnTo>
                    <a:pt x="978" y="670"/>
                  </a:lnTo>
                  <a:lnTo>
                    <a:pt x="985" y="647"/>
                  </a:lnTo>
                  <a:lnTo>
                    <a:pt x="992" y="623"/>
                  </a:lnTo>
                  <a:lnTo>
                    <a:pt x="997" y="599"/>
                  </a:lnTo>
                  <a:lnTo>
                    <a:pt x="1001" y="575"/>
                  </a:lnTo>
                  <a:lnTo>
                    <a:pt x="1004" y="551"/>
                  </a:lnTo>
                  <a:lnTo>
                    <a:pt x="1005" y="527"/>
                  </a:lnTo>
                  <a:lnTo>
                    <a:pt x="1006" y="503"/>
                  </a:lnTo>
                  <a:lnTo>
                    <a:pt x="1005" y="480"/>
                  </a:lnTo>
                  <a:lnTo>
                    <a:pt x="1004" y="456"/>
                  </a:lnTo>
                  <a:lnTo>
                    <a:pt x="1001" y="431"/>
                  </a:lnTo>
                  <a:lnTo>
                    <a:pt x="997" y="407"/>
                  </a:lnTo>
                  <a:lnTo>
                    <a:pt x="992" y="384"/>
                  </a:lnTo>
                  <a:lnTo>
                    <a:pt x="985" y="360"/>
                  </a:lnTo>
                  <a:lnTo>
                    <a:pt x="978" y="337"/>
                  </a:lnTo>
                  <a:lnTo>
                    <a:pt x="969" y="315"/>
                  </a:lnTo>
                  <a:lnTo>
                    <a:pt x="960" y="292"/>
                  </a:lnTo>
                  <a:lnTo>
                    <a:pt x="949" y="270"/>
                  </a:lnTo>
                  <a:lnTo>
                    <a:pt x="937" y="248"/>
                  </a:lnTo>
                  <a:lnTo>
                    <a:pt x="924" y="227"/>
                  </a:lnTo>
                  <a:lnTo>
                    <a:pt x="909" y="206"/>
                  </a:lnTo>
                  <a:lnTo>
                    <a:pt x="894" y="186"/>
                  </a:lnTo>
                  <a:lnTo>
                    <a:pt x="877" y="167"/>
                  </a:lnTo>
                  <a:lnTo>
                    <a:pt x="859" y="148"/>
                  </a:lnTo>
                  <a:lnTo>
                    <a:pt x="840" y="130"/>
                  </a:lnTo>
                  <a:lnTo>
                    <a:pt x="820" y="114"/>
                  </a:lnTo>
                  <a:lnTo>
                    <a:pt x="800" y="98"/>
                  </a:lnTo>
                  <a:lnTo>
                    <a:pt x="780" y="83"/>
                  </a:lnTo>
                  <a:lnTo>
                    <a:pt x="759" y="70"/>
                  </a:lnTo>
                  <a:lnTo>
                    <a:pt x="737" y="58"/>
                  </a:lnTo>
                  <a:lnTo>
                    <a:pt x="715" y="47"/>
                  </a:lnTo>
                  <a:lnTo>
                    <a:pt x="693" y="37"/>
                  </a:lnTo>
                  <a:lnTo>
                    <a:pt x="669" y="28"/>
                  </a:lnTo>
                  <a:lnTo>
                    <a:pt x="646" y="21"/>
                  </a:lnTo>
                  <a:lnTo>
                    <a:pt x="622" y="15"/>
                  </a:lnTo>
                  <a:lnTo>
                    <a:pt x="599" y="9"/>
                  </a:lnTo>
                  <a:lnTo>
                    <a:pt x="575" y="5"/>
                  </a:lnTo>
                  <a:lnTo>
                    <a:pt x="551" y="2"/>
                  </a:lnTo>
                  <a:lnTo>
                    <a:pt x="527" y="1"/>
                  </a:lnTo>
                  <a:lnTo>
                    <a:pt x="503" y="0"/>
                  </a:lnTo>
                  <a:lnTo>
                    <a:pt x="479" y="1"/>
                  </a:lnTo>
                  <a:lnTo>
                    <a:pt x="455" y="2"/>
                  </a:lnTo>
                  <a:lnTo>
                    <a:pt x="431" y="5"/>
                  </a:lnTo>
                  <a:lnTo>
                    <a:pt x="407" y="9"/>
                  </a:lnTo>
                  <a:lnTo>
                    <a:pt x="384" y="15"/>
                  </a:lnTo>
                  <a:lnTo>
                    <a:pt x="360" y="21"/>
                  </a:lnTo>
                  <a:lnTo>
                    <a:pt x="337" y="28"/>
                  </a:lnTo>
                  <a:lnTo>
                    <a:pt x="314" y="37"/>
                  </a:lnTo>
                  <a:lnTo>
                    <a:pt x="291" y="47"/>
                  </a:lnTo>
                  <a:lnTo>
                    <a:pt x="269" y="58"/>
                  </a:lnTo>
                  <a:lnTo>
                    <a:pt x="248" y="70"/>
                  </a:lnTo>
                  <a:lnTo>
                    <a:pt x="227" y="83"/>
                  </a:lnTo>
                  <a:lnTo>
                    <a:pt x="206" y="98"/>
                  </a:lnTo>
                  <a:lnTo>
                    <a:pt x="186" y="114"/>
                  </a:lnTo>
                  <a:lnTo>
                    <a:pt x="167" y="130"/>
                  </a:lnTo>
                  <a:lnTo>
                    <a:pt x="148" y="1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02" name="îṣliḑê">
              <a:extLst>
                <a:ext uri="{FF2B5EF4-FFF2-40B4-BE49-F238E27FC236}">
                  <a16:creationId xmlns:a16="http://schemas.microsoft.com/office/drawing/2014/main" id="{173EEE11-D37C-4D95-90AA-5C3B6687EE17}"/>
                </a:ext>
              </a:extLst>
            </p:cNvPr>
            <p:cNvSpPr/>
            <p:nvPr/>
          </p:nvSpPr>
          <p:spPr bwMode="auto">
            <a:xfrm>
              <a:off x="2430352" y="1319588"/>
              <a:ext cx="38068" cy="38069"/>
            </a:xfrm>
            <a:custGeom>
              <a:avLst/>
              <a:gdLst>
                <a:gd name="T0" fmla="*/ 113 w 1006"/>
                <a:gd name="T1" fmla="*/ 186 h 1006"/>
                <a:gd name="T2" fmla="*/ 69 w 1006"/>
                <a:gd name="T3" fmla="*/ 248 h 1006"/>
                <a:gd name="T4" fmla="*/ 37 w 1006"/>
                <a:gd name="T5" fmla="*/ 314 h 1006"/>
                <a:gd name="T6" fmla="*/ 14 w 1006"/>
                <a:gd name="T7" fmla="*/ 383 h 1006"/>
                <a:gd name="T8" fmla="*/ 2 w 1006"/>
                <a:gd name="T9" fmla="*/ 455 h 1006"/>
                <a:gd name="T10" fmla="*/ 1 w 1006"/>
                <a:gd name="T11" fmla="*/ 527 h 1006"/>
                <a:gd name="T12" fmla="*/ 9 w 1006"/>
                <a:gd name="T13" fmla="*/ 600 h 1006"/>
                <a:gd name="T14" fmla="*/ 28 w 1006"/>
                <a:gd name="T15" fmla="*/ 669 h 1006"/>
                <a:gd name="T16" fmla="*/ 57 w 1006"/>
                <a:gd name="T17" fmla="*/ 737 h 1006"/>
                <a:gd name="T18" fmla="*/ 97 w 1006"/>
                <a:gd name="T19" fmla="*/ 801 h 1006"/>
                <a:gd name="T20" fmla="*/ 148 w 1006"/>
                <a:gd name="T21" fmla="*/ 859 h 1006"/>
                <a:gd name="T22" fmla="*/ 206 w 1006"/>
                <a:gd name="T23" fmla="*/ 908 h 1006"/>
                <a:gd name="T24" fmla="*/ 269 w 1006"/>
                <a:gd name="T25" fmla="*/ 949 h 1006"/>
                <a:gd name="T26" fmla="*/ 337 w 1006"/>
                <a:gd name="T27" fmla="*/ 978 h 1006"/>
                <a:gd name="T28" fmla="*/ 407 w 1006"/>
                <a:gd name="T29" fmla="*/ 997 h 1006"/>
                <a:gd name="T30" fmla="*/ 479 w 1006"/>
                <a:gd name="T31" fmla="*/ 1006 h 1006"/>
                <a:gd name="T32" fmla="*/ 551 w 1006"/>
                <a:gd name="T33" fmla="*/ 1004 h 1006"/>
                <a:gd name="T34" fmla="*/ 622 w 1006"/>
                <a:gd name="T35" fmla="*/ 992 h 1006"/>
                <a:gd name="T36" fmla="*/ 692 w 1006"/>
                <a:gd name="T37" fmla="*/ 970 h 1006"/>
                <a:gd name="T38" fmla="*/ 758 w 1006"/>
                <a:gd name="T39" fmla="*/ 937 h 1006"/>
                <a:gd name="T40" fmla="*/ 821 w 1006"/>
                <a:gd name="T41" fmla="*/ 893 h 1006"/>
                <a:gd name="T42" fmla="*/ 876 w 1006"/>
                <a:gd name="T43" fmla="*/ 840 h 1006"/>
                <a:gd name="T44" fmla="*/ 923 w 1006"/>
                <a:gd name="T45" fmla="*/ 780 h 1006"/>
                <a:gd name="T46" fmla="*/ 959 w 1006"/>
                <a:gd name="T47" fmla="*/ 714 h 1006"/>
                <a:gd name="T48" fmla="*/ 986 w 1006"/>
                <a:gd name="T49" fmla="*/ 646 h 1006"/>
                <a:gd name="T50" fmla="*/ 1001 w 1006"/>
                <a:gd name="T51" fmla="*/ 576 h 1006"/>
                <a:gd name="T52" fmla="*/ 1006 w 1006"/>
                <a:gd name="T53" fmla="*/ 503 h 1006"/>
                <a:gd name="T54" fmla="*/ 1001 w 1006"/>
                <a:gd name="T55" fmla="*/ 431 h 1006"/>
                <a:gd name="T56" fmla="*/ 986 w 1006"/>
                <a:gd name="T57" fmla="*/ 360 h 1006"/>
                <a:gd name="T58" fmla="*/ 959 w 1006"/>
                <a:gd name="T59" fmla="*/ 292 h 1006"/>
                <a:gd name="T60" fmla="*/ 923 w 1006"/>
                <a:gd name="T61" fmla="*/ 226 h 1006"/>
                <a:gd name="T62" fmla="*/ 876 w 1006"/>
                <a:gd name="T63" fmla="*/ 166 h 1006"/>
                <a:gd name="T64" fmla="*/ 821 w 1006"/>
                <a:gd name="T65" fmla="*/ 113 h 1006"/>
                <a:gd name="T66" fmla="*/ 758 w 1006"/>
                <a:gd name="T67" fmla="*/ 70 h 1006"/>
                <a:gd name="T68" fmla="*/ 692 w 1006"/>
                <a:gd name="T69" fmla="*/ 37 h 1006"/>
                <a:gd name="T70" fmla="*/ 622 w 1006"/>
                <a:gd name="T71" fmla="*/ 14 h 1006"/>
                <a:gd name="T72" fmla="*/ 551 w 1006"/>
                <a:gd name="T73" fmla="*/ 2 h 1006"/>
                <a:gd name="T74" fmla="*/ 479 w 1006"/>
                <a:gd name="T75" fmla="*/ 1 h 1006"/>
                <a:gd name="T76" fmla="*/ 407 w 1006"/>
                <a:gd name="T77" fmla="*/ 9 h 1006"/>
                <a:gd name="T78" fmla="*/ 337 w 1006"/>
                <a:gd name="T79" fmla="*/ 28 h 1006"/>
                <a:gd name="T80" fmla="*/ 269 w 1006"/>
                <a:gd name="T81" fmla="*/ 57 h 1006"/>
                <a:gd name="T82" fmla="*/ 206 w 1006"/>
                <a:gd name="T83" fmla="*/ 98 h 1006"/>
                <a:gd name="T84" fmla="*/ 148 w 1006"/>
                <a:gd name="T85" fmla="*/ 148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1006">
                  <a:moveTo>
                    <a:pt x="148" y="148"/>
                  </a:moveTo>
                  <a:lnTo>
                    <a:pt x="130" y="166"/>
                  </a:lnTo>
                  <a:lnTo>
                    <a:pt x="113" y="186"/>
                  </a:lnTo>
                  <a:lnTo>
                    <a:pt x="97" y="206"/>
                  </a:lnTo>
                  <a:lnTo>
                    <a:pt x="83" y="226"/>
                  </a:lnTo>
                  <a:lnTo>
                    <a:pt x="69" y="248"/>
                  </a:lnTo>
                  <a:lnTo>
                    <a:pt x="57" y="270"/>
                  </a:lnTo>
                  <a:lnTo>
                    <a:pt x="46" y="292"/>
                  </a:lnTo>
                  <a:lnTo>
                    <a:pt x="37" y="314"/>
                  </a:lnTo>
                  <a:lnTo>
                    <a:pt x="28" y="337"/>
                  </a:lnTo>
                  <a:lnTo>
                    <a:pt x="21" y="360"/>
                  </a:lnTo>
                  <a:lnTo>
                    <a:pt x="14" y="383"/>
                  </a:lnTo>
                  <a:lnTo>
                    <a:pt x="9" y="408"/>
                  </a:lnTo>
                  <a:lnTo>
                    <a:pt x="5" y="431"/>
                  </a:lnTo>
                  <a:lnTo>
                    <a:pt x="2" y="455"/>
                  </a:lnTo>
                  <a:lnTo>
                    <a:pt x="1" y="479"/>
                  </a:lnTo>
                  <a:lnTo>
                    <a:pt x="0" y="503"/>
                  </a:lnTo>
                  <a:lnTo>
                    <a:pt x="1" y="527"/>
                  </a:lnTo>
                  <a:lnTo>
                    <a:pt x="2" y="551"/>
                  </a:lnTo>
                  <a:lnTo>
                    <a:pt x="5" y="576"/>
                  </a:lnTo>
                  <a:lnTo>
                    <a:pt x="9" y="600"/>
                  </a:lnTo>
                  <a:lnTo>
                    <a:pt x="14" y="623"/>
                  </a:lnTo>
                  <a:lnTo>
                    <a:pt x="21" y="646"/>
                  </a:lnTo>
                  <a:lnTo>
                    <a:pt x="28" y="669"/>
                  </a:lnTo>
                  <a:lnTo>
                    <a:pt x="37" y="692"/>
                  </a:lnTo>
                  <a:lnTo>
                    <a:pt x="46" y="714"/>
                  </a:lnTo>
                  <a:lnTo>
                    <a:pt x="57" y="737"/>
                  </a:lnTo>
                  <a:lnTo>
                    <a:pt x="69" y="759"/>
                  </a:lnTo>
                  <a:lnTo>
                    <a:pt x="83" y="780"/>
                  </a:lnTo>
                  <a:lnTo>
                    <a:pt x="97" y="801"/>
                  </a:lnTo>
                  <a:lnTo>
                    <a:pt x="113" y="821"/>
                  </a:lnTo>
                  <a:lnTo>
                    <a:pt x="130" y="840"/>
                  </a:lnTo>
                  <a:lnTo>
                    <a:pt x="148" y="859"/>
                  </a:lnTo>
                  <a:lnTo>
                    <a:pt x="166" y="876"/>
                  </a:lnTo>
                  <a:lnTo>
                    <a:pt x="186" y="893"/>
                  </a:lnTo>
                  <a:lnTo>
                    <a:pt x="206" y="908"/>
                  </a:lnTo>
                  <a:lnTo>
                    <a:pt x="226" y="924"/>
                  </a:lnTo>
                  <a:lnTo>
                    <a:pt x="247" y="937"/>
                  </a:lnTo>
                  <a:lnTo>
                    <a:pt x="269" y="949"/>
                  </a:lnTo>
                  <a:lnTo>
                    <a:pt x="292" y="960"/>
                  </a:lnTo>
                  <a:lnTo>
                    <a:pt x="314" y="970"/>
                  </a:lnTo>
                  <a:lnTo>
                    <a:pt x="337" y="978"/>
                  </a:lnTo>
                  <a:lnTo>
                    <a:pt x="360" y="986"/>
                  </a:lnTo>
                  <a:lnTo>
                    <a:pt x="383" y="992"/>
                  </a:lnTo>
                  <a:lnTo>
                    <a:pt x="407" y="997"/>
                  </a:lnTo>
                  <a:lnTo>
                    <a:pt x="430" y="1001"/>
                  </a:lnTo>
                  <a:lnTo>
                    <a:pt x="455" y="1004"/>
                  </a:lnTo>
                  <a:lnTo>
                    <a:pt x="479" y="1006"/>
                  </a:lnTo>
                  <a:lnTo>
                    <a:pt x="503" y="1006"/>
                  </a:lnTo>
                  <a:lnTo>
                    <a:pt x="527" y="1006"/>
                  </a:lnTo>
                  <a:lnTo>
                    <a:pt x="551" y="1004"/>
                  </a:lnTo>
                  <a:lnTo>
                    <a:pt x="575" y="1001"/>
                  </a:lnTo>
                  <a:lnTo>
                    <a:pt x="599" y="997"/>
                  </a:lnTo>
                  <a:lnTo>
                    <a:pt x="622" y="992"/>
                  </a:lnTo>
                  <a:lnTo>
                    <a:pt x="646" y="986"/>
                  </a:lnTo>
                  <a:lnTo>
                    <a:pt x="669" y="978"/>
                  </a:lnTo>
                  <a:lnTo>
                    <a:pt x="692" y="970"/>
                  </a:lnTo>
                  <a:lnTo>
                    <a:pt x="714" y="960"/>
                  </a:lnTo>
                  <a:lnTo>
                    <a:pt x="737" y="949"/>
                  </a:lnTo>
                  <a:lnTo>
                    <a:pt x="758" y="937"/>
                  </a:lnTo>
                  <a:lnTo>
                    <a:pt x="779" y="924"/>
                  </a:lnTo>
                  <a:lnTo>
                    <a:pt x="800" y="908"/>
                  </a:lnTo>
                  <a:lnTo>
                    <a:pt x="821" y="893"/>
                  </a:lnTo>
                  <a:lnTo>
                    <a:pt x="840" y="876"/>
                  </a:lnTo>
                  <a:lnTo>
                    <a:pt x="859" y="859"/>
                  </a:lnTo>
                  <a:lnTo>
                    <a:pt x="876" y="840"/>
                  </a:lnTo>
                  <a:lnTo>
                    <a:pt x="893" y="821"/>
                  </a:lnTo>
                  <a:lnTo>
                    <a:pt x="908" y="801"/>
                  </a:lnTo>
                  <a:lnTo>
                    <a:pt x="923" y="780"/>
                  </a:lnTo>
                  <a:lnTo>
                    <a:pt x="936" y="759"/>
                  </a:lnTo>
                  <a:lnTo>
                    <a:pt x="948" y="737"/>
                  </a:lnTo>
                  <a:lnTo>
                    <a:pt x="959" y="714"/>
                  </a:lnTo>
                  <a:lnTo>
                    <a:pt x="969" y="692"/>
                  </a:lnTo>
                  <a:lnTo>
                    <a:pt x="977" y="669"/>
                  </a:lnTo>
                  <a:lnTo>
                    <a:pt x="986" y="646"/>
                  </a:lnTo>
                  <a:lnTo>
                    <a:pt x="992" y="623"/>
                  </a:lnTo>
                  <a:lnTo>
                    <a:pt x="997" y="600"/>
                  </a:lnTo>
                  <a:lnTo>
                    <a:pt x="1001" y="576"/>
                  </a:lnTo>
                  <a:lnTo>
                    <a:pt x="1004" y="551"/>
                  </a:lnTo>
                  <a:lnTo>
                    <a:pt x="1006" y="527"/>
                  </a:lnTo>
                  <a:lnTo>
                    <a:pt x="1006" y="503"/>
                  </a:lnTo>
                  <a:lnTo>
                    <a:pt x="1006" y="479"/>
                  </a:lnTo>
                  <a:lnTo>
                    <a:pt x="1004" y="455"/>
                  </a:lnTo>
                  <a:lnTo>
                    <a:pt x="1001" y="431"/>
                  </a:lnTo>
                  <a:lnTo>
                    <a:pt x="997" y="408"/>
                  </a:lnTo>
                  <a:lnTo>
                    <a:pt x="992" y="383"/>
                  </a:lnTo>
                  <a:lnTo>
                    <a:pt x="986" y="360"/>
                  </a:lnTo>
                  <a:lnTo>
                    <a:pt x="977" y="337"/>
                  </a:lnTo>
                  <a:lnTo>
                    <a:pt x="969" y="314"/>
                  </a:lnTo>
                  <a:lnTo>
                    <a:pt x="959" y="292"/>
                  </a:lnTo>
                  <a:lnTo>
                    <a:pt x="948" y="270"/>
                  </a:lnTo>
                  <a:lnTo>
                    <a:pt x="936" y="248"/>
                  </a:lnTo>
                  <a:lnTo>
                    <a:pt x="923" y="226"/>
                  </a:lnTo>
                  <a:lnTo>
                    <a:pt x="908" y="206"/>
                  </a:lnTo>
                  <a:lnTo>
                    <a:pt x="893" y="186"/>
                  </a:lnTo>
                  <a:lnTo>
                    <a:pt x="876" y="166"/>
                  </a:lnTo>
                  <a:lnTo>
                    <a:pt x="859" y="148"/>
                  </a:lnTo>
                  <a:lnTo>
                    <a:pt x="840" y="130"/>
                  </a:lnTo>
                  <a:lnTo>
                    <a:pt x="821" y="113"/>
                  </a:lnTo>
                  <a:lnTo>
                    <a:pt x="800" y="98"/>
                  </a:lnTo>
                  <a:lnTo>
                    <a:pt x="779" y="84"/>
                  </a:lnTo>
                  <a:lnTo>
                    <a:pt x="758" y="70"/>
                  </a:lnTo>
                  <a:lnTo>
                    <a:pt x="737" y="57"/>
                  </a:lnTo>
                  <a:lnTo>
                    <a:pt x="714" y="46"/>
                  </a:lnTo>
                  <a:lnTo>
                    <a:pt x="692" y="37"/>
                  </a:lnTo>
                  <a:lnTo>
                    <a:pt x="669" y="28"/>
                  </a:lnTo>
                  <a:lnTo>
                    <a:pt x="646" y="21"/>
                  </a:lnTo>
                  <a:lnTo>
                    <a:pt x="622" y="14"/>
                  </a:lnTo>
                  <a:lnTo>
                    <a:pt x="599" y="9"/>
                  </a:lnTo>
                  <a:lnTo>
                    <a:pt x="575" y="5"/>
                  </a:lnTo>
                  <a:lnTo>
                    <a:pt x="551" y="2"/>
                  </a:lnTo>
                  <a:lnTo>
                    <a:pt x="527" y="1"/>
                  </a:lnTo>
                  <a:lnTo>
                    <a:pt x="503" y="0"/>
                  </a:lnTo>
                  <a:lnTo>
                    <a:pt x="479" y="1"/>
                  </a:lnTo>
                  <a:lnTo>
                    <a:pt x="455" y="2"/>
                  </a:lnTo>
                  <a:lnTo>
                    <a:pt x="430" y="5"/>
                  </a:lnTo>
                  <a:lnTo>
                    <a:pt x="407" y="9"/>
                  </a:lnTo>
                  <a:lnTo>
                    <a:pt x="383" y="14"/>
                  </a:lnTo>
                  <a:lnTo>
                    <a:pt x="360" y="21"/>
                  </a:lnTo>
                  <a:lnTo>
                    <a:pt x="337" y="28"/>
                  </a:lnTo>
                  <a:lnTo>
                    <a:pt x="314" y="37"/>
                  </a:lnTo>
                  <a:lnTo>
                    <a:pt x="292" y="46"/>
                  </a:lnTo>
                  <a:lnTo>
                    <a:pt x="269" y="57"/>
                  </a:lnTo>
                  <a:lnTo>
                    <a:pt x="247" y="70"/>
                  </a:lnTo>
                  <a:lnTo>
                    <a:pt x="226" y="84"/>
                  </a:lnTo>
                  <a:lnTo>
                    <a:pt x="206" y="98"/>
                  </a:lnTo>
                  <a:lnTo>
                    <a:pt x="186" y="113"/>
                  </a:lnTo>
                  <a:lnTo>
                    <a:pt x="166" y="130"/>
                  </a:lnTo>
                  <a:lnTo>
                    <a:pt x="148" y="1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03" name="ïsļîḍé">
              <a:extLst>
                <a:ext uri="{FF2B5EF4-FFF2-40B4-BE49-F238E27FC236}">
                  <a16:creationId xmlns:a16="http://schemas.microsoft.com/office/drawing/2014/main" id="{3B23FF90-A6C4-4478-A9A2-9817BB4ECF56}"/>
                </a:ext>
              </a:extLst>
            </p:cNvPr>
            <p:cNvSpPr/>
            <p:nvPr/>
          </p:nvSpPr>
          <p:spPr bwMode="auto">
            <a:xfrm>
              <a:off x="2176560" y="950179"/>
              <a:ext cx="421577" cy="613332"/>
            </a:xfrm>
            <a:custGeom>
              <a:avLst/>
              <a:gdLst>
                <a:gd name="T0" fmla="*/ 3286 w 11063"/>
                <a:gd name="T1" fmla="*/ 11674 h 16095"/>
                <a:gd name="T2" fmla="*/ 1806 w 11063"/>
                <a:gd name="T3" fmla="*/ 10454 h 16095"/>
                <a:gd name="T4" fmla="*/ 1052 w 11063"/>
                <a:gd name="T5" fmla="*/ 8659 h 16095"/>
                <a:gd name="T6" fmla="*/ 1250 w 11063"/>
                <a:gd name="T7" fmla="*/ 6665 h 16095"/>
                <a:gd name="T8" fmla="*/ 2325 w 11063"/>
                <a:gd name="T9" fmla="*/ 5070 h 16095"/>
                <a:gd name="T10" fmla="*/ 4024 w 11063"/>
                <a:gd name="T11" fmla="*/ 4150 h 16095"/>
                <a:gd name="T12" fmla="*/ 6032 w 11063"/>
                <a:gd name="T13" fmla="*/ 4150 h 16095"/>
                <a:gd name="T14" fmla="*/ 7732 w 11063"/>
                <a:gd name="T15" fmla="*/ 5070 h 16095"/>
                <a:gd name="T16" fmla="*/ 8807 w 11063"/>
                <a:gd name="T17" fmla="*/ 6665 h 16095"/>
                <a:gd name="T18" fmla="*/ 9005 w 11063"/>
                <a:gd name="T19" fmla="*/ 8659 h 16095"/>
                <a:gd name="T20" fmla="*/ 8251 w 11063"/>
                <a:gd name="T21" fmla="*/ 10454 h 16095"/>
                <a:gd name="T22" fmla="*/ 6771 w 11063"/>
                <a:gd name="T23" fmla="*/ 11674 h 16095"/>
                <a:gd name="T24" fmla="*/ 7040 w 11063"/>
                <a:gd name="T25" fmla="*/ 15089 h 16095"/>
                <a:gd name="T26" fmla="*/ 3091 w 11063"/>
                <a:gd name="T27" fmla="*/ 12671 h 16095"/>
                <a:gd name="T28" fmla="*/ 3863 w 11063"/>
                <a:gd name="T29" fmla="*/ 12932 h 16095"/>
                <a:gd name="T30" fmla="*/ 4687 w 11063"/>
                <a:gd name="T31" fmla="*/ 13065 h 16095"/>
                <a:gd name="T32" fmla="*/ 5539 w 11063"/>
                <a:gd name="T33" fmla="*/ 13050 h 16095"/>
                <a:gd name="T34" fmla="*/ 6352 w 11063"/>
                <a:gd name="T35" fmla="*/ 12890 h 16095"/>
                <a:gd name="T36" fmla="*/ 7114 w 11063"/>
                <a:gd name="T37" fmla="*/ 12604 h 16095"/>
                <a:gd name="T38" fmla="*/ 7595 w 11063"/>
                <a:gd name="T39" fmla="*/ 3715 h 16095"/>
                <a:gd name="T40" fmla="*/ 6868 w 11063"/>
                <a:gd name="T41" fmla="*/ 3362 h 16095"/>
                <a:gd name="T42" fmla="*/ 6086 w 11063"/>
                <a:gd name="T43" fmla="*/ 3124 h 16095"/>
                <a:gd name="T44" fmla="*/ 5253 w 11063"/>
                <a:gd name="T45" fmla="*/ 3021 h 16095"/>
                <a:gd name="T46" fmla="*/ 4404 w 11063"/>
                <a:gd name="T47" fmla="*/ 3066 h 16095"/>
                <a:gd name="T48" fmla="*/ 3601 w 11063"/>
                <a:gd name="T49" fmla="*/ 3252 h 16095"/>
                <a:gd name="T50" fmla="*/ 2850 w 11063"/>
                <a:gd name="T51" fmla="*/ 3561 h 16095"/>
                <a:gd name="T52" fmla="*/ 10007 w 11063"/>
                <a:gd name="T53" fmla="*/ 7051 h 16095"/>
                <a:gd name="T54" fmla="*/ 9835 w 11063"/>
                <a:gd name="T55" fmla="*/ 6578 h 16095"/>
                <a:gd name="T56" fmla="*/ 9527 w 11063"/>
                <a:gd name="T57" fmla="*/ 5820 h 16095"/>
                <a:gd name="T58" fmla="*/ 9105 w 11063"/>
                <a:gd name="T59" fmla="*/ 5129 h 16095"/>
                <a:gd name="T60" fmla="*/ 8048 w 11063"/>
                <a:gd name="T61" fmla="*/ 691 h 16095"/>
                <a:gd name="T62" fmla="*/ 7829 w 11063"/>
                <a:gd name="T63" fmla="*/ 321 h 16095"/>
                <a:gd name="T64" fmla="*/ 7480 w 11063"/>
                <a:gd name="T65" fmla="*/ 77 h 16095"/>
                <a:gd name="T66" fmla="*/ 3069 w 11063"/>
                <a:gd name="T67" fmla="*/ 0 h 16095"/>
                <a:gd name="T68" fmla="*/ 2643 w 11063"/>
                <a:gd name="T69" fmla="*/ 95 h 16095"/>
                <a:gd name="T70" fmla="*/ 2305 w 11063"/>
                <a:gd name="T71" fmla="*/ 352 h 16095"/>
                <a:gd name="T72" fmla="*/ 2101 w 11063"/>
                <a:gd name="T73" fmla="*/ 734 h 16095"/>
                <a:gd name="T74" fmla="*/ 869 w 11063"/>
                <a:gd name="T75" fmla="*/ 5250 h 16095"/>
                <a:gd name="T76" fmla="*/ 328 w 11063"/>
                <a:gd name="T77" fmla="*/ 6280 h 16095"/>
                <a:gd name="T78" fmla="*/ 38 w 11063"/>
                <a:gd name="T79" fmla="*/ 7434 h 16095"/>
                <a:gd name="T80" fmla="*/ 36 w 11063"/>
                <a:gd name="T81" fmla="*/ 8646 h 16095"/>
                <a:gd name="T82" fmla="*/ 315 w 11063"/>
                <a:gd name="T83" fmla="*/ 9773 h 16095"/>
                <a:gd name="T84" fmla="*/ 833 w 11063"/>
                <a:gd name="T85" fmla="*/ 10783 h 16095"/>
                <a:gd name="T86" fmla="*/ 2049 w 11063"/>
                <a:gd name="T87" fmla="*/ 15361 h 16095"/>
                <a:gd name="T88" fmla="*/ 2252 w 11063"/>
                <a:gd name="T89" fmla="*/ 15742 h 16095"/>
                <a:gd name="T90" fmla="*/ 2591 w 11063"/>
                <a:gd name="T91" fmla="*/ 16000 h 16095"/>
                <a:gd name="T92" fmla="*/ 3017 w 11063"/>
                <a:gd name="T93" fmla="*/ 16095 h 16095"/>
                <a:gd name="T94" fmla="*/ 7426 w 11063"/>
                <a:gd name="T95" fmla="*/ 16018 h 16095"/>
                <a:gd name="T96" fmla="*/ 7776 w 11063"/>
                <a:gd name="T97" fmla="*/ 15774 h 16095"/>
                <a:gd name="T98" fmla="*/ 7996 w 11063"/>
                <a:gd name="T99" fmla="*/ 15403 h 16095"/>
                <a:gd name="T100" fmla="*/ 9064 w 11063"/>
                <a:gd name="T101" fmla="*/ 11023 h 16095"/>
                <a:gd name="T102" fmla="*/ 9508 w 11063"/>
                <a:gd name="T103" fmla="*/ 10314 h 16095"/>
                <a:gd name="T104" fmla="*/ 9830 w 11063"/>
                <a:gd name="T105" fmla="*/ 9532 h 16095"/>
                <a:gd name="T106" fmla="*/ 10007 w 11063"/>
                <a:gd name="T107" fmla="*/ 9044 h 16095"/>
                <a:gd name="T108" fmla="*/ 10356 w 11063"/>
                <a:gd name="T109" fmla="*/ 9008 h 16095"/>
                <a:gd name="T110" fmla="*/ 10768 w 11063"/>
                <a:gd name="T111" fmla="*/ 8759 h 16095"/>
                <a:gd name="T112" fmla="*/ 11018 w 11063"/>
                <a:gd name="T113" fmla="*/ 8346 h 16095"/>
                <a:gd name="T114" fmla="*/ 11043 w 11063"/>
                <a:gd name="T115" fmla="*/ 7845 h 16095"/>
                <a:gd name="T116" fmla="*/ 10834 w 11063"/>
                <a:gd name="T117" fmla="*/ 7408 h 16095"/>
                <a:gd name="T118" fmla="*/ 10449 w 11063"/>
                <a:gd name="T119" fmla="*/ 7121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063" h="16095">
                  <a:moveTo>
                    <a:pt x="5029" y="12071"/>
                  </a:moveTo>
                  <a:lnTo>
                    <a:pt x="4821" y="12066"/>
                  </a:lnTo>
                  <a:lnTo>
                    <a:pt x="4618" y="12050"/>
                  </a:lnTo>
                  <a:lnTo>
                    <a:pt x="4417" y="12025"/>
                  </a:lnTo>
                  <a:lnTo>
                    <a:pt x="4219" y="11990"/>
                  </a:lnTo>
                  <a:lnTo>
                    <a:pt x="4024" y="11945"/>
                  </a:lnTo>
                  <a:lnTo>
                    <a:pt x="3834" y="11890"/>
                  </a:lnTo>
                  <a:lnTo>
                    <a:pt x="3647" y="11827"/>
                  </a:lnTo>
                  <a:lnTo>
                    <a:pt x="3464" y="11754"/>
                  </a:lnTo>
                  <a:lnTo>
                    <a:pt x="3286" y="11674"/>
                  </a:lnTo>
                  <a:lnTo>
                    <a:pt x="3113" y="11584"/>
                  </a:lnTo>
                  <a:lnTo>
                    <a:pt x="2944" y="11488"/>
                  </a:lnTo>
                  <a:lnTo>
                    <a:pt x="2781" y="11383"/>
                  </a:lnTo>
                  <a:lnTo>
                    <a:pt x="2623" y="11271"/>
                  </a:lnTo>
                  <a:lnTo>
                    <a:pt x="2471" y="11151"/>
                  </a:lnTo>
                  <a:lnTo>
                    <a:pt x="2325" y="11024"/>
                  </a:lnTo>
                  <a:lnTo>
                    <a:pt x="2185" y="10891"/>
                  </a:lnTo>
                  <a:lnTo>
                    <a:pt x="2052" y="10751"/>
                  </a:lnTo>
                  <a:lnTo>
                    <a:pt x="1925" y="10606"/>
                  </a:lnTo>
                  <a:lnTo>
                    <a:pt x="1806" y="10454"/>
                  </a:lnTo>
                  <a:lnTo>
                    <a:pt x="1694" y="10296"/>
                  </a:lnTo>
                  <a:lnTo>
                    <a:pt x="1589" y="10132"/>
                  </a:lnTo>
                  <a:lnTo>
                    <a:pt x="1491" y="9964"/>
                  </a:lnTo>
                  <a:lnTo>
                    <a:pt x="1403" y="9790"/>
                  </a:lnTo>
                  <a:lnTo>
                    <a:pt x="1323" y="9612"/>
                  </a:lnTo>
                  <a:lnTo>
                    <a:pt x="1250" y="9430"/>
                  </a:lnTo>
                  <a:lnTo>
                    <a:pt x="1187" y="9243"/>
                  </a:lnTo>
                  <a:lnTo>
                    <a:pt x="1132" y="9051"/>
                  </a:lnTo>
                  <a:lnTo>
                    <a:pt x="1087" y="8857"/>
                  </a:lnTo>
                  <a:lnTo>
                    <a:pt x="1052" y="8659"/>
                  </a:lnTo>
                  <a:lnTo>
                    <a:pt x="1027" y="8458"/>
                  </a:lnTo>
                  <a:lnTo>
                    <a:pt x="1011" y="8255"/>
                  </a:lnTo>
                  <a:lnTo>
                    <a:pt x="1006" y="8048"/>
                  </a:lnTo>
                  <a:lnTo>
                    <a:pt x="1011" y="7841"/>
                  </a:lnTo>
                  <a:lnTo>
                    <a:pt x="1027" y="7637"/>
                  </a:lnTo>
                  <a:lnTo>
                    <a:pt x="1052" y="7436"/>
                  </a:lnTo>
                  <a:lnTo>
                    <a:pt x="1087" y="7238"/>
                  </a:lnTo>
                  <a:lnTo>
                    <a:pt x="1132" y="7043"/>
                  </a:lnTo>
                  <a:lnTo>
                    <a:pt x="1187" y="6852"/>
                  </a:lnTo>
                  <a:lnTo>
                    <a:pt x="1250" y="6665"/>
                  </a:lnTo>
                  <a:lnTo>
                    <a:pt x="1323" y="6482"/>
                  </a:lnTo>
                  <a:lnTo>
                    <a:pt x="1403" y="6304"/>
                  </a:lnTo>
                  <a:lnTo>
                    <a:pt x="1491" y="6131"/>
                  </a:lnTo>
                  <a:lnTo>
                    <a:pt x="1589" y="5962"/>
                  </a:lnTo>
                  <a:lnTo>
                    <a:pt x="1694" y="5799"/>
                  </a:lnTo>
                  <a:lnTo>
                    <a:pt x="1806" y="5641"/>
                  </a:lnTo>
                  <a:lnTo>
                    <a:pt x="1925" y="5489"/>
                  </a:lnTo>
                  <a:lnTo>
                    <a:pt x="2052" y="5344"/>
                  </a:lnTo>
                  <a:lnTo>
                    <a:pt x="2185" y="5204"/>
                  </a:lnTo>
                  <a:lnTo>
                    <a:pt x="2325" y="5070"/>
                  </a:lnTo>
                  <a:lnTo>
                    <a:pt x="2471" y="4943"/>
                  </a:lnTo>
                  <a:lnTo>
                    <a:pt x="2623" y="4824"/>
                  </a:lnTo>
                  <a:lnTo>
                    <a:pt x="2781" y="4712"/>
                  </a:lnTo>
                  <a:lnTo>
                    <a:pt x="2944" y="4607"/>
                  </a:lnTo>
                  <a:lnTo>
                    <a:pt x="3113" y="4510"/>
                  </a:lnTo>
                  <a:lnTo>
                    <a:pt x="3286" y="4421"/>
                  </a:lnTo>
                  <a:lnTo>
                    <a:pt x="3464" y="4341"/>
                  </a:lnTo>
                  <a:lnTo>
                    <a:pt x="3647" y="4268"/>
                  </a:lnTo>
                  <a:lnTo>
                    <a:pt x="3834" y="4205"/>
                  </a:lnTo>
                  <a:lnTo>
                    <a:pt x="4024" y="4150"/>
                  </a:lnTo>
                  <a:lnTo>
                    <a:pt x="4219" y="4105"/>
                  </a:lnTo>
                  <a:lnTo>
                    <a:pt x="4417" y="4070"/>
                  </a:lnTo>
                  <a:lnTo>
                    <a:pt x="4618" y="4045"/>
                  </a:lnTo>
                  <a:lnTo>
                    <a:pt x="4821" y="4029"/>
                  </a:lnTo>
                  <a:lnTo>
                    <a:pt x="5029" y="4024"/>
                  </a:lnTo>
                  <a:lnTo>
                    <a:pt x="5235" y="4029"/>
                  </a:lnTo>
                  <a:lnTo>
                    <a:pt x="5439" y="4045"/>
                  </a:lnTo>
                  <a:lnTo>
                    <a:pt x="5640" y="4070"/>
                  </a:lnTo>
                  <a:lnTo>
                    <a:pt x="5838" y="4105"/>
                  </a:lnTo>
                  <a:lnTo>
                    <a:pt x="6032" y="4150"/>
                  </a:lnTo>
                  <a:lnTo>
                    <a:pt x="6223" y="4205"/>
                  </a:lnTo>
                  <a:lnTo>
                    <a:pt x="6411" y="4268"/>
                  </a:lnTo>
                  <a:lnTo>
                    <a:pt x="6593" y="4341"/>
                  </a:lnTo>
                  <a:lnTo>
                    <a:pt x="6771" y="4421"/>
                  </a:lnTo>
                  <a:lnTo>
                    <a:pt x="6945" y="4510"/>
                  </a:lnTo>
                  <a:lnTo>
                    <a:pt x="7113" y="4607"/>
                  </a:lnTo>
                  <a:lnTo>
                    <a:pt x="7276" y="4712"/>
                  </a:lnTo>
                  <a:lnTo>
                    <a:pt x="7433" y="4824"/>
                  </a:lnTo>
                  <a:lnTo>
                    <a:pt x="7586" y="4943"/>
                  </a:lnTo>
                  <a:lnTo>
                    <a:pt x="7732" y="5070"/>
                  </a:lnTo>
                  <a:lnTo>
                    <a:pt x="7872" y="5204"/>
                  </a:lnTo>
                  <a:lnTo>
                    <a:pt x="8005" y="5344"/>
                  </a:lnTo>
                  <a:lnTo>
                    <a:pt x="8131" y="5489"/>
                  </a:lnTo>
                  <a:lnTo>
                    <a:pt x="8251" y="5641"/>
                  </a:lnTo>
                  <a:lnTo>
                    <a:pt x="8364" y="5799"/>
                  </a:lnTo>
                  <a:lnTo>
                    <a:pt x="8468" y="5962"/>
                  </a:lnTo>
                  <a:lnTo>
                    <a:pt x="8565" y="6131"/>
                  </a:lnTo>
                  <a:lnTo>
                    <a:pt x="8654" y="6304"/>
                  </a:lnTo>
                  <a:lnTo>
                    <a:pt x="8735" y="6482"/>
                  </a:lnTo>
                  <a:lnTo>
                    <a:pt x="8807" y="6665"/>
                  </a:lnTo>
                  <a:lnTo>
                    <a:pt x="8871" y="6852"/>
                  </a:lnTo>
                  <a:lnTo>
                    <a:pt x="8925" y="7043"/>
                  </a:lnTo>
                  <a:lnTo>
                    <a:pt x="8970" y="7238"/>
                  </a:lnTo>
                  <a:lnTo>
                    <a:pt x="9005" y="7436"/>
                  </a:lnTo>
                  <a:lnTo>
                    <a:pt x="9030" y="7637"/>
                  </a:lnTo>
                  <a:lnTo>
                    <a:pt x="9047" y="7841"/>
                  </a:lnTo>
                  <a:lnTo>
                    <a:pt x="9052" y="8048"/>
                  </a:lnTo>
                  <a:lnTo>
                    <a:pt x="9047" y="8255"/>
                  </a:lnTo>
                  <a:lnTo>
                    <a:pt x="9030" y="8458"/>
                  </a:lnTo>
                  <a:lnTo>
                    <a:pt x="9005" y="8659"/>
                  </a:lnTo>
                  <a:lnTo>
                    <a:pt x="8970" y="8857"/>
                  </a:lnTo>
                  <a:lnTo>
                    <a:pt x="8925" y="9051"/>
                  </a:lnTo>
                  <a:lnTo>
                    <a:pt x="8871" y="9243"/>
                  </a:lnTo>
                  <a:lnTo>
                    <a:pt x="8807" y="9430"/>
                  </a:lnTo>
                  <a:lnTo>
                    <a:pt x="8735" y="9612"/>
                  </a:lnTo>
                  <a:lnTo>
                    <a:pt x="8654" y="9790"/>
                  </a:lnTo>
                  <a:lnTo>
                    <a:pt x="8565" y="9964"/>
                  </a:lnTo>
                  <a:lnTo>
                    <a:pt x="8468" y="10132"/>
                  </a:lnTo>
                  <a:lnTo>
                    <a:pt x="8364" y="10296"/>
                  </a:lnTo>
                  <a:lnTo>
                    <a:pt x="8251" y="10454"/>
                  </a:lnTo>
                  <a:lnTo>
                    <a:pt x="8131" y="10606"/>
                  </a:lnTo>
                  <a:lnTo>
                    <a:pt x="8005" y="10751"/>
                  </a:lnTo>
                  <a:lnTo>
                    <a:pt x="7872" y="10891"/>
                  </a:lnTo>
                  <a:lnTo>
                    <a:pt x="7732" y="11024"/>
                  </a:lnTo>
                  <a:lnTo>
                    <a:pt x="7586" y="11151"/>
                  </a:lnTo>
                  <a:lnTo>
                    <a:pt x="7433" y="11271"/>
                  </a:lnTo>
                  <a:lnTo>
                    <a:pt x="7276" y="11383"/>
                  </a:lnTo>
                  <a:lnTo>
                    <a:pt x="7113" y="11488"/>
                  </a:lnTo>
                  <a:lnTo>
                    <a:pt x="6945" y="11584"/>
                  </a:lnTo>
                  <a:lnTo>
                    <a:pt x="6771" y="11674"/>
                  </a:lnTo>
                  <a:lnTo>
                    <a:pt x="6593" y="11754"/>
                  </a:lnTo>
                  <a:lnTo>
                    <a:pt x="6411" y="11827"/>
                  </a:lnTo>
                  <a:lnTo>
                    <a:pt x="6223" y="11890"/>
                  </a:lnTo>
                  <a:lnTo>
                    <a:pt x="6032" y="11945"/>
                  </a:lnTo>
                  <a:lnTo>
                    <a:pt x="5838" y="11990"/>
                  </a:lnTo>
                  <a:lnTo>
                    <a:pt x="5640" y="12025"/>
                  </a:lnTo>
                  <a:lnTo>
                    <a:pt x="5439" y="12050"/>
                  </a:lnTo>
                  <a:lnTo>
                    <a:pt x="5235" y="12066"/>
                  </a:lnTo>
                  <a:lnTo>
                    <a:pt x="5029" y="12071"/>
                  </a:lnTo>
                  <a:close/>
                  <a:moveTo>
                    <a:pt x="7040" y="15089"/>
                  </a:moveTo>
                  <a:lnTo>
                    <a:pt x="3017" y="15089"/>
                  </a:lnTo>
                  <a:lnTo>
                    <a:pt x="2514" y="12379"/>
                  </a:lnTo>
                  <a:lnTo>
                    <a:pt x="2585" y="12419"/>
                  </a:lnTo>
                  <a:lnTo>
                    <a:pt x="2655" y="12459"/>
                  </a:lnTo>
                  <a:lnTo>
                    <a:pt x="2727" y="12497"/>
                  </a:lnTo>
                  <a:lnTo>
                    <a:pt x="2798" y="12533"/>
                  </a:lnTo>
                  <a:lnTo>
                    <a:pt x="2870" y="12569"/>
                  </a:lnTo>
                  <a:lnTo>
                    <a:pt x="2944" y="12604"/>
                  </a:lnTo>
                  <a:lnTo>
                    <a:pt x="3017" y="12638"/>
                  </a:lnTo>
                  <a:lnTo>
                    <a:pt x="3091" y="12671"/>
                  </a:lnTo>
                  <a:lnTo>
                    <a:pt x="3166" y="12702"/>
                  </a:lnTo>
                  <a:lnTo>
                    <a:pt x="3241" y="12732"/>
                  </a:lnTo>
                  <a:lnTo>
                    <a:pt x="3317" y="12762"/>
                  </a:lnTo>
                  <a:lnTo>
                    <a:pt x="3393" y="12789"/>
                  </a:lnTo>
                  <a:lnTo>
                    <a:pt x="3471" y="12817"/>
                  </a:lnTo>
                  <a:lnTo>
                    <a:pt x="3548" y="12843"/>
                  </a:lnTo>
                  <a:lnTo>
                    <a:pt x="3626" y="12867"/>
                  </a:lnTo>
                  <a:lnTo>
                    <a:pt x="3704" y="12890"/>
                  </a:lnTo>
                  <a:lnTo>
                    <a:pt x="3784" y="12912"/>
                  </a:lnTo>
                  <a:lnTo>
                    <a:pt x="3863" y="12932"/>
                  </a:lnTo>
                  <a:lnTo>
                    <a:pt x="3943" y="12952"/>
                  </a:lnTo>
                  <a:lnTo>
                    <a:pt x="4024" y="12971"/>
                  </a:lnTo>
                  <a:lnTo>
                    <a:pt x="4105" y="12987"/>
                  </a:lnTo>
                  <a:lnTo>
                    <a:pt x="4187" y="13003"/>
                  </a:lnTo>
                  <a:lnTo>
                    <a:pt x="4269" y="13016"/>
                  </a:lnTo>
                  <a:lnTo>
                    <a:pt x="4352" y="13029"/>
                  </a:lnTo>
                  <a:lnTo>
                    <a:pt x="4434" y="13040"/>
                  </a:lnTo>
                  <a:lnTo>
                    <a:pt x="4518" y="13050"/>
                  </a:lnTo>
                  <a:lnTo>
                    <a:pt x="4602" y="13058"/>
                  </a:lnTo>
                  <a:lnTo>
                    <a:pt x="4687" y="13065"/>
                  </a:lnTo>
                  <a:lnTo>
                    <a:pt x="4771" y="13070"/>
                  </a:lnTo>
                  <a:lnTo>
                    <a:pt x="4857" y="13074"/>
                  </a:lnTo>
                  <a:lnTo>
                    <a:pt x="4942" y="13076"/>
                  </a:lnTo>
                  <a:lnTo>
                    <a:pt x="5029" y="13077"/>
                  </a:lnTo>
                  <a:lnTo>
                    <a:pt x="5115" y="13076"/>
                  </a:lnTo>
                  <a:lnTo>
                    <a:pt x="5201" y="13074"/>
                  </a:lnTo>
                  <a:lnTo>
                    <a:pt x="5286" y="13070"/>
                  </a:lnTo>
                  <a:lnTo>
                    <a:pt x="5371" y="13065"/>
                  </a:lnTo>
                  <a:lnTo>
                    <a:pt x="5455" y="13058"/>
                  </a:lnTo>
                  <a:lnTo>
                    <a:pt x="5539" y="13050"/>
                  </a:lnTo>
                  <a:lnTo>
                    <a:pt x="5622" y="13040"/>
                  </a:lnTo>
                  <a:lnTo>
                    <a:pt x="5705" y="13029"/>
                  </a:lnTo>
                  <a:lnTo>
                    <a:pt x="5788" y="13016"/>
                  </a:lnTo>
                  <a:lnTo>
                    <a:pt x="5870" y="13003"/>
                  </a:lnTo>
                  <a:lnTo>
                    <a:pt x="5952" y="12987"/>
                  </a:lnTo>
                  <a:lnTo>
                    <a:pt x="6032" y="12971"/>
                  </a:lnTo>
                  <a:lnTo>
                    <a:pt x="6114" y="12952"/>
                  </a:lnTo>
                  <a:lnTo>
                    <a:pt x="6193" y="12932"/>
                  </a:lnTo>
                  <a:lnTo>
                    <a:pt x="6273" y="12912"/>
                  </a:lnTo>
                  <a:lnTo>
                    <a:pt x="6352" y="12890"/>
                  </a:lnTo>
                  <a:lnTo>
                    <a:pt x="6431" y="12867"/>
                  </a:lnTo>
                  <a:lnTo>
                    <a:pt x="6509" y="12843"/>
                  </a:lnTo>
                  <a:lnTo>
                    <a:pt x="6587" y="12817"/>
                  </a:lnTo>
                  <a:lnTo>
                    <a:pt x="6664" y="12789"/>
                  </a:lnTo>
                  <a:lnTo>
                    <a:pt x="6740" y="12762"/>
                  </a:lnTo>
                  <a:lnTo>
                    <a:pt x="6816" y="12732"/>
                  </a:lnTo>
                  <a:lnTo>
                    <a:pt x="6891" y="12702"/>
                  </a:lnTo>
                  <a:lnTo>
                    <a:pt x="6967" y="12671"/>
                  </a:lnTo>
                  <a:lnTo>
                    <a:pt x="7040" y="12638"/>
                  </a:lnTo>
                  <a:lnTo>
                    <a:pt x="7114" y="12604"/>
                  </a:lnTo>
                  <a:lnTo>
                    <a:pt x="7187" y="12569"/>
                  </a:lnTo>
                  <a:lnTo>
                    <a:pt x="7259" y="12533"/>
                  </a:lnTo>
                  <a:lnTo>
                    <a:pt x="7331" y="12497"/>
                  </a:lnTo>
                  <a:lnTo>
                    <a:pt x="7402" y="12459"/>
                  </a:lnTo>
                  <a:lnTo>
                    <a:pt x="7473" y="12419"/>
                  </a:lnTo>
                  <a:lnTo>
                    <a:pt x="7543" y="12379"/>
                  </a:lnTo>
                  <a:lnTo>
                    <a:pt x="7040" y="15089"/>
                  </a:lnTo>
                  <a:close/>
                  <a:moveTo>
                    <a:pt x="3069" y="1006"/>
                  </a:moveTo>
                  <a:lnTo>
                    <a:pt x="7092" y="1006"/>
                  </a:lnTo>
                  <a:lnTo>
                    <a:pt x="7595" y="3715"/>
                  </a:lnTo>
                  <a:lnTo>
                    <a:pt x="7525" y="3675"/>
                  </a:lnTo>
                  <a:lnTo>
                    <a:pt x="7454" y="3636"/>
                  </a:lnTo>
                  <a:lnTo>
                    <a:pt x="7383" y="3598"/>
                  </a:lnTo>
                  <a:lnTo>
                    <a:pt x="7312" y="3561"/>
                  </a:lnTo>
                  <a:lnTo>
                    <a:pt x="7239" y="3525"/>
                  </a:lnTo>
                  <a:lnTo>
                    <a:pt x="7166" y="3491"/>
                  </a:lnTo>
                  <a:lnTo>
                    <a:pt x="7092" y="3456"/>
                  </a:lnTo>
                  <a:lnTo>
                    <a:pt x="7019" y="3424"/>
                  </a:lnTo>
                  <a:lnTo>
                    <a:pt x="6944" y="3392"/>
                  </a:lnTo>
                  <a:lnTo>
                    <a:pt x="6868" y="3362"/>
                  </a:lnTo>
                  <a:lnTo>
                    <a:pt x="6793" y="3333"/>
                  </a:lnTo>
                  <a:lnTo>
                    <a:pt x="6716" y="3305"/>
                  </a:lnTo>
                  <a:lnTo>
                    <a:pt x="6639" y="3277"/>
                  </a:lnTo>
                  <a:lnTo>
                    <a:pt x="6561" y="3252"/>
                  </a:lnTo>
                  <a:lnTo>
                    <a:pt x="6484" y="3228"/>
                  </a:lnTo>
                  <a:lnTo>
                    <a:pt x="6405" y="3205"/>
                  </a:lnTo>
                  <a:lnTo>
                    <a:pt x="6326" y="3183"/>
                  </a:lnTo>
                  <a:lnTo>
                    <a:pt x="6247" y="3162"/>
                  </a:lnTo>
                  <a:lnTo>
                    <a:pt x="6166" y="3143"/>
                  </a:lnTo>
                  <a:lnTo>
                    <a:pt x="6086" y="3124"/>
                  </a:lnTo>
                  <a:lnTo>
                    <a:pt x="6004" y="3108"/>
                  </a:lnTo>
                  <a:lnTo>
                    <a:pt x="5923" y="3092"/>
                  </a:lnTo>
                  <a:lnTo>
                    <a:pt x="5840" y="3078"/>
                  </a:lnTo>
                  <a:lnTo>
                    <a:pt x="5758" y="3066"/>
                  </a:lnTo>
                  <a:lnTo>
                    <a:pt x="5675" y="3055"/>
                  </a:lnTo>
                  <a:lnTo>
                    <a:pt x="5592" y="3045"/>
                  </a:lnTo>
                  <a:lnTo>
                    <a:pt x="5507" y="3037"/>
                  </a:lnTo>
                  <a:lnTo>
                    <a:pt x="5423" y="3030"/>
                  </a:lnTo>
                  <a:lnTo>
                    <a:pt x="5338" y="3025"/>
                  </a:lnTo>
                  <a:lnTo>
                    <a:pt x="5253" y="3021"/>
                  </a:lnTo>
                  <a:lnTo>
                    <a:pt x="5167" y="3019"/>
                  </a:lnTo>
                  <a:lnTo>
                    <a:pt x="5081" y="3018"/>
                  </a:lnTo>
                  <a:lnTo>
                    <a:pt x="4994" y="3019"/>
                  </a:lnTo>
                  <a:lnTo>
                    <a:pt x="4909" y="3021"/>
                  </a:lnTo>
                  <a:lnTo>
                    <a:pt x="4823" y="3025"/>
                  </a:lnTo>
                  <a:lnTo>
                    <a:pt x="4739" y="3030"/>
                  </a:lnTo>
                  <a:lnTo>
                    <a:pt x="4655" y="3037"/>
                  </a:lnTo>
                  <a:lnTo>
                    <a:pt x="4571" y="3045"/>
                  </a:lnTo>
                  <a:lnTo>
                    <a:pt x="4488" y="3055"/>
                  </a:lnTo>
                  <a:lnTo>
                    <a:pt x="4404" y="3066"/>
                  </a:lnTo>
                  <a:lnTo>
                    <a:pt x="4322" y="3078"/>
                  </a:lnTo>
                  <a:lnTo>
                    <a:pt x="4239" y="3092"/>
                  </a:lnTo>
                  <a:lnTo>
                    <a:pt x="4158" y="3108"/>
                  </a:lnTo>
                  <a:lnTo>
                    <a:pt x="4076" y="3124"/>
                  </a:lnTo>
                  <a:lnTo>
                    <a:pt x="3996" y="3143"/>
                  </a:lnTo>
                  <a:lnTo>
                    <a:pt x="3915" y="3162"/>
                  </a:lnTo>
                  <a:lnTo>
                    <a:pt x="3836" y="3183"/>
                  </a:lnTo>
                  <a:lnTo>
                    <a:pt x="3756" y="3205"/>
                  </a:lnTo>
                  <a:lnTo>
                    <a:pt x="3678" y="3228"/>
                  </a:lnTo>
                  <a:lnTo>
                    <a:pt x="3601" y="3252"/>
                  </a:lnTo>
                  <a:lnTo>
                    <a:pt x="3523" y="3277"/>
                  </a:lnTo>
                  <a:lnTo>
                    <a:pt x="3446" y="3305"/>
                  </a:lnTo>
                  <a:lnTo>
                    <a:pt x="3369" y="3333"/>
                  </a:lnTo>
                  <a:lnTo>
                    <a:pt x="3294" y="3362"/>
                  </a:lnTo>
                  <a:lnTo>
                    <a:pt x="3218" y="3392"/>
                  </a:lnTo>
                  <a:lnTo>
                    <a:pt x="3143" y="3424"/>
                  </a:lnTo>
                  <a:lnTo>
                    <a:pt x="3069" y="3456"/>
                  </a:lnTo>
                  <a:lnTo>
                    <a:pt x="2995" y="3491"/>
                  </a:lnTo>
                  <a:lnTo>
                    <a:pt x="2923" y="3525"/>
                  </a:lnTo>
                  <a:lnTo>
                    <a:pt x="2850" y="3561"/>
                  </a:lnTo>
                  <a:lnTo>
                    <a:pt x="2778" y="3598"/>
                  </a:lnTo>
                  <a:lnTo>
                    <a:pt x="2707" y="3636"/>
                  </a:lnTo>
                  <a:lnTo>
                    <a:pt x="2637" y="3675"/>
                  </a:lnTo>
                  <a:lnTo>
                    <a:pt x="2567" y="3715"/>
                  </a:lnTo>
                  <a:lnTo>
                    <a:pt x="3069" y="1006"/>
                  </a:lnTo>
                  <a:close/>
                  <a:moveTo>
                    <a:pt x="10057" y="7042"/>
                  </a:moveTo>
                  <a:lnTo>
                    <a:pt x="10044" y="7043"/>
                  </a:lnTo>
                  <a:lnTo>
                    <a:pt x="10032" y="7045"/>
                  </a:lnTo>
                  <a:lnTo>
                    <a:pt x="10019" y="7047"/>
                  </a:lnTo>
                  <a:lnTo>
                    <a:pt x="10007" y="7051"/>
                  </a:lnTo>
                  <a:lnTo>
                    <a:pt x="9995" y="7054"/>
                  </a:lnTo>
                  <a:lnTo>
                    <a:pt x="9983" y="7057"/>
                  </a:lnTo>
                  <a:lnTo>
                    <a:pt x="9971" y="7060"/>
                  </a:lnTo>
                  <a:lnTo>
                    <a:pt x="9958" y="7062"/>
                  </a:lnTo>
                  <a:lnTo>
                    <a:pt x="9941" y="6979"/>
                  </a:lnTo>
                  <a:lnTo>
                    <a:pt x="9923" y="6898"/>
                  </a:lnTo>
                  <a:lnTo>
                    <a:pt x="9902" y="6817"/>
                  </a:lnTo>
                  <a:lnTo>
                    <a:pt x="9881" y="6737"/>
                  </a:lnTo>
                  <a:lnTo>
                    <a:pt x="9859" y="6657"/>
                  </a:lnTo>
                  <a:lnTo>
                    <a:pt x="9835" y="6578"/>
                  </a:lnTo>
                  <a:lnTo>
                    <a:pt x="9810" y="6499"/>
                  </a:lnTo>
                  <a:lnTo>
                    <a:pt x="9784" y="6421"/>
                  </a:lnTo>
                  <a:lnTo>
                    <a:pt x="9756" y="6343"/>
                  </a:lnTo>
                  <a:lnTo>
                    <a:pt x="9726" y="6267"/>
                  </a:lnTo>
                  <a:lnTo>
                    <a:pt x="9696" y="6192"/>
                  </a:lnTo>
                  <a:lnTo>
                    <a:pt x="9665" y="6115"/>
                  </a:lnTo>
                  <a:lnTo>
                    <a:pt x="9633" y="6041"/>
                  </a:lnTo>
                  <a:lnTo>
                    <a:pt x="9599" y="5966"/>
                  </a:lnTo>
                  <a:lnTo>
                    <a:pt x="9563" y="5893"/>
                  </a:lnTo>
                  <a:lnTo>
                    <a:pt x="9527" y="5820"/>
                  </a:lnTo>
                  <a:lnTo>
                    <a:pt x="9490" y="5748"/>
                  </a:lnTo>
                  <a:lnTo>
                    <a:pt x="9452" y="5677"/>
                  </a:lnTo>
                  <a:lnTo>
                    <a:pt x="9413" y="5605"/>
                  </a:lnTo>
                  <a:lnTo>
                    <a:pt x="9371" y="5536"/>
                  </a:lnTo>
                  <a:lnTo>
                    <a:pt x="9330" y="5466"/>
                  </a:lnTo>
                  <a:lnTo>
                    <a:pt x="9287" y="5397"/>
                  </a:lnTo>
                  <a:lnTo>
                    <a:pt x="9243" y="5329"/>
                  </a:lnTo>
                  <a:lnTo>
                    <a:pt x="9198" y="5262"/>
                  </a:lnTo>
                  <a:lnTo>
                    <a:pt x="9152" y="5196"/>
                  </a:lnTo>
                  <a:lnTo>
                    <a:pt x="9105" y="5129"/>
                  </a:lnTo>
                  <a:lnTo>
                    <a:pt x="9058" y="5065"/>
                  </a:lnTo>
                  <a:lnTo>
                    <a:pt x="9008" y="5001"/>
                  </a:lnTo>
                  <a:lnTo>
                    <a:pt x="8958" y="4937"/>
                  </a:lnTo>
                  <a:lnTo>
                    <a:pt x="8908" y="4874"/>
                  </a:lnTo>
                  <a:lnTo>
                    <a:pt x="8855" y="4812"/>
                  </a:lnTo>
                  <a:lnTo>
                    <a:pt x="8803" y="4751"/>
                  </a:lnTo>
                  <a:lnTo>
                    <a:pt x="8081" y="822"/>
                  </a:lnTo>
                  <a:lnTo>
                    <a:pt x="8072" y="778"/>
                  </a:lnTo>
                  <a:lnTo>
                    <a:pt x="8061" y="734"/>
                  </a:lnTo>
                  <a:lnTo>
                    <a:pt x="8048" y="691"/>
                  </a:lnTo>
                  <a:lnTo>
                    <a:pt x="8033" y="650"/>
                  </a:lnTo>
                  <a:lnTo>
                    <a:pt x="8017" y="609"/>
                  </a:lnTo>
                  <a:lnTo>
                    <a:pt x="7999" y="569"/>
                  </a:lnTo>
                  <a:lnTo>
                    <a:pt x="7978" y="530"/>
                  </a:lnTo>
                  <a:lnTo>
                    <a:pt x="7957" y="493"/>
                  </a:lnTo>
                  <a:lnTo>
                    <a:pt x="7935" y="456"/>
                  </a:lnTo>
                  <a:lnTo>
                    <a:pt x="7910" y="420"/>
                  </a:lnTo>
                  <a:lnTo>
                    <a:pt x="7885" y="385"/>
                  </a:lnTo>
                  <a:lnTo>
                    <a:pt x="7858" y="352"/>
                  </a:lnTo>
                  <a:lnTo>
                    <a:pt x="7829" y="321"/>
                  </a:lnTo>
                  <a:lnTo>
                    <a:pt x="7799" y="290"/>
                  </a:lnTo>
                  <a:lnTo>
                    <a:pt x="7768" y="261"/>
                  </a:lnTo>
                  <a:lnTo>
                    <a:pt x="7735" y="232"/>
                  </a:lnTo>
                  <a:lnTo>
                    <a:pt x="7702" y="205"/>
                  </a:lnTo>
                  <a:lnTo>
                    <a:pt x="7668" y="180"/>
                  </a:lnTo>
                  <a:lnTo>
                    <a:pt x="7631" y="157"/>
                  </a:lnTo>
                  <a:lnTo>
                    <a:pt x="7595" y="135"/>
                  </a:lnTo>
                  <a:lnTo>
                    <a:pt x="7557" y="114"/>
                  </a:lnTo>
                  <a:lnTo>
                    <a:pt x="7519" y="95"/>
                  </a:lnTo>
                  <a:lnTo>
                    <a:pt x="7480" y="77"/>
                  </a:lnTo>
                  <a:lnTo>
                    <a:pt x="7439" y="61"/>
                  </a:lnTo>
                  <a:lnTo>
                    <a:pt x="7398" y="47"/>
                  </a:lnTo>
                  <a:lnTo>
                    <a:pt x="7356" y="35"/>
                  </a:lnTo>
                  <a:lnTo>
                    <a:pt x="7314" y="24"/>
                  </a:lnTo>
                  <a:lnTo>
                    <a:pt x="7270" y="16"/>
                  </a:lnTo>
                  <a:lnTo>
                    <a:pt x="7227" y="9"/>
                  </a:lnTo>
                  <a:lnTo>
                    <a:pt x="7182" y="4"/>
                  </a:lnTo>
                  <a:lnTo>
                    <a:pt x="7138" y="1"/>
                  </a:lnTo>
                  <a:lnTo>
                    <a:pt x="7092" y="0"/>
                  </a:lnTo>
                  <a:lnTo>
                    <a:pt x="3069" y="0"/>
                  </a:lnTo>
                  <a:lnTo>
                    <a:pt x="3024" y="1"/>
                  </a:lnTo>
                  <a:lnTo>
                    <a:pt x="2980" y="4"/>
                  </a:lnTo>
                  <a:lnTo>
                    <a:pt x="2936" y="9"/>
                  </a:lnTo>
                  <a:lnTo>
                    <a:pt x="2891" y="16"/>
                  </a:lnTo>
                  <a:lnTo>
                    <a:pt x="2848" y="24"/>
                  </a:lnTo>
                  <a:lnTo>
                    <a:pt x="2806" y="35"/>
                  </a:lnTo>
                  <a:lnTo>
                    <a:pt x="2764" y="47"/>
                  </a:lnTo>
                  <a:lnTo>
                    <a:pt x="2724" y="61"/>
                  </a:lnTo>
                  <a:lnTo>
                    <a:pt x="2683" y="77"/>
                  </a:lnTo>
                  <a:lnTo>
                    <a:pt x="2643" y="95"/>
                  </a:lnTo>
                  <a:lnTo>
                    <a:pt x="2605" y="114"/>
                  </a:lnTo>
                  <a:lnTo>
                    <a:pt x="2568" y="135"/>
                  </a:lnTo>
                  <a:lnTo>
                    <a:pt x="2530" y="157"/>
                  </a:lnTo>
                  <a:lnTo>
                    <a:pt x="2495" y="180"/>
                  </a:lnTo>
                  <a:lnTo>
                    <a:pt x="2460" y="205"/>
                  </a:lnTo>
                  <a:lnTo>
                    <a:pt x="2427" y="232"/>
                  </a:lnTo>
                  <a:lnTo>
                    <a:pt x="2395" y="261"/>
                  </a:lnTo>
                  <a:lnTo>
                    <a:pt x="2363" y="290"/>
                  </a:lnTo>
                  <a:lnTo>
                    <a:pt x="2333" y="321"/>
                  </a:lnTo>
                  <a:lnTo>
                    <a:pt x="2305" y="352"/>
                  </a:lnTo>
                  <a:lnTo>
                    <a:pt x="2278" y="385"/>
                  </a:lnTo>
                  <a:lnTo>
                    <a:pt x="2252" y="420"/>
                  </a:lnTo>
                  <a:lnTo>
                    <a:pt x="2228" y="456"/>
                  </a:lnTo>
                  <a:lnTo>
                    <a:pt x="2205" y="493"/>
                  </a:lnTo>
                  <a:lnTo>
                    <a:pt x="2183" y="530"/>
                  </a:lnTo>
                  <a:lnTo>
                    <a:pt x="2163" y="569"/>
                  </a:lnTo>
                  <a:lnTo>
                    <a:pt x="2145" y="609"/>
                  </a:lnTo>
                  <a:lnTo>
                    <a:pt x="2128" y="650"/>
                  </a:lnTo>
                  <a:lnTo>
                    <a:pt x="2114" y="691"/>
                  </a:lnTo>
                  <a:lnTo>
                    <a:pt x="2101" y="734"/>
                  </a:lnTo>
                  <a:lnTo>
                    <a:pt x="2090" y="778"/>
                  </a:lnTo>
                  <a:lnTo>
                    <a:pt x="2081" y="822"/>
                  </a:lnTo>
                  <a:lnTo>
                    <a:pt x="1376" y="4619"/>
                  </a:lnTo>
                  <a:lnTo>
                    <a:pt x="1297" y="4704"/>
                  </a:lnTo>
                  <a:lnTo>
                    <a:pt x="1221" y="4791"/>
                  </a:lnTo>
                  <a:lnTo>
                    <a:pt x="1147" y="4880"/>
                  </a:lnTo>
                  <a:lnTo>
                    <a:pt x="1074" y="4969"/>
                  </a:lnTo>
                  <a:lnTo>
                    <a:pt x="1004" y="5062"/>
                  </a:lnTo>
                  <a:lnTo>
                    <a:pt x="935" y="5155"/>
                  </a:lnTo>
                  <a:lnTo>
                    <a:pt x="869" y="5250"/>
                  </a:lnTo>
                  <a:lnTo>
                    <a:pt x="805" y="5347"/>
                  </a:lnTo>
                  <a:lnTo>
                    <a:pt x="742" y="5445"/>
                  </a:lnTo>
                  <a:lnTo>
                    <a:pt x="683" y="5545"/>
                  </a:lnTo>
                  <a:lnTo>
                    <a:pt x="625" y="5645"/>
                  </a:lnTo>
                  <a:lnTo>
                    <a:pt x="569" y="5748"/>
                  </a:lnTo>
                  <a:lnTo>
                    <a:pt x="516" y="5852"/>
                  </a:lnTo>
                  <a:lnTo>
                    <a:pt x="466" y="5957"/>
                  </a:lnTo>
                  <a:lnTo>
                    <a:pt x="417" y="6063"/>
                  </a:lnTo>
                  <a:lnTo>
                    <a:pt x="371" y="6171"/>
                  </a:lnTo>
                  <a:lnTo>
                    <a:pt x="328" y="6280"/>
                  </a:lnTo>
                  <a:lnTo>
                    <a:pt x="287" y="6391"/>
                  </a:lnTo>
                  <a:lnTo>
                    <a:pt x="248" y="6501"/>
                  </a:lnTo>
                  <a:lnTo>
                    <a:pt x="212" y="6614"/>
                  </a:lnTo>
                  <a:lnTo>
                    <a:pt x="180" y="6729"/>
                  </a:lnTo>
                  <a:lnTo>
                    <a:pt x="149" y="6843"/>
                  </a:lnTo>
                  <a:lnTo>
                    <a:pt x="122" y="6959"/>
                  </a:lnTo>
                  <a:lnTo>
                    <a:pt x="97" y="7077"/>
                  </a:lnTo>
                  <a:lnTo>
                    <a:pt x="74" y="7194"/>
                  </a:lnTo>
                  <a:lnTo>
                    <a:pt x="54" y="7313"/>
                  </a:lnTo>
                  <a:lnTo>
                    <a:pt x="38" y="7434"/>
                  </a:lnTo>
                  <a:lnTo>
                    <a:pt x="24" y="7555"/>
                  </a:lnTo>
                  <a:lnTo>
                    <a:pt x="14" y="7676"/>
                  </a:lnTo>
                  <a:lnTo>
                    <a:pt x="6" y="7799"/>
                  </a:lnTo>
                  <a:lnTo>
                    <a:pt x="2" y="7923"/>
                  </a:lnTo>
                  <a:lnTo>
                    <a:pt x="0" y="8048"/>
                  </a:lnTo>
                  <a:lnTo>
                    <a:pt x="2" y="8169"/>
                  </a:lnTo>
                  <a:lnTo>
                    <a:pt x="6" y="8290"/>
                  </a:lnTo>
                  <a:lnTo>
                    <a:pt x="13" y="8410"/>
                  </a:lnTo>
                  <a:lnTo>
                    <a:pt x="23" y="8528"/>
                  </a:lnTo>
                  <a:lnTo>
                    <a:pt x="36" y="8646"/>
                  </a:lnTo>
                  <a:lnTo>
                    <a:pt x="52" y="8764"/>
                  </a:lnTo>
                  <a:lnTo>
                    <a:pt x="71" y="8879"/>
                  </a:lnTo>
                  <a:lnTo>
                    <a:pt x="93" y="8995"/>
                  </a:lnTo>
                  <a:lnTo>
                    <a:pt x="117" y="9109"/>
                  </a:lnTo>
                  <a:lnTo>
                    <a:pt x="143" y="9222"/>
                  </a:lnTo>
                  <a:lnTo>
                    <a:pt x="172" y="9334"/>
                  </a:lnTo>
                  <a:lnTo>
                    <a:pt x="204" y="9446"/>
                  </a:lnTo>
                  <a:lnTo>
                    <a:pt x="238" y="9555"/>
                  </a:lnTo>
                  <a:lnTo>
                    <a:pt x="276" y="9665"/>
                  </a:lnTo>
                  <a:lnTo>
                    <a:pt x="315" y="9773"/>
                  </a:lnTo>
                  <a:lnTo>
                    <a:pt x="356" y="9879"/>
                  </a:lnTo>
                  <a:lnTo>
                    <a:pt x="400" y="9985"/>
                  </a:lnTo>
                  <a:lnTo>
                    <a:pt x="447" y="10090"/>
                  </a:lnTo>
                  <a:lnTo>
                    <a:pt x="495" y="10192"/>
                  </a:lnTo>
                  <a:lnTo>
                    <a:pt x="546" y="10294"/>
                  </a:lnTo>
                  <a:lnTo>
                    <a:pt x="599" y="10394"/>
                  </a:lnTo>
                  <a:lnTo>
                    <a:pt x="655" y="10494"/>
                  </a:lnTo>
                  <a:lnTo>
                    <a:pt x="712" y="10592"/>
                  </a:lnTo>
                  <a:lnTo>
                    <a:pt x="771" y="10688"/>
                  </a:lnTo>
                  <a:lnTo>
                    <a:pt x="833" y="10783"/>
                  </a:lnTo>
                  <a:lnTo>
                    <a:pt x="896" y="10876"/>
                  </a:lnTo>
                  <a:lnTo>
                    <a:pt x="962" y="10969"/>
                  </a:lnTo>
                  <a:lnTo>
                    <a:pt x="1030" y="11059"/>
                  </a:lnTo>
                  <a:lnTo>
                    <a:pt x="1099" y="11148"/>
                  </a:lnTo>
                  <a:lnTo>
                    <a:pt x="1170" y="11236"/>
                  </a:lnTo>
                  <a:lnTo>
                    <a:pt x="1243" y="11322"/>
                  </a:lnTo>
                  <a:lnTo>
                    <a:pt x="1319" y="11406"/>
                  </a:lnTo>
                  <a:lnTo>
                    <a:pt x="2029" y="15273"/>
                  </a:lnTo>
                  <a:lnTo>
                    <a:pt x="2038" y="15317"/>
                  </a:lnTo>
                  <a:lnTo>
                    <a:pt x="2049" y="15361"/>
                  </a:lnTo>
                  <a:lnTo>
                    <a:pt x="2062" y="15403"/>
                  </a:lnTo>
                  <a:lnTo>
                    <a:pt x="2076" y="15445"/>
                  </a:lnTo>
                  <a:lnTo>
                    <a:pt x="2093" y="15485"/>
                  </a:lnTo>
                  <a:lnTo>
                    <a:pt x="2111" y="15526"/>
                  </a:lnTo>
                  <a:lnTo>
                    <a:pt x="2130" y="15564"/>
                  </a:lnTo>
                  <a:lnTo>
                    <a:pt x="2152" y="15602"/>
                  </a:lnTo>
                  <a:lnTo>
                    <a:pt x="2174" y="15639"/>
                  </a:lnTo>
                  <a:lnTo>
                    <a:pt x="2200" y="15675"/>
                  </a:lnTo>
                  <a:lnTo>
                    <a:pt x="2225" y="15709"/>
                  </a:lnTo>
                  <a:lnTo>
                    <a:pt x="2252" y="15742"/>
                  </a:lnTo>
                  <a:lnTo>
                    <a:pt x="2281" y="15774"/>
                  </a:lnTo>
                  <a:lnTo>
                    <a:pt x="2310" y="15805"/>
                  </a:lnTo>
                  <a:lnTo>
                    <a:pt x="2341" y="15834"/>
                  </a:lnTo>
                  <a:lnTo>
                    <a:pt x="2374" y="15863"/>
                  </a:lnTo>
                  <a:lnTo>
                    <a:pt x="2408" y="15889"/>
                  </a:lnTo>
                  <a:lnTo>
                    <a:pt x="2442" y="15914"/>
                  </a:lnTo>
                  <a:lnTo>
                    <a:pt x="2478" y="15938"/>
                  </a:lnTo>
                  <a:lnTo>
                    <a:pt x="2514" y="15960"/>
                  </a:lnTo>
                  <a:lnTo>
                    <a:pt x="2553" y="15981"/>
                  </a:lnTo>
                  <a:lnTo>
                    <a:pt x="2591" y="16000"/>
                  </a:lnTo>
                  <a:lnTo>
                    <a:pt x="2630" y="16018"/>
                  </a:lnTo>
                  <a:lnTo>
                    <a:pt x="2670" y="16034"/>
                  </a:lnTo>
                  <a:lnTo>
                    <a:pt x="2711" y="16048"/>
                  </a:lnTo>
                  <a:lnTo>
                    <a:pt x="2754" y="16060"/>
                  </a:lnTo>
                  <a:lnTo>
                    <a:pt x="2796" y="16071"/>
                  </a:lnTo>
                  <a:lnTo>
                    <a:pt x="2839" y="16079"/>
                  </a:lnTo>
                  <a:lnTo>
                    <a:pt x="2882" y="16086"/>
                  </a:lnTo>
                  <a:lnTo>
                    <a:pt x="2927" y="16091"/>
                  </a:lnTo>
                  <a:lnTo>
                    <a:pt x="2972" y="16094"/>
                  </a:lnTo>
                  <a:lnTo>
                    <a:pt x="3017" y="16095"/>
                  </a:lnTo>
                  <a:lnTo>
                    <a:pt x="7040" y="16095"/>
                  </a:lnTo>
                  <a:lnTo>
                    <a:pt x="7085" y="16094"/>
                  </a:lnTo>
                  <a:lnTo>
                    <a:pt x="7130" y="16091"/>
                  </a:lnTo>
                  <a:lnTo>
                    <a:pt x="7174" y="16086"/>
                  </a:lnTo>
                  <a:lnTo>
                    <a:pt x="7218" y="16079"/>
                  </a:lnTo>
                  <a:lnTo>
                    <a:pt x="7261" y="16071"/>
                  </a:lnTo>
                  <a:lnTo>
                    <a:pt x="7304" y="16060"/>
                  </a:lnTo>
                  <a:lnTo>
                    <a:pt x="7345" y="16048"/>
                  </a:lnTo>
                  <a:lnTo>
                    <a:pt x="7386" y="16034"/>
                  </a:lnTo>
                  <a:lnTo>
                    <a:pt x="7426" y="16018"/>
                  </a:lnTo>
                  <a:lnTo>
                    <a:pt x="7467" y="16000"/>
                  </a:lnTo>
                  <a:lnTo>
                    <a:pt x="7505" y="15981"/>
                  </a:lnTo>
                  <a:lnTo>
                    <a:pt x="7542" y="15960"/>
                  </a:lnTo>
                  <a:lnTo>
                    <a:pt x="7579" y="15938"/>
                  </a:lnTo>
                  <a:lnTo>
                    <a:pt x="7614" y="15914"/>
                  </a:lnTo>
                  <a:lnTo>
                    <a:pt x="7650" y="15889"/>
                  </a:lnTo>
                  <a:lnTo>
                    <a:pt x="7683" y="15863"/>
                  </a:lnTo>
                  <a:lnTo>
                    <a:pt x="7715" y="15834"/>
                  </a:lnTo>
                  <a:lnTo>
                    <a:pt x="7746" y="15805"/>
                  </a:lnTo>
                  <a:lnTo>
                    <a:pt x="7776" y="15774"/>
                  </a:lnTo>
                  <a:lnTo>
                    <a:pt x="7804" y="15742"/>
                  </a:lnTo>
                  <a:lnTo>
                    <a:pt x="7832" y="15709"/>
                  </a:lnTo>
                  <a:lnTo>
                    <a:pt x="7858" y="15675"/>
                  </a:lnTo>
                  <a:lnTo>
                    <a:pt x="7882" y="15639"/>
                  </a:lnTo>
                  <a:lnTo>
                    <a:pt x="7905" y="15602"/>
                  </a:lnTo>
                  <a:lnTo>
                    <a:pt x="7926" y="15564"/>
                  </a:lnTo>
                  <a:lnTo>
                    <a:pt x="7946" y="15526"/>
                  </a:lnTo>
                  <a:lnTo>
                    <a:pt x="7964" y="15485"/>
                  </a:lnTo>
                  <a:lnTo>
                    <a:pt x="7980" y="15445"/>
                  </a:lnTo>
                  <a:lnTo>
                    <a:pt x="7996" y="15403"/>
                  </a:lnTo>
                  <a:lnTo>
                    <a:pt x="8009" y="15361"/>
                  </a:lnTo>
                  <a:lnTo>
                    <a:pt x="8020" y="15317"/>
                  </a:lnTo>
                  <a:lnTo>
                    <a:pt x="8029" y="15273"/>
                  </a:lnTo>
                  <a:lnTo>
                    <a:pt x="8745" y="11409"/>
                  </a:lnTo>
                  <a:lnTo>
                    <a:pt x="8801" y="11347"/>
                  </a:lnTo>
                  <a:lnTo>
                    <a:pt x="8855" y="11284"/>
                  </a:lnTo>
                  <a:lnTo>
                    <a:pt x="8909" y="11220"/>
                  </a:lnTo>
                  <a:lnTo>
                    <a:pt x="8962" y="11155"/>
                  </a:lnTo>
                  <a:lnTo>
                    <a:pt x="9013" y="11089"/>
                  </a:lnTo>
                  <a:lnTo>
                    <a:pt x="9064" y="11023"/>
                  </a:lnTo>
                  <a:lnTo>
                    <a:pt x="9113" y="10956"/>
                  </a:lnTo>
                  <a:lnTo>
                    <a:pt x="9161" y="10887"/>
                  </a:lnTo>
                  <a:lnTo>
                    <a:pt x="9208" y="10819"/>
                  </a:lnTo>
                  <a:lnTo>
                    <a:pt x="9255" y="10748"/>
                  </a:lnTo>
                  <a:lnTo>
                    <a:pt x="9300" y="10678"/>
                  </a:lnTo>
                  <a:lnTo>
                    <a:pt x="9344" y="10607"/>
                  </a:lnTo>
                  <a:lnTo>
                    <a:pt x="9386" y="10535"/>
                  </a:lnTo>
                  <a:lnTo>
                    <a:pt x="9429" y="10462"/>
                  </a:lnTo>
                  <a:lnTo>
                    <a:pt x="9469" y="10388"/>
                  </a:lnTo>
                  <a:lnTo>
                    <a:pt x="9508" y="10314"/>
                  </a:lnTo>
                  <a:lnTo>
                    <a:pt x="9546" y="10239"/>
                  </a:lnTo>
                  <a:lnTo>
                    <a:pt x="9583" y="10164"/>
                  </a:lnTo>
                  <a:lnTo>
                    <a:pt x="9618" y="10088"/>
                  </a:lnTo>
                  <a:lnTo>
                    <a:pt x="9653" y="10010"/>
                  </a:lnTo>
                  <a:lnTo>
                    <a:pt x="9685" y="9932"/>
                  </a:lnTo>
                  <a:lnTo>
                    <a:pt x="9717" y="9853"/>
                  </a:lnTo>
                  <a:lnTo>
                    <a:pt x="9748" y="9775"/>
                  </a:lnTo>
                  <a:lnTo>
                    <a:pt x="9777" y="9694"/>
                  </a:lnTo>
                  <a:lnTo>
                    <a:pt x="9804" y="9614"/>
                  </a:lnTo>
                  <a:lnTo>
                    <a:pt x="9830" y="9532"/>
                  </a:lnTo>
                  <a:lnTo>
                    <a:pt x="9855" y="9451"/>
                  </a:lnTo>
                  <a:lnTo>
                    <a:pt x="9878" y="9368"/>
                  </a:lnTo>
                  <a:lnTo>
                    <a:pt x="9900" y="9286"/>
                  </a:lnTo>
                  <a:lnTo>
                    <a:pt x="9921" y="9202"/>
                  </a:lnTo>
                  <a:lnTo>
                    <a:pt x="9941" y="9118"/>
                  </a:lnTo>
                  <a:lnTo>
                    <a:pt x="9958" y="9032"/>
                  </a:lnTo>
                  <a:lnTo>
                    <a:pt x="9971" y="9035"/>
                  </a:lnTo>
                  <a:lnTo>
                    <a:pt x="9983" y="9037"/>
                  </a:lnTo>
                  <a:lnTo>
                    <a:pt x="9995" y="9041"/>
                  </a:lnTo>
                  <a:lnTo>
                    <a:pt x="10007" y="9044"/>
                  </a:lnTo>
                  <a:lnTo>
                    <a:pt x="10019" y="9048"/>
                  </a:lnTo>
                  <a:lnTo>
                    <a:pt x="10032" y="9050"/>
                  </a:lnTo>
                  <a:lnTo>
                    <a:pt x="10044" y="9052"/>
                  </a:lnTo>
                  <a:lnTo>
                    <a:pt x="10057" y="9053"/>
                  </a:lnTo>
                  <a:lnTo>
                    <a:pt x="10109" y="9052"/>
                  </a:lnTo>
                  <a:lnTo>
                    <a:pt x="10160" y="9048"/>
                  </a:lnTo>
                  <a:lnTo>
                    <a:pt x="10210" y="9041"/>
                  </a:lnTo>
                  <a:lnTo>
                    <a:pt x="10259" y="9033"/>
                  </a:lnTo>
                  <a:lnTo>
                    <a:pt x="10309" y="9021"/>
                  </a:lnTo>
                  <a:lnTo>
                    <a:pt x="10356" y="9008"/>
                  </a:lnTo>
                  <a:lnTo>
                    <a:pt x="10403" y="8992"/>
                  </a:lnTo>
                  <a:lnTo>
                    <a:pt x="10449" y="8974"/>
                  </a:lnTo>
                  <a:lnTo>
                    <a:pt x="10493" y="8954"/>
                  </a:lnTo>
                  <a:lnTo>
                    <a:pt x="10536" y="8932"/>
                  </a:lnTo>
                  <a:lnTo>
                    <a:pt x="10578" y="8908"/>
                  </a:lnTo>
                  <a:lnTo>
                    <a:pt x="10619" y="8881"/>
                  </a:lnTo>
                  <a:lnTo>
                    <a:pt x="10659" y="8853"/>
                  </a:lnTo>
                  <a:lnTo>
                    <a:pt x="10697" y="8824"/>
                  </a:lnTo>
                  <a:lnTo>
                    <a:pt x="10733" y="8792"/>
                  </a:lnTo>
                  <a:lnTo>
                    <a:pt x="10768" y="8759"/>
                  </a:lnTo>
                  <a:lnTo>
                    <a:pt x="10802" y="8723"/>
                  </a:lnTo>
                  <a:lnTo>
                    <a:pt x="10834" y="8687"/>
                  </a:lnTo>
                  <a:lnTo>
                    <a:pt x="10863" y="8649"/>
                  </a:lnTo>
                  <a:lnTo>
                    <a:pt x="10891" y="8610"/>
                  </a:lnTo>
                  <a:lnTo>
                    <a:pt x="10917" y="8569"/>
                  </a:lnTo>
                  <a:lnTo>
                    <a:pt x="10941" y="8527"/>
                  </a:lnTo>
                  <a:lnTo>
                    <a:pt x="10963" y="8483"/>
                  </a:lnTo>
                  <a:lnTo>
                    <a:pt x="10984" y="8439"/>
                  </a:lnTo>
                  <a:lnTo>
                    <a:pt x="11002" y="8394"/>
                  </a:lnTo>
                  <a:lnTo>
                    <a:pt x="11018" y="8346"/>
                  </a:lnTo>
                  <a:lnTo>
                    <a:pt x="11031" y="8299"/>
                  </a:lnTo>
                  <a:lnTo>
                    <a:pt x="11043" y="8251"/>
                  </a:lnTo>
                  <a:lnTo>
                    <a:pt x="11051" y="8200"/>
                  </a:lnTo>
                  <a:lnTo>
                    <a:pt x="11058" y="8150"/>
                  </a:lnTo>
                  <a:lnTo>
                    <a:pt x="11062" y="8100"/>
                  </a:lnTo>
                  <a:lnTo>
                    <a:pt x="11063" y="8048"/>
                  </a:lnTo>
                  <a:lnTo>
                    <a:pt x="11062" y="7996"/>
                  </a:lnTo>
                  <a:lnTo>
                    <a:pt x="11058" y="7945"/>
                  </a:lnTo>
                  <a:lnTo>
                    <a:pt x="11051" y="7895"/>
                  </a:lnTo>
                  <a:lnTo>
                    <a:pt x="11043" y="7845"/>
                  </a:lnTo>
                  <a:lnTo>
                    <a:pt x="11031" y="7796"/>
                  </a:lnTo>
                  <a:lnTo>
                    <a:pt x="11018" y="7749"/>
                  </a:lnTo>
                  <a:lnTo>
                    <a:pt x="11002" y="7701"/>
                  </a:lnTo>
                  <a:lnTo>
                    <a:pt x="10984" y="7656"/>
                  </a:lnTo>
                  <a:lnTo>
                    <a:pt x="10963" y="7611"/>
                  </a:lnTo>
                  <a:lnTo>
                    <a:pt x="10941" y="7568"/>
                  </a:lnTo>
                  <a:lnTo>
                    <a:pt x="10917" y="7525"/>
                  </a:lnTo>
                  <a:lnTo>
                    <a:pt x="10891" y="7485"/>
                  </a:lnTo>
                  <a:lnTo>
                    <a:pt x="10863" y="7446"/>
                  </a:lnTo>
                  <a:lnTo>
                    <a:pt x="10834" y="7408"/>
                  </a:lnTo>
                  <a:lnTo>
                    <a:pt x="10802" y="7372"/>
                  </a:lnTo>
                  <a:lnTo>
                    <a:pt x="10768" y="7336"/>
                  </a:lnTo>
                  <a:lnTo>
                    <a:pt x="10733" y="7303"/>
                  </a:lnTo>
                  <a:lnTo>
                    <a:pt x="10697" y="7271"/>
                  </a:lnTo>
                  <a:lnTo>
                    <a:pt x="10659" y="7242"/>
                  </a:lnTo>
                  <a:lnTo>
                    <a:pt x="10619" y="7214"/>
                  </a:lnTo>
                  <a:lnTo>
                    <a:pt x="10578" y="7187"/>
                  </a:lnTo>
                  <a:lnTo>
                    <a:pt x="10536" y="7163"/>
                  </a:lnTo>
                  <a:lnTo>
                    <a:pt x="10493" y="7141"/>
                  </a:lnTo>
                  <a:lnTo>
                    <a:pt x="10449" y="7121"/>
                  </a:lnTo>
                  <a:lnTo>
                    <a:pt x="10403" y="7103"/>
                  </a:lnTo>
                  <a:lnTo>
                    <a:pt x="10356" y="7087"/>
                  </a:lnTo>
                  <a:lnTo>
                    <a:pt x="10309" y="7073"/>
                  </a:lnTo>
                  <a:lnTo>
                    <a:pt x="10259" y="7062"/>
                  </a:lnTo>
                  <a:lnTo>
                    <a:pt x="10210" y="7054"/>
                  </a:lnTo>
                  <a:lnTo>
                    <a:pt x="10160" y="7047"/>
                  </a:lnTo>
                  <a:lnTo>
                    <a:pt x="10109" y="7043"/>
                  </a:lnTo>
                  <a:lnTo>
                    <a:pt x="10057" y="70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04" name="îṥḷíḓe">
              <a:extLst>
                <a:ext uri="{FF2B5EF4-FFF2-40B4-BE49-F238E27FC236}">
                  <a16:creationId xmlns:a16="http://schemas.microsoft.com/office/drawing/2014/main" id="{D122FFFA-F8E9-48E8-8A44-53040AF911CC}"/>
                </a:ext>
              </a:extLst>
            </p:cNvPr>
            <p:cNvSpPr/>
            <p:nvPr/>
          </p:nvSpPr>
          <p:spPr bwMode="auto">
            <a:xfrm>
              <a:off x="2348575" y="1160263"/>
              <a:ext cx="115617" cy="115617"/>
            </a:xfrm>
            <a:custGeom>
              <a:avLst/>
              <a:gdLst>
                <a:gd name="T0" fmla="*/ 2976 w 3037"/>
                <a:gd name="T1" fmla="*/ 39 h 3053"/>
                <a:gd name="T2" fmla="*/ 2950 w 3037"/>
                <a:gd name="T3" fmla="*/ 22 h 3053"/>
                <a:gd name="T4" fmla="*/ 2921 w 3037"/>
                <a:gd name="T5" fmla="*/ 9 h 3053"/>
                <a:gd name="T6" fmla="*/ 2892 w 3037"/>
                <a:gd name="T7" fmla="*/ 2 h 3053"/>
                <a:gd name="T8" fmla="*/ 2861 w 3037"/>
                <a:gd name="T9" fmla="*/ 0 h 3053"/>
                <a:gd name="T10" fmla="*/ 2831 w 3037"/>
                <a:gd name="T11" fmla="*/ 4 h 3053"/>
                <a:gd name="T12" fmla="*/ 2801 w 3037"/>
                <a:gd name="T13" fmla="*/ 15 h 3053"/>
                <a:gd name="T14" fmla="*/ 2773 w 3037"/>
                <a:gd name="T15" fmla="*/ 30 h 3053"/>
                <a:gd name="T16" fmla="*/ 149 w 3037"/>
                <a:gd name="T17" fmla="*/ 2194 h 3053"/>
                <a:gd name="T18" fmla="*/ 114 w 3037"/>
                <a:gd name="T19" fmla="*/ 2232 h 3053"/>
                <a:gd name="T20" fmla="*/ 85 w 3037"/>
                <a:gd name="T21" fmla="*/ 2272 h 3053"/>
                <a:gd name="T22" fmla="*/ 59 w 3037"/>
                <a:gd name="T23" fmla="*/ 2315 h 3053"/>
                <a:gd name="T24" fmla="*/ 38 w 3037"/>
                <a:gd name="T25" fmla="*/ 2360 h 3053"/>
                <a:gd name="T26" fmla="*/ 22 w 3037"/>
                <a:gd name="T27" fmla="*/ 2407 h 3053"/>
                <a:gd name="T28" fmla="*/ 10 w 3037"/>
                <a:gd name="T29" fmla="*/ 2455 h 3053"/>
                <a:gd name="T30" fmla="*/ 3 w 3037"/>
                <a:gd name="T31" fmla="*/ 2504 h 3053"/>
                <a:gd name="T32" fmla="*/ 0 w 3037"/>
                <a:gd name="T33" fmla="*/ 2556 h 3053"/>
                <a:gd name="T34" fmla="*/ 3 w 3037"/>
                <a:gd name="T35" fmla="*/ 2605 h 3053"/>
                <a:gd name="T36" fmla="*/ 10 w 3037"/>
                <a:gd name="T37" fmla="*/ 2653 h 3053"/>
                <a:gd name="T38" fmla="*/ 21 w 3037"/>
                <a:gd name="T39" fmla="*/ 2700 h 3053"/>
                <a:gd name="T40" fmla="*/ 37 w 3037"/>
                <a:gd name="T41" fmla="*/ 2746 h 3053"/>
                <a:gd name="T42" fmla="*/ 58 w 3037"/>
                <a:gd name="T43" fmla="*/ 2789 h 3053"/>
                <a:gd name="T44" fmla="*/ 82 w 3037"/>
                <a:gd name="T45" fmla="*/ 2831 h 3053"/>
                <a:gd name="T46" fmla="*/ 111 w 3037"/>
                <a:gd name="T47" fmla="*/ 2870 h 3053"/>
                <a:gd name="T48" fmla="*/ 146 w 3037"/>
                <a:gd name="T49" fmla="*/ 2907 h 3053"/>
                <a:gd name="T50" fmla="*/ 182 w 3037"/>
                <a:gd name="T51" fmla="*/ 2940 h 3053"/>
                <a:gd name="T52" fmla="*/ 221 w 3037"/>
                <a:gd name="T53" fmla="*/ 2969 h 3053"/>
                <a:gd name="T54" fmla="*/ 263 w 3037"/>
                <a:gd name="T55" fmla="*/ 2994 h 3053"/>
                <a:gd name="T56" fmla="*/ 308 w 3037"/>
                <a:gd name="T57" fmla="*/ 3015 h 3053"/>
                <a:gd name="T58" fmla="*/ 354 w 3037"/>
                <a:gd name="T59" fmla="*/ 3031 h 3053"/>
                <a:gd name="T60" fmla="*/ 401 w 3037"/>
                <a:gd name="T61" fmla="*/ 3043 h 3053"/>
                <a:gd name="T62" fmla="*/ 450 w 3037"/>
                <a:gd name="T63" fmla="*/ 3051 h 3053"/>
                <a:gd name="T64" fmla="*/ 501 w 3037"/>
                <a:gd name="T65" fmla="*/ 3053 h 3053"/>
                <a:gd name="T66" fmla="*/ 548 w 3037"/>
                <a:gd name="T67" fmla="*/ 3051 h 3053"/>
                <a:gd name="T68" fmla="*/ 595 w 3037"/>
                <a:gd name="T69" fmla="*/ 3044 h 3053"/>
                <a:gd name="T70" fmla="*/ 642 w 3037"/>
                <a:gd name="T71" fmla="*/ 3033 h 3053"/>
                <a:gd name="T72" fmla="*/ 688 w 3037"/>
                <a:gd name="T73" fmla="*/ 3018 h 3053"/>
                <a:gd name="T74" fmla="*/ 732 w 3037"/>
                <a:gd name="T75" fmla="*/ 2998 h 3053"/>
                <a:gd name="T76" fmla="*/ 775 w 3037"/>
                <a:gd name="T77" fmla="*/ 2975 h 3053"/>
                <a:gd name="T78" fmla="*/ 814 w 3037"/>
                <a:gd name="T79" fmla="*/ 2947 h 3053"/>
                <a:gd name="T80" fmla="*/ 853 w 3037"/>
                <a:gd name="T81" fmla="*/ 2914 h 3053"/>
                <a:gd name="T82" fmla="*/ 3001 w 3037"/>
                <a:gd name="T83" fmla="*/ 276 h 3053"/>
                <a:gd name="T84" fmla="*/ 3018 w 3037"/>
                <a:gd name="T85" fmla="*/ 250 h 3053"/>
                <a:gd name="T86" fmla="*/ 3030 w 3037"/>
                <a:gd name="T87" fmla="*/ 221 h 3053"/>
                <a:gd name="T88" fmla="*/ 3036 w 3037"/>
                <a:gd name="T89" fmla="*/ 191 h 3053"/>
                <a:gd name="T90" fmla="*/ 3037 w 3037"/>
                <a:gd name="T91" fmla="*/ 160 h 3053"/>
                <a:gd name="T92" fmla="*/ 3033 w 3037"/>
                <a:gd name="T93" fmla="*/ 130 h 3053"/>
                <a:gd name="T94" fmla="*/ 3023 w 3037"/>
                <a:gd name="T95" fmla="*/ 101 h 3053"/>
                <a:gd name="T96" fmla="*/ 3008 w 3037"/>
                <a:gd name="T97" fmla="*/ 74 h 3053"/>
                <a:gd name="T98" fmla="*/ 2988 w 3037"/>
                <a:gd name="T99" fmla="*/ 50 h 3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037" h="3053">
                  <a:moveTo>
                    <a:pt x="2988" y="50"/>
                  </a:moveTo>
                  <a:lnTo>
                    <a:pt x="2976" y="39"/>
                  </a:lnTo>
                  <a:lnTo>
                    <a:pt x="2963" y="30"/>
                  </a:lnTo>
                  <a:lnTo>
                    <a:pt x="2950" y="22"/>
                  </a:lnTo>
                  <a:lnTo>
                    <a:pt x="2935" y="15"/>
                  </a:lnTo>
                  <a:lnTo>
                    <a:pt x="2921" y="9"/>
                  </a:lnTo>
                  <a:lnTo>
                    <a:pt x="2907" y="5"/>
                  </a:lnTo>
                  <a:lnTo>
                    <a:pt x="2892" y="2"/>
                  </a:lnTo>
                  <a:lnTo>
                    <a:pt x="2876" y="0"/>
                  </a:lnTo>
                  <a:lnTo>
                    <a:pt x="2861" y="0"/>
                  </a:lnTo>
                  <a:lnTo>
                    <a:pt x="2846" y="2"/>
                  </a:lnTo>
                  <a:lnTo>
                    <a:pt x="2831" y="4"/>
                  </a:lnTo>
                  <a:lnTo>
                    <a:pt x="2816" y="8"/>
                  </a:lnTo>
                  <a:lnTo>
                    <a:pt x="2801" y="15"/>
                  </a:lnTo>
                  <a:lnTo>
                    <a:pt x="2787" y="22"/>
                  </a:lnTo>
                  <a:lnTo>
                    <a:pt x="2773" y="30"/>
                  </a:lnTo>
                  <a:lnTo>
                    <a:pt x="2759" y="40"/>
                  </a:lnTo>
                  <a:lnTo>
                    <a:pt x="149" y="2194"/>
                  </a:lnTo>
                  <a:lnTo>
                    <a:pt x="132" y="2212"/>
                  </a:lnTo>
                  <a:lnTo>
                    <a:pt x="114" y="2232"/>
                  </a:lnTo>
                  <a:lnTo>
                    <a:pt x="99" y="2252"/>
                  </a:lnTo>
                  <a:lnTo>
                    <a:pt x="85" y="2272"/>
                  </a:lnTo>
                  <a:lnTo>
                    <a:pt x="72" y="2293"/>
                  </a:lnTo>
                  <a:lnTo>
                    <a:pt x="59" y="2315"/>
                  </a:lnTo>
                  <a:lnTo>
                    <a:pt x="48" y="2337"/>
                  </a:lnTo>
                  <a:lnTo>
                    <a:pt x="38" y="2360"/>
                  </a:lnTo>
                  <a:lnTo>
                    <a:pt x="30" y="2383"/>
                  </a:lnTo>
                  <a:lnTo>
                    <a:pt x="22" y="2407"/>
                  </a:lnTo>
                  <a:lnTo>
                    <a:pt x="15" y="2431"/>
                  </a:lnTo>
                  <a:lnTo>
                    <a:pt x="10" y="2455"/>
                  </a:lnTo>
                  <a:lnTo>
                    <a:pt x="6" y="2480"/>
                  </a:lnTo>
                  <a:lnTo>
                    <a:pt x="3" y="2504"/>
                  </a:lnTo>
                  <a:lnTo>
                    <a:pt x="1" y="2530"/>
                  </a:lnTo>
                  <a:lnTo>
                    <a:pt x="0" y="2556"/>
                  </a:lnTo>
                  <a:lnTo>
                    <a:pt x="1" y="2580"/>
                  </a:lnTo>
                  <a:lnTo>
                    <a:pt x="3" y="2605"/>
                  </a:lnTo>
                  <a:lnTo>
                    <a:pt x="6" y="2629"/>
                  </a:lnTo>
                  <a:lnTo>
                    <a:pt x="10" y="2653"/>
                  </a:lnTo>
                  <a:lnTo>
                    <a:pt x="15" y="2676"/>
                  </a:lnTo>
                  <a:lnTo>
                    <a:pt x="21" y="2700"/>
                  </a:lnTo>
                  <a:lnTo>
                    <a:pt x="29" y="2724"/>
                  </a:lnTo>
                  <a:lnTo>
                    <a:pt x="37" y="2746"/>
                  </a:lnTo>
                  <a:lnTo>
                    <a:pt x="47" y="2768"/>
                  </a:lnTo>
                  <a:lnTo>
                    <a:pt x="58" y="2789"/>
                  </a:lnTo>
                  <a:lnTo>
                    <a:pt x="70" y="2810"/>
                  </a:lnTo>
                  <a:lnTo>
                    <a:pt x="82" y="2831"/>
                  </a:lnTo>
                  <a:lnTo>
                    <a:pt x="96" y="2851"/>
                  </a:lnTo>
                  <a:lnTo>
                    <a:pt x="111" y="2870"/>
                  </a:lnTo>
                  <a:lnTo>
                    <a:pt x="129" y="2889"/>
                  </a:lnTo>
                  <a:lnTo>
                    <a:pt x="146" y="2907"/>
                  </a:lnTo>
                  <a:lnTo>
                    <a:pt x="164" y="2924"/>
                  </a:lnTo>
                  <a:lnTo>
                    <a:pt x="182" y="2940"/>
                  </a:lnTo>
                  <a:lnTo>
                    <a:pt x="201" y="2955"/>
                  </a:lnTo>
                  <a:lnTo>
                    <a:pt x="221" y="2969"/>
                  </a:lnTo>
                  <a:lnTo>
                    <a:pt x="242" y="2982"/>
                  </a:lnTo>
                  <a:lnTo>
                    <a:pt x="263" y="2994"/>
                  </a:lnTo>
                  <a:lnTo>
                    <a:pt x="285" y="3005"/>
                  </a:lnTo>
                  <a:lnTo>
                    <a:pt x="308" y="3015"/>
                  </a:lnTo>
                  <a:lnTo>
                    <a:pt x="331" y="3024"/>
                  </a:lnTo>
                  <a:lnTo>
                    <a:pt x="354" y="3031"/>
                  </a:lnTo>
                  <a:lnTo>
                    <a:pt x="377" y="3038"/>
                  </a:lnTo>
                  <a:lnTo>
                    <a:pt x="401" y="3043"/>
                  </a:lnTo>
                  <a:lnTo>
                    <a:pt x="426" y="3048"/>
                  </a:lnTo>
                  <a:lnTo>
                    <a:pt x="450" y="3051"/>
                  </a:lnTo>
                  <a:lnTo>
                    <a:pt x="475" y="3053"/>
                  </a:lnTo>
                  <a:lnTo>
                    <a:pt x="501" y="3053"/>
                  </a:lnTo>
                  <a:lnTo>
                    <a:pt x="525" y="3053"/>
                  </a:lnTo>
                  <a:lnTo>
                    <a:pt x="548" y="3051"/>
                  </a:lnTo>
                  <a:lnTo>
                    <a:pt x="572" y="3048"/>
                  </a:lnTo>
                  <a:lnTo>
                    <a:pt x="595" y="3044"/>
                  </a:lnTo>
                  <a:lnTo>
                    <a:pt x="619" y="3039"/>
                  </a:lnTo>
                  <a:lnTo>
                    <a:pt x="642" y="3033"/>
                  </a:lnTo>
                  <a:lnTo>
                    <a:pt x="666" y="3026"/>
                  </a:lnTo>
                  <a:lnTo>
                    <a:pt x="688" y="3018"/>
                  </a:lnTo>
                  <a:lnTo>
                    <a:pt x="710" y="3009"/>
                  </a:lnTo>
                  <a:lnTo>
                    <a:pt x="732" y="2998"/>
                  </a:lnTo>
                  <a:lnTo>
                    <a:pt x="754" y="2987"/>
                  </a:lnTo>
                  <a:lnTo>
                    <a:pt x="775" y="2975"/>
                  </a:lnTo>
                  <a:lnTo>
                    <a:pt x="795" y="2961"/>
                  </a:lnTo>
                  <a:lnTo>
                    <a:pt x="814" y="2947"/>
                  </a:lnTo>
                  <a:lnTo>
                    <a:pt x="834" y="2931"/>
                  </a:lnTo>
                  <a:lnTo>
                    <a:pt x="853" y="2914"/>
                  </a:lnTo>
                  <a:lnTo>
                    <a:pt x="1782" y="1795"/>
                  </a:lnTo>
                  <a:lnTo>
                    <a:pt x="3001" y="276"/>
                  </a:lnTo>
                  <a:lnTo>
                    <a:pt x="3010" y="263"/>
                  </a:lnTo>
                  <a:lnTo>
                    <a:pt x="3018" y="250"/>
                  </a:lnTo>
                  <a:lnTo>
                    <a:pt x="3025" y="236"/>
                  </a:lnTo>
                  <a:lnTo>
                    <a:pt x="3030" y="221"/>
                  </a:lnTo>
                  <a:lnTo>
                    <a:pt x="3034" y="206"/>
                  </a:lnTo>
                  <a:lnTo>
                    <a:pt x="3036" y="191"/>
                  </a:lnTo>
                  <a:lnTo>
                    <a:pt x="3037" y="175"/>
                  </a:lnTo>
                  <a:lnTo>
                    <a:pt x="3037" y="160"/>
                  </a:lnTo>
                  <a:lnTo>
                    <a:pt x="3035" y="145"/>
                  </a:lnTo>
                  <a:lnTo>
                    <a:pt x="3033" y="130"/>
                  </a:lnTo>
                  <a:lnTo>
                    <a:pt x="3028" y="115"/>
                  </a:lnTo>
                  <a:lnTo>
                    <a:pt x="3023" y="101"/>
                  </a:lnTo>
                  <a:lnTo>
                    <a:pt x="3016" y="87"/>
                  </a:lnTo>
                  <a:lnTo>
                    <a:pt x="3008" y="74"/>
                  </a:lnTo>
                  <a:lnTo>
                    <a:pt x="2998" y="62"/>
                  </a:lnTo>
                  <a:lnTo>
                    <a:pt x="2988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05" name="îṧ1íḑê">
              <a:extLst>
                <a:ext uri="{FF2B5EF4-FFF2-40B4-BE49-F238E27FC236}">
                  <a16:creationId xmlns:a16="http://schemas.microsoft.com/office/drawing/2014/main" id="{02E22460-4B06-468C-A5A2-45FD86E9266D}"/>
                </a:ext>
              </a:extLst>
            </p:cNvPr>
            <p:cNvSpPr/>
            <p:nvPr/>
          </p:nvSpPr>
          <p:spPr bwMode="auto">
            <a:xfrm>
              <a:off x="2700980" y="667601"/>
              <a:ext cx="159468" cy="102588"/>
            </a:xfrm>
            <a:custGeom>
              <a:avLst/>
              <a:gdLst>
                <a:gd name="T0" fmla="*/ 4713 w 5797"/>
                <a:gd name="T1" fmla="*/ 41 h 3756"/>
                <a:gd name="T2" fmla="*/ 3661 w 5797"/>
                <a:gd name="T3" fmla="*/ 216 h 3756"/>
                <a:gd name="T4" fmla="*/ 2695 w 5797"/>
                <a:gd name="T5" fmla="*/ 516 h 3756"/>
                <a:gd name="T6" fmla="*/ 1839 w 5797"/>
                <a:gd name="T7" fmla="*/ 924 h 3756"/>
                <a:gd name="T8" fmla="*/ 1118 w 5797"/>
                <a:gd name="T9" fmla="*/ 1423 h 3756"/>
                <a:gd name="T10" fmla="*/ 556 w 5797"/>
                <a:gd name="T11" fmla="*/ 2001 h 3756"/>
                <a:gd name="T12" fmla="*/ 178 w 5797"/>
                <a:gd name="T13" fmla="*/ 2641 h 3756"/>
                <a:gd name="T14" fmla="*/ 7 w 5797"/>
                <a:gd name="T15" fmla="*/ 3329 h 3756"/>
                <a:gd name="T16" fmla="*/ 3 w 5797"/>
                <a:gd name="T17" fmla="*/ 3544 h 3756"/>
                <a:gd name="T18" fmla="*/ 15 w 5797"/>
                <a:gd name="T19" fmla="*/ 3592 h 3756"/>
                <a:gd name="T20" fmla="*/ 36 w 5797"/>
                <a:gd name="T21" fmla="*/ 3636 h 3756"/>
                <a:gd name="T22" fmla="*/ 65 w 5797"/>
                <a:gd name="T23" fmla="*/ 3674 h 3756"/>
                <a:gd name="T24" fmla="*/ 100 w 5797"/>
                <a:gd name="T25" fmla="*/ 3706 h 3756"/>
                <a:gd name="T26" fmla="*/ 143 w 5797"/>
                <a:gd name="T27" fmla="*/ 3731 h 3756"/>
                <a:gd name="T28" fmla="*/ 189 w 5797"/>
                <a:gd name="T29" fmla="*/ 3748 h 3756"/>
                <a:gd name="T30" fmla="*/ 239 w 5797"/>
                <a:gd name="T31" fmla="*/ 3756 h 3756"/>
                <a:gd name="T32" fmla="*/ 290 w 5797"/>
                <a:gd name="T33" fmla="*/ 3753 h 3756"/>
                <a:gd name="T34" fmla="*/ 338 w 5797"/>
                <a:gd name="T35" fmla="*/ 3741 h 3756"/>
                <a:gd name="T36" fmla="*/ 383 w 5797"/>
                <a:gd name="T37" fmla="*/ 3720 h 3756"/>
                <a:gd name="T38" fmla="*/ 421 w 5797"/>
                <a:gd name="T39" fmla="*/ 3691 h 3756"/>
                <a:gd name="T40" fmla="*/ 453 w 5797"/>
                <a:gd name="T41" fmla="*/ 3655 h 3756"/>
                <a:gd name="T42" fmla="*/ 479 w 5797"/>
                <a:gd name="T43" fmla="*/ 3614 h 3756"/>
                <a:gd name="T44" fmla="*/ 496 w 5797"/>
                <a:gd name="T45" fmla="*/ 3568 h 3756"/>
                <a:gd name="T46" fmla="*/ 504 w 5797"/>
                <a:gd name="T47" fmla="*/ 3519 h 3756"/>
                <a:gd name="T48" fmla="*/ 564 w 5797"/>
                <a:gd name="T49" fmla="*/ 3062 h 3756"/>
                <a:gd name="T50" fmla="*/ 820 w 5797"/>
                <a:gd name="T51" fmla="*/ 2496 h 3756"/>
                <a:gd name="T52" fmla="*/ 1257 w 5797"/>
                <a:gd name="T53" fmla="*/ 1973 h 3756"/>
                <a:gd name="T54" fmla="*/ 1848 w 5797"/>
                <a:gd name="T55" fmla="*/ 1509 h 3756"/>
                <a:gd name="T56" fmla="*/ 2572 w 5797"/>
                <a:gd name="T57" fmla="*/ 1115 h 3756"/>
                <a:gd name="T58" fmla="*/ 3402 w 5797"/>
                <a:gd name="T59" fmla="*/ 807 h 3756"/>
                <a:gd name="T60" fmla="*/ 4318 w 5797"/>
                <a:gd name="T61" fmla="*/ 599 h 3756"/>
                <a:gd name="T62" fmla="*/ 5294 w 5797"/>
                <a:gd name="T63" fmla="*/ 505 h 3756"/>
                <a:gd name="T64" fmla="*/ 5583 w 5797"/>
                <a:gd name="T65" fmla="*/ 498 h 3756"/>
                <a:gd name="T66" fmla="*/ 5632 w 5797"/>
                <a:gd name="T67" fmla="*/ 486 h 3756"/>
                <a:gd name="T68" fmla="*/ 5676 w 5797"/>
                <a:gd name="T69" fmla="*/ 465 h 3756"/>
                <a:gd name="T70" fmla="*/ 5714 w 5797"/>
                <a:gd name="T71" fmla="*/ 436 h 3756"/>
                <a:gd name="T72" fmla="*/ 5747 w 5797"/>
                <a:gd name="T73" fmla="*/ 401 h 3756"/>
                <a:gd name="T74" fmla="*/ 5772 w 5797"/>
                <a:gd name="T75" fmla="*/ 359 h 3756"/>
                <a:gd name="T76" fmla="*/ 5789 w 5797"/>
                <a:gd name="T77" fmla="*/ 313 h 3756"/>
                <a:gd name="T78" fmla="*/ 5797 w 5797"/>
                <a:gd name="T79" fmla="*/ 264 h 3756"/>
                <a:gd name="T80" fmla="*/ 5794 w 5797"/>
                <a:gd name="T81" fmla="*/ 212 h 3756"/>
                <a:gd name="T82" fmla="*/ 5782 w 5797"/>
                <a:gd name="T83" fmla="*/ 164 h 3756"/>
                <a:gd name="T84" fmla="*/ 5761 w 5797"/>
                <a:gd name="T85" fmla="*/ 120 h 3756"/>
                <a:gd name="T86" fmla="*/ 5732 w 5797"/>
                <a:gd name="T87" fmla="*/ 82 h 3756"/>
                <a:gd name="T88" fmla="*/ 5696 w 5797"/>
                <a:gd name="T89" fmla="*/ 50 h 3756"/>
                <a:gd name="T90" fmla="*/ 5654 w 5797"/>
                <a:gd name="T91" fmla="*/ 25 h 3756"/>
                <a:gd name="T92" fmla="*/ 5609 w 5797"/>
                <a:gd name="T93" fmla="*/ 8 h 3756"/>
                <a:gd name="T94" fmla="*/ 5558 w 5797"/>
                <a:gd name="T95" fmla="*/ 0 h 3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797" h="3756">
                  <a:moveTo>
                    <a:pt x="5545" y="0"/>
                  </a:moveTo>
                  <a:lnTo>
                    <a:pt x="5265" y="5"/>
                  </a:lnTo>
                  <a:lnTo>
                    <a:pt x="4987" y="18"/>
                  </a:lnTo>
                  <a:lnTo>
                    <a:pt x="4713" y="41"/>
                  </a:lnTo>
                  <a:lnTo>
                    <a:pt x="4444" y="73"/>
                  </a:lnTo>
                  <a:lnTo>
                    <a:pt x="4178" y="112"/>
                  </a:lnTo>
                  <a:lnTo>
                    <a:pt x="3917" y="160"/>
                  </a:lnTo>
                  <a:lnTo>
                    <a:pt x="3661" y="216"/>
                  </a:lnTo>
                  <a:lnTo>
                    <a:pt x="3411" y="281"/>
                  </a:lnTo>
                  <a:lnTo>
                    <a:pt x="3166" y="352"/>
                  </a:lnTo>
                  <a:lnTo>
                    <a:pt x="2927" y="431"/>
                  </a:lnTo>
                  <a:lnTo>
                    <a:pt x="2695" y="516"/>
                  </a:lnTo>
                  <a:lnTo>
                    <a:pt x="2470" y="608"/>
                  </a:lnTo>
                  <a:lnTo>
                    <a:pt x="2251" y="707"/>
                  </a:lnTo>
                  <a:lnTo>
                    <a:pt x="2041" y="812"/>
                  </a:lnTo>
                  <a:lnTo>
                    <a:pt x="1839" y="924"/>
                  </a:lnTo>
                  <a:lnTo>
                    <a:pt x="1645" y="1041"/>
                  </a:lnTo>
                  <a:lnTo>
                    <a:pt x="1460" y="1163"/>
                  </a:lnTo>
                  <a:lnTo>
                    <a:pt x="1284" y="1291"/>
                  </a:lnTo>
                  <a:lnTo>
                    <a:pt x="1118" y="1423"/>
                  </a:lnTo>
                  <a:lnTo>
                    <a:pt x="961" y="1562"/>
                  </a:lnTo>
                  <a:lnTo>
                    <a:pt x="815" y="1704"/>
                  </a:lnTo>
                  <a:lnTo>
                    <a:pt x="680" y="1851"/>
                  </a:lnTo>
                  <a:lnTo>
                    <a:pt x="556" y="2001"/>
                  </a:lnTo>
                  <a:lnTo>
                    <a:pt x="443" y="2157"/>
                  </a:lnTo>
                  <a:lnTo>
                    <a:pt x="342" y="2315"/>
                  </a:lnTo>
                  <a:lnTo>
                    <a:pt x="254" y="2477"/>
                  </a:lnTo>
                  <a:lnTo>
                    <a:pt x="178" y="2641"/>
                  </a:lnTo>
                  <a:lnTo>
                    <a:pt x="115" y="2810"/>
                  </a:lnTo>
                  <a:lnTo>
                    <a:pt x="65" y="2980"/>
                  </a:lnTo>
                  <a:lnTo>
                    <a:pt x="29" y="3153"/>
                  </a:lnTo>
                  <a:lnTo>
                    <a:pt x="7" y="3329"/>
                  </a:lnTo>
                  <a:lnTo>
                    <a:pt x="0" y="3506"/>
                  </a:lnTo>
                  <a:lnTo>
                    <a:pt x="0" y="3519"/>
                  </a:lnTo>
                  <a:lnTo>
                    <a:pt x="1" y="3531"/>
                  </a:lnTo>
                  <a:lnTo>
                    <a:pt x="3" y="3544"/>
                  </a:lnTo>
                  <a:lnTo>
                    <a:pt x="5" y="3556"/>
                  </a:lnTo>
                  <a:lnTo>
                    <a:pt x="8" y="3568"/>
                  </a:lnTo>
                  <a:lnTo>
                    <a:pt x="11" y="3580"/>
                  </a:lnTo>
                  <a:lnTo>
                    <a:pt x="15" y="3592"/>
                  </a:lnTo>
                  <a:lnTo>
                    <a:pt x="20" y="3603"/>
                  </a:lnTo>
                  <a:lnTo>
                    <a:pt x="25" y="3614"/>
                  </a:lnTo>
                  <a:lnTo>
                    <a:pt x="30" y="3625"/>
                  </a:lnTo>
                  <a:lnTo>
                    <a:pt x="36" y="3636"/>
                  </a:lnTo>
                  <a:lnTo>
                    <a:pt x="43" y="3646"/>
                  </a:lnTo>
                  <a:lnTo>
                    <a:pt x="50" y="3655"/>
                  </a:lnTo>
                  <a:lnTo>
                    <a:pt x="57" y="3665"/>
                  </a:lnTo>
                  <a:lnTo>
                    <a:pt x="65" y="3674"/>
                  </a:lnTo>
                  <a:lnTo>
                    <a:pt x="73" y="3683"/>
                  </a:lnTo>
                  <a:lnTo>
                    <a:pt x="82" y="3691"/>
                  </a:lnTo>
                  <a:lnTo>
                    <a:pt x="91" y="3699"/>
                  </a:lnTo>
                  <a:lnTo>
                    <a:pt x="100" y="3706"/>
                  </a:lnTo>
                  <a:lnTo>
                    <a:pt x="111" y="3713"/>
                  </a:lnTo>
                  <a:lnTo>
                    <a:pt x="121" y="3720"/>
                  </a:lnTo>
                  <a:lnTo>
                    <a:pt x="132" y="3726"/>
                  </a:lnTo>
                  <a:lnTo>
                    <a:pt x="143" y="3731"/>
                  </a:lnTo>
                  <a:lnTo>
                    <a:pt x="154" y="3736"/>
                  </a:lnTo>
                  <a:lnTo>
                    <a:pt x="165" y="3741"/>
                  </a:lnTo>
                  <a:lnTo>
                    <a:pt x="177" y="3745"/>
                  </a:lnTo>
                  <a:lnTo>
                    <a:pt x="189" y="3748"/>
                  </a:lnTo>
                  <a:lnTo>
                    <a:pt x="201" y="3751"/>
                  </a:lnTo>
                  <a:lnTo>
                    <a:pt x="213" y="3753"/>
                  </a:lnTo>
                  <a:lnTo>
                    <a:pt x="226" y="3755"/>
                  </a:lnTo>
                  <a:lnTo>
                    <a:pt x="239" y="3756"/>
                  </a:lnTo>
                  <a:lnTo>
                    <a:pt x="252" y="3756"/>
                  </a:lnTo>
                  <a:lnTo>
                    <a:pt x="265" y="3756"/>
                  </a:lnTo>
                  <a:lnTo>
                    <a:pt x="278" y="3755"/>
                  </a:lnTo>
                  <a:lnTo>
                    <a:pt x="290" y="3753"/>
                  </a:lnTo>
                  <a:lnTo>
                    <a:pt x="302" y="3751"/>
                  </a:lnTo>
                  <a:lnTo>
                    <a:pt x="315" y="3748"/>
                  </a:lnTo>
                  <a:lnTo>
                    <a:pt x="326" y="3745"/>
                  </a:lnTo>
                  <a:lnTo>
                    <a:pt x="338" y="3741"/>
                  </a:lnTo>
                  <a:lnTo>
                    <a:pt x="349" y="3736"/>
                  </a:lnTo>
                  <a:lnTo>
                    <a:pt x="361" y="3731"/>
                  </a:lnTo>
                  <a:lnTo>
                    <a:pt x="372" y="3726"/>
                  </a:lnTo>
                  <a:lnTo>
                    <a:pt x="383" y="3720"/>
                  </a:lnTo>
                  <a:lnTo>
                    <a:pt x="393" y="3713"/>
                  </a:lnTo>
                  <a:lnTo>
                    <a:pt x="403" y="3706"/>
                  </a:lnTo>
                  <a:lnTo>
                    <a:pt x="412" y="3699"/>
                  </a:lnTo>
                  <a:lnTo>
                    <a:pt x="421" y="3691"/>
                  </a:lnTo>
                  <a:lnTo>
                    <a:pt x="430" y="3683"/>
                  </a:lnTo>
                  <a:lnTo>
                    <a:pt x="438" y="3674"/>
                  </a:lnTo>
                  <a:lnTo>
                    <a:pt x="446" y="3665"/>
                  </a:lnTo>
                  <a:lnTo>
                    <a:pt x="453" y="3655"/>
                  </a:lnTo>
                  <a:lnTo>
                    <a:pt x="460" y="3646"/>
                  </a:lnTo>
                  <a:lnTo>
                    <a:pt x="467" y="3636"/>
                  </a:lnTo>
                  <a:lnTo>
                    <a:pt x="474" y="3625"/>
                  </a:lnTo>
                  <a:lnTo>
                    <a:pt x="479" y="3614"/>
                  </a:lnTo>
                  <a:lnTo>
                    <a:pt x="484" y="3603"/>
                  </a:lnTo>
                  <a:lnTo>
                    <a:pt x="489" y="3592"/>
                  </a:lnTo>
                  <a:lnTo>
                    <a:pt x="493" y="3580"/>
                  </a:lnTo>
                  <a:lnTo>
                    <a:pt x="496" y="3568"/>
                  </a:lnTo>
                  <a:lnTo>
                    <a:pt x="499" y="3556"/>
                  </a:lnTo>
                  <a:lnTo>
                    <a:pt x="501" y="3544"/>
                  </a:lnTo>
                  <a:lnTo>
                    <a:pt x="503" y="3531"/>
                  </a:lnTo>
                  <a:lnTo>
                    <a:pt x="504" y="3519"/>
                  </a:lnTo>
                  <a:lnTo>
                    <a:pt x="504" y="3506"/>
                  </a:lnTo>
                  <a:lnTo>
                    <a:pt x="511" y="3357"/>
                  </a:lnTo>
                  <a:lnTo>
                    <a:pt x="531" y="3208"/>
                  </a:lnTo>
                  <a:lnTo>
                    <a:pt x="564" y="3062"/>
                  </a:lnTo>
                  <a:lnTo>
                    <a:pt x="611" y="2917"/>
                  </a:lnTo>
                  <a:lnTo>
                    <a:pt x="669" y="2775"/>
                  </a:lnTo>
                  <a:lnTo>
                    <a:pt x="739" y="2634"/>
                  </a:lnTo>
                  <a:lnTo>
                    <a:pt x="820" y="2496"/>
                  </a:lnTo>
                  <a:lnTo>
                    <a:pt x="914" y="2361"/>
                  </a:lnTo>
                  <a:lnTo>
                    <a:pt x="1018" y="2229"/>
                  </a:lnTo>
                  <a:lnTo>
                    <a:pt x="1132" y="2100"/>
                  </a:lnTo>
                  <a:lnTo>
                    <a:pt x="1257" y="1973"/>
                  </a:lnTo>
                  <a:lnTo>
                    <a:pt x="1391" y="1851"/>
                  </a:lnTo>
                  <a:lnTo>
                    <a:pt x="1534" y="1733"/>
                  </a:lnTo>
                  <a:lnTo>
                    <a:pt x="1686" y="1619"/>
                  </a:lnTo>
                  <a:lnTo>
                    <a:pt x="1848" y="1509"/>
                  </a:lnTo>
                  <a:lnTo>
                    <a:pt x="2017" y="1403"/>
                  </a:lnTo>
                  <a:lnTo>
                    <a:pt x="2195" y="1302"/>
                  </a:lnTo>
                  <a:lnTo>
                    <a:pt x="2379" y="1206"/>
                  </a:lnTo>
                  <a:lnTo>
                    <a:pt x="2572" y="1115"/>
                  </a:lnTo>
                  <a:lnTo>
                    <a:pt x="2769" y="1030"/>
                  </a:lnTo>
                  <a:lnTo>
                    <a:pt x="2975" y="950"/>
                  </a:lnTo>
                  <a:lnTo>
                    <a:pt x="3186" y="876"/>
                  </a:lnTo>
                  <a:lnTo>
                    <a:pt x="3402" y="807"/>
                  </a:lnTo>
                  <a:lnTo>
                    <a:pt x="3624" y="745"/>
                  </a:lnTo>
                  <a:lnTo>
                    <a:pt x="3851" y="690"/>
                  </a:lnTo>
                  <a:lnTo>
                    <a:pt x="4083" y="641"/>
                  </a:lnTo>
                  <a:lnTo>
                    <a:pt x="4318" y="599"/>
                  </a:lnTo>
                  <a:lnTo>
                    <a:pt x="4557" y="564"/>
                  </a:lnTo>
                  <a:lnTo>
                    <a:pt x="4800" y="537"/>
                  </a:lnTo>
                  <a:lnTo>
                    <a:pt x="5046" y="517"/>
                  </a:lnTo>
                  <a:lnTo>
                    <a:pt x="5294" y="505"/>
                  </a:lnTo>
                  <a:lnTo>
                    <a:pt x="5545" y="501"/>
                  </a:lnTo>
                  <a:lnTo>
                    <a:pt x="5558" y="501"/>
                  </a:lnTo>
                  <a:lnTo>
                    <a:pt x="5571" y="500"/>
                  </a:lnTo>
                  <a:lnTo>
                    <a:pt x="5583" y="498"/>
                  </a:lnTo>
                  <a:lnTo>
                    <a:pt x="5595" y="496"/>
                  </a:lnTo>
                  <a:lnTo>
                    <a:pt x="5609" y="493"/>
                  </a:lnTo>
                  <a:lnTo>
                    <a:pt x="5620" y="490"/>
                  </a:lnTo>
                  <a:lnTo>
                    <a:pt x="5632" y="486"/>
                  </a:lnTo>
                  <a:lnTo>
                    <a:pt x="5643" y="481"/>
                  </a:lnTo>
                  <a:lnTo>
                    <a:pt x="5654" y="476"/>
                  </a:lnTo>
                  <a:lnTo>
                    <a:pt x="5665" y="471"/>
                  </a:lnTo>
                  <a:lnTo>
                    <a:pt x="5676" y="465"/>
                  </a:lnTo>
                  <a:lnTo>
                    <a:pt x="5686" y="458"/>
                  </a:lnTo>
                  <a:lnTo>
                    <a:pt x="5696" y="451"/>
                  </a:lnTo>
                  <a:lnTo>
                    <a:pt x="5705" y="444"/>
                  </a:lnTo>
                  <a:lnTo>
                    <a:pt x="5714" y="436"/>
                  </a:lnTo>
                  <a:lnTo>
                    <a:pt x="5723" y="428"/>
                  </a:lnTo>
                  <a:lnTo>
                    <a:pt x="5732" y="419"/>
                  </a:lnTo>
                  <a:lnTo>
                    <a:pt x="5740" y="410"/>
                  </a:lnTo>
                  <a:lnTo>
                    <a:pt x="5747" y="401"/>
                  </a:lnTo>
                  <a:lnTo>
                    <a:pt x="5754" y="391"/>
                  </a:lnTo>
                  <a:lnTo>
                    <a:pt x="5761" y="381"/>
                  </a:lnTo>
                  <a:lnTo>
                    <a:pt x="5767" y="370"/>
                  </a:lnTo>
                  <a:lnTo>
                    <a:pt x="5772" y="359"/>
                  </a:lnTo>
                  <a:lnTo>
                    <a:pt x="5777" y="348"/>
                  </a:lnTo>
                  <a:lnTo>
                    <a:pt x="5782" y="337"/>
                  </a:lnTo>
                  <a:lnTo>
                    <a:pt x="5786" y="325"/>
                  </a:lnTo>
                  <a:lnTo>
                    <a:pt x="5789" y="313"/>
                  </a:lnTo>
                  <a:lnTo>
                    <a:pt x="5792" y="301"/>
                  </a:lnTo>
                  <a:lnTo>
                    <a:pt x="5794" y="289"/>
                  </a:lnTo>
                  <a:lnTo>
                    <a:pt x="5796" y="277"/>
                  </a:lnTo>
                  <a:lnTo>
                    <a:pt x="5797" y="264"/>
                  </a:lnTo>
                  <a:lnTo>
                    <a:pt x="5797" y="251"/>
                  </a:lnTo>
                  <a:lnTo>
                    <a:pt x="5797" y="237"/>
                  </a:lnTo>
                  <a:lnTo>
                    <a:pt x="5796" y="225"/>
                  </a:lnTo>
                  <a:lnTo>
                    <a:pt x="5794" y="212"/>
                  </a:lnTo>
                  <a:lnTo>
                    <a:pt x="5792" y="200"/>
                  </a:lnTo>
                  <a:lnTo>
                    <a:pt x="5789" y="188"/>
                  </a:lnTo>
                  <a:lnTo>
                    <a:pt x="5786" y="176"/>
                  </a:lnTo>
                  <a:lnTo>
                    <a:pt x="5782" y="164"/>
                  </a:lnTo>
                  <a:lnTo>
                    <a:pt x="5777" y="153"/>
                  </a:lnTo>
                  <a:lnTo>
                    <a:pt x="5772" y="142"/>
                  </a:lnTo>
                  <a:lnTo>
                    <a:pt x="5767" y="131"/>
                  </a:lnTo>
                  <a:lnTo>
                    <a:pt x="5761" y="120"/>
                  </a:lnTo>
                  <a:lnTo>
                    <a:pt x="5754" y="110"/>
                  </a:lnTo>
                  <a:lnTo>
                    <a:pt x="5747" y="100"/>
                  </a:lnTo>
                  <a:lnTo>
                    <a:pt x="5740" y="91"/>
                  </a:lnTo>
                  <a:lnTo>
                    <a:pt x="5732" y="82"/>
                  </a:lnTo>
                  <a:lnTo>
                    <a:pt x="5723" y="73"/>
                  </a:lnTo>
                  <a:lnTo>
                    <a:pt x="5714" y="65"/>
                  </a:lnTo>
                  <a:lnTo>
                    <a:pt x="5705" y="57"/>
                  </a:lnTo>
                  <a:lnTo>
                    <a:pt x="5696" y="50"/>
                  </a:lnTo>
                  <a:lnTo>
                    <a:pt x="5686" y="43"/>
                  </a:lnTo>
                  <a:lnTo>
                    <a:pt x="5676" y="36"/>
                  </a:lnTo>
                  <a:lnTo>
                    <a:pt x="5665" y="30"/>
                  </a:lnTo>
                  <a:lnTo>
                    <a:pt x="5654" y="25"/>
                  </a:lnTo>
                  <a:lnTo>
                    <a:pt x="5643" y="20"/>
                  </a:lnTo>
                  <a:lnTo>
                    <a:pt x="5632" y="15"/>
                  </a:lnTo>
                  <a:lnTo>
                    <a:pt x="5620" y="11"/>
                  </a:lnTo>
                  <a:lnTo>
                    <a:pt x="5609" y="8"/>
                  </a:lnTo>
                  <a:lnTo>
                    <a:pt x="5595" y="5"/>
                  </a:lnTo>
                  <a:lnTo>
                    <a:pt x="5583" y="3"/>
                  </a:lnTo>
                  <a:lnTo>
                    <a:pt x="5571" y="1"/>
                  </a:lnTo>
                  <a:lnTo>
                    <a:pt x="5558" y="0"/>
                  </a:lnTo>
                  <a:lnTo>
                    <a:pt x="55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06" name="íŝliḍe">
              <a:extLst>
                <a:ext uri="{FF2B5EF4-FFF2-40B4-BE49-F238E27FC236}">
                  <a16:creationId xmlns:a16="http://schemas.microsoft.com/office/drawing/2014/main" id="{205BFE15-2D9F-4101-A522-65210C88DE4E}"/>
                </a:ext>
              </a:extLst>
            </p:cNvPr>
            <p:cNvSpPr/>
            <p:nvPr/>
          </p:nvSpPr>
          <p:spPr bwMode="auto">
            <a:xfrm>
              <a:off x="2631911" y="598532"/>
              <a:ext cx="442853" cy="384957"/>
            </a:xfrm>
            <a:custGeom>
              <a:avLst/>
              <a:gdLst>
                <a:gd name="T0" fmla="*/ 7365 w 16132"/>
                <a:gd name="T1" fmla="*/ 10992 h 14023"/>
                <a:gd name="T2" fmla="*/ 6620 w 16132"/>
                <a:gd name="T3" fmla="*/ 10910 h 14023"/>
                <a:gd name="T4" fmla="*/ 6344 w 16132"/>
                <a:gd name="T5" fmla="*/ 10917 h 14023"/>
                <a:gd name="T6" fmla="*/ 6106 w 16132"/>
                <a:gd name="T7" fmla="*/ 10988 h 14023"/>
                <a:gd name="T8" fmla="*/ 5892 w 16132"/>
                <a:gd name="T9" fmla="*/ 11114 h 14023"/>
                <a:gd name="T10" fmla="*/ 5710 w 16132"/>
                <a:gd name="T11" fmla="*/ 11296 h 14023"/>
                <a:gd name="T12" fmla="*/ 5336 w 16132"/>
                <a:gd name="T13" fmla="*/ 11674 h 14023"/>
                <a:gd name="T14" fmla="*/ 4873 w 16132"/>
                <a:gd name="T15" fmla="*/ 12065 h 14023"/>
                <a:gd name="T16" fmla="*/ 4310 w 16132"/>
                <a:gd name="T17" fmla="*/ 12459 h 14023"/>
                <a:gd name="T18" fmla="*/ 4388 w 16132"/>
                <a:gd name="T19" fmla="*/ 11971 h 14023"/>
                <a:gd name="T20" fmla="*/ 4488 w 16132"/>
                <a:gd name="T21" fmla="*/ 11553 h 14023"/>
                <a:gd name="T22" fmla="*/ 4535 w 16132"/>
                <a:gd name="T23" fmla="*/ 11121 h 14023"/>
                <a:gd name="T24" fmla="*/ 4531 w 16132"/>
                <a:gd name="T25" fmla="*/ 10842 h 14023"/>
                <a:gd name="T26" fmla="*/ 4442 w 16132"/>
                <a:gd name="T27" fmla="*/ 10547 h 14023"/>
                <a:gd name="T28" fmla="*/ 4269 w 16132"/>
                <a:gd name="T29" fmla="*/ 10296 h 14023"/>
                <a:gd name="T30" fmla="*/ 4023 w 16132"/>
                <a:gd name="T31" fmla="*/ 10106 h 14023"/>
                <a:gd name="T32" fmla="*/ 2737 w 16132"/>
                <a:gd name="T33" fmla="*/ 9277 h 14023"/>
                <a:gd name="T34" fmla="*/ 1706 w 16132"/>
                <a:gd name="T35" fmla="*/ 8163 h 14023"/>
                <a:gd name="T36" fmla="*/ 1123 w 16132"/>
                <a:gd name="T37" fmla="*/ 6901 h 14023"/>
                <a:gd name="T38" fmla="*/ 1090 w 16132"/>
                <a:gd name="T39" fmla="*/ 5248 h 14023"/>
                <a:gd name="T40" fmla="*/ 2215 w 16132"/>
                <a:gd name="T41" fmla="*/ 3211 h 14023"/>
                <a:gd name="T42" fmla="*/ 4409 w 16132"/>
                <a:gd name="T43" fmla="*/ 1728 h 14023"/>
                <a:gd name="T44" fmla="*/ 7345 w 16132"/>
                <a:gd name="T45" fmla="*/ 1028 h 14023"/>
                <a:gd name="T46" fmla="*/ 10490 w 16132"/>
                <a:gd name="T47" fmla="*/ 1306 h 14023"/>
                <a:gd name="T48" fmla="*/ 13054 w 16132"/>
                <a:gd name="T49" fmla="*/ 2470 h 14023"/>
                <a:gd name="T50" fmla="*/ 14695 w 16132"/>
                <a:gd name="T51" fmla="*/ 4290 h 14023"/>
                <a:gd name="T52" fmla="*/ 15087 w 16132"/>
                <a:gd name="T53" fmla="*/ 6521 h 14023"/>
                <a:gd name="T54" fmla="*/ 14100 w 16132"/>
                <a:gd name="T55" fmla="*/ 8605 h 14023"/>
                <a:gd name="T56" fmla="*/ 12009 w 16132"/>
                <a:gd name="T57" fmla="*/ 10162 h 14023"/>
                <a:gd name="T58" fmla="*/ 9140 w 16132"/>
                <a:gd name="T59" fmla="*/ 10960 h 14023"/>
                <a:gd name="T60" fmla="*/ 6051 w 16132"/>
                <a:gd name="T61" fmla="*/ 189 h 14023"/>
                <a:gd name="T62" fmla="*/ 2935 w 16132"/>
                <a:gd name="T63" fmla="*/ 1372 h 14023"/>
                <a:gd name="T64" fmla="*/ 796 w 16132"/>
                <a:gd name="T65" fmla="*/ 3405 h 14023"/>
                <a:gd name="T66" fmla="*/ 0 w 16132"/>
                <a:gd name="T67" fmla="*/ 6010 h 14023"/>
                <a:gd name="T68" fmla="*/ 318 w 16132"/>
                <a:gd name="T69" fmla="*/ 7685 h 14023"/>
                <a:gd name="T70" fmla="*/ 1211 w 16132"/>
                <a:gd name="T71" fmla="*/ 9177 h 14023"/>
                <a:gd name="T72" fmla="*/ 2590 w 16132"/>
                <a:gd name="T73" fmla="*/ 10421 h 14023"/>
                <a:gd name="T74" fmla="*/ 3529 w 16132"/>
                <a:gd name="T75" fmla="*/ 11018 h 14023"/>
                <a:gd name="T76" fmla="*/ 3392 w 16132"/>
                <a:gd name="T77" fmla="*/ 11780 h 14023"/>
                <a:gd name="T78" fmla="*/ 3075 w 16132"/>
                <a:gd name="T79" fmla="*/ 12505 h 14023"/>
                <a:gd name="T80" fmla="*/ 2616 w 16132"/>
                <a:gd name="T81" fmla="*/ 13290 h 14023"/>
                <a:gd name="T82" fmla="*/ 2522 w 16132"/>
                <a:gd name="T83" fmla="*/ 13545 h 14023"/>
                <a:gd name="T84" fmla="*/ 2556 w 16132"/>
                <a:gd name="T85" fmla="*/ 13746 h 14023"/>
                <a:gd name="T86" fmla="*/ 2670 w 16132"/>
                <a:gd name="T87" fmla="*/ 13905 h 14023"/>
                <a:gd name="T88" fmla="*/ 2841 w 16132"/>
                <a:gd name="T89" fmla="*/ 14003 h 14023"/>
                <a:gd name="T90" fmla="*/ 3078 w 16132"/>
                <a:gd name="T91" fmla="*/ 14016 h 14023"/>
                <a:gd name="T92" fmla="*/ 3690 w 16132"/>
                <a:gd name="T93" fmla="*/ 13870 h 14023"/>
                <a:gd name="T94" fmla="*/ 4910 w 16132"/>
                <a:gd name="T95" fmla="*/ 13267 h 14023"/>
                <a:gd name="T96" fmla="*/ 5885 w 16132"/>
                <a:gd name="T97" fmla="*/ 12528 h 14023"/>
                <a:gd name="T98" fmla="*/ 6475 w 16132"/>
                <a:gd name="T99" fmla="*/ 11947 h 14023"/>
                <a:gd name="T100" fmla="*/ 7278 w 16132"/>
                <a:gd name="T101" fmla="*/ 11990 h 14023"/>
                <a:gd name="T102" fmla="*/ 8481 w 16132"/>
                <a:gd name="T103" fmla="*/ 12012 h 14023"/>
                <a:gd name="T104" fmla="*/ 11910 w 16132"/>
                <a:gd name="T105" fmla="*/ 11295 h 14023"/>
                <a:gd name="T106" fmla="*/ 14530 w 16132"/>
                <a:gd name="T107" fmla="*/ 9606 h 14023"/>
                <a:gd name="T108" fmla="*/ 15968 w 16132"/>
                <a:gd name="T109" fmla="*/ 7221 h 14023"/>
                <a:gd name="T110" fmla="*/ 15878 w 16132"/>
                <a:gd name="T111" fmla="*/ 4508 h 14023"/>
                <a:gd name="T112" fmla="*/ 14290 w 16132"/>
                <a:gd name="T113" fmla="*/ 2188 h 14023"/>
                <a:gd name="T114" fmla="*/ 11563 w 16132"/>
                <a:gd name="T115" fmla="*/ 593 h 14023"/>
                <a:gd name="T116" fmla="*/ 8066 w 16132"/>
                <a:gd name="T117" fmla="*/ 0 h 14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132" h="14023">
                  <a:moveTo>
                    <a:pt x="8066" y="11018"/>
                  </a:moveTo>
                  <a:lnTo>
                    <a:pt x="7979" y="11018"/>
                  </a:lnTo>
                  <a:lnTo>
                    <a:pt x="7893" y="11016"/>
                  </a:lnTo>
                  <a:lnTo>
                    <a:pt x="7805" y="11014"/>
                  </a:lnTo>
                  <a:lnTo>
                    <a:pt x="7717" y="11012"/>
                  </a:lnTo>
                  <a:lnTo>
                    <a:pt x="7629" y="11008"/>
                  </a:lnTo>
                  <a:lnTo>
                    <a:pt x="7542" y="11003"/>
                  </a:lnTo>
                  <a:lnTo>
                    <a:pt x="7454" y="10998"/>
                  </a:lnTo>
                  <a:lnTo>
                    <a:pt x="7365" y="10992"/>
                  </a:lnTo>
                  <a:lnTo>
                    <a:pt x="7278" y="10985"/>
                  </a:lnTo>
                  <a:lnTo>
                    <a:pt x="7189" y="10978"/>
                  </a:lnTo>
                  <a:lnTo>
                    <a:pt x="7100" y="10969"/>
                  </a:lnTo>
                  <a:lnTo>
                    <a:pt x="7011" y="10960"/>
                  </a:lnTo>
                  <a:lnTo>
                    <a:pt x="6923" y="10950"/>
                  </a:lnTo>
                  <a:lnTo>
                    <a:pt x="6834" y="10939"/>
                  </a:lnTo>
                  <a:lnTo>
                    <a:pt x="6745" y="10927"/>
                  </a:lnTo>
                  <a:lnTo>
                    <a:pt x="6656" y="10914"/>
                  </a:lnTo>
                  <a:lnTo>
                    <a:pt x="6620" y="10910"/>
                  </a:lnTo>
                  <a:lnTo>
                    <a:pt x="6583" y="10906"/>
                  </a:lnTo>
                  <a:lnTo>
                    <a:pt x="6547" y="10904"/>
                  </a:lnTo>
                  <a:lnTo>
                    <a:pt x="6510" y="10903"/>
                  </a:lnTo>
                  <a:lnTo>
                    <a:pt x="6482" y="10904"/>
                  </a:lnTo>
                  <a:lnTo>
                    <a:pt x="6455" y="10905"/>
                  </a:lnTo>
                  <a:lnTo>
                    <a:pt x="6427" y="10907"/>
                  </a:lnTo>
                  <a:lnTo>
                    <a:pt x="6398" y="10910"/>
                  </a:lnTo>
                  <a:lnTo>
                    <a:pt x="6371" y="10913"/>
                  </a:lnTo>
                  <a:lnTo>
                    <a:pt x="6344" y="10917"/>
                  </a:lnTo>
                  <a:lnTo>
                    <a:pt x="6317" y="10922"/>
                  </a:lnTo>
                  <a:lnTo>
                    <a:pt x="6289" y="10928"/>
                  </a:lnTo>
                  <a:lnTo>
                    <a:pt x="6262" y="10934"/>
                  </a:lnTo>
                  <a:lnTo>
                    <a:pt x="6236" y="10941"/>
                  </a:lnTo>
                  <a:lnTo>
                    <a:pt x="6210" y="10949"/>
                  </a:lnTo>
                  <a:lnTo>
                    <a:pt x="6183" y="10958"/>
                  </a:lnTo>
                  <a:lnTo>
                    <a:pt x="6157" y="10967"/>
                  </a:lnTo>
                  <a:lnTo>
                    <a:pt x="6131" y="10977"/>
                  </a:lnTo>
                  <a:lnTo>
                    <a:pt x="6106" y="10988"/>
                  </a:lnTo>
                  <a:lnTo>
                    <a:pt x="6081" y="10999"/>
                  </a:lnTo>
                  <a:lnTo>
                    <a:pt x="6056" y="11011"/>
                  </a:lnTo>
                  <a:lnTo>
                    <a:pt x="6031" y="11024"/>
                  </a:lnTo>
                  <a:lnTo>
                    <a:pt x="6007" y="11037"/>
                  </a:lnTo>
                  <a:lnTo>
                    <a:pt x="5983" y="11051"/>
                  </a:lnTo>
                  <a:lnTo>
                    <a:pt x="5960" y="11066"/>
                  </a:lnTo>
                  <a:lnTo>
                    <a:pt x="5937" y="11081"/>
                  </a:lnTo>
                  <a:lnTo>
                    <a:pt x="5914" y="11097"/>
                  </a:lnTo>
                  <a:lnTo>
                    <a:pt x="5892" y="11114"/>
                  </a:lnTo>
                  <a:lnTo>
                    <a:pt x="5870" y="11131"/>
                  </a:lnTo>
                  <a:lnTo>
                    <a:pt x="5849" y="11149"/>
                  </a:lnTo>
                  <a:lnTo>
                    <a:pt x="5828" y="11167"/>
                  </a:lnTo>
                  <a:lnTo>
                    <a:pt x="5808" y="11187"/>
                  </a:lnTo>
                  <a:lnTo>
                    <a:pt x="5787" y="11206"/>
                  </a:lnTo>
                  <a:lnTo>
                    <a:pt x="5768" y="11227"/>
                  </a:lnTo>
                  <a:lnTo>
                    <a:pt x="5749" y="11248"/>
                  </a:lnTo>
                  <a:lnTo>
                    <a:pt x="5731" y="11269"/>
                  </a:lnTo>
                  <a:lnTo>
                    <a:pt x="5710" y="11296"/>
                  </a:lnTo>
                  <a:lnTo>
                    <a:pt x="5686" y="11323"/>
                  </a:lnTo>
                  <a:lnTo>
                    <a:pt x="5660" y="11352"/>
                  </a:lnTo>
                  <a:lnTo>
                    <a:pt x="5632" y="11382"/>
                  </a:lnTo>
                  <a:lnTo>
                    <a:pt x="5570" y="11448"/>
                  </a:lnTo>
                  <a:lnTo>
                    <a:pt x="5499" y="11518"/>
                  </a:lnTo>
                  <a:lnTo>
                    <a:pt x="5461" y="11556"/>
                  </a:lnTo>
                  <a:lnTo>
                    <a:pt x="5420" y="11594"/>
                  </a:lnTo>
                  <a:lnTo>
                    <a:pt x="5379" y="11633"/>
                  </a:lnTo>
                  <a:lnTo>
                    <a:pt x="5336" y="11674"/>
                  </a:lnTo>
                  <a:lnTo>
                    <a:pt x="5290" y="11715"/>
                  </a:lnTo>
                  <a:lnTo>
                    <a:pt x="5243" y="11757"/>
                  </a:lnTo>
                  <a:lnTo>
                    <a:pt x="5195" y="11799"/>
                  </a:lnTo>
                  <a:lnTo>
                    <a:pt x="5145" y="11842"/>
                  </a:lnTo>
                  <a:lnTo>
                    <a:pt x="5093" y="11886"/>
                  </a:lnTo>
                  <a:lnTo>
                    <a:pt x="5040" y="11931"/>
                  </a:lnTo>
                  <a:lnTo>
                    <a:pt x="4986" y="11975"/>
                  </a:lnTo>
                  <a:lnTo>
                    <a:pt x="4930" y="12020"/>
                  </a:lnTo>
                  <a:lnTo>
                    <a:pt x="4873" y="12065"/>
                  </a:lnTo>
                  <a:lnTo>
                    <a:pt x="4814" y="12109"/>
                  </a:lnTo>
                  <a:lnTo>
                    <a:pt x="4755" y="12154"/>
                  </a:lnTo>
                  <a:lnTo>
                    <a:pt x="4694" y="12199"/>
                  </a:lnTo>
                  <a:lnTo>
                    <a:pt x="4633" y="12243"/>
                  </a:lnTo>
                  <a:lnTo>
                    <a:pt x="4570" y="12287"/>
                  </a:lnTo>
                  <a:lnTo>
                    <a:pt x="4507" y="12331"/>
                  </a:lnTo>
                  <a:lnTo>
                    <a:pt x="4442" y="12374"/>
                  </a:lnTo>
                  <a:lnTo>
                    <a:pt x="4377" y="12417"/>
                  </a:lnTo>
                  <a:lnTo>
                    <a:pt x="4310" y="12459"/>
                  </a:lnTo>
                  <a:lnTo>
                    <a:pt x="4244" y="12501"/>
                  </a:lnTo>
                  <a:lnTo>
                    <a:pt x="4176" y="12542"/>
                  </a:lnTo>
                  <a:lnTo>
                    <a:pt x="4212" y="12456"/>
                  </a:lnTo>
                  <a:lnTo>
                    <a:pt x="4248" y="12371"/>
                  </a:lnTo>
                  <a:lnTo>
                    <a:pt x="4281" y="12284"/>
                  </a:lnTo>
                  <a:lnTo>
                    <a:pt x="4313" y="12196"/>
                  </a:lnTo>
                  <a:lnTo>
                    <a:pt x="4345" y="12107"/>
                  </a:lnTo>
                  <a:lnTo>
                    <a:pt x="4374" y="12017"/>
                  </a:lnTo>
                  <a:lnTo>
                    <a:pt x="4388" y="11971"/>
                  </a:lnTo>
                  <a:lnTo>
                    <a:pt x="4401" y="11926"/>
                  </a:lnTo>
                  <a:lnTo>
                    <a:pt x="4414" y="11879"/>
                  </a:lnTo>
                  <a:lnTo>
                    <a:pt x="4426" y="11833"/>
                  </a:lnTo>
                  <a:lnTo>
                    <a:pt x="4438" y="11787"/>
                  </a:lnTo>
                  <a:lnTo>
                    <a:pt x="4449" y="11740"/>
                  </a:lnTo>
                  <a:lnTo>
                    <a:pt x="4459" y="11694"/>
                  </a:lnTo>
                  <a:lnTo>
                    <a:pt x="4470" y="11647"/>
                  </a:lnTo>
                  <a:lnTo>
                    <a:pt x="4480" y="11600"/>
                  </a:lnTo>
                  <a:lnTo>
                    <a:pt x="4488" y="11553"/>
                  </a:lnTo>
                  <a:lnTo>
                    <a:pt x="4496" y="11506"/>
                  </a:lnTo>
                  <a:lnTo>
                    <a:pt x="4504" y="11458"/>
                  </a:lnTo>
                  <a:lnTo>
                    <a:pt x="4510" y="11411"/>
                  </a:lnTo>
                  <a:lnTo>
                    <a:pt x="4516" y="11363"/>
                  </a:lnTo>
                  <a:lnTo>
                    <a:pt x="4522" y="11315"/>
                  </a:lnTo>
                  <a:lnTo>
                    <a:pt x="4526" y="11266"/>
                  </a:lnTo>
                  <a:lnTo>
                    <a:pt x="4530" y="11218"/>
                  </a:lnTo>
                  <a:lnTo>
                    <a:pt x="4533" y="11170"/>
                  </a:lnTo>
                  <a:lnTo>
                    <a:pt x="4535" y="11121"/>
                  </a:lnTo>
                  <a:lnTo>
                    <a:pt x="4537" y="11073"/>
                  </a:lnTo>
                  <a:lnTo>
                    <a:pt x="4538" y="11049"/>
                  </a:lnTo>
                  <a:lnTo>
                    <a:pt x="4540" y="11025"/>
                  </a:lnTo>
                  <a:lnTo>
                    <a:pt x="4541" y="11002"/>
                  </a:lnTo>
                  <a:lnTo>
                    <a:pt x="4541" y="10981"/>
                  </a:lnTo>
                  <a:lnTo>
                    <a:pt x="4540" y="10946"/>
                  </a:lnTo>
                  <a:lnTo>
                    <a:pt x="4539" y="10911"/>
                  </a:lnTo>
                  <a:lnTo>
                    <a:pt x="4536" y="10876"/>
                  </a:lnTo>
                  <a:lnTo>
                    <a:pt x="4531" y="10842"/>
                  </a:lnTo>
                  <a:lnTo>
                    <a:pt x="4526" y="10808"/>
                  </a:lnTo>
                  <a:lnTo>
                    <a:pt x="4519" y="10774"/>
                  </a:lnTo>
                  <a:lnTo>
                    <a:pt x="4512" y="10741"/>
                  </a:lnTo>
                  <a:lnTo>
                    <a:pt x="4503" y="10707"/>
                  </a:lnTo>
                  <a:lnTo>
                    <a:pt x="4493" y="10675"/>
                  </a:lnTo>
                  <a:lnTo>
                    <a:pt x="4482" y="10641"/>
                  </a:lnTo>
                  <a:lnTo>
                    <a:pt x="4470" y="10610"/>
                  </a:lnTo>
                  <a:lnTo>
                    <a:pt x="4456" y="10578"/>
                  </a:lnTo>
                  <a:lnTo>
                    <a:pt x="4442" y="10547"/>
                  </a:lnTo>
                  <a:lnTo>
                    <a:pt x="4426" y="10517"/>
                  </a:lnTo>
                  <a:lnTo>
                    <a:pt x="4410" y="10487"/>
                  </a:lnTo>
                  <a:lnTo>
                    <a:pt x="4393" y="10458"/>
                  </a:lnTo>
                  <a:lnTo>
                    <a:pt x="4375" y="10429"/>
                  </a:lnTo>
                  <a:lnTo>
                    <a:pt x="4356" y="10401"/>
                  </a:lnTo>
                  <a:lnTo>
                    <a:pt x="4334" y="10374"/>
                  </a:lnTo>
                  <a:lnTo>
                    <a:pt x="4313" y="10347"/>
                  </a:lnTo>
                  <a:lnTo>
                    <a:pt x="4291" y="10321"/>
                  </a:lnTo>
                  <a:lnTo>
                    <a:pt x="4269" y="10296"/>
                  </a:lnTo>
                  <a:lnTo>
                    <a:pt x="4245" y="10271"/>
                  </a:lnTo>
                  <a:lnTo>
                    <a:pt x="4220" y="10248"/>
                  </a:lnTo>
                  <a:lnTo>
                    <a:pt x="4194" y="10225"/>
                  </a:lnTo>
                  <a:lnTo>
                    <a:pt x="4168" y="10203"/>
                  </a:lnTo>
                  <a:lnTo>
                    <a:pt x="4140" y="10182"/>
                  </a:lnTo>
                  <a:lnTo>
                    <a:pt x="4112" y="10161"/>
                  </a:lnTo>
                  <a:lnTo>
                    <a:pt x="4083" y="10142"/>
                  </a:lnTo>
                  <a:lnTo>
                    <a:pt x="4053" y="10123"/>
                  </a:lnTo>
                  <a:lnTo>
                    <a:pt x="4023" y="10106"/>
                  </a:lnTo>
                  <a:lnTo>
                    <a:pt x="3992" y="10089"/>
                  </a:lnTo>
                  <a:lnTo>
                    <a:pt x="3819" y="9998"/>
                  </a:lnTo>
                  <a:lnTo>
                    <a:pt x="3650" y="9904"/>
                  </a:lnTo>
                  <a:lnTo>
                    <a:pt x="3487" y="9807"/>
                  </a:lnTo>
                  <a:lnTo>
                    <a:pt x="3327" y="9707"/>
                  </a:lnTo>
                  <a:lnTo>
                    <a:pt x="3173" y="9604"/>
                  </a:lnTo>
                  <a:lnTo>
                    <a:pt x="3023" y="9499"/>
                  </a:lnTo>
                  <a:lnTo>
                    <a:pt x="2878" y="9389"/>
                  </a:lnTo>
                  <a:lnTo>
                    <a:pt x="2737" y="9277"/>
                  </a:lnTo>
                  <a:lnTo>
                    <a:pt x="2602" y="9163"/>
                  </a:lnTo>
                  <a:lnTo>
                    <a:pt x="2472" y="9046"/>
                  </a:lnTo>
                  <a:lnTo>
                    <a:pt x="2346" y="8927"/>
                  </a:lnTo>
                  <a:lnTo>
                    <a:pt x="2226" y="8805"/>
                  </a:lnTo>
                  <a:lnTo>
                    <a:pt x="2112" y="8681"/>
                  </a:lnTo>
                  <a:lnTo>
                    <a:pt x="2002" y="8555"/>
                  </a:lnTo>
                  <a:lnTo>
                    <a:pt x="1899" y="8427"/>
                  </a:lnTo>
                  <a:lnTo>
                    <a:pt x="1800" y="8297"/>
                  </a:lnTo>
                  <a:lnTo>
                    <a:pt x="1706" y="8163"/>
                  </a:lnTo>
                  <a:lnTo>
                    <a:pt x="1618" y="8030"/>
                  </a:lnTo>
                  <a:lnTo>
                    <a:pt x="1537" y="7894"/>
                  </a:lnTo>
                  <a:lnTo>
                    <a:pt x="1460" y="7757"/>
                  </a:lnTo>
                  <a:lnTo>
                    <a:pt x="1388" y="7617"/>
                  </a:lnTo>
                  <a:lnTo>
                    <a:pt x="1324" y="7476"/>
                  </a:lnTo>
                  <a:lnTo>
                    <a:pt x="1264" y="7335"/>
                  </a:lnTo>
                  <a:lnTo>
                    <a:pt x="1212" y="7192"/>
                  </a:lnTo>
                  <a:lnTo>
                    <a:pt x="1165" y="7047"/>
                  </a:lnTo>
                  <a:lnTo>
                    <a:pt x="1123" y="6901"/>
                  </a:lnTo>
                  <a:lnTo>
                    <a:pt x="1089" y="6755"/>
                  </a:lnTo>
                  <a:lnTo>
                    <a:pt x="1060" y="6608"/>
                  </a:lnTo>
                  <a:lnTo>
                    <a:pt x="1037" y="6459"/>
                  </a:lnTo>
                  <a:lnTo>
                    <a:pt x="1021" y="6309"/>
                  </a:lnTo>
                  <a:lnTo>
                    <a:pt x="1011" y="6160"/>
                  </a:lnTo>
                  <a:lnTo>
                    <a:pt x="1008" y="6010"/>
                  </a:lnTo>
                  <a:lnTo>
                    <a:pt x="1017" y="5752"/>
                  </a:lnTo>
                  <a:lnTo>
                    <a:pt x="1045" y="5498"/>
                  </a:lnTo>
                  <a:lnTo>
                    <a:pt x="1090" y="5248"/>
                  </a:lnTo>
                  <a:lnTo>
                    <a:pt x="1151" y="5002"/>
                  </a:lnTo>
                  <a:lnTo>
                    <a:pt x="1231" y="4760"/>
                  </a:lnTo>
                  <a:lnTo>
                    <a:pt x="1326" y="4522"/>
                  </a:lnTo>
                  <a:lnTo>
                    <a:pt x="1437" y="4290"/>
                  </a:lnTo>
                  <a:lnTo>
                    <a:pt x="1564" y="4063"/>
                  </a:lnTo>
                  <a:lnTo>
                    <a:pt x="1705" y="3840"/>
                  </a:lnTo>
                  <a:lnTo>
                    <a:pt x="1861" y="3625"/>
                  </a:lnTo>
                  <a:lnTo>
                    <a:pt x="2032" y="3415"/>
                  </a:lnTo>
                  <a:lnTo>
                    <a:pt x="2215" y="3211"/>
                  </a:lnTo>
                  <a:lnTo>
                    <a:pt x="2412" y="3015"/>
                  </a:lnTo>
                  <a:lnTo>
                    <a:pt x="2621" y="2826"/>
                  </a:lnTo>
                  <a:lnTo>
                    <a:pt x="2844" y="2644"/>
                  </a:lnTo>
                  <a:lnTo>
                    <a:pt x="3078" y="2470"/>
                  </a:lnTo>
                  <a:lnTo>
                    <a:pt x="3323" y="2304"/>
                  </a:lnTo>
                  <a:lnTo>
                    <a:pt x="3579" y="2147"/>
                  </a:lnTo>
                  <a:lnTo>
                    <a:pt x="3845" y="1998"/>
                  </a:lnTo>
                  <a:lnTo>
                    <a:pt x="4123" y="1858"/>
                  </a:lnTo>
                  <a:lnTo>
                    <a:pt x="4409" y="1728"/>
                  </a:lnTo>
                  <a:lnTo>
                    <a:pt x="4704" y="1607"/>
                  </a:lnTo>
                  <a:lnTo>
                    <a:pt x="5009" y="1496"/>
                  </a:lnTo>
                  <a:lnTo>
                    <a:pt x="5322" y="1395"/>
                  </a:lnTo>
                  <a:lnTo>
                    <a:pt x="5642" y="1306"/>
                  </a:lnTo>
                  <a:lnTo>
                    <a:pt x="5970" y="1227"/>
                  </a:lnTo>
                  <a:lnTo>
                    <a:pt x="6305" y="1160"/>
                  </a:lnTo>
                  <a:lnTo>
                    <a:pt x="6645" y="1104"/>
                  </a:lnTo>
                  <a:lnTo>
                    <a:pt x="6992" y="1060"/>
                  </a:lnTo>
                  <a:lnTo>
                    <a:pt x="7345" y="1028"/>
                  </a:lnTo>
                  <a:lnTo>
                    <a:pt x="7703" y="1008"/>
                  </a:lnTo>
                  <a:lnTo>
                    <a:pt x="8066" y="1002"/>
                  </a:lnTo>
                  <a:lnTo>
                    <a:pt x="8429" y="1008"/>
                  </a:lnTo>
                  <a:lnTo>
                    <a:pt x="8787" y="1028"/>
                  </a:lnTo>
                  <a:lnTo>
                    <a:pt x="9140" y="1060"/>
                  </a:lnTo>
                  <a:lnTo>
                    <a:pt x="9487" y="1104"/>
                  </a:lnTo>
                  <a:lnTo>
                    <a:pt x="9827" y="1160"/>
                  </a:lnTo>
                  <a:lnTo>
                    <a:pt x="10162" y="1227"/>
                  </a:lnTo>
                  <a:lnTo>
                    <a:pt x="10490" y="1306"/>
                  </a:lnTo>
                  <a:lnTo>
                    <a:pt x="10810" y="1395"/>
                  </a:lnTo>
                  <a:lnTo>
                    <a:pt x="11123" y="1496"/>
                  </a:lnTo>
                  <a:lnTo>
                    <a:pt x="11428" y="1607"/>
                  </a:lnTo>
                  <a:lnTo>
                    <a:pt x="11723" y="1728"/>
                  </a:lnTo>
                  <a:lnTo>
                    <a:pt x="12009" y="1858"/>
                  </a:lnTo>
                  <a:lnTo>
                    <a:pt x="12287" y="1998"/>
                  </a:lnTo>
                  <a:lnTo>
                    <a:pt x="12553" y="2147"/>
                  </a:lnTo>
                  <a:lnTo>
                    <a:pt x="12809" y="2304"/>
                  </a:lnTo>
                  <a:lnTo>
                    <a:pt x="13054" y="2470"/>
                  </a:lnTo>
                  <a:lnTo>
                    <a:pt x="13288" y="2644"/>
                  </a:lnTo>
                  <a:lnTo>
                    <a:pt x="13511" y="2826"/>
                  </a:lnTo>
                  <a:lnTo>
                    <a:pt x="13720" y="3015"/>
                  </a:lnTo>
                  <a:lnTo>
                    <a:pt x="13917" y="3211"/>
                  </a:lnTo>
                  <a:lnTo>
                    <a:pt x="14100" y="3415"/>
                  </a:lnTo>
                  <a:lnTo>
                    <a:pt x="14271" y="3625"/>
                  </a:lnTo>
                  <a:lnTo>
                    <a:pt x="14427" y="3840"/>
                  </a:lnTo>
                  <a:lnTo>
                    <a:pt x="14568" y="4063"/>
                  </a:lnTo>
                  <a:lnTo>
                    <a:pt x="14695" y="4290"/>
                  </a:lnTo>
                  <a:lnTo>
                    <a:pt x="14806" y="4522"/>
                  </a:lnTo>
                  <a:lnTo>
                    <a:pt x="14901" y="4760"/>
                  </a:lnTo>
                  <a:lnTo>
                    <a:pt x="14981" y="5002"/>
                  </a:lnTo>
                  <a:lnTo>
                    <a:pt x="15042" y="5248"/>
                  </a:lnTo>
                  <a:lnTo>
                    <a:pt x="15087" y="5498"/>
                  </a:lnTo>
                  <a:lnTo>
                    <a:pt x="15115" y="5752"/>
                  </a:lnTo>
                  <a:lnTo>
                    <a:pt x="15124" y="6010"/>
                  </a:lnTo>
                  <a:lnTo>
                    <a:pt x="15115" y="6267"/>
                  </a:lnTo>
                  <a:lnTo>
                    <a:pt x="15087" y="6521"/>
                  </a:lnTo>
                  <a:lnTo>
                    <a:pt x="15042" y="6771"/>
                  </a:lnTo>
                  <a:lnTo>
                    <a:pt x="14981" y="7018"/>
                  </a:lnTo>
                  <a:lnTo>
                    <a:pt x="14901" y="7260"/>
                  </a:lnTo>
                  <a:lnTo>
                    <a:pt x="14806" y="7497"/>
                  </a:lnTo>
                  <a:lnTo>
                    <a:pt x="14695" y="7730"/>
                  </a:lnTo>
                  <a:lnTo>
                    <a:pt x="14568" y="7957"/>
                  </a:lnTo>
                  <a:lnTo>
                    <a:pt x="14427" y="8179"/>
                  </a:lnTo>
                  <a:lnTo>
                    <a:pt x="14271" y="8395"/>
                  </a:lnTo>
                  <a:lnTo>
                    <a:pt x="14100" y="8605"/>
                  </a:lnTo>
                  <a:lnTo>
                    <a:pt x="13917" y="8807"/>
                  </a:lnTo>
                  <a:lnTo>
                    <a:pt x="13720" y="9005"/>
                  </a:lnTo>
                  <a:lnTo>
                    <a:pt x="13511" y="9194"/>
                  </a:lnTo>
                  <a:lnTo>
                    <a:pt x="13288" y="9375"/>
                  </a:lnTo>
                  <a:lnTo>
                    <a:pt x="13054" y="9550"/>
                  </a:lnTo>
                  <a:lnTo>
                    <a:pt x="12809" y="9715"/>
                  </a:lnTo>
                  <a:lnTo>
                    <a:pt x="12553" y="9873"/>
                  </a:lnTo>
                  <a:lnTo>
                    <a:pt x="12287" y="10021"/>
                  </a:lnTo>
                  <a:lnTo>
                    <a:pt x="12009" y="10162"/>
                  </a:lnTo>
                  <a:lnTo>
                    <a:pt x="11723" y="10292"/>
                  </a:lnTo>
                  <a:lnTo>
                    <a:pt x="11428" y="10413"/>
                  </a:lnTo>
                  <a:lnTo>
                    <a:pt x="11123" y="10523"/>
                  </a:lnTo>
                  <a:lnTo>
                    <a:pt x="10810" y="10623"/>
                  </a:lnTo>
                  <a:lnTo>
                    <a:pt x="10490" y="10714"/>
                  </a:lnTo>
                  <a:lnTo>
                    <a:pt x="10162" y="10793"/>
                  </a:lnTo>
                  <a:lnTo>
                    <a:pt x="9827" y="10860"/>
                  </a:lnTo>
                  <a:lnTo>
                    <a:pt x="9487" y="10916"/>
                  </a:lnTo>
                  <a:lnTo>
                    <a:pt x="9140" y="10960"/>
                  </a:lnTo>
                  <a:lnTo>
                    <a:pt x="8787" y="10992"/>
                  </a:lnTo>
                  <a:lnTo>
                    <a:pt x="8429" y="11011"/>
                  </a:lnTo>
                  <a:lnTo>
                    <a:pt x="8066" y="11018"/>
                  </a:lnTo>
                  <a:close/>
                  <a:moveTo>
                    <a:pt x="8066" y="0"/>
                  </a:moveTo>
                  <a:lnTo>
                    <a:pt x="7651" y="8"/>
                  </a:lnTo>
                  <a:lnTo>
                    <a:pt x="7241" y="31"/>
                  </a:lnTo>
                  <a:lnTo>
                    <a:pt x="6838" y="69"/>
                  </a:lnTo>
                  <a:lnTo>
                    <a:pt x="6441" y="122"/>
                  </a:lnTo>
                  <a:lnTo>
                    <a:pt x="6051" y="189"/>
                  </a:lnTo>
                  <a:lnTo>
                    <a:pt x="5667" y="270"/>
                  </a:lnTo>
                  <a:lnTo>
                    <a:pt x="5292" y="365"/>
                  </a:lnTo>
                  <a:lnTo>
                    <a:pt x="4926" y="473"/>
                  </a:lnTo>
                  <a:lnTo>
                    <a:pt x="4569" y="593"/>
                  </a:lnTo>
                  <a:lnTo>
                    <a:pt x="4222" y="725"/>
                  </a:lnTo>
                  <a:lnTo>
                    <a:pt x="3884" y="870"/>
                  </a:lnTo>
                  <a:lnTo>
                    <a:pt x="3556" y="1027"/>
                  </a:lnTo>
                  <a:lnTo>
                    <a:pt x="3240" y="1194"/>
                  </a:lnTo>
                  <a:lnTo>
                    <a:pt x="2935" y="1372"/>
                  </a:lnTo>
                  <a:lnTo>
                    <a:pt x="2643" y="1562"/>
                  </a:lnTo>
                  <a:lnTo>
                    <a:pt x="2362" y="1760"/>
                  </a:lnTo>
                  <a:lnTo>
                    <a:pt x="2095" y="1969"/>
                  </a:lnTo>
                  <a:lnTo>
                    <a:pt x="1842" y="2188"/>
                  </a:lnTo>
                  <a:lnTo>
                    <a:pt x="1602" y="2414"/>
                  </a:lnTo>
                  <a:lnTo>
                    <a:pt x="1377" y="2649"/>
                  </a:lnTo>
                  <a:lnTo>
                    <a:pt x="1168" y="2894"/>
                  </a:lnTo>
                  <a:lnTo>
                    <a:pt x="974" y="3145"/>
                  </a:lnTo>
                  <a:lnTo>
                    <a:pt x="796" y="3405"/>
                  </a:lnTo>
                  <a:lnTo>
                    <a:pt x="634" y="3671"/>
                  </a:lnTo>
                  <a:lnTo>
                    <a:pt x="489" y="3943"/>
                  </a:lnTo>
                  <a:lnTo>
                    <a:pt x="363" y="4223"/>
                  </a:lnTo>
                  <a:lnTo>
                    <a:pt x="254" y="4508"/>
                  </a:lnTo>
                  <a:lnTo>
                    <a:pt x="163" y="4799"/>
                  </a:lnTo>
                  <a:lnTo>
                    <a:pt x="93" y="5094"/>
                  </a:lnTo>
                  <a:lnTo>
                    <a:pt x="41" y="5396"/>
                  </a:lnTo>
                  <a:lnTo>
                    <a:pt x="10" y="5700"/>
                  </a:lnTo>
                  <a:lnTo>
                    <a:pt x="0" y="6010"/>
                  </a:lnTo>
                  <a:lnTo>
                    <a:pt x="4" y="6203"/>
                  </a:lnTo>
                  <a:lnTo>
                    <a:pt x="16" y="6394"/>
                  </a:lnTo>
                  <a:lnTo>
                    <a:pt x="36" y="6584"/>
                  </a:lnTo>
                  <a:lnTo>
                    <a:pt x="65" y="6772"/>
                  </a:lnTo>
                  <a:lnTo>
                    <a:pt x="100" y="6958"/>
                  </a:lnTo>
                  <a:lnTo>
                    <a:pt x="143" y="7144"/>
                  </a:lnTo>
                  <a:lnTo>
                    <a:pt x="195" y="7326"/>
                  </a:lnTo>
                  <a:lnTo>
                    <a:pt x="252" y="7506"/>
                  </a:lnTo>
                  <a:lnTo>
                    <a:pt x="318" y="7685"/>
                  </a:lnTo>
                  <a:lnTo>
                    <a:pt x="390" y="7861"/>
                  </a:lnTo>
                  <a:lnTo>
                    <a:pt x="470" y="8034"/>
                  </a:lnTo>
                  <a:lnTo>
                    <a:pt x="556" y="8205"/>
                  </a:lnTo>
                  <a:lnTo>
                    <a:pt x="648" y="8375"/>
                  </a:lnTo>
                  <a:lnTo>
                    <a:pt x="748" y="8541"/>
                  </a:lnTo>
                  <a:lnTo>
                    <a:pt x="855" y="8704"/>
                  </a:lnTo>
                  <a:lnTo>
                    <a:pt x="967" y="8865"/>
                  </a:lnTo>
                  <a:lnTo>
                    <a:pt x="1086" y="9023"/>
                  </a:lnTo>
                  <a:lnTo>
                    <a:pt x="1211" y="9177"/>
                  </a:lnTo>
                  <a:lnTo>
                    <a:pt x="1341" y="9329"/>
                  </a:lnTo>
                  <a:lnTo>
                    <a:pt x="1478" y="9478"/>
                  </a:lnTo>
                  <a:lnTo>
                    <a:pt x="1620" y="9623"/>
                  </a:lnTo>
                  <a:lnTo>
                    <a:pt x="1768" y="9765"/>
                  </a:lnTo>
                  <a:lnTo>
                    <a:pt x="1923" y="9903"/>
                  </a:lnTo>
                  <a:lnTo>
                    <a:pt x="2081" y="10038"/>
                  </a:lnTo>
                  <a:lnTo>
                    <a:pt x="2245" y="10170"/>
                  </a:lnTo>
                  <a:lnTo>
                    <a:pt x="2415" y="10298"/>
                  </a:lnTo>
                  <a:lnTo>
                    <a:pt x="2590" y="10421"/>
                  </a:lnTo>
                  <a:lnTo>
                    <a:pt x="2769" y="10541"/>
                  </a:lnTo>
                  <a:lnTo>
                    <a:pt x="2953" y="10657"/>
                  </a:lnTo>
                  <a:lnTo>
                    <a:pt x="3142" y="10770"/>
                  </a:lnTo>
                  <a:lnTo>
                    <a:pt x="3335" y="10878"/>
                  </a:lnTo>
                  <a:lnTo>
                    <a:pt x="3533" y="10981"/>
                  </a:lnTo>
                  <a:lnTo>
                    <a:pt x="3532" y="10990"/>
                  </a:lnTo>
                  <a:lnTo>
                    <a:pt x="3531" y="10999"/>
                  </a:lnTo>
                  <a:lnTo>
                    <a:pt x="3530" y="11008"/>
                  </a:lnTo>
                  <a:lnTo>
                    <a:pt x="3529" y="11018"/>
                  </a:lnTo>
                  <a:lnTo>
                    <a:pt x="3527" y="11102"/>
                  </a:lnTo>
                  <a:lnTo>
                    <a:pt x="3521" y="11187"/>
                  </a:lnTo>
                  <a:lnTo>
                    <a:pt x="3512" y="11271"/>
                  </a:lnTo>
                  <a:lnTo>
                    <a:pt x="3500" y="11357"/>
                  </a:lnTo>
                  <a:lnTo>
                    <a:pt x="3484" y="11442"/>
                  </a:lnTo>
                  <a:lnTo>
                    <a:pt x="3464" y="11527"/>
                  </a:lnTo>
                  <a:lnTo>
                    <a:pt x="3443" y="11612"/>
                  </a:lnTo>
                  <a:lnTo>
                    <a:pt x="3419" y="11696"/>
                  </a:lnTo>
                  <a:lnTo>
                    <a:pt x="3392" y="11780"/>
                  </a:lnTo>
                  <a:lnTo>
                    <a:pt x="3364" y="11863"/>
                  </a:lnTo>
                  <a:lnTo>
                    <a:pt x="3332" y="11947"/>
                  </a:lnTo>
                  <a:lnTo>
                    <a:pt x="3300" y="12030"/>
                  </a:lnTo>
                  <a:lnTo>
                    <a:pt x="3266" y="12111"/>
                  </a:lnTo>
                  <a:lnTo>
                    <a:pt x="3229" y="12192"/>
                  </a:lnTo>
                  <a:lnTo>
                    <a:pt x="3192" y="12271"/>
                  </a:lnTo>
                  <a:lnTo>
                    <a:pt x="3155" y="12350"/>
                  </a:lnTo>
                  <a:lnTo>
                    <a:pt x="3115" y="12428"/>
                  </a:lnTo>
                  <a:lnTo>
                    <a:pt x="3075" y="12505"/>
                  </a:lnTo>
                  <a:lnTo>
                    <a:pt x="3036" y="12580"/>
                  </a:lnTo>
                  <a:lnTo>
                    <a:pt x="2995" y="12653"/>
                  </a:lnTo>
                  <a:lnTo>
                    <a:pt x="2954" y="12726"/>
                  </a:lnTo>
                  <a:lnTo>
                    <a:pt x="2914" y="12796"/>
                  </a:lnTo>
                  <a:lnTo>
                    <a:pt x="2874" y="12864"/>
                  </a:lnTo>
                  <a:lnTo>
                    <a:pt x="2834" y="12931"/>
                  </a:lnTo>
                  <a:lnTo>
                    <a:pt x="2757" y="13059"/>
                  </a:lnTo>
                  <a:lnTo>
                    <a:pt x="2684" y="13180"/>
                  </a:lnTo>
                  <a:lnTo>
                    <a:pt x="2616" y="13290"/>
                  </a:lnTo>
                  <a:lnTo>
                    <a:pt x="2557" y="13390"/>
                  </a:lnTo>
                  <a:lnTo>
                    <a:pt x="2558" y="13390"/>
                  </a:lnTo>
                  <a:lnTo>
                    <a:pt x="2550" y="13411"/>
                  </a:lnTo>
                  <a:lnTo>
                    <a:pt x="2542" y="13432"/>
                  </a:lnTo>
                  <a:lnTo>
                    <a:pt x="2536" y="13454"/>
                  </a:lnTo>
                  <a:lnTo>
                    <a:pt x="2531" y="13476"/>
                  </a:lnTo>
                  <a:lnTo>
                    <a:pt x="2527" y="13499"/>
                  </a:lnTo>
                  <a:lnTo>
                    <a:pt x="2523" y="13522"/>
                  </a:lnTo>
                  <a:lnTo>
                    <a:pt x="2522" y="13545"/>
                  </a:lnTo>
                  <a:lnTo>
                    <a:pt x="2521" y="13569"/>
                  </a:lnTo>
                  <a:lnTo>
                    <a:pt x="2522" y="13592"/>
                  </a:lnTo>
                  <a:lnTo>
                    <a:pt x="2523" y="13615"/>
                  </a:lnTo>
                  <a:lnTo>
                    <a:pt x="2526" y="13638"/>
                  </a:lnTo>
                  <a:lnTo>
                    <a:pt x="2530" y="13660"/>
                  </a:lnTo>
                  <a:lnTo>
                    <a:pt x="2535" y="13682"/>
                  </a:lnTo>
                  <a:lnTo>
                    <a:pt x="2541" y="13704"/>
                  </a:lnTo>
                  <a:lnTo>
                    <a:pt x="2548" y="13726"/>
                  </a:lnTo>
                  <a:lnTo>
                    <a:pt x="2556" y="13746"/>
                  </a:lnTo>
                  <a:lnTo>
                    <a:pt x="2566" y="13766"/>
                  </a:lnTo>
                  <a:lnTo>
                    <a:pt x="2576" y="13786"/>
                  </a:lnTo>
                  <a:lnTo>
                    <a:pt x="2586" y="13805"/>
                  </a:lnTo>
                  <a:lnTo>
                    <a:pt x="2598" y="13823"/>
                  </a:lnTo>
                  <a:lnTo>
                    <a:pt x="2611" y="13841"/>
                  </a:lnTo>
                  <a:lnTo>
                    <a:pt x="2624" y="13858"/>
                  </a:lnTo>
                  <a:lnTo>
                    <a:pt x="2640" y="13875"/>
                  </a:lnTo>
                  <a:lnTo>
                    <a:pt x="2655" y="13890"/>
                  </a:lnTo>
                  <a:lnTo>
                    <a:pt x="2670" y="13905"/>
                  </a:lnTo>
                  <a:lnTo>
                    <a:pt x="2687" y="13920"/>
                  </a:lnTo>
                  <a:lnTo>
                    <a:pt x="2704" y="13933"/>
                  </a:lnTo>
                  <a:lnTo>
                    <a:pt x="2722" y="13946"/>
                  </a:lnTo>
                  <a:lnTo>
                    <a:pt x="2740" y="13958"/>
                  </a:lnTo>
                  <a:lnTo>
                    <a:pt x="2760" y="13968"/>
                  </a:lnTo>
                  <a:lnTo>
                    <a:pt x="2779" y="13978"/>
                  </a:lnTo>
                  <a:lnTo>
                    <a:pt x="2800" y="13987"/>
                  </a:lnTo>
                  <a:lnTo>
                    <a:pt x="2820" y="13996"/>
                  </a:lnTo>
                  <a:lnTo>
                    <a:pt x="2841" y="14003"/>
                  </a:lnTo>
                  <a:lnTo>
                    <a:pt x="2863" y="14009"/>
                  </a:lnTo>
                  <a:lnTo>
                    <a:pt x="2886" y="14014"/>
                  </a:lnTo>
                  <a:lnTo>
                    <a:pt x="2908" y="14018"/>
                  </a:lnTo>
                  <a:lnTo>
                    <a:pt x="2931" y="14021"/>
                  </a:lnTo>
                  <a:lnTo>
                    <a:pt x="2954" y="14022"/>
                  </a:lnTo>
                  <a:lnTo>
                    <a:pt x="2977" y="14023"/>
                  </a:lnTo>
                  <a:lnTo>
                    <a:pt x="3018" y="14021"/>
                  </a:lnTo>
                  <a:lnTo>
                    <a:pt x="3060" y="14017"/>
                  </a:lnTo>
                  <a:lnTo>
                    <a:pt x="3078" y="14016"/>
                  </a:lnTo>
                  <a:lnTo>
                    <a:pt x="3093" y="14015"/>
                  </a:lnTo>
                  <a:lnTo>
                    <a:pt x="3099" y="14015"/>
                  </a:lnTo>
                  <a:lnTo>
                    <a:pt x="3103" y="14015"/>
                  </a:lnTo>
                  <a:lnTo>
                    <a:pt x="3105" y="14016"/>
                  </a:lnTo>
                  <a:lnTo>
                    <a:pt x="3106" y="14016"/>
                  </a:lnTo>
                  <a:lnTo>
                    <a:pt x="3254" y="13989"/>
                  </a:lnTo>
                  <a:lnTo>
                    <a:pt x="3400" y="13955"/>
                  </a:lnTo>
                  <a:lnTo>
                    <a:pt x="3546" y="13915"/>
                  </a:lnTo>
                  <a:lnTo>
                    <a:pt x="3690" y="13870"/>
                  </a:lnTo>
                  <a:lnTo>
                    <a:pt x="3833" y="13819"/>
                  </a:lnTo>
                  <a:lnTo>
                    <a:pt x="3976" y="13763"/>
                  </a:lnTo>
                  <a:lnTo>
                    <a:pt x="4116" y="13701"/>
                  </a:lnTo>
                  <a:lnTo>
                    <a:pt x="4254" y="13637"/>
                  </a:lnTo>
                  <a:lnTo>
                    <a:pt x="4390" y="13569"/>
                  </a:lnTo>
                  <a:lnTo>
                    <a:pt x="4524" y="13497"/>
                  </a:lnTo>
                  <a:lnTo>
                    <a:pt x="4656" y="13423"/>
                  </a:lnTo>
                  <a:lnTo>
                    <a:pt x="4784" y="13346"/>
                  </a:lnTo>
                  <a:lnTo>
                    <a:pt x="4910" y="13267"/>
                  </a:lnTo>
                  <a:lnTo>
                    <a:pt x="5033" y="13186"/>
                  </a:lnTo>
                  <a:lnTo>
                    <a:pt x="5153" y="13104"/>
                  </a:lnTo>
                  <a:lnTo>
                    <a:pt x="5269" y="13021"/>
                  </a:lnTo>
                  <a:lnTo>
                    <a:pt x="5382" y="12938"/>
                  </a:lnTo>
                  <a:lnTo>
                    <a:pt x="5491" y="12854"/>
                  </a:lnTo>
                  <a:lnTo>
                    <a:pt x="5596" y="12771"/>
                  </a:lnTo>
                  <a:lnTo>
                    <a:pt x="5697" y="12689"/>
                  </a:lnTo>
                  <a:lnTo>
                    <a:pt x="5793" y="12608"/>
                  </a:lnTo>
                  <a:lnTo>
                    <a:pt x="5885" y="12528"/>
                  </a:lnTo>
                  <a:lnTo>
                    <a:pt x="5972" y="12450"/>
                  </a:lnTo>
                  <a:lnTo>
                    <a:pt x="6055" y="12375"/>
                  </a:lnTo>
                  <a:lnTo>
                    <a:pt x="6131" y="12302"/>
                  </a:lnTo>
                  <a:lnTo>
                    <a:pt x="6203" y="12233"/>
                  </a:lnTo>
                  <a:lnTo>
                    <a:pt x="6269" y="12167"/>
                  </a:lnTo>
                  <a:lnTo>
                    <a:pt x="6330" y="12105"/>
                  </a:lnTo>
                  <a:lnTo>
                    <a:pt x="6384" y="12048"/>
                  </a:lnTo>
                  <a:lnTo>
                    <a:pt x="6433" y="11995"/>
                  </a:lnTo>
                  <a:lnTo>
                    <a:pt x="6475" y="11947"/>
                  </a:lnTo>
                  <a:lnTo>
                    <a:pt x="6510" y="11906"/>
                  </a:lnTo>
                  <a:lnTo>
                    <a:pt x="6605" y="11919"/>
                  </a:lnTo>
                  <a:lnTo>
                    <a:pt x="6700" y="11932"/>
                  </a:lnTo>
                  <a:lnTo>
                    <a:pt x="6796" y="11943"/>
                  </a:lnTo>
                  <a:lnTo>
                    <a:pt x="6891" y="11954"/>
                  </a:lnTo>
                  <a:lnTo>
                    <a:pt x="6987" y="11965"/>
                  </a:lnTo>
                  <a:lnTo>
                    <a:pt x="7083" y="11974"/>
                  </a:lnTo>
                  <a:lnTo>
                    <a:pt x="7180" y="11983"/>
                  </a:lnTo>
                  <a:lnTo>
                    <a:pt x="7278" y="11990"/>
                  </a:lnTo>
                  <a:lnTo>
                    <a:pt x="7374" y="11997"/>
                  </a:lnTo>
                  <a:lnTo>
                    <a:pt x="7472" y="12003"/>
                  </a:lnTo>
                  <a:lnTo>
                    <a:pt x="7571" y="12008"/>
                  </a:lnTo>
                  <a:lnTo>
                    <a:pt x="7669" y="12012"/>
                  </a:lnTo>
                  <a:lnTo>
                    <a:pt x="7768" y="12016"/>
                  </a:lnTo>
                  <a:lnTo>
                    <a:pt x="7867" y="12018"/>
                  </a:lnTo>
                  <a:lnTo>
                    <a:pt x="7966" y="12019"/>
                  </a:lnTo>
                  <a:lnTo>
                    <a:pt x="8066" y="12020"/>
                  </a:lnTo>
                  <a:lnTo>
                    <a:pt x="8481" y="12012"/>
                  </a:lnTo>
                  <a:lnTo>
                    <a:pt x="8891" y="11989"/>
                  </a:lnTo>
                  <a:lnTo>
                    <a:pt x="9294" y="11951"/>
                  </a:lnTo>
                  <a:lnTo>
                    <a:pt x="9691" y="11898"/>
                  </a:lnTo>
                  <a:lnTo>
                    <a:pt x="10081" y="11830"/>
                  </a:lnTo>
                  <a:lnTo>
                    <a:pt x="10465" y="11749"/>
                  </a:lnTo>
                  <a:lnTo>
                    <a:pt x="10840" y="11655"/>
                  </a:lnTo>
                  <a:lnTo>
                    <a:pt x="11206" y="11547"/>
                  </a:lnTo>
                  <a:lnTo>
                    <a:pt x="11563" y="11427"/>
                  </a:lnTo>
                  <a:lnTo>
                    <a:pt x="11910" y="11295"/>
                  </a:lnTo>
                  <a:lnTo>
                    <a:pt x="12248" y="11149"/>
                  </a:lnTo>
                  <a:lnTo>
                    <a:pt x="12576" y="10993"/>
                  </a:lnTo>
                  <a:lnTo>
                    <a:pt x="12891" y="10826"/>
                  </a:lnTo>
                  <a:lnTo>
                    <a:pt x="13197" y="10647"/>
                  </a:lnTo>
                  <a:lnTo>
                    <a:pt x="13489" y="10458"/>
                  </a:lnTo>
                  <a:lnTo>
                    <a:pt x="13770" y="10260"/>
                  </a:lnTo>
                  <a:lnTo>
                    <a:pt x="14037" y="10050"/>
                  </a:lnTo>
                  <a:lnTo>
                    <a:pt x="14290" y="9832"/>
                  </a:lnTo>
                  <a:lnTo>
                    <a:pt x="14530" y="9606"/>
                  </a:lnTo>
                  <a:lnTo>
                    <a:pt x="14755" y="9370"/>
                  </a:lnTo>
                  <a:lnTo>
                    <a:pt x="14964" y="9126"/>
                  </a:lnTo>
                  <a:lnTo>
                    <a:pt x="15158" y="8875"/>
                  </a:lnTo>
                  <a:lnTo>
                    <a:pt x="15336" y="8615"/>
                  </a:lnTo>
                  <a:lnTo>
                    <a:pt x="15498" y="8349"/>
                  </a:lnTo>
                  <a:lnTo>
                    <a:pt x="15643" y="8076"/>
                  </a:lnTo>
                  <a:lnTo>
                    <a:pt x="15769" y="7797"/>
                  </a:lnTo>
                  <a:lnTo>
                    <a:pt x="15878" y="7511"/>
                  </a:lnTo>
                  <a:lnTo>
                    <a:pt x="15968" y="7221"/>
                  </a:lnTo>
                  <a:lnTo>
                    <a:pt x="16039" y="6925"/>
                  </a:lnTo>
                  <a:lnTo>
                    <a:pt x="16091" y="6624"/>
                  </a:lnTo>
                  <a:lnTo>
                    <a:pt x="16122" y="6319"/>
                  </a:lnTo>
                  <a:lnTo>
                    <a:pt x="16132" y="6010"/>
                  </a:lnTo>
                  <a:lnTo>
                    <a:pt x="16122" y="5700"/>
                  </a:lnTo>
                  <a:lnTo>
                    <a:pt x="16091" y="5396"/>
                  </a:lnTo>
                  <a:lnTo>
                    <a:pt x="16039" y="5094"/>
                  </a:lnTo>
                  <a:lnTo>
                    <a:pt x="15968" y="4799"/>
                  </a:lnTo>
                  <a:lnTo>
                    <a:pt x="15878" y="4508"/>
                  </a:lnTo>
                  <a:lnTo>
                    <a:pt x="15769" y="4223"/>
                  </a:lnTo>
                  <a:lnTo>
                    <a:pt x="15643" y="3943"/>
                  </a:lnTo>
                  <a:lnTo>
                    <a:pt x="15498" y="3671"/>
                  </a:lnTo>
                  <a:lnTo>
                    <a:pt x="15336" y="3405"/>
                  </a:lnTo>
                  <a:lnTo>
                    <a:pt x="15158" y="3145"/>
                  </a:lnTo>
                  <a:lnTo>
                    <a:pt x="14964" y="2894"/>
                  </a:lnTo>
                  <a:lnTo>
                    <a:pt x="14755" y="2649"/>
                  </a:lnTo>
                  <a:lnTo>
                    <a:pt x="14530" y="2414"/>
                  </a:lnTo>
                  <a:lnTo>
                    <a:pt x="14290" y="2188"/>
                  </a:lnTo>
                  <a:lnTo>
                    <a:pt x="14037" y="1969"/>
                  </a:lnTo>
                  <a:lnTo>
                    <a:pt x="13770" y="1760"/>
                  </a:lnTo>
                  <a:lnTo>
                    <a:pt x="13489" y="1562"/>
                  </a:lnTo>
                  <a:lnTo>
                    <a:pt x="13197" y="1372"/>
                  </a:lnTo>
                  <a:lnTo>
                    <a:pt x="12891" y="1194"/>
                  </a:lnTo>
                  <a:lnTo>
                    <a:pt x="12576" y="1027"/>
                  </a:lnTo>
                  <a:lnTo>
                    <a:pt x="12248" y="870"/>
                  </a:lnTo>
                  <a:lnTo>
                    <a:pt x="11910" y="725"/>
                  </a:lnTo>
                  <a:lnTo>
                    <a:pt x="11563" y="593"/>
                  </a:lnTo>
                  <a:lnTo>
                    <a:pt x="11206" y="473"/>
                  </a:lnTo>
                  <a:lnTo>
                    <a:pt x="10840" y="365"/>
                  </a:lnTo>
                  <a:lnTo>
                    <a:pt x="10465" y="270"/>
                  </a:lnTo>
                  <a:lnTo>
                    <a:pt x="10081" y="189"/>
                  </a:lnTo>
                  <a:lnTo>
                    <a:pt x="9691" y="122"/>
                  </a:lnTo>
                  <a:lnTo>
                    <a:pt x="9294" y="69"/>
                  </a:lnTo>
                  <a:lnTo>
                    <a:pt x="8891" y="31"/>
                  </a:lnTo>
                  <a:lnTo>
                    <a:pt x="8481" y="8"/>
                  </a:lnTo>
                  <a:lnTo>
                    <a:pt x="80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07" name="iṧḻíḍé">
              <a:extLst>
                <a:ext uri="{FF2B5EF4-FFF2-40B4-BE49-F238E27FC236}">
                  <a16:creationId xmlns:a16="http://schemas.microsoft.com/office/drawing/2014/main" id="{1ACCB623-6573-4A3F-92A4-D7B9731E45AC}"/>
                </a:ext>
              </a:extLst>
            </p:cNvPr>
            <p:cNvSpPr/>
            <p:nvPr/>
          </p:nvSpPr>
          <p:spPr bwMode="auto">
            <a:xfrm>
              <a:off x="2262076" y="624077"/>
              <a:ext cx="297186" cy="258928"/>
            </a:xfrm>
            <a:custGeom>
              <a:avLst/>
              <a:gdLst>
                <a:gd name="T0" fmla="*/ 15078 w 16095"/>
                <a:gd name="T1" fmla="*/ 12172 h 14023"/>
                <a:gd name="T2" fmla="*/ 15028 w 16095"/>
                <a:gd name="T3" fmla="*/ 12363 h 14023"/>
                <a:gd name="T4" fmla="*/ 14943 w 16095"/>
                <a:gd name="T5" fmla="*/ 12539 h 14023"/>
                <a:gd name="T6" fmla="*/ 14828 w 16095"/>
                <a:gd name="T7" fmla="*/ 12693 h 14023"/>
                <a:gd name="T8" fmla="*/ 14685 w 16095"/>
                <a:gd name="T9" fmla="*/ 12822 h 14023"/>
                <a:gd name="T10" fmla="*/ 14519 w 16095"/>
                <a:gd name="T11" fmla="*/ 12922 h 14023"/>
                <a:gd name="T12" fmla="*/ 14335 w 16095"/>
                <a:gd name="T13" fmla="*/ 12989 h 14023"/>
                <a:gd name="T14" fmla="*/ 14134 w 16095"/>
                <a:gd name="T15" fmla="*/ 13020 h 14023"/>
                <a:gd name="T16" fmla="*/ 1909 w 16095"/>
                <a:gd name="T17" fmla="*/ 13016 h 14023"/>
                <a:gd name="T18" fmla="*/ 1713 w 16095"/>
                <a:gd name="T19" fmla="*/ 12976 h 14023"/>
                <a:gd name="T20" fmla="*/ 1533 w 16095"/>
                <a:gd name="T21" fmla="*/ 12900 h 14023"/>
                <a:gd name="T22" fmla="*/ 1372 w 16095"/>
                <a:gd name="T23" fmla="*/ 12792 h 14023"/>
                <a:gd name="T24" fmla="*/ 1236 w 16095"/>
                <a:gd name="T25" fmla="*/ 12657 h 14023"/>
                <a:gd name="T26" fmla="*/ 1128 w 16095"/>
                <a:gd name="T27" fmla="*/ 12496 h 14023"/>
                <a:gd name="T28" fmla="*/ 1051 w 16095"/>
                <a:gd name="T29" fmla="*/ 12317 h 14023"/>
                <a:gd name="T30" fmla="*/ 1011 w 16095"/>
                <a:gd name="T31" fmla="*/ 12122 h 14023"/>
                <a:gd name="T32" fmla="*/ 3018 w 16095"/>
                <a:gd name="T33" fmla="*/ 1002 h 14023"/>
                <a:gd name="T34" fmla="*/ 16057 w 16095"/>
                <a:gd name="T35" fmla="*/ 8241 h 14023"/>
                <a:gd name="T36" fmla="*/ 14003 w 16095"/>
                <a:gd name="T37" fmla="*/ 609 h 14023"/>
                <a:gd name="T38" fmla="*/ 13927 w 16095"/>
                <a:gd name="T39" fmla="*/ 466 h 14023"/>
                <a:gd name="T40" fmla="*/ 13830 w 16095"/>
                <a:gd name="T41" fmla="*/ 338 h 14023"/>
                <a:gd name="T42" fmla="*/ 13714 w 16095"/>
                <a:gd name="T43" fmla="*/ 227 h 14023"/>
                <a:gd name="T44" fmla="*/ 13583 w 16095"/>
                <a:gd name="T45" fmla="*/ 136 h 14023"/>
                <a:gd name="T46" fmla="*/ 13438 w 16095"/>
                <a:gd name="T47" fmla="*/ 67 h 14023"/>
                <a:gd name="T48" fmla="*/ 13282 w 16095"/>
                <a:gd name="T49" fmla="*/ 21 h 14023"/>
                <a:gd name="T50" fmla="*/ 13118 w 16095"/>
                <a:gd name="T51" fmla="*/ 1 h 14023"/>
                <a:gd name="T52" fmla="*/ 2977 w 16095"/>
                <a:gd name="T53" fmla="*/ 1 h 14023"/>
                <a:gd name="T54" fmla="*/ 2813 w 16095"/>
                <a:gd name="T55" fmla="*/ 21 h 14023"/>
                <a:gd name="T56" fmla="*/ 2657 w 16095"/>
                <a:gd name="T57" fmla="*/ 67 h 14023"/>
                <a:gd name="T58" fmla="*/ 2512 w 16095"/>
                <a:gd name="T59" fmla="*/ 136 h 14023"/>
                <a:gd name="T60" fmla="*/ 2381 w 16095"/>
                <a:gd name="T61" fmla="*/ 227 h 14023"/>
                <a:gd name="T62" fmla="*/ 2265 w 16095"/>
                <a:gd name="T63" fmla="*/ 338 h 14023"/>
                <a:gd name="T64" fmla="*/ 2168 w 16095"/>
                <a:gd name="T65" fmla="*/ 466 h 14023"/>
                <a:gd name="T66" fmla="*/ 2092 w 16095"/>
                <a:gd name="T67" fmla="*/ 609 h 14023"/>
                <a:gd name="T68" fmla="*/ 38 w 16095"/>
                <a:gd name="T69" fmla="*/ 8241 h 14023"/>
                <a:gd name="T70" fmla="*/ 9 w 16095"/>
                <a:gd name="T71" fmla="*/ 8378 h 14023"/>
                <a:gd name="T72" fmla="*/ 0 w 16095"/>
                <a:gd name="T73" fmla="*/ 8514 h 14023"/>
                <a:gd name="T74" fmla="*/ 23 w 16095"/>
                <a:gd name="T75" fmla="*/ 12325 h 14023"/>
                <a:gd name="T76" fmla="*/ 122 w 16095"/>
                <a:gd name="T77" fmla="*/ 12709 h 14023"/>
                <a:gd name="T78" fmla="*/ 292 w 16095"/>
                <a:gd name="T79" fmla="*/ 13058 h 14023"/>
                <a:gd name="T80" fmla="*/ 523 w 16095"/>
                <a:gd name="T81" fmla="*/ 13367 h 14023"/>
                <a:gd name="T82" fmla="*/ 808 w 16095"/>
                <a:gd name="T83" fmla="*/ 13625 h 14023"/>
                <a:gd name="T84" fmla="*/ 1140 w 16095"/>
                <a:gd name="T85" fmla="*/ 13826 h 14023"/>
                <a:gd name="T86" fmla="*/ 1509 w 16095"/>
                <a:gd name="T87" fmla="*/ 13960 h 14023"/>
                <a:gd name="T88" fmla="*/ 1908 w 16095"/>
                <a:gd name="T89" fmla="*/ 14020 h 14023"/>
                <a:gd name="T90" fmla="*/ 14289 w 16095"/>
                <a:gd name="T91" fmla="*/ 14013 h 14023"/>
                <a:gd name="T92" fmla="*/ 14682 w 16095"/>
                <a:gd name="T93" fmla="*/ 13933 h 14023"/>
                <a:gd name="T94" fmla="*/ 15042 w 16095"/>
                <a:gd name="T95" fmla="*/ 13782 h 14023"/>
                <a:gd name="T96" fmla="*/ 15363 w 16095"/>
                <a:gd name="T97" fmla="*/ 13565 h 14023"/>
                <a:gd name="T98" fmla="*/ 15635 w 16095"/>
                <a:gd name="T99" fmla="*/ 13294 h 14023"/>
                <a:gd name="T100" fmla="*/ 15853 w 16095"/>
                <a:gd name="T101" fmla="*/ 12974 h 14023"/>
                <a:gd name="T102" fmla="*/ 16004 w 16095"/>
                <a:gd name="T103" fmla="*/ 12616 h 14023"/>
                <a:gd name="T104" fmla="*/ 16085 w 16095"/>
                <a:gd name="T105" fmla="*/ 12224 h 14023"/>
                <a:gd name="T106" fmla="*/ 16094 w 16095"/>
                <a:gd name="T107" fmla="*/ 8480 h 14023"/>
                <a:gd name="T108" fmla="*/ 16080 w 16095"/>
                <a:gd name="T109" fmla="*/ 8344 h 14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095" h="14023">
                  <a:moveTo>
                    <a:pt x="15089" y="12020"/>
                  </a:moveTo>
                  <a:lnTo>
                    <a:pt x="15088" y="12071"/>
                  </a:lnTo>
                  <a:lnTo>
                    <a:pt x="15084" y="12122"/>
                  </a:lnTo>
                  <a:lnTo>
                    <a:pt x="15078" y="12172"/>
                  </a:lnTo>
                  <a:lnTo>
                    <a:pt x="15069" y="12221"/>
                  </a:lnTo>
                  <a:lnTo>
                    <a:pt x="15058" y="12270"/>
                  </a:lnTo>
                  <a:lnTo>
                    <a:pt x="15044" y="12317"/>
                  </a:lnTo>
                  <a:lnTo>
                    <a:pt x="15028" y="12363"/>
                  </a:lnTo>
                  <a:lnTo>
                    <a:pt x="15010" y="12409"/>
                  </a:lnTo>
                  <a:lnTo>
                    <a:pt x="14989" y="12453"/>
                  </a:lnTo>
                  <a:lnTo>
                    <a:pt x="14967" y="12496"/>
                  </a:lnTo>
                  <a:lnTo>
                    <a:pt x="14943" y="12539"/>
                  </a:lnTo>
                  <a:lnTo>
                    <a:pt x="14917" y="12580"/>
                  </a:lnTo>
                  <a:lnTo>
                    <a:pt x="14889" y="12619"/>
                  </a:lnTo>
                  <a:lnTo>
                    <a:pt x="14859" y="12657"/>
                  </a:lnTo>
                  <a:lnTo>
                    <a:pt x="14828" y="12693"/>
                  </a:lnTo>
                  <a:lnTo>
                    <a:pt x="14794" y="12728"/>
                  </a:lnTo>
                  <a:lnTo>
                    <a:pt x="14759" y="12761"/>
                  </a:lnTo>
                  <a:lnTo>
                    <a:pt x="14723" y="12792"/>
                  </a:lnTo>
                  <a:lnTo>
                    <a:pt x="14685" y="12822"/>
                  </a:lnTo>
                  <a:lnTo>
                    <a:pt x="14645" y="12850"/>
                  </a:lnTo>
                  <a:lnTo>
                    <a:pt x="14604" y="12876"/>
                  </a:lnTo>
                  <a:lnTo>
                    <a:pt x="14562" y="12900"/>
                  </a:lnTo>
                  <a:lnTo>
                    <a:pt x="14519" y="12922"/>
                  </a:lnTo>
                  <a:lnTo>
                    <a:pt x="14474" y="12942"/>
                  </a:lnTo>
                  <a:lnTo>
                    <a:pt x="14429" y="12960"/>
                  </a:lnTo>
                  <a:lnTo>
                    <a:pt x="14382" y="12976"/>
                  </a:lnTo>
                  <a:lnTo>
                    <a:pt x="14335" y="12989"/>
                  </a:lnTo>
                  <a:lnTo>
                    <a:pt x="14285" y="13001"/>
                  </a:lnTo>
                  <a:lnTo>
                    <a:pt x="14236" y="13009"/>
                  </a:lnTo>
                  <a:lnTo>
                    <a:pt x="14186" y="13016"/>
                  </a:lnTo>
                  <a:lnTo>
                    <a:pt x="14134" y="13020"/>
                  </a:lnTo>
                  <a:lnTo>
                    <a:pt x="14083" y="13021"/>
                  </a:lnTo>
                  <a:lnTo>
                    <a:pt x="2012" y="13021"/>
                  </a:lnTo>
                  <a:lnTo>
                    <a:pt x="1961" y="13020"/>
                  </a:lnTo>
                  <a:lnTo>
                    <a:pt x="1909" y="13016"/>
                  </a:lnTo>
                  <a:lnTo>
                    <a:pt x="1859" y="13009"/>
                  </a:lnTo>
                  <a:lnTo>
                    <a:pt x="1810" y="13001"/>
                  </a:lnTo>
                  <a:lnTo>
                    <a:pt x="1760" y="12989"/>
                  </a:lnTo>
                  <a:lnTo>
                    <a:pt x="1713" y="12976"/>
                  </a:lnTo>
                  <a:lnTo>
                    <a:pt x="1666" y="12960"/>
                  </a:lnTo>
                  <a:lnTo>
                    <a:pt x="1621" y="12942"/>
                  </a:lnTo>
                  <a:lnTo>
                    <a:pt x="1576" y="12922"/>
                  </a:lnTo>
                  <a:lnTo>
                    <a:pt x="1533" y="12900"/>
                  </a:lnTo>
                  <a:lnTo>
                    <a:pt x="1491" y="12876"/>
                  </a:lnTo>
                  <a:lnTo>
                    <a:pt x="1450" y="12850"/>
                  </a:lnTo>
                  <a:lnTo>
                    <a:pt x="1410" y="12822"/>
                  </a:lnTo>
                  <a:lnTo>
                    <a:pt x="1372" y="12792"/>
                  </a:lnTo>
                  <a:lnTo>
                    <a:pt x="1336" y="12761"/>
                  </a:lnTo>
                  <a:lnTo>
                    <a:pt x="1301" y="12728"/>
                  </a:lnTo>
                  <a:lnTo>
                    <a:pt x="1267" y="12693"/>
                  </a:lnTo>
                  <a:lnTo>
                    <a:pt x="1236" y="12657"/>
                  </a:lnTo>
                  <a:lnTo>
                    <a:pt x="1206" y="12619"/>
                  </a:lnTo>
                  <a:lnTo>
                    <a:pt x="1178" y="12580"/>
                  </a:lnTo>
                  <a:lnTo>
                    <a:pt x="1152" y="12539"/>
                  </a:lnTo>
                  <a:lnTo>
                    <a:pt x="1128" y="12496"/>
                  </a:lnTo>
                  <a:lnTo>
                    <a:pt x="1106" y="12453"/>
                  </a:lnTo>
                  <a:lnTo>
                    <a:pt x="1085" y="12409"/>
                  </a:lnTo>
                  <a:lnTo>
                    <a:pt x="1067" y="12363"/>
                  </a:lnTo>
                  <a:lnTo>
                    <a:pt x="1051" y="12317"/>
                  </a:lnTo>
                  <a:lnTo>
                    <a:pt x="1038" y="12270"/>
                  </a:lnTo>
                  <a:lnTo>
                    <a:pt x="1026" y="12221"/>
                  </a:lnTo>
                  <a:lnTo>
                    <a:pt x="1018" y="12172"/>
                  </a:lnTo>
                  <a:lnTo>
                    <a:pt x="1011" y="12122"/>
                  </a:lnTo>
                  <a:lnTo>
                    <a:pt x="1007" y="12071"/>
                  </a:lnTo>
                  <a:lnTo>
                    <a:pt x="1006" y="12020"/>
                  </a:lnTo>
                  <a:lnTo>
                    <a:pt x="1006" y="8514"/>
                  </a:lnTo>
                  <a:lnTo>
                    <a:pt x="3018" y="1002"/>
                  </a:lnTo>
                  <a:lnTo>
                    <a:pt x="13077" y="1002"/>
                  </a:lnTo>
                  <a:lnTo>
                    <a:pt x="15089" y="8514"/>
                  </a:lnTo>
                  <a:lnTo>
                    <a:pt x="15089" y="12020"/>
                  </a:lnTo>
                  <a:close/>
                  <a:moveTo>
                    <a:pt x="16057" y="8241"/>
                  </a:moveTo>
                  <a:lnTo>
                    <a:pt x="14044" y="726"/>
                  </a:lnTo>
                  <a:lnTo>
                    <a:pt x="14032" y="686"/>
                  </a:lnTo>
                  <a:lnTo>
                    <a:pt x="14018" y="647"/>
                  </a:lnTo>
                  <a:lnTo>
                    <a:pt x="14003" y="609"/>
                  </a:lnTo>
                  <a:lnTo>
                    <a:pt x="13986" y="572"/>
                  </a:lnTo>
                  <a:lnTo>
                    <a:pt x="13967" y="536"/>
                  </a:lnTo>
                  <a:lnTo>
                    <a:pt x="13947" y="501"/>
                  </a:lnTo>
                  <a:lnTo>
                    <a:pt x="13927" y="466"/>
                  </a:lnTo>
                  <a:lnTo>
                    <a:pt x="13904" y="433"/>
                  </a:lnTo>
                  <a:lnTo>
                    <a:pt x="13881" y="400"/>
                  </a:lnTo>
                  <a:lnTo>
                    <a:pt x="13856" y="369"/>
                  </a:lnTo>
                  <a:lnTo>
                    <a:pt x="13830" y="338"/>
                  </a:lnTo>
                  <a:lnTo>
                    <a:pt x="13802" y="309"/>
                  </a:lnTo>
                  <a:lnTo>
                    <a:pt x="13774" y="280"/>
                  </a:lnTo>
                  <a:lnTo>
                    <a:pt x="13745" y="253"/>
                  </a:lnTo>
                  <a:lnTo>
                    <a:pt x="13714" y="227"/>
                  </a:lnTo>
                  <a:lnTo>
                    <a:pt x="13683" y="202"/>
                  </a:lnTo>
                  <a:lnTo>
                    <a:pt x="13651" y="179"/>
                  </a:lnTo>
                  <a:lnTo>
                    <a:pt x="13617" y="157"/>
                  </a:lnTo>
                  <a:lnTo>
                    <a:pt x="13583" y="136"/>
                  </a:lnTo>
                  <a:lnTo>
                    <a:pt x="13548" y="117"/>
                  </a:lnTo>
                  <a:lnTo>
                    <a:pt x="13512" y="99"/>
                  </a:lnTo>
                  <a:lnTo>
                    <a:pt x="13476" y="82"/>
                  </a:lnTo>
                  <a:lnTo>
                    <a:pt x="13438" y="67"/>
                  </a:lnTo>
                  <a:lnTo>
                    <a:pt x="13400" y="53"/>
                  </a:lnTo>
                  <a:lnTo>
                    <a:pt x="13361" y="41"/>
                  </a:lnTo>
                  <a:lnTo>
                    <a:pt x="13323" y="30"/>
                  </a:lnTo>
                  <a:lnTo>
                    <a:pt x="13282" y="21"/>
                  </a:lnTo>
                  <a:lnTo>
                    <a:pt x="13242" y="14"/>
                  </a:lnTo>
                  <a:lnTo>
                    <a:pt x="13202" y="8"/>
                  </a:lnTo>
                  <a:lnTo>
                    <a:pt x="13161" y="3"/>
                  </a:lnTo>
                  <a:lnTo>
                    <a:pt x="13118" y="1"/>
                  </a:lnTo>
                  <a:lnTo>
                    <a:pt x="13077" y="0"/>
                  </a:lnTo>
                  <a:lnTo>
                    <a:pt x="8048" y="0"/>
                  </a:lnTo>
                  <a:lnTo>
                    <a:pt x="3018" y="0"/>
                  </a:lnTo>
                  <a:lnTo>
                    <a:pt x="2977" y="1"/>
                  </a:lnTo>
                  <a:lnTo>
                    <a:pt x="2934" y="3"/>
                  </a:lnTo>
                  <a:lnTo>
                    <a:pt x="2893" y="8"/>
                  </a:lnTo>
                  <a:lnTo>
                    <a:pt x="2853" y="14"/>
                  </a:lnTo>
                  <a:lnTo>
                    <a:pt x="2813" y="21"/>
                  </a:lnTo>
                  <a:lnTo>
                    <a:pt x="2772" y="30"/>
                  </a:lnTo>
                  <a:lnTo>
                    <a:pt x="2734" y="41"/>
                  </a:lnTo>
                  <a:lnTo>
                    <a:pt x="2695" y="53"/>
                  </a:lnTo>
                  <a:lnTo>
                    <a:pt x="2657" y="67"/>
                  </a:lnTo>
                  <a:lnTo>
                    <a:pt x="2619" y="82"/>
                  </a:lnTo>
                  <a:lnTo>
                    <a:pt x="2583" y="99"/>
                  </a:lnTo>
                  <a:lnTo>
                    <a:pt x="2547" y="117"/>
                  </a:lnTo>
                  <a:lnTo>
                    <a:pt x="2512" y="136"/>
                  </a:lnTo>
                  <a:lnTo>
                    <a:pt x="2478" y="157"/>
                  </a:lnTo>
                  <a:lnTo>
                    <a:pt x="2444" y="179"/>
                  </a:lnTo>
                  <a:lnTo>
                    <a:pt x="2412" y="202"/>
                  </a:lnTo>
                  <a:lnTo>
                    <a:pt x="2381" y="227"/>
                  </a:lnTo>
                  <a:lnTo>
                    <a:pt x="2350" y="253"/>
                  </a:lnTo>
                  <a:lnTo>
                    <a:pt x="2321" y="280"/>
                  </a:lnTo>
                  <a:lnTo>
                    <a:pt x="2293" y="309"/>
                  </a:lnTo>
                  <a:lnTo>
                    <a:pt x="2265" y="338"/>
                  </a:lnTo>
                  <a:lnTo>
                    <a:pt x="2239" y="369"/>
                  </a:lnTo>
                  <a:lnTo>
                    <a:pt x="2214" y="400"/>
                  </a:lnTo>
                  <a:lnTo>
                    <a:pt x="2191" y="433"/>
                  </a:lnTo>
                  <a:lnTo>
                    <a:pt x="2168" y="466"/>
                  </a:lnTo>
                  <a:lnTo>
                    <a:pt x="2148" y="501"/>
                  </a:lnTo>
                  <a:lnTo>
                    <a:pt x="2128" y="536"/>
                  </a:lnTo>
                  <a:lnTo>
                    <a:pt x="2109" y="572"/>
                  </a:lnTo>
                  <a:lnTo>
                    <a:pt x="2092" y="609"/>
                  </a:lnTo>
                  <a:lnTo>
                    <a:pt x="2077" y="647"/>
                  </a:lnTo>
                  <a:lnTo>
                    <a:pt x="2063" y="686"/>
                  </a:lnTo>
                  <a:lnTo>
                    <a:pt x="2051" y="726"/>
                  </a:lnTo>
                  <a:lnTo>
                    <a:pt x="38" y="8241"/>
                  </a:lnTo>
                  <a:lnTo>
                    <a:pt x="29" y="8276"/>
                  </a:lnTo>
                  <a:lnTo>
                    <a:pt x="21" y="8310"/>
                  </a:lnTo>
                  <a:lnTo>
                    <a:pt x="15" y="8344"/>
                  </a:lnTo>
                  <a:lnTo>
                    <a:pt x="9" y="8378"/>
                  </a:lnTo>
                  <a:lnTo>
                    <a:pt x="5" y="8412"/>
                  </a:lnTo>
                  <a:lnTo>
                    <a:pt x="2" y="8447"/>
                  </a:lnTo>
                  <a:lnTo>
                    <a:pt x="1" y="8480"/>
                  </a:lnTo>
                  <a:lnTo>
                    <a:pt x="0" y="8514"/>
                  </a:lnTo>
                  <a:lnTo>
                    <a:pt x="0" y="12020"/>
                  </a:lnTo>
                  <a:lnTo>
                    <a:pt x="3" y="12123"/>
                  </a:lnTo>
                  <a:lnTo>
                    <a:pt x="10" y="12224"/>
                  </a:lnTo>
                  <a:lnTo>
                    <a:pt x="23" y="12325"/>
                  </a:lnTo>
                  <a:lnTo>
                    <a:pt x="41" y="12423"/>
                  </a:lnTo>
                  <a:lnTo>
                    <a:pt x="63" y="12521"/>
                  </a:lnTo>
                  <a:lnTo>
                    <a:pt x="91" y="12616"/>
                  </a:lnTo>
                  <a:lnTo>
                    <a:pt x="122" y="12709"/>
                  </a:lnTo>
                  <a:lnTo>
                    <a:pt x="158" y="12799"/>
                  </a:lnTo>
                  <a:lnTo>
                    <a:pt x="198" y="12888"/>
                  </a:lnTo>
                  <a:lnTo>
                    <a:pt x="242" y="12974"/>
                  </a:lnTo>
                  <a:lnTo>
                    <a:pt x="292" y="13058"/>
                  </a:lnTo>
                  <a:lnTo>
                    <a:pt x="344" y="13140"/>
                  </a:lnTo>
                  <a:lnTo>
                    <a:pt x="399" y="13219"/>
                  </a:lnTo>
                  <a:lnTo>
                    <a:pt x="460" y="13294"/>
                  </a:lnTo>
                  <a:lnTo>
                    <a:pt x="523" y="13367"/>
                  </a:lnTo>
                  <a:lnTo>
                    <a:pt x="589" y="13436"/>
                  </a:lnTo>
                  <a:lnTo>
                    <a:pt x="659" y="13502"/>
                  </a:lnTo>
                  <a:lnTo>
                    <a:pt x="732" y="13565"/>
                  </a:lnTo>
                  <a:lnTo>
                    <a:pt x="808" y="13625"/>
                  </a:lnTo>
                  <a:lnTo>
                    <a:pt x="887" y="13680"/>
                  </a:lnTo>
                  <a:lnTo>
                    <a:pt x="969" y="13733"/>
                  </a:lnTo>
                  <a:lnTo>
                    <a:pt x="1053" y="13782"/>
                  </a:lnTo>
                  <a:lnTo>
                    <a:pt x="1140" y="13826"/>
                  </a:lnTo>
                  <a:lnTo>
                    <a:pt x="1228" y="13866"/>
                  </a:lnTo>
                  <a:lnTo>
                    <a:pt x="1320" y="13902"/>
                  </a:lnTo>
                  <a:lnTo>
                    <a:pt x="1413" y="13933"/>
                  </a:lnTo>
                  <a:lnTo>
                    <a:pt x="1509" y="13960"/>
                  </a:lnTo>
                  <a:lnTo>
                    <a:pt x="1606" y="13982"/>
                  </a:lnTo>
                  <a:lnTo>
                    <a:pt x="1705" y="14000"/>
                  </a:lnTo>
                  <a:lnTo>
                    <a:pt x="1806" y="14013"/>
                  </a:lnTo>
                  <a:lnTo>
                    <a:pt x="1908" y="14020"/>
                  </a:lnTo>
                  <a:lnTo>
                    <a:pt x="2012" y="14023"/>
                  </a:lnTo>
                  <a:lnTo>
                    <a:pt x="14083" y="14023"/>
                  </a:lnTo>
                  <a:lnTo>
                    <a:pt x="14187" y="14020"/>
                  </a:lnTo>
                  <a:lnTo>
                    <a:pt x="14289" y="14013"/>
                  </a:lnTo>
                  <a:lnTo>
                    <a:pt x="14390" y="14000"/>
                  </a:lnTo>
                  <a:lnTo>
                    <a:pt x="14489" y="13982"/>
                  </a:lnTo>
                  <a:lnTo>
                    <a:pt x="14586" y="13960"/>
                  </a:lnTo>
                  <a:lnTo>
                    <a:pt x="14682" y="13933"/>
                  </a:lnTo>
                  <a:lnTo>
                    <a:pt x="14775" y="13902"/>
                  </a:lnTo>
                  <a:lnTo>
                    <a:pt x="14867" y="13866"/>
                  </a:lnTo>
                  <a:lnTo>
                    <a:pt x="14955" y="13826"/>
                  </a:lnTo>
                  <a:lnTo>
                    <a:pt x="15042" y="13782"/>
                  </a:lnTo>
                  <a:lnTo>
                    <a:pt x="15126" y="13733"/>
                  </a:lnTo>
                  <a:lnTo>
                    <a:pt x="15208" y="13680"/>
                  </a:lnTo>
                  <a:lnTo>
                    <a:pt x="15287" y="13625"/>
                  </a:lnTo>
                  <a:lnTo>
                    <a:pt x="15363" y="13565"/>
                  </a:lnTo>
                  <a:lnTo>
                    <a:pt x="15436" y="13502"/>
                  </a:lnTo>
                  <a:lnTo>
                    <a:pt x="15506" y="13436"/>
                  </a:lnTo>
                  <a:lnTo>
                    <a:pt x="15572" y="13367"/>
                  </a:lnTo>
                  <a:lnTo>
                    <a:pt x="15635" y="13294"/>
                  </a:lnTo>
                  <a:lnTo>
                    <a:pt x="15696" y="13219"/>
                  </a:lnTo>
                  <a:lnTo>
                    <a:pt x="15751" y="13140"/>
                  </a:lnTo>
                  <a:lnTo>
                    <a:pt x="15803" y="13058"/>
                  </a:lnTo>
                  <a:lnTo>
                    <a:pt x="15853" y="12974"/>
                  </a:lnTo>
                  <a:lnTo>
                    <a:pt x="15897" y="12888"/>
                  </a:lnTo>
                  <a:lnTo>
                    <a:pt x="15937" y="12799"/>
                  </a:lnTo>
                  <a:lnTo>
                    <a:pt x="15973" y="12709"/>
                  </a:lnTo>
                  <a:lnTo>
                    <a:pt x="16004" y="12616"/>
                  </a:lnTo>
                  <a:lnTo>
                    <a:pt x="16032" y="12521"/>
                  </a:lnTo>
                  <a:lnTo>
                    <a:pt x="16054" y="12423"/>
                  </a:lnTo>
                  <a:lnTo>
                    <a:pt x="16072" y="12325"/>
                  </a:lnTo>
                  <a:lnTo>
                    <a:pt x="16085" y="12224"/>
                  </a:lnTo>
                  <a:lnTo>
                    <a:pt x="16092" y="12123"/>
                  </a:lnTo>
                  <a:lnTo>
                    <a:pt x="16095" y="12020"/>
                  </a:lnTo>
                  <a:lnTo>
                    <a:pt x="16095" y="8514"/>
                  </a:lnTo>
                  <a:lnTo>
                    <a:pt x="16094" y="8480"/>
                  </a:lnTo>
                  <a:lnTo>
                    <a:pt x="16093" y="8447"/>
                  </a:lnTo>
                  <a:lnTo>
                    <a:pt x="16090" y="8412"/>
                  </a:lnTo>
                  <a:lnTo>
                    <a:pt x="16086" y="8378"/>
                  </a:lnTo>
                  <a:lnTo>
                    <a:pt x="16080" y="8344"/>
                  </a:lnTo>
                  <a:lnTo>
                    <a:pt x="16074" y="8310"/>
                  </a:lnTo>
                  <a:lnTo>
                    <a:pt x="16066" y="8276"/>
                  </a:lnTo>
                  <a:lnTo>
                    <a:pt x="16057" y="8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7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08" name="ïsḷîdê">
              <a:extLst>
                <a:ext uri="{FF2B5EF4-FFF2-40B4-BE49-F238E27FC236}">
                  <a16:creationId xmlns:a16="http://schemas.microsoft.com/office/drawing/2014/main" id="{5565E0BD-61E0-439A-A9B3-DDDF20407144}"/>
                </a:ext>
              </a:extLst>
            </p:cNvPr>
            <p:cNvSpPr/>
            <p:nvPr/>
          </p:nvSpPr>
          <p:spPr bwMode="auto">
            <a:xfrm>
              <a:off x="2297602" y="660969"/>
              <a:ext cx="226135" cy="166698"/>
            </a:xfrm>
            <a:custGeom>
              <a:avLst/>
              <a:gdLst>
                <a:gd name="T0" fmla="*/ 9354 w 12261"/>
                <a:gd name="T1" fmla="*/ 6015 h 9015"/>
                <a:gd name="T2" fmla="*/ 9182 w 12261"/>
                <a:gd name="T3" fmla="*/ 6048 h 9015"/>
                <a:gd name="T4" fmla="*/ 9021 w 12261"/>
                <a:gd name="T5" fmla="*/ 6109 h 9015"/>
                <a:gd name="T6" fmla="*/ 8874 w 12261"/>
                <a:gd name="T7" fmla="*/ 6196 h 9015"/>
                <a:gd name="T8" fmla="*/ 8743 w 12261"/>
                <a:gd name="T9" fmla="*/ 6308 h 9015"/>
                <a:gd name="T10" fmla="*/ 8632 w 12261"/>
                <a:gd name="T11" fmla="*/ 6442 h 9015"/>
                <a:gd name="T12" fmla="*/ 7833 w 12261"/>
                <a:gd name="T13" fmla="*/ 8013 h 9015"/>
                <a:gd name="T14" fmla="*/ 3649 w 12261"/>
                <a:gd name="T15" fmla="*/ 6471 h 9015"/>
                <a:gd name="T16" fmla="*/ 3542 w 12261"/>
                <a:gd name="T17" fmla="*/ 6333 h 9015"/>
                <a:gd name="T18" fmla="*/ 3415 w 12261"/>
                <a:gd name="T19" fmla="*/ 6216 h 9015"/>
                <a:gd name="T20" fmla="*/ 3271 w 12261"/>
                <a:gd name="T21" fmla="*/ 6125 h 9015"/>
                <a:gd name="T22" fmla="*/ 3113 w 12261"/>
                <a:gd name="T23" fmla="*/ 6058 h 9015"/>
                <a:gd name="T24" fmla="*/ 2943 w 12261"/>
                <a:gd name="T25" fmla="*/ 6020 h 9015"/>
                <a:gd name="T26" fmla="*/ 1966 w 12261"/>
                <a:gd name="T27" fmla="*/ 6010 h 9015"/>
                <a:gd name="T28" fmla="*/ 10296 w 12261"/>
                <a:gd name="T29" fmla="*/ 6010 h 9015"/>
                <a:gd name="T30" fmla="*/ 2173 w 12261"/>
                <a:gd name="T31" fmla="*/ 4 h 9015"/>
                <a:gd name="T32" fmla="*/ 2073 w 12261"/>
                <a:gd name="T33" fmla="*/ 27 h 9015"/>
                <a:gd name="T34" fmla="*/ 1980 w 12261"/>
                <a:gd name="T35" fmla="*/ 70 h 9015"/>
                <a:gd name="T36" fmla="*/ 1899 w 12261"/>
                <a:gd name="T37" fmla="*/ 129 h 9015"/>
                <a:gd name="T38" fmla="*/ 1831 w 12261"/>
                <a:gd name="T39" fmla="*/ 205 h 9015"/>
                <a:gd name="T40" fmla="*/ 1779 w 12261"/>
                <a:gd name="T41" fmla="*/ 294 h 9015"/>
                <a:gd name="T42" fmla="*/ 17 w 12261"/>
                <a:gd name="T43" fmla="*/ 6382 h 9015"/>
                <a:gd name="T44" fmla="*/ 0 w 12261"/>
                <a:gd name="T45" fmla="*/ 6525 h 9015"/>
                <a:gd name="T46" fmla="*/ 24 w 12261"/>
                <a:gd name="T47" fmla="*/ 6664 h 9015"/>
                <a:gd name="T48" fmla="*/ 88 w 12261"/>
                <a:gd name="T49" fmla="*/ 6792 h 9015"/>
                <a:gd name="T50" fmla="*/ 185 w 12261"/>
                <a:gd name="T51" fmla="*/ 6899 h 9015"/>
                <a:gd name="T52" fmla="*/ 307 w 12261"/>
                <a:gd name="T53" fmla="*/ 6972 h 9015"/>
                <a:gd name="T54" fmla="*/ 446 w 12261"/>
                <a:gd name="T55" fmla="*/ 7009 h 9015"/>
                <a:gd name="T56" fmla="*/ 2802 w 12261"/>
                <a:gd name="T57" fmla="*/ 7012 h 9015"/>
                <a:gd name="T58" fmla="*/ 3602 w 12261"/>
                <a:gd name="T59" fmla="*/ 8582 h 9015"/>
                <a:gd name="T60" fmla="*/ 3712 w 12261"/>
                <a:gd name="T61" fmla="*/ 8716 h 9015"/>
                <a:gd name="T62" fmla="*/ 3843 w 12261"/>
                <a:gd name="T63" fmla="*/ 8828 h 9015"/>
                <a:gd name="T64" fmla="*/ 3991 w 12261"/>
                <a:gd name="T65" fmla="*/ 8915 h 9015"/>
                <a:gd name="T66" fmla="*/ 4152 w 12261"/>
                <a:gd name="T67" fmla="*/ 8976 h 9015"/>
                <a:gd name="T68" fmla="*/ 4323 w 12261"/>
                <a:gd name="T69" fmla="*/ 9009 h 9015"/>
                <a:gd name="T70" fmla="*/ 7868 w 12261"/>
                <a:gd name="T71" fmla="*/ 9014 h 9015"/>
                <a:gd name="T72" fmla="*/ 8042 w 12261"/>
                <a:gd name="T73" fmla="*/ 8993 h 9015"/>
                <a:gd name="T74" fmla="*/ 8208 w 12261"/>
                <a:gd name="T75" fmla="*/ 8943 h 9015"/>
                <a:gd name="T76" fmla="*/ 8361 w 12261"/>
                <a:gd name="T77" fmla="*/ 8866 h 9015"/>
                <a:gd name="T78" fmla="*/ 8498 w 12261"/>
                <a:gd name="T79" fmla="*/ 8764 h 9015"/>
                <a:gd name="T80" fmla="*/ 8618 w 12261"/>
                <a:gd name="T81" fmla="*/ 8638 h 9015"/>
                <a:gd name="T82" fmla="*/ 8716 w 12261"/>
                <a:gd name="T83" fmla="*/ 8493 h 9015"/>
                <a:gd name="T84" fmla="*/ 11758 w 12261"/>
                <a:gd name="T85" fmla="*/ 7012 h 9015"/>
                <a:gd name="T86" fmla="*/ 11900 w 12261"/>
                <a:gd name="T87" fmla="*/ 6991 h 9015"/>
                <a:gd name="T88" fmla="*/ 12029 w 12261"/>
                <a:gd name="T89" fmla="*/ 6932 h 9015"/>
                <a:gd name="T90" fmla="*/ 12138 w 12261"/>
                <a:gd name="T91" fmla="*/ 6839 h 9015"/>
                <a:gd name="T92" fmla="*/ 12215 w 12261"/>
                <a:gd name="T93" fmla="*/ 6717 h 9015"/>
                <a:gd name="T94" fmla="*/ 12256 w 12261"/>
                <a:gd name="T95" fmla="*/ 6581 h 9015"/>
                <a:gd name="T96" fmla="*/ 12256 w 12261"/>
                <a:gd name="T97" fmla="*/ 6439 h 9015"/>
                <a:gd name="T98" fmla="*/ 10498 w 12261"/>
                <a:gd name="T99" fmla="*/ 332 h 9015"/>
                <a:gd name="T100" fmla="*/ 10453 w 12261"/>
                <a:gd name="T101" fmla="*/ 239 h 9015"/>
                <a:gd name="T102" fmla="*/ 10392 w 12261"/>
                <a:gd name="T103" fmla="*/ 159 h 9015"/>
                <a:gd name="T104" fmla="*/ 10315 w 12261"/>
                <a:gd name="T105" fmla="*/ 92 h 9015"/>
                <a:gd name="T106" fmla="*/ 10227 w 12261"/>
                <a:gd name="T107" fmla="*/ 42 h 9015"/>
                <a:gd name="T108" fmla="*/ 10129 w 12261"/>
                <a:gd name="T109" fmla="*/ 11 h 9015"/>
                <a:gd name="T110" fmla="*/ 10024 w 12261"/>
                <a:gd name="T111" fmla="*/ 0 h 90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261" h="9015">
                  <a:moveTo>
                    <a:pt x="10296" y="6010"/>
                  </a:moveTo>
                  <a:lnTo>
                    <a:pt x="9460" y="6010"/>
                  </a:lnTo>
                  <a:lnTo>
                    <a:pt x="9424" y="6011"/>
                  </a:lnTo>
                  <a:lnTo>
                    <a:pt x="9389" y="6012"/>
                  </a:lnTo>
                  <a:lnTo>
                    <a:pt x="9354" y="6015"/>
                  </a:lnTo>
                  <a:lnTo>
                    <a:pt x="9318" y="6020"/>
                  </a:lnTo>
                  <a:lnTo>
                    <a:pt x="9283" y="6025"/>
                  </a:lnTo>
                  <a:lnTo>
                    <a:pt x="9249" y="6032"/>
                  </a:lnTo>
                  <a:lnTo>
                    <a:pt x="9216" y="6039"/>
                  </a:lnTo>
                  <a:lnTo>
                    <a:pt x="9182" y="6048"/>
                  </a:lnTo>
                  <a:lnTo>
                    <a:pt x="9148" y="6058"/>
                  </a:lnTo>
                  <a:lnTo>
                    <a:pt x="9116" y="6069"/>
                  </a:lnTo>
                  <a:lnTo>
                    <a:pt x="9084" y="6082"/>
                  </a:lnTo>
                  <a:lnTo>
                    <a:pt x="9052" y="6095"/>
                  </a:lnTo>
                  <a:lnTo>
                    <a:pt x="9021" y="6109"/>
                  </a:lnTo>
                  <a:lnTo>
                    <a:pt x="8990" y="6125"/>
                  </a:lnTo>
                  <a:lnTo>
                    <a:pt x="8960" y="6141"/>
                  </a:lnTo>
                  <a:lnTo>
                    <a:pt x="8931" y="6158"/>
                  </a:lnTo>
                  <a:lnTo>
                    <a:pt x="8902" y="6177"/>
                  </a:lnTo>
                  <a:lnTo>
                    <a:pt x="8874" y="6196"/>
                  </a:lnTo>
                  <a:lnTo>
                    <a:pt x="8847" y="6216"/>
                  </a:lnTo>
                  <a:lnTo>
                    <a:pt x="8819" y="6239"/>
                  </a:lnTo>
                  <a:lnTo>
                    <a:pt x="8793" y="6261"/>
                  </a:lnTo>
                  <a:lnTo>
                    <a:pt x="8768" y="6284"/>
                  </a:lnTo>
                  <a:lnTo>
                    <a:pt x="8743" y="6308"/>
                  </a:lnTo>
                  <a:lnTo>
                    <a:pt x="8719" y="6333"/>
                  </a:lnTo>
                  <a:lnTo>
                    <a:pt x="8697" y="6359"/>
                  </a:lnTo>
                  <a:lnTo>
                    <a:pt x="8675" y="6386"/>
                  </a:lnTo>
                  <a:lnTo>
                    <a:pt x="8652" y="6413"/>
                  </a:lnTo>
                  <a:lnTo>
                    <a:pt x="8632" y="6442"/>
                  </a:lnTo>
                  <a:lnTo>
                    <a:pt x="8613" y="6471"/>
                  </a:lnTo>
                  <a:lnTo>
                    <a:pt x="8594" y="6501"/>
                  </a:lnTo>
                  <a:lnTo>
                    <a:pt x="8577" y="6532"/>
                  </a:lnTo>
                  <a:lnTo>
                    <a:pt x="8560" y="6563"/>
                  </a:lnTo>
                  <a:lnTo>
                    <a:pt x="7833" y="8013"/>
                  </a:lnTo>
                  <a:lnTo>
                    <a:pt x="4429" y="8013"/>
                  </a:lnTo>
                  <a:lnTo>
                    <a:pt x="3701" y="6563"/>
                  </a:lnTo>
                  <a:lnTo>
                    <a:pt x="3685" y="6532"/>
                  </a:lnTo>
                  <a:lnTo>
                    <a:pt x="3667" y="6501"/>
                  </a:lnTo>
                  <a:lnTo>
                    <a:pt x="3649" y="6471"/>
                  </a:lnTo>
                  <a:lnTo>
                    <a:pt x="3629" y="6442"/>
                  </a:lnTo>
                  <a:lnTo>
                    <a:pt x="3609" y="6413"/>
                  </a:lnTo>
                  <a:lnTo>
                    <a:pt x="3587" y="6386"/>
                  </a:lnTo>
                  <a:lnTo>
                    <a:pt x="3565" y="6359"/>
                  </a:lnTo>
                  <a:lnTo>
                    <a:pt x="3542" y="6333"/>
                  </a:lnTo>
                  <a:lnTo>
                    <a:pt x="3518" y="6308"/>
                  </a:lnTo>
                  <a:lnTo>
                    <a:pt x="3494" y="6284"/>
                  </a:lnTo>
                  <a:lnTo>
                    <a:pt x="3468" y="6261"/>
                  </a:lnTo>
                  <a:lnTo>
                    <a:pt x="3442" y="6239"/>
                  </a:lnTo>
                  <a:lnTo>
                    <a:pt x="3415" y="6216"/>
                  </a:lnTo>
                  <a:lnTo>
                    <a:pt x="3387" y="6196"/>
                  </a:lnTo>
                  <a:lnTo>
                    <a:pt x="3359" y="6177"/>
                  </a:lnTo>
                  <a:lnTo>
                    <a:pt x="3330" y="6158"/>
                  </a:lnTo>
                  <a:lnTo>
                    <a:pt x="3301" y="6141"/>
                  </a:lnTo>
                  <a:lnTo>
                    <a:pt x="3271" y="6125"/>
                  </a:lnTo>
                  <a:lnTo>
                    <a:pt x="3240" y="6109"/>
                  </a:lnTo>
                  <a:lnTo>
                    <a:pt x="3209" y="6095"/>
                  </a:lnTo>
                  <a:lnTo>
                    <a:pt x="3177" y="6082"/>
                  </a:lnTo>
                  <a:lnTo>
                    <a:pt x="3145" y="6069"/>
                  </a:lnTo>
                  <a:lnTo>
                    <a:pt x="3113" y="6058"/>
                  </a:lnTo>
                  <a:lnTo>
                    <a:pt x="3079" y="6048"/>
                  </a:lnTo>
                  <a:lnTo>
                    <a:pt x="3046" y="6039"/>
                  </a:lnTo>
                  <a:lnTo>
                    <a:pt x="3012" y="6032"/>
                  </a:lnTo>
                  <a:lnTo>
                    <a:pt x="2978" y="6025"/>
                  </a:lnTo>
                  <a:lnTo>
                    <a:pt x="2943" y="6020"/>
                  </a:lnTo>
                  <a:lnTo>
                    <a:pt x="2908" y="6015"/>
                  </a:lnTo>
                  <a:lnTo>
                    <a:pt x="2873" y="6012"/>
                  </a:lnTo>
                  <a:lnTo>
                    <a:pt x="2837" y="6011"/>
                  </a:lnTo>
                  <a:lnTo>
                    <a:pt x="2802" y="6010"/>
                  </a:lnTo>
                  <a:lnTo>
                    <a:pt x="1966" y="6010"/>
                  </a:lnTo>
                  <a:lnTo>
                    <a:pt x="766" y="6010"/>
                  </a:lnTo>
                  <a:lnTo>
                    <a:pt x="2237" y="501"/>
                  </a:lnTo>
                  <a:lnTo>
                    <a:pt x="10024" y="501"/>
                  </a:lnTo>
                  <a:lnTo>
                    <a:pt x="11495" y="6010"/>
                  </a:lnTo>
                  <a:lnTo>
                    <a:pt x="10296" y="6010"/>
                  </a:lnTo>
                  <a:close/>
                  <a:moveTo>
                    <a:pt x="10024" y="0"/>
                  </a:moveTo>
                  <a:lnTo>
                    <a:pt x="2237" y="0"/>
                  </a:lnTo>
                  <a:lnTo>
                    <a:pt x="2215" y="0"/>
                  </a:lnTo>
                  <a:lnTo>
                    <a:pt x="2194" y="2"/>
                  </a:lnTo>
                  <a:lnTo>
                    <a:pt x="2173" y="4"/>
                  </a:lnTo>
                  <a:lnTo>
                    <a:pt x="2153" y="7"/>
                  </a:lnTo>
                  <a:lnTo>
                    <a:pt x="2132" y="11"/>
                  </a:lnTo>
                  <a:lnTo>
                    <a:pt x="2112" y="15"/>
                  </a:lnTo>
                  <a:lnTo>
                    <a:pt x="2092" y="21"/>
                  </a:lnTo>
                  <a:lnTo>
                    <a:pt x="2073" y="27"/>
                  </a:lnTo>
                  <a:lnTo>
                    <a:pt x="2053" y="34"/>
                  </a:lnTo>
                  <a:lnTo>
                    <a:pt x="2034" y="42"/>
                  </a:lnTo>
                  <a:lnTo>
                    <a:pt x="2016" y="50"/>
                  </a:lnTo>
                  <a:lnTo>
                    <a:pt x="1998" y="60"/>
                  </a:lnTo>
                  <a:lnTo>
                    <a:pt x="1980" y="70"/>
                  </a:lnTo>
                  <a:lnTo>
                    <a:pt x="1963" y="80"/>
                  </a:lnTo>
                  <a:lnTo>
                    <a:pt x="1946" y="92"/>
                  </a:lnTo>
                  <a:lnTo>
                    <a:pt x="1930" y="104"/>
                  </a:lnTo>
                  <a:lnTo>
                    <a:pt x="1914" y="116"/>
                  </a:lnTo>
                  <a:lnTo>
                    <a:pt x="1899" y="129"/>
                  </a:lnTo>
                  <a:lnTo>
                    <a:pt x="1884" y="144"/>
                  </a:lnTo>
                  <a:lnTo>
                    <a:pt x="1869" y="159"/>
                  </a:lnTo>
                  <a:lnTo>
                    <a:pt x="1856" y="174"/>
                  </a:lnTo>
                  <a:lnTo>
                    <a:pt x="1843" y="189"/>
                  </a:lnTo>
                  <a:lnTo>
                    <a:pt x="1831" y="205"/>
                  </a:lnTo>
                  <a:lnTo>
                    <a:pt x="1819" y="222"/>
                  </a:lnTo>
                  <a:lnTo>
                    <a:pt x="1808" y="239"/>
                  </a:lnTo>
                  <a:lnTo>
                    <a:pt x="1798" y="257"/>
                  </a:lnTo>
                  <a:lnTo>
                    <a:pt x="1788" y="275"/>
                  </a:lnTo>
                  <a:lnTo>
                    <a:pt x="1779" y="294"/>
                  </a:lnTo>
                  <a:lnTo>
                    <a:pt x="1771" y="313"/>
                  </a:lnTo>
                  <a:lnTo>
                    <a:pt x="1763" y="332"/>
                  </a:lnTo>
                  <a:lnTo>
                    <a:pt x="1757" y="352"/>
                  </a:lnTo>
                  <a:lnTo>
                    <a:pt x="1751" y="372"/>
                  </a:lnTo>
                  <a:lnTo>
                    <a:pt x="17" y="6382"/>
                  </a:lnTo>
                  <a:lnTo>
                    <a:pt x="10" y="6411"/>
                  </a:lnTo>
                  <a:lnTo>
                    <a:pt x="5" y="6439"/>
                  </a:lnTo>
                  <a:lnTo>
                    <a:pt x="2" y="6468"/>
                  </a:lnTo>
                  <a:lnTo>
                    <a:pt x="0" y="6496"/>
                  </a:lnTo>
                  <a:lnTo>
                    <a:pt x="0" y="6525"/>
                  </a:lnTo>
                  <a:lnTo>
                    <a:pt x="2" y="6553"/>
                  </a:lnTo>
                  <a:lnTo>
                    <a:pt x="5" y="6581"/>
                  </a:lnTo>
                  <a:lnTo>
                    <a:pt x="10" y="6609"/>
                  </a:lnTo>
                  <a:lnTo>
                    <a:pt x="16" y="6637"/>
                  </a:lnTo>
                  <a:lnTo>
                    <a:pt x="24" y="6664"/>
                  </a:lnTo>
                  <a:lnTo>
                    <a:pt x="35" y="6691"/>
                  </a:lnTo>
                  <a:lnTo>
                    <a:pt x="46" y="6717"/>
                  </a:lnTo>
                  <a:lnTo>
                    <a:pt x="58" y="6743"/>
                  </a:lnTo>
                  <a:lnTo>
                    <a:pt x="72" y="6768"/>
                  </a:lnTo>
                  <a:lnTo>
                    <a:pt x="88" y="6792"/>
                  </a:lnTo>
                  <a:lnTo>
                    <a:pt x="105" y="6815"/>
                  </a:lnTo>
                  <a:lnTo>
                    <a:pt x="123" y="6839"/>
                  </a:lnTo>
                  <a:lnTo>
                    <a:pt x="143" y="6860"/>
                  </a:lnTo>
                  <a:lnTo>
                    <a:pt x="163" y="6880"/>
                  </a:lnTo>
                  <a:lnTo>
                    <a:pt x="185" y="6899"/>
                  </a:lnTo>
                  <a:lnTo>
                    <a:pt x="208" y="6916"/>
                  </a:lnTo>
                  <a:lnTo>
                    <a:pt x="232" y="6932"/>
                  </a:lnTo>
                  <a:lnTo>
                    <a:pt x="256" y="6947"/>
                  </a:lnTo>
                  <a:lnTo>
                    <a:pt x="281" y="6960"/>
                  </a:lnTo>
                  <a:lnTo>
                    <a:pt x="307" y="6972"/>
                  </a:lnTo>
                  <a:lnTo>
                    <a:pt x="334" y="6982"/>
                  </a:lnTo>
                  <a:lnTo>
                    <a:pt x="361" y="6991"/>
                  </a:lnTo>
                  <a:lnTo>
                    <a:pt x="389" y="6999"/>
                  </a:lnTo>
                  <a:lnTo>
                    <a:pt x="417" y="7004"/>
                  </a:lnTo>
                  <a:lnTo>
                    <a:pt x="446" y="7009"/>
                  </a:lnTo>
                  <a:lnTo>
                    <a:pt x="474" y="7011"/>
                  </a:lnTo>
                  <a:lnTo>
                    <a:pt x="503" y="7012"/>
                  </a:lnTo>
                  <a:lnTo>
                    <a:pt x="1966" y="7012"/>
                  </a:lnTo>
                  <a:lnTo>
                    <a:pt x="2539" y="7012"/>
                  </a:lnTo>
                  <a:lnTo>
                    <a:pt x="2802" y="7012"/>
                  </a:lnTo>
                  <a:lnTo>
                    <a:pt x="3529" y="8461"/>
                  </a:lnTo>
                  <a:lnTo>
                    <a:pt x="3546" y="8493"/>
                  </a:lnTo>
                  <a:lnTo>
                    <a:pt x="3563" y="8523"/>
                  </a:lnTo>
                  <a:lnTo>
                    <a:pt x="3581" y="8553"/>
                  </a:lnTo>
                  <a:lnTo>
                    <a:pt x="3602" y="8582"/>
                  </a:lnTo>
                  <a:lnTo>
                    <a:pt x="3622" y="8611"/>
                  </a:lnTo>
                  <a:lnTo>
                    <a:pt x="3643" y="8638"/>
                  </a:lnTo>
                  <a:lnTo>
                    <a:pt x="3665" y="8665"/>
                  </a:lnTo>
                  <a:lnTo>
                    <a:pt x="3688" y="8692"/>
                  </a:lnTo>
                  <a:lnTo>
                    <a:pt x="3712" y="8716"/>
                  </a:lnTo>
                  <a:lnTo>
                    <a:pt x="3736" y="8741"/>
                  </a:lnTo>
                  <a:lnTo>
                    <a:pt x="3763" y="8764"/>
                  </a:lnTo>
                  <a:lnTo>
                    <a:pt x="3789" y="8786"/>
                  </a:lnTo>
                  <a:lnTo>
                    <a:pt x="3815" y="8807"/>
                  </a:lnTo>
                  <a:lnTo>
                    <a:pt x="3843" y="8828"/>
                  </a:lnTo>
                  <a:lnTo>
                    <a:pt x="3871" y="8847"/>
                  </a:lnTo>
                  <a:lnTo>
                    <a:pt x="3900" y="8866"/>
                  </a:lnTo>
                  <a:lnTo>
                    <a:pt x="3930" y="8883"/>
                  </a:lnTo>
                  <a:lnTo>
                    <a:pt x="3960" y="8900"/>
                  </a:lnTo>
                  <a:lnTo>
                    <a:pt x="3991" y="8915"/>
                  </a:lnTo>
                  <a:lnTo>
                    <a:pt x="4022" y="8929"/>
                  </a:lnTo>
                  <a:lnTo>
                    <a:pt x="4053" y="8943"/>
                  </a:lnTo>
                  <a:lnTo>
                    <a:pt x="4085" y="8955"/>
                  </a:lnTo>
                  <a:lnTo>
                    <a:pt x="4119" y="8966"/>
                  </a:lnTo>
                  <a:lnTo>
                    <a:pt x="4152" y="8976"/>
                  </a:lnTo>
                  <a:lnTo>
                    <a:pt x="4185" y="8985"/>
                  </a:lnTo>
                  <a:lnTo>
                    <a:pt x="4219" y="8993"/>
                  </a:lnTo>
                  <a:lnTo>
                    <a:pt x="4253" y="9000"/>
                  </a:lnTo>
                  <a:lnTo>
                    <a:pt x="4288" y="9005"/>
                  </a:lnTo>
                  <a:lnTo>
                    <a:pt x="4323" y="9009"/>
                  </a:lnTo>
                  <a:lnTo>
                    <a:pt x="4358" y="9012"/>
                  </a:lnTo>
                  <a:lnTo>
                    <a:pt x="4393" y="9014"/>
                  </a:lnTo>
                  <a:lnTo>
                    <a:pt x="4429" y="9015"/>
                  </a:lnTo>
                  <a:lnTo>
                    <a:pt x="7833" y="9015"/>
                  </a:lnTo>
                  <a:lnTo>
                    <a:pt x="7868" y="9014"/>
                  </a:lnTo>
                  <a:lnTo>
                    <a:pt x="7903" y="9012"/>
                  </a:lnTo>
                  <a:lnTo>
                    <a:pt x="7938" y="9009"/>
                  </a:lnTo>
                  <a:lnTo>
                    <a:pt x="7973" y="9005"/>
                  </a:lnTo>
                  <a:lnTo>
                    <a:pt x="8008" y="9000"/>
                  </a:lnTo>
                  <a:lnTo>
                    <a:pt x="8042" y="8993"/>
                  </a:lnTo>
                  <a:lnTo>
                    <a:pt x="8076" y="8985"/>
                  </a:lnTo>
                  <a:lnTo>
                    <a:pt x="8109" y="8976"/>
                  </a:lnTo>
                  <a:lnTo>
                    <a:pt x="8142" y="8966"/>
                  </a:lnTo>
                  <a:lnTo>
                    <a:pt x="8176" y="8955"/>
                  </a:lnTo>
                  <a:lnTo>
                    <a:pt x="8208" y="8943"/>
                  </a:lnTo>
                  <a:lnTo>
                    <a:pt x="8239" y="8929"/>
                  </a:lnTo>
                  <a:lnTo>
                    <a:pt x="8270" y="8915"/>
                  </a:lnTo>
                  <a:lnTo>
                    <a:pt x="8301" y="8900"/>
                  </a:lnTo>
                  <a:lnTo>
                    <a:pt x="8331" y="8883"/>
                  </a:lnTo>
                  <a:lnTo>
                    <a:pt x="8361" y="8866"/>
                  </a:lnTo>
                  <a:lnTo>
                    <a:pt x="8390" y="8847"/>
                  </a:lnTo>
                  <a:lnTo>
                    <a:pt x="8418" y="8828"/>
                  </a:lnTo>
                  <a:lnTo>
                    <a:pt x="8446" y="8807"/>
                  </a:lnTo>
                  <a:lnTo>
                    <a:pt x="8472" y="8786"/>
                  </a:lnTo>
                  <a:lnTo>
                    <a:pt x="8498" y="8764"/>
                  </a:lnTo>
                  <a:lnTo>
                    <a:pt x="8525" y="8741"/>
                  </a:lnTo>
                  <a:lnTo>
                    <a:pt x="8549" y="8716"/>
                  </a:lnTo>
                  <a:lnTo>
                    <a:pt x="8573" y="8692"/>
                  </a:lnTo>
                  <a:lnTo>
                    <a:pt x="8596" y="8665"/>
                  </a:lnTo>
                  <a:lnTo>
                    <a:pt x="8618" y="8638"/>
                  </a:lnTo>
                  <a:lnTo>
                    <a:pt x="8639" y="8611"/>
                  </a:lnTo>
                  <a:lnTo>
                    <a:pt x="8660" y="8582"/>
                  </a:lnTo>
                  <a:lnTo>
                    <a:pt x="8680" y="8553"/>
                  </a:lnTo>
                  <a:lnTo>
                    <a:pt x="8698" y="8523"/>
                  </a:lnTo>
                  <a:lnTo>
                    <a:pt x="8716" y="8493"/>
                  </a:lnTo>
                  <a:lnTo>
                    <a:pt x="8732" y="8461"/>
                  </a:lnTo>
                  <a:lnTo>
                    <a:pt x="9460" y="7012"/>
                  </a:lnTo>
                  <a:lnTo>
                    <a:pt x="9722" y="7012"/>
                  </a:lnTo>
                  <a:lnTo>
                    <a:pt x="10296" y="7012"/>
                  </a:lnTo>
                  <a:lnTo>
                    <a:pt x="11758" y="7012"/>
                  </a:lnTo>
                  <a:lnTo>
                    <a:pt x="11787" y="7011"/>
                  </a:lnTo>
                  <a:lnTo>
                    <a:pt x="11815" y="7009"/>
                  </a:lnTo>
                  <a:lnTo>
                    <a:pt x="11844" y="7004"/>
                  </a:lnTo>
                  <a:lnTo>
                    <a:pt x="11872" y="6999"/>
                  </a:lnTo>
                  <a:lnTo>
                    <a:pt x="11900" y="6991"/>
                  </a:lnTo>
                  <a:lnTo>
                    <a:pt x="11927" y="6982"/>
                  </a:lnTo>
                  <a:lnTo>
                    <a:pt x="11954" y="6972"/>
                  </a:lnTo>
                  <a:lnTo>
                    <a:pt x="11980" y="6960"/>
                  </a:lnTo>
                  <a:lnTo>
                    <a:pt x="12005" y="6947"/>
                  </a:lnTo>
                  <a:lnTo>
                    <a:pt x="12029" y="6932"/>
                  </a:lnTo>
                  <a:lnTo>
                    <a:pt x="12053" y="6916"/>
                  </a:lnTo>
                  <a:lnTo>
                    <a:pt x="12076" y="6899"/>
                  </a:lnTo>
                  <a:lnTo>
                    <a:pt x="12098" y="6880"/>
                  </a:lnTo>
                  <a:lnTo>
                    <a:pt x="12118" y="6860"/>
                  </a:lnTo>
                  <a:lnTo>
                    <a:pt x="12138" y="6839"/>
                  </a:lnTo>
                  <a:lnTo>
                    <a:pt x="12156" y="6815"/>
                  </a:lnTo>
                  <a:lnTo>
                    <a:pt x="12173" y="6792"/>
                  </a:lnTo>
                  <a:lnTo>
                    <a:pt x="12189" y="6768"/>
                  </a:lnTo>
                  <a:lnTo>
                    <a:pt x="12203" y="6743"/>
                  </a:lnTo>
                  <a:lnTo>
                    <a:pt x="12215" y="6717"/>
                  </a:lnTo>
                  <a:lnTo>
                    <a:pt x="12226" y="6691"/>
                  </a:lnTo>
                  <a:lnTo>
                    <a:pt x="12237" y="6664"/>
                  </a:lnTo>
                  <a:lnTo>
                    <a:pt x="12245" y="6637"/>
                  </a:lnTo>
                  <a:lnTo>
                    <a:pt x="12251" y="6609"/>
                  </a:lnTo>
                  <a:lnTo>
                    <a:pt x="12256" y="6581"/>
                  </a:lnTo>
                  <a:lnTo>
                    <a:pt x="12259" y="6553"/>
                  </a:lnTo>
                  <a:lnTo>
                    <a:pt x="12261" y="6525"/>
                  </a:lnTo>
                  <a:lnTo>
                    <a:pt x="12261" y="6496"/>
                  </a:lnTo>
                  <a:lnTo>
                    <a:pt x="12259" y="6468"/>
                  </a:lnTo>
                  <a:lnTo>
                    <a:pt x="12256" y="6439"/>
                  </a:lnTo>
                  <a:lnTo>
                    <a:pt x="12251" y="6411"/>
                  </a:lnTo>
                  <a:lnTo>
                    <a:pt x="12244" y="6382"/>
                  </a:lnTo>
                  <a:lnTo>
                    <a:pt x="10511" y="372"/>
                  </a:lnTo>
                  <a:lnTo>
                    <a:pt x="10505" y="352"/>
                  </a:lnTo>
                  <a:lnTo>
                    <a:pt x="10498" y="332"/>
                  </a:lnTo>
                  <a:lnTo>
                    <a:pt x="10491" y="313"/>
                  </a:lnTo>
                  <a:lnTo>
                    <a:pt x="10482" y="294"/>
                  </a:lnTo>
                  <a:lnTo>
                    <a:pt x="10473" y="275"/>
                  </a:lnTo>
                  <a:lnTo>
                    <a:pt x="10464" y="257"/>
                  </a:lnTo>
                  <a:lnTo>
                    <a:pt x="10453" y="239"/>
                  </a:lnTo>
                  <a:lnTo>
                    <a:pt x="10442" y="222"/>
                  </a:lnTo>
                  <a:lnTo>
                    <a:pt x="10431" y="205"/>
                  </a:lnTo>
                  <a:lnTo>
                    <a:pt x="10418" y="189"/>
                  </a:lnTo>
                  <a:lnTo>
                    <a:pt x="10405" y="174"/>
                  </a:lnTo>
                  <a:lnTo>
                    <a:pt x="10392" y="159"/>
                  </a:lnTo>
                  <a:lnTo>
                    <a:pt x="10377" y="144"/>
                  </a:lnTo>
                  <a:lnTo>
                    <a:pt x="10362" y="129"/>
                  </a:lnTo>
                  <a:lnTo>
                    <a:pt x="10347" y="116"/>
                  </a:lnTo>
                  <a:lnTo>
                    <a:pt x="10331" y="104"/>
                  </a:lnTo>
                  <a:lnTo>
                    <a:pt x="10315" y="92"/>
                  </a:lnTo>
                  <a:lnTo>
                    <a:pt x="10298" y="80"/>
                  </a:lnTo>
                  <a:lnTo>
                    <a:pt x="10281" y="70"/>
                  </a:lnTo>
                  <a:lnTo>
                    <a:pt x="10263" y="60"/>
                  </a:lnTo>
                  <a:lnTo>
                    <a:pt x="10245" y="50"/>
                  </a:lnTo>
                  <a:lnTo>
                    <a:pt x="10227" y="42"/>
                  </a:lnTo>
                  <a:lnTo>
                    <a:pt x="10208" y="34"/>
                  </a:lnTo>
                  <a:lnTo>
                    <a:pt x="10188" y="27"/>
                  </a:lnTo>
                  <a:lnTo>
                    <a:pt x="10169" y="21"/>
                  </a:lnTo>
                  <a:lnTo>
                    <a:pt x="10149" y="15"/>
                  </a:lnTo>
                  <a:lnTo>
                    <a:pt x="10129" y="11"/>
                  </a:lnTo>
                  <a:lnTo>
                    <a:pt x="10108" y="7"/>
                  </a:lnTo>
                  <a:lnTo>
                    <a:pt x="10088" y="4"/>
                  </a:lnTo>
                  <a:lnTo>
                    <a:pt x="10067" y="2"/>
                  </a:lnTo>
                  <a:lnTo>
                    <a:pt x="10046" y="0"/>
                  </a:lnTo>
                  <a:lnTo>
                    <a:pt x="1002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09" name="í$lîḋe">
              <a:extLst>
                <a:ext uri="{FF2B5EF4-FFF2-40B4-BE49-F238E27FC236}">
                  <a16:creationId xmlns:a16="http://schemas.microsoft.com/office/drawing/2014/main" id="{1D0A7E9F-797E-41BB-8B46-D837C146ABAE}"/>
                </a:ext>
              </a:extLst>
            </p:cNvPr>
            <p:cNvSpPr/>
            <p:nvPr/>
          </p:nvSpPr>
          <p:spPr bwMode="auto">
            <a:xfrm>
              <a:off x="1377767" y="980323"/>
              <a:ext cx="280786" cy="321426"/>
            </a:xfrm>
            <a:custGeom>
              <a:avLst/>
              <a:gdLst>
                <a:gd name="T0" fmla="*/ 13056 w 14060"/>
                <a:gd name="T1" fmla="*/ 5030 h 16095"/>
                <a:gd name="T2" fmla="*/ 11382 w 14060"/>
                <a:gd name="T3" fmla="*/ 7545 h 16095"/>
                <a:gd name="T4" fmla="*/ 10768 w 14060"/>
                <a:gd name="T5" fmla="*/ 13077 h 16095"/>
                <a:gd name="T6" fmla="*/ 3515 w 14060"/>
                <a:gd name="T7" fmla="*/ 15089 h 16095"/>
                <a:gd name="T8" fmla="*/ 2511 w 14060"/>
                <a:gd name="T9" fmla="*/ 1006 h 16095"/>
                <a:gd name="T10" fmla="*/ 12457 w 14060"/>
                <a:gd name="T11" fmla="*/ 575 h 16095"/>
                <a:gd name="T12" fmla="*/ 12356 w 14060"/>
                <a:gd name="T13" fmla="*/ 407 h 16095"/>
                <a:gd name="T14" fmla="*/ 12226 w 14060"/>
                <a:gd name="T15" fmla="*/ 264 h 16095"/>
                <a:gd name="T16" fmla="*/ 12073 w 14060"/>
                <a:gd name="T17" fmla="*/ 147 h 16095"/>
                <a:gd name="T18" fmla="*/ 11898 w 14060"/>
                <a:gd name="T19" fmla="*/ 62 h 16095"/>
                <a:gd name="T20" fmla="*/ 11709 w 14060"/>
                <a:gd name="T21" fmla="*/ 13 h 16095"/>
                <a:gd name="T22" fmla="*/ 2511 w 14060"/>
                <a:gd name="T23" fmla="*/ 0 h 16095"/>
                <a:gd name="T24" fmla="*/ 2312 w 14060"/>
                <a:gd name="T25" fmla="*/ 20 h 16095"/>
                <a:gd name="T26" fmla="*/ 2126 w 14060"/>
                <a:gd name="T27" fmla="*/ 76 h 16095"/>
                <a:gd name="T28" fmla="*/ 1955 w 14060"/>
                <a:gd name="T29" fmla="*/ 168 h 16095"/>
                <a:gd name="T30" fmla="*/ 1806 w 14060"/>
                <a:gd name="T31" fmla="*/ 290 h 16095"/>
                <a:gd name="T32" fmla="*/ 1681 w 14060"/>
                <a:gd name="T33" fmla="*/ 439 h 16095"/>
                <a:gd name="T34" fmla="*/ 1587 w 14060"/>
                <a:gd name="T35" fmla="*/ 613 h 16095"/>
                <a:gd name="T36" fmla="*/ 846 w 14060"/>
                <a:gd name="T37" fmla="*/ 2538 h 16095"/>
                <a:gd name="T38" fmla="*/ 618 w 14060"/>
                <a:gd name="T39" fmla="*/ 2602 h 16095"/>
                <a:gd name="T40" fmla="*/ 414 w 14060"/>
                <a:gd name="T41" fmla="*/ 2716 h 16095"/>
                <a:gd name="T42" fmla="*/ 244 w 14060"/>
                <a:gd name="T43" fmla="*/ 2871 h 16095"/>
                <a:gd name="T44" fmla="*/ 113 w 14060"/>
                <a:gd name="T45" fmla="*/ 3061 h 16095"/>
                <a:gd name="T46" fmla="*/ 29 w 14060"/>
                <a:gd name="T47" fmla="*/ 3279 h 16095"/>
                <a:gd name="T48" fmla="*/ 0 w 14060"/>
                <a:gd name="T49" fmla="*/ 3521 h 16095"/>
                <a:gd name="T50" fmla="*/ 20 w 14060"/>
                <a:gd name="T51" fmla="*/ 5233 h 16095"/>
                <a:gd name="T52" fmla="*/ 99 w 14060"/>
                <a:gd name="T53" fmla="*/ 5465 h 16095"/>
                <a:gd name="T54" fmla="*/ 229 w 14060"/>
                <a:gd name="T55" fmla="*/ 5669 h 16095"/>
                <a:gd name="T56" fmla="*/ 404 w 14060"/>
                <a:gd name="T57" fmla="*/ 5835 h 16095"/>
                <a:gd name="T58" fmla="*/ 614 w 14060"/>
                <a:gd name="T59" fmla="*/ 5956 h 16095"/>
                <a:gd name="T60" fmla="*/ 852 w 14060"/>
                <a:gd name="T61" fmla="*/ 6025 h 16095"/>
                <a:gd name="T62" fmla="*/ 1522 w 14060"/>
                <a:gd name="T63" fmla="*/ 6050 h 16095"/>
                <a:gd name="T64" fmla="*/ 1512 w 14060"/>
                <a:gd name="T65" fmla="*/ 6119 h 16095"/>
                <a:gd name="T66" fmla="*/ 2532 w 14060"/>
                <a:gd name="T67" fmla="*/ 15294 h 16095"/>
                <a:gd name="T68" fmla="*/ 2605 w 14060"/>
                <a:gd name="T69" fmla="*/ 15514 h 16095"/>
                <a:gd name="T70" fmla="*/ 2723 w 14060"/>
                <a:gd name="T71" fmla="*/ 15707 h 16095"/>
                <a:gd name="T72" fmla="*/ 2879 w 14060"/>
                <a:gd name="T73" fmla="*/ 15868 h 16095"/>
                <a:gd name="T74" fmla="*/ 3068 w 14060"/>
                <a:gd name="T75" fmla="*/ 15990 h 16095"/>
                <a:gd name="T76" fmla="*/ 3282 w 14060"/>
                <a:gd name="T77" fmla="*/ 16068 h 16095"/>
                <a:gd name="T78" fmla="*/ 3515 w 14060"/>
                <a:gd name="T79" fmla="*/ 16095 h 16095"/>
                <a:gd name="T80" fmla="*/ 10733 w 14060"/>
                <a:gd name="T81" fmla="*/ 16078 h 16095"/>
                <a:gd name="T82" fmla="*/ 10951 w 14060"/>
                <a:gd name="T83" fmla="*/ 16009 h 16095"/>
                <a:gd name="T84" fmla="*/ 11146 w 14060"/>
                <a:gd name="T85" fmla="*/ 15896 h 16095"/>
                <a:gd name="T86" fmla="*/ 11309 w 14060"/>
                <a:gd name="T87" fmla="*/ 15742 h 16095"/>
                <a:gd name="T88" fmla="*/ 11435 w 14060"/>
                <a:gd name="T89" fmla="*/ 15555 h 16095"/>
                <a:gd name="T90" fmla="*/ 11517 w 14060"/>
                <a:gd name="T91" fmla="*/ 15340 h 16095"/>
                <a:gd name="T92" fmla="*/ 12548 w 14060"/>
                <a:gd name="T93" fmla="*/ 6133 h 16095"/>
                <a:gd name="T94" fmla="*/ 12539 w 14060"/>
                <a:gd name="T95" fmla="*/ 6064 h 16095"/>
                <a:gd name="T96" fmla="*/ 13158 w 14060"/>
                <a:gd name="T97" fmla="*/ 6031 h 16095"/>
                <a:gd name="T98" fmla="*/ 13401 w 14060"/>
                <a:gd name="T99" fmla="*/ 5974 h 16095"/>
                <a:gd name="T100" fmla="*/ 13617 w 14060"/>
                <a:gd name="T101" fmla="*/ 5864 h 16095"/>
                <a:gd name="T102" fmla="*/ 13799 w 14060"/>
                <a:gd name="T103" fmla="*/ 5706 h 16095"/>
                <a:gd name="T104" fmla="*/ 13938 w 14060"/>
                <a:gd name="T105" fmla="*/ 5510 h 16095"/>
                <a:gd name="T106" fmla="*/ 14028 w 14060"/>
                <a:gd name="T107" fmla="*/ 5281 h 16095"/>
                <a:gd name="T108" fmla="*/ 14060 w 14060"/>
                <a:gd name="T109" fmla="*/ 5030 h 16095"/>
                <a:gd name="T110" fmla="*/ 14041 w 14060"/>
                <a:gd name="T111" fmla="*/ 3326 h 16095"/>
                <a:gd name="T112" fmla="*/ 13967 w 14060"/>
                <a:gd name="T113" fmla="*/ 3101 h 16095"/>
                <a:gd name="T114" fmla="*/ 13844 w 14060"/>
                <a:gd name="T115" fmla="*/ 2904 h 16095"/>
                <a:gd name="T116" fmla="*/ 13680 w 14060"/>
                <a:gd name="T117" fmla="*/ 2741 h 16095"/>
                <a:gd name="T118" fmla="*/ 13482 w 14060"/>
                <a:gd name="T119" fmla="*/ 2619 h 16095"/>
                <a:gd name="T120" fmla="*/ 13257 w 14060"/>
                <a:gd name="T121" fmla="*/ 2545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060" h="16095">
                  <a:moveTo>
                    <a:pt x="13056" y="5030"/>
                  </a:moveTo>
                  <a:lnTo>
                    <a:pt x="1004" y="5030"/>
                  </a:lnTo>
                  <a:lnTo>
                    <a:pt x="1004" y="3521"/>
                  </a:lnTo>
                  <a:lnTo>
                    <a:pt x="13056" y="3521"/>
                  </a:lnTo>
                  <a:lnTo>
                    <a:pt x="13056" y="5030"/>
                  </a:lnTo>
                  <a:close/>
                  <a:moveTo>
                    <a:pt x="11382" y="7545"/>
                  </a:moveTo>
                  <a:lnTo>
                    <a:pt x="2677" y="7545"/>
                  </a:lnTo>
                  <a:lnTo>
                    <a:pt x="2511" y="6036"/>
                  </a:lnTo>
                  <a:lnTo>
                    <a:pt x="11549" y="6036"/>
                  </a:lnTo>
                  <a:lnTo>
                    <a:pt x="11382" y="7545"/>
                  </a:lnTo>
                  <a:close/>
                  <a:moveTo>
                    <a:pt x="10768" y="13077"/>
                  </a:moveTo>
                  <a:lnTo>
                    <a:pt x="3292" y="13077"/>
                  </a:lnTo>
                  <a:lnTo>
                    <a:pt x="2734" y="8048"/>
                  </a:lnTo>
                  <a:lnTo>
                    <a:pt x="11326" y="8048"/>
                  </a:lnTo>
                  <a:lnTo>
                    <a:pt x="10768" y="13077"/>
                  </a:lnTo>
                  <a:close/>
                  <a:moveTo>
                    <a:pt x="3515" y="15089"/>
                  </a:moveTo>
                  <a:lnTo>
                    <a:pt x="3347" y="13580"/>
                  </a:lnTo>
                  <a:lnTo>
                    <a:pt x="10712" y="13580"/>
                  </a:lnTo>
                  <a:lnTo>
                    <a:pt x="10545" y="15089"/>
                  </a:lnTo>
                  <a:lnTo>
                    <a:pt x="3515" y="15089"/>
                  </a:lnTo>
                  <a:close/>
                  <a:moveTo>
                    <a:pt x="2511" y="1006"/>
                  </a:moveTo>
                  <a:lnTo>
                    <a:pt x="11549" y="1006"/>
                  </a:lnTo>
                  <a:lnTo>
                    <a:pt x="12051" y="2515"/>
                  </a:lnTo>
                  <a:lnTo>
                    <a:pt x="2009" y="2515"/>
                  </a:lnTo>
                  <a:lnTo>
                    <a:pt x="2511" y="1006"/>
                  </a:lnTo>
                  <a:close/>
                  <a:moveTo>
                    <a:pt x="13112" y="2526"/>
                  </a:moveTo>
                  <a:lnTo>
                    <a:pt x="12501" y="688"/>
                  </a:lnTo>
                  <a:lnTo>
                    <a:pt x="12488" y="650"/>
                  </a:lnTo>
                  <a:lnTo>
                    <a:pt x="12473" y="613"/>
                  </a:lnTo>
                  <a:lnTo>
                    <a:pt x="12457" y="575"/>
                  </a:lnTo>
                  <a:lnTo>
                    <a:pt x="12439" y="540"/>
                  </a:lnTo>
                  <a:lnTo>
                    <a:pt x="12420" y="506"/>
                  </a:lnTo>
                  <a:lnTo>
                    <a:pt x="12400" y="472"/>
                  </a:lnTo>
                  <a:lnTo>
                    <a:pt x="12379" y="439"/>
                  </a:lnTo>
                  <a:lnTo>
                    <a:pt x="12356" y="407"/>
                  </a:lnTo>
                  <a:lnTo>
                    <a:pt x="12333" y="376"/>
                  </a:lnTo>
                  <a:lnTo>
                    <a:pt x="12308" y="346"/>
                  </a:lnTo>
                  <a:lnTo>
                    <a:pt x="12281" y="318"/>
                  </a:lnTo>
                  <a:lnTo>
                    <a:pt x="12254" y="290"/>
                  </a:lnTo>
                  <a:lnTo>
                    <a:pt x="12226" y="264"/>
                  </a:lnTo>
                  <a:lnTo>
                    <a:pt x="12197" y="237"/>
                  </a:lnTo>
                  <a:lnTo>
                    <a:pt x="12167" y="213"/>
                  </a:lnTo>
                  <a:lnTo>
                    <a:pt x="12137" y="190"/>
                  </a:lnTo>
                  <a:lnTo>
                    <a:pt x="12105" y="168"/>
                  </a:lnTo>
                  <a:lnTo>
                    <a:pt x="12073" y="147"/>
                  </a:lnTo>
                  <a:lnTo>
                    <a:pt x="12038" y="128"/>
                  </a:lnTo>
                  <a:lnTo>
                    <a:pt x="12004" y="110"/>
                  </a:lnTo>
                  <a:lnTo>
                    <a:pt x="11970" y="93"/>
                  </a:lnTo>
                  <a:lnTo>
                    <a:pt x="11934" y="76"/>
                  </a:lnTo>
                  <a:lnTo>
                    <a:pt x="11898" y="62"/>
                  </a:lnTo>
                  <a:lnTo>
                    <a:pt x="11862" y="49"/>
                  </a:lnTo>
                  <a:lnTo>
                    <a:pt x="11824" y="38"/>
                  </a:lnTo>
                  <a:lnTo>
                    <a:pt x="11786" y="28"/>
                  </a:lnTo>
                  <a:lnTo>
                    <a:pt x="11748" y="20"/>
                  </a:lnTo>
                  <a:lnTo>
                    <a:pt x="11709" y="13"/>
                  </a:lnTo>
                  <a:lnTo>
                    <a:pt x="11670" y="7"/>
                  </a:lnTo>
                  <a:lnTo>
                    <a:pt x="11630" y="3"/>
                  </a:lnTo>
                  <a:lnTo>
                    <a:pt x="11589" y="1"/>
                  </a:lnTo>
                  <a:lnTo>
                    <a:pt x="11549" y="0"/>
                  </a:lnTo>
                  <a:lnTo>
                    <a:pt x="2511" y="0"/>
                  </a:lnTo>
                  <a:lnTo>
                    <a:pt x="2471" y="1"/>
                  </a:lnTo>
                  <a:lnTo>
                    <a:pt x="2430" y="3"/>
                  </a:lnTo>
                  <a:lnTo>
                    <a:pt x="2390" y="7"/>
                  </a:lnTo>
                  <a:lnTo>
                    <a:pt x="2351" y="13"/>
                  </a:lnTo>
                  <a:lnTo>
                    <a:pt x="2312" y="20"/>
                  </a:lnTo>
                  <a:lnTo>
                    <a:pt x="2274" y="28"/>
                  </a:lnTo>
                  <a:lnTo>
                    <a:pt x="2236" y="38"/>
                  </a:lnTo>
                  <a:lnTo>
                    <a:pt x="2198" y="49"/>
                  </a:lnTo>
                  <a:lnTo>
                    <a:pt x="2162" y="62"/>
                  </a:lnTo>
                  <a:lnTo>
                    <a:pt x="2126" y="76"/>
                  </a:lnTo>
                  <a:lnTo>
                    <a:pt x="2090" y="93"/>
                  </a:lnTo>
                  <a:lnTo>
                    <a:pt x="2056" y="110"/>
                  </a:lnTo>
                  <a:lnTo>
                    <a:pt x="2021" y="128"/>
                  </a:lnTo>
                  <a:lnTo>
                    <a:pt x="1987" y="147"/>
                  </a:lnTo>
                  <a:lnTo>
                    <a:pt x="1955" y="168"/>
                  </a:lnTo>
                  <a:lnTo>
                    <a:pt x="1923" y="190"/>
                  </a:lnTo>
                  <a:lnTo>
                    <a:pt x="1893" y="213"/>
                  </a:lnTo>
                  <a:lnTo>
                    <a:pt x="1863" y="237"/>
                  </a:lnTo>
                  <a:lnTo>
                    <a:pt x="1834" y="264"/>
                  </a:lnTo>
                  <a:lnTo>
                    <a:pt x="1806" y="290"/>
                  </a:lnTo>
                  <a:lnTo>
                    <a:pt x="1779" y="318"/>
                  </a:lnTo>
                  <a:lnTo>
                    <a:pt x="1752" y="346"/>
                  </a:lnTo>
                  <a:lnTo>
                    <a:pt x="1727" y="376"/>
                  </a:lnTo>
                  <a:lnTo>
                    <a:pt x="1703" y="407"/>
                  </a:lnTo>
                  <a:lnTo>
                    <a:pt x="1681" y="439"/>
                  </a:lnTo>
                  <a:lnTo>
                    <a:pt x="1660" y="472"/>
                  </a:lnTo>
                  <a:lnTo>
                    <a:pt x="1640" y="506"/>
                  </a:lnTo>
                  <a:lnTo>
                    <a:pt x="1621" y="540"/>
                  </a:lnTo>
                  <a:lnTo>
                    <a:pt x="1603" y="575"/>
                  </a:lnTo>
                  <a:lnTo>
                    <a:pt x="1587" y="613"/>
                  </a:lnTo>
                  <a:lnTo>
                    <a:pt x="1572" y="650"/>
                  </a:lnTo>
                  <a:lnTo>
                    <a:pt x="1559" y="688"/>
                  </a:lnTo>
                  <a:lnTo>
                    <a:pt x="943" y="2527"/>
                  </a:lnTo>
                  <a:lnTo>
                    <a:pt x="894" y="2531"/>
                  </a:lnTo>
                  <a:lnTo>
                    <a:pt x="846" y="2538"/>
                  </a:lnTo>
                  <a:lnTo>
                    <a:pt x="798" y="2547"/>
                  </a:lnTo>
                  <a:lnTo>
                    <a:pt x="752" y="2558"/>
                  </a:lnTo>
                  <a:lnTo>
                    <a:pt x="706" y="2570"/>
                  </a:lnTo>
                  <a:lnTo>
                    <a:pt x="661" y="2585"/>
                  </a:lnTo>
                  <a:lnTo>
                    <a:pt x="618" y="2602"/>
                  </a:lnTo>
                  <a:lnTo>
                    <a:pt x="574" y="2621"/>
                  </a:lnTo>
                  <a:lnTo>
                    <a:pt x="532" y="2643"/>
                  </a:lnTo>
                  <a:lnTo>
                    <a:pt x="492" y="2665"/>
                  </a:lnTo>
                  <a:lnTo>
                    <a:pt x="453" y="2690"/>
                  </a:lnTo>
                  <a:lnTo>
                    <a:pt x="414" y="2716"/>
                  </a:lnTo>
                  <a:lnTo>
                    <a:pt x="378" y="2743"/>
                  </a:lnTo>
                  <a:lnTo>
                    <a:pt x="341" y="2773"/>
                  </a:lnTo>
                  <a:lnTo>
                    <a:pt x="307" y="2805"/>
                  </a:lnTo>
                  <a:lnTo>
                    <a:pt x="275" y="2837"/>
                  </a:lnTo>
                  <a:lnTo>
                    <a:pt x="244" y="2871"/>
                  </a:lnTo>
                  <a:lnTo>
                    <a:pt x="214" y="2906"/>
                  </a:lnTo>
                  <a:lnTo>
                    <a:pt x="187" y="2942"/>
                  </a:lnTo>
                  <a:lnTo>
                    <a:pt x="160" y="2981"/>
                  </a:lnTo>
                  <a:lnTo>
                    <a:pt x="136" y="3020"/>
                  </a:lnTo>
                  <a:lnTo>
                    <a:pt x="113" y="3061"/>
                  </a:lnTo>
                  <a:lnTo>
                    <a:pt x="92" y="3102"/>
                  </a:lnTo>
                  <a:lnTo>
                    <a:pt x="73" y="3146"/>
                  </a:lnTo>
                  <a:lnTo>
                    <a:pt x="57" y="3189"/>
                  </a:lnTo>
                  <a:lnTo>
                    <a:pt x="42" y="3234"/>
                  </a:lnTo>
                  <a:lnTo>
                    <a:pt x="29" y="3279"/>
                  </a:lnTo>
                  <a:lnTo>
                    <a:pt x="19" y="3327"/>
                  </a:lnTo>
                  <a:lnTo>
                    <a:pt x="11" y="3374"/>
                  </a:lnTo>
                  <a:lnTo>
                    <a:pt x="5" y="3422"/>
                  </a:lnTo>
                  <a:lnTo>
                    <a:pt x="1" y="3471"/>
                  </a:lnTo>
                  <a:lnTo>
                    <a:pt x="0" y="3521"/>
                  </a:lnTo>
                  <a:lnTo>
                    <a:pt x="0" y="5030"/>
                  </a:lnTo>
                  <a:lnTo>
                    <a:pt x="1" y="5082"/>
                  </a:lnTo>
                  <a:lnTo>
                    <a:pt x="5" y="5132"/>
                  </a:lnTo>
                  <a:lnTo>
                    <a:pt x="12" y="5183"/>
                  </a:lnTo>
                  <a:lnTo>
                    <a:pt x="20" y="5233"/>
                  </a:lnTo>
                  <a:lnTo>
                    <a:pt x="32" y="5281"/>
                  </a:lnTo>
                  <a:lnTo>
                    <a:pt x="45" y="5328"/>
                  </a:lnTo>
                  <a:lnTo>
                    <a:pt x="61" y="5376"/>
                  </a:lnTo>
                  <a:lnTo>
                    <a:pt x="79" y="5421"/>
                  </a:lnTo>
                  <a:lnTo>
                    <a:pt x="99" y="5465"/>
                  </a:lnTo>
                  <a:lnTo>
                    <a:pt x="122" y="5510"/>
                  </a:lnTo>
                  <a:lnTo>
                    <a:pt x="146" y="5551"/>
                  </a:lnTo>
                  <a:lnTo>
                    <a:pt x="172" y="5592"/>
                  </a:lnTo>
                  <a:lnTo>
                    <a:pt x="200" y="5631"/>
                  </a:lnTo>
                  <a:lnTo>
                    <a:pt x="229" y="5669"/>
                  </a:lnTo>
                  <a:lnTo>
                    <a:pt x="261" y="5706"/>
                  </a:lnTo>
                  <a:lnTo>
                    <a:pt x="294" y="5741"/>
                  </a:lnTo>
                  <a:lnTo>
                    <a:pt x="329" y="5774"/>
                  </a:lnTo>
                  <a:lnTo>
                    <a:pt x="366" y="5806"/>
                  </a:lnTo>
                  <a:lnTo>
                    <a:pt x="404" y="5835"/>
                  </a:lnTo>
                  <a:lnTo>
                    <a:pt x="443" y="5864"/>
                  </a:lnTo>
                  <a:lnTo>
                    <a:pt x="484" y="5890"/>
                  </a:lnTo>
                  <a:lnTo>
                    <a:pt x="526" y="5914"/>
                  </a:lnTo>
                  <a:lnTo>
                    <a:pt x="569" y="5936"/>
                  </a:lnTo>
                  <a:lnTo>
                    <a:pt x="614" y="5956"/>
                  </a:lnTo>
                  <a:lnTo>
                    <a:pt x="659" y="5974"/>
                  </a:lnTo>
                  <a:lnTo>
                    <a:pt x="706" y="5990"/>
                  </a:lnTo>
                  <a:lnTo>
                    <a:pt x="753" y="6004"/>
                  </a:lnTo>
                  <a:lnTo>
                    <a:pt x="802" y="6016"/>
                  </a:lnTo>
                  <a:lnTo>
                    <a:pt x="852" y="6025"/>
                  </a:lnTo>
                  <a:lnTo>
                    <a:pt x="902" y="6031"/>
                  </a:lnTo>
                  <a:lnTo>
                    <a:pt x="953" y="6035"/>
                  </a:lnTo>
                  <a:lnTo>
                    <a:pt x="1004" y="6036"/>
                  </a:lnTo>
                  <a:lnTo>
                    <a:pt x="1524" y="6036"/>
                  </a:lnTo>
                  <a:lnTo>
                    <a:pt x="1522" y="6050"/>
                  </a:lnTo>
                  <a:lnTo>
                    <a:pt x="1521" y="6064"/>
                  </a:lnTo>
                  <a:lnTo>
                    <a:pt x="1518" y="6078"/>
                  </a:lnTo>
                  <a:lnTo>
                    <a:pt x="1516" y="6091"/>
                  </a:lnTo>
                  <a:lnTo>
                    <a:pt x="1514" y="6105"/>
                  </a:lnTo>
                  <a:lnTo>
                    <a:pt x="1512" y="6119"/>
                  </a:lnTo>
                  <a:lnTo>
                    <a:pt x="1512" y="6133"/>
                  </a:lnTo>
                  <a:lnTo>
                    <a:pt x="1512" y="6147"/>
                  </a:lnTo>
                  <a:lnTo>
                    <a:pt x="2517" y="15200"/>
                  </a:lnTo>
                  <a:lnTo>
                    <a:pt x="2524" y="15247"/>
                  </a:lnTo>
                  <a:lnTo>
                    <a:pt x="2532" y="15294"/>
                  </a:lnTo>
                  <a:lnTo>
                    <a:pt x="2543" y="15340"/>
                  </a:lnTo>
                  <a:lnTo>
                    <a:pt x="2555" y="15385"/>
                  </a:lnTo>
                  <a:lnTo>
                    <a:pt x="2570" y="15429"/>
                  </a:lnTo>
                  <a:lnTo>
                    <a:pt x="2586" y="15471"/>
                  </a:lnTo>
                  <a:lnTo>
                    <a:pt x="2605" y="15514"/>
                  </a:lnTo>
                  <a:lnTo>
                    <a:pt x="2625" y="15555"/>
                  </a:lnTo>
                  <a:lnTo>
                    <a:pt x="2647" y="15594"/>
                  </a:lnTo>
                  <a:lnTo>
                    <a:pt x="2670" y="15633"/>
                  </a:lnTo>
                  <a:lnTo>
                    <a:pt x="2696" y="15670"/>
                  </a:lnTo>
                  <a:lnTo>
                    <a:pt x="2723" y="15707"/>
                  </a:lnTo>
                  <a:lnTo>
                    <a:pt x="2751" y="15742"/>
                  </a:lnTo>
                  <a:lnTo>
                    <a:pt x="2781" y="15775"/>
                  </a:lnTo>
                  <a:lnTo>
                    <a:pt x="2813" y="15807"/>
                  </a:lnTo>
                  <a:lnTo>
                    <a:pt x="2845" y="15838"/>
                  </a:lnTo>
                  <a:lnTo>
                    <a:pt x="2879" y="15868"/>
                  </a:lnTo>
                  <a:lnTo>
                    <a:pt x="2914" y="15896"/>
                  </a:lnTo>
                  <a:lnTo>
                    <a:pt x="2952" y="15922"/>
                  </a:lnTo>
                  <a:lnTo>
                    <a:pt x="2990" y="15946"/>
                  </a:lnTo>
                  <a:lnTo>
                    <a:pt x="3028" y="15969"/>
                  </a:lnTo>
                  <a:lnTo>
                    <a:pt x="3068" y="15990"/>
                  </a:lnTo>
                  <a:lnTo>
                    <a:pt x="3109" y="16009"/>
                  </a:lnTo>
                  <a:lnTo>
                    <a:pt x="3151" y="16027"/>
                  </a:lnTo>
                  <a:lnTo>
                    <a:pt x="3195" y="16043"/>
                  </a:lnTo>
                  <a:lnTo>
                    <a:pt x="3238" y="16056"/>
                  </a:lnTo>
                  <a:lnTo>
                    <a:pt x="3282" y="16068"/>
                  </a:lnTo>
                  <a:lnTo>
                    <a:pt x="3328" y="16078"/>
                  </a:lnTo>
                  <a:lnTo>
                    <a:pt x="3373" y="16085"/>
                  </a:lnTo>
                  <a:lnTo>
                    <a:pt x="3421" y="16091"/>
                  </a:lnTo>
                  <a:lnTo>
                    <a:pt x="3468" y="16094"/>
                  </a:lnTo>
                  <a:lnTo>
                    <a:pt x="3515" y="16095"/>
                  </a:lnTo>
                  <a:lnTo>
                    <a:pt x="10545" y="16095"/>
                  </a:lnTo>
                  <a:lnTo>
                    <a:pt x="10593" y="16094"/>
                  </a:lnTo>
                  <a:lnTo>
                    <a:pt x="10640" y="16091"/>
                  </a:lnTo>
                  <a:lnTo>
                    <a:pt x="10687" y="16085"/>
                  </a:lnTo>
                  <a:lnTo>
                    <a:pt x="10733" y="16078"/>
                  </a:lnTo>
                  <a:lnTo>
                    <a:pt x="10778" y="16068"/>
                  </a:lnTo>
                  <a:lnTo>
                    <a:pt x="10822" y="16056"/>
                  </a:lnTo>
                  <a:lnTo>
                    <a:pt x="10866" y="16043"/>
                  </a:lnTo>
                  <a:lnTo>
                    <a:pt x="10910" y="16027"/>
                  </a:lnTo>
                  <a:lnTo>
                    <a:pt x="10951" y="16009"/>
                  </a:lnTo>
                  <a:lnTo>
                    <a:pt x="10992" y="15990"/>
                  </a:lnTo>
                  <a:lnTo>
                    <a:pt x="11032" y="15969"/>
                  </a:lnTo>
                  <a:lnTo>
                    <a:pt x="11071" y="15946"/>
                  </a:lnTo>
                  <a:lnTo>
                    <a:pt x="11108" y="15922"/>
                  </a:lnTo>
                  <a:lnTo>
                    <a:pt x="11146" y="15896"/>
                  </a:lnTo>
                  <a:lnTo>
                    <a:pt x="11181" y="15868"/>
                  </a:lnTo>
                  <a:lnTo>
                    <a:pt x="11215" y="15838"/>
                  </a:lnTo>
                  <a:lnTo>
                    <a:pt x="11248" y="15807"/>
                  </a:lnTo>
                  <a:lnTo>
                    <a:pt x="11279" y="15775"/>
                  </a:lnTo>
                  <a:lnTo>
                    <a:pt x="11309" y="15742"/>
                  </a:lnTo>
                  <a:lnTo>
                    <a:pt x="11337" y="15707"/>
                  </a:lnTo>
                  <a:lnTo>
                    <a:pt x="11364" y="15670"/>
                  </a:lnTo>
                  <a:lnTo>
                    <a:pt x="11390" y="15633"/>
                  </a:lnTo>
                  <a:lnTo>
                    <a:pt x="11413" y="15594"/>
                  </a:lnTo>
                  <a:lnTo>
                    <a:pt x="11435" y="15555"/>
                  </a:lnTo>
                  <a:lnTo>
                    <a:pt x="11455" y="15514"/>
                  </a:lnTo>
                  <a:lnTo>
                    <a:pt x="11474" y="15471"/>
                  </a:lnTo>
                  <a:lnTo>
                    <a:pt x="11490" y="15429"/>
                  </a:lnTo>
                  <a:lnTo>
                    <a:pt x="11504" y="15385"/>
                  </a:lnTo>
                  <a:lnTo>
                    <a:pt x="11517" y="15340"/>
                  </a:lnTo>
                  <a:lnTo>
                    <a:pt x="11527" y="15294"/>
                  </a:lnTo>
                  <a:lnTo>
                    <a:pt x="11536" y="15247"/>
                  </a:lnTo>
                  <a:lnTo>
                    <a:pt x="11542" y="15200"/>
                  </a:lnTo>
                  <a:lnTo>
                    <a:pt x="12547" y="6147"/>
                  </a:lnTo>
                  <a:lnTo>
                    <a:pt x="12548" y="6133"/>
                  </a:lnTo>
                  <a:lnTo>
                    <a:pt x="12548" y="6119"/>
                  </a:lnTo>
                  <a:lnTo>
                    <a:pt x="12546" y="6105"/>
                  </a:lnTo>
                  <a:lnTo>
                    <a:pt x="12544" y="6091"/>
                  </a:lnTo>
                  <a:lnTo>
                    <a:pt x="12541" y="6078"/>
                  </a:lnTo>
                  <a:lnTo>
                    <a:pt x="12539" y="6064"/>
                  </a:lnTo>
                  <a:lnTo>
                    <a:pt x="12536" y="6050"/>
                  </a:lnTo>
                  <a:lnTo>
                    <a:pt x="12536" y="6036"/>
                  </a:lnTo>
                  <a:lnTo>
                    <a:pt x="13056" y="6036"/>
                  </a:lnTo>
                  <a:lnTo>
                    <a:pt x="13107" y="6035"/>
                  </a:lnTo>
                  <a:lnTo>
                    <a:pt x="13158" y="6031"/>
                  </a:lnTo>
                  <a:lnTo>
                    <a:pt x="13208" y="6025"/>
                  </a:lnTo>
                  <a:lnTo>
                    <a:pt x="13259" y="6016"/>
                  </a:lnTo>
                  <a:lnTo>
                    <a:pt x="13307" y="6004"/>
                  </a:lnTo>
                  <a:lnTo>
                    <a:pt x="13354" y="5990"/>
                  </a:lnTo>
                  <a:lnTo>
                    <a:pt x="13401" y="5974"/>
                  </a:lnTo>
                  <a:lnTo>
                    <a:pt x="13446" y="5956"/>
                  </a:lnTo>
                  <a:lnTo>
                    <a:pt x="13491" y="5936"/>
                  </a:lnTo>
                  <a:lnTo>
                    <a:pt x="13535" y="5914"/>
                  </a:lnTo>
                  <a:lnTo>
                    <a:pt x="13576" y="5890"/>
                  </a:lnTo>
                  <a:lnTo>
                    <a:pt x="13617" y="5864"/>
                  </a:lnTo>
                  <a:lnTo>
                    <a:pt x="13656" y="5835"/>
                  </a:lnTo>
                  <a:lnTo>
                    <a:pt x="13694" y="5806"/>
                  </a:lnTo>
                  <a:lnTo>
                    <a:pt x="13731" y="5774"/>
                  </a:lnTo>
                  <a:lnTo>
                    <a:pt x="13766" y="5741"/>
                  </a:lnTo>
                  <a:lnTo>
                    <a:pt x="13799" y="5706"/>
                  </a:lnTo>
                  <a:lnTo>
                    <a:pt x="13831" y="5669"/>
                  </a:lnTo>
                  <a:lnTo>
                    <a:pt x="13860" y="5631"/>
                  </a:lnTo>
                  <a:lnTo>
                    <a:pt x="13888" y="5592"/>
                  </a:lnTo>
                  <a:lnTo>
                    <a:pt x="13914" y="5551"/>
                  </a:lnTo>
                  <a:lnTo>
                    <a:pt x="13938" y="5510"/>
                  </a:lnTo>
                  <a:lnTo>
                    <a:pt x="13961" y="5465"/>
                  </a:lnTo>
                  <a:lnTo>
                    <a:pt x="13981" y="5421"/>
                  </a:lnTo>
                  <a:lnTo>
                    <a:pt x="13999" y="5376"/>
                  </a:lnTo>
                  <a:lnTo>
                    <a:pt x="14015" y="5328"/>
                  </a:lnTo>
                  <a:lnTo>
                    <a:pt x="14028" y="5281"/>
                  </a:lnTo>
                  <a:lnTo>
                    <a:pt x="14040" y="5233"/>
                  </a:lnTo>
                  <a:lnTo>
                    <a:pt x="14048" y="5183"/>
                  </a:lnTo>
                  <a:lnTo>
                    <a:pt x="14055" y="5132"/>
                  </a:lnTo>
                  <a:lnTo>
                    <a:pt x="14059" y="5082"/>
                  </a:lnTo>
                  <a:lnTo>
                    <a:pt x="14060" y="5030"/>
                  </a:lnTo>
                  <a:lnTo>
                    <a:pt x="14060" y="3521"/>
                  </a:lnTo>
                  <a:lnTo>
                    <a:pt x="14059" y="3471"/>
                  </a:lnTo>
                  <a:lnTo>
                    <a:pt x="14055" y="3422"/>
                  </a:lnTo>
                  <a:lnTo>
                    <a:pt x="14049" y="3373"/>
                  </a:lnTo>
                  <a:lnTo>
                    <a:pt x="14041" y="3326"/>
                  </a:lnTo>
                  <a:lnTo>
                    <a:pt x="14030" y="3279"/>
                  </a:lnTo>
                  <a:lnTo>
                    <a:pt x="14018" y="3233"/>
                  </a:lnTo>
                  <a:lnTo>
                    <a:pt x="14003" y="3188"/>
                  </a:lnTo>
                  <a:lnTo>
                    <a:pt x="13986" y="3144"/>
                  </a:lnTo>
                  <a:lnTo>
                    <a:pt x="13967" y="3101"/>
                  </a:lnTo>
                  <a:lnTo>
                    <a:pt x="13947" y="3059"/>
                  </a:lnTo>
                  <a:lnTo>
                    <a:pt x="13923" y="3019"/>
                  </a:lnTo>
                  <a:lnTo>
                    <a:pt x="13899" y="2979"/>
                  </a:lnTo>
                  <a:lnTo>
                    <a:pt x="13872" y="2941"/>
                  </a:lnTo>
                  <a:lnTo>
                    <a:pt x="13844" y="2904"/>
                  </a:lnTo>
                  <a:lnTo>
                    <a:pt x="13815" y="2869"/>
                  </a:lnTo>
                  <a:lnTo>
                    <a:pt x="13783" y="2835"/>
                  </a:lnTo>
                  <a:lnTo>
                    <a:pt x="13751" y="2802"/>
                  </a:lnTo>
                  <a:lnTo>
                    <a:pt x="13716" y="2770"/>
                  </a:lnTo>
                  <a:lnTo>
                    <a:pt x="13680" y="2741"/>
                  </a:lnTo>
                  <a:lnTo>
                    <a:pt x="13643" y="2713"/>
                  </a:lnTo>
                  <a:lnTo>
                    <a:pt x="13605" y="2687"/>
                  </a:lnTo>
                  <a:lnTo>
                    <a:pt x="13565" y="2663"/>
                  </a:lnTo>
                  <a:lnTo>
                    <a:pt x="13524" y="2640"/>
                  </a:lnTo>
                  <a:lnTo>
                    <a:pt x="13482" y="2619"/>
                  </a:lnTo>
                  <a:lnTo>
                    <a:pt x="13438" y="2600"/>
                  </a:lnTo>
                  <a:lnTo>
                    <a:pt x="13395" y="2583"/>
                  </a:lnTo>
                  <a:lnTo>
                    <a:pt x="13350" y="2568"/>
                  </a:lnTo>
                  <a:lnTo>
                    <a:pt x="13304" y="2556"/>
                  </a:lnTo>
                  <a:lnTo>
                    <a:pt x="13257" y="2545"/>
                  </a:lnTo>
                  <a:lnTo>
                    <a:pt x="13209" y="2536"/>
                  </a:lnTo>
                  <a:lnTo>
                    <a:pt x="13160" y="2530"/>
                  </a:lnTo>
                  <a:lnTo>
                    <a:pt x="13112" y="25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10" name="iSlidé">
              <a:extLst>
                <a:ext uri="{FF2B5EF4-FFF2-40B4-BE49-F238E27FC236}">
                  <a16:creationId xmlns:a16="http://schemas.microsoft.com/office/drawing/2014/main" id="{196CFB1A-5FEC-475B-8DCB-2448FE25A8DA}"/>
                </a:ext>
              </a:extLst>
            </p:cNvPr>
            <p:cNvSpPr/>
            <p:nvPr/>
          </p:nvSpPr>
          <p:spPr bwMode="auto">
            <a:xfrm>
              <a:off x="2651883" y="1031984"/>
              <a:ext cx="535790" cy="613338"/>
            </a:xfrm>
            <a:custGeom>
              <a:avLst/>
              <a:gdLst>
                <a:gd name="T0" fmla="*/ 4158 w 14060"/>
                <a:gd name="T1" fmla="*/ 5259 h 16095"/>
                <a:gd name="T2" fmla="*/ 1877 w 14060"/>
                <a:gd name="T3" fmla="*/ 4442 h 16095"/>
                <a:gd name="T4" fmla="*/ 1004 w 14060"/>
                <a:gd name="T5" fmla="*/ 3269 h 16095"/>
                <a:gd name="T6" fmla="*/ 1877 w 14060"/>
                <a:gd name="T7" fmla="*/ 2095 h 16095"/>
                <a:gd name="T8" fmla="*/ 4158 w 14060"/>
                <a:gd name="T9" fmla="*/ 1279 h 16095"/>
                <a:gd name="T10" fmla="*/ 7340 w 14060"/>
                <a:gd name="T11" fmla="*/ 1009 h 16095"/>
                <a:gd name="T12" fmla="*/ 10399 w 14060"/>
                <a:gd name="T13" fmla="*/ 1392 h 16095"/>
                <a:gd name="T14" fmla="*/ 12461 w 14060"/>
                <a:gd name="T15" fmla="*/ 2288 h 16095"/>
                <a:gd name="T16" fmla="*/ 13025 w 14060"/>
                <a:gd name="T17" fmla="*/ 3501 h 16095"/>
                <a:gd name="T18" fmla="*/ 11859 w 14060"/>
                <a:gd name="T19" fmla="*/ 4623 h 16095"/>
                <a:gd name="T20" fmla="*/ 9376 w 14060"/>
                <a:gd name="T21" fmla="*/ 5355 h 16095"/>
                <a:gd name="T22" fmla="*/ 13055 w 14060"/>
                <a:gd name="T23" fmla="*/ 6798 h 16095"/>
                <a:gd name="T24" fmla="*/ 12329 w 14060"/>
                <a:gd name="T25" fmla="*/ 7877 h 16095"/>
                <a:gd name="T26" fmla="*/ 10154 w 14060"/>
                <a:gd name="T27" fmla="*/ 8729 h 16095"/>
                <a:gd name="T28" fmla="*/ 7030 w 14060"/>
                <a:gd name="T29" fmla="*/ 9053 h 16095"/>
                <a:gd name="T30" fmla="*/ 3906 w 14060"/>
                <a:gd name="T31" fmla="*/ 8729 h 16095"/>
                <a:gd name="T32" fmla="*/ 1731 w 14060"/>
                <a:gd name="T33" fmla="*/ 7877 h 16095"/>
                <a:gd name="T34" fmla="*/ 1005 w 14060"/>
                <a:gd name="T35" fmla="*/ 6798 h 16095"/>
                <a:gd name="T36" fmla="*/ 2178 w 14060"/>
                <a:gd name="T37" fmla="*/ 5717 h 16095"/>
                <a:gd name="T38" fmla="*/ 4255 w 14060"/>
                <a:gd name="T39" fmla="*/ 6300 h 16095"/>
                <a:gd name="T40" fmla="*/ 6598 w 14060"/>
                <a:gd name="T41" fmla="*/ 6533 h 16095"/>
                <a:gd name="T42" fmla="*/ 8968 w 14060"/>
                <a:gd name="T43" fmla="*/ 6425 h 16095"/>
                <a:gd name="T44" fmla="*/ 11177 w 14060"/>
                <a:gd name="T45" fmla="*/ 5970 h 16095"/>
                <a:gd name="T46" fmla="*/ 12929 w 14060"/>
                <a:gd name="T47" fmla="*/ 5154 h 16095"/>
                <a:gd name="T48" fmla="*/ 12866 w 14060"/>
                <a:gd name="T49" fmla="*/ 10385 h 16095"/>
                <a:gd name="T50" fmla="*/ 11291 w 14060"/>
                <a:gd name="T51" fmla="*/ 11413 h 16095"/>
                <a:gd name="T52" fmla="*/ 8535 w 14060"/>
                <a:gd name="T53" fmla="*/ 12001 h 16095"/>
                <a:gd name="T54" fmla="*/ 5238 w 14060"/>
                <a:gd name="T55" fmla="*/ 11971 h 16095"/>
                <a:gd name="T56" fmla="*/ 2570 w 14060"/>
                <a:gd name="T57" fmla="*/ 11335 h 16095"/>
                <a:gd name="T58" fmla="*/ 1127 w 14060"/>
                <a:gd name="T59" fmla="*/ 10277 h 16095"/>
                <a:gd name="T60" fmla="*/ 1334 w 14060"/>
                <a:gd name="T61" fmla="*/ 8216 h 16095"/>
                <a:gd name="T62" fmla="*/ 3083 w 14060"/>
                <a:gd name="T63" fmla="*/ 9035 h 16095"/>
                <a:gd name="T64" fmla="*/ 5412 w 14060"/>
                <a:gd name="T65" fmla="*/ 9477 h 16095"/>
                <a:gd name="T66" fmla="*/ 7960 w 14060"/>
                <a:gd name="T67" fmla="*/ 9530 h 16095"/>
                <a:gd name="T68" fmla="*/ 10383 w 14060"/>
                <a:gd name="T69" fmla="*/ 9193 h 16095"/>
                <a:gd name="T70" fmla="*/ 12328 w 14060"/>
                <a:gd name="T71" fmla="*/ 8477 h 16095"/>
                <a:gd name="T72" fmla="*/ 12986 w 14060"/>
                <a:gd name="T73" fmla="*/ 13170 h 16095"/>
                <a:gd name="T74" fmla="*/ 11680 w 14060"/>
                <a:gd name="T75" fmla="*/ 14265 h 16095"/>
                <a:gd name="T76" fmla="*/ 9102 w 14060"/>
                <a:gd name="T77" fmla="*/ 14951 h 16095"/>
                <a:gd name="T78" fmla="*/ 5816 w 14060"/>
                <a:gd name="T79" fmla="*/ 15043 h 16095"/>
                <a:gd name="T80" fmla="*/ 2979 w 14060"/>
                <a:gd name="T81" fmla="*/ 14501 h 16095"/>
                <a:gd name="T82" fmla="*/ 1275 w 14060"/>
                <a:gd name="T83" fmla="*/ 13499 h 16095"/>
                <a:gd name="T84" fmla="*/ 1459 w 14060"/>
                <a:gd name="T85" fmla="*/ 11324 h 16095"/>
                <a:gd name="T86" fmla="*/ 3277 w 14060"/>
                <a:gd name="T87" fmla="*/ 12109 h 16095"/>
                <a:gd name="T88" fmla="*/ 5640 w 14060"/>
                <a:gd name="T89" fmla="*/ 12516 h 16095"/>
                <a:gd name="T90" fmla="*/ 8191 w 14060"/>
                <a:gd name="T91" fmla="*/ 12534 h 16095"/>
                <a:gd name="T92" fmla="*/ 10586 w 14060"/>
                <a:gd name="T93" fmla="*/ 12162 h 16095"/>
                <a:gd name="T94" fmla="*/ 12468 w 14060"/>
                <a:gd name="T95" fmla="*/ 11410 h 16095"/>
                <a:gd name="T96" fmla="*/ 5756 w 14060"/>
                <a:gd name="T97" fmla="*/ 48 h 16095"/>
                <a:gd name="T98" fmla="*/ 2501 w 14060"/>
                <a:gd name="T99" fmla="*/ 695 h 16095"/>
                <a:gd name="T100" fmla="*/ 359 w 14060"/>
                <a:gd name="T101" fmla="*/ 2134 h 16095"/>
                <a:gd name="T102" fmla="*/ 163 w 14060"/>
                <a:gd name="T103" fmla="*/ 13611 h 16095"/>
                <a:gd name="T104" fmla="*/ 2001 w 14060"/>
                <a:gd name="T105" fmla="*/ 15199 h 16095"/>
                <a:gd name="T106" fmla="*/ 5124 w 14060"/>
                <a:gd name="T107" fmla="*/ 15985 h 16095"/>
                <a:gd name="T108" fmla="*/ 8621 w 14060"/>
                <a:gd name="T109" fmla="*/ 16020 h 16095"/>
                <a:gd name="T110" fmla="*/ 11814 w 14060"/>
                <a:gd name="T111" fmla="*/ 15302 h 16095"/>
                <a:gd name="T112" fmla="*/ 13808 w 14060"/>
                <a:gd name="T113" fmla="*/ 13789 h 16095"/>
                <a:gd name="T114" fmla="*/ 13808 w 14060"/>
                <a:gd name="T115" fmla="*/ 2305 h 16095"/>
                <a:gd name="T116" fmla="*/ 11814 w 14060"/>
                <a:gd name="T117" fmla="*/ 792 h 16095"/>
                <a:gd name="T118" fmla="*/ 8621 w 14060"/>
                <a:gd name="T119" fmla="*/ 75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4060" h="16095">
                  <a:moveTo>
                    <a:pt x="7030" y="5533"/>
                  </a:moveTo>
                  <a:lnTo>
                    <a:pt x="6720" y="5530"/>
                  </a:lnTo>
                  <a:lnTo>
                    <a:pt x="6413" y="5521"/>
                  </a:lnTo>
                  <a:lnTo>
                    <a:pt x="6112" y="5507"/>
                  </a:lnTo>
                  <a:lnTo>
                    <a:pt x="5816" y="5486"/>
                  </a:lnTo>
                  <a:lnTo>
                    <a:pt x="5524" y="5461"/>
                  </a:lnTo>
                  <a:lnTo>
                    <a:pt x="5238" y="5431"/>
                  </a:lnTo>
                  <a:lnTo>
                    <a:pt x="4958" y="5395"/>
                  </a:lnTo>
                  <a:lnTo>
                    <a:pt x="4684" y="5355"/>
                  </a:lnTo>
                  <a:lnTo>
                    <a:pt x="4418" y="5309"/>
                  </a:lnTo>
                  <a:lnTo>
                    <a:pt x="4158" y="5259"/>
                  </a:lnTo>
                  <a:lnTo>
                    <a:pt x="3906" y="5205"/>
                  </a:lnTo>
                  <a:lnTo>
                    <a:pt x="3661" y="5145"/>
                  </a:lnTo>
                  <a:lnTo>
                    <a:pt x="3425" y="5083"/>
                  </a:lnTo>
                  <a:lnTo>
                    <a:pt x="3197" y="5016"/>
                  </a:lnTo>
                  <a:lnTo>
                    <a:pt x="2979" y="4944"/>
                  </a:lnTo>
                  <a:lnTo>
                    <a:pt x="2769" y="4870"/>
                  </a:lnTo>
                  <a:lnTo>
                    <a:pt x="2570" y="4791"/>
                  </a:lnTo>
                  <a:lnTo>
                    <a:pt x="2380" y="4709"/>
                  </a:lnTo>
                  <a:lnTo>
                    <a:pt x="2201" y="4623"/>
                  </a:lnTo>
                  <a:lnTo>
                    <a:pt x="2034" y="4535"/>
                  </a:lnTo>
                  <a:lnTo>
                    <a:pt x="1877" y="4442"/>
                  </a:lnTo>
                  <a:lnTo>
                    <a:pt x="1731" y="4348"/>
                  </a:lnTo>
                  <a:lnTo>
                    <a:pt x="1599" y="4250"/>
                  </a:lnTo>
                  <a:lnTo>
                    <a:pt x="1477" y="4149"/>
                  </a:lnTo>
                  <a:lnTo>
                    <a:pt x="1370" y="4047"/>
                  </a:lnTo>
                  <a:lnTo>
                    <a:pt x="1275" y="3942"/>
                  </a:lnTo>
                  <a:lnTo>
                    <a:pt x="1194" y="3835"/>
                  </a:lnTo>
                  <a:lnTo>
                    <a:pt x="1127" y="3725"/>
                  </a:lnTo>
                  <a:lnTo>
                    <a:pt x="1074" y="3613"/>
                  </a:lnTo>
                  <a:lnTo>
                    <a:pt x="1035" y="3501"/>
                  </a:lnTo>
                  <a:lnTo>
                    <a:pt x="1012" y="3386"/>
                  </a:lnTo>
                  <a:lnTo>
                    <a:pt x="1004" y="3269"/>
                  </a:lnTo>
                  <a:lnTo>
                    <a:pt x="1012" y="3153"/>
                  </a:lnTo>
                  <a:lnTo>
                    <a:pt x="1035" y="3038"/>
                  </a:lnTo>
                  <a:lnTo>
                    <a:pt x="1074" y="2924"/>
                  </a:lnTo>
                  <a:lnTo>
                    <a:pt x="1127" y="2813"/>
                  </a:lnTo>
                  <a:lnTo>
                    <a:pt x="1194" y="2703"/>
                  </a:lnTo>
                  <a:lnTo>
                    <a:pt x="1275" y="2596"/>
                  </a:lnTo>
                  <a:lnTo>
                    <a:pt x="1370" y="2491"/>
                  </a:lnTo>
                  <a:lnTo>
                    <a:pt x="1477" y="2388"/>
                  </a:lnTo>
                  <a:lnTo>
                    <a:pt x="1599" y="2288"/>
                  </a:lnTo>
                  <a:lnTo>
                    <a:pt x="1731" y="2190"/>
                  </a:lnTo>
                  <a:lnTo>
                    <a:pt x="1877" y="2095"/>
                  </a:lnTo>
                  <a:lnTo>
                    <a:pt x="2034" y="2004"/>
                  </a:lnTo>
                  <a:lnTo>
                    <a:pt x="2201" y="1915"/>
                  </a:lnTo>
                  <a:lnTo>
                    <a:pt x="2380" y="1830"/>
                  </a:lnTo>
                  <a:lnTo>
                    <a:pt x="2570" y="1747"/>
                  </a:lnTo>
                  <a:lnTo>
                    <a:pt x="2769" y="1669"/>
                  </a:lnTo>
                  <a:lnTo>
                    <a:pt x="2979" y="1593"/>
                  </a:lnTo>
                  <a:lnTo>
                    <a:pt x="3197" y="1523"/>
                  </a:lnTo>
                  <a:lnTo>
                    <a:pt x="3425" y="1456"/>
                  </a:lnTo>
                  <a:lnTo>
                    <a:pt x="3661" y="1392"/>
                  </a:lnTo>
                  <a:lnTo>
                    <a:pt x="3906" y="1334"/>
                  </a:lnTo>
                  <a:lnTo>
                    <a:pt x="4158" y="1279"/>
                  </a:lnTo>
                  <a:lnTo>
                    <a:pt x="4418" y="1229"/>
                  </a:lnTo>
                  <a:lnTo>
                    <a:pt x="4684" y="1184"/>
                  </a:lnTo>
                  <a:lnTo>
                    <a:pt x="4958" y="1143"/>
                  </a:lnTo>
                  <a:lnTo>
                    <a:pt x="5238" y="1108"/>
                  </a:lnTo>
                  <a:lnTo>
                    <a:pt x="5524" y="1077"/>
                  </a:lnTo>
                  <a:lnTo>
                    <a:pt x="5816" y="1052"/>
                  </a:lnTo>
                  <a:lnTo>
                    <a:pt x="6112" y="1032"/>
                  </a:lnTo>
                  <a:lnTo>
                    <a:pt x="6413" y="1018"/>
                  </a:lnTo>
                  <a:lnTo>
                    <a:pt x="6720" y="1009"/>
                  </a:lnTo>
                  <a:lnTo>
                    <a:pt x="7030" y="1006"/>
                  </a:lnTo>
                  <a:lnTo>
                    <a:pt x="7340" y="1009"/>
                  </a:lnTo>
                  <a:lnTo>
                    <a:pt x="7647" y="1018"/>
                  </a:lnTo>
                  <a:lnTo>
                    <a:pt x="7948" y="1032"/>
                  </a:lnTo>
                  <a:lnTo>
                    <a:pt x="8244" y="1052"/>
                  </a:lnTo>
                  <a:lnTo>
                    <a:pt x="8536" y="1077"/>
                  </a:lnTo>
                  <a:lnTo>
                    <a:pt x="8822" y="1108"/>
                  </a:lnTo>
                  <a:lnTo>
                    <a:pt x="9102" y="1143"/>
                  </a:lnTo>
                  <a:lnTo>
                    <a:pt x="9376" y="1184"/>
                  </a:lnTo>
                  <a:lnTo>
                    <a:pt x="9642" y="1229"/>
                  </a:lnTo>
                  <a:lnTo>
                    <a:pt x="9902" y="1279"/>
                  </a:lnTo>
                  <a:lnTo>
                    <a:pt x="10154" y="1334"/>
                  </a:lnTo>
                  <a:lnTo>
                    <a:pt x="10399" y="1392"/>
                  </a:lnTo>
                  <a:lnTo>
                    <a:pt x="10635" y="1456"/>
                  </a:lnTo>
                  <a:lnTo>
                    <a:pt x="10863" y="1523"/>
                  </a:lnTo>
                  <a:lnTo>
                    <a:pt x="11081" y="1593"/>
                  </a:lnTo>
                  <a:lnTo>
                    <a:pt x="11291" y="1669"/>
                  </a:lnTo>
                  <a:lnTo>
                    <a:pt x="11490" y="1747"/>
                  </a:lnTo>
                  <a:lnTo>
                    <a:pt x="11680" y="1830"/>
                  </a:lnTo>
                  <a:lnTo>
                    <a:pt x="11859" y="1915"/>
                  </a:lnTo>
                  <a:lnTo>
                    <a:pt x="12026" y="2004"/>
                  </a:lnTo>
                  <a:lnTo>
                    <a:pt x="12183" y="2095"/>
                  </a:lnTo>
                  <a:lnTo>
                    <a:pt x="12329" y="2190"/>
                  </a:lnTo>
                  <a:lnTo>
                    <a:pt x="12461" y="2288"/>
                  </a:lnTo>
                  <a:lnTo>
                    <a:pt x="12583" y="2388"/>
                  </a:lnTo>
                  <a:lnTo>
                    <a:pt x="12690" y="2491"/>
                  </a:lnTo>
                  <a:lnTo>
                    <a:pt x="12785" y="2596"/>
                  </a:lnTo>
                  <a:lnTo>
                    <a:pt x="12866" y="2703"/>
                  </a:lnTo>
                  <a:lnTo>
                    <a:pt x="12933" y="2813"/>
                  </a:lnTo>
                  <a:lnTo>
                    <a:pt x="12986" y="2924"/>
                  </a:lnTo>
                  <a:lnTo>
                    <a:pt x="13025" y="3038"/>
                  </a:lnTo>
                  <a:lnTo>
                    <a:pt x="13048" y="3153"/>
                  </a:lnTo>
                  <a:lnTo>
                    <a:pt x="13056" y="3269"/>
                  </a:lnTo>
                  <a:lnTo>
                    <a:pt x="13048" y="3386"/>
                  </a:lnTo>
                  <a:lnTo>
                    <a:pt x="13025" y="3501"/>
                  </a:lnTo>
                  <a:lnTo>
                    <a:pt x="12986" y="3613"/>
                  </a:lnTo>
                  <a:lnTo>
                    <a:pt x="12933" y="3725"/>
                  </a:lnTo>
                  <a:lnTo>
                    <a:pt x="12866" y="3835"/>
                  </a:lnTo>
                  <a:lnTo>
                    <a:pt x="12785" y="3942"/>
                  </a:lnTo>
                  <a:lnTo>
                    <a:pt x="12690" y="4047"/>
                  </a:lnTo>
                  <a:lnTo>
                    <a:pt x="12583" y="4149"/>
                  </a:lnTo>
                  <a:lnTo>
                    <a:pt x="12461" y="4250"/>
                  </a:lnTo>
                  <a:lnTo>
                    <a:pt x="12329" y="4348"/>
                  </a:lnTo>
                  <a:lnTo>
                    <a:pt x="12183" y="4442"/>
                  </a:lnTo>
                  <a:lnTo>
                    <a:pt x="12026" y="4535"/>
                  </a:lnTo>
                  <a:lnTo>
                    <a:pt x="11859" y="4623"/>
                  </a:lnTo>
                  <a:lnTo>
                    <a:pt x="11680" y="4709"/>
                  </a:lnTo>
                  <a:lnTo>
                    <a:pt x="11490" y="4791"/>
                  </a:lnTo>
                  <a:lnTo>
                    <a:pt x="11291" y="4870"/>
                  </a:lnTo>
                  <a:lnTo>
                    <a:pt x="11081" y="4944"/>
                  </a:lnTo>
                  <a:lnTo>
                    <a:pt x="10863" y="5016"/>
                  </a:lnTo>
                  <a:lnTo>
                    <a:pt x="10635" y="5083"/>
                  </a:lnTo>
                  <a:lnTo>
                    <a:pt x="10399" y="5145"/>
                  </a:lnTo>
                  <a:lnTo>
                    <a:pt x="10154" y="5205"/>
                  </a:lnTo>
                  <a:lnTo>
                    <a:pt x="9902" y="5259"/>
                  </a:lnTo>
                  <a:lnTo>
                    <a:pt x="9642" y="5309"/>
                  </a:lnTo>
                  <a:lnTo>
                    <a:pt x="9376" y="5355"/>
                  </a:lnTo>
                  <a:lnTo>
                    <a:pt x="9102" y="5395"/>
                  </a:lnTo>
                  <a:lnTo>
                    <a:pt x="8822" y="5431"/>
                  </a:lnTo>
                  <a:lnTo>
                    <a:pt x="8536" y="5461"/>
                  </a:lnTo>
                  <a:lnTo>
                    <a:pt x="8244" y="5486"/>
                  </a:lnTo>
                  <a:lnTo>
                    <a:pt x="7948" y="5507"/>
                  </a:lnTo>
                  <a:lnTo>
                    <a:pt x="7647" y="5521"/>
                  </a:lnTo>
                  <a:lnTo>
                    <a:pt x="7340" y="5530"/>
                  </a:lnTo>
                  <a:lnTo>
                    <a:pt x="7030" y="5533"/>
                  </a:lnTo>
                  <a:close/>
                  <a:moveTo>
                    <a:pt x="13056" y="6790"/>
                  </a:moveTo>
                  <a:lnTo>
                    <a:pt x="13054" y="6790"/>
                  </a:lnTo>
                  <a:lnTo>
                    <a:pt x="13055" y="6798"/>
                  </a:lnTo>
                  <a:lnTo>
                    <a:pt x="13056" y="6805"/>
                  </a:lnTo>
                  <a:lnTo>
                    <a:pt x="13048" y="6921"/>
                  </a:lnTo>
                  <a:lnTo>
                    <a:pt x="13025" y="7036"/>
                  </a:lnTo>
                  <a:lnTo>
                    <a:pt x="12986" y="7148"/>
                  </a:lnTo>
                  <a:lnTo>
                    <a:pt x="12933" y="7259"/>
                  </a:lnTo>
                  <a:lnTo>
                    <a:pt x="12866" y="7367"/>
                  </a:lnTo>
                  <a:lnTo>
                    <a:pt x="12785" y="7474"/>
                  </a:lnTo>
                  <a:lnTo>
                    <a:pt x="12690" y="7579"/>
                  </a:lnTo>
                  <a:lnTo>
                    <a:pt x="12582" y="7680"/>
                  </a:lnTo>
                  <a:lnTo>
                    <a:pt x="12461" y="7780"/>
                  </a:lnTo>
                  <a:lnTo>
                    <a:pt x="12329" y="7877"/>
                  </a:lnTo>
                  <a:lnTo>
                    <a:pt x="12183" y="7971"/>
                  </a:lnTo>
                  <a:lnTo>
                    <a:pt x="12026" y="8063"/>
                  </a:lnTo>
                  <a:lnTo>
                    <a:pt x="11859" y="8151"/>
                  </a:lnTo>
                  <a:lnTo>
                    <a:pt x="11680" y="8236"/>
                  </a:lnTo>
                  <a:lnTo>
                    <a:pt x="11490" y="8317"/>
                  </a:lnTo>
                  <a:lnTo>
                    <a:pt x="11291" y="8396"/>
                  </a:lnTo>
                  <a:lnTo>
                    <a:pt x="11081" y="8470"/>
                  </a:lnTo>
                  <a:lnTo>
                    <a:pt x="10862" y="8540"/>
                  </a:lnTo>
                  <a:lnTo>
                    <a:pt x="10635" y="8607"/>
                  </a:lnTo>
                  <a:lnTo>
                    <a:pt x="10399" y="8670"/>
                  </a:lnTo>
                  <a:lnTo>
                    <a:pt x="10154" y="8729"/>
                  </a:lnTo>
                  <a:lnTo>
                    <a:pt x="9902" y="8782"/>
                  </a:lnTo>
                  <a:lnTo>
                    <a:pt x="9642" y="8832"/>
                  </a:lnTo>
                  <a:lnTo>
                    <a:pt x="9375" y="8876"/>
                  </a:lnTo>
                  <a:lnTo>
                    <a:pt x="9102" y="8917"/>
                  </a:lnTo>
                  <a:lnTo>
                    <a:pt x="8822" y="8953"/>
                  </a:lnTo>
                  <a:lnTo>
                    <a:pt x="8535" y="8983"/>
                  </a:lnTo>
                  <a:lnTo>
                    <a:pt x="8244" y="9008"/>
                  </a:lnTo>
                  <a:lnTo>
                    <a:pt x="7948" y="9027"/>
                  </a:lnTo>
                  <a:lnTo>
                    <a:pt x="7646" y="9041"/>
                  </a:lnTo>
                  <a:lnTo>
                    <a:pt x="7340" y="9050"/>
                  </a:lnTo>
                  <a:lnTo>
                    <a:pt x="7030" y="9053"/>
                  </a:lnTo>
                  <a:lnTo>
                    <a:pt x="6720" y="9050"/>
                  </a:lnTo>
                  <a:lnTo>
                    <a:pt x="6414" y="9041"/>
                  </a:lnTo>
                  <a:lnTo>
                    <a:pt x="6112" y="9027"/>
                  </a:lnTo>
                  <a:lnTo>
                    <a:pt x="5816" y="9008"/>
                  </a:lnTo>
                  <a:lnTo>
                    <a:pt x="5525" y="8983"/>
                  </a:lnTo>
                  <a:lnTo>
                    <a:pt x="5238" y="8953"/>
                  </a:lnTo>
                  <a:lnTo>
                    <a:pt x="4958" y="8917"/>
                  </a:lnTo>
                  <a:lnTo>
                    <a:pt x="4685" y="8876"/>
                  </a:lnTo>
                  <a:lnTo>
                    <a:pt x="4418" y="8832"/>
                  </a:lnTo>
                  <a:lnTo>
                    <a:pt x="4158" y="8782"/>
                  </a:lnTo>
                  <a:lnTo>
                    <a:pt x="3906" y="8729"/>
                  </a:lnTo>
                  <a:lnTo>
                    <a:pt x="3661" y="8670"/>
                  </a:lnTo>
                  <a:lnTo>
                    <a:pt x="3425" y="8607"/>
                  </a:lnTo>
                  <a:lnTo>
                    <a:pt x="3197" y="8540"/>
                  </a:lnTo>
                  <a:lnTo>
                    <a:pt x="2979" y="8470"/>
                  </a:lnTo>
                  <a:lnTo>
                    <a:pt x="2769" y="8396"/>
                  </a:lnTo>
                  <a:lnTo>
                    <a:pt x="2570" y="8317"/>
                  </a:lnTo>
                  <a:lnTo>
                    <a:pt x="2380" y="8236"/>
                  </a:lnTo>
                  <a:lnTo>
                    <a:pt x="2201" y="8151"/>
                  </a:lnTo>
                  <a:lnTo>
                    <a:pt x="2034" y="8063"/>
                  </a:lnTo>
                  <a:lnTo>
                    <a:pt x="1877" y="7971"/>
                  </a:lnTo>
                  <a:lnTo>
                    <a:pt x="1731" y="7877"/>
                  </a:lnTo>
                  <a:lnTo>
                    <a:pt x="1599" y="7780"/>
                  </a:lnTo>
                  <a:lnTo>
                    <a:pt x="1477" y="7680"/>
                  </a:lnTo>
                  <a:lnTo>
                    <a:pt x="1370" y="7579"/>
                  </a:lnTo>
                  <a:lnTo>
                    <a:pt x="1275" y="7474"/>
                  </a:lnTo>
                  <a:lnTo>
                    <a:pt x="1194" y="7367"/>
                  </a:lnTo>
                  <a:lnTo>
                    <a:pt x="1127" y="7259"/>
                  </a:lnTo>
                  <a:lnTo>
                    <a:pt x="1074" y="7148"/>
                  </a:lnTo>
                  <a:lnTo>
                    <a:pt x="1035" y="7036"/>
                  </a:lnTo>
                  <a:lnTo>
                    <a:pt x="1012" y="6921"/>
                  </a:lnTo>
                  <a:lnTo>
                    <a:pt x="1004" y="6805"/>
                  </a:lnTo>
                  <a:lnTo>
                    <a:pt x="1005" y="6798"/>
                  </a:lnTo>
                  <a:lnTo>
                    <a:pt x="1006" y="6790"/>
                  </a:lnTo>
                  <a:lnTo>
                    <a:pt x="1004" y="6790"/>
                  </a:lnTo>
                  <a:lnTo>
                    <a:pt x="1004" y="5062"/>
                  </a:lnTo>
                  <a:lnTo>
                    <a:pt x="1131" y="5154"/>
                  </a:lnTo>
                  <a:lnTo>
                    <a:pt x="1263" y="5244"/>
                  </a:lnTo>
                  <a:lnTo>
                    <a:pt x="1402" y="5330"/>
                  </a:lnTo>
                  <a:lnTo>
                    <a:pt x="1547" y="5414"/>
                  </a:lnTo>
                  <a:lnTo>
                    <a:pt x="1697" y="5493"/>
                  </a:lnTo>
                  <a:lnTo>
                    <a:pt x="1852" y="5571"/>
                  </a:lnTo>
                  <a:lnTo>
                    <a:pt x="2013" y="5645"/>
                  </a:lnTo>
                  <a:lnTo>
                    <a:pt x="2178" y="5717"/>
                  </a:lnTo>
                  <a:lnTo>
                    <a:pt x="2348" y="5784"/>
                  </a:lnTo>
                  <a:lnTo>
                    <a:pt x="2523" y="5850"/>
                  </a:lnTo>
                  <a:lnTo>
                    <a:pt x="2701" y="5911"/>
                  </a:lnTo>
                  <a:lnTo>
                    <a:pt x="2883" y="5970"/>
                  </a:lnTo>
                  <a:lnTo>
                    <a:pt x="3070" y="6027"/>
                  </a:lnTo>
                  <a:lnTo>
                    <a:pt x="3260" y="6080"/>
                  </a:lnTo>
                  <a:lnTo>
                    <a:pt x="3453" y="6129"/>
                  </a:lnTo>
                  <a:lnTo>
                    <a:pt x="3650" y="6176"/>
                  </a:lnTo>
                  <a:lnTo>
                    <a:pt x="3848" y="6221"/>
                  </a:lnTo>
                  <a:lnTo>
                    <a:pt x="4050" y="6262"/>
                  </a:lnTo>
                  <a:lnTo>
                    <a:pt x="4255" y="6300"/>
                  </a:lnTo>
                  <a:lnTo>
                    <a:pt x="4461" y="6336"/>
                  </a:lnTo>
                  <a:lnTo>
                    <a:pt x="4670" y="6369"/>
                  </a:lnTo>
                  <a:lnTo>
                    <a:pt x="4880" y="6399"/>
                  </a:lnTo>
                  <a:lnTo>
                    <a:pt x="5092" y="6425"/>
                  </a:lnTo>
                  <a:lnTo>
                    <a:pt x="5305" y="6449"/>
                  </a:lnTo>
                  <a:lnTo>
                    <a:pt x="5519" y="6470"/>
                  </a:lnTo>
                  <a:lnTo>
                    <a:pt x="5733" y="6488"/>
                  </a:lnTo>
                  <a:lnTo>
                    <a:pt x="5949" y="6503"/>
                  </a:lnTo>
                  <a:lnTo>
                    <a:pt x="6165" y="6516"/>
                  </a:lnTo>
                  <a:lnTo>
                    <a:pt x="6382" y="6527"/>
                  </a:lnTo>
                  <a:lnTo>
                    <a:pt x="6598" y="6533"/>
                  </a:lnTo>
                  <a:lnTo>
                    <a:pt x="6814" y="6538"/>
                  </a:lnTo>
                  <a:lnTo>
                    <a:pt x="7030" y="6539"/>
                  </a:lnTo>
                  <a:lnTo>
                    <a:pt x="7246" y="6538"/>
                  </a:lnTo>
                  <a:lnTo>
                    <a:pt x="7462" y="6533"/>
                  </a:lnTo>
                  <a:lnTo>
                    <a:pt x="7678" y="6527"/>
                  </a:lnTo>
                  <a:lnTo>
                    <a:pt x="7895" y="6516"/>
                  </a:lnTo>
                  <a:lnTo>
                    <a:pt x="8111" y="6503"/>
                  </a:lnTo>
                  <a:lnTo>
                    <a:pt x="8327" y="6488"/>
                  </a:lnTo>
                  <a:lnTo>
                    <a:pt x="8541" y="6470"/>
                  </a:lnTo>
                  <a:lnTo>
                    <a:pt x="8755" y="6449"/>
                  </a:lnTo>
                  <a:lnTo>
                    <a:pt x="8968" y="6425"/>
                  </a:lnTo>
                  <a:lnTo>
                    <a:pt x="9180" y="6399"/>
                  </a:lnTo>
                  <a:lnTo>
                    <a:pt x="9390" y="6369"/>
                  </a:lnTo>
                  <a:lnTo>
                    <a:pt x="9599" y="6336"/>
                  </a:lnTo>
                  <a:lnTo>
                    <a:pt x="9805" y="6300"/>
                  </a:lnTo>
                  <a:lnTo>
                    <a:pt x="10010" y="6262"/>
                  </a:lnTo>
                  <a:lnTo>
                    <a:pt x="10212" y="6221"/>
                  </a:lnTo>
                  <a:lnTo>
                    <a:pt x="10410" y="6176"/>
                  </a:lnTo>
                  <a:lnTo>
                    <a:pt x="10607" y="6129"/>
                  </a:lnTo>
                  <a:lnTo>
                    <a:pt x="10800" y="6080"/>
                  </a:lnTo>
                  <a:lnTo>
                    <a:pt x="10990" y="6027"/>
                  </a:lnTo>
                  <a:lnTo>
                    <a:pt x="11177" y="5970"/>
                  </a:lnTo>
                  <a:lnTo>
                    <a:pt x="11358" y="5911"/>
                  </a:lnTo>
                  <a:lnTo>
                    <a:pt x="11537" y="5850"/>
                  </a:lnTo>
                  <a:lnTo>
                    <a:pt x="11712" y="5784"/>
                  </a:lnTo>
                  <a:lnTo>
                    <a:pt x="11882" y="5717"/>
                  </a:lnTo>
                  <a:lnTo>
                    <a:pt x="12047" y="5645"/>
                  </a:lnTo>
                  <a:lnTo>
                    <a:pt x="12208" y="5571"/>
                  </a:lnTo>
                  <a:lnTo>
                    <a:pt x="12363" y="5493"/>
                  </a:lnTo>
                  <a:lnTo>
                    <a:pt x="12513" y="5414"/>
                  </a:lnTo>
                  <a:lnTo>
                    <a:pt x="12658" y="5330"/>
                  </a:lnTo>
                  <a:lnTo>
                    <a:pt x="12797" y="5244"/>
                  </a:lnTo>
                  <a:lnTo>
                    <a:pt x="12929" y="5154"/>
                  </a:lnTo>
                  <a:lnTo>
                    <a:pt x="13056" y="5062"/>
                  </a:lnTo>
                  <a:lnTo>
                    <a:pt x="13056" y="6790"/>
                  </a:lnTo>
                  <a:close/>
                  <a:moveTo>
                    <a:pt x="13056" y="9808"/>
                  </a:moveTo>
                  <a:lnTo>
                    <a:pt x="13054" y="9808"/>
                  </a:lnTo>
                  <a:lnTo>
                    <a:pt x="13055" y="9816"/>
                  </a:lnTo>
                  <a:lnTo>
                    <a:pt x="13056" y="9824"/>
                  </a:lnTo>
                  <a:lnTo>
                    <a:pt x="13048" y="9940"/>
                  </a:lnTo>
                  <a:lnTo>
                    <a:pt x="13025" y="10053"/>
                  </a:lnTo>
                  <a:lnTo>
                    <a:pt x="12986" y="10166"/>
                  </a:lnTo>
                  <a:lnTo>
                    <a:pt x="12933" y="10277"/>
                  </a:lnTo>
                  <a:lnTo>
                    <a:pt x="12866" y="10385"/>
                  </a:lnTo>
                  <a:lnTo>
                    <a:pt x="12785" y="10492"/>
                  </a:lnTo>
                  <a:lnTo>
                    <a:pt x="12690" y="10597"/>
                  </a:lnTo>
                  <a:lnTo>
                    <a:pt x="12582" y="10698"/>
                  </a:lnTo>
                  <a:lnTo>
                    <a:pt x="12461" y="10798"/>
                  </a:lnTo>
                  <a:lnTo>
                    <a:pt x="12329" y="10895"/>
                  </a:lnTo>
                  <a:lnTo>
                    <a:pt x="12183" y="10989"/>
                  </a:lnTo>
                  <a:lnTo>
                    <a:pt x="12026" y="11080"/>
                  </a:lnTo>
                  <a:lnTo>
                    <a:pt x="11859" y="11169"/>
                  </a:lnTo>
                  <a:lnTo>
                    <a:pt x="11680" y="11253"/>
                  </a:lnTo>
                  <a:lnTo>
                    <a:pt x="11490" y="11335"/>
                  </a:lnTo>
                  <a:lnTo>
                    <a:pt x="11291" y="11413"/>
                  </a:lnTo>
                  <a:lnTo>
                    <a:pt x="11081" y="11488"/>
                  </a:lnTo>
                  <a:lnTo>
                    <a:pt x="10862" y="11558"/>
                  </a:lnTo>
                  <a:lnTo>
                    <a:pt x="10635" y="11625"/>
                  </a:lnTo>
                  <a:lnTo>
                    <a:pt x="10399" y="11688"/>
                  </a:lnTo>
                  <a:lnTo>
                    <a:pt x="10154" y="11746"/>
                  </a:lnTo>
                  <a:lnTo>
                    <a:pt x="9902" y="11800"/>
                  </a:lnTo>
                  <a:lnTo>
                    <a:pt x="9642" y="11850"/>
                  </a:lnTo>
                  <a:lnTo>
                    <a:pt x="9375" y="11895"/>
                  </a:lnTo>
                  <a:lnTo>
                    <a:pt x="9102" y="11934"/>
                  </a:lnTo>
                  <a:lnTo>
                    <a:pt x="8822" y="11971"/>
                  </a:lnTo>
                  <a:lnTo>
                    <a:pt x="8535" y="12001"/>
                  </a:lnTo>
                  <a:lnTo>
                    <a:pt x="8244" y="12026"/>
                  </a:lnTo>
                  <a:lnTo>
                    <a:pt x="7948" y="12045"/>
                  </a:lnTo>
                  <a:lnTo>
                    <a:pt x="7646" y="12060"/>
                  </a:lnTo>
                  <a:lnTo>
                    <a:pt x="7340" y="12068"/>
                  </a:lnTo>
                  <a:lnTo>
                    <a:pt x="7030" y="12071"/>
                  </a:lnTo>
                  <a:lnTo>
                    <a:pt x="6720" y="12068"/>
                  </a:lnTo>
                  <a:lnTo>
                    <a:pt x="6414" y="12060"/>
                  </a:lnTo>
                  <a:lnTo>
                    <a:pt x="6112" y="12045"/>
                  </a:lnTo>
                  <a:lnTo>
                    <a:pt x="5816" y="12026"/>
                  </a:lnTo>
                  <a:lnTo>
                    <a:pt x="5525" y="12001"/>
                  </a:lnTo>
                  <a:lnTo>
                    <a:pt x="5238" y="11971"/>
                  </a:lnTo>
                  <a:lnTo>
                    <a:pt x="4958" y="11934"/>
                  </a:lnTo>
                  <a:lnTo>
                    <a:pt x="4685" y="11895"/>
                  </a:lnTo>
                  <a:lnTo>
                    <a:pt x="4418" y="11850"/>
                  </a:lnTo>
                  <a:lnTo>
                    <a:pt x="4158" y="11800"/>
                  </a:lnTo>
                  <a:lnTo>
                    <a:pt x="3906" y="11746"/>
                  </a:lnTo>
                  <a:lnTo>
                    <a:pt x="3661" y="11688"/>
                  </a:lnTo>
                  <a:lnTo>
                    <a:pt x="3425" y="11625"/>
                  </a:lnTo>
                  <a:lnTo>
                    <a:pt x="3197" y="11558"/>
                  </a:lnTo>
                  <a:lnTo>
                    <a:pt x="2979" y="11488"/>
                  </a:lnTo>
                  <a:lnTo>
                    <a:pt x="2769" y="11413"/>
                  </a:lnTo>
                  <a:lnTo>
                    <a:pt x="2570" y="11335"/>
                  </a:lnTo>
                  <a:lnTo>
                    <a:pt x="2380" y="11253"/>
                  </a:lnTo>
                  <a:lnTo>
                    <a:pt x="2201" y="11169"/>
                  </a:lnTo>
                  <a:lnTo>
                    <a:pt x="2034" y="11080"/>
                  </a:lnTo>
                  <a:lnTo>
                    <a:pt x="1877" y="10989"/>
                  </a:lnTo>
                  <a:lnTo>
                    <a:pt x="1731" y="10895"/>
                  </a:lnTo>
                  <a:lnTo>
                    <a:pt x="1599" y="10798"/>
                  </a:lnTo>
                  <a:lnTo>
                    <a:pt x="1477" y="10698"/>
                  </a:lnTo>
                  <a:lnTo>
                    <a:pt x="1370" y="10597"/>
                  </a:lnTo>
                  <a:lnTo>
                    <a:pt x="1275" y="10492"/>
                  </a:lnTo>
                  <a:lnTo>
                    <a:pt x="1194" y="10385"/>
                  </a:lnTo>
                  <a:lnTo>
                    <a:pt x="1127" y="10277"/>
                  </a:lnTo>
                  <a:lnTo>
                    <a:pt x="1074" y="10166"/>
                  </a:lnTo>
                  <a:lnTo>
                    <a:pt x="1035" y="10053"/>
                  </a:lnTo>
                  <a:lnTo>
                    <a:pt x="1012" y="9940"/>
                  </a:lnTo>
                  <a:lnTo>
                    <a:pt x="1004" y="9824"/>
                  </a:lnTo>
                  <a:lnTo>
                    <a:pt x="1005" y="9816"/>
                  </a:lnTo>
                  <a:lnTo>
                    <a:pt x="1006" y="9808"/>
                  </a:lnTo>
                  <a:lnTo>
                    <a:pt x="1004" y="9808"/>
                  </a:lnTo>
                  <a:lnTo>
                    <a:pt x="1004" y="7929"/>
                  </a:lnTo>
                  <a:lnTo>
                    <a:pt x="1106" y="8027"/>
                  </a:lnTo>
                  <a:lnTo>
                    <a:pt x="1215" y="8124"/>
                  </a:lnTo>
                  <a:lnTo>
                    <a:pt x="1334" y="8216"/>
                  </a:lnTo>
                  <a:lnTo>
                    <a:pt x="1459" y="8306"/>
                  </a:lnTo>
                  <a:lnTo>
                    <a:pt x="1592" y="8393"/>
                  </a:lnTo>
                  <a:lnTo>
                    <a:pt x="1732" y="8477"/>
                  </a:lnTo>
                  <a:lnTo>
                    <a:pt x="1880" y="8558"/>
                  </a:lnTo>
                  <a:lnTo>
                    <a:pt x="2034" y="8635"/>
                  </a:lnTo>
                  <a:lnTo>
                    <a:pt x="2194" y="8709"/>
                  </a:lnTo>
                  <a:lnTo>
                    <a:pt x="2361" y="8781"/>
                  </a:lnTo>
                  <a:lnTo>
                    <a:pt x="2534" y="8849"/>
                  </a:lnTo>
                  <a:lnTo>
                    <a:pt x="2712" y="8915"/>
                  </a:lnTo>
                  <a:lnTo>
                    <a:pt x="2895" y="8976"/>
                  </a:lnTo>
                  <a:lnTo>
                    <a:pt x="3083" y="9035"/>
                  </a:lnTo>
                  <a:lnTo>
                    <a:pt x="3277" y="9092"/>
                  </a:lnTo>
                  <a:lnTo>
                    <a:pt x="3474" y="9144"/>
                  </a:lnTo>
                  <a:lnTo>
                    <a:pt x="3677" y="9193"/>
                  </a:lnTo>
                  <a:lnTo>
                    <a:pt x="3883" y="9241"/>
                  </a:lnTo>
                  <a:lnTo>
                    <a:pt x="4091" y="9284"/>
                  </a:lnTo>
                  <a:lnTo>
                    <a:pt x="4305" y="9324"/>
                  </a:lnTo>
                  <a:lnTo>
                    <a:pt x="4521" y="9360"/>
                  </a:lnTo>
                  <a:lnTo>
                    <a:pt x="4740" y="9394"/>
                  </a:lnTo>
                  <a:lnTo>
                    <a:pt x="4962" y="9426"/>
                  </a:lnTo>
                  <a:lnTo>
                    <a:pt x="5186" y="9453"/>
                  </a:lnTo>
                  <a:lnTo>
                    <a:pt x="5412" y="9477"/>
                  </a:lnTo>
                  <a:lnTo>
                    <a:pt x="5640" y="9498"/>
                  </a:lnTo>
                  <a:lnTo>
                    <a:pt x="5869" y="9516"/>
                  </a:lnTo>
                  <a:lnTo>
                    <a:pt x="6100" y="9530"/>
                  </a:lnTo>
                  <a:lnTo>
                    <a:pt x="6332" y="9541"/>
                  </a:lnTo>
                  <a:lnTo>
                    <a:pt x="6564" y="9549"/>
                  </a:lnTo>
                  <a:lnTo>
                    <a:pt x="6797" y="9554"/>
                  </a:lnTo>
                  <a:lnTo>
                    <a:pt x="7030" y="9556"/>
                  </a:lnTo>
                  <a:lnTo>
                    <a:pt x="7263" y="9554"/>
                  </a:lnTo>
                  <a:lnTo>
                    <a:pt x="7496" y="9549"/>
                  </a:lnTo>
                  <a:lnTo>
                    <a:pt x="7728" y="9541"/>
                  </a:lnTo>
                  <a:lnTo>
                    <a:pt x="7960" y="9530"/>
                  </a:lnTo>
                  <a:lnTo>
                    <a:pt x="8191" y="9516"/>
                  </a:lnTo>
                  <a:lnTo>
                    <a:pt x="8420" y="9498"/>
                  </a:lnTo>
                  <a:lnTo>
                    <a:pt x="8648" y="9477"/>
                  </a:lnTo>
                  <a:lnTo>
                    <a:pt x="8874" y="9453"/>
                  </a:lnTo>
                  <a:lnTo>
                    <a:pt x="9098" y="9426"/>
                  </a:lnTo>
                  <a:lnTo>
                    <a:pt x="9320" y="9394"/>
                  </a:lnTo>
                  <a:lnTo>
                    <a:pt x="9539" y="9360"/>
                  </a:lnTo>
                  <a:lnTo>
                    <a:pt x="9755" y="9324"/>
                  </a:lnTo>
                  <a:lnTo>
                    <a:pt x="9969" y="9284"/>
                  </a:lnTo>
                  <a:lnTo>
                    <a:pt x="10177" y="9241"/>
                  </a:lnTo>
                  <a:lnTo>
                    <a:pt x="10383" y="9193"/>
                  </a:lnTo>
                  <a:lnTo>
                    <a:pt x="10586" y="9144"/>
                  </a:lnTo>
                  <a:lnTo>
                    <a:pt x="10783" y="9092"/>
                  </a:lnTo>
                  <a:lnTo>
                    <a:pt x="10977" y="9035"/>
                  </a:lnTo>
                  <a:lnTo>
                    <a:pt x="11165" y="8976"/>
                  </a:lnTo>
                  <a:lnTo>
                    <a:pt x="11348" y="8915"/>
                  </a:lnTo>
                  <a:lnTo>
                    <a:pt x="11526" y="8849"/>
                  </a:lnTo>
                  <a:lnTo>
                    <a:pt x="11699" y="8781"/>
                  </a:lnTo>
                  <a:lnTo>
                    <a:pt x="11866" y="8709"/>
                  </a:lnTo>
                  <a:lnTo>
                    <a:pt x="12026" y="8635"/>
                  </a:lnTo>
                  <a:lnTo>
                    <a:pt x="12180" y="8558"/>
                  </a:lnTo>
                  <a:lnTo>
                    <a:pt x="12328" y="8477"/>
                  </a:lnTo>
                  <a:lnTo>
                    <a:pt x="12468" y="8393"/>
                  </a:lnTo>
                  <a:lnTo>
                    <a:pt x="12601" y="8306"/>
                  </a:lnTo>
                  <a:lnTo>
                    <a:pt x="12726" y="8216"/>
                  </a:lnTo>
                  <a:lnTo>
                    <a:pt x="12845" y="8124"/>
                  </a:lnTo>
                  <a:lnTo>
                    <a:pt x="12954" y="8027"/>
                  </a:lnTo>
                  <a:lnTo>
                    <a:pt x="13056" y="7929"/>
                  </a:lnTo>
                  <a:lnTo>
                    <a:pt x="13056" y="9808"/>
                  </a:lnTo>
                  <a:close/>
                  <a:moveTo>
                    <a:pt x="13056" y="12826"/>
                  </a:moveTo>
                  <a:lnTo>
                    <a:pt x="13048" y="12942"/>
                  </a:lnTo>
                  <a:lnTo>
                    <a:pt x="13025" y="13057"/>
                  </a:lnTo>
                  <a:lnTo>
                    <a:pt x="12986" y="13170"/>
                  </a:lnTo>
                  <a:lnTo>
                    <a:pt x="12933" y="13281"/>
                  </a:lnTo>
                  <a:lnTo>
                    <a:pt x="12866" y="13391"/>
                  </a:lnTo>
                  <a:lnTo>
                    <a:pt x="12785" y="13499"/>
                  </a:lnTo>
                  <a:lnTo>
                    <a:pt x="12690" y="13603"/>
                  </a:lnTo>
                  <a:lnTo>
                    <a:pt x="12583" y="13707"/>
                  </a:lnTo>
                  <a:lnTo>
                    <a:pt x="12461" y="13806"/>
                  </a:lnTo>
                  <a:lnTo>
                    <a:pt x="12329" y="13904"/>
                  </a:lnTo>
                  <a:lnTo>
                    <a:pt x="12183" y="13999"/>
                  </a:lnTo>
                  <a:lnTo>
                    <a:pt x="12026" y="14091"/>
                  </a:lnTo>
                  <a:lnTo>
                    <a:pt x="11859" y="14180"/>
                  </a:lnTo>
                  <a:lnTo>
                    <a:pt x="11680" y="14265"/>
                  </a:lnTo>
                  <a:lnTo>
                    <a:pt x="11490" y="14348"/>
                  </a:lnTo>
                  <a:lnTo>
                    <a:pt x="11291" y="14426"/>
                  </a:lnTo>
                  <a:lnTo>
                    <a:pt x="11081" y="14501"/>
                  </a:lnTo>
                  <a:lnTo>
                    <a:pt x="10863" y="14572"/>
                  </a:lnTo>
                  <a:lnTo>
                    <a:pt x="10635" y="14639"/>
                  </a:lnTo>
                  <a:lnTo>
                    <a:pt x="10399" y="14703"/>
                  </a:lnTo>
                  <a:lnTo>
                    <a:pt x="10154" y="14761"/>
                  </a:lnTo>
                  <a:lnTo>
                    <a:pt x="9902" y="14815"/>
                  </a:lnTo>
                  <a:lnTo>
                    <a:pt x="9642" y="14866"/>
                  </a:lnTo>
                  <a:lnTo>
                    <a:pt x="9376" y="14911"/>
                  </a:lnTo>
                  <a:lnTo>
                    <a:pt x="9102" y="14951"/>
                  </a:lnTo>
                  <a:lnTo>
                    <a:pt x="8822" y="14987"/>
                  </a:lnTo>
                  <a:lnTo>
                    <a:pt x="8536" y="15018"/>
                  </a:lnTo>
                  <a:lnTo>
                    <a:pt x="8244" y="15043"/>
                  </a:lnTo>
                  <a:lnTo>
                    <a:pt x="7948" y="15063"/>
                  </a:lnTo>
                  <a:lnTo>
                    <a:pt x="7647" y="15077"/>
                  </a:lnTo>
                  <a:lnTo>
                    <a:pt x="7340" y="15086"/>
                  </a:lnTo>
                  <a:lnTo>
                    <a:pt x="7030" y="15089"/>
                  </a:lnTo>
                  <a:lnTo>
                    <a:pt x="6720" y="15086"/>
                  </a:lnTo>
                  <a:lnTo>
                    <a:pt x="6413" y="15077"/>
                  </a:lnTo>
                  <a:lnTo>
                    <a:pt x="6112" y="15063"/>
                  </a:lnTo>
                  <a:lnTo>
                    <a:pt x="5816" y="15043"/>
                  </a:lnTo>
                  <a:lnTo>
                    <a:pt x="5524" y="15018"/>
                  </a:lnTo>
                  <a:lnTo>
                    <a:pt x="5238" y="14987"/>
                  </a:lnTo>
                  <a:lnTo>
                    <a:pt x="4958" y="14951"/>
                  </a:lnTo>
                  <a:lnTo>
                    <a:pt x="4684" y="14911"/>
                  </a:lnTo>
                  <a:lnTo>
                    <a:pt x="4418" y="14866"/>
                  </a:lnTo>
                  <a:lnTo>
                    <a:pt x="4158" y="14815"/>
                  </a:lnTo>
                  <a:lnTo>
                    <a:pt x="3906" y="14761"/>
                  </a:lnTo>
                  <a:lnTo>
                    <a:pt x="3661" y="14703"/>
                  </a:lnTo>
                  <a:lnTo>
                    <a:pt x="3425" y="14639"/>
                  </a:lnTo>
                  <a:lnTo>
                    <a:pt x="3197" y="14572"/>
                  </a:lnTo>
                  <a:lnTo>
                    <a:pt x="2979" y="14501"/>
                  </a:lnTo>
                  <a:lnTo>
                    <a:pt x="2769" y="14426"/>
                  </a:lnTo>
                  <a:lnTo>
                    <a:pt x="2570" y="14348"/>
                  </a:lnTo>
                  <a:lnTo>
                    <a:pt x="2380" y="14265"/>
                  </a:lnTo>
                  <a:lnTo>
                    <a:pt x="2201" y="14180"/>
                  </a:lnTo>
                  <a:lnTo>
                    <a:pt x="2034" y="14091"/>
                  </a:lnTo>
                  <a:lnTo>
                    <a:pt x="1877" y="13999"/>
                  </a:lnTo>
                  <a:lnTo>
                    <a:pt x="1731" y="13904"/>
                  </a:lnTo>
                  <a:lnTo>
                    <a:pt x="1599" y="13806"/>
                  </a:lnTo>
                  <a:lnTo>
                    <a:pt x="1477" y="13707"/>
                  </a:lnTo>
                  <a:lnTo>
                    <a:pt x="1370" y="13603"/>
                  </a:lnTo>
                  <a:lnTo>
                    <a:pt x="1275" y="13499"/>
                  </a:lnTo>
                  <a:lnTo>
                    <a:pt x="1194" y="13391"/>
                  </a:lnTo>
                  <a:lnTo>
                    <a:pt x="1127" y="13281"/>
                  </a:lnTo>
                  <a:lnTo>
                    <a:pt x="1074" y="13170"/>
                  </a:lnTo>
                  <a:lnTo>
                    <a:pt x="1035" y="13057"/>
                  </a:lnTo>
                  <a:lnTo>
                    <a:pt x="1012" y="12942"/>
                  </a:lnTo>
                  <a:lnTo>
                    <a:pt x="1004" y="12826"/>
                  </a:lnTo>
                  <a:lnTo>
                    <a:pt x="1004" y="10947"/>
                  </a:lnTo>
                  <a:lnTo>
                    <a:pt x="1106" y="11045"/>
                  </a:lnTo>
                  <a:lnTo>
                    <a:pt x="1215" y="11141"/>
                  </a:lnTo>
                  <a:lnTo>
                    <a:pt x="1334" y="11234"/>
                  </a:lnTo>
                  <a:lnTo>
                    <a:pt x="1459" y="11324"/>
                  </a:lnTo>
                  <a:lnTo>
                    <a:pt x="1592" y="11410"/>
                  </a:lnTo>
                  <a:lnTo>
                    <a:pt x="1732" y="11495"/>
                  </a:lnTo>
                  <a:lnTo>
                    <a:pt x="1880" y="11575"/>
                  </a:lnTo>
                  <a:lnTo>
                    <a:pt x="2034" y="11653"/>
                  </a:lnTo>
                  <a:lnTo>
                    <a:pt x="2194" y="11727"/>
                  </a:lnTo>
                  <a:lnTo>
                    <a:pt x="2361" y="11799"/>
                  </a:lnTo>
                  <a:lnTo>
                    <a:pt x="2534" y="11867"/>
                  </a:lnTo>
                  <a:lnTo>
                    <a:pt x="2712" y="11932"/>
                  </a:lnTo>
                  <a:lnTo>
                    <a:pt x="2895" y="11994"/>
                  </a:lnTo>
                  <a:lnTo>
                    <a:pt x="3083" y="12053"/>
                  </a:lnTo>
                  <a:lnTo>
                    <a:pt x="3277" y="12109"/>
                  </a:lnTo>
                  <a:lnTo>
                    <a:pt x="3474" y="12162"/>
                  </a:lnTo>
                  <a:lnTo>
                    <a:pt x="3677" y="12211"/>
                  </a:lnTo>
                  <a:lnTo>
                    <a:pt x="3883" y="12258"/>
                  </a:lnTo>
                  <a:lnTo>
                    <a:pt x="4091" y="12302"/>
                  </a:lnTo>
                  <a:lnTo>
                    <a:pt x="4305" y="12342"/>
                  </a:lnTo>
                  <a:lnTo>
                    <a:pt x="4521" y="12378"/>
                  </a:lnTo>
                  <a:lnTo>
                    <a:pt x="4740" y="12412"/>
                  </a:lnTo>
                  <a:lnTo>
                    <a:pt x="4962" y="12443"/>
                  </a:lnTo>
                  <a:lnTo>
                    <a:pt x="5186" y="12471"/>
                  </a:lnTo>
                  <a:lnTo>
                    <a:pt x="5412" y="12495"/>
                  </a:lnTo>
                  <a:lnTo>
                    <a:pt x="5640" y="12516"/>
                  </a:lnTo>
                  <a:lnTo>
                    <a:pt x="5869" y="12534"/>
                  </a:lnTo>
                  <a:lnTo>
                    <a:pt x="6100" y="12548"/>
                  </a:lnTo>
                  <a:lnTo>
                    <a:pt x="6332" y="12559"/>
                  </a:lnTo>
                  <a:lnTo>
                    <a:pt x="6564" y="12567"/>
                  </a:lnTo>
                  <a:lnTo>
                    <a:pt x="6797" y="12572"/>
                  </a:lnTo>
                  <a:lnTo>
                    <a:pt x="7030" y="12574"/>
                  </a:lnTo>
                  <a:lnTo>
                    <a:pt x="7263" y="12572"/>
                  </a:lnTo>
                  <a:lnTo>
                    <a:pt x="7496" y="12567"/>
                  </a:lnTo>
                  <a:lnTo>
                    <a:pt x="7728" y="12559"/>
                  </a:lnTo>
                  <a:lnTo>
                    <a:pt x="7960" y="12548"/>
                  </a:lnTo>
                  <a:lnTo>
                    <a:pt x="8191" y="12534"/>
                  </a:lnTo>
                  <a:lnTo>
                    <a:pt x="8420" y="12516"/>
                  </a:lnTo>
                  <a:lnTo>
                    <a:pt x="8648" y="12495"/>
                  </a:lnTo>
                  <a:lnTo>
                    <a:pt x="8874" y="12471"/>
                  </a:lnTo>
                  <a:lnTo>
                    <a:pt x="9098" y="12443"/>
                  </a:lnTo>
                  <a:lnTo>
                    <a:pt x="9320" y="12412"/>
                  </a:lnTo>
                  <a:lnTo>
                    <a:pt x="9539" y="12378"/>
                  </a:lnTo>
                  <a:lnTo>
                    <a:pt x="9755" y="12342"/>
                  </a:lnTo>
                  <a:lnTo>
                    <a:pt x="9969" y="12302"/>
                  </a:lnTo>
                  <a:lnTo>
                    <a:pt x="10177" y="12258"/>
                  </a:lnTo>
                  <a:lnTo>
                    <a:pt x="10383" y="12211"/>
                  </a:lnTo>
                  <a:lnTo>
                    <a:pt x="10586" y="12162"/>
                  </a:lnTo>
                  <a:lnTo>
                    <a:pt x="10783" y="12109"/>
                  </a:lnTo>
                  <a:lnTo>
                    <a:pt x="10977" y="12053"/>
                  </a:lnTo>
                  <a:lnTo>
                    <a:pt x="11165" y="11994"/>
                  </a:lnTo>
                  <a:lnTo>
                    <a:pt x="11348" y="11932"/>
                  </a:lnTo>
                  <a:lnTo>
                    <a:pt x="11526" y="11867"/>
                  </a:lnTo>
                  <a:lnTo>
                    <a:pt x="11699" y="11799"/>
                  </a:lnTo>
                  <a:lnTo>
                    <a:pt x="11866" y="11727"/>
                  </a:lnTo>
                  <a:lnTo>
                    <a:pt x="12026" y="11653"/>
                  </a:lnTo>
                  <a:lnTo>
                    <a:pt x="12180" y="11575"/>
                  </a:lnTo>
                  <a:lnTo>
                    <a:pt x="12328" y="11495"/>
                  </a:lnTo>
                  <a:lnTo>
                    <a:pt x="12468" y="11410"/>
                  </a:lnTo>
                  <a:lnTo>
                    <a:pt x="12601" y="11324"/>
                  </a:lnTo>
                  <a:lnTo>
                    <a:pt x="12726" y="11234"/>
                  </a:lnTo>
                  <a:lnTo>
                    <a:pt x="12845" y="11141"/>
                  </a:lnTo>
                  <a:lnTo>
                    <a:pt x="12954" y="11045"/>
                  </a:lnTo>
                  <a:lnTo>
                    <a:pt x="13056" y="10947"/>
                  </a:lnTo>
                  <a:lnTo>
                    <a:pt x="13056" y="12826"/>
                  </a:lnTo>
                  <a:close/>
                  <a:moveTo>
                    <a:pt x="7030" y="0"/>
                  </a:moveTo>
                  <a:lnTo>
                    <a:pt x="6712" y="3"/>
                  </a:lnTo>
                  <a:lnTo>
                    <a:pt x="6393" y="12"/>
                  </a:lnTo>
                  <a:lnTo>
                    <a:pt x="6074" y="27"/>
                  </a:lnTo>
                  <a:lnTo>
                    <a:pt x="5756" y="48"/>
                  </a:lnTo>
                  <a:lnTo>
                    <a:pt x="5439" y="75"/>
                  </a:lnTo>
                  <a:lnTo>
                    <a:pt x="5124" y="110"/>
                  </a:lnTo>
                  <a:lnTo>
                    <a:pt x="4812" y="149"/>
                  </a:lnTo>
                  <a:lnTo>
                    <a:pt x="4503" y="195"/>
                  </a:lnTo>
                  <a:lnTo>
                    <a:pt x="4199" y="247"/>
                  </a:lnTo>
                  <a:lnTo>
                    <a:pt x="3900" y="306"/>
                  </a:lnTo>
                  <a:lnTo>
                    <a:pt x="3605" y="370"/>
                  </a:lnTo>
                  <a:lnTo>
                    <a:pt x="3318" y="442"/>
                  </a:lnTo>
                  <a:lnTo>
                    <a:pt x="3037" y="520"/>
                  </a:lnTo>
                  <a:lnTo>
                    <a:pt x="2765" y="604"/>
                  </a:lnTo>
                  <a:lnTo>
                    <a:pt x="2501" y="695"/>
                  </a:lnTo>
                  <a:lnTo>
                    <a:pt x="2246" y="792"/>
                  </a:lnTo>
                  <a:lnTo>
                    <a:pt x="2001" y="896"/>
                  </a:lnTo>
                  <a:lnTo>
                    <a:pt x="1766" y="1007"/>
                  </a:lnTo>
                  <a:lnTo>
                    <a:pt x="1543" y="1124"/>
                  </a:lnTo>
                  <a:lnTo>
                    <a:pt x="1332" y="1247"/>
                  </a:lnTo>
                  <a:lnTo>
                    <a:pt x="1133" y="1378"/>
                  </a:lnTo>
                  <a:lnTo>
                    <a:pt x="948" y="1515"/>
                  </a:lnTo>
                  <a:lnTo>
                    <a:pt x="778" y="1660"/>
                  </a:lnTo>
                  <a:lnTo>
                    <a:pt x="623" y="1811"/>
                  </a:lnTo>
                  <a:lnTo>
                    <a:pt x="482" y="1969"/>
                  </a:lnTo>
                  <a:lnTo>
                    <a:pt x="359" y="2134"/>
                  </a:lnTo>
                  <a:lnTo>
                    <a:pt x="252" y="2305"/>
                  </a:lnTo>
                  <a:lnTo>
                    <a:pt x="163" y="2484"/>
                  </a:lnTo>
                  <a:lnTo>
                    <a:pt x="93" y="2670"/>
                  </a:lnTo>
                  <a:lnTo>
                    <a:pt x="42" y="2862"/>
                  </a:lnTo>
                  <a:lnTo>
                    <a:pt x="11" y="3062"/>
                  </a:lnTo>
                  <a:lnTo>
                    <a:pt x="0" y="3269"/>
                  </a:lnTo>
                  <a:lnTo>
                    <a:pt x="0" y="12826"/>
                  </a:lnTo>
                  <a:lnTo>
                    <a:pt x="11" y="13033"/>
                  </a:lnTo>
                  <a:lnTo>
                    <a:pt x="42" y="13232"/>
                  </a:lnTo>
                  <a:lnTo>
                    <a:pt x="93" y="13425"/>
                  </a:lnTo>
                  <a:lnTo>
                    <a:pt x="163" y="13611"/>
                  </a:lnTo>
                  <a:lnTo>
                    <a:pt x="252" y="13789"/>
                  </a:lnTo>
                  <a:lnTo>
                    <a:pt x="359" y="13961"/>
                  </a:lnTo>
                  <a:lnTo>
                    <a:pt x="482" y="14126"/>
                  </a:lnTo>
                  <a:lnTo>
                    <a:pt x="623" y="14284"/>
                  </a:lnTo>
                  <a:lnTo>
                    <a:pt x="778" y="14435"/>
                  </a:lnTo>
                  <a:lnTo>
                    <a:pt x="948" y="14579"/>
                  </a:lnTo>
                  <a:lnTo>
                    <a:pt x="1133" y="14717"/>
                  </a:lnTo>
                  <a:lnTo>
                    <a:pt x="1332" y="14847"/>
                  </a:lnTo>
                  <a:lnTo>
                    <a:pt x="1543" y="14971"/>
                  </a:lnTo>
                  <a:lnTo>
                    <a:pt x="1766" y="15088"/>
                  </a:lnTo>
                  <a:lnTo>
                    <a:pt x="2001" y="15199"/>
                  </a:lnTo>
                  <a:lnTo>
                    <a:pt x="2246" y="15302"/>
                  </a:lnTo>
                  <a:lnTo>
                    <a:pt x="2501" y="15400"/>
                  </a:lnTo>
                  <a:lnTo>
                    <a:pt x="2765" y="15490"/>
                  </a:lnTo>
                  <a:lnTo>
                    <a:pt x="3037" y="15575"/>
                  </a:lnTo>
                  <a:lnTo>
                    <a:pt x="3318" y="15652"/>
                  </a:lnTo>
                  <a:lnTo>
                    <a:pt x="3605" y="15724"/>
                  </a:lnTo>
                  <a:lnTo>
                    <a:pt x="3900" y="15789"/>
                  </a:lnTo>
                  <a:lnTo>
                    <a:pt x="4199" y="15848"/>
                  </a:lnTo>
                  <a:lnTo>
                    <a:pt x="4503" y="15900"/>
                  </a:lnTo>
                  <a:lnTo>
                    <a:pt x="4812" y="15946"/>
                  </a:lnTo>
                  <a:lnTo>
                    <a:pt x="5124" y="15985"/>
                  </a:lnTo>
                  <a:lnTo>
                    <a:pt x="5439" y="16020"/>
                  </a:lnTo>
                  <a:lnTo>
                    <a:pt x="5756" y="16047"/>
                  </a:lnTo>
                  <a:lnTo>
                    <a:pt x="6074" y="16068"/>
                  </a:lnTo>
                  <a:lnTo>
                    <a:pt x="6393" y="16083"/>
                  </a:lnTo>
                  <a:lnTo>
                    <a:pt x="6712" y="16092"/>
                  </a:lnTo>
                  <a:lnTo>
                    <a:pt x="7030" y="16095"/>
                  </a:lnTo>
                  <a:lnTo>
                    <a:pt x="7348" y="16092"/>
                  </a:lnTo>
                  <a:lnTo>
                    <a:pt x="7667" y="16083"/>
                  </a:lnTo>
                  <a:lnTo>
                    <a:pt x="7986" y="16068"/>
                  </a:lnTo>
                  <a:lnTo>
                    <a:pt x="8304" y="16047"/>
                  </a:lnTo>
                  <a:lnTo>
                    <a:pt x="8621" y="16020"/>
                  </a:lnTo>
                  <a:lnTo>
                    <a:pt x="8936" y="15985"/>
                  </a:lnTo>
                  <a:lnTo>
                    <a:pt x="9248" y="15946"/>
                  </a:lnTo>
                  <a:lnTo>
                    <a:pt x="9557" y="15900"/>
                  </a:lnTo>
                  <a:lnTo>
                    <a:pt x="9861" y="15848"/>
                  </a:lnTo>
                  <a:lnTo>
                    <a:pt x="10160" y="15789"/>
                  </a:lnTo>
                  <a:lnTo>
                    <a:pt x="10455" y="15724"/>
                  </a:lnTo>
                  <a:lnTo>
                    <a:pt x="10742" y="15652"/>
                  </a:lnTo>
                  <a:lnTo>
                    <a:pt x="11023" y="15575"/>
                  </a:lnTo>
                  <a:lnTo>
                    <a:pt x="11295" y="15490"/>
                  </a:lnTo>
                  <a:lnTo>
                    <a:pt x="11559" y="15400"/>
                  </a:lnTo>
                  <a:lnTo>
                    <a:pt x="11814" y="15302"/>
                  </a:lnTo>
                  <a:lnTo>
                    <a:pt x="12059" y="15199"/>
                  </a:lnTo>
                  <a:lnTo>
                    <a:pt x="12294" y="15088"/>
                  </a:lnTo>
                  <a:lnTo>
                    <a:pt x="12517" y="14971"/>
                  </a:lnTo>
                  <a:lnTo>
                    <a:pt x="12728" y="14847"/>
                  </a:lnTo>
                  <a:lnTo>
                    <a:pt x="12927" y="14717"/>
                  </a:lnTo>
                  <a:lnTo>
                    <a:pt x="13112" y="14579"/>
                  </a:lnTo>
                  <a:lnTo>
                    <a:pt x="13282" y="14435"/>
                  </a:lnTo>
                  <a:lnTo>
                    <a:pt x="13437" y="14284"/>
                  </a:lnTo>
                  <a:lnTo>
                    <a:pt x="13578" y="14126"/>
                  </a:lnTo>
                  <a:lnTo>
                    <a:pt x="13701" y="13961"/>
                  </a:lnTo>
                  <a:lnTo>
                    <a:pt x="13808" y="13789"/>
                  </a:lnTo>
                  <a:lnTo>
                    <a:pt x="13897" y="13611"/>
                  </a:lnTo>
                  <a:lnTo>
                    <a:pt x="13967" y="13425"/>
                  </a:lnTo>
                  <a:lnTo>
                    <a:pt x="14018" y="13232"/>
                  </a:lnTo>
                  <a:lnTo>
                    <a:pt x="14049" y="13033"/>
                  </a:lnTo>
                  <a:lnTo>
                    <a:pt x="14060" y="12826"/>
                  </a:lnTo>
                  <a:lnTo>
                    <a:pt x="14060" y="3269"/>
                  </a:lnTo>
                  <a:lnTo>
                    <a:pt x="14049" y="3062"/>
                  </a:lnTo>
                  <a:lnTo>
                    <a:pt x="14018" y="2862"/>
                  </a:lnTo>
                  <a:lnTo>
                    <a:pt x="13967" y="2670"/>
                  </a:lnTo>
                  <a:lnTo>
                    <a:pt x="13897" y="2484"/>
                  </a:lnTo>
                  <a:lnTo>
                    <a:pt x="13808" y="2305"/>
                  </a:lnTo>
                  <a:lnTo>
                    <a:pt x="13701" y="2134"/>
                  </a:lnTo>
                  <a:lnTo>
                    <a:pt x="13578" y="1969"/>
                  </a:lnTo>
                  <a:lnTo>
                    <a:pt x="13437" y="1811"/>
                  </a:lnTo>
                  <a:lnTo>
                    <a:pt x="13282" y="1660"/>
                  </a:lnTo>
                  <a:lnTo>
                    <a:pt x="13112" y="1515"/>
                  </a:lnTo>
                  <a:lnTo>
                    <a:pt x="12927" y="1378"/>
                  </a:lnTo>
                  <a:lnTo>
                    <a:pt x="12728" y="1247"/>
                  </a:lnTo>
                  <a:lnTo>
                    <a:pt x="12517" y="1124"/>
                  </a:lnTo>
                  <a:lnTo>
                    <a:pt x="12294" y="1007"/>
                  </a:lnTo>
                  <a:lnTo>
                    <a:pt x="12059" y="896"/>
                  </a:lnTo>
                  <a:lnTo>
                    <a:pt x="11814" y="792"/>
                  </a:lnTo>
                  <a:lnTo>
                    <a:pt x="11559" y="695"/>
                  </a:lnTo>
                  <a:lnTo>
                    <a:pt x="11295" y="604"/>
                  </a:lnTo>
                  <a:lnTo>
                    <a:pt x="11023" y="520"/>
                  </a:lnTo>
                  <a:lnTo>
                    <a:pt x="10742" y="442"/>
                  </a:lnTo>
                  <a:lnTo>
                    <a:pt x="10455" y="370"/>
                  </a:lnTo>
                  <a:lnTo>
                    <a:pt x="10160" y="306"/>
                  </a:lnTo>
                  <a:lnTo>
                    <a:pt x="9861" y="247"/>
                  </a:lnTo>
                  <a:lnTo>
                    <a:pt x="9557" y="195"/>
                  </a:lnTo>
                  <a:lnTo>
                    <a:pt x="9248" y="149"/>
                  </a:lnTo>
                  <a:lnTo>
                    <a:pt x="8936" y="110"/>
                  </a:lnTo>
                  <a:lnTo>
                    <a:pt x="8621" y="75"/>
                  </a:lnTo>
                  <a:lnTo>
                    <a:pt x="8304" y="48"/>
                  </a:lnTo>
                  <a:lnTo>
                    <a:pt x="7986" y="27"/>
                  </a:lnTo>
                  <a:lnTo>
                    <a:pt x="7667" y="12"/>
                  </a:lnTo>
                  <a:lnTo>
                    <a:pt x="7348" y="3"/>
                  </a:lnTo>
                  <a:lnTo>
                    <a:pt x="703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11" name="ísḻíḓê">
              <a:extLst>
                <a:ext uri="{FF2B5EF4-FFF2-40B4-BE49-F238E27FC236}">
                  <a16:creationId xmlns:a16="http://schemas.microsoft.com/office/drawing/2014/main" id="{F6C33873-8177-43C8-83B8-E7DF07719310}"/>
                </a:ext>
              </a:extLst>
            </p:cNvPr>
            <p:cNvSpPr/>
            <p:nvPr/>
          </p:nvSpPr>
          <p:spPr bwMode="auto">
            <a:xfrm>
              <a:off x="3073466" y="1511374"/>
              <a:ext cx="38070" cy="38070"/>
            </a:xfrm>
            <a:custGeom>
              <a:avLst/>
              <a:gdLst>
                <a:gd name="T0" fmla="*/ 554 w 1004"/>
                <a:gd name="T1" fmla="*/ 1003 h 1006"/>
                <a:gd name="T2" fmla="*/ 628 w 1004"/>
                <a:gd name="T3" fmla="*/ 990 h 1006"/>
                <a:gd name="T4" fmla="*/ 698 w 1004"/>
                <a:gd name="T5" fmla="*/ 967 h 1006"/>
                <a:gd name="T6" fmla="*/ 762 w 1004"/>
                <a:gd name="T7" fmla="*/ 934 h 1006"/>
                <a:gd name="T8" fmla="*/ 822 w 1004"/>
                <a:gd name="T9" fmla="*/ 891 h 1006"/>
                <a:gd name="T10" fmla="*/ 874 w 1004"/>
                <a:gd name="T11" fmla="*/ 841 h 1006"/>
                <a:gd name="T12" fmla="*/ 919 w 1004"/>
                <a:gd name="T13" fmla="*/ 785 h 1006"/>
                <a:gd name="T14" fmla="*/ 955 w 1004"/>
                <a:gd name="T15" fmla="*/ 721 h 1006"/>
                <a:gd name="T16" fmla="*/ 981 w 1004"/>
                <a:gd name="T17" fmla="*/ 653 h 1006"/>
                <a:gd name="T18" fmla="*/ 998 w 1004"/>
                <a:gd name="T19" fmla="*/ 580 h 1006"/>
                <a:gd name="T20" fmla="*/ 1004 w 1004"/>
                <a:gd name="T21" fmla="*/ 503 h 1006"/>
                <a:gd name="T22" fmla="*/ 998 w 1004"/>
                <a:gd name="T23" fmla="*/ 427 h 1006"/>
                <a:gd name="T24" fmla="*/ 981 w 1004"/>
                <a:gd name="T25" fmla="*/ 353 h 1006"/>
                <a:gd name="T26" fmla="*/ 955 w 1004"/>
                <a:gd name="T27" fmla="*/ 285 h 1006"/>
                <a:gd name="T28" fmla="*/ 919 w 1004"/>
                <a:gd name="T29" fmla="*/ 222 h 1006"/>
                <a:gd name="T30" fmla="*/ 874 w 1004"/>
                <a:gd name="T31" fmla="*/ 165 h 1006"/>
                <a:gd name="T32" fmla="*/ 822 w 1004"/>
                <a:gd name="T33" fmla="*/ 115 h 1006"/>
                <a:gd name="T34" fmla="*/ 762 w 1004"/>
                <a:gd name="T35" fmla="*/ 73 h 1006"/>
                <a:gd name="T36" fmla="*/ 698 w 1004"/>
                <a:gd name="T37" fmla="*/ 39 h 1006"/>
                <a:gd name="T38" fmla="*/ 628 w 1004"/>
                <a:gd name="T39" fmla="*/ 16 h 1006"/>
                <a:gd name="T40" fmla="*/ 554 w 1004"/>
                <a:gd name="T41" fmla="*/ 3 h 1006"/>
                <a:gd name="T42" fmla="*/ 476 w 1004"/>
                <a:gd name="T43" fmla="*/ 1 h 1006"/>
                <a:gd name="T44" fmla="*/ 401 w 1004"/>
                <a:gd name="T45" fmla="*/ 10 h 1006"/>
                <a:gd name="T46" fmla="*/ 330 w 1004"/>
                <a:gd name="T47" fmla="*/ 30 h 1006"/>
                <a:gd name="T48" fmla="*/ 262 w 1004"/>
                <a:gd name="T49" fmla="*/ 61 h 1006"/>
                <a:gd name="T50" fmla="*/ 202 w 1004"/>
                <a:gd name="T51" fmla="*/ 100 h 1006"/>
                <a:gd name="T52" fmla="*/ 147 w 1004"/>
                <a:gd name="T53" fmla="*/ 147 h 1006"/>
                <a:gd name="T54" fmla="*/ 100 w 1004"/>
                <a:gd name="T55" fmla="*/ 202 h 1006"/>
                <a:gd name="T56" fmla="*/ 60 w 1004"/>
                <a:gd name="T57" fmla="*/ 263 h 1006"/>
                <a:gd name="T58" fmla="*/ 30 w 1004"/>
                <a:gd name="T59" fmla="*/ 330 h 1006"/>
                <a:gd name="T60" fmla="*/ 10 w 1004"/>
                <a:gd name="T61" fmla="*/ 402 h 1006"/>
                <a:gd name="T62" fmla="*/ 1 w 1004"/>
                <a:gd name="T63" fmla="*/ 477 h 1006"/>
                <a:gd name="T64" fmla="*/ 3 w 1004"/>
                <a:gd name="T65" fmla="*/ 554 h 1006"/>
                <a:gd name="T66" fmla="*/ 16 w 1004"/>
                <a:gd name="T67" fmla="*/ 629 h 1006"/>
                <a:gd name="T68" fmla="*/ 39 w 1004"/>
                <a:gd name="T69" fmla="*/ 699 h 1006"/>
                <a:gd name="T70" fmla="*/ 72 w 1004"/>
                <a:gd name="T71" fmla="*/ 764 h 1006"/>
                <a:gd name="T72" fmla="*/ 115 w 1004"/>
                <a:gd name="T73" fmla="*/ 823 h 1006"/>
                <a:gd name="T74" fmla="*/ 165 w 1004"/>
                <a:gd name="T75" fmla="*/ 875 h 1006"/>
                <a:gd name="T76" fmla="*/ 221 w 1004"/>
                <a:gd name="T77" fmla="*/ 921 h 1006"/>
                <a:gd name="T78" fmla="*/ 284 w 1004"/>
                <a:gd name="T79" fmla="*/ 957 h 1006"/>
                <a:gd name="T80" fmla="*/ 353 w 1004"/>
                <a:gd name="T81" fmla="*/ 984 h 1006"/>
                <a:gd name="T82" fmla="*/ 426 w 1004"/>
                <a:gd name="T83" fmla="*/ 1000 h 1006"/>
                <a:gd name="T84" fmla="*/ 502 w 1004"/>
                <a:gd name="T85" fmla="*/ 10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4" h="1006">
                  <a:moveTo>
                    <a:pt x="502" y="1006"/>
                  </a:moveTo>
                  <a:lnTo>
                    <a:pt x="528" y="1005"/>
                  </a:lnTo>
                  <a:lnTo>
                    <a:pt x="554" y="1003"/>
                  </a:lnTo>
                  <a:lnTo>
                    <a:pt x="579" y="1000"/>
                  </a:lnTo>
                  <a:lnTo>
                    <a:pt x="604" y="996"/>
                  </a:lnTo>
                  <a:lnTo>
                    <a:pt x="628" y="990"/>
                  </a:lnTo>
                  <a:lnTo>
                    <a:pt x="652" y="984"/>
                  </a:lnTo>
                  <a:lnTo>
                    <a:pt x="675" y="976"/>
                  </a:lnTo>
                  <a:lnTo>
                    <a:pt x="698" y="967"/>
                  </a:lnTo>
                  <a:lnTo>
                    <a:pt x="720" y="957"/>
                  </a:lnTo>
                  <a:lnTo>
                    <a:pt x="741" y="946"/>
                  </a:lnTo>
                  <a:lnTo>
                    <a:pt x="762" y="934"/>
                  </a:lnTo>
                  <a:lnTo>
                    <a:pt x="783" y="921"/>
                  </a:lnTo>
                  <a:lnTo>
                    <a:pt x="803" y="907"/>
                  </a:lnTo>
                  <a:lnTo>
                    <a:pt x="822" y="891"/>
                  </a:lnTo>
                  <a:lnTo>
                    <a:pt x="840" y="875"/>
                  </a:lnTo>
                  <a:lnTo>
                    <a:pt x="858" y="859"/>
                  </a:lnTo>
                  <a:lnTo>
                    <a:pt x="874" y="841"/>
                  </a:lnTo>
                  <a:lnTo>
                    <a:pt x="890" y="823"/>
                  </a:lnTo>
                  <a:lnTo>
                    <a:pt x="905" y="804"/>
                  </a:lnTo>
                  <a:lnTo>
                    <a:pt x="919" y="785"/>
                  </a:lnTo>
                  <a:lnTo>
                    <a:pt x="932" y="764"/>
                  </a:lnTo>
                  <a:lnTo>
                    <a:pt x="944" y="743"/>
                  </a:lnTo>
                  <a:lnTo>
                    <a:pt x="955" y="721"/>
                  </a:lnTo>
                  <a:lnTo>
                    <a:pt x="965" y="699"/>
                  </a:lnTo>
                  <a:lnTo>
                    <a:pt x="974" y="676"/>
                  </a:lnTo>
                  <a:lnTo>
                    <a:pt x="981" y="653"/>
                  </a:lnTo>
                  <a:lnTo>
                    <a:pt x="988" y="629"/>
                  </a:lnTo>
                  <a:lnTo>
                    <a:pt x="994" y="605"/>
                  </a:lnTo>
                  <a:lnTo>
                    <a:pt x="998" y="580"/>
                  </a:lnTo>
                  <a:lnTo>
                    <a:pt x="1001" y="554"/>
                  </a:lnTo>
                  <a:lnTo>
                    <a:pt x="1003" y="529"/>
                  </a:lnTo>
                  <a:lnTo>
                    <a:pt x="1004" y="503"/>
                  </a:lnTo>
                  <a:lnTo>
                    <a:pt x="1003" y="477"/>
                  </a:lnTo>
                  <a:lnTo>
                    <a:pt x="1001" y="452"/>
                  </a:lnTo>
                  <a:lnTo>
                    <a:pt x="998" y="427"/>
                  </a:lnTo>
                  <a:lnTo>
                    <a:pt x="994" y="402"/>
                  </a:lnTo>
                  <a:lnTo>
                    <a:pt x="988" y="377"/>
                  </a:lnTo>
                  <a:lnTo>
                    <a:pt x="981" y="353"/>
                  </a:lnTo>
                  <a:lnTo>
                    <a:pt x="974" y="330"/>
                  </a:lnTo>
                  <a:lnTo>
                    <a:pt x="965" y="307"/>
                  </a:lnTo>
                  <a:lnTo>
                    <a:pt x="955" y="285"/>
                  </a:lnTo>
                  <a:lnTo>
                    <a:pt x="944" y="263"/>
                  </a:lnTo>
                  <a:lnTo>
                    <a:pt x="932" y="243"/>
                  </a:lnTo>
                  <a:lnTo>
                    <a:pt x="919" y="222"/>
                  </a:lnTo>
                  <a:lnTo>
                    <a:pt x="905" y="202"/>
                  </a:lnTo>
                  <a:lnTo>
                    <a:pt x="890" y="183"/>
                  </a:lnTo>
                  <a:lnTo>
                    <a:pt x="874" y="165"/>
                  </a:lnTo>
                  <a:lnTo>
                    <a:pt x="858" y="147"/>
                  </a:lnTo>
                  <a:lnTo>
                    <a:pt x="840" y="131"/>
                  </a:lnTo>
                  <a:lnTo>
                    <a:pt x="822" y="115"/>
                  </a:lnTo>
                  <a:lnTo>
                    <a:pt x="803" y="100"/>
                  </a:lnTo>
                  <a:lnTo>
                    <a:pt x="783" y="86"/>
                  </a:lnTo>
                  <a:lnTo>
                    <a:pt x="762" y="73"/>
                  </a:lnTo>
                  <a:lnTo>
                    <a:pt x="741" y="61"/>
                  </a:lnTo>
                  <a:lnTo>
                    <a:pt x="720" y="50"/>
                  </a:lnTo>
                  <a:lnTo>
                    <a:pt x="698" y="39"/>
                  </a:lnTo>
                  <a:lnTo>
                    <a:pt x="675" y="30"/>
                  </a:lnTo>
                  <a:lnTo>
                    <a:pt x="652" y="22"/>
                  </a:lnTo>
                  <a:lnTo>
                    <a:pt x="628" y="16"/>
                  </a:lnTo>
                  <a:lnTo>
                    <a:pt x="604" y="10"/>
                  </a:lnTo>
                  <a:lnTo>
                    <a:pt x="579" y="6"/>
                  </a:lnTo>
                  <a:lnTo>
                    <a:pt x="554" y="3"/>
                  </a:lnTo>
                  <a:lnTo>
                    <a:pt x="528" y="1"/>
                  </a:lnTo>
                  <a:lnTo>
                    <a:pt x="502" y="0"/>
                  </a:lnTo>
                  <a:lnTo>
                    <a:pt x="476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6" y="39"/>
                  </a:lnTo>
                  <a:lnTo>
                    <a:pt x="284" y="50"/>
                  </a:lnTo>
                  <a:lnTo>
                    <a:pt x="262" y="61"/>
                  </a:lnTo>
                  <a:lnTo>
                    <a:pt x="242" y="73"/>
                  </a:lnTo>
                  <a:lnTo>
                    <a:pt x="221" y="86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100" y="202"/>
                  </a:lnTo>
                  <a:lnTo>
                    <a:pt x="86" y="222"/>
                  </a:lnTo>
                  <a:lnTo>
                    <a:pt x="72" y="243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1" y="529"/>
                  </a:lnTo>
                  <a:lnTo>
                    <a:pt x="3" y="554"/>
                  </a:lnTo>
                  <a:lnTo>
                    <a:pt x="6" y="580"/>
                  </a:lnTo>
                  <a:lnTo>
                    <a:pt x="10" y="605"/>
                  </a:lnTo>
                  <a:lnTo>
                    <a:pt x="16" y="629"/>
                  </a:lnTo>
                  <a:lnTo>
                    <a:pt x="22" y="653"/>
                  </a:lnTo>
                  <a:lnTo>
                    <a:pt x="30" y="676"/>
                  </a:lnTo>
                  <a:lnTo>
                    <a:pt x="39" y="699"/>
                  </a:lnTo>
                  <a:lnTo>
                    <a:pt x="49" y="721"/>
                  </a:lnTo>
                  <a:lnTo>
                    <a:pt x="60" y="743"/>
                  </a:lnTo>
                  <a:lnTo>
                    <a:pt x="72" y="764"/>
                  </a:lnTo>
                  <a:lnTo>
                    <a:pt x="86" y="785"/>
                  </a:lnTo>
                  <a:lnTo>
                    <a:pt x="100" y="804"/>
                  </a:lnTo>
                  <a:lnTo>
                    <a:pt x="115" y="823"/>
                  </a:lnTo>
                  <a:lnTo>
                    <a:pt x="131" y="841"/>
                  </a:lnTo>
                  <a:lnTo>
                    <a:pt x="147" y="859"/>
                  </a:lnTo>
                  <a:lnTo>
                    <a:pt x="165" y="875"/>
                  </a:lnTo>
                  <a:lnTo>
                    <a:pt x="183" y="891"/>
                  </a:lnTo>
                  <a:lnTo>
                    <a:pt x="202" y="907"/>
                  </a:lnTo>
                  <a:lnTo>
                    <a:pt x="221" y="921"/>
                  </a:lnTo>
                  <a:lnTo>
                    <a:pt x="242" y="934"/>
                  </a:lnTo>
                  <a:lnTo>
                    <a:pt x="262" y="946"/>
                  </a:lnTo>
                  <a:lnTo>
                    <a:pt x="284" y="957"/>
                  </a:lnTo>
                  <a:lnTo>
                    <a:pt x="306" y="967"/>
                  </a:lnTo>
                  <a:lnTo>
                    <a:pt x="330" y="976"/>
                  </a:lnTo>
                  <a:lnTo>
                    <a:pt x="353" y="984"/>
                  </a:lnTo>
                  <a:lnTo>
                    <a:pt x="377" y="990"/>
                  </a:lnTo>
                  <a:lnTo>
                    <a:pt x="401" y="996"/>
                  </a:lnTo>
                  <a:lnTo>
                    <a:pt x="426" y="1000"/>
                  </a:lnTo>
                  <a:lnTo>
                    <a:pt x="451" y="1003"/>
                  </a:lnTo>
                  <a:lnTo>
                    <a:pt x="476" y="1005"/>
                  </a:lnTo>
                  <a:lnTo>
                    <a:pt x="502" y="10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12" name="îṧḷîḑé">
              <a:extLst>
                <a:ext uri="{FF2B5EF4-FFF2-40B4-BE49-F238E27FC236}">
                  <a16:creationId xmlns:a16="http://schemas.microsoft.com/office/drawing/2014/main" id="{91803F21-EB68-47E8-8D7B-982FC12FBED7}"/>
                </a:ext>
              </a:extLst>
            </p:cNvPr>
            <p:cNvSpPr/>
            <p:nvPr/>
          </p:nvSpPr>
          <p:spPr bwMode="auto">
            <a:xfrm>
              <a:off x="3073466" y="1395757"/>
              <a:ext cx="38070" cy="38070"/>
            </a:xfrm>
            <a:custGeom>
              <a:avLst/>
              <a:gdLst>
                <a:gd name="T0" fmla="*/ 554 w 1004"/>
                <a:gd name="T1" fmla="*/ 1003 h 1006"/>
                <a:gd name="T2" fmla="*/ 628 w 1004"/>
                <a:gd name="T3" fmla="*/ 990 h 1006"/>
                <a:gd name="T4" fmla="*/ 698 w 1004"/>
                <a:gd name="T5" fmla="*/ 967 h 1006"/>
                <a:gd name="T6" fmla="*/ 762 w 1004"/>
                <a:gd name="T7" fmla="*/ 934 h 1006"/>
                <a:gd name="T8" fmla="*/ 822 w 1004"/>
                <a:gd name="T9" fmla="*/ 892 h 1006"/>
                <a:gd name="T10" fmla="*/ 874 w 1004"/>
                <a:gd name="T11" fmla="*/ 841 h 1006"/>
                <a:gd name="T12" fmla="*/ 919 w 1004"/>
                <a:gd name="T13" fmla="*/ 785 h 1006"/>
                <a:gd name="T14" fmla="*/ 955 w 1004"/>
                <a:gd name="T15" fmla="*/ 722 h 1006"/>
                <a:gd name="T16" fmla="*/ 981 w 1004"/>
                <a:gd name="T17" fmla="*/ 653 h 1006"/>
                <a:gd name="T18" fmla="*/ 998 w 1004"/>
                <a:gd name="T19" fmla="*/ 580 h 1006"/>
                <a:gd name="T20" fmla="*/ 1004 w 1004"/>
                <a:gd name="T21" fmla="*/ 503 h 1006"/>
                <a:gd name="T22" fmla="*/ 998 w 1004"/>
                <a:gd name="T23" fmla="*/ 427 h 1006"/>
                <a:gd name="T24" fmla="*/ 981 w 1004"/>
                <a:gd name="T25" fmla="*/ 353 h 1006"/>
                <a:gd name="T26" fmla="*/ 955 w 1004"/>
                <a:gd name="T27" fmla="*/ 285 h 1006"/>
                <a:gd name="T28" fmla="*/ 919 w 1004"/>
                <a:gd name="T29" fmla="*/ 222 h 1006"/>
                <a:gd name="T30" fmla="*/ 874 w 1004"/>
                <a:gd name="T31" fmla="*/ 165 h 1006"/>
                <a:gd name="T32" fmla="*/ 822 w 1004"/>
                <a:gd name="T33" fmla="*/ 115 h 1006"/>
                <a:gd name="T34" fmla="*/ 762 w 1004"/>
                <a:gd name="T35" fmla="*/ 73 h 1006"/>
                <a:gd name="T36" fmla="*/ 698 w 1004"/>
                <a:gd name="T37" fmla="*/ 40 h 1006"/>
                <a:gd name="T38" fmla="*/ 628 w 1004"/>
                <a:gd name="T39" fmla="*/ 17 h 1006"/>
                <a:gd name="T40" fmla="*/ 554 w 1004"/>
                <a:gd name="T41" fmla="*/ 3 h 1006"/>
                <a:gd name="T42" fmla="*/ 476 w 1004"/>
                <a:gd name="T43" fmla="*/ 1 h 1006"/>
                <a:gd name="T44" fmla="*/ 401 w 1004"/>
                <a:gd name="T45" fmla="*/ 10 h 1006"/>
                <a:gd name="T46" fmla="*/ 330 w 1004"/>
                <a:gd name="T47" fmla="*/ 31 h 1006"/>
                <a:gd name="T48" fmla="*/ 262 w 1004"/>
                <a:gd name="T49" fmla="*/ 61 h 1006"/>
                <a:gd name="T50" fmla="*/ 202 w 1004"/>
                <a:gd name="T51" fmla="*/ 100 h 1006"/>
                <a:gd name="T52" fmla="*/ 147 w 1004"/>
                <a:gd name="T53" fmla="*/ 147 h 1006"/>
                <a:gd name="T54" fmla="*/ 100 w 1004"/>
                <a:gd name="T55" fmla="*/ 203 h 1006"/>
                <a:gd name="T56" fmla="*/ 60 w 1004"/>
                <a:gd name="T57" fmla="*/ 263 h 1006"/>
                <a:gd name="T58" fmla="*/ 30 w 1004"/>
                <a:gd name="T59" fmla="*/ 330 h 1006"/>
                <a:gd name="T60" fmla="*/ 10 w 1004"/>
                <a:gd name="T61" fmla="*/ 402 h 1006"/>
                <a:gd name="T62" fmla="*/ 1 w 1004"/>
                <a:gd name="T63" fmla="*/ 477 h 1006"/>
                <a:gd name="T64" fmla="*/ 3 w 1004"/>
                <a:gd name="T65" fmla="*/ 555 h 1006"/>
                <a:gd name="T66" fmla="*/ 16 w 1004"/>
                <a:gd name="T67" fmla="*/ 629 h 1006"/>
                <a:gd name="T68" fmla="*/ 39 w 1004"/>
                <a:gd name="T69" fmla="*/ 700 h 1006"/>
                <a:gd name="T70" fmla="*/ 72 w 1004"/>
                <a:gd name="T71" fmla="*/ 764 h 1006"/>
                <a:gd name="T72" fmla="*/ 115 w 1004"/>
                <a:gd name="T73" fmla="*/ 823 h 1006"/>
                <a:gd name="T74" fmla="*/ 165 w 1004"/>
                <a:gd name="T75" fmla="*/ 876 h 1006"/>
                <a:gd name="T76" fmla="*/ 221 w 1004"/>
                <a:gd name="T77" fmla="*/ 921 h 1006"/>
                <a:gd name="T78" fmla="*/ 284 w 1004"/>
                <a:gd name="T79" fmla="*/ 957 h 1006"/>
                <a:gd name="T80" fmla="*/ 353 w 1004"/>
                <a:gd name="T81" fmla="*/ 983 h 1006"/>
                <a:gd name="T82" fmla="*/ 426 w 1004"/>
                <a:gd name="T83" fmla="*/ 1000 h 1006"/>
                <a:gd name="T84" fmla="*/ 502 w 1004"/>
                <a:gd name="T85" fmla="*/ 10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4" h="1006">
                  <a:moveTo>
                    <a:pt x="502" y="1006"/>
                  </a:moveTo>
                  <a:lnTo>
                    <a:pt x="528" y="1005"/>
                  </a:lnTo>
                  <a:lnTo>
                    <a:pt x="554" y="1003"/>
                  </a:lnTo>
                  <a:lnTo>
                    <a:pt x="579" y="1000"/>
                  </a:lnTo>
                  <a:lnTo>
                    <a:pt x="604" y="996"/>
                  </a:lnTo>
                  <a:lnTo>
                    <a:pt x="628" y="990"/>
                  </a:lnTo>
                  <a:lnTo>
                    <a:pt x="652" y="983"/>
                  </a:lnTo>
                  <a:lnTo>
                    <a:pt x="675" y="976"/>
                  </a:lnTo>
                  <a:lnTo>
                    <a:pt x="698" y="967"/>
                  </a:lnTo>
                  <a:lnTo>
                    <a:pt x="720" y="957"/>
                  </a:lnTo>
                  <a:lnTo>
                    <a:pt x="741" y="946"/>
                  </a:lnTo>
                  <a:lnTo>
                    <a:pt x="762" y="934"/>
                  </a:lnTo>
                  <a:lnTo>
                    <a:pt x="783" y="921"/>
                  </a:lnTo>
                  <a:lnTo>
                    <a:pt x="803" y="907"/>
                  </a:lnTo>
                  <a:lnTo>
                    <a:pt x="822" y="892"/>
                  </a:lnTo>
                  <a:lnTo>
                    <a:pt x="840" y="876"/>
                  </a:lnTo>
                  <a:lnTo>
                    <a:pt x="858" y="859"/>
                  </a:lnTo>
                  <a:lnTo>
                    <a:pt x="874" y="841"/>
                  </a:lnTo>
                  <a:lnTo>
                    <a:pt x="890" y="823"/>
                  </a:lnTo>
                  <a:lnTo>
                    <a:pt x="905" y="804"/>
                  </a:lnTo>
                  <a:lnTo>
                    <a:pt x="919" y="785"/>
                  </a:lnTo>
                  <a:lnTo>
                    <a:pt x="932" y="764"/>
                  </a:lnTo>
                  <a:lnTo>
                    <a:pt x="944" y="743"/>
                  </a:lnTo>
                  <a:lnTo>
                    <a:pt x="955" y="722"/>
                  </a:lnTo>
                  <a:lnTo>
                    <a:pt x="965" y="700"/>
                  </a:lnTo>
                  <a:lnTo>
                    <a:pt x="974" y="676"/>
                  </a:lnTo>
                  <a:lnTo>
                    <a:pt x="981" y="653"/>
                  </a:lnTo>
                  <a:lnTo>
                    <a:pt x="988" y="629"/>
                  </a:lnTo>
                  <a:lnTo>
                    <a:pt x="994" y="605"/>
                  </a:lnTo>
                  <a:lnTo>
                    <a:pt x="998" y="580"/>
                  </a:lnTo>
                  <a:lnTo>
                    <a:pt x="1001" y="555"/>
                  </a:lnTo>
                  <a:lnTo>
                    <a:pt x="1003" y="530"/>
                  </a:lnTo>
                  <a:lnTo>
                    <a:pt x="1004" y="503"/>
                  </a:lnTo>
                  <a:lnTo>
                    <a:pt x="1003" y="477"/>
                  </a:lnTo>
                  <a:lnTo>
                    <a:pt x="1001" y="452"/>
                  </a:lnTo>
                  <a:lnTo>
                    <a:pt x="998" y="427"/>
                  </a:lnTo>
                  <a:lnTo>
                    <a:pt x="994" y="402"/>
                  </a:lnTo>
                  <a:lnTo>
                    <a:pt x="988" y="378"/>
                  </a:lnTo>
                  <a:lnTo>
                    <a:pt x="981" y="353"/>
                  </a:lnTo>
                  <a:lnTo>
                    <a:pt x="974" y="330"/>
                  </a:lnTo>
                  <a:lnTo>
                    <a:pt x="965" y="307"/>
                  </a:lnTo>
                  <a:lnTo>
                    <a:pt x="955" y="285"/>
                  </a:lnTo>
                  <a:lnTo>
                    <a:pt x="944" y="263"/>
                  </a:lnTo>
                  <a:lnTo>
                    <a:pt x="932" y="243"/>
                  </a:lnTo>
                  <a:lnTo>
                    <a:pt x="919" y="222"/>
                  </a:lnTo>
                  <a:lnTo>
                    <a:pt x="905" y="203"/>
                  </a:lnTo>
                  <a:lnTo>
                    <a:pt x="890" y="183"/>
                  </a:lnTo>
                  <a:lnTo>
                    <a:pt x="874" y="165"/>
                  </a:lnTo>
                  <a:lnTo>
                    <a:pt x="858" y="147"/>
                  </a:lnTo>
                  <a:lnTo>
                    <a:pt x="840" y="131"/>
                  </a:lnTo>
                  <a:lnTo>
                    <a:pt x="822" y="115"/>
                  </a:lnTo>
                  <a:lnTo>
                    <a:pt x="803" y="100"/>
                  </a:lnTo>
                  <a:lnTo>
                    <a:pt x="783" y="86"/>
                  </a:lnTo>
                  <a:lnTo>
                    <a:pt x="762" y="73"/>
                  </a:lnTo>
                  <a:lnTo>
                    <a:pt x="741" y="61"/>
                  </a:lnTo>
                  <a:lnTo>
                    <a:pt x="720" y="50"/>
                  </a:lnTo>
                  <a:lnTo>
                    <a:pt x="698" y="40"/>
                  </a:lnTo>
                  <a:lnTo>
                    <a:pt x="675" y="31"/>
                  </a:lnTo>
                  <a:lnTo>
                    <a:pt x="652" y="23"/>
                  </a:lnTo>
                  <a:lnTo>
                    <a:pt x="628" y="17"/>
                  </a:lnTo>
                  <a:lnTo>
                    <a:pt x="604" y="10"/>
                  </a:lnTo>
                  <a:lnTo>
                    <a:pt x="579" y="6"/>
                  </a:lnTo>
                  <a:lnTo>
                    <a:pt x="554" y="3"/>
                  </a:lnTo>
                  <a:lnTo>
                    <a:pt x="528" y="1"/>
                  </a:lnTo>
                  <a:lnTo>
                    <a:pt x="502" y="0"/>
                  </a:lnTo>
                  <a:lnTo>
                    <a:pt x="476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7"/>
                  </a:lnTo>
                  <a:lnTo>
                    <a:pt x="353" y="23"/>
                  </a:lnTo>
                  <a:lnTo>
                    <a:pt x="330" y="31"/>
                  </a:lnTo>
                  <a:lnTo>
                    <a:pt x="306" y="40"/>
                  </a:lnTo>
                  <a:lnTo>
                    <a:pt x="284" y="50"/>
                  </a:lnTo>
                  <a:lnTo>
                    <a:pt x="262" y="61"/>
                  </a:lnTo>
                  <a:lnTo>
                    <a:pt x="242" y="73"/>
                  </a:lnTo>
                  <a:lnTo>
                    <a:pt x="221" y="86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100" y="203"/>
                  </a:lnTo>
                  <a:lnTo>
                    <a:pt x="86" y="222"/>
                  </a:lnTo>
                  <a:lnTo>
                    <a:pt x="72" y="243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8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1" y="530"/>
                  </a:lnTo>
                  <a:lnTo>
                    <a:pt x="3" y="555"/>
                  </a:lnTo>
                  <a:lnTo>
                    <a:pt x="6" y="580"/>
                  </a:lnTo>
                  <a:lnTo>
                    <a:pt x="10" y="605"/>
                  </a:lnTo>
                  <a:lnTo>
                    <a:pt x="16" y="629"/>
                  </a:lnTo>
                  <a:lnTo>
                    <a:pt x="22" y="653"/>
                  </a:lnTo>
                  <a:lnTo>
                    <a:pt x="30" y="676"/>
                  </a:lnTo>
                  <a:lnTo>
                    <a:pt x="39" y="700"/>
                  </a:lnTo>
                  <a:lnTo>
                    <a:pt x="49" y="722"/>
                  </a:lnTo>
                  <a:lnTo>
                    <a:pt x="60" y="743"/>
                  </a:lnTo>
                  <a:lnTo>
                    <a:pt x="72" y="764"/>
                  </a:lnTo>
                  <a:lnTo>
                    <a:pt x="86" y="785"/>
                  </a:lnTo>
                  <a:lnTo>
                    <a:pt x="100" y="804"/>
                  </a:lnTo>
                  <a:lnTo>
                    <a:pt x="115" y="823"/>
                  </a:lnTo>
                  <a:lnTo>
                    <a:pt x="131" y="841"/>
                  </a:lnTo>
                  <a:lnTo>
                    <a:pt x="147" y="859"/>
                  </a:lnTo>
                  <a:lnTo>
                    <a:pt x="165" y="876"/>
                  </a:lnTo>
                  <a:lnTo>
                    <a:pt x="183" y="892"/>
                  </a:lnTo>
                  <a:lnTo>
                    <a:pt x="202" y="907"/>
                  </a:lnTo>
                  <a:lnTo>
                    <a:pt x="221" y="921"/>
                  </a:lnTo>
                  <a:lnTo>
                    <a:pt x="242" y="934"/>
                  </a:lnTo>
                  <a:lnTo>
                    <a:pt x="262" y="946"/>
                  </a:lnTo>
                  <a:lnTo>
                    <a:pt x="284" y="957"/>
                  </a:lnTo>
                  <a:lnTo>
                    <a:pt x="306" y="967"/>
                  </a:lnTo>
                  <a:lnTo>
                    <a:pt x="330" y="976"/>
                  </a:lnTo>
                  <a:lnTo>
                    <a:pt x="353" y="983"/>
                  </a:lnTo>
                  <a:lnTo>
                    <a:pt x="377" y="990"/>
                  </a:lnTo>
                  <a:lnTo>
                    <a:pt x="401" y="996"/>
                  </a:lnTo>
                  <a:lnTo>
                    <a:pt x="426" y="1000"/>
                  </a:lnTo>
                  <a:lnTo>
                    <a:pt x="451" y="1003"/>
                  </a:lnTo>
                  <a:lnTo>
                    <a:pt x="476" y="1005"/>
                  </a:lnTo>
                  <a:lnTo>
                    <a:pt x="502" y="10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13" name="îs1iḑé">
              <a:extLst>
                <a:ext uri="{FF2B5EF4-FFF2-40B4-BE49-F238E27FC236}">
                  <a16:creationId xmlns:a16="http://schemas.microsoft.com/office/drawing/2014/main" id="{C18E9890-A2D4-432C-B8F8-50F09A9AF341}"/>
                </a:ext>
              </a:extLst>
            </p:cNvPr>
            <p:cNvSpPr/>
            <p:nvPr/>
          </p:nvSpPr>
          <p:spPr bwMode="auto">
            <a:xfrm>
              <a:off x="3073466" y="1281549"/>
              <a:ext cx="38070" cy="38070"/>
            </a:xfrm>
            <a:custGeom>
              <a:avLst/>
              <a:gdLst>
                <a:gd name="T0" fmla="*/ 554 w 1004"/>
                <a:gd name="T1" fmla="*/ 1003 h 1006"/>
                <a:gd name="T2" fmla="*/ 628 w 1004"/>
                <a:gd name="T3" fmla="*/ 989 h 1006"/>
                <a:gd name="T4" fmla="*/ 698 w 1004"/>
                <a:gd name="T5" fmla="*/ 966 h 1006"/>
                <a:gd name="T6" fmla="*/ 762 w 1004"/>
                <a:gd name="T7" fmla="*/ 933 h 1006"/>
                <a:gd name="T8" fmla="*/ 822 w 1004"/>
                <a:gd name="T9" fmla="*/ 891 h 1006"/>
                <a:gd name="T10" fmla="*/ 874 w 1004"/>
                <a:gd name="T11" fmla="*/ 841 h 1006"/>
                <a:gd name="T12" fmla="*/ 919 w 1004"/>
                <a:gd name="T13" fmla="*/ 784 h 1006"/>
                <a:gd name="T14" fmla="*/ 955 w 1004"/>
                <a:gd name="T15" fmla="*/ 721 h 1006"/>
                <a:gd name="T16" fmla="*/ 981 w 1004"/>
                <a:gd name="T17" fmla="*/ 652 h 1006"/>
                <a:gd name="T18" fmla="*/ 998 w 1004"/>
                <a:gd name="T19" fmla="*/ 579 h 1006"/>
                <a:gd name="T20" fmla="*/ 1004 w 1004"/>
                <a:gd name="T21" fmla="*/ 503 h 1006"/>
                <a:gd name="T22" fmla="*/ 998 w 1004"/>
                <a:gd name="T23" fmla="*/ 426 h 1006"/>
                <a:gd name="T24" fmla="*/ 981 w 1004"/>
                <a:gd name="T25" fmla="*/ 353 h 1006"/>
                <a:gd name="T26" fmla="*/ 955 w 1004"/>
                <a:gd name="T27" fmla="*/ 284 h 1006"/>
                <a:gd name="T28" fmla="*/ 919 w 1004"/>
                <a:gd name="T29" fmla="*/ 221 h 1006"/>
                <a:gd name="T30" fmla="*/ 874 w 1004"/>
                <a:gd name="T31" fmla="*/ 165 h 1006"/>
                <a:gd name="T32" fmla="*/ 822 w 1004"/>
                <a:gd name="T33" fmla="*/ 114 h 1006"/>
                <a:gd name="T34" fmla="*/ 762 w 1004"/>
                <a:gd name="T35" fmla="*/ 72 h 1006"/>
                <a:gd name="T36" fmla="*/ 698 w 1004"/>
                <a:gd name="T37" fmla="*/ 39 h 1006"/>
                <a:gd name="T38" fmla="*/ 628 w 1004"/>
                <a:gd name="T39" fmla="*/ 16 h 1006"/>
                <a:gd name="T40" fmla="*/ 554 w 1004"/>
                <a:gd name="T41" fmla="*/ 3 h 1006"/>
                <a:gd name="T42" fmla="*/ 476 w 1004"/>
                <a:gd name="T43" fmla="*/ 1 h 1006"/>
                <a:gd name="T44" fmla="*/ 401 w 1004"/>
                <a:gd name="T45" fmla="*/ 10 h 1006"/>
                <a:gd name="T46" fmla="*/ 330 w 1004"/>
                <a:gd name="T47" fmla="*/ 30 h 1006"/>
                <a:gd name="T48" fmla="*/ 262 w 1004"/>
                <a:gd name="T49" fmla="*/ 60 h 1006"/>
                <a:gd name="T50" fmla="*/ 202 w 1004"/>
                <a:gd name="T51" fmla="*/ 99 h 1006"/>
                <a:gd name="T52" fmla="*/ 147 w 1004"/>
                <a:gd name="T53" fmla="*/ 146 h 1006"/>
                <a:gd name="T54" fmla="*/ 100 w 1004"/>
                <a:gd name="T55" fmla="*/ 202 h 1006"/>
                <a:gd name="T56" fmla="*/ 60 w 1004"/>
                <a:gd name="T57" fmla="*/ 263 h 1006"/>
                <a:gd name="T58" fmla="*/ 30 w 1004"/>
                <a:gd name="T59" fmla="*/ 330 h 1006"/>
                <a:gd name="T60" fmla="*/ 10 w 1004"/>
                <a:gd name="T61" fmla="*/ 401 h 1006"/>
                <a:gd name="T62" fmla="*/ 1 w 1004"/>
                <a:gd name="T63" fmla="*/ 476 h 1006"/>
                <a:gd name="T64" fmla="*/ 3 w 1004"/>
                <a:gd name="T65" fmla="*/ 554 h 1006"/>
                <a:gd name="T66" fmla="*/ 16 w 1004"/>
                <a:gd name="T67" fmla="*/ 628 h 1006"/>
                <a:gd name="T68" fmla="*/ 39 w 1004"/>
                <a:gd name="T69" fmla="*/ 699 h 1006"/>
                <a:gd name="T70" fmla="*/ 72 w 1004"/>
                <a:gd name="T71" fmla="*/ 763 h 1006"/>
                <a:gd name="T72" fmla="*/ 115 w 1004"/>
                <a:gd name="T73" fmla="*/ 822 h 1006"/>
                <a:gd name="T74" fmla="*/ 165 w 1004"/>
                <a:gd name="T75" fmla="*/ 875 h 1006"/>
                <a:gd name="T76" fmla="*/ 221 w 1004"/>
                <a:gd name="T77" fmla="*/ 920 h 1006"/>
                <a:gd name="T78" fmla="*/ 284 w 1004"/>
                <a:gd name="T79" fmla="*/ 956 h 1006"/>
                <a:gd name="T80" fmla="*/ 353 w 1004"/>
                <a:gd name="T81" fmla="*/ 983 h 1006"/>
                <a:gd name="T82" fmla="*/ 426 w 1004"/>
                <a:gd name="T83" fmla="*/ 999 h 1006"/>
                <a:gd name="T84" fmla="*/ 502 w 1004"/>
                <a:gd name="T85" fmla="*/ 10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4" h="1006">
                  <a:moveTo>
                    <a:pt x="502" y="1006"/>
                  </a:moveTo>
                  <a:lnTo>
                    <a:pt x="528" y="1005"/>
                  </a:lnTo>
                  <a:lnTo>
                    <a:pt x="554" y="1003"/>
                  </a:lnTo>
                  <a:lnTo>
                    <a:pt x="579" y="999"/>
                  </a:lnTo>
                  <a:lnTo>
                    <a:pt x="604" y="995"/>
                  </a:lnTo>
                  <a:lnTo>
                    <a:pt x="628" y="989"/>
                  </a:lnTo>
                  <a:lnTo>
                    <a:pt x="652" y="983"/>
                  </a:lnTo>
                  <a:lnTo>
                    <a:pt x="675" y="975"/>
                  </a:lnTo>
                  <a:lnTo>
                    <a:pt x="698" y="966"/>
                  </a:lnTo>
                  <a:lnTo>
                    <a:pt x="720" y="956"/>
                  </a:lnTo>
                  <a:lnTo>
                    <a:pt x="741" y="945"/>
                  </a:lnTo>
                  <a:lnTo>
                    <a:pt x="762" y="933"/>
                  </a:lnTo>
                  <a:lnTo>
                    <a:pt x="783" y="920"/>
                  </a:lnTo>
                  <a:lnTo>
                    <a:pt x="803" y="906"/>
                  </a:lnTo>
                  <a:lnTo>
                    <a:pt x="822" y="891"/>
                  </a:lnTo>
                  <a:lnTo>
                    <a:pt x="840" y="875"/>
                  </a:lnTo>
                  <a:lnTo>
                    <a:pt x="858" y="859"/>
                  </a:lnTo>
                  <a:lnTo>
                    <a:pt x="874" y="841"/>
                  </a:lnTo>
                  <a:lnTo>
                    <a:pt x="890" y="822"/>
                  </a:lnTo>
                  <a:lnTo>
                    <a:pt x="905" y="803"/>
                  </a:lnTo>
                  <a:lnTo>
                    <a:pt x="919" y="784"/>
                  </a:lnTo>
                  <a:lnTo>
                    <a:pt x="932" y="763"/>
                  </a:lnTo>
                  <a:lnTo>
                    <a:pt x="944" y="743"/>
                  </a:lnTo>
                  <a:lnTo>
                    <a:pt x="955" y="721"/>
                  </a:lnTo>
                  <a:lnTo>
                    <a:pt x="965" y="699"/>
                  </a:lnTo>
                  <a:lnTo>
                    <a:pt x="974" y="676"/>
                  </a:lnTo>
                  <a:lnTo>
                    <a:pt x="981" y="652"/>
                  </a:lnTo>
                  <a:lnTo>
                    <a:pt x="988" y="628"/>
                  </a:lnTo>
                  <a:lnTo>
                    <a:pt x="994" y="604"/>
                  </a:lnTo>
                  <a:lnTo>
                    <a:pt x="998" y="579"/>
                  </a:lnTo>
                  <a:lnTo>
                    <a:pt x="1001" y="554"/>
                  </a:lnTo>
                  <a:lnTo>
                    <a:pt x="1003" y="529"/>
                  </a:lnTo>
                  <a:lnTo>
                    <a:pt x="1004" y="503"/>
                  </a:lnTo>
                  <a:lnTo>
                    <a:pt x="1003" y="476"/>
                  </a:lnTo>
                  <a:lnTo>
                    <a:pt x="1001" y="451"/>
                  </a:lnTo>
                  <a:lnTo>
                    <a:pt x="998" y="426"/>
                  </a:lnTo>
                  <a:lnTo>
                    <a:pt x="994" y="401"/>
                  </a:lnTo>
                  <a:lnTo>
                    <a:pt x="988" y="377"/>
                  </a:lnTo>
                  <a:lnTo>
                    <a:pt x="981" y="353"/>
                  </a:lnTo>
                  <a:lnTo>
                    <a:pt x="974" y="330"/>
                  </a:lnTo>
                  <a:lnTo>
                    <a:pt x="965" y="306"/>
                  </a:lnTo>
                  <a:lnTo>
                    <a:pt x="955" y="284"/>
                  </a:lnTo>
                  <a:lnTo>
                    <a:pt x="944" y="263"/>
                  </a:lnTo>
                  <a:lnTo>
                    <a:pt x="932" y="242"/>
                  </a:lnTo>
                  <a:lnTo>
                    <a:pt x="919" y="221"/>
                  </a:lnTo>
                  <a:lnTo>
                    <a:pt x="905" y="202"/>
                  </a:lnTo>
                  <a:lnTo>
                    <a:pt x="890" y="183"/>
                  </a:lnTo>
                  <a:lnTo>
                    <a:pt x="874" y="165"/>
                  </a:lnTo>
                  <a:lnTo>
                    <a:pt x="858" y="146"/>
                  </a:lnTo>
                  <a:lnTo>
                    <a:pt x="840" y="130"/>
                  </a:lnTo>
                  <a:lnTo>
                    <a:pt x="822" y="114"/>
                  </a:lnTo>
                  <a:lnTo>
                    <a:pt x="803" y="99"/>
                  </a:lnTo>
                  <a:lnTo>
                    <a:pt x="783" y="85"/>
                  </a:lnTo>
                  <a:lnTo>
                    <a:pt x="762" y="72"/>
                  </a:lnTo>
                  <a:lnTo>
                    <a:pt x="741" y="60"/>
                  </a:lnTo>
                  <a:lnTo>
                    <a:pt x="720" y="49"/>
                  </a:lnTo>
                  <a:lnTo>
                    <a:pt x="698" y="39"/>
                  </a:lnTo>
                  <a:lnTo>
                    <a:pt x="675" y="30"/>
                  </a:lnTo>
                  <a:lnTo>
                    <a:pt x="652" y="22"/>
                  </a:lnTo>
                  <a:lnTo>
                    <a:pt x="628" y="16"/>
                  </a:lnTo>
                  <a:lnTo>
                    <a:pt x="604" y="10"/>
                  </a:lnTo>
                  <a:lnTo>
                    <a:pt x="579" y="6"/>
                  </a:lnTo>
                  <a:lnTo>
                    <a:pt x="554" y="3"/>
                  </a:lnTo>
                  <a:lnTo>
                    <a:pt x="528" y="1"/>
                  </a:lnTo>
                  <a:lnTo>
                    <a:pt x="502" y="0"/>
                  </a:lnTo>
                  <a:lnTo>
                    <a:pt x="476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6" y="39"/>
                  </a:lnTo>
                  <a:lnTo>
                    <a:pt x="284" y="49"/>
                  </a:lnTo>
                  <a:lnTo>
                    <a:pt x="262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4"/>
                  </a:lnTo>
                  <a:lnTo>
                    <a:pt x="165" y="130"/>
                  </a:lnTo>
                  <a:lnTo>
                    <a:pt x="147" y="146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100" y="202"/>
                  </a:lnTo>
                  <a:lnTo>
                    <a:pt x="86" y="221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4"/>
                  </a:lnTo>
                  <a:lnTo>
                    <a:pt x="39" y="306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1"/>
                  </a:lnTo>
                  <a:lnTo>
                    <a:pt x="1" y="476"/>
                  </a:lnTo>
                  <a:lnTo>
                    <a:pt x="0" y="503"/>
                  </a:lnTo>
                  <a:lnTo>
                    <a:pt x="1" y="529"/>
                  </a:lnTo>
                  <a:lnTo>
                    <a:pt x="3" y="554"/>
                  </a:lnTo>
                  <a:lnTo>
                    <a:pt x="6" y="579"/>
                  </a:lnTo>
                  <a:lnTo>
                    <a:pt x="10" y="604"/>
                  </a:lnTo>
                  <a:lnTo>
                    <a:pt x="16" y="628"/>
                  </a:lnTo>
                  <a:lnTo>
                    <a:pt x="22" y="652"/>
                  </a:lnTo>
                  <a:lnTo>
                    <a:pt x="30" y="676"/>
                  </a:lnTo>
                  <a:lnTo>
                    <a:pt x="39" y="699"/>
                  </a:lnTo>
                  <a:lnTo>
                    <a:pt x="49" y="721"/>
                  </a:lnTo>
                  <a:lnTo>
                    <a:pt x="60" y="743"/>
                  </a:lnTo>
                  <a:lnTo>
                    <a:pt x="72" y="763"/>
                  </a:lnTo>
                  <a:lnTo>
                    <a:pt x="86" y="784"/>
                  </a:lnTo>
                  <a:lnTo>
                    <a:pt x="100" y="803"/>
                  </a:lnTo>
                  <a:lnTo>
                    <a:pt x="115" y="822"/>
                  </a:lnTo>
                  <a:lnTo>
                    <a:pt x="131" y="841"/>
                  </a:lnTo>
                  <a:lnTo>
                    <a:pt x="147" y="859"/>
                  </a:lnTo>
                  <a:lnTo>
                    <a:pt x="165" y="875"/>
                  </a:lnTo>
                  <a:lnTo>
                    <a:pt x="183" y="891"/>
                  </a:lnTo>
                  <a:lnTo>
                    <a:pt x="202" y="906"/>
                  </a:lnTo>
                  <a:lnTo>
                    <a:pt x="221" y="920"/>
                  </a:lnTo>
                  <a:lnTo>
                    <a:pt x="242" y="933"/>
                  </a:lnTo>
                  <a:lnTo>
                    <a:pt x="262" y="945"/>
                  </a:lnTo>
                  <a:lnTo>
                    <a:pt x="284" y="956"/>
                  </a:lnTo>
                  <a:lnTo>
                    <a:pt x="306" y="966"/>
                  </a:lnTo>
                  <a:lnTo>
                    <a:pt x="330" y="975"/>
                  </a:lnTo>
                  <a:lnTo>
                    <a:pt x="353" y="983"/>
                  </a:lnTo>
                  <a:lnTo>
                    <a:pt x="377" y="989"/>
                  </a:lnTo>
                  <a:lnTo>
                    <a:pt x="401" y="995"/>
                  </a:lnTo>
                  <a:lnTo>
                    <a:pt x="426" y="999"/>
                  </a:lnTo>
                  <a:lnTo>
                    <a:pt x="451" y="1003"/>
                  </a:lnTo>
                  <a:lnTo>
                    <a:pt x="476" y="1005"/>
                  </a:lnTo>
                  <a:lnTo>
                    <a:pt x="502" y="10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14" name="íšḷiḋè">
              <a:extLst>
                <a:ext uri="{FF2B5EF4-FFF2-40B4-BE49-F238E27FC236}">
                  <a16:creationId xmlns:a16="http://schemas.microsoft.com/office/drawing/2014/main" id="{98C43AD4-A11A-4B97-88CE-0D723E32DEAF}"/>
                </a:ext>
              </a:extLst>
            </p:cNvPr>
            <p:cNvSpPr/>
            <p:nvPr/>
          </p:nvSpPr>
          <p:spPr bwMode="auto">
            <a:xfrm>
              <a:off x="2211987" y="1558913"/>
              <a:ext cx="614748" cy="613338"/>
            </a:xfrm>
            <a:custGeom>
              <a:avLst/>
              <a:gdLst>
                <a:gd name="T0" fmla="*/ 3529 w 16132"/>
                <a:gd name="T1" fmla="*/ 12574 h 16095"/>
                <a:gd name="T2" fmla="*/ 1156 w 16132"/>
                <a:gd name="T3" fmla="*/ 9639 h 16095"/>
                <a:gd name="T4" fmla="*/ 3459 w 16132"/>
                <a:gd name="T5" fmla="*/ 6841 h 16095"/>
                <a:gd name="T6" fmla="*/ 6612 w 16132"/>
                <a:gd name="T7" fmla="*/ 4902 h 16095"/>
                <a:gd name="T8" fmla="*/ 9339 w 16132"/>
                <a:gd name="T9" fmla="*/ 2534 h 16095"/>
                <a:gd name="T10" fmla="*/ 11655 w 16132"/>
                <a:gd name="T11" fmla="*/ 2575 h 16095"/>
                <a:gd name="T12" fmla="*/ 14497 w 16132"/>
                <a:gd name="T13" fmla="*/ 5410 h 16095"/>
                <a:gd name="T14" fmla="*/ 13598 w 16132"/>
                <a:gd name="T15" fmla="*/ 8480 h 16095"/>
                <a:gd name="T16" fmla="*/ 10587 w 16132"/>
                <a:gd name="T17" fmla="*/ 10562 h 16095"/>
                <a:gd name="T18" fmla="*/ 7575 w 16132"/>
                <a:gd name="T19" fmla="*/ 12645 h 16095"/>
                <a:gd name="T20" fmla="*/ 10795 w 16132"/>
                <a:gd name="T21" fmla="*/ 295 h 16095"/>
                <a:gd name="T22" fmla="*/ 10560 w 16132"/>
                <a:gd name="T23" fmla="*/ 121 h 16095"/>
                <a:gd name="T24" fmla="*/ 10290 w 16132"/>
                <a:gd name="T25" fmla="*/ 22 h 16095"/>
                <a:gd name="T26" fmla="*/ 10002 w 16132"/>
                <a:gd name="T27" fmla="*/ 3 h 16095"/>
                <a:gd name="T28" fmla="*/ 9708 w 16132"/>
                <a:gd name="T29" fmla="*/ 71 h 16095"/>
                <a:gd name="T30" fmla="*/ 9445 w 16132"/>
                <a:gd name="T31" fmla="*/ 226 h 16095"/>
                <a:gd name="T32" fmla="*/ 9253 w 16132"/>
                <a:gd name="T33" fmla="*/ 434 h 16095"/>
                <a:gd name="T34" fmla="*/ 9129 w 16132"/>
                <a:gd name="T35" fmla="*/ 679 h 16095"/>
                <a:gd name="T36" fmla="*/ 8916 w 16132"/>
                <a:gd name="T37" fmla="*/ 1244 h 16095"/>
                <a:gd name="T38" fmla="*/ 8610 w 16132"/>
                <a:gd name="T39" fmla="*/ 1810 h 16095"/>
                <a:gd name="T40" fmla="*/ 8220 w 16132"/>
                <a:gd name="T41" fmla="*/ 2338 h 16095"/>
                <a:gd name="T42" fmla="*/ 7686 w 16132"/>
                <a:gd name="T43" fmla="*/ 2886 h 16095"/>
                <a:gd name="T44" fmla="*/ 6944 w 16132"/>
                <a:gd name="T45" fmla="*/ 3480 h 16095"/>
                <a:gd name="T46" fmla="*/ 6121 w 16132"/>
                <a:gd name="T47" fmla="*/ 4023 h 16095"/>
                <a:gd name="T48" fmla="*/ 4611 w 16132"/>
                <a:gd name="T49" fmla="*/ 4912 h 16095"/>
                <a:gd name="T50" fmla="*/ 3435 w 16132"/>
                <a:gd name="T51" fmla="*/ 5632 h 16095"/>
                <a:gd name="T52" fmla="*/ 2514 w 16132"/>
                <a:gd name="T53" fmla="*/ 6295 h 16095"/>
                <a:gd name="T54" fmla="*/ 1677 w 16132"/>
                <a:gd name="T55" fmla="*/ 7047 h 16095"/>
                <a:gd name="T56" fmla="*/ 1059 w 16132"/>
                <a:gd name="T57" fmla="*/ 7768 h 16095"/>
                <a:gd name="T58" fmla="*/ 561 w 16132"/>
                <a:gd name="T59" fmla="*/ 8540 h 16095"/>
                <a:gd name="T60" fmla="*/ 178 w 16132"/>
                <a:gd name="T61" fmla="*/ 9371 h 16095"/>
                <a:gd name="T62" fmla="*/ 8 w 16132"/>
                <a:gd name="T63" fmla="*/ 9931 h 16095"/>
                <a:gd name="T64" fmla="*/ 16 w 16132"/>
                <a:gd name="T65" fmla="*/ 10235 h 16095"/>
                <a:gd name="T66" fmla="*/ 113 w 16132"/>
                <a:gd name="T67" fmla="*/ 10522 h 16095"/>
                <a:gd name="T68" fmla="*/ 295 w 16132"/>
                <a:gd name="T69" fmla="*/ 10771 h 16095"/>
                <a:gd name="T70" fmla="*/ 5543 w 16132"/>
                <a:gd name="T71" fmla="*/ 15959 h 16095"/>
                <a:gd name="T72" fmla="*/ 5811 w 16132"/>
                <a:gd name="T73" fmla="*/ 16066 h 16095"/>
                <a:gd name="T74" fmla="*/ 6098 w 16132"/>
                <a:gd name="T75" fmla="*/ 16094 h 16095"/>
                <a:gd name="T76" fmla="*/ 6391 w 16132"/>
                <a:gd name="T77" fmla="*/ 16036 h 16095"/>
                <a:gd name="T78" fmla="*/ 6660 w 16132"/>
                <a:gd name="T79" fmla="*/ 15890 h 16095"/>
                <a:gd name="T80" fmla="*/ 6861 w 16132"/>
                <a:gd name="T81" fmla="*/ 15686 h 16095"/>
                <a:gd name="T82" fmla="*/ 6992 w 16132"/>
                <a:gd name="T83" fmla="*/ 15445 h 16095"/>
                <a:gd name="T84" fmla="*/ 7187 w 16132"/>
                <a:gd name="T85" fmla="*/ 14915 h 16095"/>
                <a:gd name="T86" fmla="*/ 7483 w 16132"/>
                <a:gd name="T87" fmla="*/ 14346 h 16095"/>
                <a:gd name="T88" fmla="*/ 7864 w 16132"/>
                <a:gd name="T89" fmla="*/ 13814 h 16095"/>
                <a:gd name="T90" fmla="*/ 8370 w 16132"/>
                <a:gd name="T91" fmla="*/ 13278 h 16095"/>
                <a:gd name="T92" fmla="*/ 9101 w 16132"/>
                <a:gd name="T93" fmla="*/ 12678 h 16095"/>
                <a:gd name="T94" fmla="*/ 9917 w 16132"/>
                <a:gd name="T95" fmla="*/ 12131 h 16095"/>
                <a:gd name="T96" fmla="*/ 11308 w 16132"/>
                <a:gd name="T97" fmla="*/ 11309 h 16095"/>
                <a:gd name="T98" fmla="*/ 12591 w 16132"/>
                <a:gd name="T99" fmla="*/ 10530 h 16095"/>
                <a:gd name="T100" fmla="*/ 13519 w 16132"/>
                <a:gd name="T101" fmla="*/ 9876 h 16095"/>
                <a:gd name="T102" fmla="*/ 14379 w 16132"/>
                <a:gd name="T103" fmla="*/ 9125 h 16095"/>
                <a:gd name="T104" fmla="*/ 15011 w 16132"/>
                <a:gd name="T105" fmla="*/ 8410 h 16095"/>
                <a:gd name="T106" fmla="*/ 15522 w 16132"/>
                <a:gd name="T107" fmla="*/ 7643 h 16095"/>
                <a:gd name="T108" fmla="*/ 15916 w 16132"/>
                <a:gd name="T109" fmla="*/ 6818 h 16095"/>
                <a:gd name="T110" fmla="*/ 16119 w 16132"/>
                <a:gd name="T111" fmla="*/ 6198 h 16095"/>
                <a:gd name="T112" fmla="*/ 16122 w 16132"/>
                <a:gd name="T113" fmla="*/ 5893 h 16095"/>
                <a:gd name="T114" fmla="*/ 16034 w 16132"/>
                <a:gd name="T115" fmla="*/ 5603 h 16095"/>
                <a:gd name="T116" fmla="*/ 15861 w 16132"/>
                <a:gd name="T117" fmla="*/ 5350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132" h="16095">
                  <a:moveTo>
                    <a:pt x="6050" y="15089"/>
                  </a:moveTo>
                  <a:lnTo>
                    <a:pt x="5736" y="14776"/>
                  </a:lnTo>
                  <a:lnTo>
                    <a:pt x="5422" y="14463"/>
                  </a:lnTo>
                  <a:lnTo>
                    <a:pt x="5108" y="14150"/>
                  </a:lnTo>
                  <a:lnTo>
                    <a:pt x="4792" y="13835"/>
                  </a:lnTo>
                  <a:lnTo>
                    <a:pt x="4477" y="13520"/>
                  </a:lnTo>
                  <a:lnTo>
                    <a:pt x="4161" y="13205"/>
                  </a:lnTo>
                  <a:lnTo>
                    <a:pt x="3844" y="12889"/>
                  </a:lnTo>
                  <a:lnTo>
                    <a:pt x="3529" y="12574"/>
                  </a:lnTo>
                  <a:lnTo>
                    <a:pt x="3213" y="12258"/>
                  </a:lnTo>
                  <a:lnTo>
                    <a:pt x="2897" y="11943"/>
                  </a:lnTo>
                  <a:lnTo>
                    <a:pt x="2581" y="11629"/>
                  </a:lnTo>
                  <a:lnTo>
                    <a:pt x="2266" y="11314"/>
                  </a:lnTo>
                  <a:lnTo>
                    <a:pt x="1950" y="10999"/>
                  </a:lnTo>
                  <a:lnTo>
                    <a:pt x="1635" y="10685"/>
                  </a:lnTo>
                  <a:lnTo>
                    <a:pt x="1322" y="10372"/>
                  </a:lnTo>
                  <a:lnTo>
                    <a:pt x="1008" y="10059"/>
                  </a:lnTo>
                  <a:lnTo>
                    <a:pt x="1156" y="9639"/>
                  </a:lnTo>
                  <a:lnTo>
                    <a:pt x="1330" y="9246"/>
                  </a:lnTo>
                  <a:lnTo>
                    <a:pt x="1529" y="8877"/>
                  </a:lnTo>
                  <a:lnTo>
                    <a:pt x="1750" y="8531"/>
                  </a:lnTo>
                  <a:lnTo>
                    <a:pt x="1993" y="8206"/>
                  </a:lnTo>
                  <a:lnTo>
                    <a:pt x="2254" y="7902"/>
                  </a:lnTo>
                  <a:lnTo>
                    <a:pt x="2534" y="7615"/>
                  </a:lnTo>
                  <a:lnTo>
                    <a:pt x="2829" y="7343"/>
                  </a:lnTo>
                  <a:lnTo>
                    <a:pt x="3138" y="7086"/>
                  </a:lnTo>
                  <a:lnTo>
                    <a:pt x="3459" y="6841"/>
                  </a:lnTo>
                  <a:lnTo>
                    <a:pt x="3791" y="6607"/>
                  </a:lnTo>
                  <a:lnTo>
                    <a:pt x="4131" y="6382"/>
                  </a:lnTo>
                  <a:lnTo>
                    <a:pt x="4479" y="6162"/>
                  </a:lnTo>
                  <a:lnTo>
                    <a:pt x="4832" y="5950"/>
                  </a:lnTo>
                  <a:lnTo>
                    <a:pt x="5187" y="5740"/>
                  </a:lnTo>
                  <a:lnTo>
                    <a:pt x="5545" y="5533"/>
                  </a:lnTo>
                  <a:lnTo>
                    <a:pt x="5903" y="5324"/>
                  </a:lnTo>
                  <a:lnTo>
                    <a:pt x="6259" y="5115"/>
                  </a:lnTo>
                  <a:lnTo>
                    <a:pt x="6612" y="4902"/>
                  </a:lnTo>
                  <a:lnTo>
                    <a:pt x="6960" y="4684"/>
                  </a:lnTo>
                  <a:lnTo>
                    <a:pt x="7300" y="4458"/>
                  </a:lnTo>
                  <a:lnTo>
                    <a:pt x="7631" y="4224"/>
                  </a:lnTo>
                  <a:lnTo>
                    <a:pt x="7953" y="3979"/>
                  </a:lnTo>
                  <a:lnTo>
                    <a:pt x="8262" y="3722"/>
                  </a:lnTo>
                  <a:lnTo>
                    <a:pt x="8557" y="3450"/>
                  </a:lnTo>
                  <a:lnTo>
                    <a:pt x="8835" y="3164"/>
                  </a:lnTo>
                  <a:lnTo>
                    <a:pt x="9097" y="2858"/>
                  </a:lnTo>
                  <a:lnTo>
                    <a:pt x="9339" y="2534"/>
                  </a:lnTo>
                  <a:lnTo>
                    <a:pt x="9561" y="2188"/>
                  </a:lnTo>
                  <a:lnTo>
                    <a:pt x="9760" y="1820"/>
                  </a:lnTo>
                  <a:lnTo>
                    <a:pt x="9934" y="1425"/>
                  </a:lnTo>
                  <a:lnTo>
                    <a:pt x="10083" y="1006"/>
                  </a:lnTo>
                  <a:lnTo>
                    <a:pt x="10396" y="1319"/>
                  </a:lnTo>
                  <a:lnTo>
                    <a:pt x="10710" y="1632"/>
                  </a:lnTo>
                  <a:lnTo>
                    <a:pt x="11024" y="1945"/>
                  </a:lnTo>
                  <a:lnTo>
                    <a:pt x="11340" y="2260"/>
                  </a:lnTo>
                  <a:lnTo>
                    <a:pt x="11655" y="2575"/>
                  </a:lnTo>
                  <a:lnTo>
                    <a:pt x="11971" y="2890"/>
                  </a:lnTo>
                  <a:lnTo>
                    <a:pt x="12288" y="3205"/>
                  </a:lnTo>
                  <a:lnTo>
                    <a:pt x="12603" y="3521"/>
                  </a:lnTo>
                  <a:lnTo>
                    <a:pt x="12920" y="3836"/>
                  </a:lnTo>
                  <a:lnTo>
                    <a:pt x="13235" y="4152"/>
                  </a:lnTo>
                  <a:lnTo>
                    <a:pt x="13551" y="4466"/>
                  </a:lnTo>
                  <a:lnTo>
                    <a:pt x="13866" y="4781"/>
                  </a:lnTo>
                  <a:lnTo>
                    <a:pt x="14182" y="5095"/>
                  </a:lnTo>
                  <a:lnTo>
                    <a:pt x="14497" y="5410"/>
                  </a:lnTo>
                  <a:lnTo>
                    <a:pt x="14810" y="5723"/>
                  </a:lnTo>
                  <a:lnTo>
                    <a:pt x="15124" y="6036"/>
                  </a:lnTo>
                  <a:lnTo>
                    <a:pt x="14977" y="6455"/>
                  </a:lnTo>
                  <a:lnTo>
                    <a:pt x="14802" y="6848"/>
                  </a:lnTo>
                  <a:lnTo>
                    <a:pt x="14603" y="7218"/>
                  </a:lnTo>
                  <a:lnTo>
                    <a:pt x="14382" y="7564"/>
                  </a:lnTo>
                  <a:lnTo>
                    <a:pt x="14139" y="7888"/>
                  </a:lnTo>
                  <a:lnTo>
                    <a:pt x="13878" y="8192"/>
                  </a:lnTo>
                  <a:lnTo>
                    <a:pt x="13598" y="8480"/>
                  </a:lnTo>
                  <a:lnTo>
                    <a:pt x="13303" y="8752"/>
                  </a:lnTo>
                  <a:lnTo>
                    <a:pt x="12994" y="9008"/>
                  </a:lnTo>
                  <a:lnTo>
                    <a:pt x="12673" y="9254"/>
                  </a:lnTo>
                  <a:lnTo>
                    <a:pt x="12341" y="9488"/>
                  </a:lnTo>
                  <a:lnTo>
                    <a:pt x="12001" y="9713"/>
                  </a:lnTo>
                  <a:lnTo>
                    <a:pt x="11653" y="9932"/>
                  </a:lnTo>
                  <a:lnTo>
                    <a:pt x="11300" y="10145"/>
                  </a:lnTo>
                  <a:lnTo>
                    <a:pt x="10945" y="10354"/>
                  </a:lnTo>
                  <a:lnTo>
                    <a:pt x="10587" y="10562"/>
                  </a:lnTo>
                  <a:lnTo>
                    <a:pt x="10229" y="10770"/>
                  </a:lnTo>
                  <a:lnTo>
                    <a:pt x="9873" y="10980"/>
                  </a:lnTo>
                  <a:lnTo>
                    <a:pt x="9520" y="11192"/>
                  </a:lnTo>
                  <a:lnTo>
                    <a:pt x="9173" y="11410"/>
                  </a:lnTo>
                  <a:lnTo>
                    <a:pt x="8832" y="11637"/>
                  </a:lnTo>
                  <a:lnTo>
                    <a:pt x="8501" y="11871"/>
                  </a:lnTo>
                  <a:lnTo>
                    <a:pt x="8179" y="12116"/>
                  </a:lnTo>
                  <a:lnTo>
                    <a:pt x="7870" y="12373"/>
                  </a:lnTo>
                  <a:lnTo>
                    <a:pt x="7575" y="12645"/>
                  </a:lnTo>
                  <a:lnTo>
                    <a:pt x="7297" y="12931"/>
                  </a:lnTo>
                  <a:lnTo>
                    <a:pt x="7035" y="13237"/>
                  </a:lnTo>
                  <a:lnTo>
                    <a:pt x="6793" y="13561"/>
                  </a:lnTo>
                  <a:lnTo>
                    <a:pt x="6571" y="13907"/>
                  </a:lnTo>
                  <a:lnTo>
                    <a:pt x="6372" y="14275"/>
                  </a:lnTo>
                  <a:lnTo>
                    <a:pt x="6198" y="14670"/>
                  </a:lnTo>
                  <a:lnTo>
                    <a:pt x="6050" y="15089"/>
                  </a:lnTo>
                  <a:close/>
                  <a:moveTo>
                    <a:pt x="15837" y="5324"/>
                  </a:moveTo>
                  <a:lnTo>
                    <a:pt x="10795" y="295"/>
                  </a:lnTo>
                  <a:lnTo>
                    <a:pt x="10772" y="272"/>
                  </a:lnTo>
                  <a:lnTo>
                    <a:pt x="10747" y="249"/>
                  </a:lnTo>
                  <a:lnTo>
                    <a:pt x="10723" y="228"/>
                  </a:lnTo>
                  <a:lnTo>
                    <a:pt x="10697" y="208"/>
                  </a:lnTo>
                  <a:lnTo>
                    <a:pt x="10670" y="189"/>
                  </a:lnTo>
                  <a:lnTo>
                    <a:pt x="10644" y="170"/>
                  </a:lnTo>
                  <a:lnTo>
                    <a:pt x="10617" y="153"/>
                  </a:lnTo>
                  <a:lnTo>
                    <a:pt x="10589" y="136"/>
                  </a:lnTo>
                  <a:lnTo>
                    <a:pt x="10560" y="121"/>
                  </a:lnTo>
                  <a:lnTo>
                    <a:pt x="10532" y="106"/>
                  </a:lnTo>
                  <a:lnTo>
                    <a:pt x="10503" y="92"/>
                  </a:lnTo>
                  <a:lnTo>
                    <a:pt x="10474" y="78"/>
                  </a:lnTo>
                  <a:lnTo>
                    <a:pt x="10444" y="66"/>
                  </a:lnTo>
                  <a:lnTo>
                    <a:pt x="10414" y="56"/>
                  </a:lnTo>
                  <a:lnTo>
                    <a:pt x="10384" y="46"/>
                  </a:lnTo>
                  <a:lnTo>
                    <a:pt x="10353" y="37"/>
                  </a:lnTo>
                  <a:lnTo>
                    <a:pt x="10321" y="29"/>
                  </a:lnTo>
                  <a:lnTo>
                    <a:pt x="10290" y="22"/>
                  </a:lnTo>
                  <a:lnTo>
                    <a:pt x="10259" y="16"/>
                  </a:lnTo>
                  <a:lnTo>
                    <a:pt x="10228" y="10"/>
                  </a:lnTo>
                  <a:lnTo>
                    <a:pt x="10195" y="6"/>
                  </a:lnTo>
                  <a:lnTo>
                    <a:pt x="10163" y="3"/>
                  </a:lnTo>
                  <a:lnTo>
                    <a:pt x="10131" y="1"/>
                  </a:lnTo>
                  <a:lnTo>
                    <a:pt x="10099" y="0"/>
                  </a:lnTo>
                  <a:lnTo>
                    <a:pt x="10066" y="0"/>
                  </a:lnTo>
                  <a:lnTo>
                    <a:pt x="10034" y="1"/>
                  </a:lnTo>
                  <a:lnTo>
                    <a:pt x="10002" y="3"/>
                  </a:lnTo>
                  <a:lnTo>
                    <a:pt x="9970" y="6"/>
                  </a:lnTo>
                  <a:lnTo>
                    <a:pt x="9937" y="11"/>
                  </a:lnTo>
                  <a:lnTo>
                    <a:pt x="9905" y="16"/>
                  </a:lnTo>
                  <a:lnTo>
                    <a:pt x="9873" y="22"/>
                  </a:lnTo>
                  <a:lnTo>
                    <a:pt x="9841" y="29"/>
                  </a:lnTo>
                  <a:lnTo>
                    <a:pt x="9806" y="38"/>
                  </a:lnTo>
                  <a:lnTo>
                    <a:pt x="9773" y="48"/>
                  </a:lnTo>
                  <a:lnTo>
                    <a:pt x="9741" y="59"/>
                  </a:lnTo>
                  <a:lnTo>
                    <a:pt x="9708" y="71"/>
                  </a:lnTo>
                  <a:lnTo>
                    <a:pt x="9676" y="84"/>
                  </a:lnTo>
                  <a:lnTo>
                    <a:pt x="9645" y="99"/>
                  </a:lnTo>
                  <a:lnTo>
                    <a:pt x="9615" y="115"/>
                  </a:lnTo>
                  <a:lnTo>
                    <a:pt x="9584" y="131"/>
                  </a:lnTo>
                  <a:lnTo>
                    <a:pt x="9555" y="148"/>
                  </a:lnTo>
                  <a:lnTo>
                    <a:pt x="9527" y="166"/>
                  </a:lnTo>
                  <a:lnTo>
                    <a:pt x="9499" y="185"/>
                  </a:lnTo>
                  <a:lnTo>
                    <a:pt x="9472" y="205"/>
                  </a:lnTo>
                  <a:lnTo>
                    <a:pt x="9445" y="226"/>
                  </a:lnTo>
                  <a:lnTo>
                    <a:pt x="9419" y="248"/>
                  </a:lnTo>
                  <a:lnTo>
                    <a:pt x="9394" y="271"/>
                  </a:lnTo>
                  <a:lnTo>
                    <a:pt x="9370" y="295"/>
                  </a:lnTo>
                  <a:lnTo>
                    <a:pt x="9348" y="316"/>
                  </a:lnTo>
                  <a:lnTo>
                    <a:pt x="9328" y="339"/>
                  </a:lnTo>
                  <a:lnTo>
                    <a:pt x="9308" y="362"/>
                  </a:lnTo>
                  <a:lnTo>
                    <a:pt x="9289" y="385"/>
                  </a:lnTo>
                  <a:lnTo>
                    <a:pt x="9271" y="409"/>
                  </a:lnTo>
                  <a:lnTo>
                    <a:pt x="9253" y="434"/>
                  </a:lnTo>
                  <a:lnTo>
                    <a:pt x="9237" y="459"/>
                  </a:lnTo>
                  <a:lnTo>
                    <a:pt x="9220" y="485"/>
                  </a:lnTo>
                  <a:lnTo>
                    <a:pt x="9204" y="511"/>
                  </a:lnTo>
                  <a:lnTo>
                    <a:pt x="9190" y="538"/>
                  </a:lnTo>
                  <a:lnTo>
                    <a:pt x="9176" y="565"/>
                  </a:lnTo>
                  <a:lnTo>
                    <a:pt x="9163" y="592"/>
                  </a:lnTo>
                  <a:lnTo>
                    <a:pt x="9151" y="621"/>
                  </a:lnTo>
                  <a:lnTo>
                    <a:pt x="9140" y="650"/>
                  </a:lnTo>
                  <a:lnTo>
                    <a:pt x="9129" y="679"/>
                  </a:lnTo>
                  <a:lnTo>
                    <a:pt x="9120" y="708"/>
                  </a:lnTo>
                  <a:lnTo>
                    <a:pt x="9097" y="777"/>
                  </a:lnTo>
                  <a:lnTo>
                    <a:pt x="9074" y="846"/>
                  </a:lnTo>
                  <a:lnTo>
                    <a:pt x="9051" y="913"/>
                  </a:lnTo>
                  <a:lnTo>
                    <a:pt x="9026" y="981"/>
                  </a:lnTo>
                  <a:lnTo>
                    <a:pt x="9000" y="1047"/>
                  </a:lnTo>
                  <a:lnTo>
                    <a:pt x="8973" y="1114"/>
                  </a:lnTo>
                  <a:lnTo>
                    <a:pt x="8945" y="1180"/>
                  </a:lnTo>
                  <a:lnTo>
                    <a:pt x="8916" y="1244"/>
                  </a:lnTo>
                  <a:lnTo>
                    <a:pt x="8887" y="1310"/>
                  </a:lnTo>
                  <a:lnTo>
                    <a:pt x="8855" y="1373"/>
                  </a:lnTo>
                  <a:lnTo>
                    <a:pt x="8823" y="1437"/>
                  </a:lnTo>
                  <a:lnTo>
                    <a:pt x="8791" y="1501"/>
                  </a:lnTo>
                  <a:lnTo>
                    <a:pt x="8757" y="1563"/>
                  </a:lnTo>
                  <a:lnTo>
                    <a:pt x="8721" y="1626"/>
                  </a:lnTo>
                  <a:lnTo>
                    <a:pt x="8686" y="1687"/>
                  </a:lnTo>
                  <a:lnTo>
                    <a:pt x="8649" y="1748"/>
                  </a:lnTo>
                  <a:lnTo>
                    <a:pt x="8610" y="1810"/>
                  </a:lnTo>
                  <a:lnTo>
                    <a:pt x="8571" y="1870"/>
                  </a:lnTo>
                  <a:lnTo>
                    <a:pt x="8532" y="1929"/>
                  </a:lnTo>
                  <a:lnTo>
                    <a:pt x="8490" y="1990"/>
                  </a:lnTo>
                  <a:lnTo>
                    <a:pt x="8448" y="2048"/>
                  </a:lnTo>
                  <a:lnTo>
                    <a:pt x="8405" y="2107"/>
                  </a:lnTo>
                  <a:lnTo>
                    <a:pt x="8360" y="2166"/>
                  </a:lnTo>
                  <a:lnTo>
                    <a:pt x="8315" y="2223"/>
                  </a:lnTo>
                  <a:lnTo>
                    <a:pt x="8268" y="2280"/>
                  </a:lnTo>
                  <a:lnTo>
                    <a:pt x="8220" y="2338"/>
                  </a:lnTo>
                  <a:lnTo>
                    <a:pt x="8172" y="2394"/>
                  </a:lnTo>
                  <a:lnTo>
                    <a:pt x="8121" y="2450"/>
                  </a:lnTo>
                  <a:lnTo>
                    <a:pt x="8071" y="2507"/>
                  </a:lnTo>
                  <a:lnTo>
                    <a:pt x="8019" y="2562"/>
                  </a:lnTo>
                  <a:lnTo>
                    <a:pt x="7966" y="2617"/>
                  </a:lnTo>
                  <a:lnTo>
                    <a:pt x="7912" y="2672"/>
                  </a:lnTo>
                  <a:lnTo>
                    <a:pt x="7838" y="2744"/>
                  </a:lnTo>
                  <a:lnTo>
                    <a:pt x="7763" y="2816"/>
                  </a:lnTo>
                  <a:lnTo>
                    <a:pt x="7686" y="2886"/>
                  </a:lnTo>
                  <a:lnTo>
                    <a:pt x="7608" y="2955"/>
                  </a:lnTo>
                  <a:lnTo>
                    <a:pt x="7530" y="3024"/>
                  </a:lnTo>
                  <a:lnTo>
                    <a:pt x="7449" y="3091"/>
                  </a:lnTo>
                  <a:lnTo>
                    <a:pt x="7367" y="3158"/>
                  </a:lnTo>
                  <a:lnTo>
                    <a:pt x="7285" y="3224"/>
                  </a:lnTo>
                  <a:lnTo>
                    <a:pt x="7201" y="3288"/>
                  </a:lnTo>
                  <a:lnTo>
                    <a:pt x="7116" y="3353"/>
                  </a:lnTo>
                  <a:lnTo>
                    <a:pt x="7031" y="3416"/>
                  </a:lnTo>
                  <a:lnTo>
                    <a:pt x="6944" y="3480"/>
                  </a:lnTo>
                  <a:lnTo>
                    <a:pt x="6856" y="3542"/>
                  </a:lnTo>
                  <a:lnTo>
                    <a:pt x="6767" y="3603"/>
                  </a:lnTo>
                  <a:lnTo>
                    <a:pt x="6678" y="3665"/>
                  </a:lnTo>
                  <a:lnTo>
                    <a:pt x="6587" y="3725"/>
                  </a:lnTo>
                  <a:lnTo>
                    <a:pt x="6495" y="3785"/>
                  </a:lnTo>
                  <a:lnTo>
                    <a:pt x="6402" y="3846"/>
                  </a:lnTo>
                  <a:lnTo>
                    <a:pt x="6310" y="3905"/>
                  </a:lnTo>
                  <a:lnTo>
                    <a:pt x="6215" y="3963"/>
                  </a:lnTo>
                  <a:lnTo>
                    <a:pt x="6121" y="4023"/>
                  </a:lnTo>
                  <a:lnTo>
                    <a:pt x="6025" y="4081"/>
                  </a:lnTo>
                  <a:lnTo>
                    <a:pt x="5930" y="4139"/>
                  </a:lnTo>
                  <a:lnTo>
                    <a:pt x="5833" y="4198"/>
                  </a:lnTo>
                  <a:lnTo>
                    <a:pt x="5637" y="4314"/>
                  </a:lnTo>
                  <a:lnTo>
                    <a:pt x="5440" y="4430"/>
                  </a:lnTo>
                  <a:lnTo>
                    <a:pt x="5241" y="4546"/>
                  </a:lnTo>
                  <a:lnTo>
                    <a:pt x="5039" y="4663"/>
                  </a:lnTo>
                  <a:lnTo>
                    <a:pt x="4825" y="4786"/>
                  </a:lnTo>
                  <a:lnTo>
                    <a:pt x="4611" y="4912"/>
                  </a:lnTo>
                  <a:lnTo>
                    <a:pt x="4395" y="5038"/>
                  </a:lnTo>
                  <a:lnTo>
                    <a:pt x="4180" y="5165"/>
                  </a:lnTo>
                  <a:lnTo>
                    <a:pt x="4073" y="5231"/>
                  </a:lnTo>
                  <a:lnTo>
                    <a:pt x="3966" y="5296"/>
                  </a:lnTo>
                  <a:lnTo>
                    <a:pt x="3860" y="5362"/>
                  </a:lnTo>
                  <a:lnTo>
                    <a:pt x="3753" y="5428"/>
                  </a:lnTo>
                  <a:lnTo>
                    <a:pt x="3647" y="5495"/>
                  </a:lnTo>
                  <a:lnTo>
                    <a:pt x="3541" y="5564"/>
                  </a:lnTo>
                  <a:lnTo>
                    <a:pt x="3435" y="5632"/>
                  </a:lnTo>
                  <a:lnTo>
                    <a:pt x="3330" y="5702"/>
                  </a:lnTo>
                  <a:lnTo>
                    <a:pt x="3226" y="5773"/>
                  </a:lnTo>
                  <a:lnTo>
                    <a:pt x="3123" y="5844"/>
                  </a:lnTo>
                  <a:lnTo>
                    <a:pt x="3020" y="5917"/>
                  </a:lnTo>
                  <a:lnTo>
                    <a:pt x="2917" y="5990"/>
                  </a:lnTo>
                  <a:lnTo>
                    <a:pt x="2815" y="6065"/>
                  </a:lnTo>
                  <a:lnTo>
                    <a:pt x="2713" y="6140"/>
                  </a:lnTo>
                  <a:lnTo>
                    <a:pt x="2613" y="6218"/>
                  </a:lnTo>
                  <a:lnTo>
                    <a:pt x="2514" y="6295"/>
                  </a:lnTo>
                  <a:lnTo>
                    <a:pt x="2415" y="6375"/>
                  </a:lnTo>
                  <a:lnTo>
                    <a:pt x="2317" y="6455"/>
                  </a:lnTo>
                  <a:lnTo>
                    <a:pt x="2220" y="6538"/>
                  </a:lnTo>
                  <a:lnTo>
                    <a:pt x="2125" y="6621"/>
                  </a:lnTo>
                  <a:lnTo>
                    <a:pt x="2031" y="6706"/>
                  </a:lnTo>
                  <a:lnTo>
                    <a:pt x="1937" y="6792"/>
                  </a:lnTo>
                  <a:lnTo>
                    <a:pt x="1844" y="6880"/>
                  </a:lnTo>
                  <a:lnTo>
                    <a:pt x="1753" y="6969"/>
                  </a:lnTo>
                  <a:lnTo>
                    <a:pt x="1677" y="7047"/>
                  </a:lnTo>
                  <a:lnTo>
                    <a:pt x="1602" y="7124"/>
                  </a:lnTo>
                  <a:lnTo>
                    <a:pt x="1529" y="7203"/>
                  </a:lnTo>
                  <a:lnTo>
                    <a:pt x="1457" y="7282"/>
                  </a:lnTo>
                  <a:lnTo>
                    <a:pt x="1387" y="7361"/>
                  </a:lnTo>
                  <a:lnTo>
                    <a:pt x="1319" y="7441"/>
                  </a:lnTo>
                  <a:lnTo>
                    <a:pt x="1251" y="7521"/>
                  </a:lnTo>
                  <a:lnTo>
                    <a:pt x="1186" y="7603"/>
                  </a:lnTo>
                  <a:lnTo>
                    <a:pt x="1121" y="7685"/>
                  </a:lnTo>
                  <a:lnTo>
                    <a:pt x="1059" y="7768"/>
                  </a:lnTo>
                  <a:lnTo>
                    <a:pt x="998" y="7850"/>
                  </a:lnTo>
                  <a:lnTo>
                    <a:pt x="938" y="7935"/>
                  </a:lnTo>
                  <a:lnTo>
                    <a:pt x="880" y="8018"/>
                  </a:lnTo>
                  <a:lnTo>
                    <a:pt x="823" y="8104"/>
                  </a:lnTo>
                  <a:lnTo>
                    <a:pt x="767" y="8189"/>
                  </a:lnTo>
                  <a:lnTo>
                    <a:pt x="714" y="8276"/>
                  </a:lnTo>
                  <a:lnTo>
                    <a:pt x="661" y="8363"/>
                  </a:lnTo>
                  <a:lnTo>
                    <a:pt x="610" y="8451"/>
                  </a:lnTo>
                  <a:lnTo>
                    <a:pt x="561" y="8540"/>
                  </a:lnTo>
                  <a:lnTo>
                    <a:pt x="513" y="8629"/>
                  </a:lnTo>
                  <a:lnTo>
                    <a:pt x="466" y="8719"/>
                  </a:lnTo>
                  <a:lnTo>
                    <a:pt x="420" y="8810"/>
                  </a:lnTo>
                  <a:lnTo>
                    <a:pt x="377" y="8902"/>
                  </a:lnTo>
                  <a:lnTo>
                    <a:pt x="335" y="8994"/>
                  </a:lnTo>
                  <a:lnTo>
                    <a:pt x="293" y="9088"/>
                  </a:lnTo>
                  <a:lnTo>
                    <a:pt x="254" y="9181"/>
                  </a:lnTo>
                  <a:lnTo>
                    <a:pt x="216" y="9276"/>
                  </a:lnTo>
                  <a:lnTo>
                    <a:pt x="178" y="9371"/>
                  </a:lnTo>
                  <a:lnTo>
                    <a:pt x="143" y="9468"/>
                  </a:lnTo>
                  <a:lnTo>
                    <a:pt x="109" y="9564"/>
                  </a:lnTo>
                  <a:lnTo>
                    <a:pt x="77" y="9663"/>
                  </a:lnTo>
                  <a:lnTo>
                    <a:pt x="45" y="9762"/>
                  </a:lnTo>
                  <a:lnTo>
                    <a:pt x="35" y="9795"/>
                  </a:lnTo>
                  <a:lnTo>
                    <a:pt x="27" y="9829"/>
                  </a:lnTo>
                  <a:lnTo>
                    <a:pt x="19" y="9863"/>
                  </a:lnTo>
                  <a:lnTo>
                    <a:pt x="13" y="9896"/>
                  </a:lnTo>
                  <a:lnTo>
                    <a:pt x="8" y="9931"/>
                  </a:lnTo>
                  <a:lnTo>
                    <a:pt x="5" y="9965"/>
                  </a:lnTo>
                  <a:lnTo>
                    <a:pt x="2" y="9999"/>
                  </a:lnTo>
                  <a:lnTo>
                    <a:pt x="0" y="10033"/>
                  </a:lnTo>
                  <a:lnTo>
                    <a:pt x="0" y="10067"/>
                  </a:lnTo>
                  <a:lnTo>
                    <a:pt x="1" y="10101"/>
                  </a:lnTo>
                  <a:lnTo>
                    <a:pt x="3" y="10135"/>
                  </a:lnTo>
                  <a:lnTo>
                    <a:pt x="6" y="10168"/>
                  </a:lnTo>
                  <a:lnTo>
                    <a:pt x="10" y="10202"/>
                  </a:lnTo>
                  <a:lnTo>
                    <a:pt x="16" y="10235"/>
                  </a:lnTo>
                  <a:lnTo>
                    <a:pt x="22" y="10269"/>
                  </a:lnTo>
                  <a:lnTo>
                    <a:pt x="29" y="10301"/>
                  </a:lnTo>
                  <a:lnTo>
                    <a:pt x="38" y="10334"/>
                  </a:lnTo>
                  <a:lnTo>
                    <a:pt x="48" y="10366"/>
                  </a:lnTo>
                  <a:lnTo>
                    <a:pt x="58" y="10398"/>
                  </a:lnTo>
                  <a:lnTo>
                    <a:pt x="71" y="10430"/>
                  </a:lnTo>
                  <a:lnTo>
                    <a:pt x="84" y="10461"/>
                  </a:lnTo>
                  <a:lnTo>
                    <a:pt x="98" y="10492"/>
                  </a:lnTo>
                  <a:lnTo>
                    <a:pt x="113" y="10522"/>
                  </a:lnTo>
                  <a:lnTo>
                    <a:pt x="129" y="10552"/>
                  </a:lnTo>
                  <a:lnTo>
                    <a:pt x="146" y="10581"/>
                  </a:lnTo>
                  <a:lnTo>
                    <a:pt x="164" y="10611"/>
                  </a:lnTo>
                  <a:lnTo>
                    <a:pt x="184" y="10639"/>
                  </a:lnTo>
                  <a:lnTo>
                    <a:pt x="204" y="10666"/>
                  </a:lnTo>
                  <a:lnTo>
                    <a:pt x="225" y="10693"/>
                  </a:lnTo>
                  <a:lnTo>
                    <a:pt x="248" y="10719"/>
                  </a:lnTo>
                  <a:lnTo>
                    <a:pt x="271" y="10745"/>
                  </a:lnTo>
                  <a:lnTo>
                    <a:pt x="295" y="10771"/>
                  </a:lnTo>
                  <a:lnTo>
                    <a:pt x="5337" y="15800"/>
                  </a:lnTo>
                  <a:lnTo>
                    <a:pt x="5360" y="15823"/>
                  </a:lnTo>
                  <a:lnTo>
                    <a:pt x="5385" y="15846"/>
                  </a:lnTo>
                  <a:lnTo>
                    <a:pt x="5409" y="15867"/>
                  </a:lnTo>
                  <a:lnTo>
                    <a:pt x="5435" y="15887"/>
                  </a:lnTo>
                  <a:lnTo>
                    <a:pt x="5462" y="15906"/>
                  </a:lnTo>
                  <a:lnTo>
                    <a:pt x="5488" y="15925"/>
                  </a:lnTo>
                  <a:lnTo>
                    <a:pt x="5515" y="15942"/>
                  </a:lnTo>
                  <a:lnTo>
                    <a:pt x="5543" y="15959"/>
                  </a:lnTo>
                  <a:lnTo>
                    <a:pt x="5572" y="15974"/>
                  </a:lnTo>
                  <a:lnTo>
                    <a:pt x="5600" y="15989"/>
                  </a:lnTo>
                  <a:lnTo>
                    <a:pt x="5629" y="16003"/>
                  </a:lnTo>
                  <a:lnTo>
                    <a:pt x="5658" y="16017"/>
                  </a:lnTo>
                  <a:lnTo>
                    <a:pt x="5688" y="16029"/>
                  </a:lnTo>
                  <a:lnTo>
                    <a:pt x="5718" y="16039"/>
                  </a:lnTo>
                  <a:lnTo>
                    <a:pt x="5749" y="16049"/>
                  </a:lnTo>
                  <a:lnTo>
                    <a:pt x="5779" y="16058"/>
                  </a:lnTo>
                  <a:lnTo>
                    <a:pt x="5811" y="16066"/>
                  </a:lnTo>
                  <a:lnTo>
                    <a:pt x="5842" y="16073"/>
                  </a:lnTo>
                  <a:lnTo>
                    <a:pt x="5873" y="16079"/>
                  </a:lnTo>
                  <a:lnTo>
                    <a:pt x="5904" y="16085"/>
                  </a:lnTo>
                  <a:lnTo>
                    <a:pt x="5937" y="16089"/>
                  </a:lnTo>
                  <a:lnTo>
                    <a:pt x="5969" y="16092"/>
                  </a:lnTo>
                  <a:lnTo>
                    <a:pt x="6001" y="16094"/>
                  </a:lnTo>
                  <a:lnTo>
                    <a:pt x="6033" y="16095"/>
                  </a:lnTo>
                  <a:lnTo>
                    <a:pt x="6066" y="16095"/>
                  </a:lnTo>
                  <a:lnTo>
                    <a:pt x="6098" y="16094"/>
                  </a:lnTo>
                  <a:lnTo>
                    <a:pt x="6130" y="16092"/>
                  </a:lnTo>
                  <a:lnTo>
                    <a:pt x="6162" y="16089"/>
                  </a:lnTo>
                  <a:lnTo>
                    <a:pt x="6195" y="16084"/>
                  </a:lnTo>
                  <a:lnTo>
                    <a:pt x="6227" y="16079"/>
                  </a:lnTo>
                  <a:lnTo>
                    <a:pt x="6259" y="16073"/>
                  </a:lnTo>
                  <a:lnTo>
                    <a:pt x="6291" y="16066"/>
                  </a:lnTo>
                  <a:lnTo>
                    <a:pt x="6326" y="16057"/>
                  </a:lnTo>
                  <a:lnTo>
                    <a:pt x="6359" y="16047"/>
                  </a:lnTo>
                  <a:lnTo>
                    <a:pt x="6391" y="16036"/>
                  </a:lnTo>
                  <a:lnTo>
                    <a:pt x="6424" y="16024"/>
                  </a:lnTo>
                  <a:lnTo>
                    <a:pt x="6456" y="16009"/>
                  </a:lnTo>
                  <a:lnTo>
                    <a:pt x="6487" y="15995"/>
                  </a:lnTo>
                  <a:lnTo>
                    <a:pt x="6517" y="15980"/>
                  </a:lnTo>
                  <a:lnTo>
                    <a:pt x="6548" y="15964"/>
                  </a:lnTo>
                  <a:lnTo>
                    <a:pt x="6577" y="15947"/>
                  </a:lnTo>
                  <a:lnTo>
                    <a:pt x="6605" y="15929"/>
                  </a:lnTo>
                  <a:lnTo>
                    <a:pt x="6633" y="15909"/>
                  </a:lnTo>
                  <a:lnTo>
                    <a:pt x="6660" y="15890"/>
                  </a:lnTo>
                  <a:lnTo>
                    <a:pt x="6687" y="15869"/>
                  </a:lnTo>
                  <a:lnTo>
                    <a:pt x="6713" y="15847"/>
                  </a:lnTo>
                  <a:lnTo>
                    <a:pt x="6738" y="15823"/>
                  </a:lnTo>
                  <a:lnTo>
                    <a:pt x="6762" y="15800"/>
                  </a:lnTo>
                  <a:lnTo>
                    <a:pt x="6784" y="15778"/>
                  </a:lnTo>
                  <a:lnTo>
                    <a:pt x="6804" y="15756"/>
                  </a:lnTo>
                  <a:lnTo>
                    <a:pt x="6824" y="15733"/>
                  </a:lnTo>
                  <a:lnTo>
                    <a:pt x="6843" y="15710"/>
                  </a:lnTo>
                  <a:lnTo>
                    <a:pt x="6861" y="15686"/>
                  </a:lnTo>
                  <a:lnTo>
                    <a:pt x="6879" y="15661"/>
                  </a:lnTo>
                  <a:lnTo>
                    <a:pt x="6895" y="15635"/>
                  </a:lnTo>
                  <a:lnTo>
                    <a:pt x="6912" y="15610"/>
                  </a:lnTo>
                  <a:lnTo>
                    <a:pt x="6928" y="15584"/>
                  </a:lnTo>
                  <a:lnTo>
                    <a:pt x="6942" y="15557"/>
                  </a:lnTo>
                  <a:lnTo>
                    <a:pt x="6956" y="15530"/>
                  </a:lnTo>
                  <a:lnTo>
                    <a:pt x="6969" y="15501"/>
                  </a:lnTo>
                  <a:lnTo>
                    <a:pt x="6981" y="15473"/>
                  </a:lnTo>
                  <a:lnTo>
                    <a:pt x="6992" y="15445"/>
                  </a:lnTo>
                  <a:lnTo>
                    <a:pt x="7003" y="15416"/>
                  </a:lnTo>
                  <a:lnTo>
                    <a:pt x="7012" y="15386"/>
                  </a:lnTo>
                  <a:lnTo>
                    <a:pt x="7035" y="15317"/>
                  </a:lnTo>
                  <a:lnTo>
                    <a:pt x="7058" y="15249"/>
                  </a:lnTo>
                  <a:lnTo>
                    <a:pt x="7081" y="15181"/>
                  </a:lnTo>
                  <a:lnTo>
                    <a:pt x="7106" y="15113"/>
                  </a:lnTo>
                  <a:lnTo>
                    <a:pt x="7132" y="15047"/>
                  </a:lnTo>
                  <a:lnTo>
                    <a:pt x="7159" y="14980"/>
                  </a:lnTo>
                  <a:lnTo>
                    <a:pt x="7187" y="14915"/>
                  </a:lnTo>
                  <a:lnTo>
                    <a:pt x="7216" y="14850"/>
                  </a:lnTo>
                  <a:lnTo>
                    <a:pt x="7245" y="14784"/>
                  </a:lnTo>
                  <a:lnTo>
                    <a:pt x="7277" y="14721"/>
                  </a:lnTo>
                  <a:lnTo>
                    <a:pt x="7309" y="14657"/>
                  </a:lnTo>
                  <a:lnTo>
                    <a:pt x="7341" y="14593"/>
                  </a:lnTo>
                  <a:lnTo>
                    <a:pt x="7375" y="14531"/>
                  </a:lnTo>
                  <a:lnTo>
                    <a:pt x="7411" y="14468"/>
                  </a:lnTo>
                  <a:lnTo>
                    <a:pt x="7446" y="14407"/>
                  </a:lnTo>
                  <a:lnTo>
                    <a:pt x="7483" y="14346"/>
                  </a:lnTo>
                  <a:lnTo>
                    <a:pt x="7522" y="14284"/>
                  </a:lnTo>
                  <a:lnTo>
                    <a:pt x="7561" y="14224"/>
                  </a:lnTo>
                  <a:lnTo>
                    <a:pt x="7601" y="14165"/>
                  </a:lnTo>
                  <a:lnTo>
                    <a:pt x="7642" y="14104"/>
                  </a:lnTo>
                  <a:lnTo>
                    <a:pt x="7684" y="14046"/>
                  </a:lnTo>
                  <a:lnTo>
                    <a:pt x="7727" y="13987"/>
                  </a:lnTo>
                  <a:lnTo>
                    <a:pt x="7773" y="13929"/>
                  </a:lnTo>
                  <a:lnTo>
                    <a:pt x="7818" y="13871"/>
                  </a:lnTo>
                  <a:lnTo>
                    <a:pt x="7864" y="13814"/>
                  </a:lnTo>
                  <a:lnTo>
                    <a:pt x="7912" y="13756"/>
                  </a:lnTo>
                  <a:lnTo>
                    <a:pt x="7961" y="13700"/>
                  </a:lnTo>
                  <a:lnTo>
                    <a:pt x="8011" y="13644"/>
                  </a:lnTo>
                  <a:lnTo>
                    <a:pt x="8062" y="13588"/>
                  </a:lnTo>
                  <a:lnTo>
                    <a:pt x="8113" y="13532"/>
                  </a:lnTo>
                  <a:lnTo>
                    <a:pt x="8167" y="13478"/>
                  </a:lnTo>
                  <a:lnTo>
                    <a:pt x="8221" y="13422"/>
                  </a:lnTo>
                  <a:lnTo>
                    <a:pt x="8295" y="13350"/>
                  </a:lnTo>
                  <a:lnTo>
                    <a:pt x="8370" y="13278"/>
                  </a:lnTo>
                  <a:lnTo>
                    <a:pt x="8446" y="13208"/>
                  </a:lnTo>
                  <a:lnTo>
                    <a:pt x="8524" y="13139"/>
                  </a:lnTo>
                  <a:lnTo>
                    <a:pt x="8603" y="13070"/>
                  </a:lnTo>
                  <a:lnTo>
                    <a:pt x="8683" y="13003"/>
                  </a:lnTo>
                  <a:lnTo>
                    <a:pt x="8765" y="12936"/>
                  </a:lnTo>
                  <a:lnTo>
                    <a:pt x="8847" y="12871"/>
                  </a:lnTo>
                  <a:lnTo>
                    <a:pt x="8931" y="12806"/>
                  </a:lnTo>
                  <a:lnTo>
                    <a:pt x="9016" y="12741"/>
                  </a:lnTo>
                  <a:lnTo>
                    <a:pt x="9101" y="12678"/>
                  </a:lnTo>
                  <a:lnTo>
                    <a:pt x="9188" y="12615"/>
                  </a:lnTo>
                  <a:lnTo>
                    <a:pt x="9277" y="12553"/>
                  </a:lnTo>
                  <a:lnTo>
                    <a:pt x="9366" y="12491"/>
                  </a:lnTo>
                  <a:lnTo>
                    <a:pt x="9455" y="12430"/>
                  </a:lnTo>
                  <a:lnTo>
                    <a:pt x="9546" y="12369"/>
                  </a:lnTo>
                  <a:lnTo>
                    <a:pt x="9638" y="12309"/>
                  </a:lnTo>
                  <a:lnTo>
                    <a:pt x="9730" y="12249"/>
                  </a:lnTo>
                  <a:lnTo>
                    <a:pt x="9823" y="12190"/>
                  </a:lnTo>
                  <a:lnTo>
                    <a:pt x="9917" y="12131"/>
                  </a:lnTo>
                  <a:lnTo>
                    <a:pt x="10012" y="12072"/>
                  </a:lnTo>
                  <a:lnTo>
                    <a:pt x="10107" y="12014"/>
                  </a:lnTo>
                  <a:lnTo>
                    <a:pt x="10203" y="11956"/>
                  </a:lnTo>
                  <a:lnTo>
                    <a:pt x="10300" y="11897"/>
                  </a:lnTo>
                  <a:lnTo>
                    <a:pt x="10495" y="11781"/>
                  </a:lnTo>
                  <a:lnTo>
                    <a:pt x="10692" y="11665"/>
                  </a:lnTo>
                  <a:lnTo>
                    <a:pt x="10892" y="11549"/>
                  </a:lnTo>
                  <a:lnTo>
                    <a:pt x="11093" y="11432"/>
                  </a:lnTo>
                  <a:lnTo>
                    <a:pt x="11308" y="11309"/>
                  </a:lnTo>
                  <a:lnTo>
                    <a:pt x="11522" y="11183"/>
                  </a:lnTo>
                  <a:lnTo>
                    <a:pt x="11737" y="11056"/>
                  </a:lnTo>
                  <a:lnTo>
                    <a:pt x="11952" y="10929"/>
                  </a:lnTo>
                  <a:lnTo>
                    <a:pt x="12059" y="10864"/>
                  </a:lnTo>
                  <a:lnTo>
                    <a:pt x="12166" y="10799"/>
                  </a:lnTo>
                  <a:lnTo>
                    <a:pt x="12272" y="10732"/>
                  </a:lnTo>
                  <a:lnTo>
                    <a:pt x="12379" y="10666"/>
                  </a:lnTo>
                  <a:lnTo>
                    <a:pt x="12485" y="10599"/>
                  </a:lnTo>
                  <a:lnTo>
                    <a:pt x="12591" y="10530"/>
                  </a:lnTo>
                  <a:lnTo>
                    <a:pt x="12697" y="10462"/>
                  </a:lnTo>
                  <a:lnTo>
                    <a:pt x="12802" y="10392"/>
                  </a:lnTo>
                  <a:lnTo>
                    <a:pt x="12906" y="10321"/>
                  </a:lnTo>
                  <a:lnTo>
                    <a:pt x="13009" y="10249"/>
                  </a:lnTo>
                  <a:lnTo>
                    <a:pt x="13113" y="10177"/>
                  </a:lnTo>
                  <a:lnTo>
                    <a:pt x="13215" y="10104"/>
                  </a:lnTo>
                  <a:lnTo>
                    <a:pt x="13317" y="10029"/>
                  </a:lnTo>
                  <a:lnTo>
                    <a:pt x="13419" y="9954"/>
                  </a:lnTo>
                  <a:lnTo>
                    <a:pt x="13519" y="9876"/>
                  </a:lnTo>
                  <a:lnTo>
                    <a:pt x="13618" y="9799"/>
                  </a:lnTo>
                  <a:lnTo>
                    <a:pt x="13717" y="9719"/>
                  </a:lnTo>
                  <a:lnTo>
                    <a:pt x="13815" y="9639"/>
                  </a:lnTo>
                  <a:lnTo>
                    <a:pt x="13912" y="9556"/>
                  </a:lnTo>
                  <a:lnTo>
                    <a:pt x="14007" y="9473"/>
                  </a:lnTo>
                  <a:lnTo>
                    <a:pt x="14101" y="9388"/>
                  </a:lnTo>
                  <a:lnTo>
                    <a:pt x="14195" y="9302"/>
                  </a:lnTo>
                  <a:lnTo>
                    <a:pt x="14288" y="9214"/>
                  </a:lnTo>
                  <a:lnTo>
                    <a:pt x="14379" y="9125"/>
                  </a:lnTo>
                  <a:lnTo>
                    <a:pt x="14455" y="9047"/>
                  </a:lnTo>
                  <a:lnTo>
                    <a:pt x="14530" y="8970"/>
                  </a:lnTo>
                  <a:lnTo>
                    <a:pt x="14602" y="8891"/>
                  </a:lnTo>
                  <a:lnTo>
                    <a:pt x="14675" y="8813"/>
                  </a:lnTo>
                  <a:lnTo>
                    <a:pt x="14745" y="8734"/>
                  </a:lnTo>
                  <a:lnTo>
                    <a:pt x="14813" y="8653"/>
                  </a:lnTo>
                  <a:lnTo>
                    <a:pt x="14881" y="8573"/>
                  </a:lnTo>
                  <a:lnTo>
                    <a:pt x="14946" y="8491"/>
                  </a:lnTo>
                  <a:lnTo>
                    <a:pt x="15011" y="8410"/>
                  </a:lnTo>
                  <a:lnTo>
                    <a:pt x="15073" y="8327"/>
                  </a:lnTo>
                  <a:lnTo>
                    <a:pt x="15134" y="8244"/>
                  </a:lnTo>
                  <a:lnTo>
                    <a:pt x="15194" y="8160"/>
                  </a:lnTo>
                  <a:lnTo>
                    <a:pt x="15252" y="8076"/>
                  </a:lnTo>
                  <a:lnTo>
                    <a:pt x="15309" y="7990"/>
                  </a:lnTo>
                  <a:lnTo>
                    <a:pt x="15365" y="7905"/>
                  </a:lnTo>
                  <a:lnTo>
                    <a:pt x="15418" y="7818"/>
                  </a:lnTo>
                  <a:lnTo>
                    <a:pt x="15471" y="7731"/>
                  </a:lnTo>
                  <a:lnTo>
                    <a:pt x="15522" y="7643"/>
                  </a:lnTo>
                  <a:lnTo>
                    <a:pt x="15571" y="7555"/>
                  </a:lnTo>
                  <a:lnTo>
                    <a:pt x="15619" y="7465"/>
                  </a:lnTo>
                  <a:lnTo>
                    <a:pt x="15666" y="7375"/>
                  </a:lnTo>
                  <a:lnTo>
                    <a:pt x="15712" y="7284"/>
                  </a:lnTo>
                  <a:lnTo>
                    <a:pt x="15755" y="7192"/>
                  </a:lnTo>
                  <a:lnTo>
                    <a:pt x="15797" y="7100"/>
                  </a:lnTo>
                  <a:lnTo>
                    <a:pt x="15839" y="7007"/>
                  </a:lnTo>
                  <a:lnTo>
                    <a:pt x="15878" y="6913"/>
                  </a:lnTo>
                  <a:lnTo>
                    <a:pt x="15916" y="6818"/>
                  </a:lnTo>
                  <a:lnTo>
                    <a:pt x="15954" y="6723"/>
                  </a:lnTo>
                  <a:lnTo>
                    <a:pt x="15989" y="6626"/>
                  </a:lnTo>
                  <a:lnTo>
                    <a:pt x="16023" y="6530"/>
                  </a:lnTo>
                  <a:lnTo>
                    <a:pt x="16055" y="6431"/>
                  </a:lnTo>
                  <a:lnTo>
                    <a:pt x="16087" y="6332"/>
                  </a:lnTo>
                  <a:lnTo>
                    <a:pt x="16097" y="6299"/>
                  </a:lnTo>
                  <a:lnTo>
                    <a:pt x="16105" y="6265"/>
                  </a:lnTo>
                  <a:lnTo>
                    <a:pt x="16113" y="6232"/>
                  </a:lnTo>
                  <a:lnTo>
                    <a:pt x="16119" y="6198"/>
                  </a:lnTo>
                  <a:lnTo>
                    <a:pt x="16124" y="6163"/>
                  </a:lnTo>
                  <a:lnTo>
                    <a:pt x="16127" y="6129"/>
                  </a:lnTo>
                  <a:lnTo>
                    <a:pt x="16130" y="6095"/>
                  </a:lnTo>
                  <a:lnTo>
                    <a:pt x="16132" y="6062"/>
                  </a:lnTo>
                  <a:lnTo>
                    <a:pt x="16132" y="6028"/>
                  </a:lnTo>
                  <a:lnTo>
                    <a:pt x="16131" y="5993"/>
                  </a:lnTo>
                  <a:lnTo>
                    <a:pt x="16129" y="5960"/>
                  </a:lnTo>
                  <a:lnTo>
                    <a:pt x="16126" y="5926"/>
                  </a:lnTo>
                  <a:lnTo>
                    <a:pt x="16122" y="5893"/>
                  </a:lnTo>
                  <a:lnTo>
                    <a:pt x="16116" y="5860"/>
                  </a:lnTo>
                  <a:lnTo>
                    <a:pt x="16110" y="5826"/>
                  </a:lnTo>
                  <a:lnTo>
                    <a:pt x="16103" y="5793"/>
                  </a:lnTo>
                  <a:lnTo>
                    <a:pt x="16094" y="5761"/>
                  </a:lnTo>
                  <a:lnTo>
                    <a:pt x="16084" y="5729"/>
                  </a:lnTo>
                  <a:lnTo>
                    <a:pt x="16074" y="5697"/>
                  </a:lnTo>
                  <a:lnTo>
                    <a:pt x="16061" y="5664"/>
                  </a:lnTo>
                  <a:lnTo>
                    <a:pt x="16048" y="5633"/>
                  </a:lnTo>
                  <a:lnTo>
                    <a:pt x="16034" y="5603"/>
                  </a:lnTo>
                  <a:lnTo>
                    <a:pt x="16019" y="5573"/>
                  </a:lnTo>
                  <a:lnTo>
                    <a:pt x="16003" y="5543"/>
                  </a:lnTo>
                  <a:lnTo>
                    <a:pt x="15986" y="5514"/>
                  </a:lnTo>
                  <a:lnTo>
                    <a:pt x="15968" y="5484"/>
                  </a:lnTo>
                  <a:lnTo>
                    <a:pt x="15948" y="5456"/>
                  </a:lnTo>
                  <a:lnTo>
                    <a:pt x="15928" y="5429"/>
                  </a:lnTo>
                  <a:lnTo>
                    <a:pt x="15907" y="5402"/>
                  </a:lnTo>
                  <a:lnTo>
                    <a:pt x="15884" y="5375"/>
                  </a:lnTo>
                  <a:lnTo>
                    <a:pt x="15861" y="5350"/>
                  </a:lnTo>
                  <a:lnTo>
                    <a:pt x="15837" y="53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15" name="îṧľidè">
              <a:extLst>
                <a:ext uri="{FF2B5EF4-FFF2-40B4-BE49-F238E27FC236}">
                  <a16:creationId xmlns:a16="http://schemas.microsoft.com/office/drawing/2014/main" id="{25376243-4E74-45F6-9157-99985670E760}"/>
                </a:ext>
              </a:extLst>
            </p:cNvPr>
            <p:cNvSpPr/>
            <p:nvPr/>
          </p:nvSpPr>
          <p:spPr bwMode="auto">
            <a:xfrm>
              <a:off x="2436173" y="1776049"/>
              <a:ext cx="164967" cy="172017"/>
            </a:xfrm>
            <a:custGeom>
              <a:avLst/>
              <a:gdLst>
                <a:gd name="T0" fmla="*/ 3132 w 4362"/>
                <a:gd name="T1" fmla="*/ 3096 h 4518"/>
                <a:gd name="T2" fmla="*/ 2633 w 4362"/>
                <a:gd name="T3" fmla="*/ 2415 h 4518"/>
                <a:gd name="T4" fmla="*/ 3056 w 4362"/>
                <a:gd name="T5" fmla="*/ 2277 h 4518"/>
                <a:gd name="T6" fmla="*/ 3379 w 4362"/>
                <a:gd name="T7" fmla="*/ 2332 h 4518"/>
                <a:gd name="T8" fmla="*/ 3583 w 4362"/>
                <a:gd name="T9" fmla="*/ 2521 h 4518"/>
                <a:gd name="T10" fmla="*/ 3655 w 4362"/>
                <a:gd name="T11" fmla="*/ 2803 h 4518"/>
                <a:gd name="T12" fmla="*/ 1124 w 4362"/>
                <a:gd name="T13" fmla="*/ 2140 h 4518"/>
                <a:gd name="T14" fmla="*/ 801 w 4362"/>
                <a:gd name="T15" fmla="*/ 1993 h 4518"/>
                <a:gd name="T16" fmla="*/ 680 w 4362"/>
                <a:gd name="T17" fmla="*/ 1678 h 4518"/>
                <a:gd name="T18" fmla="*/ 821 w 4362"/>
                <a:gd name="T19" fmla="*/ 1269 h 4518"/>
                <a:gd name="T20" fmla="*/ 1394 w 4362"/>
                <a:gd name="T21" fmla="*/ 1652 h 4518"/>
                <a:gd name="T22" fmla="*/ 1411 w 4362"/>
                <a:gd name="T23" fmla="*/ 2093 h 4518"/>
                <a:gd name="T24" fmla="*/ 3840 w 4362"/>
                <a:gd name="T25" fmla="*/ 1684 h 4518"/>
                <a:gd name="T26" fmla="*/ 3406 w 4362"/>
                <a:gd name="T27" fmla="*/ 1499 h 4518"/>
                <a:gd name="T28" fmla="*/ 2969 w 4362"/>
                <a:gd name="T29" fmla="*/ 1472 h 4518"/>
                <a:gd name="T30" fmla="*/ 2528 w 4362"/>
                <a:gd name="T31" fmla="*/ 1573 h 4518"/>
                <a:gd name="T32" fmla="*/ 1732 w 4362"/>
                <a:gd name="T33" fmla="*/ 1516 h 4518"/>
                <a:gd name="T34" fmla="*/ 1241 w 4362"/>
                <a:gd name="T35" fmla="*/ 847 h 4518"/>
                <a:gd name="T36" fmla="*/ 1571 w 4362"/>
                <a:gd name="T37" fmla="*/ 732 h 4518"/>
                <a:gd name="T38" fmla="*/ 2116 w 4362"/>
                <a:gd name="T39" fmla="*/ 825 h 4518"/>
                <a:gd name="T40" fmla="*/ 2348 w 4362"/>
                <a:gd name="T41" fmla="*/ 801 h 4518"/>
                <a:gd name="T42" fmla="*/ 2491 w 4362"/>
                <a:gd name="T43" fmla="*/ 617 h 4518"/>
                <a:gd name="T44" fmla="*/ 2475 w 4362"/>
                <a:gd name="T45" fmla="*/ 366 h 4518"/>
                <a:gd name="T46" fmla="*/ 2240 w 4362"/>
                <a:gd name="T47" fmla="*/ 108 h 4518"/>
                <a:gd name="T48" fmla="*/ 1861 w 4362"/>
                <a:gd name="T49" fmla="*/ 2 h 4518"/>
                <a:gd name="T50" fmla="*/ 1447 w 4362"/>
                <a:gd name="T51" fmla="*/ 51 h 4518"/>
                <a:gd name="T52" fmla="*/ 1028 w 4362"/>
                <a:gd name="T53" fmla="*/ 241 h 4518"/>
                <a:gd name="T54" fmla="*/ 593 w 4362"/>
                <a:gd name="T55" fmla="*/ 342 h 4518"/>
                <a:gd name="T56" fmla="*/ 417 w 4362"/>
                <a:gd name="T57" fmla="*/ 344 h 4518"/>
                <a:gd name="T58" fmla="*/ 317 w 4362"/>
                <a:gd name="T59" fmla="*/ 504 h 4518"/>
                <a:gd name="T60" fmla="*/ 456 w 4362"/>
                <a:gd name="T61" fmla="*/ 721 h 4518"/>
                <a:gd name="T62" fmla="*/ 211 w 4362"/>
                <a:gd name="T63" fmla="*/ 1149 h 4518"/>
                <a:gd name="T64" fmla="*/ 34 w 4362"/>
                <a:gd name="T65" fmla="*/ 1621 h 4518"/>
                <a:gd name="T66" fmla="*/ 10 w 4362"/>
                <a:gd name="T67" fmla="*/ 2070 h 4518"/>
                <a:gd name="T68" fmla="*/ 158 w 4362"/>
                <a:gd name="T69" fmla="*/ 2459 h 4518"/>
                <a:gd name="T70" fmla="*/ 474 w 4362"/>
                <a:gd name="T71" fmla="*/ 2756 h 4518"/>
                <a:gd name="T72" fmla="*/ 828 w 4362"/>
                <a:gd name="T73" fmla="*/ 2905 h 4518"/>
                <a:gd name="T74" fmla="*/ 1261 w 4362"/>
                <a:gd name="T75" fmla="*/ 2929 h 4518"/>
                <a:gd name="T76" fmla="*/ 2177 w 4362"/>
                <a:gd name="T77" fmla="*/ 2653 h 4518"/>
                <a:gd name="T78" fmla="*/ 2973 w 4362"/>
                <a:gd name="T79" fmla="*/ 3437 h 4518"/>
                <a:gd name="T80" fmla="*/ 2902 w 4362"/>
                <a:gd name="T81" fmla="*/ 3773 h 4518"/>
                <a:gd name="T82" fmla="*/ 2620 w 4362"/>
                <a:gd name="T83" fmla="*/ 3814 h 4518"/>
                <a:gd name="T84" fmla="*/ 2301 w 4362"/>
                <a:gd name="T85" fmla="*/ 3676 h 4518"/>
                <a:gd name="T86" fmla="*/ 1951 w 4362"/>
                <a:gd name="T87" fmla="*/ 3525 h 4518"/>
                <a:gd name="T88" fmla="*/ 1747 w 4362"/>
                <a:gd name="T89" fmla="*/ 3591 h 4518"/>
                <a:gd name="T90" fmla="*/ 1591 w 4362"/>
                <a:gd name="T91" fmla="*/ 3790 h 4518"/>
                <a:gd name="T92" fmla="*/ 1619 w 4362"/>
                <a:gd name="T93" fmla="*/ 4034 h 4518"/>
                <a:gd name="T94" fmla="*/ 1834 w 4362"/>
                <a:gd name="T95" fmla="*/ 4277 h 4518"/>
                <a:gd name="T96" fmla="*/ 2170 w 4362"/>
                <a:gd name="T97" fmla="*/ 4454 h 4518"/>
                <a:gd name="T98" fmla="*/ 2588 w 4362"/>
                <a:gd name="T99" fmla="*/ 4518 h 4518"/>
                <a:gd name="T100" fmla="*/ 3057 w 4362"/>
                <a:gd name="T101" fmla="*/ 4420 h 4518"/>
                <a:gd name="T102" fmla="*/ 3543 w 4362"/>
                <a:gd name="T103" fmla="*/ 4094 h 4518"/>
                <a:gd name="T104" fmla="*/ 3921 w 4362"/>
                <a:gd name="T105" fmla="*/ 4346 h 4518"/>
                <a:gd name="T106" fmla="*/ 4078 w 4362"/>
                <a:gd name="T107" fmla="*/ 4315 h 4518"/>
                <a:gd name="T108" fmla="*/ 4164 w 4362"/>
                <a:gd name="T109" fmla="*/ 4161 h 4518"/>
                <a:gd name="T110" fmla="*/ 4000 w 4362"/>
                <a:gd name="T111" fmla="*/ 3928 h 4518"/>
                <a:gd name="T112" fmla="*/ 4060 w 4362"/>
                <a:gd name="T113" fmla="*/ 3466 h 4518"/>
                <a:gd name="T114" fmla="*/ 4292 w 4362"/>
                <a:gd name="T115" fmla="*/ 2963 h 4518"/>
                <a:gd name="T116" fmla="*/ 4361 w 4362"/>
                <a:gd name="T117" fmla="*/ 2501 h 4518"/>
                <a:gd name="T118" fmla="*/ 4260 w 4362"/>
                <a:gd name="T119" fmla="*/ 2107 h 4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62" h="4518">
                  <a:moveTo>
                    <a:pt x="3555" y="3147"/>
                  </a:moveTo>
                  <a:lnTo>
                    <a:pt x="3538" y="3178"/>
                  </a:lnTo>
                  <a:lnTo>
                    <a:pt x="3520" y="3209"/>
                  </a:lnTo>
                  <a:lnTo>
                    <a:pt x="3501" y="3238"/>
                  </a:lnTo>
                  <a:lnTo>
                    <a:pt x="3481" y="3266"/>
                  </a:lnTo>
                  <a:lnTo>
                    <a:pt x="3461" y="3293"/>
                  </a:lnTo>
                  <a:lnTo>
                    <a:pt x="3441" y="3319"/>
                  </a:lnTo>
                  <a:lnTo>
                    <a:pt x="3419" y="3345"/>
                  </a:lnTo>
                  <a:lnTo>
                    <a:pt x="3397" y="3371"/>
                  </a:lnTo>
                  <a:lnTo>
                    <a:pt x="3343" y="3316"/>
                  </a:lnTo>
                  <a:lnTo>
                    <a:pt x="3291" y="3262"/>
                  </a:lnTo>
                  <a:lnTo>
                    <a:pt x="3237" y="3208"/>
                  </a:lnTo>
                  <a:lnTo>
                    <a:pt x="3185" y="3151"/>
                  </a:lnTo>
                  <a:lnTo>
                    <a:pt x="3132" y="3096"/>
                  </a:lnTo>
                  <a:lnTo>
                    <a:pt x="3079" y="3040"/>
                  </a:lnTo>
                  <a:lnTo>
                    <a:pt x="3026" y="2982"/>
                  </a:lnTo>
                  <a:lnTo>
                    <a:pt x="2973" y="2925"/>
                  </a:lnTo>
                  <a:lnTo>
                    <a:pt x="2920" y="2867"/>
                  </a:lnTo>
                  <a:lnTo>
                    <a:pt x="2867" y="2808"/>
                  </a:lnTo>
                  <a:lnTo>
                    <a:pt x="2814" y="2750"/>
                  </a:lnTo>
                  <a:lnTo>
                    <a:pt x="2762" y="2690"/>
                  </a:lnTo>
                  <a:lnTo>
                    <a:pt x="2708" y="2631"/>
                  </a:lnTo>
                  <a:lnTo>
                    <a:pt x="2656" y="2572"/>
                  </a:lnTo>
                  <a:lnTo>
                    <a:pt x="2602" y="2511"/>
                  </a:lnTo>
                  <a:lnTo>
                    <a:pt x="2550" y="2452"/>
                  </a:lnTo>
                  <a:lnTo>
                    <a:pt x="2577" y="2440"/>
                  </a:lnTo>
                  <a:lnTo>
                    <a:pt x="2604" y="2427"/>
                  </a:lnTo>
                  <a:lnTo>
                    <a:pt x="2633" y="2415"/>
                  </a:lnTo>
                  <a:lnTo>
                    <a:pt x="2661" y="2403"/>
                  </a:lnTo>
                  <a:lnTo>
                    <a:pt x="2690" y="2390"/>
                  </a:lnTo>
                  <a:lnTo>
                    <a:pt x="2719" y="2377"/>
                  </a:lnTo>
                  <a:lnTo>
                    <a:pt x="2748" y="2365"/>
                  </a:lnTo>
                  <a:lnTo>
                    <a:pt x="2779" y="2351"/>
                  </a:lnTo>
                  <a:lnTo>
                    <a:pt x="2810" y="2339"/>
                  </a:lnTo>
                  <a:lnTo>
                    <a:pt x="2840" y="2328"/>
                  </a:lnTo>
                  <a:lnTo>
                    <a:pt x="2871" y="2318"/>
                  </a:lnTo>
                  <a:lnTo>
                    <a:pt x="2902" y="2308"/>
                  </a:lnTo>
                  <a:lnTo>
                    <a:pt x="2932" y="2300"/>
                  </a:lnTo>
                  <a:lnTo>
                    <a:pt x="2963" y="2293"/>
                  </a:lnTo>
                  <a:lnTo>
                    <a:pt x="2993" y="2286"/>
                  </a:lnTo>
                  <a:lnTo>
                    <a:pt x="3025" y="2281"/>
                  </a:lnTo>
                  <a:lnTo>
                    <a:pt x="3056" y="2277"/>
                  </a:lnTo>
                  <a:lnTo>
                    <a:pt x="3087" y="2274"/>
                  </a:lnTo>
                  <a:lnTo>
                    <a:pt x="3119" y="2273"/>
                  </a:lnTo>
                  <a:lnTo>
                    <a:pt x="3149" y="2274"/>
                  </a:lnTo>
                  <a:lnTo>
                    <a:pt x="3180" y="2276"/>
                  </a:lnTo>
                  <a:lnTo>
                    <a:pt x="3211" y="2280"/>
                  </a:lnTo>
                  <a:lnTo>
                    <a:pt x="3243" y="2285"/>
                  </a:lnTo>
                  <a:lnTo>
                    <a:pt x="3274" y="2292"/>
                  </a:lnTo>
                  <a:lnTo>
                    <a:pt x="3289" y="2296"/>
                  </a:lnTo>
                  <a:lnTo>
                    <a:pt x="3304" y="2300"/>
                  </a:lnTo>
                  <a:lnTo>
                    <a:pt x="3319" y="2306"/>
                  </a:lnTo>
                  <a:lnTo>
                    <a:pt x="3334" y="2311"/>
                  </a:lnTo>
                  <a:lnTo>
                    <a:pt x="3349" y="2318"/>
                  </a:lnTo>
                  <a:lnTo>
                    <a:pt x="3364" y="2325"/>
                  </a:lnTo>
                  <a:lnTo>
                    <a:pt x="3379" y="2332"/>
                  </a:lnTo>
                  <a:lnTo>
                    <a:pt x="3393" y="2340"/>
                  </a:lnTo>
                  <a:lnTo>
                    <a:pt x="3408" y="2349"/>
                  </a:lnTo>
                  <a:lnTo>
                    <a:pt x="3422" y="2359"/>
                  </a:lnTo>
                  <a:lnTo>
                    <a:pt x="3436" y="2369"/>
                  </a:lnTo>
                  <a:lnTo>
                    <a:pt x="3450" y="2379"/>
                  </a:lnTo>
                  <a:lnTo>
                    <a:pt x="3463" y="2390"/>
                  </a:lnTo>
                  <a:lnTo>
                    <a:pt x="3477" y="2401"/>
                  </a:lnTo>
                  <a:lnTo>
                    <a:pt x="3492" y="2413"/>
                  </a:lnTo>
                  <a:lnTo>
                    <a:pt x="3505" y="2426"/>
                  </a:lnTo>
                  <a:lnTo>
                    <a:pt x="3530" y="2453"/>
                  </a:lnTo>
                  <a:lnTo>
                    <a:pt x="3553" y="2480"/>
                  </a:lnTo>
                  <a:lnTo>
                    <a:pt x="3564" y="2493"/>
                  </a:lnTo>
                  <a:lnTo>
                    <a:pt x="3573" y="2507"/>
                  </a:lnTo>
                  <a:lnTo>
                    <a:pt x="3583" y="2521"/>
                  </a:lnTo>
                  <a:lnTo>
                    <a:pt x="3591" y="2535"/>
                  </a:lnTo>
                  <a:lnTo>
                    <a:pt x="3599" y="2549"/>
                  </a:lnTo>
                  <a:lnTo>
                    <a:pt x="3608" y="2563"/>
                  </a:lnTo>
                  <a:lnTo>
                    <a:pt x="3615" y="2578"/>
                  </a:lnTo>
                  <a:lnTo>
                    <a:pt x="3621" y="2592"/>
                  </a:lnTo>
                  <a:lnTo>
                    <a:pt x="3626" y="2606"/>
                  </a:lnTo>
                  <a:lnTo>
                    <a:pt x="3631" y="2621"/>
                  </a:lnTo>
                  <a:lnTo>
                    <a:pt x="3635" y="2635"/>
                  </a:lnTo>
                  <a:lnTo>
                    <a:pt x="3639" y="2650"/>
                  </a:lnTo>
                  <a:lnTo>
                    <a:pt x="3645" y="2680"/>
                  </a:lnTo>
                  <a:lnTo>
                    <a:pt x="3650" y="2711"/>
                  </a:lnTo>
                  <a:lnTo>
                    <a:pt x="3653" y="2742"/>
                  </a:lnTo>
                  <a:lnTo>
                    <a:pt x="3655" y="2772"/>
                  </a:lnTo>
                  <a:lnTo>
                    <a:pt x="3655" y="2803"/>
                  </a:lnTo>
                  <a:lnTo>
                    <a:pt x="3653" y="2833"/>
                  </a:lnTo>
                  <a:lnTo>
                    <a:pt x="3650" y="2865"/>
                  </a:lnTo>
                  <a:lnTo>
                    <a:pt x="3646" y="2896"/>
                  </a:lnTo>
                  <a:lnTo>
                    <a:pt x="3640" y="2927"/>
                  </a:lnTo>
                  <a:lnTo>
                    <a:pt x="3632" y="2958"/>
                  </a:lnTo>
                  <a:lnTo>
                    <a:pt x="3623" y="2989"/>
                  </a:lnTo>
                  <a:lnTo>
                    <a:pt x="3613" y="3021"/>
                  </a:lnTo>
                  <a:lnTo>
                    <a:pt x="3600" y="3053"/>
                  </a:lnTo>
                  <a:lnTo>
                    <a:pt x="3586" y="3084"/>
                  </a:lnTo>
                  <a:lnTo>
                    <a:pt x="3571" y="3116"/>
                  </a:lnTo>
                  <a:lnTo>
                    <a:pt x="3555" y="3147"/>
                  </a:lnTo>
                  <a:close/>
                  <a:moveTo>
                    <a:pt x="1177" y="2140"/>
                  </a:moveTo>
                  <a:lnTo>
                    <a:pt x="1150" y="2141"/>
                  </a:lnTo>
                  <a:lnTo>
                    <a:pt x="1124" y="2140"/>
                  </a:lnTo>
                  <a:lnTo>
                    <a:pt x="1099" y="2138"/>
                  </a:lnTo>
                  <a:lnTo>
                    <a:pt x="1074" y="2135"/>
                  </a:lnTo>
                  <a:lnTo>
                    <a:pt x="1049" y="2130"/>
                  </a:lnTo>
                  <a:lnTo>
                    <a:pt x="1024" y="2124"/>
                  </a:lnTo>
                  <a:lnTo>
                    <a:pt x="1000" y="2117"/>
                  </a:lnTo>
                  <a:lnTo>
                    <a:pt x="976" y="2109"/>
                  </a:lnTo>
                  <a:lnTo>
                    <a:pt x="953" y="2099"/>
                  </a:lnTo>
                  <a:lnTo>
                    <a:pt x="931" y="2088"/>
                  </a:lnTo>
                  <a:lnTo>
                    <a:pt x="907" y="2076"/>
                  </a:lnTo>
                  <a:lnTo>
                    <a:pt x="885" y="2062"/>
                  </a:lnTo>
                  <a:lnTo>
                    <a:pt x="864" y="2047"/>
                  </a:lnTo>
                  <a:lnTo>
                    <a:pt x="843" y="2031"/>
                  </a:lnTo>
                  <a:lnTo>
                    <a:pt x="822" y="2012"/>
                  </a:lnTo>
                  <a:lnTo>
                    <a:pt x="801" y="1993"/>
                  </a:lnTo>
                  <a:lnTo>
                    <a:pt x="784" y="1977"/>
                  </a:lnTo>
                  <a:lnTo>
                    <a:pt x="769" y="1959"/>
                  </a:lnTo>
                  <a:lnTo>
                    <a:pt x="755" y="1940"/>
                  </a:lnTo>
                  <a:lnTo>
                    <a:pt x="742" y="1920"/>
                  </a:lnTo>
                  <a:lnTo>
                    <a:pt x="730" y="1900"/>
                  </a:lnTo>
                  <a:lnTo>
                    <a:pt x="720" y="1878"/>
                  </a:lnTo>
                  <a:lnTo>
                    <a:pt x="711" y="1856"/>
                  </a:lnTo>
                  <a:lnTo>
                    <a:pt x="703" y="1831"/>
                  </a:lnTo>
                  <a:lnTo>
                    <a:pt x="696" y="1807"/>
                  </a:lnTo>
                  <a:lnTo>
                    <a:pt x="690" y="1783"/>
                  </a:lnTo>
                  <a:lnTo>
                    <a:pt x="686" y="1758"/>
                  </a:lnTo>
                  <a:lnTo>
                    <a:pt x="683" y="1732"/>
                  </a:lnTo>
                  <a:lnTo>
                    <a:pt x="681" y="1705"/>
                  </a:lnTo>
                  <a:lnTo>
                    <a:pt x="680" y="1678"/>
                  </a:lnTo>
                  <a:lnTo>
                    <a:pt x="681" y="1650"/>
                  </a:lnTo>
                  <a:lnTo>
                    <a:pt x="684" y="1622"/>
                  </a:lnTo>
                  <a:lnTo>
                    <a:pt x="687" y="1593"/>
                  </a:lnTo>
                  <a:lnTo>
                    <a:pt x="691" y="1564"/>
                  </a:lnTo>
                  <a:lnTo>
                    <a:pt x="698" y="1536"/>
                  </a:lnTo>
                  <a:lnTo>
                    <a:pt x="705" y="1507"/>
                  </a:lnTo>
                  <a:lnTo>
                    <a:pt x="715" y="1476"/>
                  </a:lnTo>
                  <a:lnTo>
                    <a:pt x="725" y="1447"/>
                  </a:lnTo>
                  <a:lnTo>
                    <a:pt x="738" y="1418"/>
                  </a:lnTo>
                  <a:lnTo>
                    <a:pt x="752" y="1388"/>
                  </a:lnTo>
                  <a:lnTo>
                    <a:pt x="766" y="1358"/>
                  </a:lnTo>
                  <a:lnTo>
                    <a:pt x="783" y="1328"/>
                  </a:lnTo>
                  <a:lnTo>
                    <a:pt x="802" y="1298"/>
                  </a:lnTo>
                  <a:lnTo>
                    <a:pt x="821" y="1269"/>
                  </a:lnTo>
                  <a:lnTo>
                    <a:pt x="842" y="1240"/>
                  </a:lnTo>
                  <a:lnTo>
                    <a:pt x="865" y="1210"/>
                  </a:lnTo>
                  <a:lnTo>
                    <a:pt x="889" y="1181"/>
                  </a:lnTo>
                  <a:lnTo>
                    <a:pt x="915" y="1152"/>
                  </a:lnTo>
                  <a:lnTo>
                    <a:pt x="963" y="1200"/>
                  </a:lnTo>
                  <a:lnTo>
                    <a:pt x="1011" y="1248"/>
                  </a:lnTo>
                  <a:lnTo>
                    <a:pt x="1060" y="1297"/>
                  </a:lnTo>
                  <a:lnTo>
                    <a:pt x="1107" y="1347"/>
                  </a:lnTo>
                  <a:lnTo>
                    <a:pt x="1154" y="1397"/>
                  </a:lnTo>
                  <a:lnTo>
                    <a:pt x="1203" y="1447"/>
                  </a:lnTo>
                  <a:lnTo>
                    <a:pt x="1250" y="1497"/>
                  </a:lnTo>
                  <a:lnTo>
                    <a:pt x="1299" y="1549"/>
                  </a:lnTo>
                  <a:lnTo>
                    <a:pt x="1346" y="1600"/>
                  </a:lnTo>
                  <a:lnTo>
                    <a:pt x="1394" y="1652"/>
                  </a:lnTo>
                  <a:lnTo>
                    <a:pt x="1442" y="1705"/>
                  </a:lnTo>
                  <a:lnTo>
                    <a:pt x="1490" y="1758"/>
                  </a:lnTo>
                  <a:lnTo>
                    <a:pt x="1538" y="1810"/>
                  </a:lnTo>
                  <a:lnTo>
                    <a:pt x="1586" y="1864"/>
                  </a:lnTo>
                  <a:lnTo>
                    <a:pt x="1633" y="1918"/>
                  </a:lnTo>
                  <a:lnTo>
                    <a:pt x="1682" y="1971"/>
                  </a:lnTo>
                  <a:lnTo>
                    <a:pt x="1645" y="1990"/>
                  </a:lnTo>
                  <a:lnTo>
                    <a:pt x="1610" y="2008"/>
                  </a:lnTo>
                  <a:lnTo>
                    <a:pt x="1575" y="2026"/>
                  </a:lnTo>
                  <a:lnTo>
                    <a:pt x="1541" y="2042"/>
                  </a:lnTo>
                  <a:lnTo>
                    <a:pt x="1507" y="2057"/>
                  </a:lnTo>
                  <a:lnTo>
                    <a:pt x="1474" y="2070"/>
                  </a:lnTo>
                  <a:lnTo>
                    <a:pt x="1442" y="2082"/>
                  </a:lnTo>
                  <a:lnTo>
                    <a:pt x="1411" y="2093"/>
                  </a:lnTo>
                  <a:lnTo>
                    <a:pt x="1379" y="2103"/>
                  </a:lnTo>
                  <a:lnTo>
                    <a:pt x="1348" y="2112"/>
                  </a:lnTo>
                  <a:lnTo>
                    <a:pt x="1319" y="2120"/>
                  </a:lnTo>
                  <a:lnTo>
                    <a:pt x="1289" y="2126"/>
                  </a:lnTo>
                  <a:lnTo>
                    <a:pt x="1260" y="2131"/>
                  </a:lnTo>
                  <a:lnTo>
                    <a:pt x="1232" y="2135"/>
                  </a:lnTo>
                  <a:lnTo>
                    <a:pt x="1204" y="2138"/>
                  </a:lnTo>
                  <a:lnTo>
                    <a:pt x="1177" y="2140"/>
                  </a:lnTo>
                  <a:close/>
                  <a:moveTo>
                    <a:pt x="3995" y="1799"/>
                  </a:moveTo>
                  <a:lnTo>
                    <a:pt x="3964" y="1774"/>
                  </a:lnTo>
                  <a:lnTo>
                    <a:pt x="3933" y="1750"/>
                  </a:lnTo>
                  <a:lnTo>
                    <a:pt x="3903" y="1727"/>
                  </a:lnTo>
                  <a:lnTo>
                    <a:pt x="3872" y="1705"/>
                  </a:lnTo>
                  <a:lnTo>
                    <a:pt x="3840" y="1684"/>
                  </a:lnTo>
                  <a:lnTo>
                    <a:pt x="3810" y="1663"/>
                  </a:lnTo>
                  <a:lnTo>
                    <a:pt x="3779" y="1644"/>
                  </a:lnTo>
                  <a:lnTo>
                    <a:pt x="3748" y="1626"/>
                  </a:lnTo>
                  <a:lnTo>
                    <a:pt x="3716" y="1610"/>
                  </a:lnTo>
                  <a:lnTo>
                    <a:pt x="3686" y="1594"/>
                  </a:lnTo>
                  <a:lnTo>
                    <a:pt x="3655" y="1579"/>
                  </a:lnTo>
                  <a:lnTo>
                    <a:pt x="3624" y="1566"/>
                  </a:lnTo>
                  <a:lnTo>
                    <a:pt x="3592" y="1554"/>
                  </a:lnTo>
                  <a:lnTo>
                    <a:pt x="3561" y="1542"/>
                  </a:lnTo>
                  <a:lnTo>
                    <a:pt x="3530" y="1532"/>
                  </a:lnTo>
                  <a:lnTo>
                    <a:pt x="3499" y="1523"/>
                  </a:lnTo>
                  <a:lnTo>
                    <a:pt x="3468" y="1515"/>
                  </a:lnTo>
                  <a:lnTo>
                    <a:pt x="3437" y="1507"/>
                  </a:lnTo>
                  <a:lnTo>
                    <a:pt x="3406" y="1499"/>
                  </a:lnTo>
                  <a:lnTo>
                    <a:pt x="3375" y="1493"/>
                  </a:lnTo>
                  <a:lnTo>
                    <a:pt x="3344" y="1487"/>
                  </a:lnTo>
                  <a:lnTo>
                    <a:pt x="3313" y="1482"/>
                  </a:lnTo>
                  <a:lnTo>
                    <a:pt x="3282" y="1478"/>
                  </a:lnTo>
                  <a:lnTo>
                    <a:pt x="3251" y="1474"/>
                  </a:lnTo>
                  <a:lnTo>
                    <a:pt x="3219" y="1471"/>
                  </a:lnTo>
                  <a:lnTo>
                    <a:pt x="3188" y="1469"/>
                  </a:lnTo>
                  <a:lnTo>
                    <a:pt x="3157" y="1467"/>
                  </a:lnTo>
                  <a:lnTo>
                    <a:pt x="3126" y="1466"/>
                  </a:lnTo>
                  <a:lnTo>
                    <a:pt x="3094" y="1466"/>
                  </a:lnTo>
                  <a:lnTo>
                    <a:pt x="3063" y="1466"/>
                  </a:lnTo>
                  <a:lnTo>
                    <a:pt x="3032" y="1467"/>
                  </a:lnTo>
                  <a:lnTo>
                    <a:pt x="3001" y="1469"/>
                  </a:lnTo>
                  <a:lnTo>
                    <a:pt x="2969" y="1472"/>
                  </a:lnTo>
                  <a:lnTo>
                    <a:pt x="2938" y="1475"/>
                  </a:lnTo>
                  <a:lnTo>
                    <a:pt x="2907" y="1479"/>
                  </a:lnTo>
                  <a:lnTo>
                    <a:pt x="2876" y="1483"/>
                  </a:lnTo>
                  <a:lnTo>
                    <a:pt x="2844" y="1488"/>
                  </a:lnTo>
                  <a:lnTo>
                    <a:pt x="2813" y="1494"/>
                  </a:lnTo>
                  <a:lnTo>
                    <a:pt x="2782" y="1500"/>
                  </a:lnTo>
                  <a:lnTo>
                    <a:pt x="2751" y="1508"/>
                  </a:lnTo>
                  <a:lnTo>
                    <a:pt x="2718" y="1515"/>
                  </a:lnTo>
                  <a:lnTo>
                    <a:pt x="2687" y="1523"/>
                  </a:lnTo>
                  <a:lnTo>
                    <a:pt x="2655" y="1532"/>
                  </a:lnTo>
                  <a:lnTo>
                    <a:pt x="2623" y="1541"/>
                  </a:lnTo>
                  <a:lnTo>
                    <a:pt x="2591" y="1551"/>
                  </a:lnTo>
                  <a:lnTo>
                    <a:pt x="2560" y="1562"/>
                  </a:lnTo>
                  <a:lnTo>
                    <a:pt x="2528" y="1573"/>
                  </a:lnTo>
                  <a:lnTo>
                    <a:pt x="2496" y="1585"/>
                  </a:lnTo>
                  <a:lnTo>
                    <a:pt x="2433" y="1609"/>
                  </a:lnTo>
                  <a:lnTo>
                    <a:pt x="2369" y="1635"/>
                  </a:lnTo>
                  <a:lnTo>
                    <a:pt x="2306" y="1661"/>
                  </a:lnTo>
                  <a:lnTo>
                    <a:pt x="2241" y="1688"/>
                  </a:lnTo>
                  <a:lnTo>
                    <a:pt x="2178" y="1716"/>
                  </a:lnTo>
                  <a:lnTo>
                    <a:pt x="2114" y="1744"/>
                  </a:lnTo>
                  <a:lnTo>
                    <a:pt x="2050" y="1774"/>
                  </a:lnTo>
                  <a:lnTo>
                    <a:pt x="1986" y="1804"/>
                  </a:lnTo>
                  <a:lnTo>
                    <a:pt x="1935" y="1746"/>
                  </a:lnTo>
                  <a:lnTo>
                    <a:pt x="1884" y="1689"/>
                  </a:lnTo>
                  <a:lnTo>
                    <a:pt x="1833" y="1630"/>
                  </a:lnTo>
                  <a:lnTo>
                    <a:pt x="1783" y="1573"/>
                  </a:lnTo>
                  <a:lnTo>
                    <a:pt x="1732" y="1516"/>
                  </a:lnTo>
                  <a:lnTo>
                    <a:pt x="1681" y="1458"/>
                  </a:lnTo>
                  <a:lnTo>
                    <a:pt x="1630" y="1401"/>
                  </a:lnTo>
                  <a:lnTo>
                    <a:pt x="1580" y="1344"/>
                  </a:lnTo>
                  <a:lnTo>
                    <a:pt x="1529" y="1287"/>
                  </a:lnTo>
                  <a:lnTo>
                    <a:pt x="1478" y="1231"/>
                  </a:lnTo>
                  <a:lnTo>
                    <a:pt x="1428" y="1176"/>
                  </a:lnTo>
                  <a:lnTo>
                    <a:pt x="1376" y="1120"/>
                  </a:lnTo>
                  <a:lnTo>
                    <a:pt x="1326" y="1065"/>
                  </a:lnTo>
                  <a:lnTo>
                    <a:pt x="1274" y="1011"/>
                  </a:lnTo>
                  <a:lnTo>
                    <a:pt x="1224" y="956"/>
                  </a:lnTo>
                  <a:lnTo>
                    <a:pt x="1174" y="903"/>
                  </a:lnTo>
                  <a:lnTo>
                    <a:pt x="1196" y="883"/>
                  </a:lnTo>
                  <a:lnTo>
                    <a:pt x="1219" y="864"/>
                  </a:lnTo>
                  <a:lnTo>
                    <a:pt x="1241" y="847"/>
                  </a:lnTo>
                  <a:lnTo>
                    <a:pt x="1264" y="830"/>
                  </a:lnTo>
                  <a:lnTo>
                    <a:pt x="1287" y="815"/>
                  </a:lnTo>
                  <a:lnTo>
                    <a:pt x="1309" y="801"/>
                  </a:lnTo>
                  <a:lnTo>
                    <a:pt x="1331" y="789"/>
                  </a:lnTo>
                  <a:lnTo>
                    <a:pt x="1353" y="777"/>
                  </a:lnTo>
                  <a:lnTo>
                    <a:pt x="1375" y="768"/>
                  </a:lnTo>
                  <a:lnTo>
                    <a:pt x="1397" y="759"/>
                  </a:lnTo>
                  <a:lnTo>
                    <a:pt x="1420" y="751"/>
                  </a:lnTo>
                  <a:lnTo>
                    <a:pt x="1442" y="745"/>
                  </a:lnTo>
                  <a:lnTo>
                    <a:pt x="1463" y="740"/>
                  </a:lnTo>
                  <a:lnTo>
                    <a:pt x="1485" y="737"/>
                  </a:lnTo>
                  <a:lnTo>
                    <a:pt x="1506" y="734"/>
                  </a:lnTo>
                  <a:lnTo>
                    <a:pt x="1527" y="733"/>
                  </a:lnTo>
                  <a:lnTo>
                    <a:pt x="1571" y="732"/>
                  </a:lnTo>
                  <a:lnTo>
                    <a:pt x="1613" y="732"/>
                  </a:lnTo>
                  <a:lnTo>
                    <a:pt x="1655" y="734"/>
                  </a:lnTo>
                  <a:lnTo>
                    <a:pt x="1696" y="737"/>
                  </a:lnTo>
                  <a:lnTo>
                    <a:pt x="1737" y="742"/>
                  </a:lnTo>
                  <a:lnTo>
                    <a:pt x="1778" y="749"/>
                  </a:lnTo>
                  <a:lnTo>
                    <a:pt x="1817" y="757"/>
                  </a:lnTo>
                  <a:lnTo>
                    <a:pt x="1856" y="766"/>
                  </a:lnTo>
                  <a:lnTo>
                    <a:pt x="1897" y="776"/>
                  </a:lnTo>
                  <a:lnTo>
                    <a:pt x="1935" y="785"/>
                  </a:lnTo>
                  <a:lnTo>
                    <a:pt x="1972" y="794"/>
                  </a:lnTo>
                  <a:lnTo>
                    <a:pt x="2009" y="802"/>
                  </a:lnTo>
                  <a:lnTo>
                    <a:pt x="2046" y="810"/>
                  </a:lnTo>
                  <a:lnTo>
                    <a:pt x="2081" y="818"/>
                  </a:lnTo>
                  <a:lnTo>
                    <a:pt x="2116" y="825"/>
                  </a:lnTo>
                  <a:lnTo>
                    <a:pt x="2151" y="833"/>
                  </a:lnTo>
                  <a:lnTo>
                    <a:pt x="2167" y="836"/>
                  </a:lnTo>
                  <a:lnTo>
                    <a:pt x="2184" y="838"/>
                  </a:lnTo>
                  <a:lnTo>
                    <a:pt x="2200" y="839"/>
                  </a:lnTo>
                  <a:lnTo>
                    <a:pt x="2216" y="840"/>
                  </a:lnTo>
                  <a:lnTo>
                    <a:pt x="2231" y="839"/>
                  </a:lnTo>
                  <a:lnTo>
                    <a:pt x="2247" y="837"/>
                  </a:lnTo>
                  <a:lnTo>
                    <a:pt x="2263" y="835"/>
                  </a:lnTo>
                  <a:lnTo>
                    <a:pt x="2278" y="832"/>
                  </a:lnTo>
                  <a:lnTo>
                    <a:pt x="2292" y="827"/>
                  </a:lnTo>
                  <a:lnTo>
                    <a:pt x="2307" y="822"/>
                  </a:lnTo>
                  <a:lnTo>
                    <a:pt x="2321" y="816"/>
                  </a:lnTo>
                  <a:lnTo>
                    <a:pt x="2335" y="809"/>
                  </a:lnTo>
                  <a:lnTo>
                    <a:pt x="2348" y="801"/>
                  </a:lnTo>
                  <a:lnTo>
                    <a:pt x="2362" y="792"/>
                  </a:lnTo>
                  <a:lnTo>
                    <a:pt x="2375" y="783"/>
                  </a:lnTo>
                  <a:lnTo>
                    <a:pt x="2389" y="773"/>
                  </a:lnTo>
                  <a:lnTo>
                    <a:pt x="2402" y="761"/>
                  </a:lnTo>
                  <a:lnTo>
                    <a:pt x="2414" y="748"/>
                  </a:lnTo>
                  <a:lnTo>
                    <a:pt x="2426" y="735"/>
                  </a:lnTo>
                  <a:lnTo>
                    <a:pt x="2437" y="722"/>
                  </a:lnTo>
                  <a:lnTo>
                    <a:pt x="2447" y="709"/>
                  </a:lnTo>
                  <a:lnTo>
                    <a:pt x="2456" y="695"/>
                  </a:lnTo>
                  <a:lnTo>
                    <a:pt x="2465" y="680"/>
                  </a:lnTo>
                  <a:lnTo>
                    <a:pt x="2473" y="665"/>
                  </a:lnTo>
                  <a:lnTo>
                    <a:pt x="2480" y="649"/>
                  </a:lnTo>
                  <a:lnTo>
                    <a:pt x="2486" y="633"/>
                  </a:lnTo>
                  <a:lnTo>
                    <a:pt x="2491" y="617"/>
                  </a:lnTo>
                  <a:lnTo>
                    <a:pt x="2496" y="600"/>
                  </a:lnTo>
                  <a:lnTo>
                    <a:pt x="2500" y="584"/>
                  </a:lnTo>
                  <a:lnTo>
                    <a:pt x="2503" y="566"/>
                  </a:lnTo>
                  <a:lnTo>
                    <a:pt x="2507" y="549"/>
                  </a:lnTo>
                  <a:lnTo>
                    <a:pt x="2508" y="530"/>
                  </a:lnTo>
                  <a:lnTo>
                    <a:pt x="2508" y="512"/>
                  </a:lnTo>
                  <a:lnTo>
                    <a:pt x="2508" y="494"/>
                  </a:lnTo>
                  <a:lnTo>
                    <a:pt x="2505" y="474"/>
                  </a:lnTo>
                  <a:lnTo>
                    <a:pt x="2503" y="456"/>
                  </a:lnTo>
                  <a:lnTo>
                    <a:pt x="2499" y="438"/>
                  </a:lnTo>
                  <a:lnTo>
                    <a:pt x="2495" y="420"/>
                  </a:lnTo>
                  <a:lnTo>
                    <a:pt x="2489" y="402"/>
                  </a:lnTo>
                  <a:lnTo>
                    <a:pt x="2482" y="384"/>
                  </a:lnTo>
                  <a:lnTo>
                    <a:pt x="2475" y="366"/>
                  </a:lnTo>
                  <a:lnTo>
                    <a:pt x="2466" y="348"/>
                  </a:lnTo>
                  <a:lnTo>
                    <a:pt x="2456" y="330"/>
                  </a:lnTo>
                  <a:lnTo>
                    <a:pt x="2446" y="311"/>
                  </a:lnTo>
                  <a:lnTo>
                    <a:pt x="2434" y="293"/>
                  </a:lnTo>
                  <a:lnTo>
                    <a:pt x="2421" y="276"/>
                  </a:lnTo>
                  <a:lnTo>
                    <a:pt x="2407" y="258"/>
                  </a:lnTo>
                  <a:lnTo>
                    <a:pt x="2393" y="240"/>
                  </a:lnTo>
                  <a:lnTo>
                    <a:pt x="2372" y="218"/>
                  </a:lnTo>
                  <a:lnTo>
                    <a:pt x="2351" y="197"/>
                  </a:lnTo>
                  <a:lnTo>
                    <a:pt x="2330" y="177"/>
                  </a:lnTo>
                  <a:lnTo>
                    <a:pt x="2308" y="159"/>
                  </a:lnTo>
                  <a:lnTo>
                    <a:pt x="2286" y="140"/>
                  </a:lnTo>
                  <a:lnTo>
                    <a:pt x="2264" y="123"/>
                  </a:lnTo>
                  <a:lnTo>
                    <a:pt x="2240" y="108"/>
                  </a:lnTo>
                  <a:lnTo>
                    <a:pt x="2216" y="93"/>
                  </a:lnTo>
                  <a:lnTo>
                    <a:pt x="2192" y="80"/>
                  </a:lnTo>
                  <a:lnTo>
                    <a:pt x="2167" y="68"/>
                  </a:lnTo>
                  <a:lnTo>
                    <a:pt x="2142" y="57"/>
                  </a:lnTo>
                  <a:lnTo>
                    <a:pt x="2115" y="47"/>
                  </a:lnTo>
                  <a:lnTo>
                    <a:pt x="2088" y="38"/>
                  </a:lnTo>
                  <a:lnTo>
                    <a:pt x="2061" y="30"/>
                  </a:lnTo>
                  <a:lnTo>
                    <a:pt x="2033" y="23"/>
                  </a:lnTo>
                  <a:lnTo>
                    <a:pt x="2004" y="18"/>
                  </a:lnTo>
                  <a:lnTo>
                    <a:pt x="1976" y="13"/>
                  </a:lnTo>
                  <a:lnTo>
                    <a:pt x="1947" y="9"/>
                  </a:lnTo>
                  <a:lnTo>
                    <a:pt x="1919" y="6"/>
                  </a:lnTo>
                  <a:lnTo>
                    <a:pt x="1889" y="3"/>
                  </a:lnTo>
                  <a:lnTo>
                    <a:pt x="1861" y="2"/>
                  </a:lnTo>
                  <a:lnTo>
                    <a:pt x="1832" y="0"/>
                  </a:lnTo>
                  <a:lnTo>
                    <a:pt x="1803" y="0"/>
                  </a:lnTo>
                  <a:lnTo>
                    <a:pt x="1774" y="0"/>
                  </a:lnTo>
                  <a:lnTo>
                    <a:pt x="1744" y="1"/>
                  </a:lnTo>
                  <a:lnTo>
                    <a:pt x="1715" y="3"/>
                  </a:lnTo>
                  <a:lnTo>
                    <a:pt x="1685" y="5"/>
                  </a:lnTo>
                  <a:lnTo>
                    <a:pt x="1656" y="8"/>
                  </a:lnTo>
                  <a:lnTo>
                    <a:pt x="1625" y="12"/>
                  </a:lnTo>
                  <a:lnTo>
                    <a:pt x="1596" y="17"/>
                  </a:lnTo>
                  <a:lnTo>
                    <a:pt x="1566" y="22"/>
                  </a:lnTo>
                  <a:lnTo>
                    <a:pt x="1536" y="29"/>
                  </a:lnTo>
                  <a:lnTo>
                    <a:pt x="1505" y="36"/>
                  </a:lnTo>
                  <a:lnTo>
                    <a:pt x="1476" y="43"/>
                  </a:lnTo>
                  <a:lnTo>
                    <a:pt x="1447" y="51"/>
                  </a:lnTo>
                  <a:lnTo>
                    <a:pt x="1418" y="60"/>
                  </a:lnTo>
                  <a:lnTo>
                    <a:pt x="1388" y="69"/>
                  </a:lnTo>
                  <a:lnTo>
                    <a:pt x="1359" y="79"/>
                  </a:lnTo>
                  <a:lnTo>
                    <a:pt x="1331" y="89"/>
                  </a:lnTo>
                  <a:lnTo>
                    <a:pt x="1303" y="100"/>
                  </a:lnTo>
                  <a:lnTo>
                    <a:pt x="1274" y="112"/>
                  </a:lnTo>
                  <a:lnTo>
                    <a:pt x="1246" y="124"/>
                  </a:lnTo>
                  <a:lnTo>
                    <a:pt x="1218" y="136"/>
                  </a:lnTo>
                  <a:lnTo>
                    <a:pt x="1190" y="151"/>
                  </a:lnTo>
                  <a:lnTo>
                    <a:pt x="1163" y="164"/>
                  </a:lnTo>
                  <a:lnTo>
                    <a:pt x="1135" y="179"/>
                  </a:lnTo>
                  <a:lnTo>
                    <a:pt x="1108" y="194"/>
                  </a:lnTo>
                  <a:lnTo>
                    <a:pt x="1081" y="209"/>
                  </a:lnTo>
                  <a:lnTo>
                    <a:pt x="1028" y="241"/>
                  </a:lnTo>
                  <a:lnTo>
                    <a:pt x="978" y="272"/>
                  </a:lnTo>
                  <a:lnTo>
                    <a:pt x="932" y="304"/>
                  </a:lnTo>
                  <a:lnTo>
                    <a:pt x="886" y="337"/>
                  </a:lnTo>
                  <a:lnTo>
                    <a:pt x="845" y="369"/>
                  </a:lnTo>
                  <a:lnTo>
                    <a:pt x="806" y="401"/>
                  </a:lnTo>
                  <a:lnTo>
                    <a:pt x="769" y="432"/>
                  </a:lnTo>
                  <a:lnTo>
                    <a:pt x="736" y="464"/>
                  </a:lnTo>
                  <a:lnTo>
                    <a:pt x="712" y="441"/>
                  </a:lnTo>
                  <a:lnTo>
                    <a:pt x="687" y="418"/>
                  </a:lnTo>
                  <a:lnTo>
                    <a:pt x="662" y="395"/>
                  </a:lnTo>
                  <a:lnTo>
                    <a:pt x="637" y="372"/>
                  </a:lnTo>
                  <a:lnTo>
                    <a:pt x="623" y="360"/>
                  </a:lnTo>
                  <a:lnTo>
                    <a:pt x="609" y="350"/>
                  </a:lnTo>
                  <a:lnTo>
                    <a:pt x="593" y="342"/>
                  </a:lnTo>
                  <a:lnTo>
                    <a:pt x="577" y="335"/>
                  </a:lnTo>
                  <a:lnTo>
                    <a:pt x="559" y="329"/>
                  </a:lnTo>
                  <a:lnTo>
                    <a:pt x="540" y="325"/>
                  </a:lnTo>
                  <a:lnTo>
                    <a:pt x="521" y="323"/>
                  </a:lnTo>
                  <a:lnTo>
                    <a:pt x="502" y="323"/>
                  </a:lnTo>
                  <a:lnTo>
                    <a:pt x="491" y="323"/>
                  </a:lnTo>
                  <a:lnTo>
                    <a:pt x="482" y="324"/>
                  </a:lnTo>
                  <a:lnTo>
                    <a:pt x="472" y="325"/>
                  </a:lnTo>
                  <a:lnTo>
                    <a:pt x="462" y="327"/>
                  </a:lnTo>
                  <a:lnTo>
                    <a:pt x="453" y="329"/>
                  </a:lnTo>
                  <a:lnTo>
                    <a:pt x="444" y="332"/>
                  </a:lnTo>
                  <a:lnTo>
                    <a:pt x="435" y="336"/>
                  </a:lnTo>
                  <a:lnTo>
                    <a:pt x="426" y="340"/>
                  </a:lnTo>
                  <a:lnTo>
                    <a:pt x="417" y="344"/>
                  </a:lnTo>
                  <a:lnTo>
                    <a:pt x="409" y="349"/>
                  </a:lnTo>
                  <a:lnTo>
                    <a:pt x="401" y="355"/>
                  </a:lnTo>
                  <a:lnTo>
                    <a:pt x="393" y="360"/>
                  </a:lnTo>
                  <a:lnTo>
                    <a:pt x="378" y="374"/>
                  </a:lnTo>
                  <a:lnTo>
                    <a:pt x="364" y="389"/>
                  </a:lnTo>
                  <a:lnTo>
                    <a:pt x="351" y="405"/>
                  </a:lnTo>
                  <a:lnTo>
                    <a:pt x="341" y="422"/>
                  </a:lnTo>
                  <a:lnTo>
                    <a:pt x="332" y="439"/>
                  </a:lnTo>
                  <a:lnTo>
                    <a:pt x="325" y="457"/>
                  </a:lnTo>
                  <a:lnTo>
                    <a:pt x="322" y="466"/>
                  </a:lnTo>
                  <a:lnTo>
                    <a:pt x="320" y="475"/>
                  </a:lnTo>
                  <a:lnTo>
                    <a:pt x="318" y="484"/>
                  </a:lnTo>
                  <a:lnTo>
                    <a:pt x="317" y="494"/>
                  </a:lnTo>
                  <a:lnTo>
                    <a:pt x="317" y="504"/>
                  </a:lnTo>
                  <a:lnTo>
                    <a:pt x="316" y="513"/>
                  </a:lnTo>
                  <a:lnTo>
                    <a:pt x="317" y="523"/>
                  </a:lnTo>
                  <a:lnTo>
                    <a:pt x="318" y="533"/>
                  </a:lnTo>
                  <a:lnTo>
                    <a:pt x="321" y="552"/>
                  </a:lnTo>
                  <a:lnTo>
                    <a:pt x="325" y="570"/>
                  </a:lnTo>
                  <a:lnTo>
                    <a:pt x="330" y="588"/>
                  </a:lnTo>
                  <a:lnTo>
                    <a:pt x="338" y="604"/>
                  </a:lnTo>
                  <a:lnTo>
                    <a:pt x="346" y="619"/>
                  </a:lnTo>
                  <a:lnTo>
                    <a:pt x="357" y="633"/>
                  </a:lnTo>
                  <a:lnTo>
                    <a:pt x="368" y="646"/>
                  </a:lnTo>
                  <a:lnTo>
                    <a:pt x="381" y="660"/>
                  </a:lnTo>
                  <a:lnTo>
                    <a:pt x="406" y="680"/>
                  </a:lnTo>
                  <a:lnTo>
                    <a:pt x="431" y="700"/>
                  </a:lnTo>
                  <a:lnTo>
                    <a:pt x="456" y="721"/>
                  </a:lnTo>
                  <a:lnTo>
                    <a:pt x="480" y="743"/>
                  </a:lnTo>
                  <a:lnTo>
                    <a:pt x="456" y="772"/>
                  </a:lnTo>
                  <a:lnTo>
                    <a:pt x="433" y="801"/>
                  </a:lnTo>
                  <a:lnTo>
                    <a:pt x="410" y="832"/>
                  </a:lnTo>
                  <a:lnTo>
                    <a:pt x="387" y="862"/>
                  </a:lnTo>
                  <a:lnTo>
                    <a:pt x="366" y="893"/>
                  </a:lnTo>
                  <a:lnTo>
                    <a:pt x="345" y="924"/>
                  </a:lnTo>
                  <a:lnTo>
                    <a:pt x="324" y="955"/>
                  </a:lnTo>
                  <a:lnTo>
                    <a:pt x="303" y="986"/>
                  </a:lnTo>
                  <a:lnTo>
                    <a:pt x="284" y="1019"/>
                  </a:lnTo>
                  <a:lnTo>
                    <a:pt x="265" y="1051"/>
                  </a:lnTo>
                  <a:lnTo>
                    <a:pt x="246" y="1084"/>
                  </a:lnTo>
                  <a:lnTo>
                    <a:pt x="228" y="1116"/>
                  </a:lnTo>
                  <a:lnTo>
                    <a:pt x="211" y="1149"/>
                  </a:lnTo>
                  <a:lnTo>
                    <a:pt x="194" y="1183"/>
                  </a:lnTo>
                  <a:lnTo>
                    <a:pt x="177" y="1217"/>
                  </a:lnTo>
                  <a:lnTo>
                    <a:pt x="161" y="1251"/>
                  </a:lnTo>
                  <a:lnTo>
                    <a:pt x="146" y="1284"/>
                  </a:lnTo>
                  <a:lnTo>
                    <a:pt x="131" y="1318"/>
                  </a:lnTo>
                  <a:lnTo>
                    <a:pt x="117" y="1353"/>
                  </a:lnTo>
                  <a:lnTo>
                    <a:pt x="104" y="1387"/>
                  </a:lnTo>
                  <a:lnTo>
                    <a:pt x="92" y="1420"/>
                  </a:lnTo>
                  <a:lnTo>
                    <a:pt x="81" y="1454"/>
                  </a:lnTo>
                  <a:lnTo>
                    <a:pt x="70" y="1487"/>
                  </a:lnTo>
                  <a:lnTo>
                    <a:pt x="59" y="1521"/>
                  </a:lnTo>
                  <a:lnTo>
                    <a:pt x="50" y="1555"/>
                  </a:lnTo>
                  <a:lnTo>
                    <a:pt x="42" y="1588"/>
                  </a:lnTo>
                  <a:lnTo>
                    <a:pt x="34" y="1621"/>
                  </a:lnTo>
                  <a:lnTo>
                    <a:pt x="27" y="1654"/>
                  </a:lnTo>
                  <a:lnTo>
                    <a:pt x="21" y="1688"/>
                  </a:lnTo>
                  <a:lnTo>
                    <a:pt x="16" y="1721"/>
                  </a:lnTo>
                  <a:lnTo>
                    <a:pt x="11" y="1754"/>
                  </a:lnTo>
                  <a:lnTo>
                    <a:pt x="8" y="1787"/>
                  </a:lnTo>
                  <a:lnTo>
                    <a:pt x="4" y="1819"/>
                  </a:lnTo>
                  <a:lnTo>
                    <a:pt x="2" y="1852"/>
                  </a:lnTo>
                  <a:lnTo>
                    <a:pt x="1" y="1884"/>
                  </a:lnTo>
                  <a:lnTo>
                    <a:pt x="0" y="1916"/>
                  </a:lnTo>
                  <a:lnTo>
                    <a:pt x="0" y="1947"/>
                  </a:lnTo>
                  <a:lnTo>
                    <a:pt x="1" y="1978"/>
                  </a:lnTo>
                  <a:lnTo>
                    <a:pt x="4" y="2009"/>
                  </a:lnTo>
                  <a:lnTo>
                    <a:pt x="6" y="2040"/>
                  </a:lnTo>
                  <a:lnTo>
                    <a:pt x="10" y="2070"/>
                  </a:lnTo>
                  <a:lnTo>
                    <a:pt x="15" y="2100"/>
                  </a:lnTo>
                  <a:lnTo>
                    <a:pt x="20" y="2129"/>
                  </a:lnTo>
                  <a:lnTo>
                    <a:pt x="26" y="2158"/>
                  </a:lnTo>
                  <a:lnTo>
                    <a:pt x="34" y="2188"/>
                  </a:lnTo>
                  <a:lnTo>
                    <a:pt x="42" y="2217"/>
                  </a:lnTo>
                  <a:lnTo>
                    <a:pt x="50" y="2245"/>
                  </a:lnTo>
                  <a:lnTo>
                    <a:pt x="60" y="2273"/>
                  </a:lnTo>
                  <a:lnTo>
                    <a:pt x="72" y="2301"/>
                  </a:lnTo>
                  <a:lnTo>
                    <a:pt x="83" y="2328"/>
                  </a:lnTo>
                  <a:lnTo>
                    <a:pt x="96" y="2356"/>
                  </a:lnTo>
                  <a:lnTo>
                    <a:pt x="110" y="2382"/>
                  </a:lnTo>
                  <a:lnTo>
                    <a:pt x="125" y="2408"/>
                  </a:lnTo>
                  <a:lnTo>
                    <a:pt x="141" y="2433"/>
                  </a:lnTo>
                  <a:lnTo>
                    <a:pt x="158" y="2459"/>
                  </a:lnTo>
                  <a:lnTo>
                    <a:pt x="176" y="2483"/>
                  </a:lnTo>
                  <a:lnTo>
                    <a:pt x="196" y="2508"/>
                  </a:lnTo>
                  <a:lnTo>
                    <a:pt x="216" y="2533"/>
                  </a:lnTo>
                  <a:lnTo>
                    <a:pt x="237" y="2556"/>
                  </a:lnTo>
                  <a:lnTo>
                    <a:pt x="259" y="2580"/>
                  </a:lnTo>
                  <a:lnTo>
                    <a:pt x="282" y="2603"/>
                  </a:lnTo>
                  <a:lnTo>
                    <a:pt x="308" y="2626"/>
                  </a:lnTo>
                  <a:lnTo>
                    <a:pt x="333" y="2649"/>
                  </a:lnTo>
                  <a:lnTo>
                    <a:pt x="360" y="2672"/>
                  </a:lnTo>
                  <a:lnTo>
                    <a:pt x="382" y="2690"/>
                  </a:lnTo>
                  <a:lnTo>
                    <a:pt x="405" y="2708"/>
                  </a:lnTo>
                  <a:lnTo>
                    <a:pt x="427" y="2724"/>
                  </a:lnTo>
                  <a:lnTo>
                    <a:pt x="451" y="2740"/>
                  </a:lnTo>
                  <a:lnTo>
                    <a:pt x="474" y="2756"/>
                  </a:lnTo>
                  <a:lnTo>
                    <a:pt x="498" y="2771"/>
                  </a:lnTo>
                  <a:lnTo>
                    <a:pt x="522" y="2785"/>
                  </a:lnTo>
                  <a:lnTo>
                    <a:pt x="545" y="2798"/>
                  </a:lnTo>
                  <a:lnTo>
                    <a:pt x="571" y="2811"/>
                  </a:lnTo>
                  <a:lnTo>
                    <a:pt x="595" y="2823"/>
                  </a:lnTo>
                  <a:lnTo>
                    <a:pt x="620" y="2834"/>
                  </a:lnTo>
                  <a:lnTo>
                    <a:pt x="645" y="2845"/>
                  </a:lnTo>
                  <a:lnTo>
                    <a:pt x="670" y="2856"/>
                  </a:lnTo>
                  <a:lnTo>
                    <a:pt x="696" y="2866"/>
                  </a:lnTo>
                  <a:lnTo>
                    <a:pt x="722" y="2875"/>
                  </a:lnTo>
                  <a:lnTo>
                    <a:pt x="748" y="2883"/>
                  </a:lnTo>
                  <a:lnTo>
                    <a:pt x="774" y="2891"/>
                  </a:lnTo>
                  <a:lnTo>
                    <a:pt x="802" y="2898"/>
                  </a:lnTo>
                  <a:lnTo>
                    <a:pt x="828" y="2905"/>
                  </a:lnTo>
                  <a:lnTo>
                    <a:pt x="855" y="2910"/>
                  </a:lnTo>
                  <a:lnTo>
                    <a:pt x="882" y="2916"/>
                  </a:lnTo>
                  <a:lnTo>
                    <a:pt x="910" y="2920"/>
                  </a:lnTo>
                  <a:lnTo>
                    <a:pt x="938" y="2924"/>
                  </a:lnTo>
                  <a:lnTo>
                    <a:pt x="966" y="2928"/>
                  </a:lnTo>
                  <a:lnTo>
                    <a:pt x="995" y="2931"/>
                  </a:lnTo>
                  <a:lnTo>
                    <a:pt x="1023" y="2933"/>
                  </a:lnTo>
                  <a:lnTo>
                    <a:pt x="1053" y="2934"/>
                  </a:lnTo>
                  <a:lnTo>
                    <a:pt x="1082" y="2935"/>
                  </a:lnTo>
                  <a:lnTo>
                    <a:pt x="1111" y="2936"/>
                  </a:lnTo>
                  <a:lnTo>
                    <a:pt x="1140" y="2935"/>
                  </a:lnTo>
                  <a:lnTo>
                    <a:pt x="1171" y="2935"/>
                  </a:lnTo>
                  <a:lnTo>
                    <a:pt x="1201" y="2933"/>
                  </a:lnTo>
                  <a:lnTo>
                    <a:pt x="1261" y="2929"/>
                  </a:lnTo>
                  <a:lnTo>
                    <a:pt x="1323" y="2922"/>
                  </a:lnTo>
                  <a:lnTo>
                    <a:pt x="1385" y="2914"/>
                  </a:lnTo>
                  <a:lnTo>
                    <a:pt x="1448" y="2904"/>
                  </a:lnTo>
                  <a:lnTo>
                    <a:pt x="1511" y="2892"/>
                  </a:lnTo>
                  <a:lnTo>
                    <a:pt x="1575" y="2878"/>
                  </a:lnTo>
                  <a:lnTo>
                    <a:pt x="1639" y="2862"/>
                  </a:lnTo>
                  <a:lnTo>
                    <a:pt x="1705" y="2842"/>
                  </a:lnTo>
                  <a:lnTo>
                    <a:pt x="1770" y="2822"/>
                  </a:lnTo>
                  <a:lnTo>
                    <a:pt x="1836" y="2800"/>
                  </a:lnTo>
                  <a:lnTo>
                    <a:pt x="1904" y="2775"/>
                  </a:lnTo>
                  <a:lnTo>
                    <a:pt x="1971" y="2748"/>
                  </a:lnTo>
                  <a:lnTo>
                    <a:pt x="2039" y="2719"/>
                  </a:lnTo>
                  <a:lnTo>
                    <a:pt x="2107" y="2687"/>
                  </a:lnTo>
                  <a:lnTo>
                    <a:pt x="2177" y="2653"/>
                  </a:lnTo>
                  <a:lnTo>
                    <a:pt x="2246" y="2617"/>
                  </a:lnTo>
                  <a:lnTo>
                    <a:pt x="2302" y="2681"/>
                  </a:lnTo>
                  <a:lnTo>
                    <a:pt x="2358" y="2745"/>
                  </a:lnTo>
                  <a:lnTo>
                    <a:pt x="2414" y="2809"/>
                  </a:lnTo>
                  <a:lnTo>
                    <a:pt x="2470" y="2874"/>
                  </a:lnTo>
                  <a:lnTo>
                    <a:pt x="2526" y="2937"/>
                  </a:lnTo>
                  <a:lnTo>
                    <a:pt x="2582" y="3000"/>
                  </a:lnTo>
                  <a:lnTo>
                    <a:pt x="2638" y="3064"/>
                  </a:lnTo>
                  <a:lnTo>
                    <a:pt x="2693" y="3127"/>
                  </a:lnTo>
                  <a:lnTo>
                    <a:pt x="2749" y="3189"/>
                  </a:lnTo>
                  <a:lnTo>
                    <a:pt x="2805" y="3252"/>
                  </a:lnTo>
                  <a:lnTo>
                    <a:pt x="2861" y="3314"/>
                  </a:lnTo>
                  <a:lnTo>
                    <a:pt x="2917" y="3376"/>
                  </a:lnTo>
                  <a:lnTo>
                    <a:pt x="2973" y="3437"/>
                  </a:lnTo>
                  <a:lnTo>
                    <a:pt x="3029" y="3497"/>
                  </a:lnTo>
                  <a:lnTo>
                    <a:pt x="3085" y="3558"/>
                  </a:lnTo>
                  <a:lnTo>
                    <a:pt x="3141" y="3617"/>
                  </a:lnTo>
                  <a:lnTo>
                    <a:pt x="3118" y="3636"/>
                  </a:lnTo>
                  <a:lnTo>
                    <a:pt x="3094" y="3655"/>
                  </a:lnTo>
                  <a:lnTo>
                    <a:pt x="3071" y="3672"/>
                  </a:lnTo>
                  <a:lnTo>
                    <a:pt x="3049" y="3688"/>
                  </a:lnTo>
                  <a:lnTo>
                    <a:pt x="3027" y="3703"/>
                  </a:lnTo>
                  <a:lnTo>
                    <a:pt x="3006" y="3718"/>
                  </a:lnTo>
                  <a:lnTo>
                    <a:pt x="2984" y="3731"/>
                  </a:lnTo>
                  <a:lnTo>
                    <a:pt x="2963" y="3743"/>
                  </a:lnTo>
                  <a:lnTo>
                    <a:pt x="2942" y="3754"/>
                  </a:lnTo>
                  <a:lnTo>
                    <a:pt x="2922" y="3764"/>
                  </a:lnTo>
                  <a:lnTo>
                    <a:pt x="2902" y="3773"/>
                  </a:lnTo>
                  <a:lnTo>
                    <a:pt x="2883" y="3781"/>
                  </a:lnTo>
                  <a:lnTo>
                    <a:pt x="2863" y="3788"/>
                  </a:lnTo>
                  <a:lnTo>
                    <a:pt x="2844" y="3794"/>
                  </a:lnTo>
                  <a:lnTo>
                    <a:pt x="2825" y="3799"/>
                  </a:lnTo>
                  <a:lnTo>
                    <a:pt x="2807" y="3804"/>
                  </a:lnTo>
                  <a:lnTo>
                    <a:pt x="2771" y="3810"/>
                  </a:lnTo>
                  <a:lnTo>
                    <a:pt x="2735" y="3815"/>
                  </a:lnTo>
                  <a:lnTo>
                    <a:pt x="2718" y="3816"/>
                  </a:lnTo>
                  <a:lnTo>
                    <a:pt x="2701" y="3817"/>
                  </a:lnTo>
                  <a:lnTo>
                    <a:pt x="2685" y="3818"/>
                  </a:lnTo>
                  <a:lnTo>
                    <a:pt x="2668" y="3818"/>
                  </a:lnTo>
                  <a:lnTo>
                    <a:pt x="2652" y="3817"/>
                  </a:lnTo>
                  <a:lnTo>
                    <a:pt x="2636" y="3816"/>
                  </a:lnTo>
                  <a:lnTo>
                    <a:pt x="2620" y="3814"/>
                  </a:lnTo>
                  <a:lnTo>
                    <a:pt x="2604" y="3812"/>
                  </a:lnTo>
                  <a:lnTo>
                    <a:pt x="2589" y="3809"/>
                  </a:lnTo>
                  <a:lnTo>
                    <a:pt x="2574" y="3806"/>
                  </a:lnTo>
                  <a:lnTo>
                    <a:pt x="2559" y="3803"/>
                  </a:lnTo>
                  <a:lnTo>
                    <a:pt x="2544" y="3799"/>
                  </a:lnTo>
                  <a:lnTo>
                    <a:pt x="2515" y="3789"/>
                  </a:lnTo>
                  <a:lnTo>
                    <a:pt x="2486" y="3778"/>
                  </a:lnTo>
                  <a:lnTo>
                    <a:pt x="2458" y="3767"/>
                  </a:lnTo>
                  <a:lnTo>
                    <a:pt x="2430" y="3754"/>
                  </a:lnTo>
                  <a:lnTo>
                    <a:pt x="2403" y="3740"/>
                  </a:lnTo>
                  <a:lnTo>
                    <a:pt x="2376" y="3726"/>
                  </a:lnTo>
                  <a:lnTo>
                    <a:pt x="2351" y="3710"/>
                  </a:lnTo>
                  <a:lnTo>
                    <a:pt x="2325" y="3693"/>
                  </a:lnTo>
                  <a:lnTo>
                    <a:pt x="2301" y="3676"/>
                  </a:lnTo>
                  <a:lnTo>
                    <a:pt x="2276" y="3660"/>
                  </a:lnTo>
                  <a:lnTo>
                    <a:pt x="2250" y="3644"/>
                  </a:lnTo>
                  <a:lnTo>
                    <a:pt x="2225" y="3629"/>
                  </a:lnTo>
                  <a:lnTo>
                    <a:pt x="2201" y="3615"/>
                  </a:lnTo>
                  <a:lnTo>
                    <a:pt x="2176" y="3601"/>
                  </a:lnTo>
                  <a:lnTo>
                    <a:pt x="2152" y="3588"/>
                  </a:lnTo>
                  <a:lnTo>
                    <a:pt x="2126" y="3576"/>
                  </a:lnTo>
                  <a:lnTo>
                    <a:pt x="2102" y="3565"/>
                  </a:lnTo>
                  <a:lnTo>
                    <a:pt x="2077" y="3555"/>
                  </a:lnTo>
                  <a:lnTo>
                    <a:pt x="2053" y="3546"/>
                  </a:lnTo>
                  <a:lnTo>
                    <a:pt x="2028" y="3539"/>
                  </a:lnTo>
                  <a:lnTo>
                    <a:pt x="2002" y="3532"/>
                  </a:lnTo>
                  <a:lnTo>
                    <a:pt x="1977" y="3528"/>
                  </a:lnTo>
                  <a:lnTo>
                    <a:pt x="1951" y="3525"/>
                  </a:lnTo>
                  <a:lnTo>
                    <a:pt x="1926" y="3524"/>
                  </a:lnTo>
                  <a:lnTo>
                    <a:pt x="1913" y="3524"/>
                  </a:lnTo>
                  <a:lnTo>
                    <a:pt x="1900" y="3525"/>
                  </a:lnTo>
                  <a:lnTo>
                    <a:pt x="1886" y="3527"/>
                  </a:lnTo>
                  <a:lnTo>
                    <a:pt x="1873" y="3530"/>
                  </a:lnTo>
                  <a:lnTo>
                    <a:pt x="1859" y="3533"/>
                  </a:lnTo>
                  <a:lnTo>
                    <a:pt x="1846" y="3537"/>
                  </a:lnTo>
                  <a:lnTo>
                    <a:pt x="1832" y="3543"/>
                  </a:lnTo>
                  <a:lnTo>
                    <a:pt x="1819" y="3549"/>
                  </a:lnTo>
                  <a:lnTo>
                    <a:pt x="1805" y="3556"/>
                  </a:lnTo>
                  <a:lnTo>
                    <a:pt x="1791" y="3563"/>
                  </a:lnTo>
                  <a:lnTo>
                    <a:pt x="1777" y="3572"/>
                  </a:lnTo>
                  <a:lnTo>
                    <a:pt x="1762" y="3581"/>
                  </a:lnTo>
                  <a:lnTo>
                    <a:pt x="1747" y="3591"/>
                  </a:lnTo>
                  <a:lnTo>
                    <a:pt x="1733" y="3601"/>
                  </a:lnTo>
                  <a:lnTo>
                    <a:pt x="1718" y="3613"/>
                  </a:lnTo>
                  <a:lnTo>
                    <a:pt x="1703" y="3625"/>
                  </a:lnTo>
                  <a:lnTo>
                    <a:pt x="1688" y="3639"/>
                  </a:lnTo>
                  <a:lnTo>
                    <a:pt x="1674" y="3653"/>
                  </a:lnTo>
                  <a:lnTo>
                    <a:pt x="1661" y="3667"/>
                  </a:lnTo>
                  <a:lnTo>
                    <a:pt x="1648" y="3681"/>
                  </a:lnTo>
                  <a:lnTo>
                    <a:pt x="1637" y="3696"/>
                  </a:lnTo>
                  <a:lnTo>
                    <a:pt x="1627" y="3712"/>
                  </a:lnTo>
                  <a:lnTo>
                    <a:pt x="1618" y="3727"/>
                  </a:lnTo>
                  <a:lnTo>
                    <a:pt x="1610" y="3742"/>
                  </a:lnTo>
                  <a:lnTo>
                    <a:pt x="1603" y="3758"/>
                  </a:lnTo>
                  <a:lnTo>
                    <a:pt x="1596" y="3774"/>
                  </a:lnTo>
                  <a:lnTo>
                    <a:pt x="1591" y="3790"/>
                  </a:lnTo>
                  <a:lnTo>
                    <a:pt x="1587" y="3806"/>
                  </a:lnTo>
                  <a:lnTo>
                    <a:pt x="1583" y="3823"/>
                  </a:lnTo>
                  <a:lnTo>
                    <a:pt x="1581" y="3840"/>
                  </a:lnTo>
                  <a:lnTo>
                    <a:pt x="1580" y="3857"/>
                  </a:lnTo>
                  <a:lnTo>
                    <a:pt x="1579" y="3875"/>
                  </a:lnTo>
                  <a:lnTo>
                    <a:pt x="1580" y="3893"/>
                  </a:lnTo>
                  <a:lnTo>
                    <a:pt x="1581" y="3911"/>
                  </a:lnTo>
                  <a:lnTo>
                    <a:pt x="1584" y="3928"/>
                  </a:lnTo>
                  <a:lnTo>
                    <a:pt x="1587" y="3946"/>
                  </a:lnTo>
                  <a:lnTo>
                    <a:pt x="1592" y="3963"/>
                  </a:lnTo>
                  <a:lnTo>
                    <a:pt x="1597" y="3981"/>
                  </a:lnTo>
                  <a:lnTo>
                    <a:pt x="1604" y="3998"/>
                  </a:lnTo>
                  <a:lnTo>
                    <a:pt x="1611" y="4016"/>
                  </a:lnTo>
                  <a:lnTo>
                    <a:pt x="1619" y="4034"/>
                  </a:lnTo>
                  <a:lnTo>
                    <a:pt x="1629" y="4053"/>
                  </a:lnTo>
                  <a:lnTo>
                    <a:pt x="1639" y="4071"/>
                  </a:lnTo>
                  <a:lnTo>
                    <a:pt x="1652" y="4088"/>
                  </a:lnTo>
                  <a:lnTo>
                    <a:pt x="1664" y="4106"/>
                  </a:lnTo>
                  <a:lnTo>
                    <a:pt x="1677" y="4124"/>
                  </a:lnTo>
                  <a:lnTo>
                    <a:pt x="1692" y="4142"/>
                  </a:lnTo>
                  <a:lnTo>
                    <a:pt x="1707" y="4160"/>
                  </a:lnTo>
                  <a:lnTo>
                    <a:pt x="1723" y="4178"/>
                  </a:lnTo>
                  <a:lnTo>
                    <a:pt x="1740" y="4195"/>
                  </a:lnTo>
                  <a:lnTo>
                    <a:pt x="1757" y="4212"/>
                  </a:lnTo>
                  <a:lnTo>
                    <a:pt x="1776" y="4230"/>
                  </a:lnTo>
                  <a:lnTo>
                    <a:pt x="1795" y="4246"/>
                  </a:lnTo>
                  <a:lnTo>
                    <a:pt x="1814" y="4262"/>
                  </a:lnTo>
                  <a:lnTo>
                    <a:pt x="1834" y="4277"/>
                  </a:lnTo>
                  <a:lnTo>
                    <a:pt x="1854" y="4293"/>
                  </a:lnTo>
                  <a:lnTo>
                    <a:pt x="1875" y="4307"/>
                  </a:lnTo>
                  <a:lnTo>
                    <a:pt x="1898" y="4322"/>
                  </a:lnTo>
                  <a:lnTo>
                    <a:pt x="1920" y="4336"/>
                  </a:lnTo>
                  <a:lnTo>
                    <a:pt x="1942" y="4349"/>
                  </a:lnTo>
                  <a:lnTo>
                    <a:pt x="1965" y="4363"/>
                  </a:lnTo>
                  <a:lnTo>
                    <a:pt x="1989" y="4375"/>
                  </a:lnTo>
                  <a:lnTo>
                    <a:pt x="2013" y="4389"/>
                  </a:lnTo>
                  <a:lnTo>
                    <a:pt x="2039" y="4401"/>
                  </a:lnTo>
                  <a:lnTo>
                    <a:pt x="2064" y="4413"/>
                  </a:lnTo>
                  <a:lnTo>
                    <a:pt x="2090" y="4424"/>
                  </a:lnTo>
                  <a:lnTo>
                    <a:pt x="2116" y="4434"/>
                  </a:lnTo>
                  <a:lnTo>
                    <a:pt x="2144" y="4444"/>
                  </a:lnTo>
                  <a:lnTo>
                    <a:pt x="2170" y="4454"/>
                  </a:lnTo>
                  <a:lnTo>
                    <a:pt x="2198" y="4462"/>
                  </a:lnTo>
                  <a:lnTo>
                    <a:pt x="2225" y="4471"/>
                  </a:lnTo>
                  <a:lnTo>
                    <a:pt x="2253" y="4478"/>
                  </a:lnTo>
                  <a:lnTo>
                    <a:pt x="2283" y="4485"/>
                  </a:lnTo>
                  <a:lnTo>
                    <a:pt x="2311" y="4491"/>
                  </a:lnTo>
                  <a:lnTo>
                    <a:pt x="2340" y="4497"/>
                  </a:lnTo>
                  <a:lnTo>
                    <a:pt x="2370" y="4502"/>
                  </a:lnTo>
                  <a:lnTo>
                    <a:pt x="2401" y="4506"/>
                  </a:lnTo>
                  <a:lnTo>
                    <a:pt x="2431" y="4510"/>
                  </a:lnTo>
                  <a:lnTo>
                    <a:pt x="2462" y="4513"/>
                  </a:lnTo>
                  <a:lnTo>
                    <a:pt x="2493" y="4516"/>
                  </a:lnTo>
                  <a:lnTo>
                    <a:pt x="2525" y="4517"/>
                  </a:lnTo>
                  <a:lnTo>
                    <a:pt x="2556" y="4518"/>
                  </a:lnTo>
                  <a:lnTo>
                    <a:pt x="2588" y="4518"/>
                  </a:lnTo>
                  <a:lnTo>
                    <a:pt x="2620" y="4517"/>
                  </a:lnTo>
                  <a:lnTo>
                    <a:pt x="2653" y="4515"/>
                  </a:lnTo>
                  <a:lnTo>
                    <a:pt x="2685" y="4513"/>
                  </a:lnTo>
                  <a:lnTo>
                    <a:pt x="2717" y="4509"/>
                  </a:lnTo>
                  <a:lnTo>
                    <a:pt x="2751" y="4504"/>
                  </a:lnTo>
                  <a:lnTo>
                    <a:pt x="2784" y="4499"/>
                  </a:lnTo>
                  <a:lnTo>
                    <a:pt x="2817" y="4492"/>
                  </a:lnTo>
                  <a:lnTo>
                    <a:pt x="2850" y="4485"/>
                  </a:lnTo>
                  <a:lnTo>
                    <a:pt x="2885" y="4477"/>
                  </a:lnTo>
                  <a:lnTo>
                    <a:pt x="2919" y="4467"/>
                  </a:lnTo>
                  <a:lnTo>
                    <a:pt x="2953" y="4457"/>
                  </a:lnTo>
                  <a:lnTo>
                    <a:pt x="2987" y="4446"/>
                  </a:lnTo>
                  <a:lnTo>
                    <a:pt x="3023" y="4434"/>
                  </a:lnTo>
                  <a:lnTo>
                    <a:pt x="3057" y="4420"/>
                  </a:lnTo>
                  <a:lnTo>
                    <a:pt x="3092" y="4406"/>
                  </a:lnTo>
                  <a:lnTo>
                    <a:pt x="3128" y="4390"/>
                  </a:lnTo>
                  <a:lnTo>
                    <a:pt x="3162" y="4372"/>
                  </a:lnTo>
                  <a:lnTo>
                    <a:pt x="3197" y="4353"/>
                  </a:lnTo>
                  <a:lnTo>
                    <a:pt x="3231" y="4333"/>
                  </a:lnTo>
                  <a:lnTo>
                    <a:pt x="3267" y="4312"/>
                  </a:lnTo>
                  <a:lnTo>
                    <a:pt x="3301" y="4290"/>
                  </a:lnTo>
                  <a:lnTo>
                    <a:pt x="3336" y="4266"/>
                  </a:lnTo>
                  <a:lnTo>
                    <a:pt x="3371" y="4241"/>
                  </a:lnTo>
                  <a:lnTo>
                    <a:pt x="3405" y="4213"/>
                  </a:lnTo>
                  <a:lnTo>
                    <a:pt x="3440" y="4185"/>
                  </a:lnTo>
                  <a:lnTo>
                    <a:pt x="3474" y="4156"/>
                  </a:lnTo>
                  <a:lnTo>
                    <a:pt x="3509" y="4126"/>
                  </a:lnTo>
                  <a:lnTo>
                    <a:pt x="3543" y="4094"/>
                  </a:lnTo>
                  <a:lnTo>
                    <a:pt x="3576" y="4060"/>
                  </a:lnTo>
                  <a:lnTo>
                    <a:pt x="3610" y="4092"/>
                  </a:lnTo>
                  <a:lnTo>
                    <a:pt x="3643" y="4123"/>
                  </a:lnTo>
                  <a:lnTo>
                    <a:pt x="3676" y="4154"/>
                  </a:lnTo>
                  <a:lnTo>
                    <a:pt x="3709" y="4185"/>
                  </a:lnTo>
                  <a:lnTo>
                    <a:pt x="3743" y="4215"/>
                  </a:lnTo>
                  <a:lnTo>
                    <a:pt x="3776" y="4246"/>
                  </a:lnTo>
                  <a:lnTo>
                    <a:pt x="3808" y="4276"/>
                  </a:lnTo>
                  <a:lnTo>
                    <a:pt x="3841" y="4306"/>
                  </a:lnTo>
                  <a:lnTo>
                    <a:pt x="3856" y="4317"/>
                  </a:lnTo>
                  <a:lnTo>
                    <a:pt x="3872" y="4326"/>
                  </a:lnTo>
                  <a:lnTo>
                    <a:pt x="3887" y="4335"/>
                  </a:lnTo>
                  <a:lnTo>
                    <a:pt x="3904" y="4341"/>
                  </a:lnTo>
                  <a:lnTo>
                    <a:pt x="3921" y="4346"/>
                  </a:lnTo>
                  <a:lnTo>
                    <a:pt x="3940" y="4349"/>
                  </a:lnTo>
                  <a:lnTo>
                    <a:pt x="3959" y="4350"/>
                  </a:lnTo>
                  <a:lnTo>
                    <a:pt x="3980" y="4350"/>
                  </a:lnTo>
                  <a:lnTo>
                    <a:pt x="3990" y="4349"/>
                  </a:lnTo>
                  <a:lnTo>
                    <a:pt x="3999" y="4348"/>
                  </a:lnTo>
                  <a:lnTo>
                    <a:pt x="4009" y="4346"/>
                  </a:lnTo>
                  <a:lnTo>
                    <a:pt x="4018" y="4344"/>
                  </a:lnTo>
                  <a:lnTo>
                    <a:pt x="4027" y="4341"/>
                  </a:lnTo>
                  <a:lnTo>
                    <a:pt x="4036" y="4338"/>
                  </a:lnTo>
                  <a:lnTo>
                    <a:pt x="4045" y="4334"/>
                  </a:lnTo>
                  <a:lnTo>
                    <a:pt x="4053" y="4330"/>
                  </a:lnTo>
                  <a:lnTo>
                    <a:pt x="4062" y="4325"/>
                  </a:lnTo>
                  <a:lnTo>
                    <a:pt x="4070" y="4320"/>
                  </a:lnTo>
                  <a:lnTo>
                    <a:pt x="4078" y="4315"/>
                  </a:lnTo>
                  <a:lnTo>
                    <a:pt x="4086" y="4308"/>
                  </a:lnTo>
                  <a:lnTo>
                    <a:pt x="4102" y="4295"/>
                  </a:lnTo>
                  <a:lnTo>
                    <a:pt x="4116" y="4279"/>
                  </a:lnTo>
                  <a:lnTo>
                    <a:pt x="4129" y="4262"/>
                  </a:lnTo>
                  <a:lnTo>
                    <a:pt x="4140" y="4245"/>
                  </a:lnTo>
                  <a:lnTo>
                    <a:pt x="4144" y="4236"/>
                  </a:lnTo>
                  <a:lnTo>
                    <a:pt x="4148" y="4227"/>
                  </a:lnTo>
                  <a:lnTo>
                    <a:pt x="4152" y="4218"/>
                  </a:lnTo>
                  <a:lnTo>
                    <a:pt x="4155" y="4207"/>
                  </a:lnTo>
                  <a:lnTo>
                    <a:pt x="4158" y="4198"/>
                  </a:lnTo>
                  <a:lnTo>
                    <a:pt x="4160" y="4189"/>
                  </a:lnTo>
                  <a:lnTo>
                    <a:pt x="4162" y="4180"/>
                  </a:lnTo>
                  <a:lnTo>
                    <a:pt x="4163" y="4170"/>
                  </a:lnTo>
                  <a:lnTo>
                    <a:pt x="4164" y="4161"/>
                  </a:lnTo>
                  <a:lnTo>
                    <a:pt x="4164" y="4151"/>
                  </a:lnTo>
                  <a:lnTo>
                    <a:pt x="4163" y="4141"/>
                  </a:lnTo>
                  <a:lnTo>
                    <a:pt x="4163" y="4131"/>
                  </a:lnTo>
                  <a:lnTo>
                    <a:pt x="4160" y="4112"/>
                  </a:lnTo>
                  <a:lnTo>
                    <a:pt x="4156" y="4094"/>
                  </a:lnTo>
                  <a:lnTo>
                    <a:pt x="4150" y="4078"/>
                  </a:lnTo>
                  <a:lnTo>
                    <a:pt x="4143" y="4062"/>
                  </a:lnTo>
                  <a:lnTo>
                    <a:pt x="4134" y="4046"/>
                  </a:lnTo>
                  <a:lnTo>
                    <a:pt x="4124" y="4032"/>
                  </a:lnTo>
                  <a:lnTo>
                    <a:pt x="4113" y="4020"/>
                  </a:lnTo>
                  <a:lnTo>
                    <a:pt x="4100" y="4009"/>
                  </a:lnTo>
                  <a:lnTo>
                    <a:pt x="4066" y="3982"/>
                  </a:lnTo>
                  <a:lnTo>
                    <a:pt x="4033" y="3955"/>
                  </a:lnTo>
                  <a:lnTo>
                    <a:pt x="4000" y="3928"/>
                  </a:lnTo>
                  <a:lnTo>
                    <a:pt x="3966" y="3900"/>
                  </a:lnTo>
                  <a:lnTo>
                    <a:pt x="3933" y="3871"/>
                  </a:lnTo>
                  <a:lnTo>
                    <a:pt x="3900" y="3843"/>
                  </a:lnTo>
                  <a:lnTo>
                    <a:pt x="3867" y="3814"/>
                  </a:lnTo>
                  <a:lnTo>
                    <a:pt x="3833" y="3785"/>
                  </a:lnTo>
                  <a:lnTo>
                    <a:pt x="3862" y="3751"/>
                  </a:lnTo>
                  <a:lnTo>
                    <a:pt x="3889" y="3716"/>
                  </a:lnTo>
                  <a:lnTo>
                    <a:pt x="3915" y="3680"/>
                  </a:lnTo>
                  <a:lnTo>
                    <a:pt x="3941" y="3645"/>
                  </a:lnTo>
                  <a:lnTo>
                    <a:pt x="3966" y="3609"/>
                  </a:lnTo>
                  <a:lnTo>
                    <a:pt x="3991" y="3574"/>
                  </a:lnTo>
                  <a:lnTo>
                    <a:pt x="4015" y="3537"/>
                  </a:lnTo>
                  <a:lnTo>
                    <a:pt x="4037" y="3502"/>
                  </a:lnTo>
                  <a:lnTo>
                    <a:pt x="4060" y="3466"/>
                  </a:lnTo>
                  <a:lnTo>
                    <a:pt x="4081" y="3430"/>
                  </a:lnTo>
                  <a:lnTo>
                    <a:pt x="4103" y="3394"/>
                  </a:lnTo>
                  <a:lnTo>
                    <a:pt x="4122" y="3357"/>
                  </a:lnTo>
                  <a:lnTo>
                    <a:pt x="4142" y="3321"/>
                  </a:lnTo>
                  <a:lnTo>
                    <a:pt x="4160" y="3285"/>
                  </a:lnTo>
                  <a:lnTo>
                    <a:pt x="4178" y="3250"/>
                  </a:lnTo>
                  <a:lnTo>
                    <a:pt x="4195" y="3214"/>
                  </a:lnTo>
                  <a:lnTo>
                    <a:pt x="4211" y="3177"/>
                  </a:lnTo>
                  <a:lnTo>
                    <a:pt x="4228" y="3141"/>
                  </a:lnTo>
                  <a:lnTo>
                    <a:pt x="4242" y="3105"/>
                  </a:lnTo>
                  <a:lnTo>
                    <a:pt x="4256" y="3070"/>
                  </a:lnTo>
                  <a:lnTo>
                    <a:pt x="4269" y="3034"/>
                  </a:lnTo>
                  <a:lnTo>
                    <a:pt x="4281" y="2998"/>
                  </a:lnTo>
                  <a:lnTo>
                    <a:pt x="4292" y="2963"/>
                  </a:lnTo>
                  <a:lnTo>
                    <a:pt x="4302" y="2929"/>
                  </a:lnTo>
                  <a:lnTo>
                    <a:pt x="4312" y="2895"/>
                  </a:lnTo>
                  <a:lnTo>
                    <a:pt x="4320" y="2859"/>
                  </a:lnTo>
                  <a:lnTo>
                    <a:pt x="4328" y="2826"/>
                  </a:lnTo>
                  <a:lnTo>
                    <a:pt x="4335" y="2792"/>
                  </a:lnTo>
                  <a:lnTo>
                    <a:pt x="4342" y="2759"/>
                  </a:lnTo>
                  <a:lnTo>
                    <a:pt x="4348" y="2726"/>
                  </a:lnTo>
                  <a:lnTo>
                    <a:pt x="4352" y="2693"/>
                  </a:lnTo>
                  <a:lnTo>
                    <a:pt x="4356" y="2660"/>
                  </a:lnTo>
                  <a:lnTo>
                    <a:pt x="4359" y="2627"/>
                  </a:lnTo>
                  <a:lnTo>
                    <a:pt x="4361" y="2596"/>
                  </a:lnTo>
                  <a:lnTo>
                    <a:pt x="4362" y="2564"/>
                  </a:lnTo>
                  <a:lnTo>
                    <a:pt x="4362" y="2533"/>
                  </a:lnTo>
                  <a:lnTo>
                    <a:pt x="4361" y="2501"/>
                  </a:lnTo>
                  <a:lnTo>
                    <a:pt x="4360" y="2471"/>
                  </a:lnTo>
                  <a:lnTo>
                    <a:pt x="4357" y="2441"/>
                  </a:lnTo>
                  <a:lnTo>
                    <a:pt x="4354" y="2412"/>
                  </a:lnTo>
                  <a:lnTo>
                    <a:pt x="4350" y="2382"/>
                  </a:lnTo>
                  <a:lnTo>
                    <a:pt x="4345" y="2354"/>
                  </a:lnTo>
                  <a:lnTo>
                    <a:pt x="4338" y="2324"/>
                  </a:lnTo>
                  <a:lnTo>
                    <a:pt x="4331" y="2296"/>
                  </a:lnTo>
                  <a:lnTo>
                    <a:pt x="4323" y="2268"/>
                  </a:lnTo>
                  <a:lnTo>
                    <a:pt x="4315" y="2241"/>
                  </a:lnTo>
                  <a:lnTo>
                    <a:pt x="4306" y="2214"/>
                  </a:lnTo>
                  <a:lnTo>
                    <a:pt x="4296" y="2187"/>
                  </a:lnTo>
                  <a:lnTo>
                    <a:pt x="4285" y="2159"/>
                  </a:lnTo>
                  <a:lnTo>
                    <a:pt x="4273" y="2133"/>
                  </a:lnTo>
                  <a:lnTo>
                    <a:pt x="4260" y="2107"/>
                  </a:lnTo>
                  <a:lnTo>
                    <a:pt x="4245" y="2082"/>
                  </a:lnTo>
                  <a:lnTo>
                    <a:pt x="4230" y="2057"/>
                  </a:lnTo>
                  <a:lnTo>
                    <a:pt x="4213" y="2032"/>
                  </a:lnTo>
                  <a:lnTo>
                    <a:pt x="4196" y="2007"/>
                  </a:lnTo>
                  <a:lnTo>
                    <a:pt x="4178" y="1983"/>
                  </a:lnTo>
                  <a:lnTo>
                    <a:pt x="4159" y="1960"/>
                  </a:lnTo>
                  <a:lnTo>
                    <a:pt x="4139" y="1936"/>
                  </a:lnTo>
                  <a:lnTo>
                    <a:pt x="4118" y="1913"/>
                  </a:lnTo>
                  <a:lnTo>
                    <a:pt x="4095" y="1890"/>
                  </a:lnTo>
                  <a:lnTo>
                    <a:pt x="4071" y="1867"/>
                  </a:lnTo>
                  <a:lnTo>
                    <a:pt x="4047" y="1845"/>
                  </a:lnTo>
                  <a:lnTo>
                    <a:pt x="4022" y="1821"/>
                  </a:lnTo>
                  <a:lnTo>
                    <a:pt x="3995" y="17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16" name="ïşḷiďè">
              <a:extLst>
                <a:ext uri="{FF2B5EF4-FFF2-40B4-BE49-F238E27FC236}">
                  <a16:creationId xmlns:a16="http://schemas.microsoft.com/office/drawing/2014/main" id="{D67F4669-315E-4477-8E67-2E5E6568D59C}"/>
                </a:ext>
              </a:extLst>
            </p:cNvPr>
            <p:cNvSpPr/>
            <p:nvPr/>
          </p:nvSpPr>
          <p:spPr bwMode="auto">
            <a:xfrm>
              <a:off x="2417843" y="1981904"/>
              <a:ext cx="93058" cy="97288"/>
            </a:xfrm>
            <a:custGeom>
              <a:avLst/>
              <a:gdLst>
                <a:gd name="T0" fmla="*/ 1968 w 2440"/>
                <a:gd name="T1" fmla="*/ 101 h 2551"/>
                <a:gd name="T2" fmla="*/ 1793 w 2440"/>
                <a:gd name="T3" fmla="*/ 240 h 2551"/>
                <a:gd name="T4" fmla="*/ 1619 w 2440"/>
                <a:gd name="T5" fmla="*/ 382 h 2551"/>
                <a:gd name="T6" fmla="*/ 1449 w 2440"/>
                <a:gd name="T7" fmla="*/ 528 h 2551"/>
                <a:gd name="T8" fmla="*/ 1283 w 2440"/>
                <a:gd name="T9" fmla="*/ 680 h 2551"/>
                <a:gd name="T10" fmla="*/ 1120 w 2440"/>
                <a:gd name="T11" fmla="*/ 836 h 2551"/>
                <a:gd name="T12" fmla="*/ 969 w 2440"/>
                <a:gd name="T13" fmla="*/ 992 h 2551"/>
                <a:gd name="T14" fmla="*/ 824 w 2440"/>
                <a:gd name="T15" fmla="*/ 1150 h 2551"/>
                <a:gd name="T16" fmla="*/ 684 w 2440"/>
                <a:gd name="T17" fmla="*/ 1310 h 2551"/>
                <a:gd name="T18" fmla="*/ 551 w 2440"/>
                <a:gd name="T19" fmla="*/ 1472 h 2551"/>
                <a:gd name="T20" fmla="*/ 425 w 2440"/>
                <a:gd name="T21" fmla="*/ 1636 h 2551"/>
                <a:gd name="T22" fmla="*/ 40 w 2440"/>
                <a:gd name="T23" fmla="*/ 2162 h 2551"/>
                <a:gd name="T24" fmla="*/ 12 w 2440"/>
                <a:gd name="T25" fmla="*/ 2221 h 2551"/>
                <a:gd name="T26" fmla="*/ 0 w 2440"/>
                <a:gd name="T27" fmla="*/ 2282 h 2551"/>
                <a:gd name="T28" fmla="*/ 4 w 2440"/>
                <a:gd name="T29" fmla="*/ 2345 h 2551"/>
                <a:gd name="T30" fmla="*/ 23 w 2440"/>
                <a:gd name="T31" fmla="*/ 2406 h 2551"/>
                <a:gd name="T32" fmla="*/ 59 w 2440"/>
                <a:gd name="T33" fmla="*/ 2461 h 2551"/>
                <a:gd name="T34" fmla="*/ 93 w 2440"/>
                <a:gd name="T35" fmla="*/ 2494 h 2551"/>
                <a:gd name="T36" fmla="*/ 123 w 2440"/>
                <a:gd name="T37" fmla="*/ 2516 h 2551"/>
                <a:gd name="T38" fmla="*/ 156 w 2440"/>
                <a:gd name="T39" fmla="*/ 2532 h 2551"/>
                <a:gd name="T40" fmla="*/ 192 w 2440"/>
                <a:gd name="T41" fmla="*/ 2544 h 2551"/>
                <a:gd name="T42" fmla="*/ 228 w 2440"/>
                <a:gd name="T43" fmla="*/ 2550 h 2551"/>
                <a:gd name="T44" fmla="*/ 264 w 2440"/>
                <a:gd name="T45" fmla="*/ 2551 h 2551"/>
                <a:gd name="T46" fmla="*/ 301 w 2440"/>
                <a:gd name="T47" fmla="*/ 2547 h 2551"/>
                <a:gd name="T48" fmla="*/ 336 w 2440"/>
                <a:gd name="T49" fmla="*/ 2536 h 2551"/>
                <a:gd name="T50" fmla="*/ 370 w 2440"/>
                <a:gd name="T51" fmla="*/ 2522 h 2551"/>
                <a:gd name="T52" fmla="*/ 402 w 2440"/>
                <a:gd name="T53" fmla="*/ 2502 h 2551"/>
                <a:gd name="T54" fmla="*/ 432 w 2440"/>
                <a:gd name="T55" fmla="*/ 2477 h 2551"/>
                <a:gd name="T56" fmla="*/ 461 w 2440"/>
                <a:gd name="T57" fmla="*/ 2440 h 2551"/>
                <a:gd name="T58" fmla="*/ 829 w 2440"/>
                <a:gd name="T59" fmla="*/ 1936 h 2551"/>
                <a:gd name="T60" fmla="*/ 946 w 2440"/>
                <a:gd name="T61" fmla="*/ 1784 h 2551"/>
                <a:gd name="T62" fmla="*/ 1070 w 2440"/>
                <a:gd name="T63" fmla="*/ 1633 h 2551"/>
                <a:gd name="T64" fmla="*/ 1200 w 2440"/>
                <a:gd name="T65" fmla="*/ 1484 h 2551"/>
                <a:gd name="T66" fmla="*/ 1336 w 2440"/>
                <a:gd name="T67" fmla="*/ 1337 h 2551"/>
                <a:gd name="T68" fmla="*/ 1477 w 2440"/>
                <a:gd name="T69" fmla="*/ 1193 h 2551"/>
                <a:gd name="T70" fmla="*/ 1634 w 2440"/>
                <a:gd name="T71" fmla="*/ 1040 h 2551"/>
                <a:gd name="T72" fmla="*/ 1791 w 2440"/>
                <a:gd name="T73" fmla="*/ 898 h 2551"/>
                <a:gd name="T74" fmla="*/ 1948 w 2440"/>
                <a:gd name="T75" fmla="*/ 762 h 2551"/>
                <a:gd name="T76" fmla="*/ 2111 w 2440"/>
                <a:gd name="T77" fmla="*/ 629 h 2551"/>
                <a:gd name="T78" fmla="*/ 2282 w 2440"/>
                <a:gd name="T79" fmla="*/ 495 h 2551"/>
                <a:gd name="T80" fmla="*/ 2353 w 2440"/>
                <a:gd name="T81" fmla="*/ 440 h 2551"/>
                <a:gd name="T82" fmla="*/ 2383 w 2440"/>
                <a:gd name="T83" fmla="*/ 410 h 2551"/>
                <a:gd name="T84" fmla="*/ 2405 w 2440"/>
                <a:gd name="T85" fmla="*/ 379 h 2551"/>
                <a:gd name="T86" fmla="*/ 2421 w 2440"/>
                <a:gd name="T87" fmla="*/ 346 h 2551"/>
                <a:gd name="T88" fmla="*/ 2433 w 2440"/>
                <a:gd name="T89" fmla="*/ 311 h 2551"/>
                <a:gd name="T90" fmla="*/ 2439 w 2440"/>
                <a:gd name="T91" fmla="*/ 275 h 2551"/>
                <a:gd name="T92" fmla="*/ 2439 w 2440"/>
                <a:gd name="T93" fmla="*/ 239 h 2551"/>
                <a:gd name="T94" fmla="*/ 2435 w 2440"/>
                <a:gd name="T95" fmla="*/ 203 h 2551"/>
                <a:gd name="T96" fmla="*/ 2426 w 2440"/>
                <a:gd name="T97" fmla="*/ 168 h 2551"/>
                <a:gd name="T98" fmla="*/ 2411 w 2440"/>
                <a:gd name="T99" fmla="*/ 133 h 2551"/>
                <a:gd name="T100" fmla="*/ 2391 w 2440"/>
                <a:gd name="T101" fmla="*/ 101 h 2551"/>
                <a:gd name="T102" fmla="*/ 2365 w 2440"/>
                <a:gd name="T103" fmla="*/ 72 h 2551"/>
                <a:gd name="T104" fmla="*/ 2338 w 2440"/>
                <a:gd name="T105" fmla="*/ 49 h 2551"/>
                <a:gd name="T106" fmla="*/ 2309 w 2440"/>
                <a:gd name="T107" fmla="*/ 30 h 2551"/>
                <a:gd name="T108" fmla="*/ 2277 w 2440"/>
                <a:gd name="T109" fmla="*/ 16 h 2551"/>
                <a:gd name="T110" fmla="*/ 2244 w 2440"/>
                <a:gd name="T111" fmla="*/ 6 h 2551"/>
                <a:gd name="T112" fmla="*/ 2211 w 2440"/>
                <a:gd name="T113" fmla="*/ 1 h 2551"/>
                <a:gd name="T114" fmla="*/ 2154 w 2440"/>
                <a:gd name="T115" fmla="*/ 2 h 2551"/>
                <a:gd name="T116" fmla="*/ 2120 w 2440"/>
                <a:gd name="T117" fmla="*/ 9 h 2551"/>
                <a:gd name="T118" fmla="*/ 2088 w 2440"/>
                <a:gd name="T119" fmla="*/ 20 h 2551"/>
                <a:gd name="T120" fmla="*/ 2057 w 2440"/>
                <a:gd name="T121" fmla="*/ 36 h 2551"/>
                <a:gd name="T122" fmla="*/ 2029 w 2440"/>
                <a:gd name="T123" fmla="*/ 56 h 2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440" h="2551">
                  <a:moveTo>
                    <a:pt x="2029" y="56"/>
                  </a:moveTo>
                  <a:lnTo>
                    <a:pt x="2028" y="56"/>
                  </a:lnTo>
                  <a:lnTo>
                    <a:pt x="1968" y="101"/>
                  </a:lnTo>
                  <a:lnTo>
                    <a:pt x="1910" y="147"/>
                  </a:lnTo>
                  <a:lnTo>
                    <a:pt x="1851" y="193"/>
                  </a:lnTo>
                  <a:lnTo>
                    <a:pt x="1793" y="240"/>
                  </a:lnTo>
                  <a:lnTo>
                    <a:pt x="1734" y="286"/>
                  </a:lnTo>
                  <a:lnTo>
                    <a:pt x="1677" y="333"/>
                  </a:lnTo>
                  <a:lnTo>
                    <a:pt x="1619" y="382"/>
                  </a:lnTo>
                  <a:lnTo>
                    <a:pt x="1562" y="430"/>
                  </a:lnTo>
                  <a:lnTo>
                    <a:pt x="1505" y="478"/>
                  </a:lnTo>
                  <a:lnTo>
                    <a:pt x="1449" y="528"/>
                  </a:lnTo>
                  <a:lnTo>
                    <a:pt x="1394" y="578"/>
                  </a:lnTo>
                  <a:lnTo>
                    <a:pt x="1337" y="628"/>
                  </a:lnTo>
                  <a:lnTo>
                    <a:pt x="1283" y="680"/>
                  </a:lnTo>
                  <a:lnTo>
                    <a:pt x="1228" y="732"/>
                  </a:lnTo>
                  <a:lnTo>
                    <a:pt x="1174" y="784"/>
                  </a:lnTo>
                  <a:lnTo>
                    <a:pt x="1120" y="836"/>
                  </a:lnTo>
                  <a:lnTo>
                    <a:pt x="1069" y="889"/>
                  </a:lnTo>
                  <a:lnTo>
                    <a:pt x="1018" y="940"/>
                  </a:lnTo>
                  <a:lnTo>
                    <a:pt x="969" y="992"/>
                  </a:lnTo>
                  <a:lnTo>
                    <a:pt x="920" y="1045"/>
                  </a:lnTo>
                  <a:lnTo>
                    <a:pt x="871" y="1097"/>
                  </a:lnTo>
                  <a:lnTo>
                    <a:pt x="824" y="1150"/>
                  </a:lnTo>
                  <a:lnTo>
                    <a:pt x="776" y="1203"/>
                  </a:lnTo>
                  <a:lnTo>
                    <a:pt x="730" y="1257"/>
                  </a:lnTo>
                  <a:lnTo>
                    <a:pt x="684" y="1310"/>
                  </a:lnTo>
                  <a:lnTo>
                    <a:pt x="639" y="1364"/>
                  </a:lnTo>
                  <a:lnTo>
                    <a:pt x="594" y="1418"/>
                  </a:lnTo>
                  <a:lnTo>
                    <a:pt x="551" y="1472"/>
                  </a:lnTo>
                  <a:lnTo>
                    <a:pt x="508" y="1527"/>
                  </a:lnTo>
                  <a:lnTo>
                    <a:pt x="466" y="1582"/>
                  </a:lnTo>
                  <a:lnTo>
                    <a:pt x="425" y="1636"/>
                  </a:lnTo>
                  <a:lnTo>
                    <a:pt x="383" y="1692"/>
                  </a:lnTo>
                  <a:lnTo>
                    <a:pt x="39" y="2161"/>
                  </a:lnTo>
                  <a:lnTo>
                    <a:pt x="40" y="2162"/>
                  </a:lnTo>
                  <a:lnTo>
                    <a:pt x="29" y="2180"/>
                  </a:lnTo>
                  <a:lnTo>
                    <a:pt x="20" y="2201"/>
                  </a:lnTo>
                  <a:lnTo>
                    <a:pt x="12" y="2221"/>
                  </a:lnTo>
                  <a:lnTo>
                    <a:pt x="6" y="2241"/>
                  </a:lnTo>
                  <a:lnTo>
                    <a:pt x="2" y="2262"/>
                  </a:lnTo>
                  <a:lnTo>
                    <a:pt x="0" y="2282"/>
                  </a:lnTo>
                  <a:lnTo>
                    <a:pt x="0" y="2303"/>
                  </a:lnTo>
                  <a:lnTo>
                    <a:pt x="1" y="2324"/>
                  </a:lnTo>
                  <a:lnTo>
                    <a:pt x="4" y="2345"/>
                  </a:lnTo>
                  <a:lnTo>
                    <a:pt x="8" y="2365"/>
                  </a:lnTo>
                  <a:lnTo>
                    <a:pt x="15" y="2387"/>
                  </a:lnTo>
                  <a:lnTo>
                    <a:pt x="23" y="2406"/>
                  </a:lnTo>
                  <a:lnTo>
                    <a:pt x="33" y="2425"/>
                  </a:lnTo>
                  <a:lnTo>
                    <a:pt x="44" y="2443"/>
                  </a:lnTo>
                  <a:lnTo>
                    <a:pt x="59" y="2461"/>
                  </a:lnTo>
                  <a:lnTo>
                    <a:pt x="74" y="2477"/>
                  </a:lnTo>
                  <a:lnTo>
                    <a:pt x="83" y="2486"/>
                  </a:lnTo>
                  <a:lnTo>
                    <a:pt x="93" y="2494"/>
                  </a:lnTo>
                  <a:lnTo>
                    <a:pt x="103" y="2502"/>
                  </a:lnTo>
                  <a:lnTo>
                    <a:pt x="113" y="2509"/>
                  </a:lnTo>
                  <a:lnTo>
                    <a:pt x="123" y="2516"/>
                  </a:lnTo>
                  <a:lnTo>
                    <a:pt x="134" y="2522"/>
                  </a:lnTo>
                  <a:lnTo>
                    <a:pt x="145" y="2527"/>
                  </a:lnTo>
                  <a:lnTo>
                    <a:pt x="156" y="2532"/>
                  </a:lnTo>
                  <a:lnTo>
                    <a:pt x="168" y="2536"/>
                  </a:lnTo>
                  <a:lnTo>
                    <a:pt x="180" y="2541"/>
                  </a:lnTo>
                  <a:lnTo>
                    <a:pt x="192" y="2544"/>
                  </a:lnTo>
                  <a:lnTo>
                    <a:pt x="204" y="2547"/>
                  </a:lnTo>
                  <a:lnTo>
                    <a:pt x="216" y="2549"/>
                  </a:lnTo>
                  <a:lnTo>
                    <a:pt x="228" y="2550"/>
                  </a:lnTo>
                  <a:lnTo>
                    <a:pt x="240" y="2551"/>
                  </a:lnTo>
                  <a:lnTo>
                    <a:pt x="252" y="2551"/>
                  </a:lnTo>
                  <a:lnTo>
                    <a:pt x="264" y="2551"/>
                  </a:lnTo>
                  <a:lnTo>
                    <a:pt x="276" y="2550"/>
                  </a:lnTo>
                  <a:lnTo>
                    <a:pt x="288" y="2549"/>
                  </a:lnTo>
                  <a:lnTo>
                    <a:pt x="301" y="2547"/>
                  </a:lnTo>
                  <a:lnTo>
                    <a:pt x="313" y="2544"/>
                  </a:lnTo>
                  <a:lnTo>
                    <a:pt x="324" y="2541"/>
                  </a:lnTo>
                  <a:lnTo>
                    <a:pt x="336" y="2536"/>
                  </a:lnTo>
                  <a:lnTo>
                    <a:pt x="347" y="2532"/>
                  </a:lnTo>
                  <a:lnTo>
                    <a:pt x="359" y="2527"/>
                  </a:lnTo>
                  <a:lnTo>
                    <a:pt x="370" y="2522"/>
                  </a:lnTo>
                  <a:lnTo>
                    <a:pt x="381" y="2516"/>
                  </a:lnTo>
                  <a:lnTo>
                    <a:pt x="391" y="2509"/>
                  </a:lnTo>
                  <a:lnTo>
                    <a:pt x="402" y="2502"/>
                  </a:lnTo>
                  <a:lnTo>
                    <a:pt x="412" y="2494"/>
                  </a:lnTo>
                  <a:lnTo>
                    <a:pt x="422" y="2486"/>
                  </a:lnTo>
                  <a:lnTo>
                    <a:pt x="432" y="2477"/>
                  </a:lnTo>
                  <a:lnTo>
                    <a:pt x="442" y="2465"/>
                  </a:lnTo>
                  <a:lnTo>
                    <a:pt x="452" y="2453"/>
                  </a:lnTo>
                  <a:lnTo>
                    <a:pt x="461" y="2440"/>
                  </a:lnTo>
                  <a:lnTo>
                    <a:pt x="469" y="2427"/>
                  </a:lnTo>
                  <a:lnTo>
                    <a:pt x="791" y="1987"/>
                  </a:lnTo>
                  <a:lnTo>
                    <a:pt x="829" y="1936"/>
                  </a:lnTo>
                  <a:lnTo>
                    <a:pt x="867" y="1886"/>
                  </a:lnTo>
                  <a:lnTo>
                    <a:pt x="907" y="1834"/>
                  </a:lnTo>
                  <a:lnTo>
                    <a:pt x="946" y="1784"/>
                  </a:lnTo>
                  <a:lnTo>
                    <a:pt x="987" y="1734"/>
                  </a:lnTo>
                  <a:lnTo>
                    <a:pt x="1029" y="1683"/>
                  </a:lnTo>
                  <a:lnTo>
                    <a:pt x="1070" y="1633"/>
                  </a:lnTo>
                  <a:lnTo>
                    <a:pt x="1113" y="1583"/>
                  </a:lnTo>
                  <a:lnTo>
                    <a:pt x="1157" y="1534"/>
                  </a:lnTo>
                  <a:lnTo>
                    <a:pt x="1200" y="1484"/>
                  </a:lnTo>
                  <a:lnTo>
                    <a:pt x="1244" y="1435"/>
                  </a:lnTo>
                  <a:lnTo>
                    <a:pt x="1290" y="1386"/>
                  </a:lnTo>
                  <a:lnTo>
                    <a:pt x="1336" y="1337"/>
                  </a:lnTo>
                  <a:lnTo>
                    <a:pt x="1382" y="1288"/>
                  </a:lnTo>
                  <a:lnTo>
                    <a:pt x="1429" y="1241"/>
                  </a:lnTo>
                  <a:lnTo>
                    <a:pt x="1477" y="1193"/>
                  </a:lnTo>
                  <a:lnTo>
                    <a:pt x="1530" y="1140"/>
                  </a:lnTo>
                  <a:lnTo>
                    <a:pt x="1582" y="1090"/>
                  </a:lnTo>
                  <a:lnTo>
                    <a:pt x="1634" y="1040"/>
                  </a:lnTo>
                  <a:lnTo>
                    <a:pt x="1686" y="991"/>
                  </a:lnTo>
                  <a:lnTo>
                    <a:pt x="1738" y="944"/>
                  </a:lnTo>
                  <a:lnTo>
                    <a:pt x="1791" y="898"/>
                  </a:lnTo>
                  <a:lnTo>
                    <a:pt x="1842" y="852"/>
                  </a:lnTo>
                  <a:lnTo>
                    <a:pt x="1896" y="806"/>
                  </a:lnTo>
                  <a:lnTo>
                    <a:pt x="1948" y="762"/>
                  </a:lnTo>
                  <a:lnTo>
                    <a:pt x="2001" y="718"/>
                  </a:lnTo>
                  <a:lnTo>
                    <a:pt x="2056" y="673"/>
                  </a:lnTo>
                  <a:lnTo>
                    <a:pt x="2111" y="629"/>
                  </a:lnTo>
                  <a:lnTo>
                    <a:pt x="2167" y="585"/>
                  </a:lnTo>
                  <a:lnTo>
                    <a:pt x="2223" y="541"/>
                  </a:lnTo>
                  <a:lnTo>
                    <a:pt x="2282" y="495"/>
                  </a:lnTo>
                  <a:lnTo>
                    <a:pt x="2341" y="450"/>
                  </a:lnTo>
                  <a:lnTo>
                    <a:pt x="2340" y="449"/>
                  </a:lnTo>
                  <a:lnTo>
                    <a:pt x="2353" y="440"/>
                  </a:lnTo>
                  <a:lnTo>
                    <a:pt x="2365" y="429"/>
                  </a:lnTo>
                  <a:lnTo>
                    <a:pt x="2375" y="419"/>
                  </a:lnTo>
                  <a:lnTo>
                    <a:pt x="2383" y="410"/>
                  </a:lnTo>
                  <a:lnTo>
                    <a:pt x="2391" y="400"/>
                  </a:lnTo>
                  <a:lnTo>
                    <a:pt x="2398" y="390"/>
                  </a:lnTo>
                  <a:lnTo>
                    <a:pt x="2405" y="379"/>
                  </a:lnTo>
                  <a:lnTo>
                    <a:pt x="2411" y="368"/>
                  </a:lnTo>
                  <a:lnTo>
                    <a:pt x="2416" y="357"/>
                  </a:lnTo>
                  <a:lnTo>
                    <a:pt x="2421" y="346"/>
                  </a:lnTo>
                  <a:lnTo>
                    <a:pt x="2426" y="334"/>
                  </a:lnTo>
                  <a:lnTo>
                    <a:pt x="2429" y="322"/>
                  </a:lnTo>
                  <a:lnTo>
                    <a:pt x="2433" y="311"/>
                  </a:lnTo>
                  <a:lnTo>
                    <a:pt x="2435" y="299"/>
                  </a:lnTo>
                  <a:lnTo>
                    <a:pt x="2437" y="287"/>
                  </a:lnTo>
                  <a:lnTo>
                    <a:pt x="2439" y="275"/>
                  </a:lnTo>
                  <a:lnTo>
                    <a:pt x="2439" y="263"/>
                  </a:lnTo>
                  <a:lnTo>
                    <a:pt x="2440" y="251"/>
                  </a:lnTo>
                  <a:lnTo>
                    <a:pt x="2439" y="239"/>
                  </a:lnTo>
                  <a:lnTo>
                    <a:pt x="2439" y="227"/>
                  </a:lnTo>
                  <a:lnTo>
                    <a:pt x="2437" y="215"/>
                  </a:lnTo>
                  <a:lnTo>
                    <a:pt x="2435" y="203"/>
                  </a:lnTo>
                  <a:lnTo>
                    <a:pt x="2433" y="191"/>
                  </a:lnTo>
                  <a:lnTo>
                    <a:pt x="2429" y="179"/>
                  </a:lnTo>
                  <a:lnTo>
                    <a:pt x="2426" y="168"/>
                  </a:lnTo>
                  <a:lnTo>
                    <a:pt x="2421" y="155"/>
                  </a:lnTo>
                  <a:lnTo>
                    <a:pt x="2416" y="144"/>
                  </a:lnTo>
                  <a:lnTo>
                    <a:pt x="2411" y="133"/>
                  </a:lnTo>
                  <a:lnTo>
                    <a:pt x="2405" y="122"/>
                  </a:lnTo>
                  <a:lnTo>
                    <a:pt x="2398" y="112"/>
                  </a:lnTo>
                  <a:lnTo>
                    <a:pt x="2391" y="101"/>
                  </a:lnTo>
                  <a:lnTo>
                    <a:pt x="2383" y="91"/>
                  </a:lnTo>
                  <a:lnTo>
                    <a:pt x="2375" y="82"/>
                  </a:lnTo>
                  <a:lnTo>
                    <a:pt x="2365" y="72"/>
                  </a:lnTo>
                  <a:lnTo>
                    <a:pt x="2356" y="64"/>
                  </a:lnTo>
                  <a:lnTo>
                    <a:pt x="2347" y="56"/>
                  </a:lnTo>
                  <a:lnTo>
                    <a:pt x="2338" y="49"/>
                  </a:lnTo>
                  <a:lnTo>
                    <a:pt x="2329" y="42"/>
                  </a:lnTo>
                  <a:lnTo>
                    <a:pt x="2319" y="36"/>
                  </a:lnTo>
                  <a:lnTo>
                    <a:pt x="2309" y="30"/>
                  </a:lnTo>
                  <a:lnTo>
                    <a:pt x="2298" y="25"/>
                  </a:lnTo>
                  <a:lnTo>
                    <a:pt x="2288" y="20"/>
                  </a:lnTo>
                  <a:lnTo>
                    <a:pt x="2277" y="16"/>
                  </a:lnTo>
                  <a:lnTo>
                    <a:pt x="2267" y="12"/>
                  </a:lnTo>
                  <a:lnTo>
                    <a:pt x="2256" y="9"/>
                  </a:lnTo>
                  <a:lnTo>
                    <a:pt x="2244" y="6"/>
                  </a:lnTo>
                  <a:lnTo>
                    <a:pt x="2233" y="4"/>
                  </a:lnTo>
                  <a:lnTo>
                    <a:pt x="2222" y="2"/>
                  </a:lnTo>
                  <a:lnTo>
                    <a:pt x="2211" y="1"/>
                  </a:lnTo>
                  <a:lnTo>
                    <a:pt x="2199" y="0"/>
                  </a:lnTo>
                  <a:lnTo>
                    <a:pt x="2177" y="0"/>
                  </a:lnTo>
                  <a:lnTo>
                    <a:pt x="2154" y="2"/>
                  </a:lnTo>
                  <a:lnTo>
                    <a:pt x="2143" y="4"/>
                  </a:lnTo>
                  <a:lnTo>
                    <a:pt x="2132" y="6"/>
                  </a:lnTo>
                  <a:lnTo>
                    <a:pt x="2120" y="9"/>
                  </a:lnTo>
                  <a:lnTo>
                    <a:pt x="2109" y="12"/>
                  </a:lnTo>
                  <a:lnTo>
                    <a:pt x="2099" y="16"/>
                  </a:lnTo>
                  <a:lnTo>
                    <a:pt x="2088" y="20"/>
                  </a:lnTo>
                  <a:lnTo>
                    <a:pt x="2078" y="25"/>
                  </a:lnTo>
                  <a:lnTo>
                    <a:pt x="2067" y="30"/>
                  </a:lnTo>
                  <a:lnTo>
                    <a:pt x="2057" y="36"/>
                  </a:lnTo>
                  <a:lnTo>
                    <a:pt x="2048" y="42"/>
                  </a:lnTo>
                  <a:lnTo>
                    <a:pt x="2038" y="49"/>
                  </a:lnTo>
                  <a:lnTo>
                    <a:pt x="2029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17" name="ïṩlïde">
              <a:extLst>
                <a:ext uri="{FF2B5EF4-FFF2-40B4-BE49-F238E27FC236}">
                  <a16:creationId xmlns:a16="http://schemas.microsoft.com/office/drawing/2014/main" id="{A5F0C8F7-3E30-4262-AF47-7C1DE3DB4CC5}"/>
                </a:ext>
              </a:extLst>
            </p:cNvPr>
            <p:cNvSpPr/>
            <p:nvPr/>
          </p:nvSpPr>
          <p:spPr bwMode="auto">
            <a:xfrm>
              <a:off x="2527821" y="1653382"/>
              <a:ext cx="94469" cy="98698"/>
            </a:xfrm>
            <a:custGeom>
              <a:avLst/>
              <a:gdLst>
                <a:gd name="T0" fmla="*/ 830 w 2478"/>
                <a:gd name="T1" fmla="*/ 1534 h 2592"/>
                <a:gd name="T2" fmla="*/ 622 w 2478"/>
                <a:gd name="T3" fmla="*/ 1720 h 2592"/>
                <a:gd name="T4" fmla="*/ 408 w 2478"/>
                <a:gd name="T5" fmla="*/ 1899 h 2592"/>
                <a:gd name="T6" fmla="*/ 189 w 2478"/>
                <a:gd name="T7" fmla="*/ 2072 h 2592"/>
                <a:gd name="T8" fmla="*/ 89 w 2478"/>
                <a:gd name="T9" fmla="*/ 2144 h 2592"/>
                <a:gd name="T10" fmla="*/ 49 w 2478"/>
                <a:gd name="T11" fmla="*/ 2187 h 2592"/>
                <a:gd name="T12" fmla="*/ 24 w 2478"/>
                <a:gd name="T13" fmla="*/ 2230 h 2592"/>
                <a:gd name="T14" fmla="*/ 7 w 2478"/>
                <a:gd name="T15" fmla="*/ 2277 h 2592"/>
                <a:gd name="T16" fmla="*/ 1 w 2478"/>
                <a:gd name="T17" fmla="*/ 2325 h 2592"/>
                <a:gd name="T18" fmla="*/ 3 w 2478"/>
                <a:gd name="T19" fmla="*/ 2374 h 2592"/>
                <a:gd name="T20" fmla="*/ 14 w 2478"/>
                <a:gd name="T21" fmla="*/ 2421 h 2592"/>
                <a:gd name="T22" fmla="*/ 35 w 2478"/>
                <a:gd name="T23" fmla="*/ 2466 h 2592"/>
                <a:gd name="T24" fmla="*/ 65 w 2478"/>
                <a:gd name="T25" fmla="*/ 2508 h 2592"/>
                <a:gd name="T26" fmla="*/ 104 w 2478"/>
                <a:gd name="T27" fmla="*/ 2542 h 2592"/>
                <a:gd name="T28" fmla="*/ 145 w 2478"/>
                <a:gd name="T29" fmla="*/ 2567 h 2592"/>
                <a:gd name="T30" fmla="*/ 190 w 2478"/>
                <a:gd name="T31" fmla="*/ 2584 h 2592"/>
                <a:gd name="T32" fmla="*/ 238 w 2478"/>
                <a:gd name="T33" fmla="*/ 2591 h 2592"/>
                <a:gd name="T34" fmla="*/ 285 w 2478"/>
                <a:gd name="T35" fmla="*/ 2590 h 2592"/>
                <a:gd name="T36" fmla="*/ 333 w 2478"/>
                <a:gd name="T37" fmla="*/ 2579 h 2592"/>
                <a:gd name="T38" fmla="*/ 377 w 2478"/>
                <a:gd name="T39" fmla="*/ 2560 h 2592"/>
                <a:gd name="T40" fmla="*/ 418 w 2478"/>
                <a:gd name="T41" fmla="*/ 2533 h 2592"/>
                <a:gd name="T42" fmla="*/ 547 w 2478"/>
                <a:gd name="T43" fmla="*/ 2434 h 2592"/>
                <a:gd name="T44" fmla="*/ 780 w 2478"/>
                <a:gd name="T45" fmla="*/ 2246 h 2592"/>
                <a:gd name="T46" fmla="*/ 1007 w 2478"/>
                <a:gd name="T47" fmla="*/ 2052 h 2592"/>
                <a:gd name="T48" fmla="*/ 1228 w 2478"/>
                <a:gd name="T49" fmla="*/ 1849 h 2592"/>
                <a:gd name="T50" fmla="*/ 1438 w 2478"/>
                <a:gd name="T51" fmla="*/ 1640 h 2592"/>
                <a:gd name="T52" fmla="*/ 1632 w 2478"/>
                <a:gd name="T53" fmla="*/ 1431 h 2592"/>
                <a:gd name="T54" fmla="*/ 1817 w 2478"/>
                <a:gd name="T55" fmla="*/ 1217 h 2592"/>
                <a:gd name="T56" fmla="*/ 1990 w 2478"/>
                <a:gd name="T57" fmla="*/ 1000 h 2592"/>
                <a:gd name="T58" fmla="*/ 2417 w 2478"/>
                <a:gd name="T59" fmla="*/ 417 h 2592"/>
                <a:gd name="T60" fmla="*/ 2444 w 2478"/>
                <a:gd name="T61" fmla="*/ 378 h 2592"/>
                <a:gd name="T62" fmla="*/ 2464 w 2478"/>
                <a:gd name="T63" fmla="*/ 335 h 2592"/>
                <a:gd name="T64" fmla="*/ 2475 w 2478"/>
                <a:gd name="T65" fmla="*/ 289 h 2592"/>
                <a:gd name="T66" fmla="*/ 2478 w 2478"/>
                <a:gd name="T67" fmla="*/ 243 h 2592"/>
                <a:gd name="T68" fmla="*/ 2472 w 2478"/>
                <a:gd name="T69" fmla="*/ 198 h 2592"/>
                <a:gd name="T70" fmla="*/ 2458 w 2478"/>
                <a:gd name="T71" fmla="*/ 154 h 2592"/>
                <a:gd name="T72" fmla="*/ 2435 w 2478"/>
                <a:gd name="T73" fmla="*/ 111 h 2592"/>
                <a:gd name="T74" fmla="*/ 2403 w 2478"/>
                <a:gd name="T75" fmla="*/ 74 h 2592"/>
                <a:gd name="T76" fmla="*/ 2363 w 2478"/>
                <a:gd name="T77" fmla="*/ 41 h 2592"/>
                <a:gd name="T78" fmla="*/ 2320 w 2478"/>
                <a:gd name="T79" fmla="*/ 18 h 2592"/>
                <a:gd name="T80" fmla="*/ 2272 w 2478"/>
                <a:gd name="T81" fmla="*/ 4 h 2592"/>
                <a:gd name="T82" fmla="*/ 2224 w 2478"/>
                <a:gd name="T83" fmla="*/ 0 h 2592"/>
                <a:gd name="T84" fmla="*/ 2176 w 2478"/>
                <a:gd name="T85" fmla="*/ 4 h 2592"/>
                <a:gd name="T86" fmla="*/ 2128 w 2478"/>
                <a:gd name="T87" fmla="*/ 18 h 2592"/>
                <a:gd name="T88" fmla="*/ 2084 w 2478"/>
                <a:gd name="T89" fmla="*/ 41 h 2592"/>
                <a:gd name="T90" fmla="*/ 2044 w 2478"/>
                <a:gd name="T91" fmla="*/ 74 h 2592"/>
                <a:gd name="T92" fmla="*/ 2000 w 2478"/>
                <a:gd name="T93" fmla="*/ 136 h 2592"/>
                <a:gd name="T94" fmla="*/ 1549 w 2478"/>
                <a:gd name="T95" fmla="*/ 746 h 2592"/>
                <a:gd name="T96" fmla="*/ 1386 w 2478"/>
                <a:gd name="T97" fmla="*/ 948 h 2592"/>
                <a:gd name="T98" fmla="*/ 1212 w 2478"/>
                <a:gd name="T99" fmla="*/ 1146 h 2592"/>
                <a:gd name="T100" fmla="*/ 1027 w 2478"/>
                <a:gd name="T101" fmla="*/ 1341 h 2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478" h="2592">
                  <a:moveTo>
                    <a:pt x="980" y="1388"/>
                  </a:moveTo>
                  <a:lnTo>
                    <a:pt x="929" y="1437"/>
                  </a:lnTo>
                  <a:lnTo>
                    <a:pt x="880" y="1485"/>
                  </a:lnTo>
                  <a:lnTo>
                    <a:pt x="830" y="1534"/>
                  </a:lnTo>
                  <a:lnTo>
                    <a:pt x="778" y="1581"/>
                  </a:lnTo>
                  <a:lnTo>
                    <a:pt x="727" y="1627"/>
                  </a:lnTo>
                  <a:lnTo>
                    <a:pt x="674" y="1674"/>
                  </a:lnTo>
                  <a:lnTo>
                    <a:pt x="622" y="1720"/>
                  </a:lnTo>
                  <a:lnTo>
                    <a:pt x="569" y="1765"/>
                  </a:lnTo>
                  <a:lnTo>
                    <a:pt x="516" y="1810"/>
                  </a:lnTo>
                  <a:lnTo>
                    <a:pt x="463" y="1855"/>
                  </a:lnTo>
                  <a:lnTo>
                    <a:pt x="408" y="1899"/>
                  </a:lnTo>
                  <a:lnTo>
                    <a:pt x="354" y="1942"/>
                  </a:lnTo>
                  <a:lnTo>
                    <a:pt x="299" y="1985"/>
                  </a:lnTo>
                  <a:lnTo>
                    <a:pt x="245" y="2029"/>
                  </a:lnTo>
                  <a:lnTo>
                    <a:pt x="189" y="2072"/>
                  </a:lnTo>
                  <a:lnTo>
                    <a:pt x="134" y="2114"/>
                  </a:lnTo>
                  <a:lnTo>
                    <a:pt x="119" y="2123"/>
                  </a:lnTo>
                  <a:lnTo>
                    <a:pt x="103" y="2133"/>
                  </a:lnTo>
                  <a:lnTo>
                    <a:pt x="89" y="2144"/>
                  </a:lnTo>
                  <a:lnTo>
                    <a:pt x="74" y="2157"/>
                  </a:lnTo>
                  <a:lnTo>
                    <a:pt x="65" y="2166"/>
                  </a:lnTo>
                  <a:lnTo>
                    <a:pt x="57" y="2177"/>
                  </a:lnTo>
                  <a:lnTo>
                    <a:pt x="49" y="2187"/>
                  </a:lnTo>
                  <a:lnTo>
                    <a:pt x="42" y="2198"/>
                  </a:lnTo>
                  <a:lnTo>
                    <a:pt x="35" y="2208"/>
                  </a:lnTo>
                  <a:lnTo>
                    <a:pt x="29" y="2219"/>
                  </a:lnTo>
                  <a:lnTo>
                    <a:pt x="24" y="2230"/>
                  </a:lnTo>
                  <a:lnTo>
                    <a:pt x="19" y="2242"/>
                  </a:lnTo>
                  <a:lnTo>
                    <a:pt x="14" y="2253"/>
                  </a:lnTo>
                  <a:lnTo>
                    <a:pt x="11" y="2265"/>
                  </a:lnTo>
                  <a:lnTo>
                    <a:pt x="7" y="2277"/>
                  </a:lnTo>
                  <a:lnTo>
                    <a:pt x="5" y="2288"/>
                  </a:lnTo>
                  <a:lnTo>
                    <a:pt x="3" y="2300"/>
                  </a:lnTo>
                  <a:lnTo>
                    <a:pt x="1" y="2313"/>
                  </a:lnTo>
                  <a:lnTo>
                    <a:pt x="1" y="2325"/>
                  </a:lnTo>
                  <a:lnTo>
                    <a:pt x="0" y="2338"/>
                  </a:lnTo>
                  <a:lnTo>
                    <a:pt x="1" y="2350"/>
                  </a:lnTo>
                  <a:lnTo>
                    <a:pt x="1" y="2362"/>
                  </a:lnTo>
                  <a:lnTo>
                    <a:pt x="3" y="2374"/>
                  </a:lnTo>
                  <a:lnTo>
                    <a:pt x="5" y="2386"/>
                  </a:lnTo>
                  <a:lnTo>
                    <a:pt x="7" y="2398"/>
                  </a:lnTo>
                  <a:lnTo>
                    <a:pt x="11" y="2410"/>
                  </a:lnTo>
                  <a:lnTo>
                    <a:pt x="14" y="2421"/>
                  </a:lnTo>
                  <a:lnTo>
                    <a:pt x="19" y="2433"/>
                  </a:lnTo>
                  <a:lnTo>
                    <a:pt x="24" y="2444"/>
                  </a:lnTo>
                  <a:lnTo>
                    <a:pt x="29" y="2455"/>
                  </a:lnTo>
                  <a:lnTo>
                    <a:pt x="35" y="2466"/>
                  </a:lnTo>
                  <a:lnTo>
                    <a:pt x="42" y="2477"/>
                  </a:lnTo>
                  <a:lnTo>
                    <a:pt x="49" y="2487"/>
                  </a:lnTo>
                  <a:lnTo>
                    <a:pt x="57" y="2497"/>
                  </a:lnTo>
                  <a:lnTo>
                    <a:pt x="65" y="2508"/>
                  </a:lnTo>
                  <a:lnTo>
                    <a:pt x="74" y="2517"/>
                  </a:lnTo>
                  <a:lnTo>
                    <a:pt x="83" y="2526"/>
                  </a:lnTo>
                  <a:lnTo>
                    <a:pt x="94" y="2534"/>
                  </a:lnTo>
                  <a:lnTo>
                    <a:pt x="104" y="2542"/>
                  </a:lnTo>
                  <a:lnTo>
                    <a:pt x="114" y="2549"/>
                  </a:lnTo>
                  <a:lnTo>
                    <a:pt x="124" y="2556"/>
                  </a:lnTo>
                  <a:lnTo>
                    <a:pt x="135" y="2562"/>
                  </a:lnTo>
                  <a:lnTo>
                    <a:pt x="145" y="2567"/>
                  </a:lnTo>
                  <a:lnTo>
                    <a:pt x="156" y="2572"/>
                  </a:lnTo>
                  <a:lnTo>
                    <a:pt x="168" y="2577"/>
                  </a:lnTo>
                  <a:lnTo>
                    <a:pt x="179" y="2580"/>
                  </a:lnTo>
                  <a:lnTo>
                    <a:pt x="190" y="2584"/>
                  </a:lnTo>
                  <a:lnTo>
                    <a:pt x="202" y="2586"/>
                  </a:lnTo>
                  <a:lnTo>
                    <a:pt x="215" y="2588"/>
                  </a:lnTo>
                  <a:lnTo>
                    <a:pt x="226" y="2590"/>
                  </a:lnTo>
                  <a:lnTo>
                    <a:pt x="238" y="2591"/>
                  </a:lnTo>
                  <a:lnTo>
                    <a:pt x="250" y="2592"/>
                  </a:lnTo>
                  <a:lnTo>
                    <a:pt x="262" y="2591"/>
                  </a:lnTo>
                  <a:lnTo>
                    <a:pt x="274" y="2591"/>
                  </a:lnTo>
                  <a:lnTo>
                    <a:pt x="285" y="2590"/>
                  </a:lnTo>
                  <a:lnTo>
                    <a:pt x="297" y="2588"/>
                  </a:lnTo>
                  <a:lnTo>
                    <a:pt x="309" y="2586"/>
                  </a:lnTo>
                  <a:lnTo>
                    <a:pt x="320" y="2583"/>
                  </a:lnTo>
                  <a:lnTo>
                    <a:pt x="333" y="2579"/>
                  </a:lnTo>
                  <a:lnTo>
                    <a:pt x="344" y="2576"/>
                  </a:lnTo>
                  <a:lnTo>
                    <a:pt x="355" y="2571"/>
                  </a:lnTo>
                  <a:lnTo>
                    <a:pt x="366" y="2566"/>
                  </a:lnTo>
                  <a:lnTo>
                    <a:pt x="377" y="2560"/>
                  </a:lnTo>
                  <a:lnTo>
                    <a:pt x="388" y="2554"/>
                  </a:lnTo>
                  <a:lnTo>
                    <a:pt x="398" y="2548"/>
                  </a:lnTo>
                  <a:lnTo>
                    <a:pt x="408" y="2540"/>
                  </a:lnTo>
                  <a:lnTo>
                    <a:pt x="418" y="2533"/>
                  </a:lnTo>
                  <a:lnTo>
                    <a:pt x="427" y="2524"/>
                  </a:lnTo>
                  <a:lnTo>
                    <a:pt x="429" y="2525"/>
                  </a:lnTo>
                  <a:lnTo>
                    <a:pt x="488" y="2479"/>
                  </a:lnTo>
                  <a:lnTo>
                    <a:pt x="547" y="2434"/>
                  </a:lnTo>
                  <a:lnTo>
                    <a:pt x="606" y="2388"/>
                  </a:lnTo>
                  <a:lnTo>
                    <a:pt x="664" y="2341"/>
                  </a:lnTo>
                  <a:lnTo>
                    <a:pt x="722" y="2293"/>
                  </a:lnTo>
                  <a:lnTo>
                    <a:pt x="780" y="2246"/>
                  </a:lnTo>
                  <a:lnTo>
                    <a:pt x="837" y="2199"/>
                  </a:lnTo>
                  <a:lnTo>
                    <a:pt x="894" y="2150"/>
                  </a:lnTo>
                  <a:lnTo>
                    <a:pt x="951" y="2101"/>
                  </a:lnTo>
                  <a:lnTo>
                    <a:pt x="1007" y="2052"/>
                  </a:lnTo>
                  <a:lnTo>
                    <a:pt x="1063" y="2003"/>
                  </a:lnTo>
                  <a:lnTo>
                    <a:pt x="1119" y="1951"/>
                  </a:lnTo>
                  <a:lnTo>
                    <a:pt x="1173" y="1901"/>
                  </a:lnTo>
                  <a:lnTo>
                    <a:pt x="1228" y="1849"/>
                  </a:lnTo>
                  <a:lnTo>
                    <a:pt x="1282" y="1796"/>
                  </a:lnTo>
                  <a:lnTo>
                    <a:pt x="1336" y="1744"/>
                  </a:lnTo>
                  <a:lnTo>
                    <a:pt x="1387" y="1693"/>
                  </a:lnTo>
                  <a:lnTo>
                    <a:pt x="1438" y="1640"/>
                  </a:lnTo>
                  <a:lnTo>
                    <a:pt x="1487" y="1589"/>
                  </a:lnTo>
                  <a:lnTo>
                    <a:pt x="1536" y="1537"/>
                  </a:lnTo>
                  <a:lnTo>
                    <a:pt x="1585" y="1483"/>
                  </a:lnTo>
                  <a:lnTo>
                    <a:pt x="1632" y="1431"/>
                  </a:lnTo>
                  <a:lnTo>
                    <a:pt x="1680" y="1378"/>
                  </a:lnTo>
                  <a:lnTo>
                    <a:pt x="1726" y="1325"/>
                  </a:lnTo>
                  <a:lnTo>
                    <a:pt x="1772" y="1271"/>
                  </a:lnTo>
                  <a:lnTo>
                    <a:pt x="1817" y="1217"/>
                  </a:lnTo>
                  <a:lnTo>
                    <a:pt x="1861" y="1164"/>
                  </a:lnTo>
                  <a:lnTo>
                    <a:pt x="1905" y="1109"/>
                  </a:lnTo>
                  <a:lnTo>
                    <a:pt x="1948" y="1055"/>
                  </a:lnTo>
                  <a:lnTo>
                    <a:pt x="1990" y="1000"/>
                  </a:lnTo>
                  <a:lnTo>
                    <a:pt x="2031" y="945"/>
                  </a:lnTo>
                  <a:lnTo>
                    <a:pt x="2073" y="890"/>
                  </a:lnTo>
                  <a:lnTo>
                    <a:pt x="2418" y="418"/>
                  </a:lnTo>
                  <a:lnTo>
                    <a:pt x="2417" y="417"/>
                  </a:lnTo>
                  <a:lnTo>
                    <a:pt x="2424" y="408"/>
                  </a:lnTo>
                  <a:lnTo>
                    <a:pt x="2432" y="398"/>
                  </a:lnTo>
                  <a:lnTo>
                    <a:pt x="2438" y="388"/>
                  </a:lnTo>
                  <a:lnTo>
                    <a:pt x="2444" y="378"/>
                  </a:lnTo>
                  <a:lnTo>
                    <a:pt x="2450" y="367"/>
                  </a:lnTo>
                  <a:lnTo>
                    <a:pt x="2455" y="357"/>
                  </a:lnTo>
                  <a:lnTo>
                    <a:pt x="2460" y="346"/>
                  </a:lnTo>
                  <a:lnTo>
                    <a:pt x="2464" y="335"/>
                  </a:lnTo>
                  <a:lnTo>
                    <a:pt x="2467" y="324"/>
                  </a:lnTo>
                  <a:lnTo>
                    <a:pt x="2470" y="313"/>
                  </a:lnTo>
                  <a:lnTo>
                    <a:pt x="2473" y="301"/>
                  </a:lnTo>
                  <a:lnTo>
                    <a:pt x="2475" y="289"/>
                  </a:lnTo>
                  <a:lnTo>
                    <a:pt x="2476" y="278"/>
                  </a:lnTo>
                  <a:lnTo>
                    <a:pt x="2477" y="266"/>
                  </a:lnTo>
                  <a:lnTo>
                    <a:pt x="2478" y="255"/>
                  </a:lnTo>
                  <a:lnTo>
                    <a:pt x="2478" y="243"/>
                  </a:lnTo>
                  <a:lnTo>
                    <a:pt x="2477" y="232"/>
                  </a:lnTo>
                  <a:lnTo>
                    <a:pt x="2476" y="220"/>
                  </a:lnTo>
                  <a:lnTo>
                    <a:pt x="2474" y="209"/>
                  </a:lnTo>
                  <a:lnTo>
                    <a:pt x="2472" y="198"/>
                  </a:lnTo>
                  <a:lnTo>
                    <a:pt x="2469" y="186"/>
                  </a:lnTo>
                  <a:lnTo>
                    <a:pt x="2466" y="175"/>
                  </a:lnTo>
                  <a:lnTo>
                    <a:pt x="2462" y="164"/>
                  </a:lnTo>
                  <a:lnTo>
                    <a:pt x="2458" y="154"/>
                  </a:lnTo>
                  <a:lnTo>
                    <a:pt x="2453" y="143"/>
                  </a:lnTo>
                  <a:lnTo>
                    <a:pt x="2447" y="132"/>
                  </a:lnTo>
                  <a:lnTo>
                    <a:pt x="2441" y="121"/>
                  </a:lnTo>
                  <a:lnTo>
                    <a:pt x="2435" y="111"/>
                  </a:lnTo>
                  <a:lnTo>
                    <a:pt x="2428" y="101"/>
                  </a:lnTo>
                  <a:lnTo>
                    <a:pt x="2420" y="92"/>
                  </a:lnTo>
                  <a:lnTo>
                    <a:pt x="2412" y="83"/>
                  </a:lnTo>
                  <a:lnTo>
                    <a:pt x="2403" y="74"/>
                  </a:lnTo>
                  <a:lnTo>
                    <a:pt x="2393" y="65"/>
                  </a:lnTo>
                  <a:lnTo>
                    <a:pt x="2384" y="56"/>
                  </a:lnTo>
                  <a:lnTo>
                    <a:pt x="2374" y="49"/>
                  </a:lnTo>
                  <a:lnTo>
                    <a:pt x="2363" y="41"/>
                  </a:lnTo>
                  <a:lnTo>
                    <a:pt x="2353" y="35"/>
                  </a:lnTo>
                  <a:lnTo>
                    <a:pt x="2342" y="29"/>
                  </a:lnTo>
                  <a:lnTo>
                    <a:pt x="2331" y="23"/>
                  </a:lnTo>
                  <a:lnTo>
                    <a:pt x="2320" y="18"/>
                  </a:lnTo>
                  <a:lnTo>
                    <a:pt x="2308" y="14"/>
                  </a:lnTo>
                  <a:lnTo>
                    <a:pt x="2297" y="10"/>
                  </a:lnTo>
                  <a:lnTo>
                    <a:pt x="2284" y="7"/>
                  </a:lnTo>
                  <a:lnTo>
                    <a:pt x="2272" y="4"/>
                  </a:lnTo>
                  <a:lnTo>
                    <a:pt x="2260" y="2"/>
                  </a:lnTo>
                  <a:lnTo>
                    <a:pt x="2248" y="1"/>
                  </a:lnTo>
                  <a:lnTo>
                    <a:pt x="2236" y="0"/>
                  </a:lnTo>
                  <a:lnTo>
                    <a:pt x="2224" y="0"/>
                  </a:lnTo>
                  <a:lnTo>
                    <a:pt x="2212" y="0"/>
                  </a:lnTo>
                  <a:lnTo>
                    <a:pt x="2200" y="1"/>
                  </a:lnTo>
                  <a:lnTo>
                    <a:pt x="2188" y="2"/>
                  </a:lnTo>
                  <a:lnTo>
                    <a:pt x="2176" y="4"/>
                  </a:lnTo>
                  <a:lnTo>
                    <a:pt x="2163" y="7"/>
                  </a:lnTo>
                  <a:lnTo>
                    <a:pt x="2151" y="10"/>
                  </a:lnTo>
                  <a:lnTo>
                    <a:pt x="2139" y="14"/>
                  </a:lnTo>
                  <a:lnTo>
                    <a:pt x="2128" y="18"/>
                  </a:lnTo>
                  <a:lnTo>
                    <a:pt x="2117" y="23"/>
                  </a:lnTo>
                  <a:lnTo>
                    <a:pt x="2105" y="29"/>
                  </a:lnTo>
                  <a:lnTo>
                    <a:pt x="2095" y="35"/>
                  </a:lnTo>
                  <a:lnTo>
                    <a:pt x="2084" y="41"/>
                  </a:lnTo>
                  <a:lnTo>
                    <a:pt x="2074" y="49"/>
                  </a:lnTo>
                  <a:lnTo>
                    <a:pt x="2063" y="56"/>
                  </a:lnTo>
                  <a:lnTo>
                    <a:pt x="2054" y="65"/>
                  </a:lnTo>
                  <a:lnTo>
                    <a:pt x="2044" y="74"/>
                  </a:lnTo>
                  <a:lnTo>
                    <a:pt x="2031" y="88"/>
                  </a:lnTo>
                  <a:lnTo>
                    <a:pt x="2019" y="103"/>
                  </a:lnTo>
                  <a:lnTo>
                    <a:pt x="2009" y="119"/>
                  </a:lnTo>
                  <a:lnTo>
                    <a:pt x="2000" y="136"/>
                  </a:lnTo>
                  <a:lnTo>
                    <a:pt x="1664" y="593"/>
                  </a:lnTo>
                  <a:lnTo>
                    <a:pt x="1627" y="645"/>
                  </a:lnTo>
                  <a:lnTo>
                    <a:pt x="1589" y="696"/>
                  </a:lnTo>
                  <a:lnTo>
                    <a:pt x="1549" y="746"/>
                  </a:lnTo>
                  <a:lnTo>
                    <a:pt x="1509" y="797"/>
                  </a:lnTo>
                  <a:lnTo>
                    <a:pt x="1469" y="848"/>
                  </a:lnTo>
                  <a:lnTo>
                    <a:pt x="1427" y="898"/>
                  </a:lnTo>
                  <a:lnTo>
                    <a:pt x="1386" y="948"/>
                  </a:lnTo>
                  <a:lnTo>
                    <a:pt x="1343" y="998"/>
                  </a:lnTo>
                  <a:lnTo>
                    <a:pt x="1299" y="1048"/>
                  </a:lnTo>
                  <a:lnTo>
                    <a:pt x="1256" y="1097"/>
                  </a:lnTo>
                  <a:lnTo>
                    <a:pt x="1212" y="1146"/>
                  </a:lnTo>
                  <a:lnTo>
                    <a:pt x="1166" y="1195"/>
                  </a:lnTo>
                  <a:lnTo>
                    <a:pt x="1120" y="1244"/>
                  </a:lnTo>
                  <a:lnTo>
                    <a:pt x="1074" y="1292"/>
                  </a:lnTo>
                  <a:lnTo>
                    <a:pt x="1027" y="1341"/>
                  </a:lnTo>
                  <a:lnTo>
                    <a:pt x="980" y="13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18" name="ïṧļîďe">
              <a:extLst>
                <a:ext uri="{FF2B5EF4-FFF2-40B4-BE49-F238E27FC236}">
                  <a16:creationId xmlns:a16="http://schemas.microsoft.com/office/drawing/2014/main" id="{EA814CDC-62DA-4972-BBF2-FE3549900770}"/>
                </a:ext>
              </a:extLst>
            </p:cNvPr>
            <p:cNvSpPr/>
            <p:nvPr/>
          </p:nvSpPr>
          <p:spPr bwMode="auto">
            <a:xfrm>
              <a:off x="3240995" y="1493427"/>
              <a:ext cx="127257" cy="407036"/>
            </a:xfrm>
            <a:custGeom>
              <a:avLst/>
              <a:gdLst>
                <a:gd name="T0" fmla="*/ 3784 w 5030"/>
                <a:gd name="T1" fmla="*/ 5837 h 16095"/>
                <a:gd name="T2" fmla="*/ 3571 w 5030"/>
                <a:gd name="T3" fmla="*/ 6098 h 16095"/>
                <a:gd name="T4" fmla="*/ 3350 w 5030"/>
                <a:gd name="T5" fmla="*/ 6279 h 16095"/>
                <a:gd name="T6" fmla="*/ 3045 w 5030"/>
                <a:gd name="T7" fmla="*/ 6436 h 16095"/>
                <a:gd name="T8" fmla="*/ 2678 w 5030"/>
                <a:gd name="T9" fmla="*/ 6529 h 16095"/>
                <a:gd name="T10" fmla="*/ 2288 w 5030"/>
                <a:gd name="T11" fmla="*/ 6519 h 16095"/>
                <a:gd name="T12" fmla="*/ 1931 w 5030"/>
                <a:gd name="T13" fmla="*/ 6415 h 16095"/>
                <a:gd name="T14" fmla="*/ 1633 w 5030"/>
                <a:gd name="T15" fmla="*/ 6246 h 16095"/>
                <a:gd name="T16" fmla="*/ 1400 w 5030"/>
                <a:gd name="T17" fmla="*/ 6039 h 16095"/>
                <a:gd name="T18" fmla="*/ 1158 w 5030"/>
                <a:gd name="T19" fmla="*/ 5678 h 16095"/>
                <a:gd name="T20" fmla="*/ 1020 w 5030"/>
                <a:gd name="T21" fmla="*/ 5219 h 16095"/>
                <a:gd name="T22" fmla="*/ 1014 w 5030"/>
                <a:gd name="T23" fmla="*/ 4893 h 16095"/>
                <a:gd name="T24" fmla="*/ 1117 w 5030"/>
                <a:gd name="T25" fmla="*/ 4478 h 16095"/>
                <a:gd name="T26" fmla="*/ 1329 w 5030"/>
                <a:gd name="T27" fmla="*/ 4104 h 16095"/>
                <a:gd name="T28" fmla="*/ 1607 w 5030"/>
                <a:gd name="T29" fmla="*/ 3832 h 16095"/>
                <a:gd name="T30" fmla="*/ 1879 w 5030"/>
                <a:gd name="T31" fmla="*/ 3669 h 16095"/>
                <a:gd name="T32" fmla="*/ 2225 w 5030"/>
                <a:gd name="T33" fmla="*/ 3552 h 16095"/>
                <a:gd name="T34" fmla="*/ 2613 w 5030"/>
                <a:gd name="T35" fmla="*/ 3525 h 16095"/>
                <a:gd name="T36" fmla="*/ 2988 w 5030"/>
                <a:gd name="T37" fmla="*/ 3603 h 16095"/>
                <a:gd name="T38" fmla="*/ 3301 w 5030"/>
                <a:gd name="T39" fmla="*/ 3750 h 16095"/>
                <a:gd name="T40" fmla="*/ 3571 w 5030"/>
                <a:gd name="T41" fmla="*/ 3960 h 16095"/>
                <a:gd name="T42" fmla="*/ 3825 w 5030"/>
                <a:gd name="T43" fmla="*/ 4288 h 16095"/>
                <a:gd name="T44" fmla="*/ 3996 w 5030"/>
                <a:gd name="T45" fmla="*/ 4760 h 16095"/>
                <a:gd name="T46" fmla="*/ 4021 w 5030"/>
                <a:gd name="T47" fmla="*/ 5112 h 16095"/>
                <a:gd name="T48" fmla="*/ 3015 w 5030"/>
                <a:gd name="T49" fmla="*/ 14637 h 16095"/>
                <a:gd name="T50" fmla="*/ 2903 w 5030"/>
                <a:gd name="T51" fmla="*/ 14906 h 16095"/>
                <a:gd name="T52" fmla="*/ 2665 w 5030"/>
                <a:gd name="T53" fmla="*/ 15067 h 16095"/>
                <a:gd name="T54" fmla="*/ 2365 w 5030"/>
                <a:gd name="T55" fmla="*/ 15067 h 16095"/>
                <a:gd name="T56" fmla="*/ 2127 w 5030"/>
                <a:gd name="T57" fmla="*/ 14906 h 16095"/>
                <a:gd name="T58" fmla="*/ 2015 w 5030"/>
                <a:gd name="T59" fmla="*/ 14637 h 16095"/>
                <a:gd name="T60" fmla="*/ 2579 w 5030"/>
                <a:gd name="T61" fmla="*/ 7544 h 16095"/>
                <a:gd name="T62" fmla="*/ 2018 w 5030"/>
                <a:gd name="T63" fmla="*/ 1432 h 16095"/>
                <a:gd name="T64" fmla="*/ 2143 w 5030"/>
                <a:gd name="T65" fmla="*/ 1171 h 16095"/>
                <a:gd name="T66" fmla="*/ 2389 w 5030"/>
                <a:gd name="T67" fmla="*/ 1022 h 16095"/>
                <a:gd name="T68" fmla="*/ 2688 w 5030"/>
                <a:gd name="T69" fmla="*/ 1036 h 16095"/>
                <a:gd name="T70" fmla="*/ 2918 w 5030"/>
                <a:gd name="T71" fmla="*/ 1208 h 16095"/>
                <a:gd name="T72" fmla="*/ 3017 w 5030"/>
                <a:gd name="T73" fmla="*/ 1483 h 16095"/>
                <a:gd name="T74" fmla="*/ 2386 w 5030"/>
                <a:gd name="T75" fmla="*/ 2518 h 16095"/>
                <a:gd name="T76" fmla="*/ 4007 w 5030"/>
                <a:gd name="T77" fmla="*/ 1280 h 16095"/>
                <a:gd name="T78" fmla="*/ 3631 w 5030"/>
                <a:gd name="T79" fmla="*/ 495 h 16095"/>
                <a:gd name="T80" fmla="*/ 2891 w 5030"/>
                <a:gd name="T81" fmla="*/ 47 h 16095"/>
                <a:gd name="T82" fmla="*/ 1997 w 5030"/>
                <a:gd name="T83" fmla="*/ 92 h 16095"/>
                <a:gd name="T84" fmla="*/ 1306 w 5030"/>
                <a:gd name="T85" fmla="*/ 607 h 16095"/>
                <a:gd name="T86" fmla="*/ 1008 w 5030"/>
                <a:gd name="T87" fmla="*/ 1431 h 16095"/>
                <a:gd name="T88" fmla="*/ 503 w 5030"/>
                <a:gd name="T89" fmla="*/ 3532 h 16095"/>
                <a:gd name="T90" fmla="*/ 111 w 5030"/>
                <a:gd name="T91" fmla="*/ 4294 h 16095"/>
                <a:gd name="T92" fmla="*/ 5 w 5030"/>
                <a:gd name="T93" fmla="*/ 5183 h 16095"/>
                <a:gd name="T94" fmla="*/ 213 w 5030"/>
                <a:gd name="T95" fmla="*/ 6036 h 16095"/>
                <a:gd name="T96" fmla="*/ 687 w 5030"/>
                <a:gd name="T97" fmla="*/ 6746 h 16095"/>
                <a:gd name="T98" fmla="*/ 1053 w 5030"/>
                <a:gd name="T99" fmla="*/ 14962 h 16095"/>
                <a:gd name="T100" fmla="*/ 1501 w 5030"/>
                <a:gd name="T101" fmla="*/ 15703 h 16095"/>
                <a:gd name="T102" fmla="*/ 2285 w 5030"/>
                <a:gd name="T103" fmla="*/ 16078 h 16095"/>
                <a:gd name="T104" fmla="*/ 3169 w 5030"/>
                <a:gd name="T105" fmla="*/ 15946 h 16095"/>
                <a:gd name="T106" fmla="*/ 3805 w 5030"/>
                <a:gd name="T107" fmla="*/ 15368 h 16095"/>
                <a:gd name="T108" fmla="*/ 4024 w 5030"/>
                <a:gd name="T109" fmla="*/ 7030 h 16095"/>
                <a:gd name="T110" fmla="*/ 4609 w 5030"/>
                <a:gd name="T111" fmla="*/ 6412 h 16095"/>
                <a:gd name="T112" fmla="*/ 4958 w 5030"/>
                <a:gd name="T113" fmla="*/ 5624 h 16095"/>
                <a:gd name="T114" fmla="*/ 5012 w 5030"/>
                <a:gd name="T115" fmla="*/ 4727 h 16095"/>
                <a:gd name="T116" fmla="*/ 4754 w 5030"/>
                <a:gd name="T117" fmla="*/ 3894 h 16095"/>
                <a:gd name="T118" fmla="*/ 4241 w 5030"/>
                <a:gd name="T119" fmla="*/ 3213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30" h="16095">
                  <a:moveTo>
                    <a:pt x="3955" y="5452"/>
                  </a:moveTo>
                  <a:lnTo>
                    <a:pt x="3950" y="5472"/>
                  </a:lnTo>
                  <a:lnTo>
                    <a:pt x="3944" y="5492"/>
                  </a:lnTo>
                  <a:lnTo>
                    <a:pt x="3938" y="5512"/>
                  </a:lnTo>
                  <a:lnTo>
                    <a:pt x="3931" y="5532"/>
                  </a:lnTo>
                  <a:lnTo>
                    <a:pt x="3913" y="5581"/>
                  </a:lnTo>
                  <a:lnTo>
                    <a:pt x="3893" y="5630"/>
                  </a:lnTo>
                  <a:lnTo>
                    <a:pt x="3872" y="5678"/>
                  </a:lnTo>
                  <a:lnTo>
                    <a:pt x="3849" y="5725"/>
                  </a:lnTo>
                  <a:lnTo>
                    <a:pt x="3825" y="5771"/>
                  </a:lnTo>
                  <a:lnTo>
                    <a:pt x="3798" y="5815"/>
                  </a:lnTo>
                  <a:lnTo>
                    <a:pt x="3784" y="5837"/>
                  </a:lnTo>
                  <a:lnTo>
                    <a:pt x="3770" y="5860"/>
                  </a:lnTo>
                  <a:lnTo>
                    <a:pt x="3756" y="5881"/>
                  </a:lnTo>
                  <a:lnTo>
                    <a:pt x="3741" y="5903"/>
                  </a:lnTo>
                  <a:lnTo>
                    <a:pt x="3738" y="5906"/>
                  </a:lnTo>
                  <a:lnTo>
                    <a:pt x="3735" y="5910"/>
                  </a:lnTo>
                  <a:lnTo>
                    <a:pt x="3701" y="5954"/>
                  </a:lnTo>
                  <a:lnTo>
                    <a:pt x="3666" y="5997"/>
                  </a:lnTo>
                  <a:lnTo>
                    <a:pt x="3648" y="6019"/>
                  </a:lnTo>
                  <a:lnTo>
                    <a:pt x="3629" y="6039"/>
                  </a:lnTo>
                  <a:lnTo>
                    <a:pt x="3610" y="6059"/>
                  </a:lnTo>
                  <a:lnTo>
                    <a:pt x="3591" y="6079"/>
                  </a:lnTo>
                  <a:lnTo>
                    <a:pt x="3571" y="6098"/>
                  </a:lnTo>
                  <a:lnTo>
                    <a:pt x="3552" y="6118"/>
                  </a:lnTo>
                  <a:lnTo>
                    <a:pt x="3531" y="6136"/>
                  </a:lnTo>
                  <a:lnTo>
                    <a:pt x="3511" y="6155"/>
                  </a:lnTo>
                  <a:lnTo>
                    <a:pt x="3490" y="6173"/>
                  </a:lnTo>
                  <a:lnTo>
                    <a:pt x="3468" y="6191"/>
                  </a:lnTo>
                  <a:lnTo>
                    <a:pt x="3446" y="6209"/>
                  </a:lnTo>
                  <a:lnTo>
                    <a:pt x="3424" y="6225"/>
                  </a:lnTo>
                  <a:lnTo>
                    <a:pt x="3422" y="6228"/>
                  </a:lnTo>
                  <a:lnTo>
                    <a:pt x="3420" y="6230"/>
                  </a:lnTo>
                  <a:lnTo>
                    <a:pt x="3397" y="6246"/>
                  </a:lnTo>
                  <a:lnTo>
                    <a:pt x="3374" y="6263"/>
                  </a:lnTo>
                  <a:lnTo>
                    <a:pt x="3350" y="6279"/>
                  </a:lnTo>
                  <a:lnTo>
                    <a:pt x="3326" y="6294"/>
                  </a:lnTo>
                  <a:lnTo>
                    <a:pt x="3301" y="6309"/>
                  </a:lnTo>
                  <a:lnTo>
                    <a:pt x="3277" y="6324"/>
                  </a:lnTo>
                  <a:lnTo>
                    <a:pt x="3252" y="6338"/>
                  </a:lnTo>
                  <a:lnTo>
                    <a:pt x="3228" y="6352"/>
                  </a:lnTo>
                  <a:lnTo>
                    <a:pt x="3202" y="6366"/>
                  </a:lnTo>
                  <a:lnTo>
                    <a:pt x="3177" y="6379"/>
                  </a:lnTo>
                  <a:lnTo>
                    <a:pt x="3151" y="6391"/>
                  </a:lnTo>
                  <a:lnTo>
                    <a:pt x="3124" y="6403"/>
                  </a:lnTo>
                  <a:lnTo>
                    <a:pt x="3098" y="6415"/>
                  </a:lnTo>
                  <a:lnTo>
                    <a:pt x="3072" y="6425"/>
                  </a:lnTo>
                  <a:lnTo>
                    <a:pt x="3045" y="6436"/>
                  </a:lnTo>
                  <a:lnTo>
                    <a:pt x="3018" y="6446"/>
                  </a:lnTo>
                  <a:lnTo>
                    <a:pt x="2988" y="6456"/>
                  </a:lnTo>
                  <a:lnTo>
                    <a:pt x="2958" y="6466"/>
                  </a:lnTo>
                  <a:lnTo>
                    <a:pt x="2928" y="6475"/>
                  </a:lnTo>
                  <a:lnTo>
                    <a:pt x="2897" y="6484"/>
                  </a:lnTo>
                  <a:lnTo>
                    <a:pt x="2867" y="6492"/>
                  </a:lnTo>
                  <a:lnTo>
                    <a:pt x="2836" y="6500"/>
                  </a:lnTo>
                  <a:lnTo>
                    <a:pt x="2805" y="6507"/>
                  </a:lnTo>
                  <a:lnTo>
                    <a:pt x="2773" y="6513"/>
                  </a:lnTo>
                  <a:lnTo>
                    <a:pt x="2742" y="6519"/>
                  </a:lnTo>
                  <a:lnTo>
                    <a:pt x="2710" y="6525"/>
                  </a:lnTo>
                  <a:lnTo>
                    <a:pt x="2678" y="6529"/>
                  </a:lnTo>
                  <a:lnTo>
                    <a:pt x="2646" y="6533"/>
                  </a:lnTo>
                  <a:lnTo>
                    <a:pt x="2613" y="6535"/>
                  </a:lnTo>
                  <a:lnTo>
                    <a:pt x="2581" y="6537"/>
                  </a:lnTo>
                  <a:lnTo>
                    <a:pt x="2548" y="6539"/>
                  </a:lnTo>
                  <a:lnTo>
                    <a:pt x="2515" y="6539"/>
                  </a:lnTo>
                  <a:lnTo>
                    <a:pt x="2482" y="6539"/>
                  </a:lnTo>
                  <a:lnTo>
                    <a:pt x="2448" y="6537"/>
                  </a:lnTo>
                  <a:lnTo>
                    <a:pt x="2416" y="6535"/>
                  </a:lnTo>
                  <a:lnTo>
                    <a:pt x="2383" y="6533"/>
                  </a:lnTo>
                  <a:lnTo>
                    <a:pt x="2351" y="6529"/>
                  </a:lnTo>
                  <a:lnTo>
                    <a:pt x="2320" y="6525"/>
                  </a:lnTo>
                  <a:lnTo>
                    <a:pt x="2288" y="6519"/>
                  </a:lnTo>
                  <a:lnTo>
                    <a:pt x="2256" y="6513"/>
                  </a:lnTo>
                  <a:lnTo>
                    <a:pt x="2225" y="6507"/>
                  </a:lnTo>
                  <a:lnTo>
                    <a:pt x="2194" y="6500"/>
                  </a:lnTo>
                  <a:lnTo>
                    <a:pt x="2163" y="6492"/>
                  </a:lnTo>
                  <a:lnTo>
                    <a:pt x="2133" y="6484"/>
                  </a:lnTo>
                  <a:lnTo>
                    <a:pt x="2101" y="6475"/>
                  </a:lnTo>
                  <a:lnTo>
                    <a:pt x="2071" y="6466"/>
                  </a:lnTo>
                  <a:lnTo>
                    <a:pt x="2041" y="6456"/>
                  </a:lnTo>
                  <a:lnTo>
                    <a:pt x="2012" y="6446"/>
                  </a:lnTo>
                  <a:lnTo>
                    <a:pt x="1985" y="6436"/>
                  </a:lnTo>
                  <a:lnTo>
                    <a:pt x="1958" y="6425"/>
                  </a:lnTo>
                  <a:lnTo>
                    <a:pt x="1931" y="6415"/>
                  </a:lnTo>
                  <a:lnTo>
                    <a:pt x="1905" y="6403"/>
                  </a:lnTo>
                  <a:lnTo>
                    <a:pt x="1879" y="6391"/>
                  </a:lnTo>
                  <a:lnTo>
                    <a:pt x="1853" y="6379"/>
                  </a:lnTo>
                  <a:lnTo>
                    <a:pt x="1827" y="6366"/>
                  </a:lnTo>
                  <a:lnTo>
                    <a:pt x="1802" y="6352"/>
                  </a:lnTo>
                  <a:lnTo>
                    <a:pt x="1776" y="6338"/>
                  </a:lnTo>
                  <a:lnTo>
                    <a:pt x="1752" y="6324"/>
                  </a:lnTo>
                  <a:lnTo>
                    <a:pt x="1727" y="6309"/>
                  </a:lnTo>
                  <a:lnTo>
                    <a:pt x="1703" y="6294"/>
                  </a:lnTo>
                  <a:lnTo>
                    <a:pt x="1680" y="6279"/>
                  </a:lnTo>
                  <a:lnTo>
                    <a:pt x="1656" y="6263"/>
                  </a:lnTo>
                  <a:lnTo>
                    <a:pt x="1633" y="6246"/>
                  </a:lnTo>
                  <a:lnTo>
                    <a:pt x="1611" y="6230"/>
                  </a:lnTo>
                  <a:lnTo>
                    <a:pt x="1607" y="6228"/>
                  </a:lnTo>
                  <a:lnTo>
                    <a:pt x="1605" y="6225"/>
                  </a:lnTo>
                  <a:lnTo>
                    <a:pt x="1583" y="6209"/>
                  </a:lnTo>
                  <a:lnTo>
                    <a:pt x="1561" y="6191"/>
                  </a:lnTo>
                  <a:lnTo>
                    <a:pt x="1540" y="6173"/>
                  </a:lnTo>
                  <a:lnTo>
                    <a:pt x="1519" y="6155"/>
                  </a:lnTo>
                  <a:lnTo>
                    <a:pt x="1499" y="6136"/>
                  </a:lnTo>
                  <a:lnTo>
                    <a:pt x="1478" y="6118"/>
                  </a:lnTo>
                  <a:lnTo>
                    <a:pt x="1458" y="6098"/>
                  </a:lnTo>
                  <a:lnTo>
                    <a:pt x="1438" y="6079"/>
                  </a:lnTo>
                  <a:lnTo>
                    <a:pt x="1400" y="6039"/>
                  </a:lnTo>
                  <a:lnTo>
                    <a:pt x="1364" y="5997"/>
                  </a:lnTo>
                  <a:lnTo>
                    <a:pt x="1329" y="5954"/>
                  </a:lnTo>
                  <a:lnTo>
                    <a:pt x="1295" y="5910"/>
                  </a:lnTo>
                  <a:lnTo>
                    <a:pt x="1292" y="5906"/>
                  </a:lnTo>
                  <a:lnTo>
                    <a:pt x="1289" y="5903"/>
                  </a:lnTo>
                  <a:lnTo>
                    <a:pt x="1274" y="5881"/>
                  </a:lnTo>
                  <a:lnTo>
                    <a:pt x="1258" y="5860"/>
                  </a:lnTo>
                  <a:lnTo>
                    <a:pt x="1244" y="5837"/>
                  </a:lnTo>
                  <a:lnTo>
                    <a:pt x="1231" y="5815"/>
                  </a:lnTo>
                  <a:lnTo>
                    <a:pt x="1205" y="5771"/>
                  </a:lnTo>
                  <a:lnTo>
                    <a:pt x="1181" y="5725"/>
                  </a:lnTo>
                  <a:lnTo>
                    <a:pt x="1158" y="5678"/>
                  </a:lnTo>
                  <a:lnTo>
                    <a:pt x="1137" y="5630"/>
                  </a:lnTo>
                  <a:lnTo>
                    <a:pt x="1117" y="5581"/>
                  </a:lnTo>
                  <a:lnTo>
                    <a:pt x="1098" y="5532"/>
                  </a:lnTo>
                  <a:lnTo>
                    <a:pt x="1091" y="5512"/>
                  </a:lnTo>
                  <a:lnTo>
                    <a:pt x="1085" y="5492"/>
                  </a:lnTo>
                  <a:lnTo>
                    <a:pt x="1079" y="5472"/>
                  </a:lnTo>
                  <a:lnTo>
                    <a:pt x="1074" y="5452"/>
                  </a:lnTo>
                  <a:lnTo>
                    <a:pt x="1059" y="5402"/>
                  </a:lnTo>
                  <a:lnTo>
                    <a:pt x="1046" y="5350"/>
                  </a:lnTo>
                  <a:lnTo>
                    <a:pt x="1034" y="5298"/>
                  </a:lnTo>
                  <a:lnTo>
                    <a:pt x="1025" y="5246"/>
                  </a:lnTo>
                  <a:lnTo>
                    <a:pt x="1020" y="5219"/>
                  </a:lnTo>
                  <a:lnTo>
                    <a:pt x="1017" y="5193"/>
                  </a:lnTo>
                  <a:lnTo>
                    <a:pt x="1014" y="5165"/>
                  </a:lnTo>
                  <a:lnTo>
                    <a:pt x="1011" y="5139"/>
                  </a:lnTo>
                  <a:lnTo>
                    <a:pt x="1009" y="5112"/>
                  </a:lnTo>
                  <a:lnTo>
                    <a:pt x="1007" y="5085"/>
                  </a:lnTo>
                  <a:lnTo>
                    <a:pt x="1006" y="5057"/>
                  </a:lnTo>
                  <a:lnTo>
                    <a:pt x="1006" y="5030"/>
                  </a:lnTo>
                  <a:lnTo>
                    <a:pt x="1006" y="5002"/>
                  </a:lnTo>
                  <a:lnTo>
                    <a:pt x="1007" y="4974"/>
                  </a:lnTo>
                  <a:lnTo>
                    <a:pt x="1009" y="4947"/>
                  </a:lnTo>
                  <a:lnTo>
                    <a:pt x="1011" y="4920"/>
                  </a:lnTo>
                  <a:lnTo>
                    <a:pt x="1014" y="4893"/>
                  </a:lnTo>
                  <a:lnTo>
                    <a:pt x="1017" y="4866"/>
                  </a:lnTo>
                  <a:lnTo>
                    <a:pt x="1020" y="4840"/>
                  </a:lnTo>
                  <a:lnTo>
                    <a:pt x="1025" y="4812"/>
                  </a:lnTo>
                  <a:lnTo>
                    <a:pt x="1034" y="4760"/>
                  </a:lnTo>
                  <a:lnTo>
                    <a:pt x="1046" y="4709"/>
                  </a:lnTo>
                  <a:lnTo>
                    <a:pt x="1059" y="4657"/>
                  </a:lnTo>
                  <a:lnTo>
                    <a:pt x="1074" y="4606"/>
                  </a:lnTo>
                  <a:lnTo>
                    <a:pt x="1079" y="4586"/>
                  </a:lnTo>
                  <a:lnTo>
                    <a:pt x="1085" y="4567"/>
                  </a:lnTo>
                  <a:lnTo>
                    <a:pt x="1091" y="4547"/>
                  </a:lnTo>
                  <a:lnTo>
                    <a:pt x="1098" y="4528"/>
                  </a:lnTo>
                  <a:lnTo>
                    <a:pt x="1117" y="4478"/>
                  </a:lnTo>
                  <a:lnTo>
                    <a:pt x="1137" y="4429"/>
                  </a:lnTo>
                  <a:lnTo>
                    <a:pt x="1158" y="4382"/>
                  </a:lnTo>
                  <a:lnTo>
                    <a:pt x="1181" y="4335"/>
                  </a:lnTo>
                  <a:lnTo>
                    <a:pt x="1205" y="4288"/>
                  </a:lnTo>
                  <a:lnTo>
                    <a:pt x="1231" y="4243"/>
                  </a:lnTo>
                  <a:lnTo>
                    <a:pt x="1244" y="4221"/>
                  </a:lnTo>
                  <a:lnTo>
                    <a:pt x="1258" y="4200"/>
                  </a:lnTo>
                  <a:lnTo>
                    <a:pt x="1274" y="4178"/>
                  </a:lnTo>
                  <a:lnTo>
                    <a:pt x="1289" y="4157"/>
                  </a:lnTo>
                  <a:lnTo>
                    <a:pt x="1292" y="4153"/>
                  </a:lnTo>
                  <a:lnTo>
                    <a:pt x="1295" y="4148"/>
                  </a:lnTo>
                  <a:lnTo>
                    <a:pt x="1329" y="4104"/>
                  </a:lnTo>
                  <a:lnTo>
                    <a:pt x="1364" y="4062"/>
                  </a:lnTo>
                  <a:lnTo>
                    <a:pt x="1400" y="4020"/>
                  </a:lnTo>
                  <a:lnTo>
                    <a:pt x="1438" y="3979"/>
                  </a:lnTo>
                  <a:lnTo>
                    <a:pt x="1458" y="3960"/>
                  </a:lnTo>
                  <a:lnTo>
                    <a:pt x="1478" y="3941"/>
                  </a:lnTo>
                  <a:lnTo>
                    <a:pt x="1499" y="3922"/>
                  </a:lnTo>
                  <a:lnTo>
                    <a:pt x="1519" y="3903"/>
                  </a:lnTo>
                  <a:lnTo>
                    <a:pt x="1540" y="3885"/>
                  </a:lnTo>
                  <a:lnTo>
                    <a:pt x="1561" y="3868"/>
                  </a:lnTo>
                  <a:lnTo>
                    <a:pt x="1583" y="3850"/>
                  </a:lnTo>
                  <a:lnTo>
                    <a:pt x="1605" y="3833"/>
                  </a:lnTo>
                  <a:lnTo>
                    <a:pt x="1607" y="3832"/>
                  </a:lnTo>
                  <a:lnTo>
                    <a:pt x="1611" y="3830"/>
                  </a:lnTo>
                  <a:lnTo>
                    <a:pt x="1633" y="3813"/>
                  </a:lnTo>
                  <a:lnTo>
                    <a:pt x="1656" y="3796"/>
                  </a:lnTo>
                  <a:lnTo>
                    <a:pt x="1680" y="3780"/>
                  </a:lnTo>
                  <a:lnTo>
                    <a:pt x="1703" y="3765"/>
                  </a:lnTo>
                  <a:lnTo>
                    <a:pt x="1727" y="3750"/>
                  </a:lnTo>
                  <a:lnTo>
                    <a:pt x="1752" y="3735"/>
                  </a:lnTo>
                  <a:lnTo>
                    <a:pt x="1776" y="3721"/>
                  </a:lnTo>
                  <a:lnTo>
                    <a:pt x="1802" y="3707"/>
                  </a:lnTo>
                  <a:lnTo>
                    <a:pt x="1827" y="3694"/>
                  </a:lnTo>
                  <a:lnTo>
                    <a:pt x="1853" y="3681"/>
                  </a:lnTo>
                  <a:lnTo>
                    <a:pt x="1879" y="3669"/>
                  </a:lnTo>
                  <a:lnTo>
                    <a:pt x="1905" y="3657"/>
                  </a:lnTo>
                  <a:lnTo>
                    <a:pt x="1931" y="3645"/>
                  </a:lnTo>
                  <a:lnTo>
                    <a:pt x="1958" y="3633"/>
                  </a:lnTo>
                  <a:lnTo>
                    <a:pt x="1985" y="3623"/>
                  </a:lnTo>
                  <a:lnTo>
                    <a:pt x="2012" y="3613"/>
                  </a:lnTo>
                  <a:lnTo>
                    <a:pt x="2041" y="3603"/>
                  </a:lnTo>
                  <a:lnTo>
                    <a:pt x="2071" y="3593"/>
                  </a:lnTo>
                  <a:lnTo>
                    <a:pt x="2101" y="3584"/>
                  </a:lnTo>
                  <a:lnTo>
                    <a:pt x="2133" y="3575"/>
                  </a:lnTo>
                  <a:lnTo>
                    <a:pt x="2163" y="3567"/>
                  </a:lnTo>
                  <a:lnTo>
                    <a:pt x="2194" y="3559"/>
                  </a:lnTo>
                  <a:lnTo>
                    <a:pt x="2225" y="3552"/>
                  </a:lnTo>
                  <a:lnTo>
                    <a:pt x="2256" y="3546"/>
                  </a:lnTo>
                  <a:lnTo>
                    <a:pt x="2288" y="3540"/>
                  </a:lnTo>
                  <a:lnTo>
                    <a:pt x="2320" y="3535"/>
                  </a:lnTo>
                  <a:lnTo>
                    <a:pt x="2351" y="3531"/>
                  </a:lnTo>
                  <a:lnTo>
                    <a:pt x="2383" y="3528"/>
                  </a:lnTo>
                  <a:lnTo>
                    <a:pt x="2416" y="3525"/>
                  </a:lnTo>
                  <a:lnTo>
                    <a:pt x="2448" y="3523"/>
                  </a:lnTo>
                  <a:lnTo>
                    <a:pt x="2482" y="3521"/>
                  </a:lnTo>
                  <a:lnTo>
                    <a:pt x="2515" y="3521"/>
                  </a:lnTo>
                  <a:lnTo>
                    <a:pt x="2548" y="3521"/>
                  </a:lnTo>
                  <a:lnTo>
                    <a:pt x="2581" y="3523"/>
                  </a:lnTo>
                  <a:lnTo>
                    <a:pt x="2613" y="3525"/>
                  </a:lnTo>
                  <a:lnTo>
                    <a:pt x="2646" y="3528"/>
                  </a:lnTo>
                  <a:lnTo>
                    <a:pt x="2678" y="3531"/>
                  </a:lnTo>
                  <a:lnTo>
                    <a:pt x="2710" y="3535"/>
                  </a:lnTo>
                  <a:lnTo>
                    <a:pt x="2742" y="3540"/>
                  </a:lnTo>
                  <a:lnTo>
                    <a:pt x="2773" y="3546"/>
                  </a:lnTo>
                  <a:lnTo>
                    <a:pt x="2805" y="3552"/>
                  </a:lnTo>
                  <a:lnTo>
                    <a:pt x="2836" y="3559"/>
                  </a:lnTo>
                  <a:lnTo>
                    <a:pt x="2867" y="3567"/>
                  </a:lnTo>
                  <a:lnTo>
                    <a:pt x="2897" y="3575"/>
                  </a:lnTo>
                  <a:lnTo>
                    <a:pt x="2928" y="3584"/>
                  </a:lnTo>
                  <a:lnTo>
                    <a:pt x="2958" y="3593"/>
                  </a:lnTo>
                  <a:lnTo>
                    <a:pt x="2988" y="3603"/>
                  </a:lnTo>
                  <a:lnTo>
                    <a:pt x="3018" y="3613"/>
                  </a:lnTo>
                  <a:lnTo>
                    <a:pt x="3045" y="3623"/>
                  </a:lnTo>
                  <a:lnTo>
                    <a:pt x="3072" y="3633"/>
                  </a:lnTo>
                  <a:lnTo>
                    <a:pt x="3098" y="3645"/>
                  </a:lnTo>
                  <a:lnTo>
                    <a:pt x="3124" y="3657"/>
                  </a:lnTo>
                  <a:lnTo>
                    <a:pt x="3151" y="3669"/>
                  </a:lnTo>
                  <a:lnTo>
                    <a:pt x="3177" y="3681"/>
                  </a:lnTo>
                  <a:lnTo>
                    <a:pt x="3202" y="3694"/>
                  </a:lnTo>
                  <a:lnTo>
                    <a:pt x="3228" y="3707"/>
                  </a:lnTo>
                  <a:lnTo>
                    <a:pt x="3252" y="3721"/>
                  </a:lnTo>
                  <a:lnTo>
                    <a:pt x="3277" y="3735"/>
                  </a:lnTo>
                  <a:lnTo>
                    <a:pt x="3301" y="3750"/>
                  </a:lnTo>
                  <a:lnTo>
                    <a:pt x="3326" y="3765"/>
                  </a:lnTo>
                  <a:lnTo>
                    <a:pt x="3374" y="3796"/>
                  </a:lnTo>
                  <a:lnTo>
                    <a:pt x="3420" y="3830"/>
                  </a:lnTo>
                  <a:lnTo>
                    <a:pt x="3422" y="3832"/>
                  </a:lnTo>
                  <a:lnTo>
                    <a:pt x="3424" y="3833"/>
                  </a:lnTo>
                  <a:lnTo>
                    <a:pt x="3446" y="3850"/>
                  </a:lnTo>
                  <a:lnTo>
                    <a:pt x="3468" y="3868"/>
                  </a:lnTo>
                  <a:lnTo>
                    <a:pt x="3490" y="3885"/>
                  </a:lnTo>
                  <a:lnTo>
                    <a:pt x="3511" y="3903"/>
                  </a:lnTo>
                  <a:lnTo>
                    <a:pt x="3531" y="3922"/>
                  </a:lnTo>
                  <a:lnTo>
                    <a:pt x="3552" y="3941"/>
                  </a:lnTo>
                  <a:lnTo>
                    <a:pt x="3571" y="3960"/>
                  </a:lnTo>
                  <a:lnTo>
                    <a:pt x="3591" y="3979"/>
                  </a:lnTo>
                  <a:lnTo>
                    <a:pt x="3629" y="4020"/>
                  </a:lnTo>
                  <a:lnTo>
                    <a:pt x="3666" y="4062"/>
                  </a:lnTo>
                  <a:lnTo>
                    <a:pt x="3701" y="4104"/>
                  </a:lnTo>
                  <a:lnTo>
                    <a:pt x="3735" y="4148"/>
                  </a:lnTo>
                  <a:lnTo>
                    <a:pt x="3738" y="4153"/>
                  </a:lnTo>
                  <a:lnTo>
                    <a:pt x="3741" y="4157"/>
                  </a:lnTo>
                  <a:lnTo>
                    <a:pt x="3756" y="4178"/>
                  </a:lnTo>
                  <a:lnTo>
                    <a:pt x="3770" y="4200"/>
                  </a:lnTo>
                  <a:lnTo>
                    <a:pt x="3784" y="4221"/>
                  </a:lnTo>
                  <a:lnTo>
                    <a:pt x="3798" y="4243"/>
                  </a:lnTo>
                  <a:lnTo>
                    <a:pt x="3825" y="4288"/>
                  </a:lnTo>
                  <a:lnTo>
                    <a:pt x="3849" y="4335"/>
                  </a:lnTo>
                  <a:lnTo>
                    <a:pt x="3872" y="4382"/>
                  </a:lnTo>
                  <a:lnTo>
                    <a:pt x="3893" y="4429"/>
                  </a:lnTo>
                  <a:lnTo>
                    <a:pt x="3913" y="4478"/>
                  </a:lnTo>
                  <a:lnTo>
                    <a:pt x="3931" y="4528"/>
                  </a:lnTo>
                  <a:lnTo>
                    <a:pt x="3938" y="4547"/>
                  </a:lnTo>
                  <a:lnTo>
                    <a:pt x="3944" y="4567"/>
                  </a:lnTo>
                  <a:lnTo>
                    <a:pt x="3950" y="4586"/>
                  </a:lnTo>
                  <a:lnTo>
                    <a:pt x="3955" y="4606"/>
                  </a:lnTo>
                  <a:lnTo>
                    <a:pt x="3970" y="4657"/>
                  </a:lnTo>
                  <a:lnTo>
                    <a:pt x="3984" y="4709"/>
                  </a:lnTo>
                  <a:lnTo>
                    <a:pt x="3996" y="4760"/>
                  </a:lnTo>
                  <a:lnTo>
                    <a:pt x="4005" y="4812"/>
                  </a:lnTo>
                  <a:lnTo>
                    <a:pt x="4010" y="4840"/>
                  </a:lnTo>
                  <a:lnTo>
                    <a:pt x="4013" y="4866"/>
                  </a:lnTo>
                  <a:lnTo>
                    <a:pt x="4016" y="4893"/>
                  </a:lnTo>
                  <a:lnTo>
                    <a:pt x="4019" y="4920"/>
                  </a:lnTo>
                  <a:lnTo>
                    <a:pt x="4021" y="4947"/>
                  </a:lnTo>
                  <a:lnTo>
                    <a:pt x="4023" y="4974"/>
                  </a:lnTo>
                  <a:lnTo>
                    <a:pt x="4024" y="5002"/>
                  </a:lnTo>
                  <a:lnTo>
                    <a:pt x="4024" y="5030"/>
                  </a:lnTo>
                  <a:lnTo>
                    <a:pt x="4024" y="5057"/>
                  </a:lnTo>
                  <a:lnTo>
                    <a:pt x="4023" y="5085"/>
                  </a:lnTo>
                  <a:lnTo>
                    <a:pt x="4021" y="5112"/>
                  </a:lnTo>
                  <a:lnTo>
                    <a:pt x="4019" y="5139"/>
                  </a:lnTo>
                  <a:lnTo>
                    <a:pt x="4016" y="5165"/>
                  </a:lnTo>
                  <a:lnTo>
                    <a:pt x="4013" y="5193"/>
                  </a:lnTo>
                  <a:lnTo>
                    <a:pt x="4010" y="5219"/>
                  </a:lnTo>
                  <a:lnTo>
                    <a:pt x="4005" y="5246"/>
                  </a:lnTo>
                  <a:lnTo>
                    <a:pt x="3996" y="5298"/>
                  </a:lnTo>
                  <a:lnTo>
                    <a:pt x="3984" y="5350"/>
                  </a:lnTo>
                  <a:lnTo>
                    <a:pt x="3970" y="5402"/>
                  </a:lnTo>
                  <a:lnTo>
                    <a:pt x="3955" y="5452"/>
                  </a:lnTo>
                  <a:close/>
                  <a:moveTo>
                    <a:pt x="3018" y="14586"/>
                  </a:moveTo>
                  <a:lnTo>
                    <a:pt x="3017" y="14612"/>
                  </a:lnTo>
                  <a:lnTo>
                    <a:pt x="3015" y="14637"/>
                  </a:lnTo>
                  <a:lnTo>
                    <a:pt x="3012" y="14663"/>
                  </a:lnTo>
                  <a:lnTo>
                    <a:pt x="3008" y="14688"/>
                  </a:lnTo>
                  <a:lnTo>
                    <a:pt x="3002" y="14712"/>
                  </a:lnTo>
                  <a:lnTo>
                    <a:pt x="2996" y="14736"/>
                  </a:lnTo>
                  <a:lnTo>
                    <a:pt x="2988" y="14759"/>
                  </a:lnTo>
                  <a:lnTo>
                    <a:pt x="2979" y="14782"/>
                  </a:lnTo>
                  <a:lnTo>
                    <a:pt x="2969" y="14804"/>
                  </a:lnTo>
                  <a:lnTo>
                    <a:pt x="2957" y="14827"/>
                  </a:lnTo>
                  <a:lnTo>
                    <a:pt x="2945" y="14847"/>
                  </a:lnTo>
                  <a:lnTo>
                    <a:pt x="2932" y="14868"/>
                  </a:lnTo>
                  <a:lnTo>
                    <a:pt x="2918" y="14887"/>
                  </a:lnTo>
                  <a:lnTo>
                    <a:pt x="2903" y="14906"/>
                  </a:lnTo>
                  <a:lnTo>
                    <a:pt x="2887" y="14924"/>
                  </a:lnTo>
                  <a:lnTo>
                    <a:pt x="2871" y="14942"/>
                  </a:lnTo>
                  <a:lnTo>
                    <a:pt x="2853" y="14958"/>
                  </a:lnTo>
                  <a:lnTo>
                    <a:pt x="2835" y="14974"/>
                  </a:lnTo>
                  <a:lnTo>
                    <a:pt x="2816" y="14989"/>
                  </a:lnTo>
                  <a:lnTo>
                    <a:pt x="2796" y="15004"/>
                  </a:lnTo>
                  <a:lnTo>
                    <a:pt x="2775" y="15017"/>
                  </a:lnTo>
                  <a:lnTo>
                    <a:pt x="2754" y="15029"/>
                  </a:lnTo>
                  <a:lnTo>
                    <a:pt x="2733" y="15040"/>
                  </a:lnTo>
                  <a:lnTo>
                    <a:pt x="2711" y="15050"/>
                  </a:lnTo>
                  <a:lnTo>
                    <a:pt x="2688" y="15059"/>
                  </a:lnTo>
                  <a:lnTo>
                    <a:pt x="2665" y="15067"/>
                  </a:lnTo>
                  <a:lnTo>
                    <a:pt x="2641" y="15073"/>
                  </a:lnTo>
                  <a:lnTo>
                    <a:pt x="2616" y="15079"/>
                  </a:lnTo>
                  <a:lnTo>
                    <a:pt x="2591" y="15083"/>
                  </a:lnTo>
                  <a:lnTo>
                    <a:pt x="2566" y="15086"/>
                  </a:lnTo>
                  <a:lnTo>
                    <a:pt x="2541" y="15088"/>
                  </a:lnTo>
                  <a:lnTo>
                    <a:pt x="2515" y="15089"/>
                  </a:lnTo>
                  <a:lnTo>
                    <a:pt x="2489" y="15088"/>
                  </a:lnTo>
                  <a:lnTo>
                    <a:pt x="2464" y="15086"/>
                  </a:lnTo>
                  <a:lnTo>
                    <a:pt x="2438" y="15083"/>
                  </a:lnTo>
                  <a:lnTo>
                    <a:pt x="2413" y="15079"/>
                  </a:lnTo>
                  <a:lnTo>
                    <a:pt x="2389" y="15073"/>
                  </a:lnTo>
                  <a:lnTo>
                    <a:pt x="2365" y="15067"/>
                  </a:lnTo>
                  <a:lnTo>
                    <a:pt x="2342" y="15059"/>
                  </a:lnTo>
                  <a:lnTo>
                    <a:pt x="2319" y="15050"/>
                  </a:lnTo>
                  <a:lnTo>
                    <a:pt x="2297" y="15040"/>
                  </a:lnTo>
                  <a:lnTo>
                    <a:pt x="2274" y="15029"/>
                  </a:lnTo>
                  <a:lnTo>
                    <a:pt x="2254" y="15017"/>
                  </a:lnTo>
                  <a:lnTo>
                    <a:pt x="2233" y="15004"/>
                  </a:lnTo>
                  <a:lnTo>
                    <a:pt x="2214" y="14989"/>
                  </a:lnTo>
                  <a:lnTo>
                    <a:pt x="2195" y="14974"/>
                  </a:lnTo>
                  <a:lnTo>
                    <a:pt x="2177" y="14958"/>
                  </a:lnTo>
                  <a:lnTo>
                    <a:pt x="2159" y="14942"/>
                  </a:lnTo>
                  <a:lnTo>
                    <a:pt x="2143" y="14924"/>
                  </a:lnTo>
                  <a:lnTo>
                    <a:pt x="2127" y="14906"/>
                  </a:lnTo>
                  <a:lnTo>
                    <a:pt x="2111" y="14887"/>
                  </a:lnTo>
                  <a:lnTo>
                    <a:pt x="2097" y="14868"/>
                  </a:lnTo>
                  <a:lnTo>
                    <a:pt x="2084" y="14847"/>
                  </a:lnTo>
                  <a:lnTo>
                    <a:pt x="2072" y="14827"/>
                  </a:lnTo>
                  <a:lnTo>
                    <a:pt x="2061" y="14804"/>
                  </a:lnTo>
                  <a:lnTo>
                    <a:pt x="2051" y="14782"/>
                  </a:lnTo>
                  <a:lnTo>
                    <a:pt x="2042" y="14759"/>
                  </a:lnTo>
                  <a:lnTo>
                    <a:pt x="2034" y="14736"/>
                  </a:lnTo>
                  <a:lnTo>
                    <a:pt x="2028" y="14712"/>
                  </a:lnTo>
                  <a:lnTo>
                    <a:pt x="2022" y="14688"/>
                  </a:lnTo>
                  <a:lnTo>
                    <a:pt x="2018" y="14663"/>
                  </a:lnTo>
                  <a:lnTo>
                    <a:pt x="2015" y="14637"/>
                  </a:lnTo>
                  <a:lnTo>
                    <a:pt x="2013" y="14612"/>
                  </a:lnTo>
                  <a:lnTo>
                    <a:pt x="2012" y="14586"/>
                  </a:lnTo>
                  <a:lnTo>
                    <a:pt x="2012" y="7493"/>
                  </a:lnTo>
                  <a:lnTo>
                    <a:pt x="2073" y="7505"/>
                  </a:lnTo>
                  <a:lnTo>
                    <a:pt x="2135" y="7515"/>
                  </a:lnTo>
                  <a:lnTo>
                    <a:pt x="2197" y="7524"/>
                  </a:lnTo>
                  <a:lnTo>
                    <a:pt x="2259" y="7531"/>
                  </a:lnTo>
                  <a:lnTo>
                    <a:pt x="2323" y="7537"/>
                  </a:lnTo>
                  <a:lnTo>
                    <a:pt x="2386" y="7542"/>
                  </a:lnTo>
                  <a:lnTo>
                    <a:pt x="2450" y="7544"/>
                  </a:lnTo>
                  <a:lnTo>
                    <a:pt x="2515" y="7545"/>
                  </a:lnTo>
                  <a:lnTo>
                    <a:pt x="2579" y="7544"/>
                  </a:lnTo>
                  <a:lnTo>
                    <a:pt x="2644" y="7542"/>
                  </a:lnTo>
                  <a:lnTo>
                    <a:pt x="2707" y="7537"/>
                  </a:lnTo>
                  <a:lnTo>
                    <a:pt x="2770" y="7531"/>
                  </a:lnTo>
                  <a:lnTo>
                    <a:pt x="2833" y="7524"/>
                  </a:lnTo>
                  <a:lnTo>
                    <a:pt x="2895" y="7515"/>
                  </a:lnTo>
                  <a:lnTo>
                    <a:pt x="2956" y="7505"/>
                  </a:lnTo>
                  <a:lnTo>
                    <a:pt x="3018" y="7493"/>
                  </a:lnTo>
                  <a:lnTo>
                    <a:pt x="3018" y="14586"/>
                  </a:lnTo>
                  <a:close/>
                  <a:moveTo>
                    <a:pt x="2012" y="1509"/>
                  </a:moveTo>
                  <a:lnTo>
                    <a:pt x="2013" y="1483"/>
                  </a:lnTo>
                  <a:lnTo>
                    <a:pt x="2015" y="1458"/>
                  </a:lnTo>
                  <a:lnTo>
                    <a:pt x="2018" y="1432"/>
                  </a:lnTo>
                  <a:lnTo>
                    <a:pt x="2022" y="1407"/>
                  </a:lnTo>
                  <a:lnTo>
                    <a:pt x="2028" y="1383"/>
                  </a:lnTo>
                  <a:lnTo>
                    <a:pt x="2034" y="1359"/>
                  </a:lnTo>
                  <a:lnTo>
                    <a:pt x="2042" y="1336"/>
                  </a:lnTo>
                  <a:lnTo>
                    <a:pt x="2051" y="1313"/>
                  </a:lnTo>
                  <a:lnTo>
                    <a:pt x="2061" y="1291"/>
                  </a:lnTo>
                  <a:lnTo>
                    <a:pt x="2072" y="1269"/>
                  </a:lnTo>
                  <a:lnTo>
                    <a:pt x="2084" y="1248"/>
                  </a:lnTo>
                  <a:lnTo>
                    <a:pt x="2097" y="1227"/>
                  </a:lnTo>
                  <a:lnTo>
                    <a:pt x="2111" y="1208"/>
                  </a:lnTo>
                  <a:lnTo>
                    <a:pt x="2127" y="1189"/>
                  </a:lnTo>
                  <a:lnTo>
                    <a:pt x="2143" y="1171"/>
                  </a:lnTo>
                  <a:lnTo>
                    <a:pt x="2159" y="1153"/>
                  </a:lnTo>
                  <a:lnTo>
                    <a:pt x="2177" y="1137"/>
                  </a:lnTo>
                  <a:lnTo>
                    <a:pt x="2195" y="1121"/>
                  </a:lnTo>
                  <a:lnTo>
                    <a:pt x="2214" y="1106"/>
                  </a:lnTo>
                  <a:lnTo>
                    <a:pt x="2233" y="1091"/>
                  </a:lnTo>
                  <a:lnTo>
                    <a:pt x="2254" y="1078"/>
                  </a:lnTo>
                  <a:lnTo>
                    <a:pt x="2274" y="1066"/>
                  </a:lnTo>
                  <a:lnTo>
                    <a:pt x="2297" y="1055"/>
                  </a:lnTo>
                  <a:lnTo>
                    <a:pt x="2319" y="1045"/>
                  </a:lnTo>
                  <a:lnTo>
                    <a:pt x="2342" y="1036"/>
                  </a:lnTo>
                  <a:lnTo>
                    <a:pt x="2365" y="1029"/>
                  </a:lnTo>
                  <a:lnTo>
                    <a:pt x="2389" y="1022"/>
                  </a:lnTo>
                  <a:lnTo>
                    <a:pt x="2413" y="1016"/>
                  </a:lnTo>
                  <a:lnTo>
                    <a:pt x="2438" y="1012"/>
                  </a:lnTo>
                  <a:lnTo>
                    <a:pt x="2464" y="1009"/>
                  </a:lnTo>
                  <a:lnTo>
                    <a:pt x="2489" y="1007"/>
                  </a:lnTo>
                  <a:lnTo>
                    <a:pt x="2515" y="1006"/>
                  </a:lnTo>
                  <a:lnTo>
                    <a:pt x="2541" y="1007"/>
                  </a:lnTo>
                  <a:lnTo>
                    <a:pt x="2566" y="1009"/>
                  </a:lnTo>
                  <a:lnTo>
                    <a:pt x="2591" y="1012"/>
                  </a:lnTo>
                  <a:lnTo>
                    <a:pt x="2616" y="1016"/>
                  </a:lnTo>
                  <a:lnTo>
                    <a:pt x="2641" y="1022"/>
                  </a:lnTo>
                  <a:lnTo>
                    <a:pt x="2665" y="1029"/>
                  </a:lnTo>
                  <a:lnTo>
                    <a:pt x="2688" y="1036"/>
                  </a:lnTo>
                  <a:lnTo>
                    <a:pt x="2711" y="1045"/>
                  </a:lnTo>
                  <a:lnTo>
                    <a:pt x="2733" y="1055"/>
                  </a:lnTo>
                  <a:lnTo>
                    <a:pt x="2754" y="1066"/>
                  </a:lnTo>
                  <a:lnTo>
                    <a:pt x="2775" y="1078"/>
                  </a:lnTo>
                  <a:lnTo>
                    <a:pt x="2796" y="1091"/>
                  </a:lnTo>
                  <a:lnTo>
                    <a:pt x="2816" y="1106"/>
                  </a:lnTo>
                  <a:lnTo>
                    <a:pt x="2835" y="1121"/>
                  </a:lnTo>
                  <a:lnTo>
                    <a:pt x="2853" y="1137"/>
                  </a:lnTo>
                  <a:lnTo>
                    <a:pt x="2871" y="1153"/>
                  </a:lnTo>
                  <a:lnTo>
                    <a:pt x="2887" y="1171"/>
                  </a:lnTo>
                  <a:lnTo>
                    <a:pt x="2903" y="1189"/>
                  </a:lnTo>
                  <a:lnTo>
                    <a:pt x="2918" y="1208"/>
                  </a:lnTo>
                  <a:lnTo>
                    <a:pt x="2932" y="1227"/>
                  </a:lnTo>
                  <a:lnTo>
                    <a:pt x="2945" y="1248"/>
                  </a:lnTo>
                  <a:lnTo>
                    <a:pt x="2957" y="1269"/>
                  </a:lnTo>
                  <a:lnTo>
                    <a:pt x="2969" y="1291"/>
                  </a:lnTo>
                  <a:lnTo>
                    <a:pt x="2979" y="1313"/>
                  </a:lnTo>
                  <a:lnTo>
                    <a:pt x="2988" y="1336"/>
                  </a:lnTo>
                  <a:lnTo>
                    <a:pt x="2996" y="1359"/>
                  </a:lnTo>
                  <a:lnTo>
                    <a:pt x="3002" y="1383"/>
                  </a:lnTo>
                  <a:lnTo>
                    <a:pt x="3008" y="1407"/>
                  </a:lnTo>
                  <a:lnTo>
                    <a:pt x="3012" y="1432"/>
                  </a:lnTo>
                  <a:lnTo>
                    <a:pt x="3015" y="1458"/>
                  </a:lnTo>
                  <a:lnTo>
                    <a:pt x="3017" y="1483"/>
                  </a:lnTo>
                  <a:lnTo>
                    <a:pt x="3018" y="1509"/>
                  </a:lnTo>
                  <a:lnTo>
                    <a:pt x="3018" y="2565"/>
                  </a:lnTo>
                  <a:lnTo>
                    <a:pt x="2956" y="2554"/>
                  </a:lnTo>
                  <a:lnTo>
                    <a:pt x="2895" y="2543"/>
                  </a:lnTo>
                  <a:lnTo>
                    <a:pt x="2833" y="2535"/>
                  </a:lnTo>
                  <a:lnTo>
                    <a:pt x="2770" y="2528"/>
                  </a:lnTo>
                  <a:lnTo>
                    <a:pt x="2707" y="2522"/>
                  </a:lnTo>
                  <a:lnTo>
                    <a:pt x="2644" y="2518"/>
                  </a:lnTo>
                  <a:lnTo>
                    <a:pt x="2579" y="2516"/>
                  </a:lnTo>
                  <a:lnTo>
                    <a:pt x="2515" y="2515"/>
                  </a:lnTo>
                  <a:lnTo>
                    <a:pt x="2450" y="2516"/>
                  </a:lnTo>
                  <a:lnTo>
                    <a:pt x="2386" y="2518"/>
                  </a:lnTo>
                  <a:lnTo>
                    <a:pt x="2323" y="2522"/>
                  </a:lnTo>
                  <a:lnTo>
                    <a:pt x="2259" y="2528"/>
                  </a:lnTo>
                  <a:lnTo>
                    <a:pt x="2197" y="2535"/>
                  </a:lnTo>
                  <a:lnTo>
                    <a:pt x="2135" y="2543"/>
                  </a:lnTo>
                  <a:lnTo>
                    <a:pt x="2073" y="2554"/>
                  </a:lnTo>
                  <a:lnTo>
                    <a:pt x="2012" y="2565"/>
                  </a:lnTo>
                  <a:lnTo>
                    <a:pt x="2012" y="1509"/>
                  </a:lnTo>
                  <a:close/>
                  <a:moveTo>
                    <a:pt x="4024" y="3029"/>
                  </a:moveTo>
                  <a:lnTo>
                    <a:pt x="4024" y="1509"/>
                  </a:lnTo>
                  <a:lnTo>
                    <a:pt x="4022" y="1431"/>
                  </a:lnTo>
                  <a:lnTo>
                    <a:pt x="4016" y="1355"/>
                  </a:lnTo>
                  <a:lnTo>
                    <a:pt x="4007" y="1280"/>
                  </a:lnTo>
                  <a:lnTo>
                    <a:pt x="3994" y="1205"/>
                  </a:lnTo>
                  <a:lnTo>
                    <a:pt x="3976" y="1133"/>
                  </a:lnTo>
                  <a:lnTo>
                    <a:pt x="3955" y="1060"/>
                  </a:lnTo>
                  <a:lnTo>
                    <a:pt x="3932" y="991"/>
                  </a:lnTo>
                  <a:lnTo>
                    <a:pt x="3905" y="922"/>
                  </a:lnTo>
                  <a:lnTo>
                    <a:pt x="3875" y="855"/>
                  </a:lnTo>
                  <a:lnTo>
                    <a:pt x="3842" y="791"/>
                  </a:lnTo>
                  <a:lnTo>
                    <a:pt x="3805" y="727"/>
                  </a:lnTo>
                  <a:lnTo>
                    <a:pt x="3765" y="666"/>
                  </a:lnTo>
                  <a:lnTo>
                    <a:pt x="3724" y="607"/>
                  </a:lnTo>
                  <a:lnTo>
                    <a:pt x="3679" y="549"/>
                  </a:lnTo>
                  <a:lnTo>
                    <a:pt x="3631" y="495"/>
                  </a:lnTo>
                  <a:lnTo>
                    <a:pt x="3581" y="443"/>
                  </a:lnTo>
                  <a:lnTo>
                    <a:pt x="3529" y="392"/>
                  </a:lnTo>
                  <a:lnTo>
                    <a:pt x="3475" y="345"/>
                  </a:lnTo>
                  <a:lnTo>
                    <a:pt x="3417" y="300"/>
                  </a:lnTo>
                  <a:lnTo>
                    <a:pt x="3358" y="259"/>
                  </a:lnTo>
                  <a:lnTo>
                    <a:pt x="3296" y="219"/>
                  </a:lnTo>
                  <a:lnTo>
                    <a:pt x="3233" y="182"/>
                  </a:lnTo>
                  <a:lnTo>
                    <a:pt x="3169" y="149"/>
                  </a:lnTo>
                  <a:lnTo>
                    <a:pt x="3101" y="119"/>
                  </a:lnTo>
                  <a:lnTo>
                    <a:pt x="3033" y="92"/>
                  </a:lnTo>
                  <a:lnTo>
                    <a:pt x="2962" y="68"/>
                  </a:lnTo>
                  <a:lnTo>
                    <a:pt x="2891" y="47"/>
                  </a:lnTo>
                  <a:lnTo>
                    <a:pt x="2819" y="31"/>
                  </a:lnTo>
                  <a:lnTo>
                    <a:pt x="2744" y="17"/>
                  </a:lnTo>
                  <a:lnTo>
                    <a:pt x="2669" y="8"/>
                  </a:lnTo>
                  <a:lnTo>
                    <a:pt x="2592" y="2"/>
                  </a:lnTo>
                  <a:lnTo>
                    <a:pt x="2515" y="0"/>
                  </a:lnTo>
                  <a:lnTo>
                    <a:pt x="2437" y="2"/>
                  </a:lnTo>
                  <a:lnTo>
                    <a:pt x="2361" y="8"/>
                  </a:lnTo>
                  <a:lnTo>
                    <a:pt x="2285" y="17"/>
                  </a:lnTo>
                  <a:lnTo>
                    <a:pt x="2211" y="31"/>
                  </a:lnTo>
                  <a:lnTo>
                    <a:pt x="2138" y="47"/>
                  </a:lnTo>
                  <a:lnTo>
                    <a:pt x="2066" y="68"/>
                  </a:lnTo>
                  <a:lnTo>
                    <a:pt x="1997" y="92"/>
                  </a:lnTo>
                  <a:lnTo>
                    <a:pt x="1928" y="119"/>
                  </a:lnTo>
                  <a:lnTo>
                    <a:pt x="1861" y="149"/>
                  </a:lnTo>
                  <a:lnTo>
                    <a:pt x="1796" y="182"/>
                  </a:lnTo>
                  <a:lnTo>
                    <a:pt x="1733" y="219"/>
                  </a:lnTo>
                  <a:lnTo>
                    <a:pt x="1672" y="259"/>
                  </a:lnTo>
                  <a:lnTo>
                    <a:pt x="1613" y="300"/>
                  </a:lnTo>
                  <a:lnTo>
                    <a:pt x="1555" y="345"/>
                  </a:lnTo>
                  <a:lnTo>
                    <a:pt x="1501" y="392"/>
                  </a:lnTo>
                  <a:lnTo>
                    <a:pt x="1449" y="443"/>
                  </a:lnTo>
                  <a:lnTo>
                    <a:pt x="1398" y="495"/>
                  </a:lnTo>
                  <a:lnTo>
                    <a:pt x="1351" y="549"/>
                  </a:lnTo>
                  <a:lnTo>
                    <a:pt x="1306" y="607"/>
                  </a:lnTo>
                  <a:lnTo>
                    <a:pt x="1263" y="666"/>
                  </a:lnTo>
                  <a:lnTo>
                    <a:pt x="1224" y="727"/>
                  </a:lnTo>
                  <a:lnTo>
                    <a:pt x="1188" y="791"/>
                  </a:lnTo>
                  <a:lnTo>
                    <a:pt x="1155" y="855"/>
                  </a:lnTo>
                  <a:lnTo>
                    <a:pt x="1125" y="922"/>
                  </a:lnTo>
                  <a:lnTo>
                    <a:pt x="1097" y="991"/>
                  </a:lnTo>
                  <a:lnTo>
                    <a:pt x="1074" y="1060"/>
                  </a:lnTo>
                  <a:lnTo>
                    <a:pt x="1053" y="1133"/>
                  </a:lnTo>
                  <a:lnTo>
                    <a:pt x="1037" y="1205"/>
                  </a:lnTo>
                  <a:lnTo>
                    <a:pt x="1023" y="1280"/>
                  </a:lnTo>
                  <a:lnTo>
                    <a:pt x="1014" y="1355"/>
                  </a:lnTo>
                  <a:lnTo>
                    <a:pt x="1008" y="1431"/>
                  </a:lnTo>
                  <a:lnTo>
                    <a:pt x="1006" y="1509"/>
                  </a:lnTo>
                  <a:lnTo>
                    <a:pt x="1006" y="3029"/>
                  </a:lnTo>
                  <a:lnTo>
                    <a:pt x="950" y="3073"/>
                  </a:lnTo>
                  <a:lnTo>
                    <a:pt x="894" y="3118"/>
                  </a:lnTo>
                  <a:lnTo>
                    <a:pt x="841" y="3165"/>
                  </a:lnTo>
                  <a:lnTo>
                    <a:pt x="789" y="3213"/>
                  </a:lnTo>
                  <a:lnTo>
                    <a:pt x="737" y="3263"/>
                  </a:lnTo>
                  <a:lnTo>
                    <a:pt x="687" y="3314"/>
                  </a:lnTo>
                  <a:lnTo>
                    <a:pt x="639" y="3366"/>
                  </a:lnTo>
                  <a:lnTo>
                    <a:pt x="592" y="3420"/>
                  </a:lnTo>
                  <a:lnTo>
                    <a:pt x="547" y="3476"/>
                  </a:lnTo>
                  <a:lnTo>
                    <a:pt x="503" y="3532"/>
                  </a:lnTo>
                  <a:lnTo>
                    <a:pt x="461" y="3589"/>
                  </a:lnTo>
                  <a:lnTo>
                    <a:pt x="420" y="3648"/>
                  </a:lnTo>
                  <a:lnTo>
                    <a:pt x="381" y="3708"/>
                  </a:lnTo>
                  <a:lnTo>
                    <a:pt x="344" y="3768"/>
                  </a:lnTo>
                  <a:lnTo>
                    <a:pt x="309" y="3831"/>
                  </a:lnTo>
                  <a:lnTo>
                    <a:pt x="276" y="3894"/>
                  </a:lnTo>
                  <a:lnTo>
                    <a:pt x="243" y="3958"/>
                  </a:lnTo>
                  <a:lnTo>
                    <a:pt x="213" y="4024"/>
                  </a:lnTo>
                  <a:lnTo>
                    <a:pt x="184" y="4090"/>
                  </a:lnTo>
                  <a:lnTo>
                    <a:pt x="158" y="4158"/>
                  </a:lnTo>
                  <a:lnTo>
                    <a:pt x="134" y="4226"/>
                  </a:lnTo>
                  <a:lnTo>
                    <a:pt x="111" y="4294"/>
                  </a:lnTo>
                  <a:lnTo>
                    <a:pt x="91" y="4365"/>
                  </a:lnTo>
                  <a:lnTo>
                    <a:pt x="71" y="4435"/>
                  </a:lnTo>
                  <a:lnTo>
                    <a:pt x="55" y="4508"/>
                  </a:lnTo>
                  <a:lnTo>
                    <a:pt x="41" y="4580"/>
                  </a:lnTo>
                  <a:lnTo>
                    <a:pt x="28" y="4653"/>
                  </a:lnTo>
                  <a:lnTo>
                    <a:pt x="18" y="4727"/>
                  </a:lnTo>
                  <a:lnTo>
                    <a:pt x="10" y="4801"/>
                  </a:lnTo>
                  <a:lnTo>
                    <a:pt x="5" y="4877"/>
                  </a:lnTo>
                  <a:lnTo>
                    <a:pt x="1" y="4953"/>
                  </a:lnTo>
                  <a:lnTo>
                    <a:pt x="0" y="5030"/>
                  </a:lnTo>
                  <a:lnTo>
                    <a:pt x="1" y="5106"/>
                  </a:lnTo>
                  <a:lnTo>
                    <a:pt x="5" y="5183"/>
                  </a:lnTo>
                  <a:lnTo>
                    <a:pt x="10" y="5258"/>
                  </a:lnTo>
                  <a:lnTo>
                    <a:pt x="18" y="5332"/>
                  </a:lnTo>
                  <a:lnTo>
                    <a:pt x="28" y="5407"/>
                  </a:lnTo>
                  <a:lnTo>
                    <a:pt x="41" y="5479"/>
                  </a:lnTo>
                  <a:lnTo>
                    <a:pt x="55" y="5552"/>
                  </a:lnTo>
                  <a:lnTo>
                    <a:pt x="71" y="5624"/>
                  </a:lnTo>
                  <a:lnTo>
                    <a:pt x="91" y="5695"/>
                  </a:lnTo>
                  <a:lnTo>
                    <a:pt x="111" y="5765"/>
                  </a:lnTo>
                  <a:lnTo>
                    <a:pt x="134" y="5834"/>
                  </a:lnTo>
                  <a:lnTo>
                    <a:pt x="158" y="5902"/>
                  </a:lnTo>
                  <a:lnTo>
                    <a:pt x="184" y="5969"/>
                  </a:lnTo>
                  <a:lnTo>
                    <a:pt x="213" y="6036"/>
                  </a:lnTo>
                  <a:lnTo>
                    <a:pt x="243" y="6101"/>
                  </a:lnTo>
                  <a:lnTo>
                    <a:pt x="276" y="6165"/>
                  </a:lnTo>
                  <a:lnTo>
                    <a:pt x="309" y="6229"/>
                  </a:lnTo>
                  <a:lnTo>
                    <a:pt x="344" y="6291"/>
                  </a:lnTo>
                  <a:lnTo>
                    <a:pt x="381" y="6351"/>
                  </a:lnTo>
                  <a:lnTo>
                    <a:pt x="420" y="6412"/>
                  </a:lnTo>
                  <a:lnTo>
                    <a:pt x="461" y="6470"/>
                  </a:lnTo>
                  <a:lnTo>
                    <a:pt x="503" y="6529"/>
                  </a:lnTo>
                  <a:lnTo>
                    <a:pt x="547" y="6584"/>
                  </a:lnTo>
                  <a:lnTo>
                    <a:pt x="592" y="6639"/>
                  </a:lnTo>
                  <a:lnTo>
                    <a:pt x="639" y="6694"/>
                  </a:lnTo>
                  <a:lnTo>
                    <a:pt x="687" y="6746"/>
                  </a:lnTo>
                  <a:lnTo>
                    <a:pt x="737" y="6796"/>
                  </a:lnTo>
                  <a:lnTo>
                    <a:pt x="789" y="6846"/>
                  </a:lnTo>
                  <a:lnTo>
                    <a:pt x="841" y="6895"/>
                  </a:lnTo>
                  <a:lnTo>
                    <a:pt x="894" y="6941"/>
                  </a:lnTo>
                  <a:lnTo>
                    <a:pt x="950" y="6986"/>
                  </a:lnTo>
                  <a:lnTo>
                    <a:pt x="1006" y="7030"/>
                  </a:lnTo>
                  <a:lnTo>
                    <a:pt x="1006" y="14586"/>
                  </a:lnTo>
                  <a:lnTo>
                    <a:pt x="1008" y="14664"/>
                  </a:lnTo>
                  <a:lnTo>
                    <a:pt x="1014" y="14740"/>
                  </a:lnTo>
                  <a:lnTo>
                    <a:pt x="1023" y="14815"/>
                  </a:lnTo>
                  <a:lnTo>
                    <a:pt x="1037" y="14890"/>
                  </a:lnTo>
                  <a:lnTo>
                    <a:pt x="1053" y="14962"/>
                  </a:lnTo>
                  <a:lnTo>
                    <a:pt x="1074" y="15035"/>
                  </a:lnTo>
                  <a:lnTo>
                    <a:pt x="1097" y="15104"/>
                  </a:lnTo>
                  <a:lnTo>
                    <a:pt x="1125" y="15173"/>
                  </a:lnTo>
                  <a:lnTo>
                    <a:pt x="1155" y="15240"/>
                  </a:lnTo>
                  <a:lnTo>
                    <a:pt x="1188" y="15304"/>
                  </a:lnTo>
                  <a:lnTo>
                    <a:pt x="1224" y="15368"/>
                  </a:lnTo>
                  <a:lnTo>
                    <a:pt x="1263" y="15429"/>
                  </a:lnTo>
                  <a:lnTo>
                    <a:pt x="1306" y="15488"/>
                  </a:lnTo>
                  <a:lnTo>
                    <a:pt x="1351" y="15546"/>
                  </a:lnTo>
                  <a:lnTo>
                    <a:pt x="1398" y="15600"/>
                  </a:lnTo>
                  <a:lnTo>
                    <a:pt x="1449" y="15652"/>
                  </a:lnTo>
                  <a:lnTo>
                    <a:pt x="1501" y="15703"/>
                  </a:lnTo>
                  <a:lnTo>
                    <a:pt x="1555" y="15750"/>
                  </a:lnTo>
                  <a:lnTo>
                    <a:pt x="1613" y="15795"/>
                  </a:lnTo>
                  <a:lnTo>
                    <a:pt x="1672" y="15836"/>
                  </a:lnTo>
                  <a:lnTo>
                    <a:pt x="1733" y="15877"/>
                  </a:lnTo>
                  <a:lnTo>
                    <a:pt x="1796" y="15913"/>
                  </a:lnTo>
                  <a:lnTo>
                    <a:pt x="1861" y="15946"/>
                  </a:lnTo>
                  <a:lnTo>
                    <a:pt x="1928" y="15976"/>
                  </a:lnTo>
                  <a:lnTo>
                    <a:pt x="1997" y="16003"/>
                  </a:lnTo>
                  <a:lnTo>
                    <a:pt x="2066" y="16027"/>
                  </a:lnTo>
                  <a:lnTo>
                    <a:pt x="2138" y="16048"/>
                  </a:lnTo>
                  <a:lnTo>
                    <a:pt x="2211" y="16064"/>
                  </a:lnTo>
                  <a:lnTo>
                    <a:pt x="2285" y="16078"/>
                  </a:lnTo>
                  <a:lnTo>
                    <a:pt x="2361" y="16087"/>
                  </a:lnTo>
                  <a:lnTo>
                    <a:pt x="2437" y="16093"/>
                  </a:lnTo>
                  <a:lnTo>
                    <a:pt x="2515" y="16095"/>
                  </a:lnTo>
                  <a:lnTo>
                    <a:pt x="2592" y="16093"/>
                  </a:lnTo>
                  <a:lnTo>
                    <a:pt x="2669" y="16087"/>
                  </a:lnTo>
                  <a:lnTo>
                    <a:pt x="2744" y="16078"/>
                  </a:lnTo>
                  <a:lnTo>
                    <a:pt x="2819" y="16064"/>
                  </a:lnTo>
                  <a:lnTo>
                    <a:pt x="2891" y="16048"/>
                  </a:lnTo>
                  <a:lnTo>
                    <a:pt x="2962" y="16027"/>
                  </a:lnTo>
                  <a:lnTo>
                    <a:pt x="3033" y="16003"/>
                  </a:lnTo>
                  <a:lnTo>
                    <a:pt x="3101" y="15976"/>
                  </a:lnTo>
                  <a:lnTo>
                    <a:pt x="3169" y="15946"/>
                  </a:lnTo>
                  <a:lnTo>
                    <a:pt x="3233" y="15913"/>
                  </a:lnTo>
                  <a:lnTo>
                    <a:pt x="3296" y="15877"/>
                  </a:lnTo>
                  <a:lnTo>
                    <a:pt x="3358" y="15836"/>
                  </a:lnTo>
                  <a:lnTo>
                    <a:pt x="3417" y="15795"/>
                  </a:lnTo>
                  <a:lnTo>
                    <a:pt x="3475" y="15750"/>
                  </a:lnTo>
                  <a:lnTo>
                    <a:pt x="3529" y="15703"/>
                  </a:lnTo>
                  <a:lnTo>
                    <a:pt x="3581" y="15652"/>
                  </a:lnTo>
                  <a:lnTo>
                    <a:pt x="3631" y="15600"/>
                  </a:lnTo>
                  <a:lnTo>
                    <a:pt x="3679" y="15546"/>
                  </a:lnTo>
                  <a:lnTo>
                    <a:pt x="3724" y="15488"/>
                  </a:lnTo>
                  <a:lnTo>
                    <a:pt x="3765" y="15429"/>
                  </a:lnTo>
                  <a:lnTo>
                    <a:pt x="3805" y="15368"/>
                  </a:lnTo>
                  <a:lnTo>
                    <a:pt x="3842" y="15304"/>
                  </a:lnTo>
                  <a:lnTo>
                    <a:pt x="3875" y="15240"/>
                  </a:lnTo>
                  <a:lnTo>
                    <a:pt x="3905" y="15173"/>
                  </a:lnTo>
                  <a:lnTo>
                    <a:pt x="3932" y="15104"/>
                  </a:lnTo>
                  <a:lnTo>
                    <a:pt x="3955" y="15035"/>
                  </a:lnTo>
                  <a:lnTo>
                    <a:pt x="3976" y="14962"/>
                  </a:lnTo>
                  <a:lnTo>
                    <a:pt x="3994" y="14890"/>
                  </a:lnTo>
                  <a:lnTo>
                    <a:pt x="4007" y="14815"/>
                  </a:lnTo>
                  <a:lnTo>
                    <a:pt x="4016" y="14740"/>
                  </a:lnTo>
                  <a:lnTo>
                    <a:pt x="4022" y="14664"/>
                  </a:lnTo>
                  <a:lnTo>
                    <a:pt x="4024" y="14586"/>
                  </a:lnTo>
                  <a:lnTo>
                    <a:pt x="4024" y="7030"/>
                  </a:lnTo>
                  <a:lnTo>
                    <a:pt x="4080" y="6986"/>
                  </a:lnTo>
                  <a:lnTo>
                    <a:pt x="4135" y="6941"/>
                  </a:lnTo>
                  <a:lnTo>
                    <a:pt x="4189" y="6895"/>
                  </a:lnTo>
                  <a:lnTo>
                    <a:pt x="4241" y="6846"/>
                  </a:lnTo>
                  <a:lnTo>
                    <a:pt x="4292" y="6796"/>
                  </a:lnTo>
                  <a:lnTo>
                    <a:pt x="4343" y="6746"/>
                  </a:lnTo>
                  <a:lnTo>
                    <a:pt x="4391" y="6694"/>
                  </a:lnTo>
                  <a:lnTo>
                    <a:pt x="4437" y="6639"/>
                  </a:lnTo>
                  <a:lnTo>
                    <a:pt x="4482" y="6584"/>
                  </a:lnTo>
                  <a:lnTo>
                    <a:pt x="4527" y="6529"/>
                  </a:lnTo>
                  <a:lnTo>
                    <a:pt x="4569" y="6470"/>
                  </a:lnTo>
                  <a:lnTo>
                    <a:pt x="4609" y="6412"/>
                  </a:lnTo>
                  <a:lnTo>
                    <a:pt x="4648" y="6351"/>
                  </a:lnTo>
                  <a:lnTo>
                    <a:pt x="4686" y="6291"/>
                  </a:lnTo>
                  <a:lnTo>
                    <a:pt x="4721" y="6229"/>
                  </a:lnTo>
                  <a:lnTo>
                    <a:pt x="4754" y="6165"/>
                  </a:lnTo>
                  <a:lnTo>
                    <a:pt x="4786" y="6101"/>
                  </a:lnTo>
                  <a:lnTo>
                    <a:pt x="4816" y="6036"/>
                  </a:lnTo>
                  <a:lnTo>
                    <a:pt x="4846" y="5969"/>
                  </a:lnTo>
                  <a:lnTo>
                    <a:pt x="4872" y="5902"/>
                  </a:lnTo>
                  <a:lnTo>
                    <a:pt x="4896" y="5834"/>
                  </a:lnTo>
                  <a:lnTo>
                    <a:pt x="4919" y="5765"/>
                  </a:lnTo>
                  <a:lnTo>
                    <a:pt x="4939" y="5695"/>
                  </a:lnTo>
                  <a:lnTo>
                    <a:pt x="4958" y="5624"/>
                  </a:lnTo>
                  <a:lnTo>
                    <a:pt x="4974" y="5552"/>
                  </a:lnTo>
                  <a:lnTo>
                    <a:pt x="4988" y="5479"/>
                  </a:lnTo>
                  <a:lnTo>
                    <a:pt x="5002" y="5407"/>
                  </a:lnTo>
                  <a:lnTo>
                    <a:pt x="5012" y="5332"/>
                  </a:lnTo>
                  <a:lnTo>
                    <a:pt x="5020" y="5258"/>
                  </a:lnTo>
                  <a:lnTo>
                    <a:pt x="5025" y="5183"/>
                  </a:lnTo>
                  <a:lnTo>
                    <a:pt x="5029" y="5106"/>
                  </a:lnTo>
                  <a:lnTo>
                    <a:pt x="5030" y="5030"/>
                  </a:lnTo>
                  <a:lnTo>
                    <a:pt x="5029" y="4953"/>
                  </a:lnTo>
                  <a:lnTo>
                    <a:pt x="5025" y="4877"/>
                  </a:lnTo>
                  <a:lnTo>
                    <a:pt x="5020" y="4801"/>
                  </a:lnTo>
                  <a:lnTo>
                    <a:pt x="5012" y="4727"/>
                  </a:lnTo>
                  <a:lnTo>
                    <a:pt x="5002" y="4653"/>
                  </a:lnTo>
                  <a:lnTo>
                    <a:pt x="4988" y="4580"/>
                  </a:lnTo>
                  <a:lnTo>
                    <a:pt x="4974" y="4508"/>
                  </a:lnTo>
                  <a:lnTo>
                    <a:pt x="4958" y="4435"/>
                  </a:lnTo>
                  <a:lnTo>
                    <a:pt x="4939" y="4365"/>
                  </a:lnTo>
                  <a:lnTo>
                    <a:pt x="4919" y="4294"/>
                  </a:lnTo>
                  <a:lnTo>
                    <a:pt x="4896" y="4226"/>
                  </a:lnTo>
                  <a:lnTo>
                    <a:pt x="4872" y="4158"/>
                  </a:lnTo>
                  <a:lnTo>
                    <a:pt x="4846" y="4090"/>
                  </a:lnTo>
                  <a:lnTo>
                    <a:pt x="4816" y="4024"/>
                  </a:lnTo>
                  <a:lnTo>
                    <a:pt x="4786" y="3958"/>
                  </a:lnTo>
                  <a:lnTo>
                    <a:pt x="4754" y="3894"/>
                  </a:lnTo>
                  <a:lnTo>
                    <a:pt x="4721" y="3831"/>
                  </a:lnTo>
                  <a:lnTo>
                    <a:pt x="4686" y="3768"/>
                  </a:lnTo>
                  <a:lnTo>
                    <a:pt x="4648" y="3708"/>
                  </a:lnTo>
                  <a:lnTo>
                    <a:pt x="4609" y="3648"/>
                  </a:lnTo>
                  <a:lnTo>
                    <a:pt x="4569" y="3589"/>
                  </a:lnTo>
                  <a:lnTo>
                    <a:pt x="4527" y="3532"/>
                  </a:lnTo>
                  <a:lnTo>
                    <a:pt x="4482" y="3476"/>
                  </a:lnTo>
                  <a:lnTo>
                    <a:pt x="4437" y="3420"/>
                  </a:lnTo>
                  <a:lnTo>
                    <a:pt x="4391" y="3366"/>
                  </a:lnTo>
                  <a:lnTo>
                    <a:pt x="4343" y="3314"/>
                  </a:lnTo>
                  <a:lnTo>
                    <a:pt x="4292" y="3263"/>
                  </a:lnTo>
                  <a:lnTo>
                    <a:pt x="4241" y="3213"/>
                  </a:lnTo>
                  <a:lnTo>
                    <a:pt x="4189" y="3165"/>
                  </a:lnTo>
                  <a:lnTo>
                    <a:pt x="4135" y="3118"/>
                  </a:lnTo>
                  <a:lnTo>
                    <a:pt x="4080" y="3073"/>
                  </a:lnTo>
                  <a:lnTo>
                    <a:pt x="4024" y="30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19" name="isľîďe">
              <a:extLst>
                <a:ext uri="{FF2B5EF4-FFF2-40B4-BE49-F238E27FC236}">
                  <a16:creationId xmlns:a16="http://schemas.microsoft.com/office/drawing/2014/main" id="{BF7F9B4B-9C23-43A3-B510-E74AE21697D6}"/>
                </a:ext>
              </a:extLst>
            </p:cNvPr>
            <p:cNvSpPr/>
            <p:nvPr/>
          </p:nvSpPr>
          <p:spPr bwMode="auto">
            <a:xfrm>
              <a:off x="3520775" y="1493427"/>
              <a:ext cx="127257" cy="407036"/>
            </a:xfrm>
            <a:custGeom>
              <a:avLst/>
              <a:gdLst>
                <a:gd name="T0" fmla="*/ 3785 w 5030"/>
                <a:gd name="T1" fmla="*/ 5837 h 16095"/>
                <a:gd name="T2" fmla="*/ 3571 w 5030"/>
                <a:gd name="T3" fmla="*/ 6098 h 16095"/>
                <a:gd name="T4" fmla="*/ 3350 w 5030"/>
                <a:gd name="T5" fmla="*/ 6279 h 16095"/>
                <a:gd name="T6" fmla="*/ 3045 w 5030"/>
                <a:gd name="T7" fmla="*/ 6436 h 16095"/>
                <a:gd name="T8" fmla="*/ 2678 w 5030"/>
                <a:gd name="T9" fmla="*/ 6529 h 16095"/>
                <a:gd name="T10" fmla="*/ 2288 w 5030"/>
                <a:gd name="T11" fmla="*/ 6519 h 16095"/>
                <a:gd name="T12" fmla="*/ 1932 w 5030"/>
                <a:gd name="T13" fmla="*/ 6415 h 16095"/>
                <a:gd name="T14" fmla="*/ 1633 w 5030"/>
                <a:gd name="T15" fmla="*/ 6246 h 16095"/>
                <a:gd name="T16" fmla="*/ 1420 w 5030"/>
                <a:gd name="T17" fmla="*/ 6059 h 16095"/>
                <a:gd name="T18" fmla="*/ 1245 w 5030"/>
                <a:gd name="T19" fmla="*/ 5837 h 16095"/>
                <a:gd name="T20" fmla="*/ 1060 w 5030"/>
                <a:gd name="T21" fmla="*/ 5402 h 16095"/>
                <a:gd name="T22" fmla="*/ 1006 w 5030"/>
                <a:gd name="T23" fmla="*/ 5002 h 16095"/>
                <a:gd name="T24" fmla="*/ 1080 w 5030"/>
                <a:gd name="T25" fmla="*/ 4586 h 16095"/>
                <a:gd name="T26" fmla="*/ 1274 w 5030"/>
                <a:gd name="T27" fmla="*/ 4178 h 16095"/>
                <a:gd name="T28" fmla="*/ 1540 w 5030"/>
                <a:gd name="T29" fmla="*/ 3885 h 16095"/>
                <a:gd name="T30" fmla="*/ 1777 w 5030"/>
                <a:gd name="T31" fmla="*/ 3721 h 16095"/>
                <a:gd name="T32" fmla="*/ 2102 w 5030"/>
                <a:gd name="T33" fmla="*/ 3584 h 16095"/>
                <a:gd name="T34" fmla="*/ 2482 w 5030"/>
                <a:gd name="T35" fmla="*/ 3521 h 16095"/>
                <a:gd name="T36" fmla="*/ 2867 w 5030"/>
                <a:gd name="T37" fmla="*/ 3567 h 16095"/>
                <a:gd name="T38" fmla="*/ 3202 w 5030"/>
                <a:gd name="T39" fmla="*/ 3694 h 16095"/>
                <a:gd name="T40" fmla="*/ 3490 w 5030"/>
                <a:gd name="T41" fmla="*/ 3885 h 16095"/>
                <a:gd name="T42" fmla="*/ 3756 w 5030"/>
                <a:gd name="T43" fmla="*/ 4178 h 16095"/>
                <a:gd name="T44" fmla="*/ 3951 w 5030"/>
                <a:gd name="T45" fmla="*/ 4586 h 16095"/>
                <a:gd name="T46" fmla="*/ 4024 w 5030"/>
                <a:gd name="T47" fmla="*/ 5002 h 16095"/>
                <a:gd name="T48" fmla="*/ 3971 w 5030"/>
                <a:gd name="T49" fmla="*/ 5402 h 16095"/>
                <a:gd name="T50" fmla="*/ 2958 w 5030"/>
                <a:gd name="T51" fmla="*/ 14827 h 16095"/>
                <a:gd name="T52" fmla="*/ 2755 w 5030"/>
                <a:gd name="T53" fmla="*/ 15029 h 16095"/>
                <a:gd name="T54" fmla="*/ 2464 w 5030"/>
                <a:gd name="T55" fmla="*/ 15086 h 16095"/>
                <a:gd name="T56" fmla="*/ 2195 w 5030"/>
                <a:gd name="T57" fmla="*/ 14974 h 16095"/>
                <a:gd name="T58" fmla="*/ 2035 w 5030"/>
                <a:gd name="T59" fmla="*/ 14736 h 16095"/>
                <a:gd name="T60" fmla="*/ 2323 w 5030"/>
                <a:gd name="T61" fmla="*/ 7537 h 16095"/>
                <a:gd name="T62" fmla="*/ 3018 w 5030"/>
                <a:gd name="T63" fmla="*/ 14586 h 16095"/>
                <a:gd name="T64" fmla="*/ 2085 w 5030"/>
                <a:gd name="T65" fmla="*/ 1248 h 16095"/>
                <a:gd name="T66" fmla="*/ 2297 w 5030"/>
                <a:gd name="T67" fmla="*/ 1055 h 16095"/>
                <a:gd name="T68" fmla="*/ 2592 w 5030"/>
                <a:gd name="T69" fmla="*/ 1012 h 16095"/>
                <a:gd name="T70" fmla="*/ 2853 w 5030"/>
                <a:gd name="T71" fmla="*/ 1137 h 16095"/>
                <a:gd name="T72" fmla="*/ 3002 w 5030"/>
                <a:gd name="T73" fmla="*/ 1383 h 16095"/>
                <a:gd name="T74" fmla="*/ 2644 w 5030"/>
                <a:gd name="T75" fmla="*/ 2518 h 16095"/>
                <a:gd name="T76" fmla="*/ 4024 w 5030"/>
                <a:gd name="T77" fmla="*/ 3029 h 16095"/>
                <a:gd name="T78" fmla="*/ 3806 w 5030"/>
                <a:gd name="T79" fmla="*/ 727 h 16095"/>
                <a:gd name="T80" fmla="*/ 3169 w 5030"/>
                <a:gd name="T81" fmla="*/ 149 h 16095"/>
                <a:gd name="T82" fmla="*/ 2286 w 5030"/>
                <a:gd name="T83" fmla="*/ 17 h 16095"/>
                <a:gd name="T84" fmla="*/ 1501 w 5030"/>
                <a:gd name="T85" fmla="*/ 392 h 16095"/>
                <a:gd name="T86" fmla="*/ 1054 w 5030"/>
                <a:gd name="T87" fmla="*/ 1133 h 16095"/>
                <a:gd name="T88" fmla="*/ 687 w 5030"/>
                <a:gd name="T89" fmla="*/ 3314 h 16095"/>
                <a:gd name="T90" fmla="*/ 214 w 5030"/>
                <a:gd name="T91" fmla="*/ 4024 h 16095"/>
                <a:gd name="T92" fmla="*/ 5 w 5030"/>
                <a:gd name="T93" fmla="*/ 4877 h 16095"/>
                <a:gd name="T94" fmla="*/ 111 w 5030"/>
                <a:gd name="T95" fmla="*/ 5765 h 16095"/>
                <a:gd name="T96" fmla="*/ 503 w 5030"/>
                <a:gd name="T97" fmla="*/ 6529 h 16095"/>
                <a:gd name="T98" fmla="*/ 1008 w 5030"/>
                <a:gd name="T99" fmla="*/ 14664 h 16095"/>
                <a:gd name="T100" fmla="*/ 1306 w 5030"/>
                <a:gd name="T101" fmla="*/ 15488 h 16095"/>
                <a:gd name="T102" fmla="*/ 1997 w 5030"/>
                <a:gd name="T103" fmla="*/ 16003 h 16095"/>
                <a:gd name="T104" fmla="*/ 2891 w 5030"/>
                <a:gd name="T105" fmla="*/ 16048 h 16095"/>
                <a:gd name="T106" fmla="*/ 3632 w 5030"/>
                <a:gd name="T107" fmla="*/ 15600 h 16095"/>
                <a:gd name="T108" fmla="*/ 4007 w 5030"/>
                <a:gd name="T109" fmla="*/ 14815 h 16095"/>
                <a:gd name="T110" fmla="*/ 4438 w 5030"/>
                <a:gd name="T111" fmla="*/ 6639 h 16095"/>
                <a:gd name="T112" fmla="*/ 4872 w 5030"/>
                <a:gd name="T113" fmla="*/ 5902 h 16095"/>
                <a:gd name="T114" fmla="*/ 5030 w 5030"/>
                <a:gd name="T115" fmla="*/ 5030 h 16095"/>
                <a:gd name="T116" fmla="*/ 4872 w 5030"/>
                <a:gd name="T117" fmla="*/ 4158 h 16095"/>
                <a:gd name="T118" fmla="*/ 4438 w 5030"/>
                <a:gd name="T119" fmla="*/ 3420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30" h="16095">
                  <a:moveTo>
                    <a:pt x="3956" y="5452"/>
                  </a:moveTo>
                  <a:lnTo>
                    <a:pt x="3951" y="5472"/>
                  </a:lnTo>
                  <a:lnTo>
                    <a:pt x="3945" y="5492"/>
                  </a:lnTo>
                  <a:lnTo>
                    <a:pt x="3939" y="5512"/>
                  </a:lnTo>
                  <a:lnTo>
                    <a:pt x="3932" y="5532"/>
                  </a:lnTo>
                  <a:lnTo>
                    <a:pt x="3913" y="5581"/>
                  </a:lnTo>
                  <a:lnTo>
                    <a:pt x="3893" y="5630"/>
                  </a:lnTo>
                  <a:lnTo>
                    <a:pt x="3872" y="5678"/>
                  </a:lnTo>
                  <a:lnTo>
                    <a:pt x="3849" y="5725"/>
                  </a:lnTo>
                  <a:lnTo>
                    <a:pt x="3825" y="5771"/>
                  </a:lnTo>
                  <a:lnTo>
                    <a:pt x="3799" y="5815"/>
                  </a:lnTo>
                  <a:lnTo>
                    <a:pt x="3785" y="5837"/>
                  </a:lnTo>
                  <a:lnTo>
                    <a:pt x="3771" y="5860"/>
                  </a:lnTo>
                  <a:lnTo>
                    <a:pt x="3756" y="5881"/>
                  </a:lnTo>
                  <a:lnTo>
                    <a:pt x="3741" y="5903"/>
                  </a:lnTo>
                  <a:lnTo>
                    <a:pt x="3738" y="5906"/>
                  </a:lnTo>
                  <a:lnTo>
                    <a:pt x="3735" y="5910"/>
                  </a:lnTo>
                  <a:lnTo>
                    <a:pt x="3701" y="5954"/>
                  </a:lnTo>
                  <a:lnTo>
                    <a:pt x="3666" y="5997"/>
                  </a:lnTo>
                  <a:lnTo>
                    <a:pt x="3648" y="6019"/>
                  </a:lnTo>
                  <a:lnTo>
                    <a:pt x="3630" y="6039"/>
                  </a:lnTo>
                  <a:lnTo>
                    <a:pt x="3611" y="6059"/>
                  </a:lnTo>
                  <a:lnTo>
                    <a:pt x="3592" y="6079"/>
                  </a:lnTo>
                  <a:lnTo>
                    <a:pt x="3571" y="6098"/>
                  </a:lnTo>
                  <a:lnTo>
                    <a:pt x="3552" y="6118"/>
                  </a:lnTo>
                  <a:lnTo>
                    <a:pt x="3531" y="6136"/>
                  </a:lnTo>
                  <a:lnTo>
                    <a:pt x="3511" y="6155"/>
                  </a:lnTo>
                  <a:lnTo>
                    <a:pt x="3490" y="6173"/>
                  </a:lnTo>
                  <a:lnTo>
                    <a:pt x="3469" y="6191"/>
                  </a:lnTo>
                  <a:lnTo>
                    <a:pt x="3447" y="6209"/>
                  </a:lnTo>
                  <a:lnTo>
                    <a:pt x="3425" y="6225"/>
                  </a:lnTo>
                  <a:lnTo>
                    <a:pt x="3423" y="6228"/>
                  </a:lnTo>
                  <a:lnTo>
                    <a:pt x="3421" y="6230"/>
                  </a:lnTo>
                  <a:lnTo>
                    <a:pt x="3397" y="6246"/>
                  </a:lnTo>
                  <a:lnTo>
                    <a:pt x="3374" y="6263"/>
                  </a:lnTo>
                  <a:lnTo>
                    <a:pt x="3350" y="6279"/>
                  </a:lnTo>
                  <a:lnTo>
                    <a:pt x="3326" y="6294"/>
                  </a:lnTo>
                  <a:lnTo>
                    <a:pt x="3302" y="6309"/>
                  </a:lnTo>
                  <a:lnTo>
                    <a:pt x="3278" y="6324"/>
                  </a:lnTo>
                  <a:lnTo>
                    <a:pt x="3253" y="6338"/>
                  </a:lnTo>
                  <a:lnTo>
                    <a:pt x="3228" y="6352"/>
                  </a:lnTo>
                  <a:lnTo>
                    <a:pt x="3202" y="6366"/>
                  </a:lnTo>
                  <a:lnTo>
                    <a:pt x="3177" y="6379"/>
                  </a:lnTo>
                  <a:lnTo>
                    <a:pt x="3151" y="6391"/>
                  </a:lnTo>
                  <a:lnTo>
                    <a:pt x="3125" y="6403"/>
                  </a:lnTo>
                  <a:lnTo>
                    <a:pt x="3099" y="6415"/>
                  </a:lnTo>
                  <a:lnTo>
                    <a:pt x="3072" y="6425"/>
                  </a:lnTo>
                  <a:lnTo>
                    <a:pt x="3045" y="6436"/>
                  </a:lnTo>
                  <a:lnTo>
                    <a:pt x="3018" y="6446"/>
                  </a:lnTo>
                  <a:lnTo>
                    <a:pt x="2988" y="6456"/>
                  </a:lnTo>
                  <a:lnTo>
                    <a:pt x="2959" y="6466"/>
                  </a:lnTo>
                  <a:lnTo>
                    <a:pt x="2929" y="6475"/>
                  </a:lnTo>
                  <a:lnTo>
                    <a:pt x="2897" y="6484"/>
                  </a:lnTo>
                  <a:lnTo>
                    <a:pt x="2867" y="6492"/>
                  </a:lnTo>
                  <a:lnTo>
                    <a:pt x="2836" y="6500"/>
                  </a:lnTo>
                  <a:lnTo>
                    <a:pt x="2805" y="6507"/>
                  </a:lnTo>
                  <a:lnTo>
                    <a:pt x="2774" y="6513"/>
                  </a:lnTo>
                  <a:lnTo>
                    <a:pt x="2742" y="6519"/>
                  </a:lnTo>
                  <a:lnTo>
                    <a:pt x="2710" y="6525"/>
                  </a:lnTo>
                  <a:lnTo>
                    <a:pt x="2678" y="6529"/>
                  </a:lnTo>
                  <a:lnTo>
                    <a:pt x="2646" y="6533"/>
                  </a:lnTo>
                  <a:lnTo>
                    <a:pt x="2614" y="6535"/>
                  </a:lnTo>
                  <a:lnTo>
                    <a:pt x="2582" y="6537"/>
                  </a:lnTo>
                  <a:lnTo>
                    <a:pt x="2548" y="6539"/>
                  </a:lnTo>
                  <a:lnTo>
                    <a:pt x="2515" y="6539"/>
                  </a:lnTo>
                  <a:lnTo>
                    <a:pt x="2482" y="6539"/>
                  </a:lnTo>
                  <a:lnTo>
                    <a:pt x="2449" y="6537"/>
                  </a:lnTo>
                  <a:lnTo>
                    <a:pt x="2417" y="6535"/>
                  </a:lnTo>
                  <a:lnTo>
                    <a:pt x="2383" y="6533"/>
                  </a:lnTo>
                  <a:lnTo>
                    <a:pt x="2351" y="6529"/>
                  </a:lnTo>
                  <a:lnTo>
                    <a:pt x="2320" y="6525"/>
                  </a:lnTo>
                  <a:lnTo>
                    <a:pt x="2288" y="6519"/>
                  </a:lnTo>
                  <a:lnTo>
                    <a:pt x="2257" y="6513"/>
                  </a:lnTo>
                  <a:lnTo>
                    <a:pt x="2225" y="6507"/>
                  </a:lnTo>
                  <a:lnTo>
                    <a:pt x="2194" y="6500"/>
                  </a:lnTo>
                  <a:lnTo>
                    <a:pt x="2163" y="6492"/>
                  </a:lnTo>
                  <a:lnTo>
                    <a:pt x="2133" y="6484"/>
                  </a:lnTo>
                  <a:lnTo>
                    <a:pt x="2102" y="6475"/>
                  </a:lnTo>
                  <a:lnTo>
                    <a:pt x="2072" y="6466"/>
                  </a:lnTo>
                  <a:lnTo>
                    <a:pt x="2042" y="6456"/>
                  </a:lnTo>
                  <a:lnTo>
                    <a:pt x="2012" y="6446"/>
                  </a:lnTo>
                  <a:lnTo>
                    <a:pt x="1985" y="6436"/>
                  </a:lnTo>
                  <a:lnTo>
                    <a:pt x="1958" y="6425"/>
                  </a:lnTo>
                  <a:lnTo>
                    <a:pt x="1932" y="6415"/>
                  </a:lnTo>
                  <a:lnTo>
                    <a:pt x="1906" y="6403"/>
                  </a:lnTo>
                  <a:lnTo>
                    <a:pt x="1879" y="6391"/>
                  </a:lnTo>
                  <a:lnTo>
                    <a:pt x="1853" y="6379"/>
                  </a:lnTo>
                  <a:lnTo>
                    <a:pt x="1827" y="6366"/>
                  </a:lnTo>
                  <a:lnTo>
                    <a:pt x="1802" y="6352"/>
                  </a:lnTo>
                  <a:lnTo>
                    <a:pt x="1777" y="6338"/>
                  </a:lnTo>
                  <a:lnTo>
                    <a:pt x="1753" y="6324"/>
                  </a:lnTo>
                  <a:lnTo>
                    <a:pt x="1728" y="6309"/>
                  </a:lnTo>
                  <a:lnTo>
                    <a:pt x="1703" y="6294"/>
                  </a:lnTo>
                  <a:lnTo>
                    <a:pt x="1680" y="6279"/>
                  </a:lnTo>
                  <a:lnTo>
                    <a:pt x="1656" y="6263"/>
                  </a:lnTo>
                  <a:lnTo>
                    <a:pt x="1633" y="6246"/>
                  </a:lnTo>
                  <a:lnTo>
                    <a:pt x="1611" y="6230"/>
                  </a:lnTo>
                  <a:lnTo>
                    <a:pt x="1608" y="6228"/>
                  </a:lnTo>
                  <a:lnTo>
                    <a:pt x="1606" y="6225"/>
                  </a:lnTo>
                  <a:lnTo>
                    <a:pt x="1584" y="6209"/>
                  </a:lnTo>
                  <a:lnTo>
                    <a:pt x="1562" y="6191"/>
                  </a:lnTo>
                  <a:lnTo>
                    <a:pt x="1540" y="6173"/>
                  </a:lnTo>
                  <a:lnTo>
                    <a:pt x="1519" y="6155"/>
                  </a:lnTo>
                  <a:lnTo>
                    <a:pt x="1499" y="6136"/>
                  </a:lnTo>
                  <a:lnTo>
                    <a:pt x="1478" y="6118"/>
                  </a:lnTo>
                  <a:lnTo>
                    <a:pt x="1459" y="6098"/>
                  </a:lnTo>
                  <a:lnTo>
                    <a:pt x="1439" y="6079"/>
                  </a:lnTo>
                  <a:lnTo>
                    <a:pt x="1420" y="6059"/>
                  </a:lnTo>
                  <a:lnTo>
                    <a:pt x="1401" y="6039"/>
                  </a:lnTo>
                  <a:lnTo>
                    <a:pt x="1382" y="6019"/>
                  </a:lnTo>
                  <a:lnTo>
                    <a:pt x="1364" y="5997"/>
                  </a:lnTo>
                  <a:lnTo>
                    <a:pt x="1346" y="5976"/>
                  </a:lnTo>
                  <a:lnTo>
                    <a:pt x="1329" y="5954"/>
                  </a:lnTo>
                  <a:lnTo>
                    <a:pt x="1312" y="5932"/>
                  </a:lnTo>
                  <a:lnTo>
                    <a:pt x="1296" y="5910"/>
                  </a:lnTo>
                  <a:lnTo>
                    <a:pt x="1292" y="5906"/>
                  </a:lnTo>
                  <a:lnTo>
                    <a:pt x="1289" y="5903"/>
                  </a:lnTo>
                  <a:lnTo>
                    <a:pt x="1274" y="5881"/>
                  </a:lnTo>
                  <a:lnTo>
                    <a:pt x="1259" y="5860"/>
                  </a:lnTo>
                  <a:lnTo>
                    <a:pt x="1245" y="5837"/>
                  </a:lnTo>
                  <a:lnTo>
                    <a:pt x="1232" y="5815"/>
                  </a:lnTo>
                  <a:lnTo>
                    <a:pt x="1205" y="5771"/>
                  </a:lnTo>
                  <a:lnTo>
                    <a:pt x="1181" y="5725"/>
                  </a:lnTo>
                  <a:lnTo>
                    <a:pt x="1158" y="5678"/>
                  </a:lnTo>
                  <a:lnTo>
                    <a:pt x="1137" y="5630"/>
                  </a:lnTo>
                  <a:lnTo>
                    <a:pt x="1117" y="5581"/>
                  </a:lnTo>
                  <a:lnTo>
                    <a:pt x="1099" y="5532"/>
                  </a:lnTo>
                  <a:lnTo>
                    <a:pt x="1092" y="5512"/>
                  </a:lnTo>
                  <a:lnTo>
                    <a:pt x="1086" y="5492"/>
                  </a:lnTo>
                  <a:lnTo>
                    <a:pt x="1080" y="5472"/>
                  </a:lnTo>
                  <a:lnTo>
                    <a:pt x="1075" y="5452"/>
                  </a:lnTo>
                  <a:lnTo>
                    <a:pt x="1060" y="5402"/>
                  </a:lnTo>
                  <a:lnTo>
                    <a:pt x="1046" y="5350"/>
                  </a:lnTo>
                  <a:lnTo>
                    <a:pt x="1034" y="5298"/>
                  </a:lnTo>
                  <a:lnTo>
                    <a:pt x="1025" y="5246"/>
                  </a:lnTo>
                  <a:lnTo>
                    <a:pt x="1020" y="5219"/>
                  </a:lnTo>
                  <a:lnTo>
                    <a:pt x="1017" y="5193"/>
                  </a:lnTo>
                  <a:lnTo>
                    <a:pt x="1014" y="5165"/>
                  </a:lnTo>
                  <a:lnTo>
                    <a:pt x="1011" y="5139"/>
                  </a:lnTo>
                  <a:lnTo>
                    <a:pt x="1009" y="5112"/>
                  </a:lnTo>
                  <a:lnTo>
                    <a:pt x="1007" y="5085"/>
                  </a:lnTo>
                  <a:lnTo>
                    <a:pt x="1006" y="5057"/>
                  </a:lnTo>
                  <a:lnTo>
                    <a:pt x="1006" y="5030"/>
                  </a:lnTo>
                  <a:lnTo>
                    <a:pt x="1006" y="5002"/>
                  </a:lnTo>
                  <a:lnTo>
                    <a:pt x="1007" y="4974"/>
                  </a:lnTo>
                  <a:lnTo>
                    <a:pt x="1009" y="4947"/>
                  </a:lnTo>
                  <a:lnTo>
                    <a:pt x="1011" y="4920"/>
                  </a:lnTo>
                  <a:lnTo>
                    <a:pt x="1014" y="4893"/>
                  </a:lnTo>
                  <a:lnTo>
                    <a:pt x="1017" y="4866"/>
                  </a:lnTo>
                  <a:lnTo>
                    <a:pt x="1020" y="4840"/>
                  </a:lnTo>
                  <a:lnTo>
                    <a:pt x="1025" y="4812"/>
                  </a:lnTo>
                  <a:lnTo>
                    <a:pt x="1034" y="4760"/>
                  </a:lnTo>
                  <a:lnTo>
                    <a:pt x="1046" y="4709"/>
                  </a:lnTo>
                  <a:lnTo>
                    <a:pt x="1060" y="4657"/>
                  </a:lnTo>
                  <a:lnTo>
                    <a:pt x="1075" y="4606"/>
                  </a:lnTo>
                  <a:lnTo>
                    <a:pt x="1080" y="4586"/>
                  </a:lnTo>
                  <a:lnTo>
                    <a:pt x="1086" y="4567"/>
                  </a:lnTo>
                  <a:lnTo>
                    <a:pt x="1092" y="4547"/>
                  </a:lnTo>
                  <a:lnTo>
                    <a:pt x="1099" y="4528"/>
                  </a:lnTo>
                  <a:lnTo>
                    <a:pt x="1117" y="4478"/>
                  </a:lnTo>
                  <a:lnTo>
                    <a:pt x="1137" y="4429"/>
                  </a:lnTo>
                  <a:lnTo>
                    <a:pt x="1158" y="4382"/>
                  </a:lnTo>
                  <a:lnTo>
                    <a:pt x="1181" y="4335"/>
                  </a:lnTo>
                  <a:lnTo>
                    <a:pt x="1205" y="4288"/>
                  </a:lnTo>
                  <a:lnTo>
                    <a:pt x="1232" y="4243"/>
                  </a:lnTo>
                  <a:lnTo>
                    <a:pt x="1245" y="4221"/>
                  </a:lnTo>
                  <a:lnTo>
                    <a:pt x="1259" y="4200"/>
                  </a:lnTo>
                  <a:lnTo>
                    <a:pt x="1274" y="4178"/>
                  </a:lnTo>
                  <a:lnTo>
                    <a:pt x="1289" y="4157"/>
                  </a:lnTo>
                  <a:lnTo>
                    <a:pt x="1292" y="4153"/>
                  </a:lnTo>
                  <a:lnTo>
                    <a:pt x="1296" y="4148"/>
                  </a:lnTo>
                  <a:lnTo>
                    <a:pt x="1329" y="4104"/>
                  </a:lnTo>
                  <a:lnTo>
                    <a:pt x="1364" y="4062"/>
                  </a:lnTo>
                  <a:lnTo>
                    <a:pt x="1401" y="4020"/>
                  </a:lnTo>
                  <a:lnTo>
                    <a:pt x="1439" y="3979"/>
                  </a:lnTo>
                  <a:lnTo>
                    <a:pt x="1459" y="3960"/>
                  </a:lnTo>
                  <a:lnTo>
                    <a:pt x="1478" y="3941"/>
                  </a:lnTo>
                  <a:lnTo>
                    <a:pt x="1499" y="3922"/>
                  </a:lnTo>
                  <a:lnTo>
                    <a:pt x="1519" y="3903"/>
                  </a:lnTo>
                  <a:lnTo>
                    <a:pt x="1540" y="3885"/>
                  </a:lnTo>
                  <a:lnTo>
                    <a:pt x="1562" y="3868"/>
                  </a:lnTo>
                  <a:lnTo>
                    <a:pt x="1584" y="3850"/>
                  </a:lnTo>
                  <a:lnTo>
                    <a:pt x="1606" y="3833"/>
                  </a:lnTo>
                  <a:lnTo>
                    <a:pt x="1608" y="3832"/>
                  </a:lnTo>
                  <a:lnTo>
                    <a:pt x="1611" y="3830"/>
                  </a:lnTo>
                  <a:lnTo>
                    <a:pt x="1633" y="3813"/>
                  </a:lnTo>
                  <a:lnTo>
                    <a:pt x="1656" y="3796"/>
                  </a:lnTo>
                  <a:lnTo>
                    <a:pt x="1680" y="3780"/>
                  </a:lnTo>
                  <a:lnTo>
                    <a:pt x="1703" y="3765"/>
                  </a:lnTo>
                  <a:lnTo>
                    <a:pt x="1728" y="3750"/>
                  </a:lnTo>
                  <a:lnTo>
                    <a:pt x="1753" y="3735"/>
                  </a:lnTo>
                  <a:lnTo>
                    <a:pt x="1777" y="3721"/>
                  </a:lnTo>
                  <a:lnTo>
                    <a:pt x="1802" y="3707"/>
                  </a:lnTo>
                  <a:lnTo>
                    <a:pt x="1827" y="3694"/>
                  </a:lnTo>
                  <a:lnTo>
                    <a:pt x="1853" y="3681"/>
                  </a:lnTo>
                  <a:lnTo>
                    <a:pt x="1879" y="3669"/>
                  </a:lnTo>
                  <a:lnTo>
                    <a:pt x="1906" y="3657"/>
                  </a:lnTo>
                  <a:lnTo>
                    <a:pt x="1932" y="3645"/>
                  </a:lnTo>
                  <a:lnTo>
                    <a:pt x="1958" y="3633"/>
                  </a:lnTo>
                  <a:lnTo>
                    <a:pt x="1985" y="3623"/>
                  </a:lnTo>
                  <a:lnTo>
                    <a:pt x="2012" y="3613"/>
                  </a:lnTo>
                  <a:lnTo>
                    <a:pt x="2042" y="3603"/>
                  </a:lnTo>
                  <a:lnTo>
                    <a:pt x="2072" y="3593"/>
                  </a:lnTo>
                  <a:lnTo>
                    <a:pt x="2102" y="3584"/>
                  </a:lnTo>
                  <a:lnTo>
                    <a:pt x="2133" y="3575"/>
                  </a:lnTo>
                  <a:lnTo>
                    <a:pt x="2163" y="3567"/>
                  </a:lnTo>
                  <a:lnTo>
                    <a:pt x="2194" y="3559"/>
                  </a:lnTo>
                  <a:lnTo>
                    <a:pt x="2225" y="3552"/>
                  </a:lnTo>
                  <a:lnTo>
                    <a:pt x="2257" y="3546"/>
                  </a:lnTo>
                  <a:lnTo>
                    <a:pt x="2288" y="3540"/>
                  </a:lnTo>
                  <a:lnTo>
                    <a:pt x="2320" y="3535"/>
                  </a:lnTo>
                  <a:lnTo>
                    <a:pt x="2351" y="3531"/>
                  </a:lnTo>
                  <a:lnTo>
                    <a:pt x="2383" y="3528"/>
                  </a:lnTo>
                  <a:lnTo>
                    <a:pt x="2417" y="3525"/>
                  </a:lnTo>
                  <a:lnTo>
                    <a:pt x="2449" y="3523"/>
                  </a:lnTo>
                  <a:lnTo>
                    <a:pt x="2482" y="3521"/>
                  </a:lnTo>
                  <a:lnTo>
                    <a:pt x="2515" y="3521"/>
                  </a:lnTo>
                  <a:lnTo>
                    <a:pt x="2548" y="3521"/>
                  </a:lnTo>
                  <a:lnTo>
                    <a:pt x="2582" y="3523"/>
                  </a:lnTo>
                  <a:lnTo>
                    <a:pt x="2614" y="3525"/>
                  </a:lnTo>
                  <a:lnTo>
                    <a:pt x="2646" y="3528"/>
                  </a:lnTo>
                  <a:lnTo>
                    <a:pt x="2678" y="3531"/>
                  </a:lnTo>
                  <a:lnTo>
                    <a:pt x="2710" y="3535"/>
                  </a:lnTo>
                  <a:lnTo>
                    <a:pt x="2742" y="3540"/>
                  </a:lnTo>
                  <a:lnTo>
                    <a:pt x="2774" y="3546"/>
                  </a:lnTo>
                  <a:lnTo>
                    <a:pt x="2805" y="3552"/>
                  </a:lnTo>
                  <a:lnTo>
                    <a:pt x="2836" y="3559"/>
                  </a:lnTo>
                  <a:lnTo>
                    <a:pt x="2867" y="3567"/>
                  </a:lnTo>
                  <a:lnTo>
                    <a:pt x="2897" y="3575"/>
                  </a:lnTo>
                  <a:lnTo>
                    <a:pt x="2929" y="3584"/>
                  </a:lnTo>
                  <a:lnTo>
                    <a:pt x="2959" y="3593"/>
                  </a:lnTo>
                  <a:lnTo>
                    <a:pt x="2988" y="3603"/>
                  </a:lnTo>
                  <a:lnTo>
                    <a:pt x="3018" y="3613"/>
                  </a:lnTo>
                  <a:lnTo>
                    <a:pt x="3045" y="3623"/>
                  </a:lnTo>
                  <a:lnTo>
                    <a:pt x="3072" y="3633"/>
                  </a:lnTo>
                  <a:lnTo>
                    <a:pt x="3099" y="3645"/>
                  </a:lnTo>
                  <a:lnTo>
                    <a:pt x="3125" y="3657"/>
                  </a:lnTo>
                  <a:lnTo>
                    <a:pt x="3151" y="3669"/>
                  </a:lnTo>
                  <a:lnTo>
                    <a:pt x="3177" y="3681"/>
                  </a:lnTo>
                  <a:lnTo>
                    <a:pt x="3202" y="3694"/>
                  </a:lnTo>
                  <a:lnTo>
                    <a:pt x="3228" y="3707"/>
                  </a:lnTo>
                  <a:lnTo>
                    <a:pt x="3253" y="3721"/>
                  </a:lnTo>
                  <a:lnTo>
                    <a:pt x="3278" y="3735"/>
                  </a:lnTo>
                  <a:lnTo>
                    <a:pt x="3302" y="3750"/>
                  </a:lnTo>
                  <a:lnTo>
                    <a:pt x="3326" y="3765"/>
                  </a:lnTo>
                  <a:lnTo>
                    <a:pt x="3374" y="3796"/>
                  </a:lnTo>
                  <a:lnTo>
                    <a:pt x="3421" y="3830"/>
                  </a:lnTo>
                  <a:lnTo>
                    <a:pt x="3423" y="3832"/>
                  </a:lnTo>
                  <a:lnTo>
                    <a:pt x="3425" y="3833"/>
                  </a:lnTo>
                  <a:lnTo>
                    <a:pt x="3447" y="3850"/>
                  </a:lnTo>
                  <a:lnTo>
                    <a:pt x="3469" y="3868"/>
                  </a:lnTo>
                  <a:lnTo>
                    <a:pt x="3490" y="3885"/>
                  </a:lnTo>
                  <a:lnTo>
                    <a:pt x="3511" y="3903"/>
                  </a:lnTo>
                  <a:lnTo>
                    <a:pt x="3531" y="3922"/>
                  </a:lnTo>
                  <a:lnTo>
                    <a:pt x="3552" y="3941"/>
                  </a:lnTo>
                  <a:lnTo>
                    <a:pt x="3571" y="3960"/>
                  </a:lnTo>
                  <a:lnTo>
                    <a:pt x="3592" y="3979"/>
                  </a:lnTo>
                  <a:lnTo>
                    <a:pt x="3630" y="4020"/>
                  </a:lnTo>
                  <a:lnTo>
                    <a:pt x="3666" y="4062"/>
                  </a:lnTo>
                  <a:lnTo>
                    <a:pt x="3701" y="4104"/>
                  </a:lnTo>
                  <a:lnTo>
                    <a:pt x="3735" y="4148"/>
                  </a:lnTo>
                  <a:lnTo>
                    <a:pt x="3738" y="4153"/>
                  </a:lnTo>
                  <a:lnTo>
                    <a:pt x="3741" y="4157"/>
                  </a:lnTo>
                  <a:lnTo>
                    <a:pt x="3756" y="4178"/>
                  </a:lnTo>
                  <a:lnTo>
                    <a:pt x="3771" y="4200"/>
                  </a:lnTo>
                  <a:lnTo>
                    <a:pt x="3785" y="4221"/>
                  </a:lnTo>
                  <a:lnTo>
                    <a:pt x="3799" y="4243"/>
                  </a:lnTo>
                  <a:lnTo>
                    <a:pt x="3825" y="4288"/>
                  </a:lnTo>
                  <a:lnTo>
                    <a:pt x="3849" y="4335"/>
                  </a:lnTo>
                  <a:lnTo>
                    <a:pt x="3872" y="4382"/>
                  </a:lnTo>
                  <a:lnTo>
                    <a:pt x="3893" y="4429"/>
                  </a:lnTo>
                  <a:lnTo>
                    <a:pt x="3913" y="4478"/>
                  </a:lnTo>
                  <a:lnTo>
                    <a:pt x="3932" y="4528"/>
                  </a:lnTo>
                  <a:lnTo>
                    <a:pt x="3939" y="4547"/>
                  </a:lnTo>
                  <a:lnTo>
                    <a:pt x="3945" y="4567"/>
                  </a:lnTo>
                  <a:lnTo>
                    <a:pt x="3951" y="4586"/>
                  </a:lnTo>
                  <a:lnTo>
                    <a:pt x="3956" y="4606"/>
                  </a:lnTo>
                  <a:lnTo>
                    <a:pt x="3971" y="4657"/>
                  </a:lnTo>
                  <a:lnTo>
                    <a:pt x="3984" y="4709"/>
                  </a:lnTo>
                  <a:lnTo>
                    <a:pt x="3996" y="4760"/>
                  </a:lnTo>
                  <a:lnTo>
                    <a:pt x="4005" y="4812"/>
                  </a:lnTo>
                  <a:lnTo>
                    <a:pt x="4010" y="4840"/>
                  </a:lnTo>
                  <a:lnTo>
                    <a:pt x="4013" y="4866"/>
                  </a:lnTo>
                  <a:lnTo>
                    <a:pt x="4016" y="4893"/>
                  </a:lnTo>
                  <a:lnTo>
                    <a:pt x="4019" y="4920"/>
                  </a:lnTo>
                  <a:lnTo>
                    <a:pt x="4021" y="4947"/>
                  </a:lnTo>
                  <a:lnTo>
                    <a:pt x="4023" y="4974"/>
                  </a:lnTo>
                  <a:lnTo>
                    <a:pt x="4024" y="5002"/>
                  </a:lnTo>
                  <a:lnTo>
                    <a:pt x="4024" y="5030"/>
                  </a:lnTo>
                  <a:lnTo>
                    <a:pt x="4024" y="5057"/>
                  </a:lnTo>
                  <a:lnTo>
                    <a:pt x="4023" y="5085"/>
                  </a:lnTo>
                  <a:lnTo>
                    <a:pt x="4021" y="5112"/>
                  </a:lnTo>
                  <a:lnTo>
                    <a:pt x="4019" y="5139"/>
                  </a:lnTo>
                  <a:lnTo>
                    <a:pt x="4016" y="5165"/>
                  </a:lnTo>
                  <a:lnTo>
                    <a:pt x="4013" y="5193"/>
                  </a:lnTo>
                  <a:lnTo>
                    <a:pt x="4010" y="5219"/>
                  </a:lnTo>
                  <a:lnTo>
                    <a:pt x="4005" y="5246"/>
                  </a:lnTo>
                  <a:lnTo>
                    <a:pt x="3996" y="5298"/>
                  </a:lnTo>
                  <a:lnTo>
                    <a:pt x="3984" y="5350"/>
                  </a:lnTo>
                  <a:lnTo>
                    <a:pt x="3971" y="5402"/>
                  </a:lnTo>
                  <a:lnTo>
                    <a:pt x="3956" y="5452"/>
                  </a:lnTo>
                  <a:close/>
                  <a:moveTo>
                    <a:pt x="3018" y="14586"/>
                  </a:moveTo>
                  <a:lnTo>
                    <a:pt x="3017" y="14612"/>
                  </a:lnTo>
                  <a:lnTo>
                    <a:pt x="3015" y="14637"/>
                  </a:lnTo>
                  <a:lnTo>
                    <a:pt x="3012" y="14663"/>
                  </a:lnTo>
                  <a:lnTo>
                    <a:pt x="3008" y="14688"/>
                  </a:lnTo>
                  <a:lnTo>
                    <a:pt x="3002" y="14712"/>
                  </a:lnTo>
                  <a:lnTo>
                    <a:pt x="2996" y="14736"/>
                  </a:lnTo>
                  <a:lnTo>
                    <a:pt x="2988" y="14759"/>
                  </a:lnTo>
                  <a:lnTo>
                    <a:pt x="2979" y="14782"/>
                  </a:lnTo>
                  <a:lnTo>
                    <a:pt x="2969" y="14804"/>
                  </a:lnTo>
                  <a:lnTo>
                    <a:pt x="2958" y="14827"/>
                  </a:lnTo>
                  <a:lnTo>
                    <a:pt x="2946" y="14847"/>
                  </a:lnTo>
                  <a:lnTo>
                    <a:pt x="2933" y="14868"/>
                  </a:lnTo>
                  <a:lnTo>
                    <a:pt x="2919" y="14887"/>
                  </a:lnTo>
                  <a:lnTo>
                    <a:pt x="2903" y="14906"/>
                  </a:lnTo>
                  <a:lnTo>
                    <a:pt x="2887" y="14924"/>
                  </a:lnTo>
                  <a:lnTo>
                    <a:pt x="2871" y="14942"/>
                  </a:lnTo>
                  <a:lnTo>
                    <a:pt x="2853" y="14958"/>
                  </a:lnTo>
                  <a:lnTo>
                    <a:pt x="2835" y="14974"/>
                  </a:lnTo>
                  <a:lnTo>
                    <a:pt x="2816" y="14989"/>
                  </a:lnTo>
                  <a:lnTo>
                    <a:pt x="2796" y="15004"/>
                  </a:lnTo>
                  <a:lnTo>
                    <a:pt x="2776" y="15017"/>
                  </a:lnTo>
                  <a:lnTo>
                    <a:pt x="2755" y="15029"/>
                  </a:lnTo>
                  <a:lnTo>
                    <a:pt x="2733" y="15040"/>
                  </a:lnTo>
                  <a:lnTo>
                    <a:pt x="2711" y="15050"/>
                  </a:lnTo>
                  <a:lnTo>
                    <a:pt x="2688" y="15059"/>
                  </a:lnTo>
                  <a:lnTo>
                    <a:pt x="2665" y="15067"/>
                  </a:lnTo>
                  <a:lnTo>
                    <a:pt x="2641" y="15073"/>
                  </a:lnTo>
                  <a:lnTo>
                    <a:pt x="2617" y="15079"/>
                  </a:lnTo>
                  <a:lnTo>
                    <a:pt x="2592" y="15083"/>
                  </a:lnTo>
                  <a:lnTo>
                    <a:pt x="2566" y="15086"/>
                  </a:lnTo>
                  <a:lnTo>
                    <a:pt x="2541" y="15088"/>
                  </a:lnTo>
                  <a:lnTo>
                    <a:pt x="2515" y="15089"/>
                  </a:lnTo>
                  <a:lnTo>
                    <a:pt x="2489" y="15088"/>
                  </a:lnTo>
                  <a:lnTo>
                    <a:pt x="2464" y="15086"/>
                  </a:lnTo>
                  <a:lnTo>
                    <a:pt x="2439" y="15083"/>
                  </a:lnTo>
                  <a:lnTo>
                    <a:pt x="2414" y="15079"/>
                  </a:lnTo>
                  <a:lnTo>
                    <a:pt x="2389" y="15073"/>
                  </a:lnTo>
                  <a:lnTo>
                    <a:pt x="2365" y="15067"/>
                  </a:lnTo>
                  <a:lnTo>
                    <a:pt x="2342" y="15059"/>
                  </a:lnTo>
                  <a:lnTo>
                    <a:pt x="2319" y="15050"/>
                  </a:lnTo>
                  <a:lnTo>
                    <a:pt x="2297" y="15040"/>
                  </a:lnTo>
                  <a:lnTo>
                    <a:pt x="2276" y="15029"/>
                  </a:lnTo>
                  <a:lnTo>
                    <a:pt x="2255" y="15017"/>
                  </a:lnTo>
                  <a:lnTo>
                    <a:pt x="2233" y="15004"/>
                  </a:lnTo>
                  <a:lnTo>
                    <a:pt x="2214" y="14989"/>
                  </a:lnTo>
                  <a:lnTo>
                    <a:pt x="2195" y="14974"/>
                  </a:lnTo>
                  <a:lnTo>
                    <a:pt x="2177" y="14958"/>
                  </a:lnTo>
                  <a:lnTo>
                    <a:pt x="2159" y="14942"/>
                  </a:lnTo>
                  <a:lnTo>
                    <a:pt x="2143" y="14924"/>
                  </a:lnTo>
                  <a:lnTo>
                    <a:pt x="2127" y="14906"/>
                  </a:lnTo>
                  <a:lnTo>
                    <a:pt x="2112" y="14887"/>
                  </a:lnTo>
                  <a:lnTo>
                    <a:pt x="2098" y="14868"/>
                  </a:lnTo>
                  <a:lnTo>
                    <a:pt x="2085" y="14847"/>
                  </a:lnTo>
                  <a:lnTo>
                    <a:pt x="2073" y="14827"/>
                  </a:lnTo>
                  <a:lnTo>
                    <a:pt x="2061" y="14804"/>
                  </a:lnTo>
                  <a:lnTo>
                    <a:pt x="2051" y="14782"/>
                  </a:lnTo>
                  <a:lnTo>
                    <a:pt x="2042" y="14759"/>
                  </a:lnTo>
                  <a:lnTo>
                    <a:pt x="2035" y="14736"/>
                  </a:lnTo>
                  <a:lnTo>
                    <a:pt x="2028" y="14712"/>
                  </a:lnTo>
                  <a:lnTo>
                    <a:pt x="2022" y="14688"/>
                  </a:lnTo>
                  <a:lnTo>
                    <a:pt x="2018" y="14663"/>
                  </a:lnTo>
                  <a:lnTo>
                    <a:pt x="2015" y="14637"/>
                  </a:lnTo>
                  <a:lnTo>
                    <a:pt x="2013" y="14612"/>
                  </a:lnTo>
                  <a:lnTo>
                    <a:pt x="2012" y="14586"/>
                  </a:lnTo>
                  <a:lnTo>
                    <a:pt x="2012" y="7493"/>
                  </a:lnTo>
                  <a:lnTo>
                    <a:pt x="2074" y="7505"/>
                  </a:lnTo>
                  <a:lnTo>
                    <a:pt x="2135" y="7515"/>
                  </a:lnTo>
                  <a:lnTo>
                    <a:pt x="2197" y="7524"/>
                  </a:lnTo>
                  <a:lnTo>
                    <a:pt x="2260" y="7531"/>
                  </a:lnTo>
                  <a:lnTo>
                    <a:pt x="2323" y="7537"/>
                  </a:lnTo>
                  <a:lnTo>
                    <a:pt x="2386" y="7542"/>
                  </a:lnTo>
                  <a:lnTo>
                    <a:pt x="2451" y="7544"/>
                  </a:lnTo>
                  <a:lnTo>
                    <a:pt x="2515" y="7545"/>
                  </a:lnTo>
                  <a:lnTo>
                    <a:pt x="2580" y="7544"/>
                  </a:lnTo>
                  <a:lnTo>
                    <a:pt x="2644" y="7542"/>
                  </a:lnTo>
                  <a:lnTo>
                    <a:pt x="2707" y="7537"/>
                  </a:lnTo>
                  <a:lnTo>
                    <a:pt x="2771" y="7531"/>
                  </a:lnTo>
                  <a:lnTo>
                    <a:pt x="2833" y="7524"/>
                  </a:lnTo>
                  <a:lnTo>
                    <a:pt x="2895" y="7515"/>
                  </a:lnTo>
                  <a:lnTo>
                    <a:pt x="2957" y="7505"/>
                  </a:lnTo>
                  <a:lnTo>
                    <a:pt x="3018" y="7493"/>
                  </a:lnTo>
                  <a:lnTo>
                    <a:pt x="3018" y="14586"/>
                  </a:lnTo>
                  <a:close/>
                  <a:moveTo>
                    <a:pt x="2012" y="1509"/>
                  </a:moveTo>
                  <a:lnTo>
                    <a:pt x="2013" y="1483"/>
                  </a:lnTo>
                  <a:lnTo>
                    <a:pt x="2015" y="1458"/>
                  </a:lnTo>
                  <a:lnTo>
                    <a:pt x="2018" y="1432"/>
                  </a:lnTo>
                  <a:lnTo>
                    <a:pt x="2022" y="1407"/>
                  </a:lnTo>
                  <a:lnTo>
                    <a:pt x="2028" y="1383"/>
                  </a:lnTo>
                  <a:lnTo>
                    <a:pt x="2035" y="1359"/>
                  </a:lnTo>
                  <a:lnTo>
                    <a:pt x="2042" y="1336"/>
                  </a:lnTo>
                  <a:lnTo>
                    <a:pt x="2051" y="1313"/>
                  </a:lnTo>
                  <a:lnTo>
                    <a:pt x="2061" y="1291"/>
                  </a:lnTo>
                  <a:lnTo>
                    <a:pt x="2073" y="1269"/>
                  </a:lnTo>
                  <a:lnTo>
                    <a:pt x="2085" y="1248"/>
                  </a:lnTo>
                  <a:lnTo>
                    <a:pt x="2098" y="1227"/>
                  </a:lnTo>
                  <a:lnTo>
                    <a:pt x="2112" y="1208"/>
                  </a:lnTo>
                  <a:lnTo>
                    <a:pt x="2127" y="1189"/>
                  </a:lnTo>
                  <a:lnTo>
                    <a:pt x="2143" y="1171"/>
                  </a:lnTo>
                  <a:lnTo>
                    <a:pt x="2159" y="1153"/>
                  </a:lnTo>
                  <a:lnTo>
                    <a:pt x="2177" y="1137"/>
                  </a:lnTo>
                  <a:lnTo>
                    <a:pt x="2195" y="1121"/>
                  </a:lnTo>
                  <a:lnTo>
                    <a:pt x="2214" y="1106"/>
                  </a:lnTo>
                  <a:lnTo>
                    <a:pt x="2233" y="1091"/>
                  </a:lnTo>
                  <a:lnTo>
                    <a:pt x="2255" y="1078"/>
                  </a:lnTo>
                  <a:lnTo>
                    <a:pt x="2276" y="1066"/>
                  </a:lnTo>
                  <a:lnTo>
                    <a:pt x="2297" y="1055"/>
                  </a:lnTo>
                  <a:lnTo>
                    <a:pt x="2319" y="1045"/>
                  </a:lnTo>
                  <a:lnTo>
                    <a:pt x="2342" y="1036"/>
                  </a:lnTo>
                  <a:lnTo>
                    <a:pt x="2365" y="1029"/>
                  </a:lnTo>
                  <a:lnTo>
                    <a:pt x="2389" y="1022"/>
                  </a:lnTo>
                  <a:lnTo>
                    <a:pt x="2414" y="1016"/>
                  </a:lnTo>
                  <a:lnTo>
                    <a:pt x="2439" y="1012"/>
                  </a:lnTo>
                  <a:lnTo>
                    <a:pt x="2464" y="1009"/>
                  </a:lnTo>
                  <a:lnTo>
                    <a:pt x="2489" y="1007"/>
                  </a:lnTo>
                  <a:lnTo>
                    <a:pt x="2515" y="1006"/>
                  </a:lnTo>
                  <a:lnTo>
                    <a:pt x="2541" y="1007"/>
                  </a:lnTo>
                  <a:lnTo>
                    <a:pt x="2566" y="1009"/>
                  </a:lnTo>
                  <a:lnTo>
                    <a:pt x="2592" y="1012"/>
                  </a:lnTo>
                  <a:lnTo>
                    <a:pt x="2617" y="1016"/>
                  </a:lnTo>
                  <a:lnTo>
                    <a:pt x="2641" y="1022"/>
                  </a:lnTo>
                  <a:lnTo>
                    <a:pt x="2665" y="1029"/>
                  </a:lnTo>
                  <a:lnTo>
                    <a:pt x="2688" y="1036"/>
                  </a:lnTo>
                  <a:lnTo>
                    <a:pt x="2711" y="1045"/>
                  </a:lnTo>
                  <a:lnTo>
                    <a:pt x="2733" y="1055"/>
                  </a:lnTo>
                  <a:lnTo>
                    <a:pt x="2755" y="1066"/>
                  </a:lnTo>
                  <a:lnTo>
                    <a:pt x="2776" y="1078"/>
                  </a:lnTo>
                  <a:lnTo>
                    <a:pt x="2796" y="1091"/>
                  </a:lnTo>
                  <a:lnTo>
                    <a:pt x="2816" y="1106"/>
                  </a:lnTo>
                  <a:lnTo>
                    <a:pt x="2835" y="1121"/>
                  </a:lnTo>
                  <a:lnTo>
                    <a:pt x="2853" y="1137"/>
                  </a:lnTo>
                  <a:lnTo>
                    <a:pt x="2871" y="1153"/>
                  </a:lnTo>
                  <a:lnTo>
                    <a:pt x="2887" y="1171"/>
                  </a:lnTo>
                  <a:lnTo>
                    <a:pt x="2903" y="1189"/>
                  </a:lnTo>
                  <a:lnTo>
                    <a:pt x="2919" y="1208"/>
                  </a:lnTo>
                  <a:lnTo>
                    <a:pt x="2933" y="1227"/>
                  </a:lnTo>
                  <a:lnTo>
                    <a:pt x="2946" y="1248"/>
                  </a:lnTo>
                  <a:lnTo>
                    <a:pt x="2958" y="1269"/>
                  </a:lnTo>
                  <a:lnTo>
                    <a:pt x="2969" y="1291"/>
                  </a:lnTo>
                  <a:lnTo>
                    <a:pt x="2979" y="1313"/>
                  </a:lnTo>
                  <a:lnTo>
                    <a:pt x="2988" y="1336"/>
                  </a:lnTo>
                  <a:lnTo>
                    <a:pt x="2996" y="1359"/>
                  </a:lnTo>
                  <a:lnTo>
                    <a:pt x="3002" y="1383"/>
                  </a:lnTo>
                  <a:lnTo>
                    <a:pt x="3008" y="1407"/>
                  </a:lnTo>
                  <a:lnTo>
                    <a:pt x="3012" y="1432"/>
                  </a:lnTo>
                  <a:lnTo>
                    <a:pt x="3015" y="1458"/>
                  </a:lnTo>
                  <a:lnTo>
                    <a:pt x="3017" y="1483"/>
                  </a:lnTo>
                  <a:lnTo>
                    <a:pt x="3018" y="1509"/>
                  </a:lnTo>
                  <a:lnTo>
                    <a:pt x="3018" y="2565"/>
                  </a:lnTo>
                  <a:lnTo>
                    <a:pt x="2957" y="2554"/>
                  </a:lnTo>
                  <a:lnTo>
                    <a:pt x="2895" y="2543"/>
                  </a:lnTo>
                  <a:lnTo>
                    <a:pt x="2833" y="2535"/>
                  </a:lnTo>
                  <a:lnTo>
                    <a:pt x="2771" y="2528"/>
                  </a:lnTo>
                  <a:lnTo>
                    <a:pt x="2707" y="2522"/>
                  </a:lnTo>
                  <a:lnTo>
                    <a:pt x="2644" y="2518"/>
                  </a:lnTo>
                  <a:lnTo>
                    <a:pt x="2580" y="2516"/>
                  </a:lnTo>
                  <a:lnTo>
                    <a:pt x="2515" y="2515"/>
                  </a:lnTo>
                  <a:lnTo>
                    <a:pt x="2451" y="2516"/>
                  </a:lnTo>
                  <a:lnTo>
                    <a:pt x="2386" y="2518"/>
                  </a:lnTo>
                  <a:lnTo>
                    <a:pt x="2323" y="2522"/>
                  </a:lnTo>
                  <a:lnTo>
                    <a:pt x="2260" y="2528"/>
                  </a:lnTo>
                  <a:lnTo>
                    <a:pt x="2197" y="2535"/>
                  </a:lnTo>
                  <a:lnTo>
                    <a:pt x="2135" y="2543"/>
                  </a:lnTo>
                  <a:lnTo>
                    <a:pt x="2074" y="2554"/>
                  </a:lnTo>
                  <a:lnTo>
                    <a:pt x="2012" y="2565"/>
                  </a:lnTo>
                  <a:lnTo>
                    <a:pt x="2012" y="1509"/>
                  </a:lnTo>
                  <a:close/>
                  <a:moveTo>
                    <a:pt x="4024" y="3029"/>
                  </a:moveTo>
                  <a:lnTo>
                    <a:pt x="4024" y="1509"/>
                  </a:lnTo>
                  <a:lnTo>
                    <a:pt x="4022" y="1431"/>
                  </a:lnTo>
                  <a:lnTo>
                    <a:pt x="4016" y="1355"/>
                  </a:lnTo>
                  <a:lnTo>
                    <a:pt x="4007" y="1280"/>
                  </a:lnTo>
                  <a:lnTo>
                    <a:pt x="3994" y="1205"/>
                  </a:lnTo>
                  <a:lnTo>
                    <a:pt x="3977" y="1133"/>
                  </a:lnTo>
                  <a:lnTo>
                    <a:pt x="3956" y="1060"/>
                  </a:lnTo>
                  <a:lnTo>
                    <a:pt x="3933" y="991"/>
                  </a:lnTo>
                  <a:lnTo>
                    <a:pt x="3905" y="922"/>
                  </a:lnTo>
                  <a:lnTo>
                    <a:pt x="3875" y="855"/>
                  </a:lnTo>
                  <a:lnTo>
                    <a:pt x="3842" y="791"/>
                  </a:lnTo>
                  <a:lnTo>
                    <a:pt x="3806" y="727"/>
                  </a:lnTo>
                  <a:lnTo>
                    <a:pt x="3766" y="666"/>
                  </a:lnTo>
                  <a:lnTo>
                    <a:pt x="3724" y="607"/>
                  </a:lnTo>
                  <a:lnTo>
                    <a:pt x="3679" y="549"/>
                  </a:lnTo>
                  <a:lnTo>
                    <a:pt x="3632" y="495"/>
                  </a:lnTo>
                  <a:lnTo>
                    <a:pt x="3581" y="443"/>
                  </a:lnTo>
                  <a:lnTo>
                    <a:pt x="3529" y="392"/>
                  </a:lnTo>
                  <a:lnTo>
                    <a:pt x="3475" y="345"/>
                  </a:lnTo>
                  <a:lnTo>
                    <a:pt x="3417" y="300"/>
                  </a:lnTo>
                  <a:lnTo>
                    <a:pt x="3358" y="259"/>
                  </a:lnTo>
                  <a:lnTo>
                    <a:pt x="3297" y="219"/>
                  </a:lnTo>
                  <a:lnTo>
                    <a:pt x="3233" y="182"/>
                  </a:lnTo>
                  <a:lnTo>
                    <a:pt x="3169" y="149"/>
                  </a:lnTo>
                  <a:lnTo>
                    <a:pt x="3102" y="119"/>
                  </a:lnTo>
                  <a:lnTo>
                    <a:pt x="3033" y="92"/>
                  </a:lnTo>
                  <a:lnTo>
                    <a:pt x="2963" y="68"/>
                  </a:lnTo>
                  <a:lnTo>
                    <a:pt x="2891" y="47"/>
                  </a:lnTo>
                  <a:lnTo>
                    <a:pt x="2819" y="31"/>
                  </a:lnTo>
                  <a:lnTo>
                    <a:pt x="2745" y="17"/>
                  </a:lnTo>
                  <a:lnTo>
                    <a:pt x="2669" y="8"/>
                  </a:lnTo>
                  <a:lnTo>
                    <a:pt x="2593" y="2"/>
                  </a:lnTo>
                  <a:lnTo>
                    <a:pt x="2515" y="0"/>
                  </a:lnTo>
                  <a:lnTo>
                    <a:pt x="2438" y="2"/>
                  </a:lnTo>
                  <a:lnTo>
                    <a:pt x="2361" y="8"/>
                  </a:lnTo>
                  <a:lnTo>
                    <a:pt x="2286" y="17"/>
                  </a:lnTo>
                  <a:lnTo>
                    <a:pt x="2211" y="31"/>
                  </a:lnTo>
                  <a:lnTo>
                    <a:pt x="2138" y="47"/>
                  </a:lnTo>
                  <a:lnTo>
                    <a:pt x="2067" y="68"/>
                  </a:lnTo>
                  <a:lnTo>
                    <a:pt x="1997" y="92"/>
                  </a:lnTo>
                  <a:lnTo>
                    <a:pt x="1929" y="119"/>
                  </a:lnTo>
                  <a:lnTo>
                    <a:pt x="1861" y="149"/>
                  </a:lnTo>
                  <a:lnTo>
                    <a:pt x="1796" y="182"/>
                  </a:lnTo>
                  <a:lnTo>
                    <a:pt x="1734" y="219"/>
                  </a:lnTo>
                  <a:lnTo>
                    <a:pt x="1672" y="259"/>
                  </a:lnTo>
                  <a:lnTo>
                    <a:pt x="1613" y="300"/>
                  </a:lnTo>
                  <a:lnTo>
                    <a:pt x="1555" y="345"/>
                  </a:lnTo>
                  <a:lnTo>
                    <a:pt x="1501" y="392"/>
                  </a:lnTo>
                  <a:lnTo>
                    <a:pt x="1449" y="443"/>
                  </a:lnTo>
                  <a:lnTo>
                    <a:pt x="1399" y="495"/>
                  </a:lnTo>
                  <a:lnTo>
                    <a:pt x="1351" y="549"/>
                  </a:lnTo>
                  <a:lnTo>
                    <a:pt x="1306" y="607"/>
                  </a:lnTo>
                  <a:lnTo>
                    <a:pt x="1264" y="666"/>
                  </a:lnTo>
                  <a:lnTo>
                    <a:pt x="1225" y="727"/>
                  </a:lnTo>
                  <a:lnTo>
                    <a:pt x="1188" y="791"/>
                  </a:lnTo>
                  <a:lnTo>
                    <a:pt x="1155" y="855"/>
                  </a:lnTo>
                  <a:lnTo>
                    <a:pt x="1125" y="922"/>
                  </a:lnTo>
                  <a:lnTo>
                    <a:pt x="1098" y="991"/>
                  </a:lnTo>
                  <a:lnTo>
                    <a:pt x="1075" y="1060"/>
                  </a:lnTo>
                  <a:lnTo>
                    <a:pt x="1054" y="1133"/>
                  </a:lnTo>
                  <a:lnTo>
                    <a:pt x="1037" y="1205"/>
                  </a:lnTo>
                  <a:lnTo>
                    <a:pt x="1023" y="1280"/>
                  </a:lnTo>
                  <a:lnTo>
                    <a:pt x="1014" y="1355"/>
                  </a:lnTo>
                  <a:lnTo>
                    <a:pt x="1008" y="1431"/>
                  </a:lnTo>
                  <a:lnTo>
                    <a:pt x="1006" y="1509"/>
                  </a:lnTo>
                  <a:lnTo>
                    <a:pt x="1006" y="3029"/>
                  </a:lnTo>
                  <a:lnTo>
                    <a:pt x="950" y="3073"/>
                  </a:lnTo>
                  <a:lnTo>
                    <a:pt x="895" y="3118"/>
                  </a:lnTo>
                  <a:lnTo>
                    <a:pt x="841" y="3165"/>
                  </a:lnTo>
                  <a:lnTo>
                    <a:pt x="789" y="3213"/>
                  </a:lnTo>
                  <a:lnTo>
                    <a:pt x="738" y="3263"/>
                  </a:lnTo>
                  <a:lnTo>
                    <a:pt x="687" y="3314"/>
                  </a:lnTo>
                  <a:lnTo>
                    <a:pt x="639" y="3366"/>
                  </a:lnTo>
                  <a:lnTo>
                    <a:pt x="593" y="3420"/>
                  </a:lnTo>
                  <a:lnTo>
                    <a:pt x="548" y="3476"/>
                  </a:lnTo>
                  <a:lnTo>
                    <a:pt x="503" y="3532"/>
                  </a:lnTo>
                  <a:lnTo>
                    <a:pt x="461" y="3589"/>
                  </a:lnTo>
                  <a:lnTo>
                    <a:pt x="421" y="3648"/>
                  </a:lnTo>
                  <a:lnTo>
                    <a:pt x="382" y="3708"/>
                  </a:lnTo>
                  <a:lnTo>
                    <a:pt x="344" y="3768"/>
                  </a:lnTo>
                  <a:lnTo>
                    <a:pt x="309" y="3831"/>
                  </a:lnTo>
                  <a:lnTo>
                    <a:pt x="276" y="3894"/>
                  </a:lnTo>
                  <a:lnTo>
                    <a:pt x="244" y="3958"/>
                  </a:lnTo>
                  <a:lnTo>
                    <a:pt x="214" y="4024"/>
                  </a:lnTo>
                  <a:lnTo>
                    <a:pt x="184" y="4090"/>
                  </a:lnTo>
                  <a:lnTo>
                    <a:pt x="158" y="4158"/>
                  </a:lnTo>
                  <a:lnTo>
                    <a:pt x="134" y="4226"/>
                  </a:lnTo>
                  <a:lnTo>
                    <a:pt x="111" y="4294"/>
                  </a:lnTo>
                  <a:lnTo>
                    <a:pt x="91" y="4365"/>
                  </a:lnTo>
                  <a:lnTo>
                    <a:pt x="72" y="4435"/>
                  </a:lnTo>
                  <a:lnTo>
                    <a:pt x="56" y="4508"/>
                  </a:lnTo>
                  <a:lnTo>
                    <a:pt x="42" y="4580"/>
                  </a:lnTo>
                  <a:lnTo>
                    <a:pt x="28" y="4653"/>
                  </a:lnTo>
                  <a:lnTo>
                    <a:pt x="18" y="4727"/>
                  </a:lnTo>
                  <a:lnTo>
                    <a:pt x="10" y="4801"/>
                  </a:lnTo>
                  <a:lnTo>
                    <a:pt x="5" y="4877"/>
                  </a:lnTo>
                  <a:lnTo>
                    <a:pt x="1" y="4953"/>
                  </a:lnTo>
                  <a:lnTo>
                    <a:pt x="0" y="5030"/>
                  </a:lnTo>
                  <a:lnTo>
                    <a:pt x="1" y="5106"/>
                  </a:lnTo>
                  <a:lnTo>
                    <a:pt x="5" y="5183"/>
                  </a:lnTo>
                  <a:lnTo>
                    <a:pt x="10" y="5258"/>
                  </a:lnTo>
                  <a:lnTo>
                    <a:pt x="18" y="5332"/>
                  </a:lnTo>
                  <a:lnTo>
                    <a:pt x="28" y="5407"/>
                  </a:lnTo>
                  <a:lnTo>
                    <a:pt x="42" y="5479"/>
                  </a:lnTo>
                  <a:lnTo>
                    <a:pt x="56" y="5552"/>
                  </a:lnTo>
                  <a:lnTo>
                    <a:pt x="72" y="5624"/>
                  </a:lnTo>
                  <a:lnTo>
                    <a:pt x="91" y="5695"/>
                  </a:lnTo>
                  <a:lnTo>
                    <a:pt x="111" y="5765"/>
                  </a:lnTo>
                  <a:lnTo>
                    <a:pt x="134" y="5834"/>
                  </a:lnTo>
                  <a:lnTo>
                    <a:pt x="158" y="5902"/>
                  </a:lnTo>
                  <a:lnTo>
                    <a:pt x="184" y="5969"/>
                  </a:lnTo>
                  <a:lnTo>
                    <a:pt x="214" y="6036"/>
                  </a:lnTo>
                  <a:lnTo>
                    <a:pt x="244" y="6101"/>
                  </a:lnTo>
                  <a:lnTo>
                    <a:pt x="276" y="6165"/>
                  </a:lnTo>
                  <a:lnTo>
                    <a:pt x="309" y="6229"/>
                  </a:lnTo>
                  <a:lnTo>
                    <a:pt x="344" y="6291"/>
                  </a:lnTo>
                  <a:lnTo>
                    <a:pt x="382" y="6351"/>
                  </a:lnTo>
                  <a:lnTo>
                    <a:pt x="421" y="6412"/>
                  </a:lnTo>
                  <a:lnTo>
                    <a:pt x="461" y="6470"/>
                  </a:lnTo>
                  <a:lnTo>
                    <a:pt x="503" y="6529"/>
                  </a:lnTo>
                  <a:lnTo>
                    <a:pt x="548" y="6584"/>
                  </a:lnTo>
                  <a:lnTo>
                    <a:pt x="593" y="6639"/>
                  </a:lnTo>
                  <a:lnTo>
                    <a:pt x="639" y="6694"/>
                  </a:lnTo>
                  <a:lnTo>
                    <a:pt x="687" y="6746"/>
                  </a:lnTo>
                  <a:lnTo>
                    <a:pt x="738" y="6796"/>
                  </a:lnTo>
                  <a:lnTo>
                    <a:pt x="789" y="6846"/>
                  </a:lnTo>
                  <a:lnTo>
                    <a:pt x="841" y="6895"/>
                  </a:lnTo>
                  <a:lnTo>
                    <a:pt x="895" y="6941"/>
                  </a:lnTo>
                  <a:lnTo>
                    <a:pt x="950" y="6986"/>
                  </a:lnTo>
                  <a:lnTo>
                    <a:pt x="1006" y="7030"/>
                  </a:lnTo>
                  <a:lnTo>
                    <a:pt x="1006" y="14586"/>
                  </a:lnTo>
                  <a:lnTo>
                    <a:pt x="1008" y="14664"/>
                  </a:lnTo>
                  <a:lnTo>
                    <a:pt x="1014" y="14740"/>
                  </a:lnTo>
                  <a:lnTo>
                    <a:pt x="1023" y="14815"/>
                  </a:lnTo>
                  <a:lnTo>
                    <a:pt x="1037" y="14890"/>
                  </a:lnTo>
                  <a:lnTo>
                    <a:pt x="1054" y="14962"/>
                  </a:lnTo>
                  <a:lnTo>
                    <a:pt x="1075" y="15035"/>
                  </a:lnTo>
                  <a:lnTo>
                    <a:pt x="1098" y="15104"/>
                  </a:lnTo>
                  <a:lnTo>
                    <a:pt x="1125" y="15173"/>
                  </a:lnTo>
                  <a:lnTo>
                    <a:pt x="1155" y="15240"/>
                  </a:lnTo>
                  <a:lnTo>
                    <a:pt x="1188" y="15304"/>
                  </a:lnTo>
                  <a:lnTo>
                    <a:pt x="1225" y="15368"/>
                  </a:lnTo>
                  <a:lnTo>
                    <a:pt x="1264" y="15429"/>
                  </a:lnTo>
                  <a:lnTo>
                    <a:pt x="1306" y="15488"/>
                  </a:lnTo>
                  <a:lnTo>
                    <a:pt x="1351" y="15546"/>
                  </a:lnTo>
                  <a:lnTo>
                    <a:pt x="1399" y="15600"/>
                  </a:lnTo>
                  <a:lnTo>
                    <a:pt x="1449" y="15652"/>
                  </a:lnTo>
                  <a:lnTo>
                    <a:pt x="1501" y="15703"/>
                  </a:lnTo>
                  <a:lnTo>
                    <a:pt x="1555" y="15750"/>
                  </a:lnTo>
                  <a:lnTo>
                    <a:pt x="1613" y="15795"/>
                  </a:lnTo>
                  <a:lnTo>
                    <a:pt x="1672" y="15836"/>
                  </a:lnTo>
                  <a:lnTo>
                    <a:pt x="1734" y="15877"/>
                  </a:lnTo>
                  <a:lnTo>
                    <a:pt x="1796" y="15913"/>
                  </a:lnTo>
                  <a:lnTo>
                    <a:pt x="1861" y="15946"/>
                  </a:lnTo>
                  <a:lnTo>
                    <a:pt x="1929" y="15976"/>
                  </a:lnTo>
                  <a:lnTo>
                    <a:pt x="1997" y="16003"/>
                  </a:lnTo>
                  <a:lnTo>
                    <a:pt x="2067" y="16027"/>
                  </a:lnTo>
                  <a:lnTo>
                    <a:pt x="2138" y="16048"/>
                  </a:lnTo>
                  <a:lnTo>
                    <a:pt x="2211" y="16064"/>
                  </a:lnTo>
                  <a:lnTo>
                    <a:pt x="2286" y="16078"/>
                  </a:lnTo>
                  <a:lnTo>
                    <a:pt x="2361" y="16087"/>
                  </a:lnTo>
                  <a:lnTo>
                    <a:pt x="2438" y="16093"/>
                  </a:lnTo>
                  <a:lnTo>
                    <a:pt x="2515" y="16095"/>
                  </a:lnTo>
                  <a:lnTo>
                    <a:pt x="2593" y="16093"/>
                  </a:lnTo>
                  <a:lnTo>
                    <a:pt x="2669" y="16087"/>
                  </a:lnTo>
                  <a:lnTo>
                    <a:pt x="2745" y="16078"/>
                  </a:lnTo>
                  <a:lnTo>
                    <a:pt x="2819" y="16064"/>
                  </a:lnTo>
                  <a:lnTo>
                    <a:pt x="2891" y="16048"/>
                  </a:lnTo>
                  <a:lnTo>
                    <a:pt x="2963" y="16027"/>
                  </a:lnTo>
                  <a:lnTo>
                    <a:pt x="3033" y="16003"/>
                  </a:lnTo>
                  <a:lnTo>
                    <a:pt x="3102" y="15976"/>
                  </a:lnTo>
                  <a:lnTo>
                    <a:pt x="3169" y="15946"/>
                  </a:lnTo>
                  <a:lnTo>
                    <a:pt x="3233" y="15913"/>
                  </a:lnTo>
                  <a:lnTo>
                    <a:pt x="3297" y="15877"/>
                  </a:lnTo>
                  <a:lnTo>
                    <a:pt x="3358" y="15836"/>
                  </a:lnTo>
                  <a:lnTo>
                    <a:pt x="3417" y="15795"/>
                  </a:lnTo>
                  <a:lnTo>
                    <a:pt x="3475" y="15750"/>
                  </a:lnTo>
                  <a:lnTo>
                    <a:pt x="3529" y="15703"/>
                  </a:lnTo>
                  <a:lnTo>
                    <a:pt x="3581" y="15652"/>
                  </a:lnTo>
                  <a:lnTo>
                    <a:pt x="3632" y="15600"/>
                  </a:lnTo>
                  <a:lnTo>
                    <a:pt x="3679" y="15546"/>
                  </a:lnTo>
                  <a:lnTo>
                    <a:pt x="3724" y="15488"/>
                  </a:lnTo>
                  <a:lnTo>
                    <a:pt x="3766" y="15429"/>
                  </a:lnTo>
                  <a:lnTo>
                    <a:pt x="3806" y="15368"/>
                  </a:lnTo>
                  <a:lnTo>
                    <a:pt x="3842" y="15304"/>
                  </a:lnTo>
                  <a:lnTo>
                    <a:pt x="3875" y="15240"/>
                  </a:lnTo>
                  <a:lnTo>
                    <a:pt x="3905" y="15173"/>
                  </a:lnTo>
                  <a:lnTo>
                    <a:pt x="3933" y="15104"/>
                  </a:lnTo>
                  <a:lnTo>
                    <a:pt x="3956" y="15035"/>
                  </a:lnTo>
                  <a:lnTo>
                    <a:pt x="3977" y="14962"/>
                  </a:lnTo>
                  <a:lnTo>
                    <a:pt x="3994" y="14890"/>
                  </a:lnTo>
                  <a:lnTo>
                    <a:pt x="4007" y="14815"/>
                  </a:lnTo>
                  <a:lnTo>
                    <a:pt x="4016" y="14740"/>
                  </a:lnTo>
                  <a:lnTo>
                    <a:pt x="4022" y="14664"/>
                  </a:lnTo>
                  <a:lnTo>
                    <a:pt x="4024" y="14586"/>
                  </a:lnTo>
                  <a:lnTo>
                    <a:pt x="4024" y="7030"/>
                  </a:lnTo>
                  <a:lnTo>
                    <a:pt x="4080" y="6986"/>
                  </a:lnTo>
                  <a:lnTo>
                    <a:pt x="4136" y="6941"/>
                  </a:lnTo>
                  <a:lnTo>
                    <a:pt x="4189" y="6895"/>
                  </a:lnTo>
                  <a:lnTo>
                    <a:pt x="4241" y="6846"/>
                  </a:lnTo>
                  <a:lnTo>
                    <a:pt x="4293" y="6796"/>
                  </a:lnTo>
                  <a:lnTo>
                    <a:pt x="4343" y="6746"/>
                  </a:lnTo>
                  <a:lnTo>
                    <a:pt x="4391" y="6694"/>
                  </a:lnTo>
                  <a:lnTo>
                    <a:pt x="4438" y="6639"/>
                  </a:lnTo>
                  <a:lnTo>
                    <a:pt x="4483" y="6584"/>
                  </a:lnTo>
                  <a:lnTo>
                    <a:pt x="4527" y="6529"/>
                  </a:lnTo>
                  <a:lnTo>
                    <a:pt x="4569" y="6470"/>
                  </a:lnTo>
                  <a:lnTo>
                    <a:pt x="4610" y="6412"/>
                  </a:lnTo>
                  <a:lnTo>
                    <a:pt x="4649" y="6351"/>
                  </a:lnTo>
                  <a:lnTo>
                    <a:pt x="4686" y="6291"/>
                  </a:lnTo>
                  <a:lnTo>
                    <a:pt x="4721" y="6229"/>
                  </a:lnTo>
                  <a:lnTo>
                    <a:pt x="4754" y="6165"/>
                  </a:lnTo>
                  <a:lnTo>
                    <a:pt x="4787" y="6101"/>
                  </a:lnTo>
                  <a:lnTo>
                    <a:pt x="4817" y="6036"/>
                  </a:lnTo>
                  <a:lnTo>
                    <a:pt x="4846" y="5969"/>
                  </a:lnTo>
                  <a:lnTo>
                    <a:pt x="4872" y="5902"/>
                  </a:lnTo>
                  <a:lnTo>
                    <a:pt x="4896" y="5834"/>
                  </a:lnTo>
                  <a:lnTo>
                    <a:pt x="4919" y="5765"/>
                  </a:lnTo>
                  <a:lnTo>
                    <a:pt x="4939" y="5695"/>
                  </a:lnTo>
                  <a:lnTo>
                    <a:pt x="4959" y="5624"/>
                  </a:lnTo>
                  <a:lnTo>
                    <a:pt x="4975" y="5552"/>
                  </a:lnTo>
                  <a:lnTo>
                    <a:pt x="4989" y="5479"/>
                  </a:lnTo>
                  <a:lnTo>
                    <a:pt x="5002" y="5407"/>
                  </a:lnTo>
                  <a:lnTo>
                    <a:pt x="5012" y="5332"/>
                  </a:lnTo>
                  <a:lnTo>
                    <a:pt x="5020" y="5258"/>
                  </a:lnTo>
                  <a:lnTo>
                    <a:pt x="5025" y="5183"/>
                  </a:lnTo>
                  <a:lnTo>
                    <a:pt x="5029" y="5106"/>
                  </a:lnTo>
                  <a:lnTo>
                    <a:pt x="5030" y="5030"/>
                  </a:lnTo>
                  <a:lnTo>
                    <a:pt x="5029" y="4953"/>
                  </a:lnTo>
                  <a:lnTo>
                    <a:pt x="5025" y="4877"/>
                  </a:lnTo>
                  <a:lnTo>
                    <a:pt x="5020" y="4801"/>
                  </a:lnTo>
                  <a:lnTo>
                    <a:pt x="5012" y="4727"/>
                  </a:lnTo>
                  <a:lnTo>
                    <a:pt x="5002" y="4653"/>
                  </a:lnTo>
                  <a:lnTo>
                    <a:pt x="4989" y="4580"/>
                  </a:lnTo>
                  <a:lnTo>
                    <a:pt x="4975" y="4508"/>
                  </a:lnTo>
                  <a:lnTo>
                    <a:pt x="4959" y="4435"/>
                  </a:lnTo>
                  <a:lnTo>
                    <a:pt x="4939" y="4365"/>
                  </a:lnTo>
                  <a:lnTo>
                    <a:pt x="4919" y="4294"/>
                  </a:lnTo>
                  <a:lnTo>
                    <a:pt x="4896" y="4226"/>
                  </a:lnTo>
                  <a:lnTo>
                    <a:pt x="4872" y="4158"/>
                  </a:lnTo>
                  <a:lnTo>
                    <a:pt x="4846" y="4090"/>
                  </a:lnTo>
                  <a:lnTo>
                    <a:pt x="4817" y="4024"/>
                  </a:lnTo>
                  <a:lnTo>
                    <a:pt x="4787" y="3958"/>
                  </a:lnTo>
                  <a:lnTo>
                    <a:pt x="4754" y="3894"/>
                  </a:lnTo>
                  <a:lnTo>
                    <a:pt x="4721" y="3831"/>
                  </a:lnTo>
                  <a:lnTo>
                    <a:pt x="4686" y="3768"/>
                  </a:lnTo>
                  <a:lnTo>
                    <a:pt x="4649" y="3708"/>
                  </a:lnTo>
                  <a:lnTo>
                    <a:pt x="4610" y="3648"/>
                  </a:lnTo>
                  <a:lnTo>
                    <a:pt x="4569" y="3589"/>
                  </a:lnTo>
                  <a:lnTo>
                    <a:pt x="4527" y="3532"/>
                  </a:lnTo>
                  <a:lnTo>
                    <a:pt x="4483" y="3476"/>
                  </a:lnTo>
                  <a:lnTo>
                    <a:pt x="4438" y="3420"/>
                  </a:lnTo>
                  <a:lnTo>
                    <a:pt x="4391" y="3366"/>
                  </a:lnTo>
                  <a:lnTo>
                    <a:pt x="4343" y="3314"/>
                  </a:lnTo>
                  <a:lnTo>
                    <a:pt x="4293" y="3263"/>
                  </a:lnTo>
                  <a:lnTo>
                    <a:pt x="4241" y="3213"/>
                  </a:lnTo>
                  <a:lnTo>
                    <a:pt x="4189" y="3165"/>
                  </a:lnTo>
                  <a:lnTo>
                    <a:pt x="4136" y="3118"/>
                  </a:lnTo>
                  <a:lnTo>
                    <a:pt x="4080" y="3073"/>
                  </a:lnTo>
                  <a:lnTo>
                    <a:pt x="4024" y="30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20" name="ï$ḻîḓê">
              <a:extLst>
                <a:ext uri="{FF2B5EF4-FFF2-40B4-BE49-F238E27FC236}">
                  <a16:creationId xmlns:a16="http://schemas.microsoft.com/office/drawing/2014/main" id="{AB70639D-D23F-45D6-A25A-FC1CF9748FF1}"/>
                </a:ext>
              </a:extLst>
            </p:cNvPr>
            <p:cNvSpPr/>
            <p:nvPr/>
          </p:nvSpPr>
          <p:spPr bwMode="auto">
            <a:xfrm>
              <a:off x="3381352" y="1493427"/>
              <a:ext cx="126322" cy="407036"/>
            </a:xfrm>
            <a:custGeom>
              <a:avLst/>
              <a:gdLst>
                <a:gd name="T0" fmla="*/ 3784 w 5029"/>
                <a:gd name="T1" fmla="*/ 11873 h 16095"/>
                <a:gd name="T2" fmla="*/ 3571 w 5029"/>
                <a:gd name="T3" fmla="*/ 12135 h 16095"/>
                <a:gd name="T4" fmla="*/ 3349 w 5029"/>
                <a:gd name="T5" fmla="*/ 12315 h 16095"/>
                <a:gd name="T6" fmla="*/ 3045 w 5029"/>
                <a:gd name="T7" fmla="*/ 12472 h 16095"/>
                <a:gd name="T8" fmla="*/ 2677 w 5029"/>
                <a:gd name="T9" fmla="*/ 12564 h 16095"/>
                <a:gd name="T10" fmla="*/ 2287 w 5029"/>
                <a:gd name="T11" fmla="*/ 12555 h 16095"/>
                <a:gd name="T12" fmla="*/ 1931 w 5029"/>
                <a:gd name="T13" fmla="*/ 12450 h 16095"/>
                <a:gd name="T14" fmla="*/ 1632 w 5029"/>
                <a:gd name="T15" fmla="*/ 12281 h 16095"/>
                <a:gd name="T16" fmla="*/ 1400 w 5029"/>
                <a:gd name="T17" fmla="*/ 12074 h 16095"/>
                <a:gd name="T18" fmla="*/ 1157 w 5029"/>
                <a:gd name="T19" fmla="*/ 11713 h 16095"/>
                <a:gd name="T20" fmla="*/ 1020 w 5029"/>
                <a:gd name="T21" fmla="*/ 11254 h 16095"/>
                <a:gd name="T22" fmla="*/ 1013 w 5029"/>
                <a:gd name="T23" fmla="*/ 10929 h 16095"/>
                <a:gd name="T24" fmla="*/ 1116 w 5029"/>
                <a:gd name="T25" fmla="*/ 10514 h 16095"/>
                <a:gd name="T26" fmla="*/ 1328 w 5029"/>
                <a:gd name="T27" fmla="*/ 10140 h 16095"/>
                <a:gd name="T28" fmla="*/ 1607 w 5029"/>
                <a:gd name="T29" fmla="*/ 9867 h 16095"/>
                <a:gd name="T30" fmla="*/ 1931 w 5029"/>
                <a:gd name="T31" fmla="*/ 9680 h 16095"/>
                <a:gd name="T32" fmla="*/ 2287 w 5029"/>
                <a:gd name="T33" fmla="*/ 9576 h 16095"/>
                <a:gd name="T34" fmla="*/ 2677 w 5029"/>
                <a:gd name="T35" fmla="*/ 9566 h 16095"/>
                <a:gd name="T36" fmla="*/ 3045 w 5029"/>
                <a:gd name="T37" fmla="*/ 9659 h 16095"/>
                <a:gd name="T38" fmla="*/ 3373 w 5029"/>
                <a:gd name="T39" fmla="*/ 9832 h 16095"/>
                <a:gd name="T40" fmla="*/ 3629 w 5029"/>
                <a:gd name="T41" fmla="*/ 10055 h 16095"/>
                <a:gd name="T42" fmla="*/ 3872 w 5029"/>
                <a:gd name="T43" fmla="*/ 10417 h 16095"/>
                <a:gd name="T44" fmla="*/ 4008 w 5029"/>
                <a:gd name="T45" fmla="*/ 10875 h 16095"/>
                <a:gd name="T46" fmla="*/ 4015 w 5029"/>
                <a:gd name="T47" fmla="*/ 11201 h 16095"/>
                <a:gd name="T48" fmla="*/ 3007 w 5029"/>
                <a:gd name="T49" fmla="*/ 14688 h 16095"/>
                <a:gd name="T50" fmla="*/ 2870 w 5029"/>
                <a:gd name="T51" fmla="*/ 14942 h 16095"/>
                <a:gd name="T52" fmla="*/ 2616 w 5029"/>
                <a:gd name="T53" fmla="*/ 15079 h 16095"/>
                <a:gd name="T54" fmla="*/ 2318 w 5029"/>
                <a:gd name="T55" fmla="*/ 15050 h 16095"/>
                <a:gd name="T56" fmla="*/ 2097 w 5029"/>
                <a:gd name="T57" fmla="*/ 14868 h 16095"/>
                <a:gd name="T58" fmla="*/ 2012 w 5029"/>
                <a:gd name="T59" fmla="*/ 14586 h 16095"/>
                <a:gd name="T60" fmla="*/ 2707 w 5029"/>
                <a:gd name="T61" fmla="*/ 13573 h 16095"/>
                <a:gd name="T62" fmla="*/ 2028 w 5029"/>
                <a:gd name="T63" fmla="*/ 1383 h 16095"/>
                <a:gd name="T64" fmla="*/ 2177 w 5029"/>
                <a:gd name="T65" fmla="*/ 1137 h 16095"/>
                <a:gd name="T66" fmla="*/ 2438 w 5029"/>
                <a:gd name="T67" fmla="*/ 1012 h 16095"/>
                <a:gd name="T68" fmla="*/ 2733 w 5029"/>
                <a:gd name="T69" fmla="*/ 1055 h 16095"/>
                <a:gd name="T70" fmla="*/ 2945 w 5029"/>
                <a:gd name="T71" fmla="*/ 1248 h 16095"/>
                <a:gd name="T72" fmla="*/ 3017 w 5029"/>
                <a:gd name="T73" fmla="*/ 8601 h 16095"/>
                <a:gd name="T74" fmla="*/ 2259 w 5029"/>
                <a:gd name="T75" fmla="*/ 8564 h 16095"/>
                <a:gd name="T76" fmla="*/ 3976 w 5029"/>
                <a:gd name="T77" fmla="*/ 1133 h 16095"/>
                <a:gd name="T78" fmla="*/ 3528 w 5029"/>
                <a:gd name="T79" fmla="*/ 392 h 16095"/>
                <a:gd name="T80" fmla="*/ 2744 w 5029"/>
                <a:gd name="T81" fmla="*/ 17 h 16095"/>
                <a:gd name="T82" fmla="*/ 1861 w 5029"/>
                <a:gd name="T83" fmla="*/ 149 h 16095"/>
                <a:gd name="T84" fmla="*/ 1224 w 5029"/>
                <a:gd name="T85" fmla="*/ 727 h 16095"/>
                <a:gd name="T86" fmla="*/ 1006 w 5029"/>
                <a:gd name="T87" fmla="*/ 9065 h 16095"/>
                <a:gd name="T88" fmla="*/ 420 w 5029"/>
                <a:gd name="T89" fmla="*/ 9683 h 16095"/>
                <a:gd name="T90" fmla="*/ 71 w 5029"/>
                <a:gd name="T91" fmla="*/ 10471 h 16095"/>
                <a:gd name="T92" fmla="*/ 18 w 5029"/>
                <a:gd name="T93" fmla="*/ 11368 h 16095"/>
                <a:gd name="T94" fmla="*/ 275 w 5029"/>
                <a:gd name="T95" fmla="*/ 12201 h 16095"/>
                <a:gd name="T96" fmla="*/ 788 w 5029"/>
                <a:gd name="T97" fmla="*/ 12882 h 16095"/>
                <a:gd name="T98" fmla="*/ 1097 w 5029"/>
                <a:gd name="T99" fmla="*/ 15104 h 16095"/>
                <a:gd name="T100" fmla="*/ 1612 w 5029"/>
                <a:gd name="T101" fmla="*/ 15795 h 16095"/>
                <a:gd name="T102" fmla="*/ 2437 w 5029"/>
                <a:gd name="T103" fmla="*/ 16093 h 16095"/>
                <a:gd name="T104" fmla="*/ 3296 w 5029"/>
                <a:gd name="T105" fmla="*/ 15877 h 16095"/>
                <a:gd name="T106" fmla="*/ 3875 w 5029"/>
                <a:gd name="T107" fmla="*/ 15240 h 16095"/>
                <a:gd name="T108" fmla="*/ 4135 w 5029"/>
                <a:gd name="T109" fmla="*/ 12977 h 16095"/>
                <a:gd name="T110" fmla="*/ 4685 w 5029"/>
                <a:gd name="T111" fmla="*/ 12327 h 16095"/>
                <a:gd name="T112" fmla="*/ 4989 w 5029"/>
                <a:gd name="T113" fmla="*/ 11515 h 16095"/>
                <a:gd name="T114" fmla="*/ 4989 w 5029"/>
                <a:gd name="T115" fmla="*/ 10616 h 16095"/>
                <a:gd name="T116" fmla="*/ 4685 w 5029"/>
                <a:gd name="T117" fmla="*/ 9804 h 16095"/>
                <a:gd name="T118" fmla="*/ 4135 w 5029"/>
                <a:gd name="T119" fmla="*/ 9154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29" h="16095">
                  <a:moveTo>
                    <a:pt x="3956" y="11488"/>
                  </a:moveTo>
                  <a:lnTo>
                    <a:pt x="3950" y="11508"/>
                  </a:lnTo>
                  <a:lnTo>
                    <a:pt x="3944" y="11528"/>
                  </a:lnTo>
                  <a:lnTo>
                    <a:pt x="3938" y="11547"/>
                  </a:lnTo>
                  <a:lnTo>
                    <a:pt x="3931" y="11567"/>
                  </a:lnTo>
                  <a:lnTo>
                    <a:pt x="3913" y="11617"/>
                  </a:lnTo>
                  <a:lnTo>
                    <a:pt x="3893" y="11666"/>
                  </a:lnTo>
                  <a:lnTo>
                    <a:pt x="3872" y="11713"/>
                  </a:lnTo>
                  <a:lnTo>
                    <a:pt x="3848" y="11760"/>
                  </a:lnTo>
                  <a:lnTo>
                    <a:pt x="3824" y="11807"/>
                  </a:lnTo>
                  <a:lnTo>
                    <a:pt x="3798" y="11851"/>
                  </a:lnTo>
                  <a:lnTo>
                    <a:pt x="3784" y="11873"/>
                  </a:lnTo>
                  <a:lnTo>
                    <a:pt x="3770" y="11895"/>
                  </a:lnTo>
                  <a:lnTo>
                    <a:pt x="3756" y="11916"/>
                  </a:lnTo>
                  <a:lnTo>
                    <a:pt x="3741" y="11938"/>
                  </a:lnTo>
                  <a:lnTo>
                    <a:pt x="3738" y="11941"/>
                  </a:lnTo>
                  <a:lnTo>
                    <a:pt x="3735" y="11946"/>
                  </a:lnTo>
                  <a:lnTo>
                    <a:pt x="3701" y="11990"/>
                  </a:lnTo>
                  <a:lnTo>
                    <a:pt x="3665" y="12033"/>
                  </a:lnTo>
                  <a:lnTo>
                    <a:pt x="3647" y="12054"/>
                  </a:lnTo>
                  <a:lnTo>
                    <a:pt x="3629" y="12074"/>
                  </a:lnTo>
                  <a:lnTo>
                    <a:pt x="3610" y="12094"/>
                  </a:lnTo>
                  <a:lnTo>
                    <a:pt x="3591" y="12115"/>
                  </a:lnTo>
                  <a:lnTo>
                    <a:pt x="3571" y="12135"/>
                  </a:lnTo>
                  <a:lnTo>
                    <a:pt x="3552" y="12154"/>
                  </a:lnTo>
                  <a:lnTo>
                    <a:pt x="3530" y="12172"/>
                  </a:lnTo>
                  <a:lnTo>
                    <a:pt x="3510" y="12191"/>
                  </a:lnTo>
                  <a:lnTo>
                    <a:pt x="3489" y="12209"/>
                  </a:lnTo>
                  <a:lnTo>
                    <a:pt x="3468" y="12226"/>
                  </a:lnTo>
                  <a:lnTo>
                    <a:pt x="3446" y="12244"/>
                  </a:lnTo>
                  <a:lnTo>
                    <a:pt x="3424" y="12261"/>
                  </a:lnTo>
                  <a:lnTo>
                    <a:pt x="3422" y="12263"/>
                  </a:lnTo>
                  <a:lnTo>
                    <a:pt x="3419" y="12265"/>
                  </a:lnTo>
                  <a:lnTo>
                    <a:pt x="3397" y="12281"/>
                  </a:lnTo>
                  <a:lnTo>
                    <a:pt x="3373" y="12299"/>
                  </a:lnTo>
                  <a:lnTo>
                    <a:pt x="3349" y="12315"/>
                  </a:lnTo>
                  <a:lnTo>
                    <a:pt x="3325" y="12330"/>
                  </a:lnTo>
                  <a:lnTo>
                    <a:pt x="3301" y="12345"/>
                  </a:lnTo>
                  <a:lnTo>
                    <a:pt x="3277" y="12360"/>
                  </a:lnTo>
                  <a:lnTo>
                    <a:pt x="3252" y="12374"/>
                  </a:lnTo>
                  <a:lnTo>
                    <a:pt x="3228" y="12388"/>
                  </a:lnTo>
                  <a:lnTo>
                    <a:pt x="3202" y="12401"/>
                  </a:lnTo>
                  <a:lnTo>
                    <a:pt x="3176" y="12414"/>
                  </a:lnTo>
                  <a:lnTo>
                    <a:pt x="3150" y="12426"/>
                  </a:lnTo>
                  <a:lnTo>
                    <a:pt x="3124" y="12438"/>
                  </a:lnTo>
                  <a:lnTo>
                    <a:pt x="3098" y="12450"/>
                  </a:lnTo>
                  <a:lnTo>
                    <a:pt x="3072" y="12461"/>
                  </a:lnTo>
                  <a:lnTo>
                    <a:pt x="3045" y="12472"/>
                  </a:lnTo>
                  <a:lnTo>
                    <a:pt x="3017" y="12482"/>
                  </a:lnTo>
                  <a:lnTo>
                    <a:pt x="2987" y="12492"/>
                  </a:lnTo>
                  <a:lnTo>
                    <a:pt x="2958" y="12502"/>
                  </a:lnTo>
                  <a:lnTo>
                    <a:pt x="2927" y="12511"/>
                  </a:lnTo>
                  <a:lnTo>
                    <a:pt x="2897" y="12520"/>
                  </a:lnTo>
                  <a:lnTo>
                    <a:pt x="2867" y="12528"/>
                  </a:lnTo>
                  <a:lnTo>
                    <a:pt x="2835" y="12536"/>
                  </a:lnTo>
                  <a:lnTo>
                    <a:pt x="2804" y="12543"/>
                  </a:lnTo>
                  <a:lnTo>
                    <a:pt x="2773" y="12549"/>
                  </a:lnTo>
                  <a:lnTo>
                    <a:pt x="2742" y="12555"/>
                  </a:lnTo>
                  <a:lnTo>
                    <a:pt x="2710" y="12560"/>
                  </a:lnTo>
                  <a:lnTo>
                    <a:pt x="2677" y="12564"/>
                  </a:lnTo>
                  <a:lnTo>
                    <a:pt x="2645" y="12568"/>
                  </a:lnTo>
                  <a:lnTo>
                    <a:pt x="2613" y="12570"/>
                  </a:lnTo>
                  <a:lnTo>
                    <a:pt x="2581" y="12572"/>
                  </a:lnTo>
                  <a:lnTo>
                    <a:pt x="2548" y="12574"/>
                  </a:lnTo>
                  <a:lnTo>
                    <a:pt x="2515" y="12574"/>
                  </a:lnTo>
                  <a:lnTo>
                    <a:pt x="2481" y="12574"/>
                  </a:lnTo>
                  <a:lnTo>
                    <a:pt x="2448" y="12572"/>
                  </a:lnTo>
                  <a:lnTo>
                    <a:pt x="2416" y="12570"/>
                  </a:lnTo>
                  <a:lnTo>
                    <a:pt x="2384" y="12568"/>
                  </a:lnTo>
                  <a:lnTo>
                    <a:pt x="2352" y="12564"/>
                  </a:lnTo>
                  <a:lnTo>
                    <a:pt x="2319" y="12560"/>
                  </a:lnTo>
                  <a:lnTo>
                    <a:pt x="2287" y="12555"/>
                  </a:lnTo>
                  <a:lnTo>
                    <a:pt x="2256" y="12549"/>
                  </a:lnTo>
                  <a:lnTo>
                    <a:pt x="2225" y="12543"/>
                  </a:lnTo>
                  <a:lnTo>
                    <a:pt x="2194" y="12536"/>
                  </a:lnTo>
                  <a:lnTo>
                    <a:pt x="2162" y="12528"/>
                  </a:lnTo>
                  <a:lnTo>
                    <a:pt x="2132" y="12520"/>
                  </a:lnTo>
                  <a:lnTo>
                    <a:pt x="2101" y="12511"/>
                  </a:lnTo>
                  <a:lnTo>
                    <a:pt x="2071" y="12502"/>
                  </a:lnTo>
                  <a:lnTo>
                    <a:pt x="2042" y="12492"/>
                  </a:lnTo>
                  <a:lnTo>
                    <a:pt x="2012" y="12482"/>
                  </a:lnTo>
                  <a:lnTo>
                    <a:pt x="1984" y="12472"/>
                  </a:lnTo>
                  <a:lnTo>
                    <a:pt x="1957" y="12461"/>
                  </a:lnTo>
                  <a:lnTo>
                    <a:pt x="1931" y="12450"/>
                  </a:lnTo>
                  <a:lnTo>
                    <a:pt x="1905" y="12438"/>
                  </a:lnTo>
                  <a:lnTo>
                    <a:pt x="1879" y="12426"/>
                  </a:lnTo>
                  <a:lnTo>
                    <a:pt x="1853" y="12414"/>
                  </a:lnTo>
                  <a:lnTo>
                    <a:pt x="1827" y="12401"/>
                  </a:lnTo>
                  <a:lnTo>
                    <a:pt x="1801" y="12388"/>
                  </a:lnTo>
                  <a:lnTo>
                    <a:pt x="1776" y="12374"/>
                  </a:lnTo>
                  <a:lnTo>
                    <a:pt x="1752" y="12360"/>
                  </a:lnTo>
                  <a:lnTo>
                    <a:pt x="1727" y="12345"/>
                  </a:lnTo>
                  <a:lnTo>
                    <a:pt x="1703" y="12330"/>
                  </a:lnTo>
                  <a:lnTo>
                    <a:pt x="1680" y="12315"/>
                  </a:lnTo>
                  <a:lnTo>
                    <a:pt x="1655" y="12299"/>
                  </a:lnTo>
                  <a:lnTo>
                    <a:pt x="1632" y="12281"/>
                  </a:lnTo>
                  <a:lnTo>
                    <a:pt x="1609" y="12265"/>
                  </a:lnTo>
                  <a:lnTo>
                    <a:pt x="1607" y="12263"/>
                  </a:lnTo>
                  <a:lnTo>
                    <a:pt x="1605" y="12261"/>
                  </a:lnTo>
                  <a:lnTo>
                    <a:pt x="1583" y="12244"/>
                  </a:lnTo>
                  <a:lnTo>
                    <a:pt x="1561" y="12226"/>
                  </a:lnTo>
                  <a:lnTo>
                    <a:pt x="1540" y="12209"/>
                  </a:lnTo>
                  <a:lnTo>
                    <a:pt x="1519" y="12191"/>
                  </a:lnTo>
                  <a:lnTo>
                    <a:pt x="1499" y="12172"/>
                  </a:lnTo>
                  <a:lnTo>
                    <a:pt x="1477" y="12154"/>
                  </a:lnTo>
                  <a:lnTo>
                    <a:pt x="1458" y="12135"/>
                  </a:lnTo>
                  <a:lnTo>
                    <a:pt x="1438" y="12115"/>
                  </a:lnTo>
                  <a:lnTo>
                    <a:pt x="1400" y="12074"/>
                  </a:lnTo>
                  <a:lnTo>
                    <a:pt x="1364" y="12033"/>
                  </a:lnTo>
                  <a:lnTo>
                    <a:pt x="1328" y="11990"/>
                  </a:lnTo>
                  <a:lnTo>
                    <a:pt x="1295" y="11946"/>
                  </a:lnTo>
                  <a:lnTo>
                    <a:pt x="1291" y="11941"/>
                  </a:lnTo>
                  <a:lnTo>
                    <a:pt x="1288" y="11938"/>
                  </a:lnTo>
                  <a:lnTo>
                    <a:pt x="1273" y="11916"/>
                  </a:lnTo>
                  <a:lnTo>
                    <a:pt x="1258" y="11895"/>
                  </a:lnTo>
                  <a:lnTo>
                    <a:pt x="1244" y="11873"/>
                  </a:lnTo>
                  <a:lnTo>
                    <a:pt x="1231" y="11851"/>
                  </a:lnTo>
                  <a:lnTo>
                    <a:pt x="1205" y="11807"/>
                  </a:lnTo>
                  <a:lnTo>
                    <a:pt x="1181" y="11760"/>
                  </a:lnTo>
                  <a:lnTo>
                    <a:pt x="1157" y="11713"/>
                  </a:lnTo>
                  <a:lnTo>
                    <a:pt x="1136" y="11666"/>
                  </a:lnTo>
                  <a:lnTo>
                    <a:pt x="1116" y="11617"/>
                  </a:lnTo>
                  <a:lnTo>
                    <a:pt x="1098" y="11567"/>
                  </a:lnTo>
                  <a:lnTo>
                    <a:pt x="1091" y="11547"/>
                  </a:lnTo>
                  <a:lnTo>
                    <a:pt x="1085" y="11528"/>
                  </a:lnTo>
                  <a:lnTo>
                    <a:pt x="1079" y="11508"/>
                  </a:lnTo>
                  <a:lnTo>
                    <a:pt x="1074" y="11488"/>
                  </a:lnTo>
                  <a:lnTo>
                    <a:pt x="1059" y="11438"/>
                  </a:lnTo>
                  <a:lnTo>
                    <a:pt x="1046" y="11385"/>
                  </a:lnTo>
                  <a:lnTo>
                    <a:pt x="1034" y="11334"/>
                  </a:lnTo>
                  <a:lnTo>
                    <a:pt x="1025" y="11282"/>
                  </a:lnTo>
                  <a:lnTo>
                    <a:pt x="1020" y="11254"/>
                  </a:lnTo>
                  <a:lnTo>
                    <a:pt x="1017" y="11228"/>
                  </a:lnTo>
                  <a:lnTo>
                    <a:pt x="1013" y="11201"/>
                  </a:lnTo>
                  <a:lnTo>
                    <a:pt x="1011" y="11175"/>
                  </a:lnTo>
                  <a:lnTo>
                    <a:pt x="1009" y="11148"/>
                  </a:lnTo>
                  <a:lnTo>
                    <a:pt x="1007" y="11121"/>
                  </a:lnTo>
                  <a:lnTo>
                    <a:pt x="1006" y="11092"/>
                  </a:lnTo>
                  <a:lnTo>
                    <a:pt x="1006" y="11065"/>
                  </a:lnTo>
                  <a:lnTo>
                    <a:pt x="1006" y="11037"/>
                  </a:lnTo>
                  <a:lnTo>
                    <a:pt x="1007" y="11010"/>
                  </a:lnTo>
                  <a:lnTo>
                    <a:pt x="1009" y="10983"/>
                  </a:lnTo>
                  <a:lnTo>
                    <a:pt x="1011" y="10956"/>
                  </a:lnTo>
                  <a:lnTo>
                    <a:pt x="1013" y="10929"/>
                  </a:lnTo>
                  <a:lnTo>
                    <a:pt x="1017" y="10901"/>
                  </a:lnTo>
                  <a:lnTo>
                    <a:pt x="1020" y="10875"/>
                  </a:lnTo>
                  <a:lnTo>
                    <a:pt x="1025" y="10848"/>
                  </a:lnTo>
                  <a:lnTo>
                    <a:pt x="1034" y="10796"/>
                  </a:lnTo>
                  <a:lnTo>
                    <a:pt x="1046" y="10744"/>
                  </a:lnTo>
                  <a:lnTo>
                    <a:pt x="1059" y="10693"/>
                  </a:lnTo>
                  <a:lnTo>
                    <a:pt x="1074" y="10642"/>
                  </a:lnTo>
                  <a:lnTo>
                    <a:pt x="1079" y="10622"/>
                  </a:lnTo>
                  <a:lnTo>
                    <a:pt x="1085" y="10603"/>
                  </a:lnTo>
                  <a:lnTo>
                    <a:pt x="1091" y="10582"/>
                  </a:lnTo>
                  <a:lnTo>
                    <a:pt x="1098" y="10563"/>
                  </a:lnTo>
                  <a:lnTo>
                    <a:pt x="1116" y="10514"/>
                  </a:lnTo>
                  <a:lnTo>
                    <a:pt x="1136" y="10465"/>
                  </a:lnTo>
                  <a:lnTo>
                    <a:pt x="1157" y="10417"/>
                  </a:lnTo>
                  <a:lnTo>
                    <a:pt x="1181" y="10370"/>
                  </a:lnTo>
                  <a:lnTo>
                    <a:pt x="1205" y="10324"/>
                  </a:lnTo>
                  <a:lnTo>
                    <a:pt x="1231" y="10279"/>
                  </a:lnTo>
                  <a:lnTo>
                    <a:pt x="1244" y="10257"/>
                  </a:lnTo>
                  <a:lnTo>
                    <a:pt x="1258" y="10235"/>
                  </a:lnTo>
                  <a:lnTo>
                    <a:pt x="1273" y="10213"/>
                  </a:lnTo>
                  <a:lnTo>
                    <a:pt x="1288" y="10192"/>
                  </a:lnTo>
                  <a:lnTo>
                    <a:pt x="1291" y="10188"/>
                  </a:lnTo>
                  <a:lnTo>
                    <a:pt x="1295" y="10184"/>
                  </a:lnTo>
                  <a:lnTo>
                    <a:pt x="1328" y="10140"/>
                  </a:lnTo>
                  <a:lnTo>
                    <a:pt x="1364" y="10098"/>
                  </a:lnTo>
                  <a:lnTo>
                    <a:pt x="1400" y="10055"/>
                  </a:lnTo>
                  <a:lnTo>
                    <a:pt x="1438" y="10015"/>
                  </a:lnTo>
                  <a:lnTo>
                    <a:pt x="1458" y="9996"/>
                  </a:lnTo>
                  <a:lnTo>
                    <a:pt x="1477" y="9977"/>
                  </a:lnTo>
                  <a:lnTo>
                    <a:pt x="1499" y="9958"/>
                  </a:lnTo>
                  <a:lnTo>
                    <a:pt x="1519" y="9939"/>
                  </a:lnTo>
                  <a:lnTo>
                    <a:pt x="1540" y="9921"/>
                  </a:lnTo>
                  <a:lnTo>
                    <a:pt x="1561" y="9903"/>
                  </a:lnTo>
                  <a:lnTo>
                    <a:pt x="1583" y="9885"/>
                  </a:lnTo>
                  <a:lnTo>
                    <a:pt x="1605" y="9869"/>
                  </a:lnTo>
                  <a:lnTo>
                    <a:pt x="1607" y="9867"/>
                  </a:lnTo>
                  <a:lnTo>
                    <a:pt x="1609" y="9864"/>
                  </a:lnTo>
                  <a:lnTo>
                    <a:pt x="1655" y="9832"/>
                  </a:lnTo>
                  <a:lnTo>
                    <a:pt x="1703" y="9800"/>
                  </a:lnTo>
                  <a:lnTo>
                    <a:pt x="1727" y="9785"/>
                  </a:lnTo>
                  <a:lnTo>
                    <a:pt x="1752" y="9771"/>
                  </a:lnTo>
                  <a:lnTo>
                    <a:pt x="1776" y="9757"/>
                  </a:lnTo>
                  <a:lnTo>
                    <a:pt x="1801" y="9743"/>
                  </a:lnTo>
                  <a:lnTo>
                    <a:pt x="1827" y="9729"/>
                  </a:lnTo>
                  <a:lnTo>
                    <a:pt x="1853" y="9716"/>
                  </a:lnTo>
                  <a:lnTo>
                    <a:pt x="1879" y="9704"/>
                  </a:lnTo>
                  <a:lnTo>
                    <a:pt x="1905" y="9692"/>
                  </a:lnTo>
                  <a:lnTo>
                    <a:pt x="1931" y="9680"/>
                  </a:lnTo>
                  <a:lnTo>
                    <a:pt x="1957" y="9669"/>
                  </a:lnTo>
                  <a:lnTo>
                    <a:pt x="1984" y="9659"/>
                  </a:lnTo>
                  <a:lnTo>
                    <a:pt x="2012" y="9649"/>
                  </a:lnTo>
                  <a:lnTo>
                    <a:pt x="2042" y="9639"/>
                  </a:lnTo>
                  <a:lnTo>
                    <a:pt x="2071" y="9629"/>
                  </a:lnTo>
                  <a:lnTo>
                    <a:pt x="2101" y="9620"/>
                  </a:lnTo>
                  <a:lnTo>
                    <a:pt x="2132" y="9611"/>
                  </a:lnTo>
                  <a:lnTo>
                    <a:pt x="2162" y="9603"/>
                  </a:lnTo>
                  <a:lnTo>
                    <a:pt x="2194" y="9595"/>
                  </a:lnTo>
                  <a:lnTo>
                    <a:pt x="2225" y="9588"/>
                  </a:lnTo>
                  <a:lnTo>
                    <a:pt x="2256" y="9582"/>
                  </a:lnTo>
                  <a:lnTo>
                    <a:pt x="2287" y="9576"/>
                  </a:lnTo>
                  <a:lnTo>
                    <a:pt x="2319" y="9570"/>
                  </a:lnTo>
                  <a:lnTo>
                    <a:pt x="2352" y="9566"/>
                  </a:lnTo>
                  <a:lnTo>
                    <a:pt x="2384" y="9563"/>
                  </a:lnTo>
                  <a:lnTo>
                    <a:pt x="2416" y="9560"/>
                  </a:lnTo>
                  <a:lnTo>
                    <a:pt x="2448" y="9558"/>
                  </a:lnTo>
                  <a:lnTo>
                    <a:pt x="2481" y="9556"/>
                  </a:lnTo>
                  <a:lnTo>
                    <a:pt x="2515" y="9556"/>
                  </a:lnTo>
                  <a:lnTo>
                    <a:pt x="2548" y="9556"/>
                  </a:lnTo>
                  <a:lnTo>
                    <a:pt x="2581" y="9558"/>
                  </a:lnTo>
                  <a:lnTo>
                    <a:pt x="2613" y="9560"/>
                  </a:lnTo>
                  <a:lnTo>
                    <a:pt x="2645" y="9563"/>
                  </a:lnTo>
                  <a:lnTo>
                    <a:pt x="2677" y="9566"/>
                  </a:lnTo>
                  <a:lnTo>
                    <a:pt x="2710" y="9570"/>
                  </a:lnTo>
                  <a:lnTo>
                    <a:pt x="2742" y="9576"/>
                  </a:lnTo>
                  <a:lnTo>
                    <a:pt x="2773" y="9582"/>
                  </a:lnTo>
                  <a:lnTo>
                    <a:pt x="2804" y="9588"/>
                  </a:lnTo>
                  <a:lnTo>
                    <a:pt x="2835" y="9595"/>
                  </a:lnTo>
                  <a:lnTo>
                    <a:pt x="2867" y="9603"/>
                  </a:lnTo>
                  <a:lnTo>
                    <a:pt x="2897" y="9611"/>
                  </a:lnTo>
                  <a:lnTo>
                    <a:pt x="2927" y="9620"/>
                  </a:lnTo>
                  <a:lnTo>
                    <a:pt x="2958" y="9629"/>
                  </a:lnTo>
                  <a:lnTo>
                    <a:pt x="2987" y="9639"/>
                  </a:lnTo>
                  <a:lnTo>
                    <a:pt x="3017" y="9649"/>
                  </a:lnTo>
                  <a:lnTo>
                    <a:pt x="3045" y="9659"/>
                  </a:lnTo>
                  <a:lnTo>
                    <a:pt x="3072" y="9669"/>
                  </a:lnTo>
                  <a:lnTo>
                    <a:pt x="3098" y="9680"/>
                  </a:lnTo>
                  <a:lnTo>
                    <a:pt x="3124" y="9692"/>
                  </a:lnTo>
                  <a:lnTo>
                    <a:pt x="3150" y="9704"/>
                  </a:lnTo>
                  <a:lnTo>
                    <a:pt x="3176" y="9716"/>
                  </a:lnTo>
                  <a:lnTo>
                    <a:pt x="3202" y="9729"/>
                  </a:lnTo>
                  <a:lnTo>
                    <a:pt x="3228" y="9743"/>
                  </a:lnTo>
                  <a:lnTo>
                    <a:pt x="3252" y="9757"/>
                  </a:lnTo>
                  <a:lnTo>
                    <a:pt x="3277" y="9771"/>
                  </a:lnTo>
                  <a:lnTo>
                    <a:pt x="3301" y="9785"/>
                  </a:lnTo>
                  <a:lnTo>
                    <a:pt x="3325" y="9800"/>
                  </a:lnTo>
                  <a:lnTo>
                    <a:pt x="3373" y="9832"/>
                  </a:lnTo>
                  <a:lnTo>
                    <a:pt x="3419" y="9864"/>
                  </a:lnTo>
                  <a:lnTo>
                    <a:pt x="3422" y="9867"/>
                  </a:lnTo>
                  <a:lnTo>
                    <a:pt x="3424" y="9869"/>
                  </a:lnTo>
                  <a:lnTo>
                    <a:pt x="3446" y="9885"/>
                  </a:lnTo>
                  <a:lnTo>
                    <a:pt x="3468" y="9903"/>
                  </a:lnTo>
                  <a:lnTo>
                    <a:pt x="3489" y="9921"/>
                  </a:lnTo>
                  <a:lnTo>
                    <a:pt x="3510" y="9939"/>
                  </a:lnTo>
                  <a:lnTo>
                    <a:pt x="3530" y="9958"/>
                  </a:lnTo>
                  <a:lnTo>
                    <a:pt x="3552" y="9977"/>
                  </a:lnTo>
                  <a:lnTo>
                    <a:pt x="3571" y="9996"/>
                  </a:lnTo>
                  <a:lnTo>
                    <a:pt x="3591" y="10015"/>
                  </a:lnTo>
                  <a:lnTo>
                    <a:pt x="3629" y="10055"/>
                  </a:lnTo>
                  <a:lnTo>
                    <a:pt x="3665" y="10098"/>
                  </a:lnTo>
                  <a:lnTo>
                    <a:pt x="3701" y="10140"/>
                  </a:lnTo>
                  <a:lnTo>
                    <a:pt x="3735" y="10184"/>
                  </a:lnTo>
                  <a:lnTo>
                    <a:pt x="3738" y="10188"/>
                  </a:lnTo>
                  <a:lnTo>
                    <a:pt x="3741" y="10192"/>
                  </a:lnTo>
                  <a:lnTo>
                    <a:pt x="3756" y="10213"/>
                  </a:lnTo>
                  <a:lnTo>
                    <a:pt x="3770" y="10235"/>
                  </a:lnTo>
                  <a:lnTo>
                    <a:pt x="3784" y="10257"/>
                  </a:lnTo>
                  <a:lnTo>
                    <a:pt x="3798" y="10279"/>
                  </a:lnTo>
                  <a:lnTo>
                    <a:pt x="3824" y="10324"/>
                  </a:lnTo>
                  <a:lnTo>
                    <a:pt x="3848" y="10370"/>
                  </a:lnTo>
                  <a:lnTo>
                    <a:pt x="3872" y="10417"/>
                  </a:lnTo>
                  <a:lnTo>
                    <a:pt x="3893" y="10465"/>
                  </a:lnTo>
                  <a:lnTo>
                    <a:pt x="3913" y="10514"/>
                  </a:lnTo>
                  <a:lnTo>
                    <a:pt x="3931" y="10563"/>
                  </a:lnTo>
                  <a:lnTo>
                    <a:pt x="3938" y="10582"/>
                  </a:lnTo>
                  <a:lnTo>
                    <a:pt x="3944" y="10603"/>
                  </a:lnTo>
                  <a:lnTo>
                    <a:pt x="3950" y="10622"/>
                  </a:lnTo>
                  <a:lnTo>
                    <a:pt x="3956" y="10642"/>
                  </a:lnTo>
                  <a:lnTo>
                    <a:pt x="3970" y="10693"/>
                  </a:lnTo>
                  <a:lnTo>
                    <a:pt x="3983" y="10744"/>
                  </a:lnTo>
                  <a:lnTo>
                    <a:pt x="3994" y="10796"/>
                  </a:lnTo>
                  <a:lnTo>
                    <a:pt x="4004" y="10848"/>
                  </a:lnTo>
                  <a:lnTo>
                    <a:pt x="4008" y="10875"/>
                  </a:lnTo>
                  <a:lnTo>
                    <a:pt x="4012" y="10901"/>
                  </a:lnTo>
                  <a:lnTo>
                    <a:pt x="4015" y="10929"/>
                  </a:lnTo>
                  <a:lnTo>
                    <a:pt x="4018" y="10956"/>
                  </a:lnTo>
                  <a:lnTo>
                    <a:pt x="4020" y="10983"/>
                  </a:lnTo>
                  <a:lnTo>
                    <a:pt x="4022" y="11010"/>
                  </a:lnTo>
                  <a:lnTo>
                    <a:pt x="4023" y="11037"/>
                  </a:lnTo>
                  <a:lnTo>
                    <a:pt x="4023" y="11065"/>
                  </a:lnTo>
                  <a:lnTo>
                    <a:pt x="4023" y="11092"/>
                  </a:lnTo>
                  <a:lnTo>
                    <a:pt x="4022" y="11121"/>
                  </a:lnTo>
                  <a:lnTo>
                    <a:pt x="4020" y="11148"/>
                  </a:lnTo>
                  <a:lnTo>
                    <a:pt x="4018" y="11175"/>
                  </a:lnTo>
                  <a:lnTo>
                    <a:pt x="4015" y="11201"/>
                  </a:lnTo>
                  <a:lnTo>
                    <a:pt x="4012" y="11228"/>
                  </a:lnTo>
                  <a:lnTo>
                    <a:pt x="4008" y="11254"/>
                  </a:lnTo>
                  <a:lnTo>
                    <a:pt x="4004" y="11282"/>
                  </a:lnTo>
                  <a:lnTo>
                    <a:pt x="3994" y="11334"/>
                  </a:lnTo>
                  <a:lnTo>
                    <a:pt x="3983" y="11385"/>
                  </a:lnTo>
                  <a:lnTo>
                    <a:pt x="3970" y="11438"/>
                  </a:lnTo>
                  <a:lnTo>
                    <a:pt x="3956" y="11488"/>
                  </a:lnTo>
                  <a:close/>
                  <a:moveTo>
                    <a:pt x="3017" y="14586"/>
                  </a:moveTo>
                  <a:lnTo>
                    <a:pt x="3016" y="14612"/>
                  </a:lnTo>
                  <a:lnTo>
                    <a:pt x="3014" y="14637"/>
                  </a:lnTo>
                  <a:lnTo>
                    <a:pt x="3011" y="14663"/>
                  </a:lnTo>
                  <a:lnTo>
                    <a:pt x="3007" y="14688"/>
                  </a:lnTo>
                  <a:lnTo>
                    <a:pt x="3001" y="14712"/>
                  </a:lnTo>
                  <a:lnTo>
                    <a:pt x="2995" y="14736"/>
                  </a:lnTo>
                  <a:lnTo>
                    <a:pt x="2987" y="14759"/>
                  </a:lnTo>
                  <a:lnTo>
                    <a:pt x="2978" y="14782"/>
                  </a:lnTo>
                  <a:lnTo>
                    <a:pt x="2968" y="14804"/>
                  </a:lnTo>
                  <a:lnTo>
                    <a:pt x="2957" y="14827"/>
                  </a:lnTo>
                  <a:lnTo>
                    <a:pt x="2945" y="14847"/>
                  </a:lnTo>
                  <a:lnTo>
                    <a:pt x="2932" y="14868"/>
                  </a:lnTo>
                  <a:lnTo>
                    <a:pt x="2918" y="14887"/>
                  </a:lnTo>
                  <a:lnTo>
                    <a:pt x="2903" y="14906"/>
                  </a:lnTo>
                  <a:lnTo>
                    <a:pt x="2887" y="14924"/>
                  </a:lnTo>
                  <a:lnTo>
                    <a:pt x="2870" y="14942"/>
                  </a:lnTo>
                  <a:lnTo>
                    <a:pt x="2852" y="14958"/>
                  </a:lnTo>
                  <a:lnTo>
                    <a:pt x="2834" y="14974"/>
                  </a:lnTo>
                  <a:lnTo>
                    <a:pt x="2815" y="14989"/>
                  </a:lnTo>
                  <a:lnTo>
                    <a:pt x="2795" y="15004"/>
                  </a:lnTo>
                  <a:lnTo>
                    <a:pt x="2775" y="15017"/>
                  </a:lnTo>
                  <a:lnTo>
                    <a:pt x="2754" y="15029"/>
                  </a:lnTo>
                  <a:lnTo>
                    <a:pt x="2733" y="15040"/>
                  </a:lnTo>
                  <a:lnTo>
                    <a:pt x="2711" y="15050"/>
                  </a:lnTo>
                  <a:lnTo>
                    <a:pt x="2688" y="15059"/>
                  </a:lnTo>
                  <a:lnTo>
                    <a:pt x="2664" y="15067"/>
                  </a:lnTo>
                  <a:lnTo>
                    <a:pt x="2640" y="15073"/>
                  </a:lnTo>
                  <a:lnTo>
                    <a:pt x="2616" y="15079"/>
                  </a:lnTo>
                  <a:lnTo>
                    <a:pt x="2591" y="15083"/>
                  </a:lnTo>
                  <a:lnTo>
                    <a:pt x="2566" y="15086"/>
                  </a:lnTo>
                  <a:lnTo>
                    <a:pt x="2541" y="15088"/>
                  </a:lnTo>
                  <a:lnTo>
                    <a:pt x="2515" y="15089"/>
                  </a:lnTo>
                  <a:lnTo>
                    <a:pt x="2488" y="15088"/>
                  </a:lnTo>
                  <a:lnTo>
                    <a:pt x="2463" y="15086"/>
                  </a:lnTo>
                  <a:lnTo>
                    <a:pt x="2438" y="15083"/>
                  </a:lnTo>
                  <a:lnTo>
                    <a:pt x="2413" y="15079"/>
                  </a:lnTo>
                  <a:lnTo>
                    <a:pt x="2389" y="15073"/>
                  </a:lnTo>
                  <a:lnTo>
                    <a:pt x="2365" y="15067"/>
                  </a:lnTo>
                  <a:lnTo>
                    <a:pt x="2341" y="15059"/>
                  </a:lnTo>
                  <a:lnTo>
                    <a:pt x="2318" y="15050"/>
                  </a:lnTo>
                  <a:lnTo>
                    <a:pt x="2296" y="15040"/>
                  </a:lnTo>
                  <a:lnTo>
                    <a:pt x="2275" y="15029"/>
                  </a:lnTo>
                  <a:lnTo>
                    <a:pt x="2254" y="15017"/>
                  </a:lnTo>
                  <a:lnTo>
                    <a:pt x="2233" y="15004"/>
                  </a:lnTo>
                  <a:lnTo>
                    <a:pt x="2214" y="14989"/>
                  </a:lnTo>
                  <a:lnTo>
                    <a:pt x="2195" y="14974"/>
                  </a:lnTo>
                  <a:lnTo>
                    <a:pt x="2177" y="14958"/>
                  </a:lnTo>
                  <a:lnTo>
                    <a:pt x="2158" y="14942"/>
                  </a:lnTo>
                  <a:lnTo>
                    <a:pt x="2142" y="14924"/>
                  </a:lnTo>
                  <a:lnTo>
                    <a:pt x="2126" y="14906"/>
                  </a:lnTo>
                  <a:lnTo>
                    <a:pt x="2111" y="14887"/>
                  </a:lnTo>
                  <a:lnTo>
                    <a:pt x="2097" y="14868"/>
                  </a:lnTo>
                  <a:lnTo>
                    <a:pt x="2084" y="14847"/>
                  </a:lnTo>
                  <a:lnTo>
                    <a:pt x="2072" y="14827"/>
                  </a:lnTo>
                  <a:lnTo>
                    <a:pt x="2061" y="14804"/>
                  </a:lnTo>
                  <a:lnTo>
                    <a:pt x="2051" y="14782"/>
                  </a:lnTo>
                  <a:lnTo>
                    <a:pt x="2042" y="14759"/>
                  </a:lnTo>
                  <a:lnTo>
                    <a:pt x="2034" y="14736"/>
                  </a:lnTo>
                  <a:lnTo>
                    <a:pt x="2028" y="14712"/>
                  </a:lnTo>
                  <a:lnTo>
                    <a:pt x="2022" y="14688"/>
                  </a:lnTo>
                  <a:lnTo>
                    <a:pt x="2018" y="14663"/>
                  </a:lnTo>
                  <a:lnTo>
                    <a:pt x="2015" y="14637"/>
                  </a:lnTo>
                  <a:lnTo>
                    <a:pt x="2013" y="14612"/>
                  </a:lnTo>
                  <a:lnTo>
                    <a:pt x="2012" y="14586"/>
                  </a:lnTo>
                  <a:lnTo>
                    <a:pt x="2012" y="13530"/>
                  </a:lnTo>
                  <a:lnTo>
                    <a:pt x="2073" y="13541"/>
                  </a:lnTo>
                  <a:lnTo>
                    <a:pt x="2134" y="13551"/>
                  </a:lnTo>
                  <a:lnTo>
                    <a:pt x="2197" y="13560"/>
                  </a:lnTo>
                  <a:lnTo>
                    <a:pt x="2259" y="13567"/>
                  </a:lnTo>
                  <a:lnTo>
                    <a:pt x="2322" y="13573"/>
                  </a:lnTo>
                  <a:lnTo>
                    <a:pt x="2386" y="13577"/>
                  </a:lnTo>
                  <a:lnTo>
                    <a:pt x="2450" y="13579"/>
                  </a:lnTo>
                  <a:lnTo>
                    <a:pt x="2515" y="13580"/>
                  </a:lnTo>
                  <a:lnTo>
                    <a:pt x="2579" y="13579"/>
                  </a:lnTo>
                  <a:lnTo>
                    <a:pt x="2643" y="13577"/>
                  </a:lnTo>
                  <a:lnTo>
                    <a:pt x="2707" y="13573"/>
                  </a:lnTo>
                  <a:lnTo>
                    <a:pt x="2770" y="13567"/>
                  </a:lnTo>
                  <a:lnTo>
                    <a:pt x="2832" y="13560"/>
                  </a:lnTo>
                  <a:lnTo>
                    <a:pt x="2895" y="13551"/>
                  </a:lnTo>
                  <a:lnTo>
                    <a:pt x="2956" y="13541"/>
                  </a:lnTo>
                  <a:lnTo>
                    <a:pt x="3017" y="13530"/>
                  </a:lnTo>
                  <a:lnTo>
                    <a:pt x="3017" y="14586"/>
                  </a:lnTo>
                  <a:close/>
                  <a:moveTo>
                    <a:pt x="2012" y="1509"/>
                  </a:moveTo>
                  <a:lnTo>
                    <a:pt x="2013" y="1483"/>
                  </a:lnTo>
                  <a:lnTo>
                    <a:pt x="2015" y="1458"/>
                  </a:lnTo>
                  <a:lnTo>
                    <a:pt x="2018" y="1432"/>
                  </a:lnTo>
                  <a:lnTo>
                    <a:pt x="2022" y="1407"/>
                  </a:lnTo>
                  <a:lnTo>
                    <a:pt x="2028" y="1383"/>
                  </a:lnTo>
                  <a:lnTo>
                    <a:pt x="2034" y="1359"/>
                  </a:lnTo>
                  <a:lnTo>
                    <a:pt x="2042" y="1336"/>
                  </a:lnTo>
                  <a:lnTo>
                    <a:pt x="2051" y="1313"/>
                  </a:lnTo>
                  <a:lnTo>
                    <a:pt x="2061" y="1291"/>
                  </a:lnTo>
                  <a:lnTo>
                    <a:pt x="2072" y="1269"/>
                  </a:lnTo>
                  <a:lnTo>
                    <a:pt x="2084" y="1248"/>
                  </a:lnTo>
                  <a:lnTo>
                    <a:pt x="2097" y="1227"/>
                  </a:lnTo>
                  <a:lnTo>
                    <a:pt x="2111" y="1208"/>
                  </a:lnTo>
                  <a:lnTo>
                    <a:pt x="2126" y="1189"/>
                  </a:lnTo>
                  <a:lnTo>
                    <a:pt x="2142" y="1171"/>
                  </a:lnTo>
                  <a:lnTo>
                    <a:pt x="2158" y="1153"/>
                  </a:lnTo>
                  <a:lnTo>
                    <a:pt x="2177" y="1137"/>
                  </a:lnTo>
                  <a:lnTo>
                    <a:pt x="2195" y="1121"/>
                  </a:lnTo>
                  <a:lnTo>
                    <a:pt x="2214" y="1106"/>
                  </a:lnTo>
                  <a:lnTo>
                    <a:pt x="2233" y="1091"/>
                  </a:lnTo>
                  <a:lnTo>
                    <a:pt x="2254" y="1078"/>
                  </a:lnTo>
                  <a:lnTo>
                    <a:pt x="2275" y="1066"/>
                  </a:lnTo>
                  <a:lnTo>
                    <a:pt x="2296" y="1055"/>
                  </a:lnTo>
                  <a:lnTo>
                    <a:pt x="2318" y="1045"/>
                  </a:lnTo>
                  <a:lnTo>
                    <a:pt x="2341" y="1036"/>
                  </a:lnTo>
                  <a:lnTo>
                    <a:pt x="2365" y="1029"/>
                  </a:lnTo>
                  <a:lnTo>
                    <a:pt x="2389" y="1022"/>
                  </a:lnTo>
                  <a:lnTo>
                    <a:pt x="2413" y="1016"/>
                  </a:lnTo>
                  <a:lnTo>
                    <a:pt x="2438" y="1012"/>
                  </a:lnTo>
                  <a:lnTo>
                    <a:pt x="2463" y="1009"/>
                  </a:lnTo>
                  <a:lnTo>
                    <a:pt x="2488" y="1007"/>
                  </a:lnTo>
                  <a:lnTo>
                    <a:pt x="2515" y="1006"/>
                  </a:lnTo>
                  <a:lnTo>
                    <a:pt x="2541" y="1007"/>
                  </a:lnTo>
                  <a:lnTo>
                    <a:pt x="2566" y="1009"/>
                  </a:lnTo>
                  <a:lnTo>
                    <a:pt x="2591" y="1012"/>
                  </a:lnTo>
                  <a:lnTo>
                    <a:pt x="2616" y="1016"/>
                  </a:lnTo>
                  <a:lnTo>
                    <a:pt x="2640" y="1022"/>
                  </a:lnTo>
                  <a:lnTo>
                    <a:pt x="2664" y="1029"/>
                  </a:lnTo>
                  <a:lnTo>
                    <a:pt x="2688" y="1036"/>
                  </a:lnTo>
                  <a:lnTo>
                    <a:pt x="2711" y="1045"/>
                  </a:lnTo>
                  <a:lnTo>
                    <a:pt x="2733" y="1055"/>
                  </a:lnTo>
                  <a:lnTo>
                    <a:pt x="2754" y="1066"/>
                  </a:lnTo>
                  <a:lnTo>
                    <a:pt x="2775" y="1078"/>
                  </a:lnTo>
                  <a:lnTo>
                    <a:pt x="2795" y="1091"/>
                  </a:lnTo>
                  <a:lnTo>
                    <a:pt x="2815" y="1106"/>
                  </a:lnTo>
                  <a:lnTo>
                    <a:pt x="2834" y="1121"/>
                  </a:lnTo>
                  <a:lnTo>
                    <a:pt x="2852" y="1137"/>
                  </a:lnTo>
                  <a:lnTo>
                    <a:pt x="2870" y="1153"/>
                  </a:lnTo>
                  <a:lnTo>
                    <a:pt x="2887" y="1171"/>
                  </a:lnTo>
                  <a:lnTo>
                    <a:pt x="2903" y="1189"/>
                  </a:lnTo>
                  <a:lnTo>
                    <a:pt x="2918" y="1208"/>
                  </a:lnTo>
                  <a:lnTo>
                    <a:pt x="2932" y="1227"/>
                  </a:lnTo>
                  <a:lnTo>
                    <a:pt x="2945" y="1248"/>
                  </a:lnTo>
                  <a:lnTo>
                    <a:pt x="2957" y="1269"/>
                  </a:lnTo>
                  <a:lnTo>
                    <a:pt x="2968" y="1291"/>
                  </a:lnTo>
                  <a:lnTo>
                    <a:pt x="2978" y="1313"/>
                  </a:lnTo>
                  <a:lnTo>
                    <a:pt x="2987" y="1336"/>
                  </a:lnTo>
                  <a:lnTo>
                    <a:pt x="2995" y="1359"/>
                  </a:lnTo>
                  <a:lnTo>
                    <a:pt x="3001" y="1383"/>
                  </a:lnTo>
                  <a:lnTo>
                    <a:pt x="3007" y="1407"/>
                  </a:lnTo>
                  <a:lnTo>
                    <a:pt x="3011" y="1432"/>
                  </a:lnTo>
                  <a:lnTo>
                    <a:pt x="3014" y="1458"/>
                  </a:lnTo>
                  <a:lnTo>
                    <a:pt x="3016" y="1483"/>
                  </a:lnTo>
                  <a:lnTo>
                    <a:pt x="3017" y="1509"/>
                  </a:lnTo>
                  <a:lnTo>
                    <a:pt x="3017" y="8601"/>
                  </a:lnTo>
                  <a:lnTo>
                    <a:pt x="2956" y="8590"/>
                  </a:lnTo>
                  <a:lnTo>
                    <a:pt x="2895" y="8579"/>
                  </a:lnTo>
                  <a:lnTo>
                    <a:pt x="2832" y="8571"/>
                  </a:lnTo>
                  <a:lnTo>
                    <a:pt x="2770" y="8564"/>
                  </a:lnTo>
                  <a:lnTo>
                    <a:pt x="2707" y="8558"/>
                  </a:lnTo>
                  <a:lnTo>
                    <a:pt x="2643" y="8553"/>
                  </a:lnTo>
                  <a:lnTo>
                    <a:pt x="2579" y="8551"/>
                  </a:lnTo>
                  <a:lnTo>
                    <a:pt x="2515" y="8550"/>
                  </a:lnTo>
                  <a:lnTo>
                    <a:pt x="2450" y="8551"/>
                  </a:lnTo>
                  <a:lnTo>
                    <a:pt x="2386" y="8553"/>
                  </a:lnTo>
                  <a:lnTo>
                    <a:pt x="2322" y="8558"/>
                  </a:lnTo>
                  <a:lnTo>
                    <a:pt x="2259" y="8564"/>
                  </a:lnTo>
                  <a:lnTo>
                    <a:pt x="2197" y="8571"/>
                  </a:lnTo>
                  <a:lnTo>
                    <a:pt x="2134" y="8579"/>
                  </a:lnTo>
                  <a:lnTo>
                    <a:pt x="2073" y="8590"/>
                  </a:lnTo>
                  <a:lnTo>
                    <a:pt x="2012" y="8601"/>
                  </a:lnTo>
                  <a:lnTo>
                    <a:pt x="2012" y="1509"/>
                  </a:lnTo>
                  <a:close/>
                  <a:moveTo>
                    <a:pt x="4023" y="9065"/>
                  </a:moveTo>
                  <a:lnTo>
                    <a:pt x="4023" y="1509"/>
                  </a:lnTo>
                  <a:lnTo>
                    <a:pt x="4021" y="1431"/>
                  </a:lnTo>
                  <a:lnTo>
                    <a:pt x="4015" y="1355"/>
                  </a:lnTo>
                  <a:lnTo>
                    <a:pt x="4006" y="1280"/>
                  </a:lnTo>
                  <a:lnTo>
                    <a:pt x="3992" y="1205"/>
                  </a:lnTo>
                  <a:lnTo>
                    <a:pt x="3976" y="1133"/>
                  </a:lnTo>
                  <a:lnTo>
                    <a:pt x="3955" y="1060"/>
                  </a:lnTo>
                  <a:lnTo>
                    <a:pt x="3932" y="991"/>
                  </a:lnTo>
                  <a:lnTo>
                    <a:pt x="3905" y="922"/>
                  </a:lnTo>
                  <a:lnTo>
                    <a:pt x="3875" y="855"/>
                  </a:lnTo>
                  <a:lnTo>
                    <a:pt x="3841" y="791"/>
                  </a:lnTo>
                  <a:lnTo>
                    <a:pt x="3805" y="727"/>
                  </a:lnTo>
                  <a:lnTo>
                    <a:pt x="3765" y="666"/>
                  </a:lnTo>
                  <a:lnTo>
                    <a:pt x="3724" y="607"/>
                  </a:lnTo>
                  <a:lnTo>
                    <a:pt x="3678" y="549"/>
                  </a:lnTo>
                  <a:lnTo>
                    <a:pt x="3631" y="495"/>
                  </a:lnTo>
                  <a:lnTo>
                    <a:pt x="3581" y="443"/>
                  </a:lnTo>
                  <a:lnTo>
                    <a:pt x="3528" y="392"/>
                  </a:lnTo>
                  <a:lnTo>
                    <a:pt x="3474" y="345"/>
                  </a:lnTo>
                  <a:lnTo>
                    <a:pt x="3417" y="300"/>
                  </a:lnTo>
                  <a:lnTo>
                    <a:pt x="3357" y="259"/>
                  </a:lnTo>
                  <a:lnTo>
                    <a:pt x="3296" y="219"/>
                  </a:lnTo>
                  <a:lnTo>
                    <a:pt x="3233" y="182"/>
                  </a:lnTo>
                  <a:lnTo>
                    <a:pt x="3168" y="149"/>
                  </a:lnTo>
                  <a:lnTo>
                    <a:pt x="3101" y="119"/>
                  </a:lnTo>
                  <a:lnTo>
                    <a:pt x="3033" y="92"/>
                  </a:lnTo>
                  <a:lnTo>
                    <a:pt x="2963" y="68"/>
                  </a:lnTo>
                  <a:lnTo>
                    <a:pt x="2891" y="47"/>
                  </a:lnTo>
                  <a:lnTo>
                    <a:pt x="2818" y="31"/>
                  </a:lnTo>
                  <a:lnTo>
                    <a:pt x="2744" y="17"/>
                  </a:lnTo>
                  <a:lnTo>
                    <a:pt x="2668" y="8"/>
                  </a:lnTo>
                  <a:lnTo>
                    <a:pt x="2592" y="2"/>
                  </a:lnTo>
                  <a:lnTo>
                    <a:pt x="2515" y="0"/>
                  </a:lnTo>
                  <a:lnTo>
                    <a:pt x="2437" y="2"/>
                  </a:lnTo>
                  <a:lnTo>
                    <a:pt x="2361" y="8"/>
                  </a:lnTo>
                  <a:lnTo>
                    <a:pt x="2285" y="17"/>
                  </a:lnTo>
                  <a:lnTo>
                    <a:pt x="2211" y="31"/>
                  </a:lnTo>
                  <a:lnTo>
                    <a:pt x="2137" y="47"/>
                  </a:lnTo>
                  <a:lnTo>
                    <a:pt x="2066" y="68"/>
                  </a:lnTo>
                  <a:lnTo>
                    <a:pt x="1996" y="92"/>
                  </a:lnTo>
                  <a:lnTo>
                    <a:pt x="1928" y="119"/>
                  </a:lnTo>
                  <a:lnTo>
                    <a:pt x="1861" y="149"/>
                  </a:lnTo>
                  <a:lnTo>
                    <a:pt x="1795" y="182"/>
                  </a:lnTo>
                  <a:lnTo>
                    <a:pt x="1733" y="219"/>
                  </a:lnTo>
                  <a:lnTo>
                    <a:pt x="1672" y="259"/>
                  </a:lnTo>
                  <a:lnTo>
                    <a:pt x="1612" y="300"/>
                  </a:lnTo>
                  <a:lnTo>
                    <a:pt x="1555" y="345"/>
                  </a:lnTo>
                  <a:lnTo>
                    <a:pt x="1501" y="392"/>
                  </a:lnTo>
                  <a:lnTo>
                    <a:pt x="1448" y="443"/>
                  </a:lnTo>
                  <a:lnTo>
                    <a:pt x="1398" y="495"/>
                  </a:lnTo>
                  <a:lnTo>
                    <a:pt x="1351" y="549"/>
                  </a:lnTo>
                  <a:lnTo>
                    <a:pt x="1305" y="607"/>
                  </a:lnTo>
                  <a:lnTo>
                    <a:pt x="1263" y="666"/>
                  </a:lnTo>
                  <a:lnTo>
                    <a:pt x="1224" y="727"/>
                  </a:lnTo>
                  <a:lnTo>
                    <a:pt x="1188" y="791"/>
                  </a:lnTo>
                  <a:lnTo>
                    <a:pt x="1154" y="855"/>
                  </a:lnTo>
                  <a:lnTo>
                    <a:pt x="1124" y="922"/>
                  </a:lnTo>
                  <a:lnTo>
                    <a:pt x="1097" y="991"/>
                  </a:lnTo>
                  <a:lnTo>
                    <a:pt x="1073" y="1060"/>
                  </a:lnTo>
                  <a:lnTo>
                    <a:pt x="1053" y="1133"/>
                  </a:lnTo>
                  <a:lnTo>
                    <a:pt x="1036" y="1205"/>
                  </a:lnTo>
                  <a:lnTo>
                    <a:pt x="1023" y="1280"/>
                  </a:lnTo>
                  <a:lnTo>
                    <a:pt x="1014" y="1355"/>
                  </a:lnTo>
                  <a:lnTo>
                    <a:pt x="1008" y="1431"/>
                  </a:lnTo>
                  <a:lnTo>
                    <a:pt x="1006" y="1509"/>
                  </a:lnTo>
                  <a:lnTo>
                    <a:pt x="1006" y="9065"/>
                  </a:lnTo>
                  <a:lnTo>
                    <a:pt x="949" y="9109"/>
                  </a:lnTo>
                  <a:lnTo>
                    <a:pt x="894" y="9154"/>
                  </a:lnTo>
                  <a:lnTo>
                    <a:pt x="841" y="9200"/>
                  </a:lnTo>
                  <a:lnTo>
                    <a:pt x="788" y="9249"/>
                  </a:lnTo>
                  <a:lnTo>
                    <a:pt x="737" y="9299"/>
                  </a:lnTo>
                  <a:lnTo>
                    <a:pt x="687" y="9349"/>
                  </a:lnTo>
                  <a:lnTo>
                    <a:pt x="638" y="9401"/>
                  </a:lnTo>
                  <a:lnTo>
                    <a:pt x="592" y="9456"/>
                  </a:lnTo>
                  <a:lnTo>
                    <a:pt x="547" y="9511"/>
                  </a:lnTo>
                  <a:lnTo>
                    <a:pt x="503" y="9567"/>
                  </a:lnTo>
                  <a:lnTo>
                    <a:pt x="460" y="9625"/>
                  </a:lnTo>
                  <a:lnTo>
                    <a:pt x="420" y="9683"/>
                  </a:lnTo>
                  <a:lnTo>
                    <a:pt x="381" y="9744"/>
                  </a:lnTo>
                  <a:lnTo>
                    <a:pt x="344" y="9804"/>
                  </a:lnTo>
                  <a:lnTo>
                    <a:pt x="308" y="9866"/>
                  </a:lnTo>
                  <a:lnTo>
                    <a:pt x="275" y="9930"/>
                  </a:lnTo>
                  <a:lnTo>
                    <a:pt x="243" y="9994"/>
                  </a:lnTo>
                  <a:lnTo>
                    <a:pt x="213" y="10059"/>
                  </a:lnTo>
                  <a:lnTo>
                    <a:pt x="184" y="10126"/>
                  </a:lnTo>
                  <a:lnTo>
                    <a:pt x="158" y="10193"/>
                  </a:lnTo>
                  <a:lnTo>
                    <a:pt x="133" y="10262"/>
                  </a:lnTo>
                  <a:lnTo>
                    <a:pt x="110" y="10330"/>
                  </a:lnTo>
                  <a:lnTo>
                    <a:pt x="90" y="10400"/>
                  </a:lnTo>
                  <a:lnTo>
                    <a:pt x="71" y="10471"/>
                  </a:lnTo>
                  <a:lnTo>
                    <a:pt x="55" y="10543"/>
                  </a:lnTo>
                  <a:lnTo>
                    <a:pt x="41" y="10616"/>
                  </a:lnTo>
                  <a:lnTo>
                    <a:pt x="28" y="10689"/>
                  </a:lnTo>
                  <a:lnTo>
                    <a:pt x="18" y="10763"/>
                  </a:lnTo>
                  <a:lnTo>
                    <a:pt x="10" y="10837"/>
                  </a:lnTo>
                  <a:lnTo>
                    <a:pt x="5" y="10912"/>
                  </a:lnTo>
                  <a:lnTo>
                    <a:pt x="1" y="10989"/>
                  </a:lnTo>
                  <a:lnTo>
                    <a:pt x="0" y="11065"/>
                  </a:lnTo>
                  <a:lnTo>
                    <a:pt x="1" y="11142"/>
                  </a:lnTo>
                  <a:lnTo>
                    <a:pt x="5" y="11218"/>
                  </a:lnTo>
                  <a:lnTo>
                    <a:pt x="10" y="11294"/>
                  </a:lnTo>
                  <a:lnTo>
                    <a:pt x="18" y="11368"/>
                  </a:lnTo>
                  <a:lnTo>
                    <a:pt x="28" y="11442"/>
                  </a:lnTo>
                  <a:lnTo>
                    <a:pt x="41" y="11515"/>
                  </a:lnTo>
                  <a:lnTo>
                    <a:pt x="55" y="11587"/>
                  </a:lnTo>
                  <a:lnTo>
                    <a:pt x="71" y="11660"/>
                  </a:lnTo>
                  <a:lnTo>
                    <a:pt x="90" y="11730"/>
                  </a:lnTo>
                  <a:lnTo>
                    <a:pt x="110" y="11801"/>
                  </a:lnTo>
                  <a:lnTo>
                    <a:pt x="133" y="11869"/>
                  </a:lnTo>
                  <a:lnTo>
                    <a:pt x="158" y="11937"/>
                  </a:lnTo>
                  <a:lnTo>
                    <a:pt x="184" y="12005"/>
                  </a:lnTo>
                  <a:lnTo>
                    <a:pt x="213" y="12071"/>
                  </a:lnTo>
                  <a:lnTo>
                    <a:pt x="243" y="12137"/>
                  </a:lnTo>
                  <a:lnTo>
                    <a:pt x="275" y="12201"/>
                  </a:lnTo>
                  <a:lnTo>
                    <a:pt x="308" y="12264"/>
                  </a:lnTo>
                  <a:lnTo>
                    <a:pt x="344" y="12327"/>
                  </a:lnTo>
                  <a:lnTo>
                    <a:pt x="381" y="12387"/>
                  </a:lnTo>
                  <a:lnTo>
                    <a:pt x="420" y="12447"/>
                  </a:lnTo>
                  <a:lnTo>
                    <a:pt x="460" y="12506"/>
                  </a:lnTo>
                  <a:lnTo>
                    <a:pt x="503" y="12564"/>
                  </a:lnTo>
                  <a:lnTo>
                    <a:pt x="547" y="12619"/>
                  </a:lnTo>
                  <a:lnTo>
                    <a:pt x="592" y="12675"/>
                  </a:lnTo>
                  <a:lnTo>
                    <a:pt x="638" y="12729"/>
                  </a:lnTo>
                  <a:lnTo>
                    <a:pt x="687" y="12781"/>
                  </a:lnTo>
                  <a:lnTo>
                    <a:pt x="737" y="12832"/>
                  </a:lnTo>
                  <a:lnTo>
                    <a:pt x="788" y="12882"/>
                  </a:lnTo>
                  <a:lnTo>
                    <a:pt x="841" y="12930"/>
                  </a:lnTo>
                  <a:lnTo>
                    <a:pt x="894" y="12977"/>
                  </a:lnTo>
                  <a:lnTo>
                    <a:pt x="949" y="13022"/>
                  </a:lnTo>
                  <a:lnTo>
                    <a:pt x="1006" y="13066"/>
                  </a:lnTo>
                  <a:lnTo>
                    <a:pt x="1006" y="14586"/>
                  </a:lnTo>
                  <a:lnTo>
                    <a:pt x="1008" y="14664"/>
                  </a:lnTo>
                  <a:lnTo>
                    <a:pt x="1014" y="14740"/>
                  </a:lnTo>
                  <a:lnTo>
                    <a:pt x="1023" y="14815"/>
                  </a:lnTo>
                  <a:lnTo>
                    <a:pt x="1036" y="14890"/>
                  </a:lnTo>
                  <a:lnTo>
                    <a:pt x="1053" y="14962"/>
                  </a:lnTo>
                  <a:lnTo>
                    <a:pt x="1073" y="15035"/>
                  </a:lnTo>
                  <a:lnTo>
                    <a:pt x="1097" y="15104"/>
                  </a:lnTo>
                  <a:lnTo>
                    <a:pt x="1124" y="15173"/>
                  </a:lnTo>
                  <a:lnTo>
                    <a:pt x="1154" y="15240"/>
                  </a:lnTo>
                  <a:lnTo>
                    <a:pt x="1188" y="15304"/>
                  </a:lnTo>
                  <a:lnTo>
                    <a:pt x="1224" y="15368"/>
                  </a:lnTo>
                  <a:lnTo>
                    <a:pt x="1263" y="15429"/>
                  </a:lnTo>
                  <a:lnTo>
                    <a:pt x="1305" y="15488"/>
                  </a:lnTo>
                  <a:lnTo>
                    <a:pt x="1351" y="15546"/>
                  </a:lnTo>
                  <a:lnTo>
                    <a:pt x="1398" y="15600"/>
                  </a:lnTo>
                  <a:lnTo>
                    <a:pt x="1448" y="15652"/>
                  </a:lnTo>
                  <a:lnTo>
                    <a:pt x="1501" y="15703"/>
                  </a:lnTo>
                  <a:lnTo>
                    <a:pt x="1555" y="15750"/>
                  </a:lnTo>
                  <a:lnTo>
                    <a:pt x="1612" y="15795"/>
                  </a:lnTo>
                  <a:lnTo>
                    <a:pt x="1672" y="15836"/>
                  </a:lnTo>
                  <a:lnTo>
                    <a:pt x="1733" y="15877"/>
                  </a:lnTo>
                  <a:lnTo>
                    <a:pt x="1795" y="15913"/>
                  </a:lnTo>
                  <a:lnTo>
                    <a:pt x="1861" y="15946"/>
                  </a:lnTo>
                  <a:lnTo>
                    <a:pt x="1928" y="15976"/>
                  </a:lnTo>
                  <a:lnTo>
                    <a:pt x="1996" y="16003"/>
                  </a:lnTo>
                  <a:lnTo>
                    <a:pt x="2066" y="16027"/>
                  </a:lnTo>
                  <a:lnTo>
                    <a:pt x="2137" y="16048"/>
                  </a:lnTo>
                  <a:lnTo>
                    <a:pt x="2211" y="16064"/>
                  </a:lnTo>
                  <a:lnTo>
                    <a:pt x="2285" y="16078"/>
                  </a:lnTo>
                  <a:lnTo>
                    <a:pt x="2361" y="16087"/>
                  </a:lnTo>
                  <a:lnTo>
                    <a:pt x="2437" y="16093"/>
                  </a:lnTo>
                  <a:lnTo>
                    <a:pt x="2515" y="16095"/>
                  </a:lnTo>
                  <a:lnTo>
                    <a:pt x="2592" y="16093"/>
                  </a:lnTo>
                  <a:lnTo>
                    <a:pt x="2668" y="16087"/>
                  </a:lnTo>
                  <a:lnTo>
                    <a:pt x="2744" y="16078"/>
                  </a:lnTo>
                  <a:lnTo>
                    <a:pt x="2818" y="16064"/>
                  </a:lnTo>
                  <a:lnTo>
                    <a:pt x="2891" y="16048"/>
                  </a:lnTo>
                  <a:lnTo>
                    <a:pt x="2963" y="16027"/>
                  </a:lnTo>
                  <a:lnTo>
                    <a:pt x="3033" y="16003"/>
                  </a:lnTo>
                  <a:lnTo>
                    <a:pt x="3101" y="15976"/>
                  </a:lnTo>
                  <a:lnTo>
                    <a:pt x="3168" y="15946"/>
                  </a:lnTo>
                  <a:lnTo>
                    <a:pt x="3233" y="15913"/>
                  </a:lnTo>
                  <a:lnTo>
                    <a:pt x="3296" y="15877"/>
                  </a:lnTo>
                  <a:lnTo>
                    <a:pt x="3357" y="15836"/>
                  </a:lnTo>
                  <a:lnTo>
                    <a:pt x="3417" y="15795"/>
                  </a:lnTo>
                  <a:lnTo>
                    <a:pt x="3474" y="15750"/>
                  </a:lnTo>
                  <a:lnTo>
                    <a:pt x="3528" y="15703"/>
                  </a:lnTo>
                  <a:lnTo>
                    <a:pt x="3581" y="15652"/>
                  </a:lnTo>
                  <a:lnTo>
                    <a:pt x="3631" y="15600"/>
                  </a:lnTo>
                  <a:lnTo>
                    <a:pt x="3678" y="15546"/>
                  </a:lnTo>
                  <a:lnTo>
                    <a:pt x="3724" y="15488"/>
                  </a:lnTo>
                  <a:lnTo>
                    <a:pt x="3765" y="15429"/>
                  </a:lnTo>
                  <a:lnTo>
                    <a:pt x="3805" y="15368"/>
                  </a:lnTo>
                  <a:lnTo>
                    <a:pt x="3841" y="15304"/>
                  </a:lnTo>
                  <a:lnTo>
                    <a:pt x="3875" y="15240"/>
                  </a:lnTo>
                  <a:lnTo>
                    <a:pt x="3905" y="15173"/>
                  </a:lnTo>
                  <a:lnTo>
                    <a:pt x="3932" y="15104"/>
                  </a:lnTo>
                  <a:lnTo>
                    <a:pt x="3955" y="15035"/>
                  </a:lnTo>
                  <a:lnTo>
                    <a:pt x="3976" y="14962"/>
                  </a:lnTo>
                  <a:lnTo>
                    <a:pt x="3992" y="14890"/>
                  </a:lnTo>
                  <a:lnTo>
                    <a:pt x="4006" y="14815"/>
                  </a:lnTo>
                  <a:lnTo>
                    <a:pt x="4015" y="14740"/>
                  </a:lnTo>
                  <a:lnTo>
                    <a:pt x="4021" y="14664"/>
                  </a:lnTo>
                  <a:lnTo>
                    <a:pt x="4023" y="14586"/>
                  </a:lnTo>
                  <a:lnTo>
                    <a:pt x="4023" y="13066"/>
                  </a:lnTo>
                  <a:lnTo>
                    <a:pt x="4080" y="13022"/>
                  </a:lnTo>
                  <a:lnTo>
                    <a:pt x="4135" y="12977"/>
                  </a:lnTo>
                  <a:lnTo>
                    <a:pt x="4188" y="12930"/>
                  </a:lnTo>
                  <a:lnTo>
                    <a:pt x="4241" y="12882"/>
                  </a:lnTo>
                  <a:lnTo>
                    <a:pt x="4292" y="12832"/>
                  </a:lnTo>
                  <a:lnTo>
                    <a:pt x="4342" y="12781"/>
                  </a:lnTo>
                  <a:lnTo>
                    <a:pt x="4391" y="12729"/>
                  </a:lnTo>
                  <a:lnTo>
                    <a:pt x="4437" y="12675"/>
                  </a:lnTo>
                  <a:lnTo>
                    <a:pt x="4482" y="12619"/>
                  </a:lnTo>
                  <a:lnTo>
                    <a:pt x="4526" y="12564"/>
                  </a:lnTo>
                  <a:lnTo>
                    <a:pt x="4569" y="12506"/>
                  </a:lnTo>
                  <a:lnTo>
                    <a:pt x="4609" y="12447"/>
                  </a:lnTo>
                  <a:lnTo>
                    <a:pt x="4648" y="12387"/>
                  </a:lnTo>
                  <a:lnTo>
                    <a:pt x="4685" y="12327"/>
                  </a:lnTo>
                  <a:lnTo>
                    <a:pt x="4721" y="12264"/>
                  </a:lnTo>
                  <a:lnTo>
                    <a:pt x="4755" y="12201"/>
                  </a:lnTo>
                  <a:lnTo>
                    <a:pt x="4786" y="12137"/>
                  </a:lnTo>
                  <a:lnTo>
                    <a:pt x="4816" y="12071"/>
                  </a:lnTo>
                  <a:lnTo>
                    <a:pt x="4845" y="12005"/>
                  </a:lnTo>
                  <a:lnTo>
                    <a:pt x="4871" y="11937"/>
                  </a:lnTo>
                  <a:lnTo>
                    <a:pt x="4896" y="11869"/>
                  </a:lnTo>
                  <a:lnTo>
                    <a:pt x="4919" y="11801"/>
                  </a:lnTo>
                  <a:lnTo>
                    <a:pt x="4939" y="11730"/>
                  </a:lnTo>
                  <a:lnTo>
                    <a:pt x="4958" y="11660"/>
                  </a:lnTo>
                  <a:lnTo>
                    <a:pt x="4974" y="11587"/>
                  </a:lnTo>
                  <a:lnTo>
                    <a:pt x="4989" y="11515"/>
                  </a:lnTo>
                  <a:lnTo>
                    <a:pt x="5001" y="11442"/>
                  </a:lnTo>
                  <a:lnTo>
                    <a:pt x="5011" y="11368"/>
                  </a:lnTo>
                  <a:lnTo>
                    <a:pt x="5019" y="11294"/>
                  </a:lnTo>
                  <a:lnTo>
                    <a:pt x="5024" y="11218"/>
                  </a:lnTo>
                  <a:lnTo>
                    <a:pt x="5028" y="11142"/>
                  </a:lnTo>
                  <a:lnTo>
                    <a:pt x="5029" y="11065"/>
                  </a:lnTo>
                  <a:lnTo>
                    <a:pt x="5028" y="10989"/>
                  </a:lnTo>
                  <a:lnTo>
                    <a:pt x="5024" y="10912"/>
                  </a:lnTo>
                  <a:lnTo>
                    <a:pt x="5019" y="10837"/>
                  </a:lnTo>
                  <a:lnTo>
                    <a:pt x="5011" y="10763"/>
                  </a:lnTo>
                  <a:lnTo>
                    <a:pt x="5001" y="10689"/>
                  </a:lnTo>
                  <a:lnTo>
                    <a:pt x="4989" y="10616"/>
                  </a:lnTo>
                  <a:lnTo>
                    <a:pt x="4974" y="10543"/>
                  </a:lnTo>
                  <a:lnTo>
                    <a:pt x="4958" y="10471"/>
                  </a:lnTo>
                  <a:lnTo>
                    <a:pt x="4939" y="10400"/>
                  </a:lnTo>
                  <a:lnTo>
                    <a:pt x="4919" y="10330"/>
                  </a:lnTo>
                  <a:lnTo>
                    <a:pt x="4896" y="10262"/>
                  </a:lnTo>
                  <a:lnTo>
                    <a:pt x="4871" y="10193"/>
                  </a:lnTo>
                  <a:lnTo>
                    <a:pt x="4845" y="10126"/>
                  </a:lnTo>
                  <a:lnTo>
                    <a:pt x="4816" y="10059"/>
                  </a:lnTo>
                  <a:lnTo>
                    <a:pt x="4786" y="9994"/>
                  </a:lnTo>
                  <a:lnTo>
                    <a:pt x="4755" y="9930"/>
                  </a:lnTo>
                  <a:lnTo>
                    <a:pt x="4721" y="9866"/>
                  </a:lnTo>
                  <a:lnTo>
                    <a:pt x="4685" y="9804"/>
                  </a:lnTo>
                  <a:lnTo>
                    <a:pt x="4648" y="9744"/>
                  </a:lnTo>
                  <a:lnTo>
                    <a:pt x="4609" y="9683"/>
                  </a:lnTo>
                  <a:lnTo>
                    <a:pt x="4569" y="9625"/>
                  </a:lnTo>
                  <a:lnTo>
                    <a:pt x="4526" y="9567"/>
                  </a:lnTo>
                  <a:lnTo>
                    <a:pt x="4482" y="9511"/>
                  </a:lnTo>
                  <a:lnTo>
                    <a:pt x="4437" y="9456"/>
                  </a:lnTo>
                  <a:lnTo>
                    <a:pt x="4391" y="9401"/>
                  </a:lnTo>
                  <a:lnTo>
                    <a:pt x="4342" y="9349"/>
                  </a:lnTo>
                  <a:lnTo>
                    <a:pt x="4292" y="9299"/>
                  </a:lnTo>
                  <a:lnTo>
                    <a:pt x="4241" y="9249"/>
                  </a:lnTo>
                  <a:lnTo>
                    <a:pt x="4188" y="9200"/>
                  </a:lnTo>
                  <a:lnTo>
                    <a:pt x="4135" y="9154"/>
                  </a:lnTo>
                  <a:lnTo>
                    <a:pt x="4080" y="9109"/>
                  </a:lnTo>
                  <a:lnTo>
                    <a:pt x="4023" y="90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21" name="íṣḷíḓé">
              <a:extLst>
                <a:ext uri="{FF2B5EF4-FFF2-40B4-BE49-F238E27FC236}">
                  <a16:creationId xmlns:a16="http://schemas.microsoft.com/office/drawing/2014/main" id="{9AB76126-A281-4EF3-9F85-DCD55A11C494}"/>
                </a:ext>
              </a:extLst>
            </p:cNvPr>
            <p:cNvSpPr/>
            <p:nvPr/>
          </p:nvSpPr>
          <p:spPr bwMode="auto">
            <a:xfrm>
              <a:off x="2893126" y="1693637"/>
              <a:ext cx="268740" cy="268739"/>
            </a:xfrm>
            <a:custGeom>
              <a:avLst/>
              <a:gdLst>
                <a:gd name="T0" fmla="*/ 8330 w 16095"/>
                <a:gd name="T1" fmla="*/ 13155 h 16095"/>
                <a:gd name="T2" fmla="*/ 8153 w 16095"/>
                <a:gd name="T3" fmla="*/ 13120 h 16095"/>
                <a:gd name="T4" fmla="*/ 5125 w 16095"/>
                <a:gd name="T5" fmla="*/ 12104 h 16095"/>
                <a:gd name="T6" fmla="*/ 5125 w 16095"/>
                <a:gd name="T7" fmla="*/ 12104 h 16095"/>
                <a:gd name="T8" fmla="*/ 4694 w 16095"/>
                <a:gd name="T9" fmla="*/ 11707 h 16095"/>
                <a:gd name="T10" fmla="*/ 1577 w 16095"/>
                <a:gd name="T11" fmla="*/ 10451 h 16095"/>
                <a:gd name="T12" fmla="*/ 15800 w 16095"/>
                <a:gd name="T13" fmla="*/ 45 h 16095"/>
                <a:gd name="T14" fmla="*/ 15716 w 16095"/>
                <a:gd name="T15" fmla="*/ 15 h 16095"/>
                <a:gd name="T16" fmla="*/ 15627 w 16095"/>
                <a:gd name="T17" fmla="*/ 1 h 16095"/>
                <a:gd name="T18" fmla="*/ 15537 w 16095"/>
                <a:gd name="T19" fmla="*/ 3 h 16095"/>
                <a:gd name="T20" fmla="*/ 15448 w 16095"/>
                <a:gd name="T21" fmla="*/ 21 h 16095"/>
                <a:gd name="T22" fmla="*/ 15362 w 16095"/>
                <a:gd name="T23" fmla="*/ 55 h 16095"/>
                <a:gd name="T24" fmla="*/ 210 w 16095"/>
                <a:gd name="T25" fmla="*/ 10154 h 16095"/>
                <a:gd name="T26" fmla="*/ 145 w 16095"/>
                <a:gd name="T27" fmla="*/ 10209 h 16095"/>
                <a:gd name="T28" fmla="*/ 91 w 16095"/>
                <a:gd name="T29" fmla="*/ 10275 h 16095"/>
                <a:gd name="T30" fmla="*/ 48 w 16095"/>
                <a:gd name="T31" fmla="*/ 10348 h 16095"/>
                <a:gd name="T32" fmla="*/ 18 w 16095"/>
                <a:gd name="T33" fmla="*/ 10428 h 16095"/>
                <a:gd name="T34" fmla="*/ 3 w 16095"/>
                <a:gd name="T35" fmla="*/ 10511 h 16095"/>
                <a:gd name="T36" fmla="*/ 1 w 16095"/>
                <a:gd name="T37" fmla="*/ 10597 h 16095"/>
                <a:gd name="T38" fmla="*/ 15 w 16095"/>
                <a:gd name="T39" fmla="*/ 10682 h 16095"/>
                <a:gd name="T40" fmla="*/ 42 w 16095"/>
                <a:gd name="T41" fmla="*/ 10764 h 16095"/>
                <a:gd name="T42" fmla="*/ 82 w 16095"/>
                <a:gd name="T43" fmla="*/ 10838 h 16095"/>
                <a:gd name="T44" fmla="*/ 134 w 16095"/>
                <a:gd name="T45" fmla="*/ 10904 h 16095"/>
                <a:gd name="T46" fmla="*/ 197 w 16095"/>
                <a:gd name="T47" fmla="*/ 10961 h 16095"/>
                <a:gd name="T48" fmla="*/ 269 w 16095"/>
                <a:gd name="T49" fmla="*/ 11007 h 16095"/>
                <a:gd name="T50" fmla="*/ 6102 w 16095"/>
                <a:gd name="T51" fmla="*/ 15842 h 16095"/>
                <a:gd name="T52" fmla="*/ 6148 w 16095"/>
                <a:gd name="T53" fmla="*/ 15910 h 16095"/>
                <a:gd name="T54" fmla="*/ 6206 w 16095"/>
                <a:gd name="T55" fmla="*/ 15968 h 16095"/>
                <a:gd name="T56" fmla="*/ 6270 w 16095"/>
                <a:gd name="T57" fmla="*/ 16018 h 16095"/>
                <a:gd name="T58" fmla="*/ 6341 w 16095"/>
                <a:gd name="T59" fmla="*/ 16055 h 16095"/>
                <a:gd name="T60" fmla="*/ 6419 w 16095"/>
                <a:gd name="T61" fmla="*/ 16081 h 16095"/>
                <a:gd name="T62" fmla="*/ 6499 w 16095"/>
                <a:gd name="T63" fmla="*/ 16093 h 16095"/>
                <a:gd name="T64" fmla="*/ 6572 w 16095"/>
                <a:gd name="T65" fmla="*/ 16094 h 16095"/>
                <a:gd name="T66" fmla="*/ 6652 w 16095"/>
                <a:gd name="T67" fmla="*/ 16082 h 16095"/>
                <a:gd name="T68" fmla="*/ 6729 w 16095"/>
                <a:gd name="T69" fmla="*/ 16058 h 16095"/>
                <a:gd name="T70" fmla="*/ 6800 w 16095"/>
                <a:gd name="T71" fmla="*/ 16022 h 16095"/>
                <a:gd name="T72" fmla="*/ 6866 w 16095"/>
                <a:gd name="T73" fmla="*/ 15974 h 16095"/>
                <a:gd name="T74" fmla="*/ 6922 w 16095"/>
                <a:gd name="T75" fmla="*/ 15917 h 16095"/>
                <a:gd name="T76" fmla="*/ 6970 w 16095"/>
                <a:gd name="T77" fmla="*/ 15851 h 16095"/>
                <a:gd name="T78" fmla="*/ 12958 w 16095"/>
                <a:gd name="T79" fmla="*/ 16081 h 16095"/>
                <a:gd name="T80" fmla="*/ 13077 w 16095"/>
                <a:gd name="T81" fmla="*/ 16095 h 16095"/>
                <a:gd name="T82" fmla="*/ 13157 w 16095"/>
                <a:gd name="T83" fmla="*/ 16089 h 16095"/>
                <a:gd name="T84" fmla="*/ 13234 w 16095"/>
                <a:gd name="T85" fmla="*/ 16070 h 16095"/>
                <a:gd name="T86" fmla="*/ 13309 w 16095"/>
                <a:gd name="T87" fmla="*/ 16038 h 16095"/>
                <a:gd name="T88" fmla="*/ 13415 w 16095"/>
                <a:gd name="T89" fmla="*/ 15964 h 16095"/>
                <a:gd name="T90" fmla="*/ 13504 w 16095"/>
                <a:gd name="T91" fmla="*/ 15858 h 16095"/>
                <a:gd name="T92" fmla="*/ 13561 w 16095"/>
                <a:gd name="T93" fmla="*/ 15730 h 16095"/>
                <a:gd name="T94" fmla="*/ 16093 w 16095"/>
                <a:gd name="T95" fmla="*/ 548 h 16095"/>
                <a:gd name="T96" fmla="*/ 16093 w 16095"/>
                <a:gd name="T97" fmla="*/ 457 h 16095"/>
                <a:gd name="T98" fmla="*/ 16076 w 16095"/>
                <a:gd name="T99" fmla="*/ 367 h 16095"/>
                <a:gd name="T100" fmla="*/ 16045 w 16095"/>
                <a:gd name="T101" fmla="*/ 284 h 16095"/>
                <a:gd name="T102" fmla="*/ 15997 w 16095"/>
                <a:gd name="T103" fmla="*/ 206 h 16095"/>
                <a:gd name="T104" fmla="*/ 15938 w 16095"/>
                <a:gd name="T105" fmla="*/ 138 h 16095"/>
                <a:gd name="T106" fmla="*/ 15865 w 16095"/>
                <a:gd name="T107" fmla="*/ 80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6095" h="16095">
                  <a:moveTo>
                    <a:pt x="12684" y="14892"/>
                  </a:moveTo>
                  <a:lnTo>
                    <a:pt x="8388" y="13174"/>
                  </a:lnTo>
                  <a:lnTo>
                    <a:pt x="8368" y="13167"/>
                  </a:lnTo>
                  <a:lnTo>
                    <a:pt x="8349" y="13161"/>
                  </a:lnTo>
                  <a:lnTo>
                    <a:pt x="8330" y="13155"/>
                  </a:lnTo>
                  <a:lnTo>
                    <a:pt x="8310" y="13149"/>
                  </a:lnTo>
                  <a:lnTo>
                    <a:pt x="8271" y="13140"/>
                  </a:lnTo>
                  <a:lnTo>
                    <a:pt x="8232" y="13132"/>
                  </a:lnTo>
                  <a:lnTo>
                    <a:pt x="8192" y="13125"/>
                  </a:lnTo>
                  <a:lnTo>
                    <a:pt x="8153" y="13120"/>
                  </a:lnTo>
                  <a:lnTo>
                    <a:pt x="8114" y="13117"/>
                  </a:lnTo>
                  <a:lnTo>
                    <a:pt x="8074" y="13114"/>
                  </a:lnTo>
                  <a:lnTo>
                    <a:pt x="14689" y="2860"/>
                  </a:lnTo>
                  <a:lnTo>
                    <a:pt x="12684" y="14892"/>
                  </a:lnTo>
                  <a:close/>
                  <a:moveTo>
                    <a:pt x="5125" y="12104"/>
                  </a:moveTo>
                  <a:lnTo>
                    <a:pt x="5123" y="12102"/>
                  </a:lnTo>
                  <a:lnTo>
                    <a:pt x="5121" y="12099"/>
                  </a:lnTo>
                  <a:lnTo>
                    <a:pt x="14648" y="1902"/>
                  </a:lnTo>
                  <a:lnTo>
                    <a:pt x="6527" y="14558"/>
                  </a:lnTo>
                  <a:lnTo>
                    <a:pt x="5125" y="12104"/>
                  </a:lnTo>
                  <a:close/>
                  <a:moveTo>
                    <a:pt x="1577" y="10451"/>
                  </a:moveTo>
                  <a:lnTo>
                    <a:pt x="13234" y="2679"/>
                  </a:lnTo>
                  <a:lnTo>
                    <a:pt x="4759" y="11751"/>
                  </a:lnTo>
                  <a:lnTo>
                    <a:pt x="4726" y="11729"/>
                  </a:lnTo>
                  <a:lnTo>
                    <a:pt x="4694" y="11707"/>
                  </a:lnTo>
                  <a:lnTo>
                    <a:pt x="4678" y="11697"/>
                  </a:lnTo>
                  <a:lnTo>
                    <a:pt x="4661" y="11687"/>
                  </a:lnTo>
                  <a:lnTo>
                    <a:pt x="4643" y="11677"/>
                  </a:lnTo>
                  <a:lnTo>
                    <a:pt x="4625" y="11669"/>
                  </a:lnTo>
                  <a:lnTo>
                    <a:pt x="1577" y="10451"/>
                  </a:lnTo>
                  <a:close/>
                  <a:moveTo>
                    <a:pt x="15865" y="80"/>
                  </a:moveTo>
                  <a:lnTo>
                    <a:pt x="15850" y="70"/>
                  </a:lnTo>
                  <a:lnTo>
                    <a:pt x="15833" y="61"/>
                  </a:lnTo>
                  <a:lnTo>
                    <a:pt x="15817" y="53"/>
                  </a:lnTo>
                  <a:lnTo>
                    <a:pt x="15800" y="45"/>
                  </a:lnTo>
                  <a:lnTo>
                    <a:pt x="15784" y="38"/>
                  </a:lnTo>
                  <a:lnTo>
                    <a:pt x="15767" y="31"/>
                  </a:lnTo>
                  <a:lnTo>
                    <a:pt x="15750" y="25"/>
                  </a:lnTo>
                  <a:lnTo>
                    <a:pt x="15733" y="20"/>
                  </a:lnTo>
                  <a:lnTo>
                    <a:pt x="15716" y="15"/>
                  </a:lnTo>
                  <a:lnTo>
                    <a:pt x="15698" y="11"/>
                  </a:lnTo>
                  <a:lnTo>
                    <a:pt x="15681" y="8"/>
                  </a:lnTo>
                  <a:lnTo>
                    <a:pt x="15662" y="5"/>
                  </a:lnTo>
                  <a:lnTo>
                    <a:pt x="15645" y="3"/>
                  </a:lnTo>
                  <a:lnTo>
                    <a:pt x="15627" y="1"/>
                  </a:lnTo>
                  <a:lnTo>
                    <a:pt x="15609" y="0"/>
                  </a:lnTo>
                  <a:lnTo>
                    <a:pt x="15592" y="0"/>
                  </a:lnTo>
                  <a:lnTo>
                    <a:pt x="15574" y="0"/>
                  </a:lnTo>
                  <a:lnTo>
                    <a:pt x="15556" y="1"/>
                  </a:lnTo>
                  <a:lnTo>
                    <a:pt x="15537" y="3"/>
                  </a:lnTo>
                  <a:lnTo>
                    <a:pt x="15520" y="5"/>
                  </a:lnTo>
                  <a:lnTo>
                    <a:pt x="15501" y="8"/>
                  </a:lnTo>
                  <a:lnTo>
                    <a:pt x="15483" y="12"/>
                  </a:lnTo>
                  <a:lnTo>
                    <a:pt x="15465" y="16"/>
                  </a:lnTo>
                  <a:lnTo>
                    <a:pt x="15448" y="21"/>
                  </a:lnTo>
                  <a:lnTo>
                    <a:pt x="15430" y="26"/>
                  </a:lnTo>
                  <a:lnTo>
                    <a:pt x="15413" y="32"/>
                  </a:lnTo>
                  <a:lnTo>
                    <a:pt x="15396" y="39"/>
                  </a:lnTo>
                  <a:lnTo>
                    <a:pt x="15379" y="47"/>
                  </a:lnTo>
                  <a:lnTo>
                    <a:pt x="15362" y="55"/>
                  </a:lnTo>
                  <a:lnTo>
                    <a:pt x="15346" y="64"/>
                  </a:lnTo>
                  <a:lnTo>
                    <a:pt x="15329" y="74"/>
                  </a:lnTo>
                  <a:lnTo>
                    <a:pt x="15313" y="84"/>
                  </a:lnTo>
                  <a:lnTo>
                    <a:pt x="224" y="10144"/>
                  </a:lnTo>
                  <a:lnTo>
                    <a:pt x="210" y="10154"/>
                  </a:lnTo>
                  <a:lnTo>
                    <a:pt x="196" y="10164"/>
                  </a:lnTo>
                  <a:lnTo>
                    <a:pt x="182" y="10175"/>
                  </a:lnTo>
                  <a:lnTo>
                    <a:pt x="169" y="10186"/>
                  </a:lnTo>
                  <a:lnTo>
                    <a:pt x="157" y="10197"/>
                  </a:lnTo>
                  <a:lnTo>
                    <a:pt x="145" y="10209"/>
                  </a:lnTo>
                  <a:lnTo>
                    <a:pt x="133" y="10222"/>
                  </a:lnTo>
                  <a:lnTo>
                    <a:pt x="122" y="10234"/>
                  </a:lnTo>
                  <a:lnTo>
                    <a:pt x="111" y="10247"/>
                  </a:lnTo>
                  <a:lnTo>
                    <a:pt x="100" y="10262"/>
                  </a:lnTo>
                  <a:lnTo>
                    <a:pt x="91" y="10275"/>
                  </a:lnTo>
                  <a:lnTo>
                    <a:pt x="80" y="10289"/>
                  </a:lnTo>
                  <a:lnTo>
                    <a:pt x="71" y="10304"/>
                  </a:lnTo>
                  <a:lnTo>
                    <a:pt x="63" y="10318"/>
                  </a:lnTo>
                  <a:lnTo>
                    <a:pt x="55" y="10333"/>
                  </a:lnTo>
                  <a:lnTo>
                    <a:pt x="48" y="10348"/>
                  </a:lnTo>
                  <a:lnTo>
                    <a:pt x="41" y="10363"/>
                  </a:lnTo>
                  <a:lnTo>
                    <a:pt x="34" y="10379"/>
                  </a:lnTo>
                  <a:lnTo>
                    <a:pt x="29" y="10395"/>
                  </a:lnTo>
                  <a:lnTo>
                    <a:pt x="23" y="10411"/>
                  </a:lnTo>
                  <a:lnTo>
                    <a:pt x="18" y="10428"/>
                  </a:lnTo>
                  <a:lnTo>
                    <a:pt x="14" y="10444"/>
                  </a:lnTo>
                  <a:lnTo>
                    <a:pt x="10" y="10460"/>
                  </a:lnTo>
                  <a:lnTo>
                    <a:pt x="7" y="10477"/>
                  </a:lnTo>
                  <a:lnTo>
                    <a:pt x="5" y="10494"/>
                  </a:lnTo>
                  <a:lnTo>
                    <a:pt x="3" y="10511"/>
                  </a:lnTo>
                  <a:lnTo>
                    <a:pt x="1" y="10528"/>
                  </a:lnTo>
                  <a:lnTo>
                    <a:pt x="0" y="10545"/>
                  </a:lnTo>
                  <a:lnTo>
                    <a:pt x="0" y="10562"/>
                  </a:lnTo>
                  <a:lnTo>
                    <a:pt x="0" y="10579"/>
                  </a:lnTo>
                  <a:lnTo>
                    <a:pt x="1" y="10597"/>
                  </a:lnTo>
                  <a:lnTo>
                    <a:pt x="3" y="10614"/>
                  </a:lnTo>
                  <a:lnTo>
                    <a:pt x="5" y="10632"/>
                  </a:lnTo>
                  <a:lnTo>
                    <a:pt x="8" y="10649"/>
                  </a:lnTo>
                  <a:lnTo>
                    <a:pt x="11" y="10666"/>
                  </a:lnTo>
                  <a:lnTo>
                    <a:pt x="15" y="10682"/>
                  </a:lnTo>
                  <a:lnTo>
                    <a:pt x="19" y="10699"/>
                  </a:lnTo>
                  <a:lnTo>
                    <a:pt x="24" y="10715"/>
                  </a:lnTo>
                  <a:lnTo>
                    <a:pt x="29" y="10731"/>
                  </a:lnTo>
                  <a:lnTo>
                    <a:pt x="35" y="10747"/>
                  </a:lnTo>
                  <a:lnTo>
                    <a:pt x="42" y="10764"/>
                  </a:lnTo>
                  <a:lnTo>
                    <a:pt x="49" y="10779"/>
                  </a:lnTo>
                  <a:lnTo>
                    <a:pt x="56" y="10794"/>
                  </a:lnTo>
                  <a:lnTo>
                    <a:pt x="64" y="10809"/>
                  </a:lnTo>
                  <a:lnTo>
                    <a:pt x="73" y="10824"/>
                  </a:lnTo>
                  <a:lnTo>
                    <a:pt x="82" y="10838"/>
                  </a:lnTo>
                  <a:lnTo>
                    <a:pt x="92" y="10852"/>
                  </a:lnTo>
                  <a:lnTo>
                    <a:pt x="102" y="10865"/>
                  </a:lnTo>
                  <a:lnTo>
                    <a:pt x="112" y="10878"/>
                  </a:lnTo>
                  <a:lnTo>
                    <a:pt x="123" y="10891"/>
                  </a:lnTo>
                  <a:lnTo>
                    <a:pt x="134" y="10904"/>
                  </a:lnTo>
                  <a:lnTo>
                    <a:pt x="146" y="10916"/>
                  </a:lnTo>
                  <a:lnTo>
                    <a:pt x="158" y="10929"/>
                  </a:lnTo>
                  <a:lnTo>
                    <a:pt x="171" y="10940"/>
                  </a:lnTo>
                  <a:lnTo>
                    <a:pt x="183" y="10951"/>
                  </a:lnTo>
                  <a:lnTo>
                    <a:pt x="197" y="10961"/>
                  </a:lnTo>
                  <a:lnTo>
                    <a:pt x="210" y="10972"/>
                  </a:lnTo>
                  <a:lnTo>
                    <a:pt x="224" y="10981"/>
                  </a:lnTo>
                  <a:lnTo>
                    <a:pt x="239" y="10990"/>
                  </a:lnTo>
                  <a:lnTo>
                    <a:pt x="253" y="10999"/>
                  </a:lnTo>
                  <a:lnTo>
                    <a:pt x="269" y="11007"/>
                  </a:lnTo>
                  <a:lnTo>
                    <a:pt x="285" y="11015"/>
                  </a:lnTo>
                  <a:lnTo>
                    <a:pt x="300" y="11022"/>
                  </a:lnTo>
                  <a:lnTo>
                    <a:pt x="316" y="11029"/>
                  </a:lnTo>
                  <a:lnTo>
                    <a:pt x="4251" y="12603"/>
                  </a:lnTo>
                  <a:lnTo>
                    <a:pt x="6102" y="15842"/>
                  </a:lnTo>
                  <a:lnTo>
                    <a:pt x="6110" y="15856"/>
                  </a:lnTo>
                  <a:lnTo>
                    <a:pt x="6119" y="15870"/>
                  </a:lnTo>
                  <a:lnTo>
                    <a:pt x="6128" y="15884"/>
                  </a:lnTo>
                  <a:lnTo>
                    <a:pt x="6138" y="15897"/>
                  </a:lnTo>
                  <a:lnTo>
                    <a:pt x="6148" y="15910"/>
                  </a:lnTo>
                  <a:lnTo>
                    <a:pt x="6159" y="15922"/>
                  </a:lnTo>
                  <a:lnTo>
                    <a:pt x="6170" y="15934"/>
                  </a:lnTo>
                  <a:lnTo>
                    <a:pt x="6181" y="15946"/>
                  </a:lnTo>
                  <a:lnTo>
                    <a:pt x="6194" y="15957"/>
                  </a:lnTo>
                  <a:lnTo>
                    <a:pt x="6206" y="15968"/>
                  </a:lnTo>
                  <a:lnTo>
                    <a:pt x="6218" y="15979"/>
                  </a:lnTo>
                  <a:lnTo>
                    <a:pt x="6230" y="15989"/>
                  </a:lnTo>
                  <a:lnTo>
                    <a:pt x="6243" y="15999"/>
                  </a:lnTo>
                  <a:lnTo>
                    <a:pt x="6257" y="16008"/>
                  </a:lnTo>
                  <a:lnTo>
                    <a:pt x="6270" y="16018"/>
                  </a:lnTo>
                  <a:lnTo>
                    <a:pt x="6284" y="16026"/>
                  </a:lnTo>
                  <a:lnTo>
                    <a:pt x="6298" y="16034"/>
                  </a:lnTo>
                  <a:lnTo>
                    <a:pt x="6312" y="16041"/>
                  </a:lnTo>
                  <a:lnTo>
                    <a:pt x="6326" y="16048"/>
                  </a:lnTo>
                  <a:lnTo>
                    <a:pt x="6341" y="16055"/>
                  </a:lnTo>
                  <a:lnTo>
                    <a:pt x="6357" y="16061"/>
                  </a:lnTo>
                  <a:lnTo>
                    <a:pt x="6372" y="16067"/>
                  </a:lnTo>
                  <a:lnTo>
                    <a:pt x="6388" y="16072"/>
                  </a:lnTo>
                  <a:lnTo>
                    <a:pt x="6403" y="16076"/>
                  </a:lnTo>
                  <a:lnTo>
                    <a:pt x="6419" y="16081"/>
                  </a:lnTo>
                  <a:lnTo>
                    <a:pt x="6435" y="16084"/>
                  </a:lnTo>
                  <a:lnTo>
                    <a:pt x="6451" y="16087"/>
                  </a:lnTo>
                  <a:lnTo>
                    <a:pt x="6467" y="16090"/>
                  </a:lnTo>
                  <a:lnTo>
                    <a:pt x="6483" y="16092"/>
                  </a:lnTo>
                  <a:lnTo>
                    <a:pt x="6499" y="16093"/>
                  </a:lnTo>
                  <a:lnTo>
                    <a:pt x="6516" y="16094"/>
                  </a:lnTo>
                  <a:lnTo>
                    <a:pt x="6533" y="16095"/>
                  </a:lnTo>
                  <a:lnTo>
                    <a:pt x="6539" y="16095"/>
                  </a:lnTo>
                  <a:lnTo>
                    <a:pt x="6555" y="16095"/>
                  </a:lnTo>
                  <a:lnTo>
                    <a:pt x="6572" y="16094"/>
                  </a:lnTo>
                  <a:lnTo>
                    <a:pt x="6588" y="16093"/>
                  </a:lnTo>
                  <a:lnTo>
                    <a:pt x="6604" y="16091"/>
                  </a:lnTo>
                  <a:lnTo>
                    <a:pt x="6620" y="16088"/>
                  </a:lnTo>
                  <a:lnTo>
                    <a:pt x="6636" y="16085"/>
                  </a:lnTo>
                  <a:lnTo>
                    <a:pt x="6652" y="16082"/>
                  </a:lnTo>
                  <a:lnTo>
                    <a:pt x="6667" y="16078"/>
                  </a:lnTo>
                  <a:lnTo>
                    <a:pt x="6683" y="16074"/>
                  </a:lnTo>
                  <a:lnTo>
                    <a:pt x="6699" y="16069"/>
                  </a:lnTo>
                  <a:lnTo>
                    <a:pt x="6714" y="16063"/>
                  </a:lnTo>
                  <a:lnTo>
                    <a:pt x="6729" y="16058"/>
                  </a:lnTo>
                  <a:lnTo>
                    <a:pt x="6743" y="16051"/>
                  </a:lnTo>
                  <a:lnTo>
                    <a:pt x="6758" y="16045"/>
                  </a:lnTo>
                  <a:lnTo>
                    <a:pt x="6772" y="16037"/>
                  </a:lnTo>
                  <a:lnTo>
                    <a:pt x="6786" y="16030"/>
                  </a:lnTo>
                  <a:lnTo>
                    <a:pt x="6800" y="16022"/>
                  </a:lnTo>
                  <a:lnTo>
                    <a:pt x="6813" y="16013"/>
                  </a:lnTo>
                  <a:lnTo>
                    <a:pt x="6827" y="16003"/>
                  </a:lnTo>
                  <a:lnTo>
                    <a:pt x="6840" y="15994"/>
                  </a:lnTo>
                  <a:lnTo>
                    <a:pt x="6852" y="15984"/>
                  </a:lnTo>
                  <a:lnTo>
                    <a:pt x="6866" y="15974"/>
                  </a:lnTo>
                  <a:lnTo>
                    <a:pt x="6878" y="15963"/>
                  </a:lnTo>
                  <a:lnTo>
                    <a:pt x="6889" y="15952"/>
                  </a:lnTo>
                  <a:lnTo>
                    <a:pt x="6901" y="15941"/>
                  </a:lnTo>
                  <a:lnTo>
                    <a:pt x="6912" y="15929"/>
                  </a:lnTo>
                  <a:lnTo>
                    <a:pt x="6922" y="15917"/>
                  </a:lnTo>
                  <a:lnTo>
                    <a:pt x="6933" y="15904"/>
                  </a:lnTo>
                  <a:lnTo>
                    <a:pt x="6943" y="15891"/>
                  </a:lnTo>
                  <a:lnTo>
                    <a:pt x="6952" y="15878"/>
                  </a:lnTo>
                  <a:lnTo>
                    <a:pt x="6961" y="15864"/>
                  </a:lnTo>
                  <a:lnTo>
                    <a:pt x="6970" y="15851"/>
                  </a:lnTo>
                  <a:lnTo>
                    <a:pt x="8014" y="14108"/>
                  </a:lnTo>
                  <a:lnTo>
                    <a:pt x="12890" y="16059"/>
                  </a:lnTo>
                  <a:lnTo>
                    <a:pt x="12913" y="16067"/>
                  </a:lnTo>
                  <a:lnTo>
                    <a:pt x="12936" y="16074"/>
                  </a:lnTo>
                  <a:lnTo>
                    <a:pt x="12958" y="16081"/>
                  </a:lnTo>
                  <a:lnTo>
                    <a:pt x="12983" y="16086"/>
                  </a:lnTo>
                  <a:lnTo>
                    <a:pt x="13006" y="16090"/>
                  </a:lnTo>
                  <a:lnTo>
                    <a:pt x="13030" y="16093"/>
                  </a:lnTo>
                  <a:lnTo>
                    <a:pt x="13053" y="16094"/>
                  </a:lnTo>
                  <a:lnTo>
                    <a:pt x="13077" y="16095"/>
                  </a:lnTo>
                  <a:lnTo>
                    <a:pt x="13093" y="16095"/>
                  </a:lnTo>
                  <a:lnTo>
                    <a:pt x="13109" y="16094"/>
                  </a:lnTo>
                  <a:lnTo>
                    <a:pt x="13124" y="16093"/>
                  </a:lnTo>
                  <a:lnTo>
                    <a:pt x="13141" y="16091"/>
                  </a:lnTo>
                  <a:lnTo>
                    <a:pt x="13157" y="16089"/>
                  </a:lnTo>
                  <a:lnTo>
                    <a:pt x="13173" y="16086"/>
                  </a:lnTo>
                  <a:lnTo>
                    <a:pt x="13188" y="16083"/>
                  </a:lnTo>
                  <a:lnTo>
                    <a:pt x="13204" y="16079"/>
                  </a:lnTo>
                  <a:lnTo>
                    <a:pt x="13219" y="16075"/>
                  </a:lnTo>
                  <a:lnTo>
                    <a:pt x="13234" y="16070"/>
                  </a:lnTo>
                  <a:lnTo>
                    <a:pt x="13250" y="16064"/>
                  </a:lnTo>
                  <a:lnTo>
                    <a:pt x="13265" y="16059"/>
                  </a:lnTo>
                  <a:lnTo>
                    <a:pt x="13279" y="16052"/>
                  </a:lnTo>
                  <a:lnTo>
                    <a:pt x="13294" y="16046"/>
                  </a:lnTo>
                  <a:lnTo>
                    <a:pt x="13309" y="16038"/>
                  </a:lnTo>
                  <a:lnTo>
                    <a:pt x="13324" y="16031"/>
                  </a:lnTo>
                  <a:lnTo>
                    <a:pt x="13348" y="16016"/>
                  </a:lnTo>
                  <a:lnTo>
                    <a:pt x="13371" y="15999"/>
                  </a:lnTo>
                  <a:lnTo>
                    <a:pt x="13394" y="15982"/>
                  </a:lnTo>
                  <a:lnTo>
                    <a:pt x="13415" y="15964"/>
                  </a:lnTo>
                  <a:lnTo>
                    <a:pt x="13435" y="15945"/>
                  </a:lnTo>
                  <a:lnTo>
                    <a:pt x="13454" y="15924"/>
                  </a:lnTo>
                  <a:lnTo>
                    <a:pt x="13473" y="15903"/>
                  </a:lnTo>
                  <a:lnTo>
                    <a:pt x="13489" y="15881"/>
                  </a:lnTo>
                  <a:lnTo>
                    <a:pt x="13504" y="15858"/>
                  </a:lnTo>
                  <a:lnTo>
                    <a:pt x="13518" y="15833"/>
                  </a:lnTo>
                  <a:lnTo>
                    <a:pt x="13531" y="15808"/>
                  </a:lnTo>
                  <a:lnTo>
                    <a:pt x="13542" y="15783"/>
                  </a:lnTo>
                  <a:lnTo>
                    <a:pt x="13552" y="15757"/>
                  </a:lnTo>
                  <a:lnTo>
                    <a:pt x="13561" y="15730"/>
                  </a:lnTo>
                  <a:lnTo>
                    <a:pt x="13568" y="15703"/>
                  </a:lnTo>
                  <a:lnTo>
                    <a:pt x="13573" y="15675"/>
                  </a:lnTo>
                  <a:lnTo>
                    <a:pt x="16088" y="585"/>
                  </a:lnTo>
                  <a:lnTo>
                    <a:pt x="16091" y="567"/>
                  </a:lnTo>
                  <a:lnTo>
                    <a:pt x="16093" y="548"/>
                  </a:lnTo>
                  <a:lnTo>
                    <a:pt x="16094" y="530"/>
                  </a:lnTo>
                  <a:lnTo>
                    <a:pt x="16095" y="512"/>
                  </a:lnTo>
                  <a:lnTo>
                    <a:pt x="16095" y="493"/>
                  </a:lnTo>
                  <a:lnTo>
                    <a:pt x="16094" y="475"/>
                  </a:lnTo>
                  <a:lnTo>
                    <a:pt x="16093" y="457"/>
                  </a:lnTo>
                  <a:lnTo>
                    <a:pt x="16091" y="439"/>
                  </a:lnTo>
                  <a:lnTo>
                    <a:pt x="16088" y="420"/>
                  </a:lnTo>
                  <a:lnTo>
                    <a:pt x="16085" y="402"/>
                  </a:lnTo>
                  <a:lnTo>
                    <a:pt x="16081" y="385"/>
                  </a:lnTo>
                  <a:lnTo>
                    <a:pt x="16076" y="367"/>
                  </a:lnTo>
                  <a:lnTo>
                    <a:pt x="16071" y="350"/>
                  </a:lnTo>
                  <a:lnTo>
                    <a:pt x="16066" y="333"/>
                  </a:lnTo>
                  <a:lnTo>
                    <a:pt x="16059" y="317"/>
                  </a:lnTo>
                  <a:lnTo>
                    <a:pt x="16052" y="300"/>
                  </a:lnTo>
                  <a:lnTo>
                    <a:pt x="16045" y="284"/>
                  </a:lnTo>
                  <a:lnTo>
                    <a:pt x="16037" y="268"/>
                  </a:lnTo>
                  <a:lnTo>
                    <a:pt x="16028" y="251"/>
                  </a:lnTo>
                  <a:lnTo>
                    <a:pt x="16019" y="236"/>
                  </a:lnTo>
                  <a:lnTo>
                    <a:pt x="16008" y="221"/>
                  </a:lnTo>
                  <a:lnTo>
                    <a:pt x="15997" y="206"/>
                  </a:lnTo>
                  <a:lnTo>
                    <a:pt x="15987" y="192"/>
                  </a:lnTo>
                  <a:lnTo>
                    <a:pt x="15975" y="178"/>
                  </a:lnTo>
                  <a:lnTo>
                    <a:pt x="15963" y="164"/>
                  </a:lnTo>
                  <a:lnTo>
                    <a:pt x="15951" y="151"/>
                  </a:lnTo>
                  <a:lnTo>
                    <a:pt x="15938" y="138"/>
                  </a:lnTo>
                  <a:lnTo>
                    <a:pt x="15924" y="126"/>
                  </a:lnTo>
                  <a:lnTo>
                    <a:pt x="15910" y="114"/>
                  </a:lnTo>
                  <a:lnTo>
                    <a:pt x="15896" y="102"/>
                  </a:lnTo>
                  <a:lnTo>
                    <a:pt x="15881" y="92"/>
                  </a:lnTo>
                  <a:lnTo>
                    <a:pt x="15865" y="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7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22" name="ïṡ1îḋe">
              <a:extLst>
                <a:ext uri="{FF2B5EF4-FFF2-40B4-BE49-F238E27FC236}">
                  <a16:creationId xmlns:a16="http://schemas.microsoft.com/office/drawing/2014/main" id="{D35122A0-F71F-43FB-92A5-4F820395E6B5}"/>
                </a:ext>
              </a:extLst>
            </p:cNvPr>
            <p:cNvSpPr/>
            <p:nvPr/>
          </p:nvSpPr>
          <p:spPr bwMode="auto">
            <a:xfrm>
              <a:off x="3700087" y="1153164"/>
              <a:ext cx="613339" cy="535789"/>
            </a:xfrm>
            <a:custGeom>
              <a:avLst/>
              <a:gdLst>
                <a:gd name="T0" fmla="*/ 1006 w 16095"/>
                <a:gd name="T1" fmla="*/ 3013 h 14060"/>
                <a:gd name="T2" fmla="*/ 5802 w 16095"/>
                <a:gd name="T3" fmla="*/ 1392 h 14060"/>
                <a:gd name="T4" fmla="*/ 6204 w 16095"/>
                <a:gd name="T5" fmla="*/ 1861 h 14060"/>
                <a:gd name="T6" fmla="*/ 6751 w 16095"/>
                <a:gd name="T7" fmla="*/ 2221 h 14060"/>
                <a:gd name="T8" fmla="*/ 7413 w 16095"/>
                <a:gd name="T9" fmla="*/ 2445 h 14060"/>
                <a:gd name="T10" fmla="*/ 8157 w 16095"/>
                <a:gd name="T11" fmla="*/ 2509 h 14060"/>
                <a:gd name="T12" fmla="*/ 8881 w 16095"/>
                <a:gd name="T13" fmla="*/ 2397 h 14060"/>
                <a:gd name="T14" fmla="*/ 9513 w 16095"/>
                <a:gd name="T15" fmla="*/ 2131 h 14060"/>
                <a:gd name="T16" fmla="*/ 10022 w 16095"/>
                <a:gd name="T17" fmla="*/ 1737 h 14060"/>
                <a:gd name="T18" fmla="*/ 10376 w 16095"/>
                <a:gd name="T19" fmla="*/ 1241 h 14060"/>
                <a:gd name="T20" fmla="*/ 9936 w 16095"/>
                <a:gd name="T21" fmla="*/ 1004 h 14060"/>
                <a:gd name="T22" fmla="*/ 9691 w 16095"/>
                <a:gd name="T23" fmla="*/ 1361 h 14060"/>
                <a:gd name="T24" fmla="*/ 9334 w 16095"/>
                <a:gd name="T25" fmla="*/ 1655 h 14060"/>
                <a:gd name="T26" fmla="*/ 8886 w 16095"/>
                <a:gd name="T27" fmla="*/ 1870 h 14060"/>
                <a:gd name="T28" fmla="*/ 8368 w 16095"/>
                <a:gd name="T29" fmla="*/ 1989 h 14060"/>
                <a:gd name="T30" fmla="*/ 7806 w 16095"/>
                <a:gd name="T31" fmla="*/ 1998 h 14060"/>
                <a:gd name="T32" fmla="*/ 7279 w 16095"/>
                <a:gd name="T33" fmla="*/ 1893 h 14060"/>
                <a:gd name="T34" fmla="*/ 6819 w 16095"/>
                <a:gd name="T35" fmla="*/ 1691 h 14060"/>
                <a:gd name="T36" fmla="*/ 6449 w 16095"/>
                <a:gd name="T37" fmla="*/ 1407 h 14060"/>
                <a:gd name="T38" fmla="*/ 6187 w 16095"/>
                <a:gd name="T39" fmla="*/ 1059 h 14060"/>
                <a:gd name="T40" fmla="*/ 13098 w 16095"/>
                <a:gd name="T41" fmla="*/ 147 h 14060"/>
                <a:gd name="T42" fmla="*/ 12827 w 16095"/>
                <a:gd name="T43" fmla="*/ 32 h 14060"/>
                <a:gd name="T44" fmla="*/ 3521 w 16095"/>
                <a:gd name="T45" fmla="*/ 0 h 14060"/>
                <a:gd name="T46" fmla="*/ 3228 w 16095"/>
                <a:gd name="T47" fmla="*/ 43 h 14060"/>
                <a:gd name="T48" fmla="*/ 2960 w 16095"/>
                <a:gd name="T49" fmla="*/ 170 h 14060"/>
                <a:gd name="T50" fmla="*/ 264 w 16095"/>
                <a:gd name="T51" fmla="*/ 2335 h 14060"/>
                <a:gd name="T52" fmla="*/ 112 w 16095"/>
                <a:gd name="T53" fmla="*/ 2554 h 14060"/>
                <a:gd name="T54" fmla="*/ 22 w 16095"/>
                <a:gd name="T55" fmla="*/ 2802 h 14060"/>
                <a:gd name="T56" fmla="*/ 1 w 16095"/>
                <a:gd name="T57" fmla="*/ 3065 h 14060"/>
                <a:gd name="T58" fmla="*/ 52 w 16095"/>
                <a:gd name="T59" fmla="*/ 3331 h 14060"/>
                <a:gd name="T60" fmla="*/ 1127 w 16095"/>
                <a:gd name="T61" fmla="*/ 6504 h 14060"/>
                <a:gd name="T62" fmla="*/ 1239 w 16095"/>
                <a:gd name="T63" fmla="*/ 6669 h 14060"/>
                <a:gd name="T64" fmla="*/ 1382 w 16095"/>
                <a:gd name="T65" fmla="*/ 6809 h 14060"/>
                <a:gd name="T66" fmla="*/ 1551 w 16095"/>
                <a:gd name="T67" fmla="*/ 6919 h 14060"/>
                <a:gd name="T68" fmla="*/ 1766 w 16095"/>
                <a:gd name="T69" fmla="*/ 7000 h 14060"/>
                <a:gd name="T70" fmla="*/ 2045 w 16095"/>
                <a:gd name="T71" fmla="*/ 7029 h 14060"/>
                <a:gd name="T72" fmla="*/ 2271 w 16095"/>
                <a:gd name="T73" fmla="*/ 6996 h 14060"/>
                <a:gd name="T74" fmla="*/ 2486 w 16095"/>
                <a:gd name="T75" fmla="*/ 6911 h 14060"/>
                <a:gd name="T76" fmla="*/ 2546 w 16095"/>
                <a:gd name="T77" fmla="*/ 13307 h 14060"/>
                <a:gd name="T78" fmla="*/ 2687 w 16095"/>
                <a:gd name="T79" fmla="*/ 13617 h 14060"/>
                <a:gd name="T80" fmla="*/ 2919 w 16095"/>
                <a:gd name="T81" fmla="*/ 13860 h 14060"/>
                <a:gd name="T82" fmla="*/ 3222 w 16095"/>
                <a:gd name="T83" fmla="*/ 14015 h 14060"/>
                <a:gd name="T84" fmla="*/ 12574 w 16095"/>
                <a:gd name="T85" fmla="*/ 14060 h 14060"/>
                <a:gd name="T86" fmla="*/ 12920 w 16095"/>
                <a:gd name="T87" fmla="*/ 13999 h 14060"/>
                <a:gd name="T88" fmla="*/ 13214 w 16095"/>
                <a:gd name="T89" fmla="*/ 13831 h 14060"/>
                <a:gd name="T90" fmla="*/ 13434 w 16095"/>
                <a:gd name="T91" fmla="*/ 13576 h 14060"/>
                <a:gd name="T92" fmla="*/ 13560 w 16095"/>
                <a:gd name="T93" fmla="*/ 13258 h 14060"/>
                <a:gd name="T94" fmla="*/ 13639 w 16095"/>
                <a:gd name="T95" fmla="*/ 6927 h 14060"/>
                <a:gd name="T96" fmla="*/ 13856 w 16095"/>
                <a:gd name="T97" fmla="*/ 7004 h 14060"/>
                <a:gd name="T98" fmla="*/ 14083 w 16095"/>
                <a:gd name="T99" fmla="*/ 7030 h 14060"/>
                <a:gd name="T100" fmla="*/ 14370 w 16095"/>
                <a:gd name="T101" fmla="*/ 6989 h 14060"/>
                <a:gd name="T102" fmla="*/ 14569 w 16095"/>
                <a:gd name="T103" fmla="*/ 6905 h 14060"/>
                <a:gd name="T104" fmla="*/ 14735 w 16095"/>
                <a:gd name="T105" fmla="*/ 6791 h 14060"/>
                <a:gd name="T106" fmla="*/ 14874 w 16095"/>
                <a:gd name="T107" fmla="*/ 6647 h 14060"/>
                <a:gd name="T108" fmla="*/ 14981 w 16095"/>
                <a:gd name="T109" fmla="*/ 6478 h 14060"/>
                <a:gd name="T110" fmla="*/ 16055 w 16095"/>
                <a:gd name="T111" fmla="*/ 3293 h 14060"/>
                <a:gd name="T112" fmla="*/ 16095 w 16095"/>
                <a:gd name="T113" fmla="*/ 3027 h 14060"/>
                <a:gd name="T114" fmla="*/ 16064 w 16095"/>
                <a:gd name="T115" fmla="*/ 2765 h 14060"/>
                <a:gd name="T116" fmla="*/ 15966 w 16095"/>
                <a:gd name="T117" fmla="*/ 2521 h 14060"/>
                <a:gd name="T118" fmla="*/ 15805 w 16095"/>
                <a:gd name="T119" fmla="*/ 2307 h 14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95" h="14060">
                  <a:moveTo>
                    <a:pt x="14083" y="6026"/>
                  </a:moveTo>
                  <a:lnTo>
                    <a:pt x="12574" y="5021"/>
                  </a:lnTo>
                  <a:lnTo>
                    <a:pt x="12574" y="13056"/>
                  </a:lnTo>
                  <a:lnTo>
                    <a:pt x="3521" y="13056"/>
                  </a:lnTo>
                  <a:lnTo>
                    <a:pt x="3521" y="5021"/>
                  </a:lnTo>
                  <a:lnTo>
                    <a:pt x="2012" y="6026"/>
                  </a:lnTo>
                  <a:lnTo>
                    <a:pt x="1006" y="3013"/>
                  </a:lnTo>
                  <a:lnTo>
                    <a:pt x="3521" y="1004"/>
                  </a:lnTo>
                  <a:lnTo>
                    <a:pt x="5622" y="1004"/>
                  </a:lnTo>
                  <a:lnTo>
                    <a:pt x="5650" y="1085"/>
                  </a:lnTo>
                  <a:lnTo>
                    <a:pt x="5683" y="1164"/>
                  </a:lnTo>
                  <a:lnTo>
                    <a:pt x="5719" y="1241"/>
                  </a:lnTo>
                  <a:lnTo>
                    <a:pt x="5758" y="1318"/>
                  </a:lnTo>
                  <a:lnTo>
                    <a:pt x="5802" y="1392"/>
                  </a:lnTo>
                  <a:lnTo>
                    <a:pt x="5850" y="1464"/>
                  </a:lnTo>
                  <a:lnTo>
                    <a:pt x="5900" y="1536"/>
                  </a:lnTo>
                  <a:lnTo>
                    <a:pt x="5954" y="1605"/>
                  </a:lnTo>
                  <a:lnTo>
                    <a:pt x="6011" y="1672"/>
                  </a:lnTo>
                  <a:lnTo>
                    <a:pt x="6073" y="1737"/>
                  </a:lnTo>
                  <a:lnTo>
                    <a:pt x="6136" y="1800"/>
                  </a:lnTo>
                  <a:lnTo>
                    <a:pt x="6204" y="1861"/>
                  </a:lnTo>
                  <a:lnTo>
                    <a:pt x="6274" y="1920"/>
                  </a:lnTo>
                  <a:lnTo>
                    <a:pt x="6346" y="1976"/>
                  </a:lnTo>
                  <a:lnTo>
                    <a:pt x="6422" y="2031"/>
                  </a:lnTo>
                  <a:lnTo>
                    <a:pt x="6500" y="2082"/>
                  </a:lnTo>
                  <a:lnTo>
                    <a:pt x="6582" y="2131"/>
                  </a:lnTo>
                  <a:lnTo>
                    <a:pt x="6665" y="2177"/>
                  </a:lnTo>
                  <a:lnTo>
                    <a:pt x="6751" y="2221"/>
                  </a:lnTo>
                  <a:lnTo>
                    <a:pt x="6839" y="2262"/>
                  </a:lnTo>
                  <a:lnTo>
                    <a:pt x="6930" y="2300"/>
                  </a:lnTo>
                  <a:lnTo>
                    <a:pt x="7022" y="2336"/>
                  </a:lnTo>
                  <a:lnTo>
                    <a:pt x="7117" y="2368"/>
                  </a:lnTo>
                  <a:lnTo>
                    <a:pt x="7215" y="2397"/>
                  </a:lnTo>
                  <a:lnTo>
                    <a:pt x="7313" y="2423"/>
                  </a:lnTo>
                  <a:lnTo>
                    <a:pt x="7413" y="2445"/>
                  </a:lnTo>
                  <a:lnTo>
                    <a:pt x="7515" y="2466"/>
                  </a:lnTo>
                  <a:lnTo>
                    <a:pt x="7619" y="2482"/>
                  </a:lnTo>
                  <a:lnTo>
                    <a:pt x="7724" y="2495"/>
                  </a:lnTo>
                  <a:lnTo>
                    <a:pt x="7830" y="2504"/>
                  </a:lnTo>
                  <a:lnTo>
                    <a:pt x="7939" y="2509"/>
                  </a:lnTo>
                  <a:lnTo>
                    <a:pt x="8048" y="2511"/>
                  </a:lnTo>
                  <a:lnTo>
                    <a:pt x="8157" y="2509"/>
                  </a:lnTo>
                  <a:lnTo>
                    <a:pt x="8265" y="2504"/>
                  </a:lnTo>
                  <a:lnTo>
                    <a:pt x="8371" y="2495"/>
                  </a:lnTo>
                  <a:lnTo>
                    <a:pt x="8476" y="2482"/>
                  </a:lnTo>
                  <a:lnTo>
                    <a:pt x="8580" y="2466"/>
                  </a:lnTo>
                  <a:lnTo>
                    <a:pt x="8682" y="2445"/>
                  </a:lnTo>
                  <a:lnTo>
                    <a:pt x="8783" y="2423"/>
                  </a:lnTo>
                  <a:lnTo>
                    <a:pt x="8881" y="2397"/>
                  </a:lnTo>
                  <a:lnTo>
                    <a:pt x="8978" y="2368"/>
                  </a:lnTo>
                  <a:lnTo>
                    <a:pt x="9073" y="2336"/>
                  </a:lnTo>
                  <a:lnTo>
                    <a:pt x="9165" y="2300"/>
                  </a:lnTo>
                  <a:lnTo>
                    <a:pt x="9256" y="2262"/>
                  </a:lnTo>
                  <a:lnTo>
                    <a:pt x="9344" y="2221"/>
                  </a:lnTo>
                  <a:lnTo>
                    <a:pt x="9430" y="2177"/>
                  </a:lnTo>
                  <a:lnTo>
                    <a:pt x="9513" y="2131"/>
                  </a:lnTo>
                  <a:lnTo>
                    <a:pt x="9595" y="2082"/>
                  </a:lnTo>
                  <a:lnTo>
                    <a:pt x="9673" y="2031"/>
                  </a:lnTo>
                  <a:lnTo>
                    <a:pt x="9749" y="1976"/>
                  </a:lnTo>
                  <a:lnTo>
                    <a:pt x="9821" y="1920"/>
                  </a:lnTo>
                  <a:lnTo>
                    <a:pt x="9891" y="1861"/>
                  </a:lnTo>
                  <a:lnTo>
                    <a:pt x="9959" y="1800"/>
                  </a:lnTo>
                  <a:lnTo>
                    <a:pt x="10022" y="1737"/>
                  </a:lnTo>
                  <a:lnTo>
                    <a:pt x="10084" y="1672"/>
                  </a:lnTo>
                  <a:lnTo>
                    <a:pt x="10141" y="1605"/>
                  </a:lnTo>
                  <a:lnTo>
                    <a:pt x="10195" y="1536"/>
                  </a:lnTo>
                  <a:lnTo>
                    <a:pt x="10245" y="1464"/>
                  </a:lnTo>
                  <a:lnTo>
                    <a:pt x="10293" y="1392"/>
                  </a:lnTo>
                  <a:lnTo>
                    <a:pt x="10337" y="1318"/>
                  </a:lnTo>
                  <a:lnTo>
                    <a:pt x="10376" y="1241"/>
                  </a:lnTo>
                  <a:lnTo>
                    <a:pt x="10412" y="1164"/>
                  </a:lnTo>
                  <a:lnTo>
                    <a:pt x="10445" y="1085"/>
                  </a:lnTo>
                  <a:lnTo>
                    <a:pt x="10473" y="1004"/>
                  </a:lnTo>
                  <a:lnTo>
                    <a:pt x="12574" y="1004"/>
                  </a:lnTo>
                  <a:lnTo>
                    <a:pt x="15089" y="3013"/>
                  </a:lnTo>
                  <a:lnTo>
                    <a:pt x="14083" y="6026"/>
                  </a:lnTo>
                  <a:close/>
                  <a:moveTo>
                    <a:pt x="9936" y="1004"/>
                  </a:moveTo>
                  <a:lnTo>
                    <a:pt x="9908" y="1059"/>
                  </a:lnTo>
                  <a:lnTo>
                    <a:pt x="9878" y="1112"/>
                  </a:lnTo>
                  <a:lnTo>
                    <a:pt x="9846" y="1164"/>
                  </a:lnTo>
                  <a:lnTo>
                    <a:pt x="9811" y="1215"/>
                  </a:lnTo>
                  <a:lnTo>
                    <a:pt x="9773" y="1264"/>
                  </a:lnTo>
                  <a:lnTo>
                    <a:pt x="9733" y="1314"/>
                  </a:lnTo>
                  <a:lnTo>
                    <a:pt x="9691" y="1361"/>
                  </a:lnTo>
                  <a:lnTo>
                    <a:pt x="9646" y="1407"/>
                  </a:lnTo>
                  <a:lnTo>
                    <a:pt x="9600" y="1452"/>
                  </a:lnTo>
                  <a:lnTo>
                    <a:pt x="9550" y="1495"/>
                  </a:lnTo>
                  <a:lnTo>
                    <a:pt x="9500" y="1538"/>
                  </a:lnTo>
                  <a:lnTo>
                    <a:pt x="9447" y="1579"/>
                  </a:lnTo>
                  <a:lnTo>
                    <a:pt x="9391" y="1617"/>
                  </a:lnTo>
                  <a:lnTo>
                    <a:pt x="9334" y="1655"/>
                  </a:lnTo>
                  <a:lnTo>
                    <a:pt x="9276" y="1691"/>
                  </a:lnTo>
                  <a:lnTo>
                    <a:pt x="9215" y="1725"/>
                  </a:lnTo>
                  <a:lnTo>
                    <a:pt x="9152" y="1758"/>
                  </a:lnTo>
                  <a:lnTo>
                    <a:pt x="9089" y="1789"/>
                  </a:lnTo>
                  <a:lnTo>
                    <a:pt x="9022" y="1818"/>
                  </a:lnTo>
                  <a:lnTo>
                    <a:pt x="8956" y="1845"/>
                  </a:lnTo>
                  <a:lnTo>
                    <a:pt x="8886" y="1870"/>
                  </a:lnTo>
                  <a:lnTo>
                    <a:pt x="8816" y="1893"/>
                  </a:lnTo>
                  <a:lnTo>
                    <a:pt x="8745" y="1914"/>
                  </a:lnTo>
                  <a:lnTo>
                    <a:pt x="8672" y="1933"/>
                  </a:lnTo>
                  <a:lnTo>
                    <a:pt x="8598" y="1951"/>
                  </a:lnTo>
                  <a:lnTo>
                    <a:pt x="8522" y="1965"/>
                  </a:lnTo>
                  <a:lnTo>
                    <a:pt x="8446" y="1978"/>
                  </a:lnTo>
                  <a:lnTo>
                    <a:pt x="8368" y="1989"/>
                  </a:lnTo>
                  <a:lnTo>
                    <a:pt x="8289" y="1998"/>
                  </a:lnTo>
                  <a:lnTo>
                    <a:pt x="8209" y="2004"/>
                  </a:lnTo>
                  <a:lnTo>
                    <a:pt x="8129" y="2008"/>
                  </a:lnTo>
                  <a:lnTo>
                    <a:pt x="8048" y="2009"/>
                  </a:lnTo>
                  <a:lnTo>
                    <a:pt x="7966" y="2008"/>
                  </a:lnTo>
                  <a:lnTo>
                    <a:pt x="7886" y="2004"/>
                  </a:lnTo>
                  <a:lnTo>
                    <a:pt x="7806" y="1998"/>
                  </a:lnTo>
                  <a:lnTo>
                    <a:pt x="7727" y="1989"/>
                  </a:lnTo>
                  <a:lnTo>
                    <a:pt x="7649" y="1978"/>
                  </a:lnTo>
                  <a:lnTo>
                    <a:pt x="7573" y="1965"/>
                  </a:lnTo>
                  <a:lnTo>
                    <a:pt x="7497" y="1951"/>
                  </a:lnTo>
                  <a:lnTo>
                    <a:pt x="7423" y="1933"/>
                  </a:lnTo>
                  <a:lnTo>
                    <a:pt x="7350" y="1914"/>
                  </a:lnTo>
                  <a:lnTo>
                    <a:pt x="7279" y="1893"/>
                  </a:lnTo>
                  <a:lnTo>
                    <a:pt x="7209" y="1870"/>
                  </a:lnTo>
                  <a:lnTo>
                    <a:pt x="7139" y="1845"/>
                  </a:lnTo>
                  <a:lnTo>
                    <a:pt x="7073" y="1818"/>
                  </a:lnTo>
                  <a:lnTo>
                    <a:pt x="7006" y="1789"/>
                  </a:lnTo>
                  <a:lnTo>
                    <a:pt x="6943" y="1758"/>
                  </a:lnTo>
                  <a:lnTo>
                    <a:pt x="6881" y="1725"/>
                  </a:lnTo>
                  <a:lnTo>
                    <a:pt x="6819" y="1691"/>
                  </a:lnTo>
                  <a:lnTo>
                    <a:pt x="6761" y="1655"/>
                  </a:lnTo>
                  <a:lnTo>
                    <a:pt x="6704" y="1617"/>
                  </a:lnTo>
                  <a:lnTo>
                    <a:pt x="6648" y="1579"/>
                  </a:lnTo>
                  <a:lnTo>
                    <a:pt x="6596" y="1538"/>
                  </a:lnTo>
                  <a:lnTo>
                    <a:pt x="6545" y="1495"/>
                  </a:lnTo>
                  <a:lnTo>
                    <a:pt x="6495" y="1452"/>
                  </a:lnTo>
                  <a:lnTo>
                    <a:pt x="6449" y="1407"/>
                  </a:lnTo>
                  <a:lnTo>
                    <a:pt x="6404" y="1361"/>
                  </a:lnTo>
                  <a:lnTo>
                    <a:pt x="6362" y="1314"/>
                  </a:lnTo>
                  <a:lnTo>
                    <a:pt x="6322" y="1264"/>
                  </a:lnTo>
                  <a:lnTo>
                    <a:pt x="6284" y="1215"/>
                  </a:lnTo>
                  <a:lnTo>
                    <a:pt x="6249" y="1164"/>
                  </a:lnTo>
                  <a:lnTo>
                    <a:pt x="6217" y="1112"/>
                  </a:lnTo>
                  <a:lnTo>
                    <a:pt x="6187" y="1059"/>
                  </a:lnTo>
                  <a:lnTo>
                    <a:pt x="6159" y="1004"/>
                  </a:lnTo>
                  <a:lnTo>
                    <a:pt x="9936" y="1004"/>
                  </a:lnTo>
                  <a:close/>
                  <a:moveTo>
                    <a:pt x="15718" y="2229"/>
                  </a:moveTo>
                  <a:lnTo>
                    <a:pt x="13203" y="220"/>
                  </a:lnTo>
                  <a:lnTo>
                    <a:pt x="13169" y="194"/>
                  </a:lnTo>
                  <a:lnTo>
                    <a:pt x="13135" y="170"/>
                  </a:lnTo>
                  <a:lnTo>
                    <a:pt x="13098" y="147"/>
                  </a:lnTo>
                  <a:lnTo>
                    <a:pt x="13061" y="126"/>
                  </a:lnTo>
                  <a:lnTo>
                    <a:pt x="13024" y="105"/>
                  </a:lnTo>
                  <a:lnTo>
                    <a:pt x="12986" y="87"/>
                  </a:lnTo>
                  <a:lnTo>
                    <a:pt x="12946" y="71"/>
                  </a:lnTo>
                  <a:lnTo>
                    <a:pt x="12907" y="56"/>
                  </a:lnTo>
                  <a:lnTo>
                    <a:pt x="12867" y="43"/>
                  </a:lnTo>
                  <a:lnTo>
                    <a:pt x="12827" y="32"/>
                  </a:lnTo>
                  <a:lnTo>
                    <a:pt x="12785" y="22"/>
                  </a:lnTo>
                  <a:lnTo>
                    <a:pt x="12743" y="14"/>
                  </a:lnTo>
                  <a:lnTo>
                    <a:pt x="12702" y="8"/>
                  </a:lnTo>
                  <a:lnTo>
                    <a:pt x="12660" y="4"/>
                  </a:lnTo>
                  <a:lnTo>
                    <a:pt x="12616" y="1"/>
                  </a:lnTo>
                  <a:lnTo>
                    <a:pt x="12574" y="0"/>
                  </a:lnTo>
                  <a:lnTo>
                    <a:pt x="3521" y="0"/>
                  </a:lnTo>
                  <a:lnTo>
                    <a:pt x="3479" y="1"/>
                  </a:lnTo>
                  <a:lnTo>
                    <a:pt x="3435" y="4"/>
                  </a:lnTo>
                  <a:lnTo>
                    <a:pt x="3393" y="8"/>
                  </a:lnTo>
                  <a:lnTo>
                    <a:pt x="3352" y="14"/>
                  </a:lnTo>
                  <a:lnTo>
                    <a:pt x="3310" y="22"/>
                  </a:lnTo>
                  <a:lnTo>
                    <a:pt x="3268" y="32"/>
                  </a:lnTo>
                  <a:lnTo>
                    <a:pt x="3228" y="43"/>
                  </a:lnTo>
                  <a:lnTo>
                    <a:pt x="3188" y="56"/>
                  </a:lnTo>
                  <a:lnTo>
                    <a:pt x="3149" y="71"/>
                  </a:lnTo>
                  <a:lnTo>
                    <a:pt x="3109" y="87"/>
                  </a:lnTo>
                  <a:lnTo>
                    <a:pt x="3071" y="105"/>
                  </a:lnTo>
                  <a:lnTo>
                    <a:pt x="3034" y="126"/>
                  </a:lnTo>
                  <a:lnTo>
                    <a:pt x="2997" y="147"/>
                  </a:lnTo>
                  <a:lnTo>
                    <a:pt x="2960" y="170"/>
                  </a:lnTo>
                  <a:lnTo>
                    <a:pt x="2926" y="194"/>
                  </a:lnTo>
                  <a:lnTo>
                    <a:pt x="2892" y="220"/>
                  </a:lnTo>
                  <a:lnTo>
                    <a:pt x="377" y="2229"/>
                  </a:lnTo>
                  <a:lnTo>
                    <a:pt x="347" y="2254"/>
                  </a:lnTo>
                  <a:lnTo>
                    <a:pt x="318" y="2280"/>
                  </a:lnTo>
                  <a:lnTo>
                    <a:pt x="290" y="2307"/>
                  </a:lnTo>
                  <a:lnTo>
                    <a:pt x="264" y="2335"/>
                  </a:lnTo>
                  <a:lnTo>
                    <a:pt x="237" y="2364"/>
                  </a:lnTo>
                  <a:lnTo>
                    <a:pt x="213" y="2393"/>
                  </a:lnTo>
                  <a:lnTo>
                    <a:pt x="191" y="2424"/>
                  </a:lnTo>
                  <a:lnTo>
                    <a:pt x="169" y="2455"/>
                  </a:lnTo>
                  <a:lnTo>
                    <a:pt x="148" y="2488"/>
                  </a:lnTo>
                  <a:lnTo>
                    <a:pt x="129" y="2521"/>
                  </a:lnTo>
                  <a:lnTo>
                    <a:pt x="112" y="2554"/>
                  </a:lnTo>
                  <a:lnTo>
                    <a:pt x="95" y="2588"/>
                  </a:lnTo>
                  <a:lnTo>
                    <a:pt x="79" y="2622"/>
                  </a:lnTo>
                  <a:lnTo>
                    <a:pt x="65" y="2657"/>
                  </a:lnTo>
                  <a:lnTo>
                    <a:pt x="52" y="2692"/>
                  </a:lnTo>
                  <a:lnTo>
                    <a:pt x="41" y="2729"/>
                  </a:lnTo>
                  <a:lnTo>
                    <a:pt x="31" y="2765"/>
                  </a:lnTo>
                  <a:lnTo>
                    <a:pt x="22" y="2802"/>
                  </a:lnTo>
                  <a:lnTo>
                    <a:pt x="15" y="2839"/>
                  </a:lnTo>
                  <a:lnTo>
                    <a:pt x="9" y="2876"/>
                  </a:lnTo>
                  <a:lnTo>
                    <a:pt x="5" y="2913"/>
                  </a:lnTo>
                  <a:lnTo>
                    <a:pt x="2" y="2952"/>
                  </a:lnTo>
                  <a:lnTo>
                    <a:pt x="0" y="2989"/>
                  </a:lnTo>
                  <a:lnTo>
                    <a:pt x="0" y="3027"/>
                  </a:lnTo>
                  <a:lnTo>
                    <a:pt x="1" y="3065"/>
                  </a:lnTo>
                  <a:lnTo>
                    <a:pt x="4" y="3103"/>
                  </a:lnTo>
                  <a:lnTo>
                    <a:pt x="8" y="3141"/>
                  </a:lnTo>
                  <a:lnTo>
                    <a:pt x="14" y="3180"/>
                  </a:lnTo>
                  <a:lnTo>
                    <a:pt x="21" y="3218"/>
                  </a:lnTo>
                  <a:lnTo>
                    <a:pt x="30" y="3256"/>
                  </a:lnTo>
                  <a:lnTo>
                    <a:pt x="40" y="3293"/>
                  </a:lnTo>
                  <a:lnTo>
                    <a:pt x="52" y="3331"/>
                  </a:lnTo>
                  <a:lnTo>
                    <a:pt x="1057" y="6344"/>
                  </a:lnTo>
                  <a:lnTo>
                    <a:pt x="1067" y="6371"/>
                  </a:lnTo>
                  <a:lnTo>
                    <a:pt x="1078" y="6398"/>
                  </a:lnTo>
                  <a:lnTo>
                    <a:pt x="1089" y="6425"/>
                  </a:lnTo>
                  <a:lnTo>
                    <a:pt x="1100" y="6452"/>
                  </a:lnTo>
                  <a:lnTo>
                    <a:pt x="1114" y="6478"/>
                  </a:lnTo>
                  <a:lnTo>
                    <a:pt x="1127" y="6504"/>
                  </a:lnTo>
                  <a:lnTo>
                    <a:pt x="1141" y="6529"/>
                  </a:lnTo>
                  <a:lnTo>
                    <a:pt x="1156" y="6553"/>
                  </a:lnTo>
                  <a:lnTo>
                    <a:pt x="1171" y="6577"/>
                  </a:lnTo>
                  <a:lnTo>
                    <a:pt x="1187" y="6601"/>
                  </a:lnTo>
                  <a:lnTo>
                    <a:pt x="1204" y="6624"/>
                  </a:lnTo>
                  <a:lnTo>
                    <a:pt x="1221" y="6647"/>
                  </a:lnTo>
                  <a:lnTo>
                    <a:pt x="1239" y="6669"/>
                  </a:lnTo>
                  <a:lnTo>
                    <a:pt x="1258" y="6692"/>
                  </a:lnTo>
                  <a:lnTo>
                    <a:pt x="1278" y="6713"/>
                  </a:lnTo>
                  <a:lnTo>
                    <a:pt x="1298" y="6733"/>
                  </a:lnTo>
                  <a:lnTo>
                    <a:pt x="1318" y="6753"/>
                  </a:lnTo>
                  <a:lnTo>
                    <a:pt x="1339" y="6772"/>
                  </a:lnTo>
                  <a:lnTo>
                    <a:pt x="1360" y="6791"/>
                  </a:lnTo>
                  <a:lnTo>
                    <a:pt x="1382" y="6809"/>
                  </a:lnTo>
                  <a:lnTo>
                    <a:pt x="1405" y="6827"/>
                  </a:lnTo>
                  <a:lnTo>
                    <a:pt x="1428" y="6844"/>
                  </a:lnTo>
                  <a:lnTo>
                    <a:pt x="1452" y="6860"/>
                  </a:lnTo>
                  <a:lnTo>
                    <a:pt x="1476" y="6875"/>
                  </a:lnTo>
                  <a:lnTo>
                    <a:pt x="1501" y="6890"/>
                  </a:lnTo>
                  <a:lnTo>
                    <a:pt x="1526" y="6905"/>
                  </a:lnTo>
                  <a:lnTo>
                    <a:pt x="1551" y="6919"/>
                  </a:lnTo>
                  <a:lnTo>
                    <a:pt x="1577" y="6932"/>
                  </a:lnTo>
                  <a:lnTo>
                    <a:pt x="1603" y="6944"/>
                  </a:lnTo>
                  <a:lnTo>
                    <a:pt x="1631" y="6956"/>
                  </a:lnTo>
                  <a:lnTo>
                    <a:pt x="1658" y="6966"/>
                  </a:lnTo>
                  <a:lnTo>
                    <a:pt x="1686" y="6976"/>
                  </a:lnTo>
                  <a:lnTo>
                    <a:pt x="1725" y="6989"/>
                  </a:lnTo>
                  <a:lnTo>
                    <a:pt x="1766" y="7000"/>
                  </a:lnTo>
                  <a:lnTo>
                    <a:pt x="1807" y="7009"/>
                  </a:lnTo>
                  <a:lnTo>
                    <a:pt x="1848" y="7016"/>
                  </a:lnTo>
                  <a:lnTo>
                    <a:pt x="1888" y="7022"/>
                  </a:lnTo>
                  <a:lnTo>
                    <a:pt x="1929" y="7027"/>
                  </a:lnTo>
                  <a:lnTo>
                    <a:pt x="1971" y="7029"/>
                  </a:lnTo>
                  <a:lnTo>
                    <a:pt x="2012" y="7030"/>
                  </a:lnTo>
                  <a:lnTo>
                    <a:pt x="2045" y="7029"/>
                  </a:lnTo>
                  <a:lnTo>
                    <a:pt x="2077" y="7028"/>
                  </a:lnTo>
                  <a:lnTo>
                    <a:pt x="2110" y="7025"/>
                  </a:lnTo>
                  <a:lnTo>
                    <a:pt x="2143" y="7021"/>
                  </a:lnTo>
                  <a:lnTo>
                    <a:pt x="2175" y="7017"/>
                  </a:lnTo>
                  <a:lnTo>
                    <a:pt x="2207" y="7011"/>
                  </a:lnTo>
                  <a:lnTo>
                    <a:pt x="2239" y="7004"/>
                  </a:lnTo>
                  <a:lnTo>
                    <a:pt x="2271" y="6996"/>
                  </a:lnTo>
                  <a:lnTo>
                    <a:pt x="2303" y="6987"/>
                  </a:lnTo>
                  <a:lnTo>
                    <a:pt x="2334" y="6977"/>
                  </a:lnTo>
                  <a:lnTo>
                    <a:pt x="2365" y="6966"/>
                  </a:lnTo>
                  <a:lnTo>
                    <a:pt x="2396" y="6954"/>
                  </a:lnTo>
                  <a:lnTo>
                    <a:pt x="2426" y="6941"/>
                  </a:lnTo>
                  <a:lnTo>
                    <a:pt x="2456" y="6927"/>
                  </a:lnTo>
                  <a:lnTo>
                    <a:pt x="2486" y="6911"/>
                  </a:lnTo>
                  <a:lnTo>
                    <a:pt x="2515" y="6895"/>
                  </a:lnTo>
                  <a:lnTo>
                    <a:pt x="2515" y="13056"/>
                  </a:lnTo>
                  <a:lnTo>
                    <a:pt x="2516" y="13107"/>
                  </a:lnTo>
                  <a:lnTo>
                    <a:pt x="2520" y="13158"/>
                  </a:lnTo>
                  <a:lnTo>
                    <a:pt x="2526" y="13208"/>
                  </a:lnTo>
                  <a:lnTo>
                    <a:pt x="2535" y="13258"/>
                  </a:lnTo>
                  <a:lnTo>
                    <a:pt x="2546" y="13307"/>
                  </a:lnTo>
                  <a:lnTo>
                    <a:pt x="2560" y="13354"/>
                  </a:lnTo>
                  <a:lnTo>
                    <a:pt x="2576" y="13401"/>
                  </a:lnTo>
                  <a:lnTo>
                    <a:pt x="2594" y="13446"/>
                  </a:lnTo>
                  <a:lnTo>
                    <a:pt x="2614" y="13491"/>
                  </a:lnTo>
                  <a:lnTo>
                    <a:pt x="2637" y="13535"/>
                  </a:lnTo>
                  <a:lnTo>
                    <a:pt x="2661" y="13576"/>
                  </a:lnTo>
                  <a:lnTo>
                    <a:pt x="2687" y="13617"/>
                  </a:lnTo>
                  <a:lnTo>
                    <a:pt x="2715" y="13656"/>
                  </a:lnTo>
                  <a:lnTo>
                    <a:pt x="2744" y="13694"/>
                  </a:lnTo>
                  <a:lnTo>
                    <a:pt x="2776" y="13731"/>
                  </a:lnTo>
                  <a:lnTo>
                    <a:pt x="2810" y="13766"/>
                  </a:lnTo>
                  <a:lnTo>
                    <a:pt x="2845" y="13799"/>
                  </a:lnTo>
                  <a:lnTo>
                    <a:pt x="2881" y="13831"/>
                  </a:lnTo>
                  <a:lnTo>
                    <a:pt x="2919" y="13860"/>
                  </a:lnTo>
                  <a:lnTo>
                    <a:pt x="2958" y="13888"/>
                  </a:lnTo>
                  <a:lnTo>
                    <a:pt x="3000" y="13914"/>
                  </a:lnTo>
                  <a:lnTo>
                    <a:pt x="3041" y="13938"/>
                  </a:lnTo>
                  <a:lnTo>
                    <a:pt x="3085" y="13961"/>
                  </a:lnTo>
                  <a:lnTo>
                    <a:pt x="3129" y="13981"/>
                  </a:lnTo>
                  <a:lnTo>
                    <a:pt x="3175" y="13999"/>
                  </a:lnTo>
                  <a:lnTo>
                    <a:pt x="3222" y="14015"/>
                  </a:lnTo>
                  <a:lnTo>
                    <a:pt x="3269" y="14028"/>
                  </a:lnTo>
                  <a:lnTo>
                    <a:pt x="3319" y="14040"/>
                  </a:lnTo>
                  <a:lnTo>
                    <a:pt x="3368" y="14048"/>
                  </a:lnTo>
                  <a:lnTo>
                    <a:pt x="3418" y="14055"/>
                  </a:lnTo>
                  <a:lnTo>
                    <a:pt x="3469" y="14059"/>
                  </a:lnTo>
                  <a:lnTo>
                    <a:pt x="3521" y="14060"/>
                  </a:lnTo>
                  <a:lnTo>
                    <a:pt x="12574" y="14060"/>
                  </a:lnTo>
                  <a:lnTo>
                    <a:pt x="12626" y="14059"/>
                  </a:lnTo>
                  <a:lnTo>
                    <a:pt x="12677" y="14055"/>
                  </a:lnTo>
                  <a:lnTo>
                    <a:pt x="12727" y="14048"/>
                  </a:lnTo>
                  <a:lnTo>
                    <a:pt x="12776" y="14040"/>
                  </a:lnTo>
                  <a:lnTo>
                    <a:pt x="12826" y="14028"/>
                  </a:lnTo>
                  <a:lnTo>
                    <a:pt x="12873" y="14015"/>
                  </a:lnTo>
                  <a:lnTo>
                    <a:pt x="12920" y="13999"/>
                  </a:lnTo>
                  <a:lnTo>
                    <a:pt x="12966" y="13981"/>
                  </a:lnTo>
                  <a:lnTo>
                    <a:pt x="13010" y="13961"/>
                  </a:lnTo>
                  <a:lnTo>
                    <a:pt x="13054" y="13938"/>
                  </a:lnTo>
                  <a:lnTo>
                    <a:pt x="13095" y="13914"/>
                  </a:lnTo>
                  <a:lnTo>
                    <a:pt x="13137" y="13888"/>
                  </a:lnTo>
                  <a:lnTo>
                    <a:pt x="13176" y="13860"/>
                  </a:lnTo>
                  <a:lnTo>
                    <a:pt x="13214" y="13831"/>
                  </a:lnTo>
                  <a:lnTo>
                    <a:pt x="13250" y="13799"/>
                  </a:lnTo>
                  <a:lnTo>
                    <a:pt x="13285" y="13766"/>
                  </a:lnTo>
                  <a:lnTo>
                    <a:pt x="13319" y="13731"/>
                  </a:lnTo>
                  <a:lnTo>
                    <a:pt x="13351" y="13694"/>
                  </a:lnTo>
                  <a:lnTo>
                    <a:pt x="13380" y="13656"/>
                  </a:lnTo>
                  <a:lnTo>
                    <a:pt x="13408" y="13617"/>
                  </a:lnTo>
                  <a:lnTo>
                    <a:pt x="13434" y="13576"/>
                  </a:lnTo>
                  <a:lnTo>
                    <a:pt x="13458" y="13535"/>
                  </a:lnTo>
                  <a:lnTo>
                    <a:pt x="13481" y="13491"/>
                  </a:lnTo>
                  <a:lnTo>
                    <a:pt x="13501" y="13446"/>
                  </a:lnTo>
                  <a:lnTo>
                    <a:pt x="13519" y="13401"/>
                  </a:lnTo>
                  <a:lnTo>
                    <a:pt x="13535" y="13354"/>
                  </a:lnTo>
                  <a:lnTo>
                    <a:pt x="13548" y="13307"/>
                  </a:lnTo>
                  <a:lnTo>
                    <a:pt x="13560" y="13258"/>
                  </a:lnTo>
                  <a:lnTo>
                    <a:pt x="13568" y="13208"/>
                  </a:lnTo>
                  <a:lnTo>
                    <a:pt x="13575" y="13158"/>
                  </a:lnTo>
                  <a:lnTo>
                    <a:pt x="13579" y="13107"/>
                  </a:lnTo>
                  <a:lnTo>
                    <a:pt x="13580" y="13056"/>
                  </a:lnTo>
                  <a:lnTo>
                    <a:pt x="13580" y="6895"/>
                  </a:lnTo>
                  <a:lnTo>
                    <a:pt x="13609" y="6911"/>
                  </a:lnTo>
                  <a:lnTo>
                    <a:pt x="13639" y="6927"/>
                  </a:lnTo>
                  <a:lnTo>
                    <a:pt x="13669" y="6941"/>
                  </a:lnTo>
                  <a:lnTo>
                    <a:pt x="13699" y="6954"/>
                  </a:lnTo>
                  <a:lnTo>
                    <a:pt x="13730" y="6966"/>
                  </a:lnTo>
                  <a:lnTo>
                    <a:pt x="13761" y="6977"/>
                  </a:lnTo>
                  <a:lnTo>
                    <a:pt x="13792" y="6987"/>
                  </a:lnTo>
                  <a:lnTo>
                    <a:pt x="13824" y="6996"/>
                  </a:lnTo>
                  <a:lnTo>
                    <a:pt x="13856" y="7004"/>
                  </a:lnTo>
                  <a:lnTo>
                    <a:pt x="13888" y="7011"/>
                  </a:lnTo>
                  <a:lnTo>
                    <a:pt x="13920" y="7017"/>
                  </a:lnTo>
                  <a:lnTo>
                    <a:pt x="13952" y="7021"/>
                  </a:lnTo>
                  <a:lnTo>
                    <a:pt x="13985" y="7025"/>
                  </a:lnTo>
                  <a:lnTo>
                    <a:pt x="14018" y="7028"/>
                  </a:lnTo>
                  <a:lnTo>
                    <a:pt x="14050" y="7029"/>
                  </a:lnTo>
                  <a:lnTo>
                    <a:pt x="14083" y="7030"/>
                  </a:lnTo>
                  <a:lnTo>
                    <a:pt x="14124" y="7029"/>
                  </a:lnTo>
                  <a:lnTo>
                    <a:pt x="14166" y="7027"/>
                  </a:lnTo>
                  <a:lnTo>
                    <a:pt x="14207" y="7022"/>
                  </a:lnTo>
                  <a:lnTo>
                    <a:pt x="14247" y="7016"/>
                  </a:lnTo>
                  <a:lnTo>
                    <a:pt x="14288" y="7009"/>
                  </a:lnTo>
                  <a:lnTo>
                    <a:pt x="14329" y="7000"/>
                  </a:lnTo>
                  <a:lnTo>
                    <a:pt x="14370" y="6989"/>
                  </a:lnTo>
                  <a:lnTo>
                    <a:pt x="14410" y="6976"/>
                  </a:lnTo>
                  <a:lnTo>
                    <a:pt x="14437" y="6966"/>
                  </a:lnTo>
                  <a:lnTo>
                    <a:pt x="14464" y="6956"/>
                  </a:lnTo>
                  <a:lnTo>
                    <a:pt x="14492" y="6944"/>
                  </a:lnTo>
                  <a:lnTo>
                    <a:pt x="14518" y="6932"/>
                  </a:lnTo>
                  <a:lnTo>
                    <a:pt x="14544" y="6919"/>
                  </a:lnTo>
                  <a:lnTo>
                    <a:pt x="14569" y="6905"/>
                  </a:lnTo>
                  <a:lnTo>
                    <a:pt x="14594" y="6890"/>
                  </a:lnTo>
                  <a:lnTo>
                    <a:pt x="14619" y="6875"/>
                  </a:lnTo>
                  <a:lnTo>
                    <a:pt x="14643" y="6860"/>
                  </a:lnTo>
                  <a:lnTo>
                    <a:pt x="14667" y="6844"/>
                  </a:lnTo>
                  <a:lnTo>
                    <a:pt x="14690" y="6827"/>
                  </a:lnTo>
                  <a:lnTo>
                    <a:pt x="14713" y="6809"/>
                  </a:lnTo>
                  <a:lnTo>
                    <a:pt x="14735" y="6791"/>
                  </a:lnTo>
                  <a:lnTo>
                    <a:pt x="14756" y="6772"/>
                  </a:lnTo>
                  <a:lnTo>
                    <a:pt x="14777" y="6753"/>
                  </a:lnTo>
                  <a:lnTo>
                    <a:pt x="14797" y="6733"/>
                  </a:lnTo>
                  <a:lnTo>
                    <a:pt x="14817" y="6713"/>
                  </a:lnTo>
                  <a:lnTo>
                    <a:pt x="14837" y="6692"/>
                  </a:lnTo>
                  <a:lnTo>
                    <a:pt x="14856" y="6669"/>
                  </a:lnTo>
                  <a:lnTo>
                    <a:pt x="14874" y="6647"/>
                  </a:lnTo>
                  <a:lnTo>
                    <a:pt x="14891" y="6624"/>
                  </a:lnTo>
                  <a:lnTo>
                    <a:pt x="14908" y="6601"/>
                  </a:lnTo>
                  <a:lnTo>
                    <a:pt x="14924" y="6577"/>
                  </a:lnTo>
                  <a:lnTo>
                    <a:pt x="14939" y="6553"/>
                  </a:lnTo>
                  <a:lnTo>
                    <a:pt x="14954" y="6529"/>
                  </a:lnTo>
                  <a:lnTo>
                    <a:pt x="14968" y="6504"/>
                  </a:lnTo>
                  <a:lnTo>
                    <a:pt x="14981" y="6478"/>
                  </a:lnTo>
                  <a:lnTo>
                    <a:pt x="14995" y="6452"/>
                  </a:lnTo>
                  <a:lnTo>
                    <a:pt x="15006" y="6425"/>
                  </a:lnTo>
                  <a:lnTo>
                    <a:pt x="15017" y="6398"/>
                  </a:lnTo>
                  <a:lnTo>
                    <a:pt x="15028" y="6371"/>
                  </a:lnTo>
                  <a:lnTo>
                    <a:pt x="15038" y="6344"/>
                  </a:lnTo>
                  <a:lnTo>
                    <a:pt x="16044" y="3331"/>
                  </a:lnTo>
                  <a:lnTo>
                    <a:pt x="16055" y="3293"/>
                  </a:lnTo>
                  <a:lnTo>
                    <a:pt x="16065" y="3256"/>
                  </a:lnTo>
                  <a:lnTo>
                    <a:pt x="16074" y="3218"/>
                  </a:lnTo>
                  <a:lnTo>
                    <a:pt x="16081" y="3180"/>
                  </a:lnTo>
                  <a:lnTo>
                    <a:pt x="16087" y="3141"/>
                  </a:lnTo>
                  <a:lnTo>
                    <a:pt x="16091" y="3103"/>
                  </a:lnTo>
                  <a:lnTo>
                    <a:pt x="16094" y="3065"/>
                  </a:lnTo>
                  <a:lnTo>
                    <a:pt x="16095" y="3027"/>
                  </a:lnTo>
                  <a:lnTo>
                    <a:pt x="16095" y="2989"/>
                  </a:lnTo>
                  <a:lnTo>
                    <a:pt x="16093" y="2952"/>
                  </a:lnTo>
                  <a:lnTo>
                    <a:pt x="16090" y="2913"/>
                  </a:lnTo>
                  <a:lnTo>
                    <a:pt x="16086" y="2876"/>
                  </a:lnTo>
                  <a:lnTo>
                    <a:pt x="16080" y="2839"/>
                  </a:lnTo>
                  <a:lnTo>
                    <a:pt x="16073" y="2802"/>
                  </a:lnTo>
                  <a:lnTo>
                    <a:pt x="16064" y="2765"/>
                  </a:lnTo>
                  <a:lnTo>
                    <a:pt x="16054" y="2729"/>
                  </a:lnTo>
                  <a:lnTo>
                    <a:pt x="16043" y="2692"/>
                  </a:lnTo>
                  <a:lnTo>
                    <a:pt x="16030" y="2657"/>
                  </a:lnTo>
                  <a:lnTo>
                    <a:pt x="16016" y="2622"/>
                  </a:lnTo>
                  <a:lnTo>
                    <a:pt x="16000" y="2588"/>
                  </a:lnTo>
                  <a:lnTo>
                    <a:pt x="15983" y="2554"/>
                  </a:lnTo>
                  <a:lnTo>
                    <a:pt x="15966" y="2521"/>
                  </a:lnTo>
                  <a:lnTo>
                    <a:pt x="15947" y="2488"/>
                  </a:lnTo>
                  <a:lnTo>
                    <a:pt x="15926" y="2455"/>
                  </a:lnTo>
                  <a:lnTo>
                    <a:pt x="15904" y="2424"/>
                  </a:lnTo>
                  <a:lnTo>
                    <a:pt x="15882" y="2393"/>
                  </a:lnTo>
                  <a:lnTo>
                    <a:pt x="15858" y="2364"/>
                  </a:lnTo>
                  <a:lnTo>
                    <a:pt x="15831" y="2335"/>
                  </a:lnTo>
                  <a:lnTo>
                    <a:pt x="15805" y="2307"/>
                  </a:lnTo>
                  <a:lnTo>
                    <a:pt x="15777" y="2280"/>
                  </a:lnTo>
                  <a:lnTo>
                    <a:pt x="15748" y="2254"/>
                  </a:lnTo>
                  <a:lnTo>
                    <a:pt x="15718" y="222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23" name="íṡḻîḋè">
              <a:extLst>
                <a:ext uri="{FF2B5EF4-FFF2-40B4-BE49-F238E27FC236}">
                  <a16:creationId xmlns:a16="http://schemas.microsoft.com/office/drawing/2014/main" id="{6C2578F3-890F-447F-B3DC-48AC9B0FDB75}"/>
                </a:ext>
              </a:extLst>
            </p:cNvPr>
            <p:cNvSpPr/>
            <p:nvPr/>
          </p:nvSpPr>
          <p:spPr bwMode="auto">
            <a:xfrm>
              <a:off x="4421748" y="160251"/>
              <a:ext cx="344793" cy="215594"/>
            </a:xfrm>
            <a:custGeom>
              <a:avLst/>
              <a:gdLst>
                <a:gd name="T0" fmla="*/ 13020 w 16095"/>
                <a:gd name="T1" fmla="*/ 8973 h 10072"/>
                <a:gd name="T2" fmla="*/ 12851 w 16095"/>
                <a:gd name="T3" fmla="*/ 9064 h 10072"/>
                <a:gd name="T4" fmla="*/ 3118 w 16095"/>
                <a:gd name="T5" fmla="*/ 9014 h 10072"/>
                <a:gd name="T6" fmla="*/ 3021 w 16095"/>
                <a:gd name="T7" fmla="*/ 8851 h 10072"/>
                <a:gd name="T8" fmla="*/ 1042 w 16095"/>
                <a:gd name="T9" fmla="*/ 5660 h 10072"/>
                <a:gd name="T10" fmla="*/ 1195 w 16095"/>
                <a:gd name="T11" fmla="*/ 5548 h 10072"/>
                <a:gd name="T12" fmla="*/ 10059 w 16095"/>
                <a:gd name="T13" fmla="*/ 5540 h 10072"/>
                <a:gd name="T14" fmla="*/ 14935 w 16095"/>
                <a:gd name="T15" fmla="*/ 5560 h 10072"/>
                <a:gd name="T16" fmla="*/ 15069 w 16095"/>
                <a:gd name="T17" fmla="*/ 5694 h 10072"/>
                <a:gd name="T18" fmla="*/ 7182 w 16095"/>
                <a:gd name="T19" fmla="*/ 2122 h 10072"/>
                <a:gd name="T20" fmla="*/ 5328 w 16095"/>
                <a:gd name="T21" fmla="*/ 3305 h 10072"/>
                <a:gd name="T22" fmla="*/ 4445 w 16095"/>
                <a:gd name="T23" fmla="*/ 3756 h 10072"/>
                <a:gd name="T24" fmla="*/ 6257 w 16095"/>
                <a:gd name="T25" fmla="*/ 1933 h 10072"/>
                <a:gd name="T26" fmla="*/ 8794 w 16095"/>
                <a:gd name="T27" fmla="*/ 1580 h 10072"/>
                <a:gd name="T28" fmla="*/ 10814 w 16095"/>
                <a:gd name="T29" fmla="*/ 2621 h 10072"/>
                <a:gd name="T30" fmla="*/ 11031 w 16095"/>
                <a:gd name="T31" fmla="*/ 3674 h 10072"/>
                <a:gd name="T32" fmla="*/ 9553 w 16095"/>
                <a:gd name="T33" fmla="*/ 2355 h 10072"/>
                <a:gd name="T34" fmla="*/ 7924 w 16095"/>
                <a:gd name="T35" fmla="*/ 4034 h 10072"/>
                <a:gd name="T36" fmla="*/ 7322 w 16095"/>
                <a:gd name="T37" fmla="*/ 4219 h 10072"/>
                <a:gd name="T38" fmla="*/ 6384 w 16095"/>
                <a:gd name="T39" fmla="*/ 4423 h 10072"/>
                <a:gd name="T40" fmla="*/ 7147 w 16095"/>
                <a:gd name="T41" fmla="*/ 3742 h 10072"/>
                <a:gd name="T42" fmla="*/ 8185 w 16095"/>
                <a:gd name="T43" fmla="*/ 3530 h 10072"/>
                <a:gd name="T44" fmla="*/ 9169 w 16095"/>
                <a:gd name="T45" fmla="*/ 3874 h 10072"/>
                <a:gd name="T46" fmla="*/ 9138 w 16095"/>
                <a:gd name="T47" fmla="*/ 4504 h 10072"/>
                <a:gd name="T48" fmla="*/ 8633 w 16095"/>
                <a:gd name="T49" fmla="*/ 4150 h 10072"/>
                <a:gd name="T50" fmla="*/ 10349 w 16095"/>
                <a:gd name="T51" fmla="*/ 4532 h 10072"/>
                <a:gd name="T52" fmla="*/ 9438 w 16095"/>
                <a:gd name="T53" fmla="*/ 3445 h 10072"/>
                <a:gd name="T54" fmla="*/ 8048 w 16095"/>
                <a:gd name="T55" fmla="*/ 3022 h 10072"/>
                <a:gd name="T56" fmla="*/ 6657 w 16095"/>
                <a:gd name="T57" fmla="*/ 3445 h 10072"/>
                <a:gd name="T58" fmla="*/ 5746 w 16095"/>
                <a:gd name="T59" fmla="*/ 4532 h 10072"/>
                <a:gd name="T60" fmla="*/ 6200 w 16095"/>
                <a:gd name="T61" fmla="*/ 3155 h 10072"/>
                <a:gd name="T62" fmla="*/ 7925 w 16095"/>
                <a:gd name="T63" fmla="*/ 2521 h 10072"/>
                <a:gd name="T64" fmla="*/ 9633 w 16095"/>
                <a:gd name="T65" fmla="*/ 2970 h 10072"/>
                <a:gd name="T66" fmla="*/ 10773 w 16095"/>
                <a:gd name="T67" fmla="*/ 4245 h 10072"/>
                <a:gd name="T68" fmla="*/ 10173 w 16095"/>
                <a:gd name="T69" fmla="*/ 978 h 10072"/>
                <a:gd name="T70" fmla="*/ 12273 w 16095"/>
                <a:gd name="T71" fmla="*/ 2821 h 10072"/>
                <a:gd name="T72" fmla="*/ 11152 w 16095"/>
                <a:gd name="T73" fmla="*/ 2245 h 10072"/>
                <a:gd name="T74" fmla="*/ 8885 w 16095"/>
                <a:gd name="T75" fmla="*/ 1085 h 10072"/>
                <a:gd name="T76" fmla="*/ 5992 w 16095"/>
                <a:gd name="T77" fmla="*/ 1502 h 10072"/>
                <a:gd name="T78" fmla="*/ 3945 w 16095"/>
                <a:gd name="T79" fmla="*/ 3628 h 10072"/>
                <a:gd name="T80" fmla="*/ 3980 w 16095"/>
                <a:gd name="T81" fmla="*/ 2580 h 10072"/>
                <a:gd name="T82" fmla="*/ 6731 w 16095"/>
                <a:gd name="T83" fmla="*/ 679 h 10072"/>
                <a:gd name="T84" fmla="*/ 13476 w 16095"/>
                <a:gd name="T85" fmla="*/ 4487 h 10072"/>
                <a:gd name="T86" fmla="*/ 15974 w 16095"/>
                <a:gd name="T87" fmla="*/ 2845 h 10072"/>
                <a:gd name="T88" fmla="*/ 16094 w 16095"/>
                <a:gd name="T89" fmla="*/ 2486 h 10072"/>
                <a:gd name="T90" fmla="*/ 15919 w 16095"/>
                <a:gd name="T91" fmla="*/ 2135 h 10072"/>
                <a:gd name="T92" fmla="*/ 15560 w 16095"/>
                <a:gd name="T93" fmla="*/ 2015 h 10072"/>
                <a:gd name="T94" fmla="*/ 12347 w 16095"/>
                <a:gd name="T95" fmla="*/ 2066 h 10072"/>
                <a:gd name="T96" fmla="*/ 9834 w 16095"/>
                <a:gd name="T97" fmla="*/ 297 h 10072"/>
                <a:gd name="T98" fmla="*/ 6349 w 16095"/>
                <a:gd name="T99" fmla="*/ 267 h 10072"/>
                <a:gd name="T100" fmla="*/ 3404 w 16095"/>
                <a:gd name="T101" fmla="*/ 2536 h 10072"/>
                <a:gd name="T102" fmla="*/ 884 w 16095"/>
                <a:gd name="T103" fmla="*/ 4589 h 10072"/>
                <a:gd name="T104" fmla="*/ 152 w 16095"/>
                <a:gd name="T105" fmla="*/ 5192 h 10072"/>
                <a:gd name="T106" fmla="*/ 9 w 16095"/>
                <a:gd name="T107" fmla="*/ 5929 h 10072"/>
                <a:gd name="T108" fmla="*/ 123 w 16095"/>
                <a:gd name="T109" fmla="*/ 6274 h 10072"/>
                <a:gd name="T110" fmla="*/ 2038 w 16095"/>
                <a:gd name="T111" fmla="*/ 9067 h 10072"/>
                <a:gd name="T112" fmla="*/ 2567 w 16095"/>
                <a:gd name="T113" fmla="*/ 9856 h 10072"/>
                <a:gd name="T114" fmla="*/ 13017 w 16095"/>
                <a:gd name="T115" fmla="*/ 10058 h 10072"/>
                <a:gd name="T116" fmla="*/ 13833 w 16095"/>
                <a:gd name="T117" fmla="*/ 9566 h 10072"/>
                <a:gd name="T118" fmla="*/ 15856 w 16095"/>
                <a:gd name="T119" fmla="*/ 6443 h 10072"/>
                <a:gd name="T120" fmla="*/ 16037 w 16095"/>
                <a:gd name="T121" fmla="*/ 6128 h 10072"/>
                <a:gd name="T122" fmla="*/ 16093 w 16095"/>
                <a:gd name="T123" fmla="*/ 5727 h 10072"/>
                <a:gd name="T124" fmla="*/ 15683 w 16095"/>
                <a:gd name="T125" fmla="*/ 4860 h 100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95" h="10072">
                  <a:moveTo>
                    <a:pt x="13077" y="8058"/>
                  </a:moveTo>
                  <a:lnTo>
                    <a:pt x="13077" y="8813"/>
                  </a:lnTo>
                  <a:lnTo>
                    <a:pt x="13076" y="8826"/>
                  </a:lnTo>
                  <a:lnTo>
                    <a:pt x="13076" y="8838"/>
                  </a:lnTo>
                  <a:lnTo>
                    <a:pt x="13074" y="8851"/>
                  </a:lnTo>
                  <a:lnTo>
                    <a:pt x="13072" y="8863"/>
                  </a:lnTo>
                  <a:lnTo>
                    <a:pt x="13069" y="8875"/>
                  </a:lnTo>
                  <a:lnTo>
                    <a:pt x="13066" y="8888"/>
                  </a:lnTo>
                  <a:lnTo>
                    <a:pt x="13062" y="8900"/>
                  </a:lnTo>
                  <a:lnTo>
                    <a:pt x="13057" y="8911"/>
                  </a:lnTo>
                  <a:lnTo>
                    <a:pt x="13052" y="8922"/>
                  </a:lnTo>
                  <a:lnTo>
                    <a:pt x="13047" y="8933"/>
                  </a:lnTo>
                  <a:lnTo>
                    <a:pt x="13041" y="8944"/>
                  </a:lnTo>
                  <a:lnTo>
                    <a:pt x="13034" y="8954"/>
                  </a:lnTo>
                  <a:lnTo>
                    <a:pt x="13027" y="8964"/>
                  </a:lnTo>
                  <a:lnTo>
                    <a:pt x="13020" y="8973"/>
                  </a:lnTo>
                  <a:lnTo>
                    <a:pt x="13012" y="8982"/>
                  </a:lnTo>
                  <a:lnTo>
                    <a:pt x="13003" y="8991"/>
                  </a:lnTo>
                  <a:lnTo>
                    <a:pt x="12995" y="8999"/>
                  </a:lnTo>
                  <a:lnTo>
                    <a:pt x="12986" y="9007"/>
                  </a:lnTo>
                  <a:lnTo>
                    <a:pt x="12976" y="9014"/>
                  </a:lnTo>
                  <a:lnTo>
                    <a:pt x="12967" y="9021"/>
                  </a:lnTo>
                  <a:lnTo>
                    <a:pt x="12955" y="9029"/>
                  </a:lnTo>
                  <a:lnTo>
                    <a:pt x="12945" y="9035"/>
                  </a:lnTo>
                  <a:lnTo>
                    <a:pt x="12934" y="9040"/>
                  </a:lnTo>
                  <a:lnTo>
                    <a:pt x="12923" y="9045"/>
                  </a:lnTo>
                  <a:lnTo>
                    <a:pt x="12912" y="9050"/>
                  </a:lnTo>
                  <a:lnTo>
                    <a:pt x="12900" y="9054"/>
                  </a:lnTo>
                  <a:lnTo>
                    <a:pt x="12888" y="9057"/>
                  </a:lnTo>
                  <a:lnTo>
                    <a:pt x="12876" y="9060"/>
                  </a:lnTo>
                  <a:lnTo>
                    <a:pt x="12864" y="9062"/>
                  </a:lnTo>
                  <a:lnTo>
                    <a:pt x="12851" y="9064"/>
                  </a:lnTo>
                  <a:lnTo>
                    <a:pt x="12839" y="9065"/>
                  </a:lnTo>
                  <a:lnTo>
                    <a:pt x="12826" y="9065"/>
                  </a:lnTo>
                  <a:lnTo>
                    <a:pt x="3269" y="9065"/>
                  </a:lnTo>
                  <a:lnTo>
                    <a:pt x="3256" y="9065"/>
                  </a:lnTo>
                  <a:lnTo>
                    <a:pt x="3243" y="9064"/>
                  </a:lnTo>
                  <a:lnTo>
                    <a:pt x="3231" y="9062"/>
                  </a:lnTo>
                  <a:lnTo>
                    <a:pt x="3219" y="9060"/>
                  </a:lnTo>
                  <a:lnTo>
                    <a:pt x="3206" y="9057"/>
                  </a:lnTo>
                  <a:lnTo>
                    <a:pt x="3195" y="9054"/>
                  </a:lnTo>
                  <a:lnTo>
                    <a:pt x="3183" y="9050"/>
                  </a:lnTo>
                  <a:lnTo>
                    <a:pt x="3172" y="9045"/>
                  </a:lnTo>
                  <a:lnTo>
                    <a:pt x="3161" y="9040"/>
                  </a:lnTo>
                  <a:lnTo>
                    <a:pt x="3150" y="9035"/>
                  </a:lnTo>
                  <a:lnTo>
                    <a:pt x="3139" y="9029"/>
                  </a:lnTo>
                  <a:lnTo>
                    <a:pt x="3128" y="9021"/>
                  </a:lnTo>
                  <a:lnTo>
                    <a:pt x="3118" y="9014"/>
                  </a:lnTo>
                  <a:lnTo>
                    <a:pt x="3109" y="9007"/>
                  </a:lnTo>
                  <a:lnTo>
                    <a:pt x="3100" y="8999"/>
                  </a:lnTo>
                  <a:lnTo>
                    <a:pt x="3091" y="8991"/>
                  </a:lnTo>
                  <a:lnTo>
                    <a:pt x="3083" y="8982"/>
                  </a:lnTo>
                  <a:lnTo>
                    <a:pt x="3075" y="8973"/>
                  </a:lnTo>
                  <a:lnTo>
                    <a:pt x="3068" y="8964"/>
                  </a:lnTo>
                  <a:lnTo>
                    <a:pt x="3061" y="8954"/>
                  </a:lnTo>
                  <a:lnTo>
                    <a:pt x="3054" y="8944"/>
                  </a:lnTo>
                  <a:lnTo>
                    <a:pt x="3048" y="8933"/>
                  </a:lnTo>
                  <a:lnTo>
                    <a:pt x="3043" y="8922"/>
                  </a:lnTo>
                  <a:lnTo>
                    <a:pt x="3038" y="8911"/>
                  </a:lnTo>
                  <a:lnTo>
                    <a:pt x="3033" y="8900"/>
                  </a:lnTo>
                  <a:lnTo>
                    <a:pt x="3029" y="8888"/>
                  </a:lnTo>
                  <a:lnTo>
                    <a:pt x="3026" y="8875"/>
                  </a:lnTo>
                  <a:lnTo>
                    <a:pt x="3023" y="8863"/>
                  </a:lnTo>
                  <a:lnTo>
                    <a:pt x="3021" y="8851"/>
                  </a:lnTo>
                  <a:lnTo>
                    <a:pt x="3019" y="8838"/>
                  </a:lnTo>
                  <a:lnTo>
                    <a:pt x="3018" y="8826"/>
                  </a:lnTo>
                  <a:lnTo>
                    <a:pt x="3018" y="8813"/>
                  </a:lnTo>
                  <a:lnTo>
                    <a:pt x="3018" y="8058"/>
                  </a:lnTo>
                  <a:lnTo>
                    <a:pt x="1006" y="5791"/>
                  </a:lnTo>
                  <a:lnTo>
                    <a:pt x="1006" y="5778"/>
                  </a:lnTo>
                  <a:lnTo>
                    <a:pt x="1007" y="5765"/>
                  </a:lnTo>
                  <a:lnTo>
                    <a:pt x="1009" y="5753"/>
                  </a:lnTo>
                  <a:lnTo>
                    <a:pt x="1011" y="5741"/>
                  </a:lnTo>
                  <a:lnTo>
                    <a:pt x="1014" y="5729"/>
                  </a:lnTo>
                  <a:lnTo>
                    <a:pt x="1017" y="5717"/>
                  </a:lnTo>
                  <a:lnTo>
                    <a:pt x="1021" y="5705"/>
                  </a:lnTo>
                  <a:lnTo>
                    <a:pt x="1026" y="5694"/>
                  </a:lnTo>
                  <a:lnTo>
                    <a:pt x="1031" y="5683"/>
                  </a:lnTo>
                  <a:lnTo>
                    <a:pt x="1036" y="5672"/>
                  </a:lnTo>
                  <a:lnTo>
                    <a:pt x="1042" y="5660"/>
                  </a:lnTo>
                  <a:lnTo>
                    <a:pt x="1049" y="5650"/>
                  </a:lnTo>
                  <a:lnTo>
                    <a:pt x="1056" y="5641"/>
                  </a:lnTo>
                  <a:lnTo>
                    <a:pt x="1063" y="5631"/>
                  </a:lnTo>
                  <a:lnTo>
                    <a:pt x="1071" y="5622"/>
                  </a:lnTo>
                  <a:lnTo>
                    <a:pt x="1079" y="5613"/>
                  </a:lnTo>
                  <a:lnTo>
                    <a:pt x="1088" y="5605"/>
                  </a:lnTo>
                  <a:lnTo>
                    <a:pt x="1097" y="5597"/>
                  </a:lnTo>
                  <a:lnTo>
                    <a:pt x="1107" y="5590"/>
                  </a:lnTo>
                  <a:lnTo>
                    <a:pt x="1117" y="5583"/>
                  </a:lnTo>
                  <a:lnTo>
                    <a:pt x="1127" y="5576"/>
                  </a:lnTo>
                  <a:lnTo>
                    <a:pt x="1138" y="5570"/>
                  </a:lnTo>
                  <a:lnTo>
                    <a:pt x="1149" y="5565"/>
                  </a:lnTo>
                  <a:lnTo>
                    <a:pt x="1160" y="5560"/>
                  </a:lnTo>
                  <a:lnTo>
                    <a:pt x="1171" y="5555"/>
                  </a:lnTo>
                  <a:lnTo>
                    <a:pt x="1183" y="5551"/>
                  </a:lnTo>
                  <a:lnTo>
                    <a:pt x="1195" y="5548"/>
                  </a:lnTo>
                  <a:lnTo>
                    <a:pt x="1207" y="5545"/>
                  </a:lnTo>
                  <a:lnTo>
                    <a:pt x="1219" y="5543"/>
                  </a:lnTo>
                  <a:lnTo>
                    <a:pt x="1231" y="5541"/>
                  </a:lnTo>
                  <a:lnTo>
                    <a:pt x="1244" y="5541"/>
                  </a:lnTo>
                  <a:lnTo>
                    <a:pt x="1257" y="5540"/>
                  </a:lnTo>
                  <a:lnTo>
                    <a:pt x="2515" y="5540"/>
                  </a:lnTo>
                  <a:lnTo>
                    <a:pt x="3018" y="5540"/>
                  </a:lnTo>
                  <a:lnTo>
                    <a:pt x="3521" y="5540"/>
                  </a:lnTo>
                  <a:lnTo>
                    <a:pt x="4024" y="5540"/>
                  </a:lnTo>
                  <a:lnTo>
                    <a:pt x="4527" y="5540"/>
                  </a:lnTo>
                  <a:lnTo>
                    <a:pt x="5030" y="5540"/>
                  </a:lnTo>
                  <a:lnTo>
                    <a:pt x="5533" y="5540"/>
                  </a:lnTo>
                  <a:lnTo>
                    <a:pt x="6036" y="5540"/>
                  </a:lnTo>
                  <a:lnTo>
                    <a:pt x="6539" y="5540"/>
                  </a:lnTo>
                  <a:lnTo>
                    <a:pt x="9556" y="5540"/>
                  </a:lnTo>
                  <a:lnTo>
                    <a:pt x="10059" y="5540"/>
                  </a:lnTo>
                  <a:lnTo>
                    <a:pt x="10562" y="5540"/>
                  </a:lnTo>
                  <a:lnTo>
                    <a:pt x="11065" y="5540"/>
                  </a:lnTo>
                  <a:lnTo>
                    <a:pt x="11568" y="5540"/>
                  </a:lnTo>
                  <a:lnTo>
                    <a:pt x="12071" y="5540"/>
                  </a:lnTo>
                  <a:lnTo>
                    <a:pt x="12574" y="5540"/>
                  </a:lnTo>
                  <a:lnTo>
                    <a:pt x="13077" y="5540"/>
                  </a:lnTo>
                  <a:lnTo>
                    <a:pt x="13580" y="5540"/>
                  </a:lnTo>
                  <a:lnTo>
                    <a:pt x="14838" y="5540"/>
                  </a:lnTo>
                  <a:lnTo>
                    <a:pt x="14851" y="5541"/>
                  </a:lnTo>
                  <a:lnTo>
                    <a:pt x="14863" y="5541"/>
                  </a:lnTo>
                  <a:lnTo>
                    <a:pt x="14876" y="5543"/>
                  </a:lnTo>
                  <a:lnTo>
                    <a:pt x="14888" y="5545"/>
                  </a:lnTo>
                  <a:lnTo>
                    <a:pt x="14900" y="5548"/>
                  </a:lnTo>
                  <a:lnTo>
                    <a:pt x="14912" y="5551"/>
                  </a:lnTo>
                  <a:lnTo>
                    <a:pt x="14924" y="5555"/>
                  </a:lnTo>
                  <a:lnTo>
                    <a:pt x="14935" y="5560"/>
                  </a:lnTo>
                  <a:lnTo>
                    <a:pt x="14946" y="5565"/>
                  </a:lnTo>
                  <a:lnTo>
                    <a:pt x="14957" y="5570"/>
                  </a:lnTo>
                  <a:lnTo>
                    <a:pt x="14967" y="5576"/>
                  </a:lnTo>
                  <a:lnTo>
                    <a:pt x="14977" y="5583"/>
                  </a:lnTo>
                  <a:lnTo>
                    <a:pt x="14987" y="5590"/>
                  </a:lnTo>
                  <a:lnTo>
                    <a:pt x="14998" y="5597"/>
                  </a:lnTo>
                  <a:lnTo>
                    <a:pt x="15007" y="5605"/>
                  </a:lnTo>
                  <a:lnTo>
                    <a:pt x="15015" y="5613"/>
                  </a:lnTo>
                  <a:lnTo>
                    <a:pt x="15024" y="5622"/>
                  </a:lnTo>
                  <a:lnTo>
                    <a:pt x="15032" y="5631"/>
                  </a:lnTo>
                  <a:lnTo>
                    <a:pt x="15039" y="5641"/>
                  </a:lnTo>
                  <a:lnTo>
                    <a:pt x="15046" y="5650"/>
                  </a:lnTo>
                  <a:lnTo>
                    <a:pt x="15052" y="5660"/>
                  </a:lnTo>
                  <a:lnTo>
                    <a:pt x="15058" y="5672"/>
                  </a:lnTo>
                  <a:lnTo>
                    <a:pt x="15064" y="5683"/>
                  </a:lnTo>
                  <a:lnTo>
                    <a:pt x="15069" y="5694"/>
                  </a:lnTo>
                  <a:lnTo>
                    <a:pt x="15073" y="5705"/>
                  </a:lnTo>
                  <a:lnTo>
                    <a:pt x="15077" y="5717"/>
                  </a:lnTo>
                  <a:lnTo>
                    <a:pt x="15081" y="5729"/>
                  </a:lnTo>
                  <a:lnTo>
                    <a:pt x="15084" y="5741"/>
                  </a:lnTo>
                  <a:lnTo>
                    <a:pt x="15086" y="5753"/>
                  </a:lnTo>
                  <a:lnTo>
                    <a:pt x="15087" y="5765"/>
                  </a:lnTo>
                  <a:lnTo>
                    <a:pt x="15088" y="5778"/>
                  </a:lnTo>
                  <a:lnTo>
                    <a:pt x="15089" y="5791"/>
                  </a:lnTo>
                  <a:lnTo>
                    <a:pt x="13077" y="8058"/>
                  </a:lnTo>
                  <a:close/>
                  <a:moveTo>
                    <a:pt x="8048" y="2014"/>
                  </a:moveTo>
                  <a:lnTo>
                    <a:pt x="7899" y="2017"/>
                  </a:lnTo>
                  <a:lnTo>
                    <a:pt x="7752" y="2027"/>
                  </a:lnTo>
                  <a:lnTo>
                    <a:pt x="7607" y="2042"/>
                  </a:lnTo>
                  <a:lnTo>
                    <a:pt x="7463" y="2063"/>
                  </a:lnTo>
                  <a:lnTo>
                    <a:pt x="7321" y="2090"/>
                  </a:lnTo>
                  <a:lnTo>
                    <a:pt x="7182" y="2122"/>
                  </a:lnTo>
                  <a:lnTo>
                    <a:pt x="7045" y="2160"/>
                  </a:lnTo>
                  <a:lnTo>
                    <a:pt x="6910" y="2204"/>
                  </a:lnTo>
                  <a:lnTo>
                    <a:pt x="6777" y="2252"/>
                  </a:lnTo>
                  <a:lnTo>
                    <a:pt x="6647" y="2306"/>
                  </a:lnTo>
                  <a:lnTo>
                    <a:pt x="6519" y="2364"/>
                  </a:lnTo>
                  <a:lnTo>
                    <a:pt x="6395" y="2428"/>
                  </a:lnTo>
                  <a:lnTo>
                    <a:pt x="6273" y="2496"/>
                  </a:lnTo>
                  <a:lnTo>
                    <a:pt x="6154" y="2569"/>
                  </a:lnTo>
                  <a:lnTo>
                    <a:pt x="6040" y="2646"/>
                  </a:lnTo>
                  <a:lnTo>
                    <a:pt x="5927" y="2729"/>
                  </a:lnTo>
                  <a:lnTo>
                    <a:pt x="5818" y="2814"/>
                  </a:lnTo>
                  <a:lnTo>
                    <a:pt x="5713" y="2905"/>
                  </a:lnTo>
                  <a:lnTo>
                    <a:pt x="5611" y="2998"/>
                  </a:lnTo>
                  <a:lnTo>
                    <a:pt x="5514" y="3097"/>
                  </a:lnTo>
                  <a:lnTo>
                    <a:pt x="5419" y="3199"/>
                  </a:lnTo>
                  <a:lnTo>
                    <a:pt x="5328" y="3305"/>
                  </a:lnTo>
                  <a:lnTo>
                    <a:pt x="5243" y="3413"/>
                  </a:lnTo>
                  <a:lnTo>
                    <a:pt x="5161" y="3525"/>
                  </a:lnTo>
                  <a:lnTo>
                    <a:pt x="5084" y="3641"/>
                  </a:lnTo>
                  <a:lnTo>
                    <a:pt x="5011" y="3760"/>
                  </a:lnTo>
                  <a:lnTo>
                    <a:pt x="4943" y="3882"/>
                  </a:lnTo>
                  <a:lnTo>
                    <a:pt x="4879" y="4007"/>
                  </a:lnTo>
                  <a:lnTo>
                    <a:pt x="4820" y="4135"/>
                  </a:lnTo>
                  <a:lnTo>
                    <a:pt x="4767" y="4265"/>
                  </a:lnTo>
                  <a:lnTo>
                    <a:pt x="4719" y="4397"/>
                  </a:lnTo>
                  <a:lnTo>
                    <a:pt x="4675" y="4532"/>
                  </a:lnTo>
                  <a:lnTo>
                    <a:pt x="4156" y="4532"/>
                  </a:lnTo>
                  <a:lnTo>
                    <a:pt x="4201" y="4371"/>
                  </a:lnTo>
                  <a:lnTo>
                    <a:pt x="4253" y="4213"/>
                  </a:lnTo>
                  <a:lnTo>
                    <a:pt x="4311" y="4057"/>
                  </a:lnTo>
                  <a:lnTo>
                    <a:pt x="4375" y="3905"/>
                  </a:lnTo>
                  <a:lnTo>
                    <a:pt x="4445" y="3756"/>
                  </a:lnTo>
                  <a:lnTo>
                    <a:pt x="4522" y="3610"/>
                  </a:lnTo>
                  <a:lnTo>
                    <a:pt x="4603" y="3468"/>
                  </a:lnTo>
                  <a:lnTo>
                    <a:pt x="4690" y="3329"/>
                  </a:lnTo>
                  <a:lnTo>
                    <a:pt x="4782" y="3194"/>
                  </a:lnTo>
                  <a:lnTo>
                    <a:pt x="4881" y="3063"/>
                  </a:lnTo>
                  <a:lnTo>
                    <a:pt x="4983" y="2937"/>
                  </a:lnTo>
                  <a:lnTo>
                    <a:pt x="5091" y="2814"/>
                  </a:lnTo>
                  <a:lnTo>
                    <a:pt x="5204" y="2696"/>
                  </a:lnTo>
                  <a:lnTo>
                    <a:pt x="5320" y="2583"/>
                  </a:lnTo>
                  <a:lnTo>
                    <a:pt x="5442" y="2475"/>
                  </a:lnTo>
                  <a:lnTo>
                    <a:pt x="5568" y="2371"/>
                  </a:lnTo>
                  <a:lnTo>
                    <a:pt x="5699" y="2273"/>
                  </a:lnTo>
                  <a:lnTo>
                    <a:pt x="5832" y="2180"/>
                  </a:lnTo>
                  <a:lnTo>
                    <a:pt x="5970" y="2092"/>
                  </a:lnTo>
                  <a:lnTo>
                    <a:pt x="6112" y="2009"/>
                  </a:lnTo>
                  <a:lnTo>
                    <a:pt x="6257" y="1933"/>
                  </a:lnTo>
                  <a:lnTo>
                    <a:pt x="6406" y="1862"/>
                  </a:lnTo>
                  <a:lnTo>
                    <a:pt x="6558" y="1798"/>
                  </a:lnTo>
                  <a:lnTo>
                    <a:pt x="6713" y="1739"/>
                  </a:lnTo>
                  <a:lnTo>
                    <a:pt x="6872" y="1687"/>
                  </a:lnTo>
                  <a:lnTo>
                    <a:pt x="7032" y="1642"/>
                  </a:lnTo>
                  <a:lnTo>
                    <a:pt x="7195" y="1602"/>
                  </a:lnTo>
                  <a:lnTo>
                    <a:pt x="7361" y="1570"/>
                  </a:lnTo>
                  <a:lnTo>
                    <a:pt x="7529" y="1544"/>
                  </a:lnTo>
                  <a:lnTo>
                    <a:pt x="7700" y="1526"/>
                  </a:lnTo>
                  <a:lnTo>
                    <a:pt x="7872" y="1515"/>
                  </a:lnTo>
                  <a:lnTo>
                    <a:pt x="8048" y="1511"/>
                  </a:lnTo>
                  <a:lnTo>
                    <a:pt x="8199" y="1514"/>
                  </a:lnTo>
                  <a:lnTo>
                    <a:pt x="8350" y="1522"/>
                  </a:lnTo>
                  <a:lnTo>
                    <a:pt x="8500" y="1536"/>
                  </a:lnTo>
                  <a:lnTo>
                    <a:pt x="8648" y="1556"/>
                  </a:lnTo>
                  <a:lnTo>
                    <a:pt x="8794" y="1580"/>
                  </a:lnTo>
                  <a:lnTo>
                    <a:pt x="8939" y="1611"/>
                  </a:lnTo>
                  <a:lnTo>
                    <a:pt x="9081" y="1646"/>
                  </a:lnTo>
                  <a:lnTo>
                    <a:pt x="9221" y="1686"/>
                  </a:lnTo>
                  <a:lnTo>
                    <a:pt x="9359" y="1731"/>
                  </a:lnTo>
                  <a:lnTo>
                    <a:pt x="9495" y="1782"/>
                  </a:lnTo>
                  <a:lnTo>
                    <a:pt x="9629" y="1836"/>
                  </a:lnTo>
                  <a:lnTo>
                    <a:pt x="9760" y="1896"/>
                  </a:lnTo>
                  <a:lnTo>
                    <a:pt x="9888" y="1959"/>
                  </a:lnTo>
                  <a:lnTo>
                    <a:pt x="10014" y="2028"/>
                  </a:lnTo>
                  <a:lnTo>
                    <a:pt x="10138" y="2100"/>
                  </a:lnTo>
                  <a:lnTo>
                    <a:pt x="10259" y="2177"/>
                  </a:lnTo>
                  <a:lnTo>
                    <a:pt x="10375" y="2258"/>
                  </a:lnTo>
                  <a:lnTo>
                    <a:pt x="10490" y="2343"/>
                  </a:lnTo>
                  <a:lnTo>
                    <a:pt x="10602" y="2431"/>
                  </a:lnTo>
                  <a:lnTo>
                    <a:pt x="10709" y="2524"/>
                  </a:lnTo>
                  <a:lnTo>
                    <a:pt x="10814" y="2621"/>
                  </a:lnTo>
                  <a:lnTo>
                    <a:pt x="10915" y="2720"/>
                  </a:lnTo>
                  <a:lnTo>
                    <a:pt x="11013" y="2824"/>
                  </a:lnTo>
                  <a:lnTo>
                    <a:pt x="11108" y="2931"/>
                  </a:lnTo>
                  <a:lnTo>
                    <a:pt x="11197" y="3041"/>
                  </a:lnTo>
                  <a:lnTo>
                    <a:pt x="11284" y="3154"/>
                  </a:lnTo>
                  <a:lnTo>
                    <a:pt x="11366" y="3270"/>
                  </a:lnTo>
                  <a:lnTo>
                    <a:pt x="11445" y="3390"/>
                  </a:lnTo>
                  <a:lnTo>
                    <a:pt x="11519" y="3512"/>
                  </a:lnTo>
                  <a:lnTo>
                    <a:pt x="11589" y="3637"/>
                  </a:lnTo>
                  <a:lnTo>
                    <a:pt x="11655" y="3765"/>
                  </a:lnTo>
                  <a:lnTo>
                    <a:pt x="11716" y="3895"/>
                  </a:lnTo>
                  <a:lnTo>
                    <a:pt x="11268" y="4120"/>
                  </a:lnTo>
                  <a:lnTo>
                    <a:pt x="11214" y="4006"/>
                  </a:lnTo>
                  <a:lnTo>
                    <a:pt x="11157" y="3893"/>
                  </a:lnTo>
                  <a:lnTo>
                    <a:pt x="11095" y="3782"/>
                  </a:lnTo>
                  <a:lnTo>
                    <a:pt x="11031" y="3674"/>
                  </a:lnTo>
                  <a:lnTo>
                    <a:pt x="10963" y="3569"/>
                  </a:lnTo>
                  <a:lnTo>
                    <a:pt x="10890" y="3466"/>
                  </a:lnTo>
                  <a:lnTo>
                    <a:pt x="10815" y="3366"/>
                  </a:lnTo>
                  <a:lnTo>
                    <a:pt x="10735" y="3268"/>
                  </a:lnTo>
                  <a:lnTo>
                    <a:pt x="10653" y="3175"/>
                  </a:lnTo>
                  <a:lnTo>
                    <a:pt x="10567" y="3083"/>
                  </a:lnTo>
                  <a:lnTo>
                    <a:pt x="10479" y="2995"/>
                  </a:lnTo>
                  <a:lnTo>
                    <a:pt x="10387" y="2910"/>
                  </a:lnTo>
                  <a:lnTo>
                    <a:pt x="10292" y="2828"/>
                  </a:lnTo>
                  <a:lnTo>
                    <a:pt x="10194" y="2750"/>
                  </a:lnTo>
                  <a:lnTo>
                    <a:pt x="10095" y="2675"/>
                  </a:lnTo>
                  <a:lnTo>
                    <a:pt x="9991" y="2604"/>
                  </a:lnTo>
                  <a:lnTo>
                    <a:pt x="9885" y="2535"/>
                  </a:lnTo>
                  <a:lnTo>
                    <a:pt x="9777" y="2471"/>
                  </a:lnTo>
                  <a:lnTo>
                    <a:pt x="9666" y="2411"/>
                  </a:lnTo>
                  <a:lnTo>
                    <a:pt x="9553" y="2355"/>
                  </a:lnTo>
                  <a:lnTo>
                    <a:pt x="9438" y="2301"/>
                  </a:lnTo>
                  <a:lnTo>
                    <a:pt x="9321" y="2254"/>
                  </a:lnTo>
                  <a:lnTo>
                    <a:pt x="9201" y="2210"/>
                  </a:lnTo>
                  <a:lnTo>
                    <a:pt x="9080" y="2170"/>
                  </a:lnTo>
                  <a:lnTo>
                    <a:pt x="8956" y="2134"/>
                  </a:lnTo>
                  <a:lnTo>
                    <a:pt x="8831" y="2103"/>
                  </a:lnTo>
                  <a:lnTo>
                    <a:pt x="8704" y="2076"/>
                  </a:lnTo>
                  <a:lnTo>
                    <a:pt x="8576" y="2055"/>
                  </a:lnTo>
                  <a:lnTo>
                    <a:pt x="8446" y="2037"/>
                  </a:lnTo>
                  <a:lnTo>
                    <a:pt x="8314" y="2025"/>
                  </a:lnTo>
                  <a:lnTo>
                    <a:pt x="8181" y="2017"/>
                  </a:lnTo>
                  <a:lnTo>
                    <a:pt x="8048" y="2014"/>
                  </a:lnTo>
                  <a:close/>
                  <a:moveTo>
                    <a:pt x="8048" y="4029"/>
                  </a:moveTo>
                  <a:lnTo>
                    <a:pt x="8006" y="4030"/>
                  </a:lnTo>
                  <a:lnTo>
                    <a:pt x="7965" y="4031"/>
                  </a:lnTo>
                  <a:lnTo>
                    <a:pt x="7924" y="4034"/>
                  </a:lnTo>
                  <a:lnTo>
                    <a:pt x="7884" y="4038"/>
                  </a:lnTo>
                  <a:lnTo>
                    <a:pt x="7843" y="4043"/>
                  </a:lnTo>
                  <a:lnTo>
                    <a:pt x="7803" y="4049"/>
                  </a:lnTo>
                  <a:lnTo>
                    <a:pt x="7764" y="4056"/>
                  </a:lnTo>
                  <a:lnTo>
                    <a:pt x="7725" y="4064"/>
                  </a:lnTo>
                  <a:lnTo>
                    <a:pt x="7685" y="4074"/>
                  </a:lnTo>
                  <a:lnTo>
                    <a:pt x="7647" y="4084"/>
                  </a:lnTo>
                  <a:lnTo>
                    <a:pt x="7609" y="4095"/>
                  </a:lnTo>
                  <a:lnTo>
                    <a:pt x="7572" y="4107"/>
                  </a:lnTo>
                  <a:lnTo>
                    <a:pt x="7534" y="4120"/>
                  </a:lnTo>
                  <a:lnTo>
                    <a:pt x="7498" y="4135"/>
                  </a:lnTo>
                  <a:lnTo>
                    <a:pt x="7462" y="4150"/>
                  </a:lnTo>
                  <a:lnTo>
                    <a:pt x="7426" y="4166"/>
                  </a:lnTo>
                  <a:lnTo>
                    <a:pt x="7391" y="4183"/>
                  </a:lnTo>
                  <a:lnTo>
                    <a:pt x="7356" y="4200"/>
                  </a:lnTo>
                  <a:lnTo>
                    <a:pt x="7322" y="4219"/>
                  </a:lnTo>
                  <a:lnTo>
                    <a:pt x="7289" y="4238"/>
                  </a:lnTo>
                  <a:lnTo>
                    <a:pt x="7256" y="4258"/>
                  </a:lnTo>
                  <a:lnTo>
                    <a:pt x="7223" y="4280"/>
                  </a:lnTo>
                  <a:lnTo>
                    <a:pt x="7190" y="4302"/>
                  </a:lnTo>
                  <a:lnTo>
                    <a:pt x="7159" y="4325"/>
                  </a:lnTo>
                  <a:lnTo>
                    <a:pt x="7129" y="4348"/>
                  </a:lnTo>
                  <a:lnTo>
                    <a:pt x="7098" y="4372"/>
                  </a:lnTo>
                  <a:lnTo>
                    <a:pt x="7069" y="4397"/>
                  </a:lnTo>
                  <a:lnTo>
                    <a:pt x="7040" y="4423"/>
                  </a:lnTo>
                  <a:lnTo>
                    <a:pt x="7011" y="4449"/>
                  </a:lnTo>
                  <a:lnTo>
                    <a:pt x="6984" y="4476"/>
                  </a:lnTo>
                  <a:lnTo>
                    <a:pt x="6957" y="4504"/>
                  </a:lnTo>
                  <a:lnTo>
                    <a:pt x="6931" y="4532"/>
                  </a:lnTo>
                  <a:lnTo>
                    <a:pt x="6315" y="4532"/>
                  </a:lnTo>
                  <a:lnTo>
                    <a:pt x="6348" y="4477"/>
                  </a:lnTo>
                  <a:lnTo>
                    <a:pt x="6384" y="4423"/>
                  </a:lnTo>
                  <a:lnTo>
                    <a:pt x="6421" y="4369"/>
                  </a:lnTo>
                  <a:lnTo>
                    <a:pt x="6459" y="4317"/>
                  </a:lnTo>
                  <a:lnTo>
                    <a:pt x="6499" y="4267"/>
                  </a:lnTo>
                  <a:lnTo>
                    <a:pt x="6541" y="4217"/>
                  </a:lnTo>
                  <a:lnTo>
                    <a:pt x="6584" y="4169"/>
                  </a:lnTo>
                  <a:lnTo>
                    <a:pt x="6629" y="4122"/>
                  </a:lnTo>
                  <a:lnTo>
                    <a:pt x="6674" y="4077"/>
                  </a:lnTo>
                  <a:lnTo>
                    <a:pt x="6723" y="4034"/>
                  </a:lnTo>
                  <a:lnTo>
                    <a:pt x="6771" y="3992"/>
                  </a:lnTo>
                  <a:lnTo>
                    <a:pt x="6821" y="3950"/>
                  </a:lnTo>
                  <a:lnTo>
                    <a:pt x="6873" y="3912"/>
                  </a:lnTo>
                  <a:lnTo>
                    <a:pt x="6925" y="3874"/>
                  </a:lnTo>
                  <a:lnTo>
                    <a:pt x="6979" y="3838"/>
                  </a:lnTo>
                  <a:lnTo>
                    <a:pt x="7035" y="3804"/>
                  </a:lnTo>
                  <a:lnTo>
                    <a:pt x="7090" y="3772"/>
                  </a:lnTo>
                  <a:lnTo>
                    <a:pt x="7147" y="3742"/>
                  </a:lnTo>
                  <a:lnTo>
                    <a:pt x="7207" y="3713"/>
                  </a:lnTo>
                  <a:lnTo>
                    <a:pt x="7266" y="3686"/>
                  </a:lnTo>
                  <a:lnTo>
                    <a:pt x="7326" y="3661"/>
                  </a:lnTo>
                  <a:lnTo>
                    <a:pt x="7388" y="3638"/>
                  </a:lnTo>
                  <a:lnTo>
                    <a:pt x="7450" y="3618"/>
                  </a:lnTo>
                  <a:lnTo>
                    <a:pt x="7513" y="3599"/>
                  </a:lnTo>
                  <a:lnTo>
                    <a:pt x="7577" y="3582"/>
                  </a:lnTo>
                  <a:lnTo>
                    <a:pt x="7642" y="3567"/>
                  </a:lnTo>
                  <a:lnTo>
                    <a:pt x="7707" y="3554"/>
                  </a:lnTo>
                  <a:lnTo>
                    <a:pt x="7774" y="3544"/>
                  </a:lnTo>
                  <a:lnTo>
                    <a:pt x="7841" y="3536"/>
                  </a:lnTo>
                  <a:lnTo>
                    <a:pt x="7910" y="3530"/>
                  </a:lnTo>
                  <a:lnTo>
                    <a:pt x="7978" y="3526"/>
                  </a:lnTo>
                  <a:lnTo>
                    <a:pt x="8048" y="3525"/>
                  </a:lnTo>
                  <a:lnTo>
                    <a:pt x="8117" y="3526"/>
                  </a:lnTo>
                  <a:lnTo>
                    <a:pt x="8185" y="3530"/>
                  </a:lnTo>
                  <a:lnTo>
                    <a:pt x="8253" y="3536"/>
                  </a:lnTo>
                  <a:lnTo>
                    <a:pt x="8320" y="3544"/>
                  </a:lnTo>
                  <a:lnTo>
                    <a:pt x="8387" y="3554"/>
                  </a:lnTo>
                  <a:lnTo>
                    <a:pt x="8453" y="3567"/>
                  </a:lnTo>
                  <a:lnTo>
                    <a:pt x="8517" y="3582"/>
                  </a:lnTo>
                  <a:lnTo>
                    <a:pt x="8582" y="3599"/>
                  </a:lnTo>
                  <a:lnTo>
                    <a:pt x="8645" y="3618"/>
                  </a:lnTo>
                  <a:lnTo>
                    <a:pt x="8707" y="3638"/>
                  </a:lnTo>
                  <a:lnTo>
                    <a:pt x="8769" y="3661"/>
                  </a:lnTo>
                  <a:lnTo>
                    <a:pt x="8829" y="3686"/>
                  </a:lnTo>
                  <a:lnTo>
                    <a:pt x="8888" y="3713"/>
                  </a:lnTo>
                  <a:lnTo>
                    <a:pt x="8947" y="3742"/>
                  </a:lnTo>
                  <a:lnTo>
                    <a:pt x="9004" y="3772"/>
                  </a:lnTo>
                  <a:lnTo>
                    <a:pt x="9060" y="3804"/>
                  </a:lnTo>
                  <a:lnTo>
                    <a:pt x="9116" y="3838"/>
                  </a:lnTo>
                  <a:lnTo>
                    <a:pt x="9169" y="3874"/>
                  </a:lnTo>
                  <a:lnTo>
                    <a:pt x="9222" y="3912"/>
                  </a:lnTo>
                  <a:lnTo>
                    <a:pt x="9274" y="3950"/>
                  </a:lnTo>
                  <a:lnTo>
                    <a:pt x="9324" y="3992"/>
                  </a:lnTo>
                  <a:lnTo>
                    <a:pt x="9372" y="4034"/>
                  </a:lnTo>
                  <a:lnTo>
                    <a:pt x="9420" y="4077"/>
                  </a:lnTo>
                  <a:lnTo>
                    <a:pt x="9466" y="4122"/>
                  </a:lnTo>
                  <a:lnTo>
                    <a:pt x="9510" y="4169"/>
                  </a:lnTo>
                  <a:lnTo>
                    <a:pt x="9553" y="4217"/>
                  </a:lnTo>
                  <a:lnTo>
                    <a:pt x="9596" y="4267"/>
                  </a:lnTo>
                  <a:lnTo>
                    <a:pt x="9635" y="4317"/>
                  </a:lnTo>
                  <a:lnTo>
                    <a:pt x="9674" y="4369"/>
                  </a:lnTo>
                  <a:lnTo>
                    <a:pt x="9710" y="4423"/>
                  </a:lnTo>
                  <a:lnTo>
                    <a:pt x="9747" y="4477"/>
                  </a:lnTo>
                  <a:lnTo>
                    <a:pt x="9780" y="4532"/>
                  </a:lnTo>
                  <a:lnTo>
                    <a:pt x="9164" y="4532"/>
                  </a:lnTo>
                  <a:lnTo>
                    <a:pt x="9138" y="4504"/>
                  </a:lnTo>
                  <a:lnTo>
                    <a:pt x="9111" y="4476"/>
                  </a:lnTo>
                  <a:lnTo>
                    <a:pt x="9083" y="4449"/>
                  </a:lnTo>
                  <a:lnTo>
                    <a:pt x="9054" y="4423"/>
                  </a:lnTo>
                  <a:lnTo>
                    <a:pt x="9025" y="4397"/>
                  </a:lnTo>
                  <a:lnTo>
                    <a:pt x="8996" y="4372"/>
                  </a:lnTo>
                  <a:lnTo>
                    <a:pt x="8966" y="4348"/>
                  </a:lnTo>
                  <a:lnTo>
                    <a:pt x="8935" y="4325"/>
                  </a:lnTo>
                  <a:lnTo>
                    <a:pt x="8904" y="4302"/>
                  </a:lnTo>
                  <a:lnTo>
                    <a:pt x="8871" y="4280"/>
                  </a:lnTo>
                  <a:lnTo>
                    <a:pt x="8839" y="4258"/>
                  </a:lnTo>
                  <a:lnTo>
                    <a:pt x="8806" y="4238"/>
                  </a:lnTo>
                  <a:lnTo>
                    <a:pt x="8773" y="4219"/>
                  </a:lnTo>
                  <a:lnTo>
                    <a:pt x="8739" y="4200"/>
                  </a:lnTo>
                  <a:lnTo>
                    <a:pt x="8703" y="4183"/>
                  </a:lnTo>
                  <a:lnTo>
                    <a:pt x="8668" y="4166"/>
                  </a:lnTo>
                  <a:lnTo>
                    <a:pt x="8633" y="4150"/>
                  </a:lnTo>
                  <a:lnTo>
                    <a:pt x="8597" y="4135"/>
                  </a:lnTo>
                  <a:lnTo>
                    <a:pt x="8560" y="4120"/>
                  </a:lnTo>
                  <a:lnTo>
                    <a:pt x="8523" y="4107"/>
                  </a:lnTo>
                  <a:lnTo>
                    <a:pt x="8485" y="4095"/>
                  </a:lnTo>
                  <a:lnTo>
                    <a:pt x="8447" y="4084"/>
                  </a:lnTo>
                  <a:lnTo>
                    <a:pt x="8409" y="4074"/>
                  </a:lnTo>
                  <a:lnTo>
                    <a:pt x="8370" y="4064"/>
                  </a:lnTo>
                  <a:lnTo>
                    <a:pt x="8331" y="4056"/>
                  </a:lnTo>
                  <a:lnTo>
                    <a:pt x="8292" y="4049"/>
                  </a:lnTo>
                  <a:lnTo>
                    <a:pt x="8252" y="4043"/>
                  </a:lnTo>
                  <a:lnTo>
                    <a:pt x="8211" y="4038"/>
                  </a:lnTo>
                  <a:lnTo>
                    <a:pt x="8171" y="4034"/>
                  </a:lnTo>
                  <a:lnTo>
                    <a:pt x="8130" y="4031"/>
                  </a:lnTo>
                  <a:lnTo>
                    <a:pt x="8089" y="4030"/>
                  </a:lnTo>
                  <a:lnTo>
                    <a:pt x="8048" y="4029"/>
                  </a:lnTo>
                  <a:close/>
                  <a:moveTo>
                    <a:pt x="10349" y="4532"/>
                  </a:moveTo>
                  <a:lnTo>
                    <a:pt x="10311" y="4450"/>
                  </a:lnTo>
                  <a:lnTo>
                    <a:pt x="10271" y="4369"/>
                  </a:lnTo>
                  <a:lnTo>
                    <a:pt x="10226" y="4290"/>
                  </a:lnTo>
                  <a:lnTo>
                    <a:pt x="10180" y="4213"/>
                  </a:lnTo>
                  <a:lnTo>
                    <a:pt x="10132" y="4138"/>
                  </a:lnTo>
                  <a:lnTo>
                    <a:pt x="10079" y="4063"/>
                  </a:lnTo>
                  <a:lnTo>
                    <a:pt x="10026" y="3992"/>
                  </a:lnTo>
                  <a:lnTo>
                    <a:pt x="9970" y="3922"/>
                  </a:lnTo>
                  <a:lnTo>
                    <a:pt x="9910" y="3855"/>
                  </a:lnTo>
                  <a:lnTo>
                    <a:pt x="9850" y="3789"/>
                  </a:lnTo>
                  <a:lnTo>
                    <a:pt x="9787" y="3726"/>
                  </a:lnTo>
                  <a:lnTo>
                    <a:pt x="9720" y="3664"/>
                  </a:lnTo>
                  <a:lnTo>
                    <a:pt x="9653" y="3606"/>
                  </a:lnTo>
                  <a:lnTo>
                    <a:pt x="9584" y="3549"/>
                  </a:lnTo>
                  <a:lnTo>
                    <a:pt x="9511" y="3496"/>
                  </a:lnTo>
                  <a:lnTo>
                    <a:pt x="9438" y="3445"/>
                  </a:lnTo>
                  <a:lnTo>
                    <a:pt x="9362" y="3395"/>
                  </a:lnTo>
                  <a:lnTo>
                    <a:pt x="9285" y="3350"/>
                  </a:lnTo>
                  <a:lnTo>
                    <a:pt x="9205" y="3307"/>
                  </a:lnTo>
                  <a:lnTo>
                    <a:pt x="9125" y="3265"/>
                  </a:lnTo>
                  <a:lnTo>
                    <a:pt x="9042" y="3228"/>
                  </a:lnTo>
                  <a:lnTo>
                    <a:pt x="8959" y="3194"/>
                  </a:lnTo>
                  <a:lnTo>
                    <a:pt x="8873" y="3162"/>
                  </a:lnTo>
                  <a:lnTo>
                    <a:pt x="8786" y="3133"/>
                  </a:lnTo>
                  <a:lnTo>
                    <a:pt x="8697" y="3107"/>
                  </a:lnTo>
                  <a:lnTo>
                    <a:pt x="8608" y="3085"/>
                  </a:lnTo>
                  <a:lnTo>
                    <a:pt x="8517" y="3066"/>
                  </a:lnTo>
                  <a:lnTo>
                    <a:pt x="8426" y="3051"/>
                  </a:lnTo>
                  <a:lnTo>
                    <a:pt x="8332" y="3038"/>
                  </a:lnTo>
                  <a:lnTo>
                    <a:pt x="8239" y="3029"/>
                  </a:lnTo>
                  <a:lnTo>
                    <a:pt x="8143" y="3024"/>
                  </a:lnTo>
                  <a:lnTo>
                    <a:pt x="8048" y="3022"/>
                  </a:lnTo>
                  <a:lnTo>
                    <a:pt x="7951" y="3024"/>
                  </a:lnTo>
                  <a:lnTo>
                    <a:pt x="7856" y="3029"/>
                  </a:lnTo>
                  <a:lnTo>
                    <a:pt x="7762" y="3038"/>
                  </a:lnTo>
                  <a:lnTo>
                    <a:pt x="7669" y="3051"/>
                  </a:lnTo>
                  <a:lnTo>
                    <a:pt x="7577" y="3066"/>
                  </a:lnTo>
                  <a:lnTo>
                    <a:pt x="7486" y="3085"/>
                  </a:lnTo>
                  <a:lnTo>
                    <a:pt x="7397" y="3107"/>
                  </a:lnTo>
                  <a:lnTo>
                    <a:pt x="7308" y="3133"/>
                  </a:lnTo>
                  <a:lnTo>
                    <a:pt x="7222" y="3162"/>
                  </a:lnTo>
                  <a:lnTo>
                    <a:pt x="7136" y="3194"/>
                  </a:lnTo>
                  <a:lnTo>
                    <a:pt x="7053" y="3228"/>
                  </a:lnTo>
                  <a:lnTo>
                    <a:pt x="6970" y="3265"/>
                  </a:lnTo>
                  <a:lnTo>
                    <a:pt x="6889" y="3307"/>
                  </a:lnTo>
                  <a:lnTo>
                    <a:pt x="6810" y="3350"/>
                  </a:lnTo>
                  <a:lnTo>
                    <a:pt x="6733" y="3395"/>
                  </a:lnTo>
                  <a:lnTo>
                    <a:pt x="6657" y="3445"/>
                  </a:lnTo>
                  <a:lnTo>
                    <a:pt x="6583" y="3496"/>
                  </a:lnTo>
                  <a:lnTo>
                    <a:pt x="6511" y="3549"/>
                  </a:lnTo>
                  <a:lnTo>
                    <a:pt x="6442" y="3606"/>
                  </a:lnTo>
                  <a:lnTo>
                    <a:pt x="6374" y="3664"/>
                  </a:lnTo>
                  <a:lnTo>
                    <a:pt x="6308" y="3726"/>
                  </a:lnTo>
                  <a:lnTo>
                    <a:pt x="6245" y="3789"/>
                  </a:lnTo>
                  <a:lnTo>
                    <a:pt x="6183" y="3855"/>
                  </a:lnTo>
                  <a:lnTo>
                    <a:pt x="6125" y="3922"/>
                  </a:lnTo>
                  <a:lnTo>
                    <a:pt x="6069" y="3992"/>
                  </a:lnTo>
                  <a:lnTo>
                    <a:pt x="6015" y="4063"/>
                  </a:lnTo>
                  <a:lnTo>
                    <a:pt x="5963" y="4138"/>
                  </a:lnTo>
                  <a:lnTo>
                    <a:pt x="5914" y="4213"/>
                  </a:lnTo>
                  <a:lnTo>
                    <a:pt x="5868" y="4290"/>
                  </a:lnTo>
                  <a:lnTo>
                    <a:pt x="5824" y="4369"/>
                  </a:lnTo>
                  <a:lnTo>
                    <a:pt x="5784" y="4450"/>
                  </a:lnTo>
                  <a:lnTo>
                    <a:pt x="5746" y="4532"/>
                  </a:lnTo>
                  <a:lnTo>
                    <a:pt x="5206" y="4532"/>
                  </a:lnTo>
                  <a:lnTo>
                    <a:pt x="5247" y="4424"/>
                  </a:lnTo>
                  <a:lnTo>
                    <a:pt x="5291" y="4317"/>
                  </a:lnTo>
                  <a:lnTo>
                    <a:pt x="5341" y="4212"/>
                  </a:lnTo>
                  <a:lnTo>
                    <a:pt x="5393" y="4109"/>
                  </a:lnTo>
                  <a:lnTo>
                    <a:pt x="5450" y="4010"/>
                  </a:lnTo>
                  <a:lnTo>
                    <a:pt x="5510" y="3912"/>
                  </a:lnTo>
                  <a:lnTo>
                    <a:pt x="5574" y="3816"/>
                  </a:lnTo>
                  <a:lnTo>
                    <a:pt x="5640" y="3724"/>
                  </a:lnTo>
                  <a:lnTo>
                    <a:pt x="5711" y="3634"/>
                  </a:lnTo>
                  <a:lnTo>
                    <a:pt x="5785" y="3546"/>
                  </a:lnTo>
                  <a:lnTo>
                    <a:pt x="5862" y="3462"/>
                  </a:lnTo>
                  <a:lnTo>
                    <a:pt x="5942" y="3380"/>
                  </a:lnTo>
                  <a:lnTo>
                    <a:pt x="6025" y="3302"/>
                  </a:lnTo>
                  <a:lnTo>
                    <a:pt x="6111" y="3227"/>
                  </a:lnTo>
                  <a:lnTo>
                    <a:pt x="6200" y="3155"/>
                  </a:lnTo>
                  <a:lnTo>
                    <a:pt x="6291" y="3086"/>
                  </a:lnTo>
                  <a:lnTo>
                    <a:pt x="6385" y="3021"/>
                  </a:lnTo>
                  <a:lnTo>
                    <a:pt x="6481" y="2959"/>
                  </a:lnTo>
                  <a:lnTo>
                    <a:pt x="6581" y="2901"/>
                  </a:lnTo>
                  <a:lnTo>
                    <a:pt x="6681" y="2846"/>
                  </a:lnTo>
                  <a:lnTo>
                    <a:pt x="6785" y="2796"/>
                  </a:lnTo>
                  <a:lnTo>
                    <a:pt x="6891" y="2750"/>
                  </a:lnTo>
                  <a:lnTo>
                    <a:pt x="6999" y="2706"/>
                  </a:lnTo>
                  <a:lnTo>
                    <a:pt x="7109" y="2668"/>
                  </a:lnTo>
                  <a:lnTo>
                    <a:pt x="7221" y="2634"/>
                  </a:lnTo>
                  <a:lnTo>
                    <a:pt x="7334" y="2604"/>
                  </a:lnTo>
                  <a:lnTo>
                    <a:pt x="7449" y="2578"/>
                  </a:lnTo>
                  <a:lnTo>
                    <a:pt x="7566" y="2556"/>
                  </a:lnTo>
                  <a:lnTo>
                    <a:pt x="7684" y="2540"/>
                  </a:lnTo>
                  <a:lnTo>
                    <a:pt x="7804" y="2528"/>
                  </a:lnTo>
                  <a:lnTo>
                    <a:pt x="7925" y="2521"/>
                  </a:lnTo>
                  <a:lnTo>
                    <a:pt x="8048" y="2518"/>
                  </a:lnTo>
                  <a:lnTo>
                    <a:pt x="8163" y="2520"/>
                  </a:lnTo>
                  <a:lnTo>
                    <a:pt x="8278" y="2527"/>
                  </a:lnTo>
                  <a:lnTo>
                    <a:pt x="8392" y="2538"/>
                  </a:lnTo>
                  <a:lnTo>
                    <a:pt x="8503" y="2552"/>
                  </a:lnTo>
                  <a:lnTo>
                    <a:pt x="8614" y="2571"/>
                  </a:lnTo>
                  <a:lnTo>
                    <a:pt x="8723" y="2595"/>
                  </a:lnTo>
                  <a:lnTo>
                    <a:pt x="8832" y="2622"/>
                  </a:lnTo>
                  <a:lnTo>
                    <a:pt x="8939" y="2653"/>
                  </a:lnTo>
                  <a:lnTo>
                    <a:pt x="9043" y="2687"/>
                  </a:lnTo>
                  <a:lnTo>
                    <a:pt x="9146" y="2726"/>
                  </a:lnTo>
                  <a:lnTo>
                    <a:pt x="9248" y="2768"/>
                  </a:lnTo>
                  <a:lnTo>
                    <a:pt x="9347" y="2813"/>
                  </a:lnTo>
                  <a:lnTo>
                    <a:pt x="9444" y="2862"/>
                  </a:lnTo>
                  <a:lnTo>
                    <a:pt x="9539" y="2915"/>
                  </a:lnTo>
                  <a:lnTo>
                    <a:pt x="9633" y="2970"/>
                  </a:lnTo>
                  <a:lnTo>
                    <a:pt x="9723" y="3029"/>
                  </a:lnTo>
                  <a:lnTo>
                    <a:pt x="9813" y="3091"/>
                  </a:lnTo>
                  <a:lnTo>
                    <a:pt x="9899" y="3157"/>
                  </a:lnTo>
                  <a:lnTo>
                    <a:pt x="9983" y="3224"/>
                  </a:lnTo>
                  <a:lnTo>
                    <a:pt x="10064" y="3296"/>
                  </a:lnTo>
                  <a:lnTo>
                    <a:pt x="10144" y="3369"/>
                  </a:lnTo>
                  <a:lnTo>
                    <a:pt x="10219" y="3446"/>
                  </a:lnTo>
                  <a:lnTo>
                    <a:pt x="10294" y="3525"/>
                  </a:lnTo>
                  <a:lnTo>
                    <a:pt x="10364" y="3607"/>
                  </a:lnTo>
                  <a:lnTo>
                    <a:pt x="10432" y="3690"/>
                  </a:lnTo>
                  <a:lnTo>
                    <a:pt x="10496" y="3778"/>
                  </a:lnTo>
                  <a:lnTo>
                    <a:pt x="10558" y="3867"/>
                  </a:lnTo>
                  <a:lnTo>
                    <a:pt x="10617" y="3958"/>
                  </a:lnTo>
                  <a:lnTo>
                    <a:pt x="10672" y="4052"/>
                  </a:lnTo>
                  <a:lnTo>
                    <a:pt x="10724" y="4148"/>
                  </a:lnTo>
                  <a:lnTo>
                    <a:pt x="10773" y="4245"/>
                  </a:lnTo>
                  <a:lnTo>
                    <a:pt x="10818" y="4345"/>
                  </a:lnTo>
                  <a:lnTo>
                    <a:pt x="10444" y="4532"/>
                  </a:lnTo>
                  <a:lnTo>
                    <a:pt x="10349" y="4532"/>
                  </a:lnTo>
                  <a:close/>
                  <a:moveTo>
                    <a:pt x="8048" y="504"/>
                  </a:moveTo>
                  <a:lnTo>
                    <a:pt x="8237" y="508"/>
                  </a:lnTo>
                  <a:lnTo>
                    <a:pt x="8424" y="518"/>
                  </a:lnTo>
                  <a:lnTo>
                    <a:pt x="8609" y="535"/>
                  </a:lnTo>
                  <a:lnTo>
                    <a:pt x="8793" y="559"/>
                  </a:lnTo>
                  <a:lnTo>
                    <a:pt x="8974" y="590"/>
                  </a:lnTo>
                  <a:lnTo>
                    <a:pt x="9153" y="627"/>
                  </a:lnTo>
                  <a:lnTo>
                    <a:pt x="9330" y="670"/>
                  </a:lnTo>
                  <a:lnTo>
                    <a:pt x="9504" y="720"/>
                  </a:lnTo>
                  <a:lnTo>
                    <a:pt x="9676" y="776"/>
                  </a:lnTo>
                  <a:lnTo>
                    <a:pt x="9844" y="837"/>
                  </a:lnTo>
                  <a:lnTo>
                    <a:pt x="10010" y="904"/>
                  </a:lnTo>
                  <a:lnTo>
                    <a:pt x="10173" y="978"/>
                  </a:lnTo>
                  <a:lnTo>
                    <a:pt x="10333" y="1057"/>
                  </a:lnTo>
                  <a:lnTo>
                    <a:pt x="10490" y="1140"/>
                  </a:lnTo>
                  <a:lnTo>
                    <a:pt x="10643" y="1230"/>
                  </a:lnTo>
                  <a:lnTo>
                    <a:pt x="10793" y="1324"/>
                  </a:lnTo>
                  <a:lnTo>
                    <a:pt x="10939" y="1424"/>
                  </a:lnTo>
                  <a:lnTo>
                    <a:pt x="11081" y="1529"/>
                  </a:lnTo>
                  <a:lnTo>
                    <a:pt x="11220" y="1639"/>
                  </a:lnTo>
                  <a:lnTo>
                    <a:pt x="11355" y="1754"/>
                  </a:lnTo>
                  <a:lnTo>
                    <a:pt x="11485" y="1872"/>
                  </a:lnTo>
                  <a:lnTo>
                    <a:pt x="11612" y="1995"/>
                  </a:lnTo>
                  <a:lnTo>
                    <a:pt x="11733" y="2123"/>
                  </a:lnTo>
                  <a:lnTo>
                    <a:pt x="11851" y="2255"/>
                  </a:lnTo>
                  <a:lnTo>
                    <a:pt x="11964" y="2390"/>
                  </a:lnTo>
                  <a:lnTo>
                    <a:pt x="12072" y="2530"/>
                  </a:lnTo>
                  <a:lnTo>
                    <a:pt x="12176" y="2674"/>
                  </a:lnTo>
                  <a:lnTo>
                    <a:pt x="12273" y="2821"/>
                  </a:lnTo>
                  <a:lnTo>
                    <a:pt x="12367" y="2972"/>
                  </a:lnTo>
                  <a:lnTo>
                    <a:pt x="12456" y="3126"/>
                  </a:lnTo>
                  <a:lnTo>
                    <a:pt x="12538" y="3285"/>
                  </a:lnTo>
                  <a:lnTo>
                    <a:pt x="12615" y="3446"/>
                  </a:lnTo>
                  <a:lnTo>
                    <a:pt x="12167" y="3669"/>
                  </a:lnTo>
                  <a:lnTo>
                    <a:pt x="12097" y="3523"/>
                  </a:lnTo>
                  <a:lnTo>
                    <a:pt x="12024" y="3381"/>
                  </a:lnTo>
                  <a:lnTo>
                    <a:pt x="11945" y="3241"/>
                  </a:lnTo>
                  <a:lnTo>
                    <a:pt x="11861" y="3104"/>
                  </a:lnTo>
                  <a:lnTo>
                    <a:pt x="11772" y="2971"/>
                  </a:lnTo>
                  <a:lnTo>
                    <a:pt x="11680" y="2841"/>
                  </a:lnTo>
                  <a:lnTo>
                    <a:pt x="11582" y="2714"/>
                  </a:lnTo>
                  <a:lnTo>
                    <a:pt x="11481" y="2592"/>
                  </a:lnTo>
                  <a:lnTo>
                    <a:pt x="11375" y="2473"/>
                  </a:lnTo>
                  <a:lnTo>
                    <a:pt x="11265" y="2357"/>
                  </a:lnTo>
                  <a:lnTo>
                    <a:pt x="11152" y="2245"/>
                  </a:lnTo>
                  <a:lnTo>
                    <a:pt x="11034" y="2137"/>
                  </a:lnTo>
                  <a:lnTo>
                    <a:pt x="10912" y="2035"/>
                  </a:lnTo>
                  <a:lnTo>
                    <a:pt x="10788" y="1935"/>
                  </a:lnTo>
                  <a:lnTo>
                    <a:pt x="10660" y="1840"/>
                  </a:lnTo>
                  <a:lnTo>
                    <a:pt x="10528" y="1751"/>
                  </a:lnTo>
                  <a:lnTo>
                    <a:pt x="10392" y="1665"/>
                  </a:lnTo>
                  <a:lnTo>
                    <a:pt x="10255" y="1583"/>
                  </a:lnTo>
                  <a:lnTo>
                    <a:pt x="10113" y="1508"/>
                  </a:lnTo>
                  <a:lnTo>
                    <a:pt x="9969" y="1436"/>
                  </a:lnTo>
                  <a:lnTo>
                    <a:pt x="9822" y="1370"/>
                  </a:lnTo>
                  <a:lnTo>
                    <a:pt x="9672" y="1309"/>
                  </a:lnTo>
                  <a:lnTo>
                    <a:pt x="9519" y="1253"/>
                  </a:lnTo>
                  <a:lnTo>
                    <a:pt x="9364" y="1203"/>
                  </a:lnTo>
                  <a:lnTo>
                    <a:pt x="9207" y="1158"/>
                  </a:lnTo>
                  <a:lnTo>
                    <a:pt x="9047" y="1119"/>
                  </a:lnTo>
                  <a:lnTo>
                    <a:pt x="8885" y="1085"/>
                  </a:lnTo>
                  <a:lnTo>
                    <a:pt x="8721" y="1058"/>
                  </a:lnTo>
                  <a:lnTo>
                    <a:pt x="8555" y="1035"/>
                  </a:lnTo>
                  <a:lnTo>
                    <a:pt x="8388" y="1020"/>
                  </a:lnTo>
                  <a:lnTo>
                    <a:pt x="8219" y="1010"/>
                  </a:lnTo>
                  <a:lnTo>
                    <a:pt x="8048" y="1007"/>
                  </a:lnTo>
                  <a:lnTo>
                    <a:pt x="7846" y="1012"/>
                  </a:lnTo>
                  <a:lnTo>
                    <a:pt x="7648" y="1025"/>
                  </a:lnTo>
                  <a:lnTo>
                    <a:pt x="7452" y="1047"/>
                  </a:lnTo>
                  <a:lnTo>
                    <a:pt x="7258" y="1077"/>
                  </a:lnTo>
                  <a:lnTo>
                    <a:pt x="7068" y="1114"/>
                  </a:lnTo>
                  <a:lnTo>
                    <a:pt x="6880" y="1160"/>
                  </a:lnTo>
                  <a:lnTo>
                    <a:pt x="6696" y="1214"/>
                  </a:lnTo>
                  <a:lnTo>
                    <a:pt x="6514" y="1274"/>
                  </a:lnTo>
                  <a:lnTo>
                    <a:pt x="6336" y="1343"/>
                  </a:lnTo>
                  <a:lnTo>
                    <a:pt x="6162" y="1419"/>
                  </a:lnTo>
                  <a:lnTo>
                    <a:pt x="5992" y="1502"/>
                  </a:lnTo>
                  <a:lnTo>
                    <a:pt x="5826" y="1590"/>
                  </a:lnTo>
                  <a:lnTo>
                    <a:pt x="5664" y="1687"/>
                  </a:lnTo>
                  <a:lnTo>
                    <a:pt x="5507" y="1790"/>
                  </a:lnTo>
                  <a:lnTo>
                    <a:pt x="5354" y="1899"/>
                  </a:lnTo>
                  <a:lnTo>
                    <a:pt x="5206" y="2013"/>
                  </a:lnTo>
                  <a:lnTo>
                    <a:pt x="5063" y="2134"/>
                  </a:lnTo>
                  <a:lnTo>
                    <a:pt x="4925" y="2261"/>
                  </a:lnTo>
                  <a:lnTo>
                    <a:pt x="4792" y="2393"/>
                  </a:lnTo>
                  <a:lnTo>
                    <a:pt x="4666" y="2530"/>
                  </a:lnTo>
                  <a:lnTo>
                    <a:pt x="4544" y="2673"/>
                  </a:lnTo>
                  <a:lnTo>
                    <a:pt x="4429" y="2821"/>
                  </a:lnTo>
                  <a:lnTo>
                    <a:pt x="4319" y="2973"/>
                  </a:lnTo>
                  <a:lnTo>
                    <a:pt x="4216" y="3130"/>
                  </a:lnTo>
                  <a:lnTo>
                    <a:pt x="4119" y="3293"/>
                  </a:lnTo>
                  <a:lnTo>
                    <a:pt x="4029" y="3458"/>
                  </a:lnTo>
                  <a:lnTo>
                    <a:pt x="3945" y="3628"/>
                  </a:lnTo>
                  <a:lnTo>
                    <a:pt x="3869" y="3802"/>
                  </a:lnTo>
                  <a:lnTo>
                    <a:pt x="3799" y="3979"/>
                  </a:lnTo>
                  <a:lnTo>
                    <a:pt x="3738" y="4161"/>
                  </a:lnTo>
                  <a:lnTo>
                    <a:pt x="3683" y="4345"/>
                  </a:lnTo>
                  <a:lnTo>
                    <a:pt x="3636" y="4532"/>
                  </a:lnTo>
                  <a:lnTo>
                    <a:pt x="3119" y="4532"/>
                  </a:lnTo>
                  <a:lnTo>
                    <a:pt x="3168" y="4319"/>
                  </a:lnTo>
                  <a:lnTo>
                    <a:pt x="3225" y="4109"/>
                  </a:lnTo>
                  <a:lnTo>
                    <a:pt x="3291" y="3903"/>
                  </a:lnTo>
                  <a:lnTo>
                    <a:pt x="3366" y="3700"/>
                  </a:lnTo>
                  <a:lnTo>
                    <a:pt x="3448" y="3502"/>
                  </a:lnTo>
                  <a:lnTo>
                    <a:pt x="3540" y="3309"/>
                  </a:lnTo>
                  <a:lnTo>
                    <a:pt x="3638" y="3119"/>
                  </a:lnTo>
                  <a:lnTo>
                    <a:pt x="3745" y="2935"/>
                  </a:lnTo>
                  <a:lnTo>
                    <a:pt x="3859" y="2755"/>
                  </a:lnTo>
                  <a:lnTo>
                    <a:pt x="3980" y="2580"/>
                  </a:lnTo>
                  <a:lnTo>
                    <a:pt x="4108" y="2412"/>
                  </a:lnTo>
                  <a:lnTo>
                    <a:pt x="4244" y="2249"/>
                  </a:lnTo>
                  <a:lnTo>
                    <a:pt x="4385" y="2092"/>
                  </a:lnTo>
                  <a:lnTo>
                    <a:pt x="4534" y="1941"/>
                  </a:lnTo>
                  <a:lnTo>
                    <a:pt x="4688" y="1796"/>
                  </a:lnTo>
                  <a:lnTo>
                    <a:pt x="4848" y="1657"/>
                  </a:lnTo>
                  <a:lnTo>
                    <a:pt x="5014" y="1526"/>
                  </a:lnTo>
                  <a:lnTo>
                    <a:pt x="5186" y="1401"/>
                  </a:lnTo>
                  <a:lnTo>
                    <a:pt x="5362" y="1283"/>
                  </a:lnTo>
                  <a:lnTo>
                    <a:pt x="5544" y="1173"/>
                  </a:lnTo>
                  <a:lnTo>
                    <a:pt x="5731" y="1071"/>
                  </a:lnTo>
                  <a:lnTo>
                    <a:pt x="5922" y="976"/>
                  </a:lnTo>
                  <a:lnTo>
                    <a:pt x="6118" y="889"/>
                  </a:lnTo>
                  <a:lnTo>
                    <a:pt x="6318" y="811"/>
                  </a:lnTo>
                  <a:lnTo>
                    <a:pt x="6522" y="740"/>
                  </a:lnTo>
                  <a:lnTo>
                    <a:pt x="6731" y="679"/>
                  </a:lnTo>
                  <a:lnTo>
                    <a:pt x="6942" y="627"/>
                  </a:lnTo>
                  <a:lnTo>
                    <a:pt x="7157" y="583"/>
                  </a:lnTo>
                  <a:lnTo>
                    <a:pt x="7376" y="549"/>
                  </a:lnTo>
                  <a:lnTo>
                    <a:pt x="7597" y="524"/>
                  </a:lnTo>
                  <a:lnTo>
                    <a:pt x="7821" y="509"/>
                  </a:lnTo>
                  <a:lnTo>
                    <a:pt x="8048" y="504"/>
                  </a:lnTo>
                  <a:close/>
                  <a:moveTo>
                    <a:pt x="12976" y="4532"/>
                  </a:moveTo>
                  <a:lnTo>
                    <a:pt x="12693" y="4532"/>
                  </a:lnTo>
                  <a:lnTo>
                    <a:pt x="12943" y="4407"/>
                  </a:lnTo>
                  <a:lnTo>
                    <a:pt x="12951" y="4438"/>
                  </a:lnTo>
                  <a:lnTo>
                    <a:pt x="12959" y="4469"/>
                  </a:lnTo>
                  <a:lnTo>
                    <a:pt x="12969" y="4501"/>
                  </a:lnTo>
                  <a:lnTo>
                    <a:pt x="12976" y="4532"/>
                  </a:lnTo>
                  <a:close/>
                  <a:moveTo>
                    <a:pt x="14838" y="4532"/>
                  </a:moveTo>
                  <a:lnTo>
                    <a:pt x="13484" y="4532"/>
                  </a:lnTo>
                  <a:lnTo>
                    <a:pt x="13476" y="4487"/>
                  </a:lnTo>
                  <a:lnTo>
                    <a:pt x="13466" y="4443"/>
                  </a:lnTo>
                  <a:lnTo>
                    <a:pt x="13456" y="4398"/>
                  </a:lnTo>
                  <a:lnTo>
                    <a:pt x="13446" y="4354"/>
                  </a:lnTo>
                  <a:lnTo>
                    <a:pt x="13436" y="4310"/>
                  </a:lnTo>
                  <a:lnTo>
                    <a:pt x="13425" y="4266"/>
                  </a:lnTo>
                  <a:lnTo>
                    <a:pt x="13414" y="4221"/>
                  </a:lnTo>
                  <a:lnTo>
                    <a:pt x="13403" y="4177"/>
                  </a:lnTo>
                  <a:lnTo>
                    <a:pt x="15816" y="2969"/>
                  </a:lnTo>
                  <a:lnTo>
                    <a:pt x="15839" y="2957"/>
                  </a:lnTo>
                  <a:lnTo>
                    <a:pt x="15862" y="2943"/>
                  </a:lnTo>
                  <a:lnTo>
                    <a:pt x="15883" y="2929"/>
                  </a:lnTo>
                  <a:lnTo>
                    <a:pt x="15903" y="2914"/>
                  </a:lnTo>
                  <a:lnTo>
                    <a:pt x="15922" y="2898"/>
                  </a:lnTo>
                  <a:lnTo>
                    <a:pt x="15940" y="2882"/>
                  </a:lnTo>
                  <a:lnTo>
                    <a:pt x="15957" y="2863"/>
                  </a:lnTo>
                  <a:lnTo>
                    <a:pt x="15974" y="2845"/>
                  </a:lnTo>
                  <a:lnTo>
                    <a:pt x="15989" y="2826"/>
                  </a:lnTo>
                  <a:lnTo>
                    <a:pt x="16003" y="2807"/>
                  </a:lnTo>
                  <a:lnTo>
                    <a:pt x="16018" y="2787"/>
                  </a:lnTo>
                  <a:lnTo>
                    <a:pt x="16030" y="2766"/>
                  </a:lnTo>
                  <a:lnTo>
                    <a:pt x="16041" y="2745"/>
                  </a:lnTo>
                  <a:lnTo>
                    <a:pt x="16052" y="2722"/>
                  </a:lnTo>
                  <a:lnTo>
                    <a:pt x="16061" y="2700"/>
                  </a:lnTo>
                  <a:lnTo>
                    <a:pt x="16069" y="2677"/>
                  </a:lnTo>
                  <a:lnTo>
                    <a:pt x="16076" y="2654"/>
                  </a:lnTo>
                  <a:lnTo>
                    <a:pt x="16082" y="2631"/>
                  </a:lnTo>
                  <a:lnTo>
                    <a:pt x="16087" y="2608"/>
                  </a:lnTo>
                  <a:lnTo>
                    <a:pt x="16091" y="2583"/>
                  </a:lnTo>
                  <a:lnTo>
                    <a:pt x="16093" y="2559"/>
                  </a:lnTo>
                  <a:lnTo>
                    <a:pt x="16095" y="2535"/>
                  </a:lnTo>
                  <a:lnTo>
                    <a:pt x="16095" y="2511"/>
                  </a:lnTo>
                  <a:lnTo>
                    <a:pt x="16094" y="2486"/>
                  </a:lnTo>
                  <a:lnTo>
                    <a:pt x="16092" y="2462"/>
                  </a:lnTo>
                  <a:lnTo>
                    <a:pt x="16088" y="2437"/>
                  </a:lnTo>
                  <a:lnTo>
                    <a:pt x="16084" y="2413"/>
                  </a:lnTo>
                  <a:lnTo>
                    <a:pt x="16078" y="2388"/>
                  </a:lnTo>
                  <a:lnTo>
                    <a:pt x="16071" y="2364"/>
                  </a:lnTo>
                  <a:lnTo>
                    <a:pt x="16063" y="2341"/>
                  </a:lnTo>
                  <a:lnTo>
                    <a:pt x="16053" y="2317"/>
                  </a:lnTo>
                  <a:lnTo>
                    <a:pt x="16042" y="2293"/>
                  </a:lnTo>
                  <a:lnTo>
                    <a:pt x="16030" y="2270"/>
                  </a:lnTo>
                  <a:lnTo>
                    <a:pt x="16017" y="2248"/>
                  </a:lnTo>
                  <a:lnTo>
                    <a:pt x="16002" y="2227"/>
                  </a:lnTo>
                  <a:lnTo>
                    <a:pt x="15987" y="2207"/>
                  </a:lnTo>
                  <a:lnTo>
                    <a:pt x="15971" y="2188"/>
                  </a:lnTo>
                  <a:lnTo>
                    <a:pt x="15954" y="2170"/>
                  </a:lnTo>
                  <a:lnTo>
                    <a:pt x="15937" y="2152"/>
                  </a:lnTo>
                  <a:lnTo>
                    <a:pt x="15919" y="2135"/>
                  </a:lnTo>
                  <a:lnTo>
                    <a:pt x="15900" y="2120"/>
                  </a:lnTo>
                  <a:lnTo>
                    <a:pt x="15880" y="2106"/>
                  </a:lnTo>
                  <a:lnTo>
                    <a:pt x="15860" y="2092"/>
                  </a:lnTo>
                  <a:lnTo>
                    <a:pt x="15839" y="2080"/>
                  </a:lnTo>
                  <a:lnTo>
                    <a:pt x="15817" y="2069"/>
                  </a:lnTo>
                  <a:lnTo>
                    <a:pt x="15796" y="2058"/>
                  </a:lnTo>
                  <a:lnTo>
                    <a:pt x="15774" y="2049"/>
                  </a:lnTo>
                  <a:lnTo>
                    <a:pt x="15751" y="2041"/>
                  </a:lnTo>
                  <a:lnTo>
                    <a:pt x="15728" y="2034"/>
                  </a:lnTo>
                  <a:lnTo>
                    <a:pt x="15705" y="2028"/>
                  </a:lnTo>
                  <a:lnTo>
                    <a:pt x="15681" y="2022"/>
                  </a:lnTo>
                  <a:lnTo>
                    <a:pt x="15657" y="2019"/>
                  </a:lnTo>
                  <a:lnTo>
                    <a:pt x="15633" y="2016"/>
                  </a:lnTo>
                  <a:lnTo>
                    <a:pt x="15609" y="2015"/>
                  </a:lnTo>
                  <a:lnTo>
                    <a:pt x="15584" y="2014"/>
                  </a:lnTo>
                  <a:lnTo>
                    <a:pt x="15560" y="2015"/>
                  </a:lnTo>
                  <a:lnTo>
                    <a:pt x="15536" y="2017"/>
                  </a:lnTo>
                  <a:lnTo>
                    <a:pt x="15511" y="2021"/>
                  </a:lnTo>
                  <a:lnTo>
                    <a:pt x="15486" y="2026"/>
                  </a:lnTo>
                  <a:lnTo>
                    <a:pt x="15462" y="2032"/>
                  </a:lnTo>
                  <a:lnTo>
                    <a:pt x="15438" y="2039"/>
                  </a:lnTo>
                  <a:lnTo>
                    <a:pt x="15414" y="2047"/>
                  </a:lnTo>
                  <a:lnTo>
                    <a:pt x="15391" y="2057"/>
                  </a:lnTo>
                  <a:lnTo>
                    <a:pt x="15367" y="2068"/>
                  </a:lnTo>
                  <a:lnTo>
                    <a:pt x="13065" y="3220"/>
                  </a:lnTo>
                  <a:lnTo>
                    <a:pt x="12980" y="3044"/>
                  </a:lnTo>
                  <a:lnTo>
                    <a:pt x="12888" y="2872"/>
                  </a:lnTo>
                  <a:lnTo>
                    <a:pt x="12790" y="2702"/>
                  </a:lnTo>
                  <a:lnTo>
                    <a:pt x="12688" y="2537"/>
                  </a:lnTo>
                  <a:lnTo>
                    <a:pt x="12579" y="2376"/>
                  </a:lnTo>
                  <a:lnTo>
                    <a:pt x="12466" y="2219"/>
                  </a:lnTo>
                  <a:lnTo>
                    <a:pt x="12347" y="2066"/>
                  </a:lnTo>
                  <a:lnTo>
                    <a:pt x="12223" y="1917"/>
                  </a:lnTo>
                  <a:lnTo>
                    <a:pt x="12093" y="1773"/>
                  </a:lnTo>
                  <a:lnTo>
                    <a:pt x="11960" y="1633"/>
                  </a:lnTo>
                  <a:lnTo>
                    <a:pt x="11821" y="1498"/>
                  </a:lnTo>
                  <a:lnTo>
                    <a:pt x="11677" y="1368"/>
                  </a:lnTo>
                  <a:lnTo>
                    <a:pt x="11529" y="1243"/>
                  </a:lnTo>
                  <a:lnTo>
                    <a:pt x="11377" y="1123"/>
                  </a:lnTo>
                  <a:lnTo>
                    <a:pt x="11220" y="1008"/>
                  </a:lnTo>
                  <a:lnTo>
                    <a:pt x="11060" y="898"/>
                  </a:lnTo>
                  <a:lnTo>
                    <a:pt x="10895" y="795"/>
                  </a:lnTo>
                  <a:lnTo>
                    <a:pt x="10727" y="697"/>
                  </a:lnTo>
                  <a:lnTo>
                    <a:pt x="10555" y="605"/>
                  </a:lnTo>
                  <a:lnTo>
                    <a:pt x="10380" y="519"/>
                  </a:lnTo>
                  <a:lnTo>
                    <a:pt x="10201" y="439"/>
                  </a:lnTo>
                  <a:lnTo>
                    <a:pt x="10019" y="365"/>
                  </a:lnTo>
                  <a:lnTo>
                    <a:pt x="9834" y="297"/>
                  </a:lnTo>
                  <a:lnTo>
                    <a:pt x="9645" y="237"/>
                  </a:lnTo>
                  <a:lnTo>
                    <a:pt x="9454" y="182"/>
                  </a:lnTo>
                  <a:lnTo>
                    <a:pt x="9261" y="135"/>
                  </a:lnTo>
                  <a:lnTo>
                    <a:pt x="9063" y="95"/>
                  </a:lnTo>
                  <a:lnTo>
                    <a:pt x="8865" y="60"/>
                  </a:lnTo>
                  <a:lnTo>
                    <a:pt x="8664" y="34"/>
                  </a:lnTo>
                  <a:lnTo>
                    <a:pt x="8460" y="16"/>
                  </a:lnTo>
                  <a:lnTo>
                    <a:pt x="8255" y="4"/>
                  </a:lnTo>
                  <a:lnTo>
                    <a:pt x="8048" y="0"/>
                  </a:lnTo>
                  <a:lnTo>
                    <a:pt x="7795" y="6"/>
                  </a:lnTo>
                  <a:lnTo>
                    <a:pt x="7546" y="23"/>
                  </a:lnTo>
                  <a:lnTo>
                    <a:pt x="7299" y="50"/>
                  </a:lnTo>
                  <a:lnTo>
                    <a:pt x="7056" y="90"/>
                  </a:lnTo>
                  <a:lnTo>
                    <a:pt x="6816" y="139"/>
                  </a:lnTo>
                  <a:lnTo>
                    <a:pt x="6581" y="198"/>
                  </a:lnTo>
                  <a:lnTo>
                    <a:pt x="6349" y="267"/>
                  </a:lnTo>
                  <a:lnTo>
                    <a:pt x="6123" y="347"/>
                  </a:lnTo>
                  <a:lnTo>
                    <a:pt x="5900" y="435"/>
                  </a:lnTo>
                  <a:lnTo>
                    <a:pt x="5683" y="533"/>
                  </a:lnTo>
                  <a:lnTo>
                    <a:pt x="5470" y="640"/>
                  </a:lnTo>
                  <a:lnTo>
                    <a:pt x="5263" y="755"/>
                  </a:lnTo>
                  <a:lnTo>
                    <a:pt x="5061" y="880"/>
                  </a:lnTo>
                  <a:lnTo>
                    <a:pt x="4866" y="1012"/>
                  </a:lnTo>
                  <a:lnTo>
                    <a:pt x="4676" y="1153"/>
                  </a:lnTo>
                  <a:lnTo>
                    <a:pt x="4493" y="1301"/>
                  </a:lnTo>
                  <a:lnTo>
                    <a:pt x="4315" y="1456"/>
                  </a:lnTo>
                  <a:lnTo>
                    <a:pt x="4144" y="1620"/>
                  </a:lnTo>
                  <a:lnTo>
                    <a:pt x="3982" y="1790"/>
                  </a:lnTo>
                  <a:lnTo>
                    <a:pt x="3826" y="1967"/>
                  </a:lnTo>
                  <a:lnTo>
                    <a:pt x="3678" y="2150"/>
                  </a:lnTo>
                  <a:lnTo>
                    <a:pt x="3537" y="2341"/>
                  </a:lnTo>
                  <a:lnTo>
                    <a:pt x="3404" y="2536"/>
                  </a:lnTo>
                  <a:lnTo>
                    <a:pt x="3280" y="2739"/>
                  </a:lnTo>
                  <a:lnTo>
                    <a:pt x="3164" y="2946"/>
                  </a:lnTo>
                  <a:lnTo>
                    <a:pt x="3057" y="3159"/>
                  </a:lnTo>
                  <a:lnTo>
                    <a:pt x="2958" y="3376"/>
                  </a:lnTo>
                  <a:lnTo>
                    <a:pt x="2870" y="3599"/>
                  </a:lnTo>
                  <a:lnTo>
                    <a:pt x="2790" y="3826"/>
                  </a:lnTo>
                  <a:lnTo>
                    <a:pt x="2720" y="4057"/>
                  </a:lnTo>
                  <a:lnTo>
                    <a:pt x="2661" y="4293"/>
                  </a:lnTo>
                  <a:lnTo>
                    <a:pt x="2610" y="4532"/>
                  </a:lnTo>
                  <a:lnTo>
                    <a:pt x="1257" y="4532"/>
                  </a:lnTo>
                  <a:lnTo>
                    <a:pt x="1193" y="4534"/>
                  </a:lnTo>
                  <a:lnTo>
                    <a:pt x="1129" y="4539"/>
                  </a:lnTo>
                  <a:lnTo>
                    <a:pt x="1066" y="4548"/>
                  </a:lnTo>
                  <a:lnTo>
                    <a:pt x="1004" y="4559"/>
                  </a:lnTo>
                  <a:lnTo>
                    <a:pt x="944" y="4573"/>
                  </a:lnTo>
                  <a:lnTo>
                    <a:pt x="884" y="4589"/>
                  </a:lnTo>
                  <a:lnTo>
                    <a:pt x="826" y="4609"/>
                  </a:lnTo>
                  <a:lnTo>
                    <a:pt x="769" y="4631"/>
                  </a:lnTo>
                  <a:lnTo>
                    <a:pt x="713" y="4657"/>
                  </a:lnTo>
                  <a:lnTo>
                    <a:pt x="659" y="4685"/>
                  </a:lnTo>
                  <a:lnTo>
                    <a:pt x="606" y="4715"/>
                  </a:lnTo>
                  <a:lnTo>
                    <a:pt x="555" y="4748"/>
                  </a:lnTo>
                  <a:lnTo>
                    <a:pt x="506" y="4783"/>
                  </a:lnTo>
                  <a:lnTo>
                    <a:pt x="458" y="4820"/>
                  </a:lnTo>
                  <a:lnTo>
                    <a:pt x="412" y="4860"/>
                  </a:lnTo>
                  <a:lnTo>
                    <a:pt x="369" y="4902"/>
                  </a:lnTo>
                  <a:lnTo>
                    <a:pt x="327" y="4945"/>
                  </a:lnTo>
                  <a:lnTo>
                    <a:pt x="288" y="4991"/>
                  </a:lnTo>
                  <a:lnTo>
                    <a:pt x="250" y="5039"/>
                  </a:lnTo>
                  <a:lnTo>
                    <a:pt x="215" y="5088"/>
                  </a:lnTo>
                  <a:lnTo>
                    <a:pt x="182" y="5139"/>
                  </a:lnTo>
                  <a:lnTo>
                    <a:pt x="152" y="5192"/>
                  </a:lnTo>
                  <a:lnTo>
                    <a:pt x="125" y="5247"/>
                  </a:lnTo>
                  <a:lnTo>
                    <a:pt x="99" y="5302"/>
                  </a:lnTo>
                  <a:lnTo>
                    <a:pt x="76" y="5359"/>
                  </a:lnTo>
                  <a:lnTo>
                    <a:pt x="56" y="5418"/>
                  </a:lnTo>
                  <a:lnTo>
                    <a:pt x="39" y="5477"/>
                  </a:lnTo>
                  <a:lnTo>
                    <a:pt x="25" y="5538"/>
                  </a:lnTo>
                  <a:lnTo>
                    <a:pt x="14" y="5600"/>
                  </a:lnTo>
                  <a:lnTo>
                    <a:pt x="7" y="5662"/>
                  </a:lnTo>
                  <a:lnTo>
                    <a:pt x="2" y="5727"/>
                  </a:lnTo>
                  <a:lnTo>
                    <a:pt x="0" y="5791"/>
                  </a:lnTo>
                  <a:lnTo>
                    <a:pt x="0" y="5815"/>
                  </a:lnTo>
                  <a:lnTo>
                    <a:pt x="1" y="5838"/>
                  </a:lnTo>
                  <a:lnTo>
                    <a:pt x="2" y="5861"/>
                  </a:lnTo>
                  <a:lnTo>
                    <a:pt x="4" y="5883"/>
                  </a:lnTo>
                  <a:lnTo>
                    <a:pt x="7" y="5906"/>
                  </a:lnTo>
                  <a:lnTo>
                    <a:pt x="9" y="5929"/>
                  </a:lnTo>
                  <a:lnTo>
                    <a:pt x="13" y="5952"/>
                  </a:lnTo>
                  <a:lnTo>
                    <a:pt x="17" y="5975"/>
                  </a:lnTo>
                  <a:lnTo>
                    <a:pt x="21" y="5997"/>
                  </a:lnTo>
                  <a:lnTo>
                    <a:pt x="26" y="6019"/>
                  </a:lnTo>
                  <a:lnTo>
                    <a:pt x="31" y="6041"/>
                  </a:lnTo>
                  <a:lnTo>
                    <a:pt x="37" y="6063"/>
                  </a:lnTo>
                  <a:lnTo>
                    <a:pt x="43" y="6085"/>
                  </a:lnTo>
                  <a:lnTo>
                    <a:pt x="50" y="6107"/>
                  </a:lnTo>
                  <a:lnTo>
                    <a:pt x="58" y="6128"/>
                  </a:lnTo>
                  <a:lnTo>
                    <a:pt x="65" y="6150"/>
                  </a:lnTo>
                  <a:lnTo>
                    <a:pt x="74" y="6171"/>
                  </a:lnTo>
                  <a:lnTo>
                    <a:pt x="82" y="6191"/>
                  </a:lnTo>
                  <a:lnTo>
                    <a:pt x="93" y="6212"/>
                  </a:lnTo>
                  <a:lnTo>
                    <a:pt x="102" y="6234"/>
                  </a:lnTo>
                  <a:lnTo>
                    <a:pt x="112" y="6254"/>
                  </a:lnTo>
                  <a:lnTo>
                    <a:pt x="123" y="6274"/>
                  </a:lnTo>
                  <a:lnTo>
                    <a:pt x="134" y="6294"/>
                  </a:lnTo>
                  <a:lnTo>
                    <a:pt x="145" y="6313"/>
                  </a:lnTo>
                  <a:lnTo>
                    <a:pt x="157" y="6332"/>
                  </a:lnTo>
                  <a:lnTo>
                    <a:pt x="170" y="6351"/>
                  </a:lnTo>
                  <a:lnTo>
                    <a:pt x="183" y="6371"/>
                  </a:lnTo>
                  <a:lnTo>
                    <a:pt x="196" y="6390"/>
                  </a:lnTo>
                  <a:lnTo>
                    <a:pt x="210" y="6408"/>
                  </a:lnTo>
                  <a:lnTo>
                    <a:pt x="224" y="6426"/>
                  </a:lnTo>
                  <a:lnTo>
                    <a:pt x="238" y="6443"/>
                  </a:lnTo>
                  <a:lnTo>
                    <a:pt x="253" y="6461"/>
                  </a:lnTo>
                  <a:lnTo>
                    <a:pt x="2012" y="8441"/>
                  </a:lnTo>
                  <a:lnTo>
                    <a:pt x="2012" y="8813"/>
                  </a:lnTo>
                  <a:lnTo>
                    <a:pt x="2014" y="8877"/>
                  </a:lnTo>
                  <a:lnTo>
                    <a:pt x="2019" y="8942"/>
                  </a:lnTo>
                  <a:lnTo>
                    <a:pt x="2026" y="9004"/>
                  </a:lnTo>
                  <a:lnTo>
                    <a:pt x="2038" y="9067"/>
                  </a:lnTo>
                  <a:lnTo>
                    <a:pt x="2052" y="9127"/>
                  </a:lnTo>
                  <a:lnTo>
                    <a:pt x="2068" y="9187"/>
                  </a:lnTo>
                  <a:lnTo>
                    <a:pt x="2088" y="9245"/>
                  </a:lnTo>
                  <a:lnTo>
                    <a:pt x="2110" y="9303"/>
                  </a:lnTo>
                  <a:lnTo>
                    <a:pt x="2137" y="9358"/>
                  </a:lnTo>
                  <a:lnTo>
                    <a:pt x="2164" y="9412"/>
                  </a:lnTo>
                  <a:lnTo>
                    <a:pt x="2194" y="9466"/>
                  </a:lnTo>
                  <a:lnTo>
                    <a:pt x="2227" y="9516"/>
                  </a:lnTo>
                  <a:lnTo>
                    <a:pt x="2262" y="9566"/>
                  </a:lnTo>
                  <a:lnTo>
                    <a:pt x="2300" y="9614"/>
                  </a:lnTo>
                  <a:lnTo>
                    <a:pt x="2339" y="9659"/>
                  </a:lnTo>
                  <a:lnTo>
                    <a:pt x="2381" y="9703"/>
                  </a:lnTo>
                  <a:lnTo>
                    <a:pt x="2424" y="9745"/>
                  </a:lnTo>
                  <a:lnTo>
                    <a:pt x="2471" y="9784"/>
                  </a:lnTo>
                  <a:lnTo>
                    <a:pt x="2518" y="9821"/>
                  </a:lnTo>
                  <a:lnTo>
                    <a:pt x="2567" y="9856"/>
                  </a:lnTo>
                  <a:lnTo>
                    <a:pt x="2617" y="9890"/>
                  </a:lnTo>
                  <a:lnTo>
                    <a:pt x="2671" y="9920"/>
                  </a:lnTo>
                  <a:lnTo>
                    <a:pt x="2725" y="9948"/>
                  </a:lnTo>
                  <a:lnTo>
                    <a:pt x="2780" y="9973"/>
                  </a:lnTo>
                  <a:lnTo>
                    <a:pt x="2838" y="9995"/>
                  </a:lnTo>
                  <a:lnTo>
                    <a:pt x="2896" y="10016"/>
                  </a:lnTo>
                  <a:lnTo>
                    <a:pt x="2955" y="10033"/>
                  </a:lnTo>
                  <a:lnTo>
                    <a:pt x="3016" y="10047"/>
                  </a:lnTo>
                  <a:lnTo>
                    <a:pt x="3078" y="10058"/>
                  </a:lnTo>
                  <a:lnTo>
                    <a:pt x="3141" y="10066"/>
                  </a:lnTo>
                  <a:lnTo>
                    <a:pt x="3205" y="10070"/>
                  </a:lnTo>
                  <a:lnTo>
                    <a:pt x="3269" y="10072"/>
                  </a:lnTo>
                  <a:lnTo>
                    <a:pt x="12826" y="10072"/>
                  </a:lnTo>
                  <a:lnTo>
                    <a:pt x="12890" y="10070"/>
                  </a:lnTo>
                  <a:lnTo>
                    <a:pt x="12953" y="10066"/>
                  </a:lnTo>
                  <a:lnTo>
                    <a:pt x="13017" y="10058"/>
                  </a:lnTo>
                  <a:lnTo>
                    <a:pt x="13078" y="10047"/>
                  </a:lnTo>
                  <a:lnTo>
                    <a:pt x="13140" y="10033"/>
                  </a:lnTo>
                  <a:lnTo>
                    <a:pt x="13199" y="10016"/>
                  </a:lnTo>
                  <a:lnTo>
                    <a:pt x="13257" y="9995"/>
                  </a:lnTo>
                  <a:lnTo>
                    <a:pt x="13315" y="9973"/>
                  </a:lnTo>
                  <a:lnTo>
                    <a:pt x="13370" y="9948"/>
                  </a:lnTo>
                  <a:lnTo>
                    <a:pt x="13424" y="9920"/>
                  </a:lnTo>
                  <a:lnTo>
                    <a:pt x="13477" y="9890"/>
                  </a:lnTo>
                  <a:lnTo>
                    <a:pt x="13528" y="9856"/>
                  </a:lnTo>
                  <a:lnTo>
                    <a:pt x="13577" y="9821"/>
                  </a:lnTo>
                  <a:lnTo>
                    <a:pt x="13624" y="9784"/>
                  </a:lnTo>
                  <a:lnTo>
                    <a:pt x="13671" y="9745"/>
                  </a:lnTo>
                  <a:lnTo>
                    <a:pt x="13714" y="9703"/>
                  </a:lnTo>
                  <a:lnTo>
                    <a:pt x="13756" y="9659"/>
                  </a:lnTo>
                  <a:lnTo>
                    <a:pt x="13795" y="9614"/>
                  </a:lnTo>
                  <a:lnTo>
                    <a:pt x="13833" y="9566"/>
                  </a:lnTo>
                  <a:lnTo>
                    <a:pt x="13868" y="9516"/>
                  </a:lnTo>
                  <a:lnTo>
                    <a:pt x="13900" y="9466"/>
                  </a:lnTo>
                  <a:lnTo>
                    <a:pt x="13931" y="9412"/>
                  </a:lnTo>
                  <a:lnTo>
                    <a:pt x="13958" y="9358"/>
                  </a:lnTo>
                  <a:lnTo>
                    <a:pt x="13984" y="9303"/>
                  </a:lnTo>
                  <a:lnTo>
                    <a:pt x="14007" y="9245"/>
                  </a:lnTo>
                  <a:lnTo>
                    <a:pt x="14026" y="9187"/>
                  </a:lnTo>
                  <a:lnTo>
                    <a:pt x="14043" y="9127"/>
                  </a:lnTo>
                  <a:lnTo>
                    <a:pt x="14057" y="9067"/>
                  </a:lnTo>
                  <a:lnTo>
                    <a:pt x="14068" y="9004"/>
                  </a:lnTo>
                  <a:lnTo>
                    <a:pt x="14076" y="8942"/>
                  </a:lnTo>
                  <a:lnTo>
                    <a:pt x="14081" y="8877"/>
                  </a:lnTo>
                  <a:lnTo>
                    <a:pt x="14083" y="8813"/>
                  </a:lnTo>
                  <a:lnTo>
                    <a:pt x="14083" y="8441"/>
                  </a:lnTo>
                  <a:lnTo>
                    <a:pt x="15840" y="6461"/>
                  </a:lnTo>
                  <a:lnTo>
                    <a:pt x="15856" y="6443"/>
                  </a:lnTo>
                  <a:lnTo>
                    <a:pt x="15871" y="6426"/>
                  </a:lnTo>
                  <a:lnTo>
                    <a:pt x="15885" y="6408"/>
                  </a:lnTo>
                  <a:lnTo>
                    <a:pt x="15899" y="6390"/>
                  </a:lnTo>
                  <a:lnTo>
                    <a:pt x="15912" y="6371"/>
                  </a:lnTo>
                  <a:lnTo>
                    <a:pt x="15925" y="6351"/>
                  </a:lnTo>
                  <a:lnTo>
                    <a:pt x="15937" y="6332"/>
                  </a:lnTo>
                  <a:lnTo>
                    <a:pt x="15949" y="6313"/>
                  </a:lnTo>
                  <a:lnTo>
                    <a:pt x="15961" y="6294"/>
                  </a:lnTo>
                  <a:lnTo>
                    <a:pt x="15972" y="6274"/>
                  </a:lnTo>
                  <a:lnTo>
                    <a:pt x="15982" y="6254"/>
                  </a:lnTo>
                  <a:lnTo>
                    <a:pt x="15992" y="6234"/>
                  </a:lnTo>
                  <a:lnTo>
                    <a:pt x="16002" y="6212"/>
                  </a:lnTo>
                  <a:lnTo>
                    <a:pt x="16012" y="6191"/>
                  </a:lnTo>
                  <a:lnTo>
                    <a:pt x="16021" y="6171"/>
                  </a:lnTo>
                  <a:lnTo>
                    <a:pt x="16029" y="6150"/>
                  </a:lnTo>
                  <a:lnTo>
                    <a:pt x="16037" y="6128"/>
                  </a:lnTo>
                  <a:lnTo>
                    <a:pt x="16044" y="6107"/>
                  </a:lnTo>
                  <a:lnTo>
                    <a:pt x="16051" y="6085"/>
                  </a:lnTo>
                  <a:lnTo>
                    <a:pt x="16058" y="6063"/>
                  </a:lnTo>
                  <a:lnTo>
                    <a:pt x="16063" y="6041"/>
                  </a:lnTo>
                  <a:lnTo>
                    <a:pt x="16069" y="6019"/>
                  </a:lnTo>
                  <a:lnTo>
                    <a:pt x="16074" y="5997"/>
                  </a:lnTo>
                  <a:lnTo>
                    <a:pt x="16078" y="5975"/>
                  </a:lnTo>
                  <a:lnTo>
                    <a:pt x="16082" y="5952"/>
                  </a:lnTo>
                  <a:lnTo>
                    <a:pt x="16085" y="5929"/>
                  </a:lnTo>
                  <a:lnTo>
                    <a:pt x="16088" y="5906"/>
                  </a:lnTo>
                  <a:lnTo>
                    <a:pt x="16090" y="5883"/>
                  </a:lnTo>
                  <a:lnTo>
                    <a:pt x="16092" y="5861"/>
                  </a:lnTo>
                  <a:lnTo>
                    <a:pt x="16093" y="5838"/>
                  </a:lnTo>
                  <a:lnTo>
                    <a:pt x="16094" y="5815"/>
                  </a:lnTo>
                  <a:lnTo>
                    <a:pt x="16095" y="5791"/>
                  </a:lnTo>
                  <a:lnTo>
                    <a:pt x="16093" y="5727"/>
                  </a:lnTo>
                  <a:lnTo>
                    <a:pt x="16088" y="5662"/>
                  </a:lnTo>
                  <a:lnTo>
                    <a:pt x="16080" y="5600"/>
                  </a:lnTo>
                  <a:lnTo>
                    <a:pt x="16069" y="5538"/>
                  </a:lnTo>
                  <a:lnTo>
                    <a:pt x="16055" y="5477"/>
                  </a:lnTo>
                  <a:lnTo>
                    <a:pt x="16038" y="5418"/>
                  </a:lnTo>
                  <a:lnTo>
                    <a:pt x="16019" y="5359"/>
                  </a:lnTo>
                  <a:lnTo>
                    <a:pt x="15995" y="5302"/>
                  </a:lnTo>
                  <a:lnTo>
                    <a:pt x="15970" y="5247"/>
                  </a:lnTo>
                  <a:lnTo>
                    <a:pt x="15942" y="5192"/>
                  </a:lnTo>
                  <a:lnTo>
                    <a:pt x="15912" y="5139"/>
                  </a:lnTo>
                  <a:lnTo>
                    <a:pt x="15880" y="5088"/>
                  </a:lnTo>
                  <a:lnTo>
                    <a:pt x="15845" y="5039"/>
                  </a:lnTo>
                  <a:lnTo>
                    <a:pt x="15807" y="4991"/>
                  </a:lnTo>
                  <a:lnTo>
                    <a:pt x="15767" y="4945"/>
                  </a:lnTo>
                  <a:lnTo>
                    <a:pt x="15726" y="4902"/>
                  </a:lnTo>
                  <a:lnTo>
                    <a:pt x="15683" y="4860"/>
                  </a:lnTo>
                  <a:lnTo>
                    <a:pt x="15636" y="4820"/>
                  </a:lnTo>
                  <a:lnTo>
                    <a:pt x="15589" y="4783"/>
                  </a:lnTo>
                  <a:lnTo>
                    <a:pt x="15540" y="4748"/>
                  </a:lnTo>
                  <a:lnTo>
                    <a:pt x="15488" y="4715"/>
                  </a:lnTo>
                  <a:lnTo>
                    <a:pt x="15436" y="4685"/>
                  </a:lnTo>
                  <a:lnTo>
                    <a:pt x="15382" y="4657"/>
                  </a:lnTo>
                  <a:lnTo>
                    <a:pt x="15326" y="4631"/>
                  </a:lnTo>
                  <a:lnTo>
                    <a:pt x="15269" y="4609"/>
                  </a:lnTo>
                  <a:lnTo>
                    <a:pt x="15211" y="4589"/>
                  </a:lnTo>
                  <a:lnTo>
                    <a:pt x="15151" y="4573"/>
                  </a:lnTo>
                  <a:lnTo>
                    <a:pt x="15090" y="4559"/>
                  </a:lnTo>
                  <a:lnTo>
                    <a:pt x="15029" y="4548"/>
                  </a:lnTo>
                  <a:lnTo>
                    <a:pt x="14965" y="4539"/>
                  </a:lnTo>
                  <a:lnTo>
                    <a:pt x="14902" y="4534"/>
                  </a:lnTo>
                  <a:lnTo>
                    <a:pt x="14838" y="45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3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24" name="ïsḻídê">
              <a:extLst>
                <a:ext uri="{FF2B5EF4-FFF2-40B4-BE49-F238E27FC236}">
                  <a16:creationId xmlns:a16="http://schemas.microsoft.com/office/drawing/2014/main" id="{D1404067-F3CA-4AE3-9AA2-6FF5A4974705}"/>
                </a:ext>
              </a:extLst>
            </p:cNvPr>
            <p:cNvSpPr/>
            <p:nvPr/>
          </p:nvSpPr>
          <p:spPr bwMode="auto">
            <a:xfrm>
              <a:off x="4504974" y="79403"/>
              <a:ext cx="24571" cy="80848"/>
            </a:xfrm>
            <a:custGeom>
              <a:avLst/>
              <a:gdLst>
                <a:gd name="T0" fmla="*/ 123 w 1136"/>
                <a:gd name="T1" fmla="*/ 3641 h 3777"/>
                <a:gd name="T2" fmla="*/ 162 w 1136"/>
                <a:gd name="T3" fmla="*/ 3696 h 3777"/>
                <a:gd name="T4" fmla="*/ 214 w 1136"/>
                <a:gd name="T5" fmla="*/ 3740 h 3777"/>
                <a:gd name="T6" fmla="*/ 276 w 1136"/>
                <a:gd name="T7" fmla="*/ 3767 h 3777"/>
                <a:gd name="T8" fmla="*/ 346 w 1136"/>
                <a:gd name="T9" fmla="*/ 3777 h 3777"/>
                <a:gd name="T10" fmla="*/ 396 w 1136"/>
                <a:gd name="T11" fmla="*/ 3772 h 3777"/>
                <a:gd name="T12" fmla="*/ 444 w 1136"/>
                <a:gd name="T13" fmla="*/ 3757 h 3777"/>
                <a:gd name="T14" fmla="*/ 487 w 1136"/>
                <a:gd name="T15" fmla="*/ 3734 h 3777"/>
                <a:gd name="T16" fmla="*/ 524 w 1136"/>
                <a:gd name="T17" fmla="*/ 3704 h 3777"/>
                <a:gd name="T18" fmla="*/ 555 w 1136"/>
                <a:gd name="T19" fmla="*/ 3665 h 3777"/>
                <a:gd name="T20" fmla="*/ 578 w 1136"/>
                <a:gd name="T21" fmla="*/ 3623 h 3777"/>
                <a:gd name="T22" fmla="*/ 593 w 1136"/>
                <a:gd name="T23" fmla="*/ 3575 h 3777"/>
                <a:gd name="T24" fmla="*/ 599 w 1136"/>
                <a:gd name="T25" fmla="*/ 3524 h 3777"/>
                <a:gd name="T26" fmla="*/ 589 w 1136"/>
                <a:gd name="T27" fmla="*/ 3461 h 3777"/>
                <a:gd name="T28" fmla="*/ 558 w 1136"/>
                <a:gd name="T29" fmla="*/ 3368 h 3777"/>
                <a:gd name="T30" fmla="*/ 520 w 1136"/>
                <a:gd name="T31" fmla="*/ 3197 h 3777"/>
                <a:gd name="T32" fmla="*/ 510 w 1136"/>
                <a:gd name="T33" fmla="*/ 3023 h 3777"/>
                <a:gd name="T34" fmla="*/ 526 w 1136"/>
                <a:gd name="T35" fmla="*/ 2844 h 3777"/>
                <a:gd name="T36" fmla="*/ 562 w 1136"/>
                <a:gd name="T37" fmla="*/ 2662 h 3777"/>
                <a:gd name="T38" fmla="*/ 616 w 1136"/>
                <a:gd name="T39" fmla="*/ 2476 h 3777"/>
                <a:gd name="T40" fmla="*/ 720 w 1136"/>
                <a:gd name="T41" fmla="*/ 2190 h 3777"/>
                <a:gd name="T42" fmla="*/ 889 w 1136"/>
                <a:gd name="T43" fmla="*/ 1780 h 3777"/>
                <a:gd name="T44" fmla="*/ 974 w 1136"/>
                <a:gd name="T45" fmla="*/ 1559 h 3777"/>
                <a:gd name="T46" fmla="*/ 1046 w 1136"/>
                <a:gd name="T47" fmla="*/ 1334 h 3777"/>
                <a:gd name="T48" fmla="*/ 1100 w 1136"/>
                <a:gd name="T49" fmla="*/ 1104 h 3777"/>
                <a:gd name="T50" fmla="*/ 1132 w 1136"/>
                <a:gd name="T51" fmla="*/ 871 h 3777"/>
                <a:gd name="T52" fmla="*/ 1132 w 1136"/>
                <a:gd name="T53" fmla="*/ 636 h 3777"/>
                <a:gd name="T54" fmla="*/ 1093 w 1136"/>
                <a:gd name="T55" fmla="*/ 398 h 3777"/>
                <a:gd name="T56" fmla="*/ 1012 w 1136"/>
                <a:gd name="T57" fmla="*/ 158 h 3777"/>
                <a:gd name="T58" fmla="*/ 976 w 1136"/>
                <a:gd name="T59" fmla="*/ 95 h 3777"/>
                <a:gd name="T60" fmla="*/ 923 w 1136"/>
                <a:gd name="T61" fmla="*/ 44 h 3777"/>
                <a:gd name="T62" fmla="*/ 858 w 1136"/>
                <a:gd name="T63" fmla="*/ 12 h 3777"/>
                <a:gd name="T64" fmla="*/ 783 w 1136"/>
                <a:gd name="T65" fmla="*/ 0 h 3777"/>
                <a:gd name="T66" fmla="*/ 733 w 1136"/>
                <a:gd name="T67" fmla="*/ 5 h 3777"/>
                <a:gd name="T68" fmla="*/ 687 w 1136"/>
                <a:gd name="T69" fmla="*/ 20 h 3777"/>
                <a:gd name="T70" fmla="*/ 645 w 1136"/>
                <a:gd name="T71" fmla="*/ 42 h 3777"/>
                <a:gd name="T72" fmla="*/ 609 w 1136"/>
                <a:gd name="T73" fmla="*/ 73 h 3777"/>
                <a:gd name="T74" fmla="*/ 578 w 1136"/>
                <a:gd name="T75" fmla="*/ 110 h 3777"/>
                <a:gd name="T76" fmla="*/ 555 w 1136"/>
                <a:gd name="T77" fmla="*/ 151 h 3777"/>
                <a:gd name="T78" fmla="*/ 541 w 1136"/>
                <a:gd name="T79" fmla="*/ 197 h 3777"/>
                <a:gd name="T80" fmla="*/ 536 w 1136"/>
                <a:gd name="T81" fmla="*/ 247 h 3777"/>
                <a:gd name="T82" fmla="*/ 540 w 1136"/>
                <a:gd name="T83" fmla="*/ 291 h 3777"/>
                <a:gd name="T84" fmla="*/ 553 w 1136"/>
                <a:gd name="T85" fmla="*/ 335 h 3777"/>
                <a:gd name="T86" fmla="*/ 574 w 1136"/>
                <a:gd name="T87" fmla="*/ 389 h 3777"/>
                <a:gd name="T88" fmla="*/ 625 w 1136"/>
                <a:gd name="T89" fmla="*/ 561 h 3777"/>
                <a:gd name="T90" fmla="*/ 642 w 1136"/>
                <a:gd name="T91" fmla="*/ 736 h 3777"/>
                <a:gd name="T92" fmla="*/ 632 w 1136"/>
                <a:gd name="T93" fmla="*/ 913 h 3777"/>
                <a:gd name="T94" fmla="*/ 599 w 1136"/>
                <a:gd name="T95" fmla="*/ 1092 h 3777"/>
                <a:gd name="T96" fmla="*/ 546 w 1136"/>
                <a:gd name="T97" fmla="*/ 1275 h 3777"/>
                <a:gd name="T98" fmla="*/ 462 w 1136"/>
                <a:gd name="T99" fmla="*/ 1511 h 3777"/>
                <a:gd name="T100" fmla="*/ 298 w 1136"/>
                <a:gd name="T101" fmla="*/ 1908 h 3777"/>
                <a:gd name="T102" fmla="*/ 190 w 1136"/>
                <a:gd name="T103" fmla="*/ 2178 h 3777"/>
                <a:gd name="T104" fmla="*/ 114 w 1136"/>
                <a:gd name="T105" fmla="*/ 2398 h 3777"/>
                <a:gd name="T106" fmla="*/ 52 w 1136"/>
                <a:gd name="T107" fmla="*/ 2623 h 3777"/>
                <a:gd name="T108" fmla="*/ 12 w 1136"/>
                <a:gd name="T109" fmla="*/ 2851 h 3777"/>
                <a:gd name="T110" fmla="*/ 0 w 1136"/>
                <a:gd name="T111" fmla="*/ 3083 h 3777"/>
                <a:gd name="T112" fmla="*/ 23 w 1136"/>
                <a:gd name="T113" fmla="*/ 3317 h 3777"/>
                <a:gd name="T114" fmla="*/ 86 w 1136"/>
                <a:gd name="T115" fmla="*/ 3551 h 3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36" h="3777">
                  <a:moveTo>
                    <a:pt x="118" y="3632"/>
                  </a:moveTo>
                  <a:lnTo>
                    <a:pt x="120" y="3637"/>
                  </a:lnTo>
                  <a:lnTo>
                    <a:pt x="122" y="3641"/>
                  </a:lnTo>
                  <a:lnTo>
                    <a:pt x="123" y="3641"/>
                  </a:lnTo>
                  <a:lnTo>
                    <a:pt x="132" y="3656"/>
                  </a:lnTo>
                  <a:lnTo>
                    <a:pt x="141" y="3670"/>
                  </a:lnTo>
                  <a:lnTo>
                    <a:pt x="151" y="3683"/>
                  </a:lnTo>
                  <a:lnTo>
                    <a:pt x="162" y="3696"/>
                  </a:lnTo>
                  <a:lnTo>
                    <a:pt x="174" y="3709"/>
                  </a:lnTo>
                  <a:lnTo>
                    <a:pt x="186" y="3720"/>
                  </a:lnTo>
                  <a:lnTo>
                    <a:pt x="200" y="3730"/>
                  </a:lnTo>
                  <a:lnTo>
                    <a:pt x="214" y="3740"/>
                  </a:lnTo>
                  <a:lnTo>
                    <a:pt x="228" y="3748"/>
                  </a:lnTo>
                  <a:lnTo>
                    <a:pt x="243" y="3756"/>
                  </a:lnTo>
                  <a:lnTo>
                    <a:pt x="260" y="3762"/>
                  </a:lnTo>
                  <a:lnTo>
                    <a:pt x="276" y="3767"/>
                  </a:lnTo>
                  <a:lnTo>
                    <a:pt x="293" y="3772"/>
                  </a:lnTo>
                  <a:lnTo>
                    <a:pt x="310" y="3775"/>
                  </a:lnTo>
                  <a:lnTo>
                    <a:pt x="328" y="3777"/>
                  </a:lnTo>
                  <a:lnTo>
                    <a:pt x="346" y="3777"/>
                  </a:lnTo>
                  <a:lnTo>
                    <a:pt x="359" y="3777"/>
                  </a:lnTo>
                  <a:lnTo>
                    <a:pt x="371" y="3776"/>
                  </a:lnTo>
                  <a:lnTo>
                    <a:pt x="384" y="3774"/>
                  </a:lnTo>
                  <a:lnTo>
                    <a:pt x="396" y="3772"/>
                  </a:lnTo>
                  <a:lnTo>
                    <a:pt x="408" y="3769"/>
                  </a:lnTo>
                  <a:lnTo>
                    <a:pt x="420" y="3766"/>
                  </a:lnTo>
                  <a:lnTo>
                    <a:pt x="433" y="3762"/>
                  </a:lnTo>
                  <a:lnTo>
                    <a:pt x="444" y="3757"/>
                  </a:lnTo>
                  <a:lnTo>
                    <a:pt x="456" y="3752"/>
                  </a:lnTo>
                  <a:lnTo>
                    <a:pt x="466" y="3747"/>
                  </a:lnTo>
                  <a:lnTo>
                    <a:pt x="477" y="3741"/>
                  </a:lnTo>
                  <a:lnTo>
                    <a:pt x="487" y="3734"/>
                  </a:lnTo>
                  <a:lnTo>
                    <a:pt x="497" y="3727"/>
                  </a:lnTo>
                  <a:lnTo>
                    <a:pt x="506" y="3720"/>
                  </a:lnTo>
                  <a:lnTo>
                    <a:pt x="516" y="3712"/>
                  </a:lnTo>
                  <a:lnTo>
                    <a:pt x="524" y="3704"/>
                  </a:lnTo>
                  <a:lnTo>
                    <a:pt x="533" y="3694"/>
                  </a:lnTo>
                  <a:lnTo>
                    <a:pt x="541" y="3685"/>
                  </a:lnTo>
                  <a:lnTo>
                    <a:pt x="548" y="3675"/>
                  </a:lnTo>
                  <a:lnTo>
                    <a:pt x="555" y="3665"/>
                  </a:lnTo>
                  <a:lnTo>
                    <a:pt x="562" y="3655"/>
                  </a:lnTo>
                  <a:lnTo>
                    <a:pt x="568" y="3644"/>
                  </a:lnTo>
                  <a:lnTo>
                    <a:pt x="573" y="3634"/>
                  </a:lnTo>
                  <a:lnTo>
                    <a:pt x="578" y="3623"/>
                  </a:lnTo>
                  <a:lnTo>
                    <a:pt x="583" y="3611"/>
                  </a:lnTo>
                  <a:lnTo>
                    <a:pt x="587" y="3599"/>
                  </a:lnTo>
                  <a:lnTo>
                    <a:pt x="590" y="3587"/>
                  </a:lnTo>
                  <a:lnTo>
                    <a:pt x="593" y="3575"/>
                  </a:lnTo>
                  <a:lnTo>
                    <a:pt x="595" y="3563"/>
                  </a:lnTo>
                  <a:lnTo>
                    <a:pt x="598" y="3549"/>
                  </a:lnTo>
                  <a:lnTo>
                    <a:pt x="599" y="3537"/>
                  </a:lnTo>
                  <a:lnTo>
                    <a:pt x="599" y="3524"/>
                  </a:lnTo>
                  <a:lnTo>
                    <a:pt x="599" y="3508"/>
                  </a:lnTo>
                  <a:lnTo>
                    <a:pt x="597" y="3492"/>
                  </a:lnTo>
                  <a:lnTo>
                    <a:pt x="593" y="3476"/>
                  </a:lnTo>
                  <a:lnTo>
                    <a:pt x="589" y="3461"/>
                  </a:lnTo>
                  <a:lnTo>
                    <a:pt x="590" y="3456"/>
                  </a:lnTo>
                  <a:lnTo>
                    <a:pt x="589" y="3452"/>
                  </a:lnTo>
                  <a:lnTo>
                    <a:pt x="572" y="3409"/>
                  </a:lnTo>
                  <a:lnTo>
                    <a:pt x="558" y="3368"/>
                  </a:lnTo>
                  <a:lnTo>
                    <a:pt x="546" y="3326"/>
                  </a:lnTo>
                  <a:lnTo>
                    <a:pt x="535" y="3283"/>
                  </a:lnTo>
                  <a:lnTo>
                    <a:pt x="527" y="3240"/>
                  </a:lnTo>
                  <a:lnTo>
                    <a:pt x="520" y="3197"/>
                  </a:lnTo>
                  <a:lnTo>
                    <a:pt x="515" y="3154"/>
                  </a:lnTo>
                  <a:lnTo>
                    <a:pt x="512" y="3110"/>
                  </a:lnTo>
                  <a:lnTo>
                    <a:pt x="510" y="3067"/>
                  </a:lnTo>
                  <a:lnTo>
                    <a:pt x="510" y="3023"/>
                  </a:lnTo>
                  <a:lnTo>
                    <a:pt x="512" y="2978"/>
                  </a:lnTo>
                  <a:lnTo>
                    <a:pt x="515" y="2934"/>
                  </a:lnTo>
                  <a:lnTo>
                    <a:pt x="520" y="2889"/>
                  </a:lnTo>
                  <a:lnTo>
                    <a:pt x="526" y="2844"/>
                  </a:lnTo>
                  <a:lnTo>
                    <a:pt x="533" y="2799"/>
                  </a:lnTo>
                  <a:lnTo>
                    <a:pt x="541" y="2754"/>
                  </a:lnTo>
                  <a:lnTo>
                    <a:pt x="551" y="2707"/>
                  </a:lnTo>
                  <a:lnTo>
                    <a:pt x="562" y="2662"/>
                  </a:lnTo>
                  <a:lnTo>
                    <a:pt x="574" y="2616"/>
                  </a:lnTo>
                  <a:lnTo>
                    <a:pt x="587" y="2569"/>
                  </a:lnTo>
                  <a:lnTo>
                    <a:pt x="601" y="2523"/>
                  </a:lnTo>
                  <a:lnTo>
                    <a:pt x="616" y="2476"/>
                  </a:lnTo>
                  <a:lnTo>
                    <a:pt x="632" y="2429"/>
                  </a:lnTo>
                  <a:lnTo>
                    <a:pt x="648" y="2382"/>
                  </a:lnTo>
                  <a:lnTo>
                    <a:pt x="683" y="2286"/>
                  </a:lnTo>
                  <a:lnTo>
                    <a:pt x="720" y="2190"/>
                  </a:lnTo>
                  <a:lnTo>
                    <a:pt x="759" y="2093"/>
                  </a:lnTo>
                  <a:lnTo>
                    <a:pt x="800" y="1995"/>
                  </a:lnTo>
                  <a:lnTo>
                    <a:pt x="845" y="1889"/>
                  </a:lnTo>
                  <a:lnTo>
                    <a:pt x="889" y="1780"/>
                  </a:lnTo>
                  <a:lnTo>
                    <a:pt x="910" y="1725"/>
                  </a:lnTo>
                  <a:lnTo>
                    <a:pt x="932" y="1670"/>
                  </a:lnTo>
                  <a:lnTo>
                    <a:pt x="953" y="1615"/>
                  </a:lnTo>
                  <a:lnTo>
                    <a:pt x="974" y="1559"/>
                  </a:lnTo>
                  <a:lnTo>
                    <a:pt x="993" y="1503"/>
                  </a:lnTo>
                  <a:lnTo>
                    <a:pt x="1011" y="1446"/>
                  </a:lnTo>
                  <a:lnTo>
                    <a:pt x="1029" y="1390"/>
                  </a:lnTo>
                  <a:lnTo>
                    <a:pt x="1046" y="1334"/>
                  </a:lnTo>
                  <a:lnTo>
                    <a:pt x="1061" y="1276"/>
                  </a:lnTo>
                  <a:lnTo>
                    <a:pt x="1076" y="1220"/>
                  </a:lnTo>
                  <a:lnTo>
                    <a:pt x="1089" y="1162"/>
                  </a:lnTo>
                  <a:lnTo>
                    <a:pt x="1100" y="1104"/>
                  </a:lnTo>
                  <a:lnTo>
                    <a:pt x="1112" y="1047"/>
                  </a:lnTo>
                  <a:lnTo>
                    <a:pt x="1120" y="988"/>
                  </a:lnTo>
                  <a:lnTo>
                    <a:pt x="1127" y="930"/>
                  </a:lnTo>
                  <a:lnTo>
                    <a:pt x="1132" y="871"/>
                  </a:lnTo>
                  <a:lnTo>
                    <a:pt x="1135" y="813"/>
                  </a:lnTo>
                  <a:lnTo>
                    <a:pt x="1136" y="753"/>
                  </a:lnTo>
                  <a:lnTo>
                    <a:pt x="1135" y="695"/>
                  </a:lnTo>
                  <a:lnTo>
                    <a:pt x="1132" y="636"/>
                  </a:lnTo>
                  <a:lnTo>
                    <a:pt x="1126" y="576"/>
                  </a:lnTo>
                  <a:lnTo>
                    <a:pt x="1118" y="517"/>
                  </a:lnTo>
                  <a:lnTo>
                    <a:pt x="1107" y="457"/>
                  </a:lnTo>
                  <a:lnTo>
                    <a:pt x="1093" y="398"/>
                  </a:lnTo>
                  <a:lnTo>
                    <a:pt x="1077" y="338"/>
                  </a:lnTo>
                  <a:lnTo>
                    <a:pt x="1059" y="278"/>
                  </a:lnTo>
                  <a:lnTo>
                    <a:pt x="1037" y="219"/>
                  </a:lnTo>
                  <a:lnTo>
                    <a:pt x="1012" y="158"/>
                  </a:lnTo>
                  <a:lnTo>
                    <a:pt x="1005" y="141"/>
                  </a:lnTo>
                  <a:lnTo>
                    <a:pt x="996" y="125"/>
                  </a:lnTo>
                  <a:lnTo>
                    <a:pt x="987" y="110"/>
                  </a:lnTo>
                  <a:lnTo>
                    <a:pt x="976" y="95"/>
                  </a:lnTo>
                  <a:lnTo>
                    <a:pt x="965" y="81"/>
                  </a:lnTo>
                  <a:lnTo>
                    <a:pt x="952" y="68"/>
                  </a:lnTo>
                  <a:lnTo>
                    <a:pt x="938" y="55"/>
                  </a:lnTo>
                  <a:lnTo>
                    <a:pt x="923" y="44"/>
                  </a:lnTo>
                  <a:lnTo>
                    <a:pt x="908" y="35"/>
                  </a:lnTo>
                  <a:lnTo>
                    <a:pt x="892" y="26"/>
                  </a:lnTo>
                  <a:lnTo>
                    <a:pt x="875" y="18"/>
                  </a:lnTo>
                  <a:lnTo>
                    <a:pt x="858" y="12"/>
                  </a:lnTo>
                  <a:lnTo>
                    <a:pt x="840" y="7"/>
                  </a:lnTo>
                  <a:lnTo>
                    <a:pt x="821" y="3"/>
                  </a:lnTo>
                  <a:lnTo>
                    <a:pt x="803" y="1"/>
                  </a:lnTo>
                  <a:lnTo>
                    <a:pt x="783" y="0"/>
                  </a:lnTo>
                  <a:lnTo>
                    <a:pt x="771" y="1"/>
                  </a:lnTo>
                  <a:lnTo>
                    <a:pt x="757" y="2"/>
                  </a:lnTo>
                  <a:lnTo>
                    <a:pt x="745" y="3"/>
                  </a:lnTo>
                  <a:lnTo>
                    <a:pt x="733" y="5"/>
                  </a:lnTo>
                  <a:lnTo>
                    <a:pt x="721" y="8"/>
                  </a:lnTo>
                  <a:lnTo>
                    <a:pt x="709" y="11"/>
                  </a:lnTo>
                  <a:lnTo>
                    <a:pt x="698" y="15"/>
                  </a:lnTo>
                  <a:lnTo>
                    <a:pt x="687" y="20"/>
                  </a:lnTo>
                  <a:lnTo>
                    <a:pt x="676" y="25"/>
                  </a:lnTo>
                  <a:lnTo>
                    <a:pt x="666" y="30"/>
                  </a:lnTo>
                  <a:lnTo>
                    <a:pt x="655" y="36"/>
                  </a:lnTo>
                  <a:lnTo>
                    <a:pt x="645" y="42"/>
                  </a:lnTo>
                  <a:lnTo>
                    <a:pt x="636" y="49"/>
                  </a:lnTo>
                  <a:lnTo>
                    <a:pt x="626" y="56"/>
                  </a:lnTo>
                  <a:lnTo>
                    <a:pt x="618" y="65"/>
                  </a:lnTo>
                  <a:lnTo>
                    <a:pt x="609" y="73"/>
                  </a:lnTo>
                  <a:lnTo>
                    <a:pt x="601" y="82"/>
                  </a:lnTo>
                  <a:lnTo>
                    <a:pt x="592" y="91"/>
                  </a:lnTo>
                  <a:lnTo>
                    <a:pt x="585" y="100"/>
                  </a:lnTo>
                  <a:lnTo>
                    <a:pt x="578" y="110"/>
                  </a:lnTo>
                  <a:lnTo>
                    <a:pt x="572" y="119"/>
                  </a:lnTo>
                  <a:lnTo>
                    <a:pt x="566" y="130"/>
                  </a:lnTo>
                  <a:lnTo>
                    <a:pt x="560" y="140"/>
                  </a:lnTo>
                  <a:lnTo>
                    <a:pt x="555" y="151"/>
                  </a:lnTo>
                  <a:lnTo>
                    <a:pt x="551" y="162"/>
                  </a:lnTo>
                  <a:lnTo>
                    <a:pt x="547" y="174"/>
                  </a:lnTo>
                  <a:lnTo>
                    <a:pt x="544" y="185"/>
                  </a:lnTo>
                  <a:lnTo>
                    <a:pt x="541" y="197"/>
                  </a:lnTo>
                  <a:lnTo>
                    <a:pt x="539" y="210"/>
                  </a:lnTo>
                  <a:lnTo>
                    <a:pt x="537" y="222"/>
                  </a:lnTo>
                  <a:lnTo>
                    <a:pt x="537" y="235"/>
                  </a:lnTo>
                  <a:lnTo>
                    <a:pt x="536" y="247"/>
                  </a:lnTo>
                  <a:lnTo>
                    <a:pt x="536" y="259"/>
                  </a:lnTo>
                  <a:lnTo>
                    <a:pt x="537" y="270"/>
                  </a:lnTo>
                  <a:lnTo>
                    <a:pt x="539" y="281"/>
                  </a:lnTo>
                  <a:lnTo>
                    <a:pt x="540" y="291"/>
                  </a:lnTo>
                  <a:lnTo>
                    <a:pt x="546" y="312"/>
                  </a:lnTo>
                  <a:lnTo>
                    <a:pt x="552" y="332"/>
                  </a:lnTo>
                  <a:lnTo>
                    <a:pt x="552" y="333"/>
                  </a:lnTo>
                  <a:lnTo>
                    <a:pt x="553" y="335"/>
                  </a:lnTo>
                  <a:lnTo>
                    <a:pt x="554" y="337"/>
                  </a:lnTo>
                  <a:lnTo>
                    <a:pt x="555" y="339"/>
                  </a:lnTo>
                  <a:lnTo>
                    <a:pt x="557" y="346"/>
                  </a:lnTo>
                  <a:lnTo>
                    <a:pt x="574" y="389"/>
                  </a:lnTo>
                  <a:lnTo>
                    <a:pt x="590" y="432"/>
                  </a:lnTo>
                  <a:lnTo>
                    <a:pt x="604" y="474"/>
                  </a:lnTo>
                  <a:lnTo>
                    <a:pt x="616" y="518"/>
                  </a:lnTo>
                  <a:lnTo>
                    <a:pt x="625" y="561"/>
                  </a:lnTo>
                  <a:lnTo>
                    <a:pt x="632" y="605"/>
                  </a:lnTo>
                  <a:lnTo>
                    <a:pt x="637" y="649"/>
                  </a:lnTo>
                  <a:lnTo>
                    <a:pt x="641" y="692"/>
                  </a:lnTo>
                  <a:lnTo>
                    <a:pt x="642" y="736"/>
                  </a:lnTo>
                  <a:lnTo>
                    <a:pt x="642" y="780"/>
                  </a:lnTo>
                  <a:lnTo>
                    <a:pt x="640" y="824"/>
                  </a:lnTo>
                  <a:lnTo>
                    <a:pt x="637" y="868"/>
                  </a:lnTo>
                  <a:lnTo>
                    <a:pt x="632" y="913"/>
                  </a:lnTo>
                  <a:lnTo>
                    <a:pt x="626" y="957"/>
                  </a:lnTo>
                  <a:lnTo>
                    <a:pt x="618" y="1002"/>
                  </a:lnTo>
                  <a:lnTo>
                    <a:pt x="609" y="1048"/>
                  </a:lnTo>
                  <a:lnTo>
                    <a:pt x="599" y="1092"/>
                  </a:lnTo>
                  <a:lnTo>
                    <a:pt x="587" y="1138"/>
                  </a:lnTo>
                  <a:lnTo>
                    <a:pt x="574" y="1184"/>
                  </a:lnTo>
                  <a:lnTo>
                    <a:pt x="561" y="1230"/>
                  </a:lnTo>
                  <a:lnTo>
                    <a:pt x="546" y="1275"/>
                  </a:lnTo>
                  <a:lnTo>
                    <a:pt x="531" y="1321"/>
                  </a:lnTo>
                  <a:lnTo>
                    <a:pt x="515" y="1369"/>
                  </a:lnTo>
                  <a:lnTo>
                    <a:pt x="498" y="1415"/>
                  </a:lnTo>
                  <a:lnTo>
                    <a:pt x="462" y="1511"/>
                  </a:lnTo>
                  <a:lnTo>
                    <a:pt x="423" y="1607"/>
                  </a:lnTo>
                  <a:lnTo>
                    <a:pt x="383" y="1703"/>
                  </a:lnTo>
                  <a:lnTo>
                    <a:pt x="342" y="1802"/>
                  </a:lnTo>
                  <a:lnTo>
                    <a:pt x="298" y="1908"/>
                  </a:lnTo>
                  <a:lnTo>
                    <a:pt x="253" y="2014"/>
                  </a:lnTo>
                  <a:lnTo>
                    <a:pt x="232" y="2069"/>
                  </a:lnTo>
                  <a:lnTo>
                    <a:pt x="211" y="2122"/>
                  </a:lnTo>
                  <a:lnTo>
                    <a:pt x="190" y="2178"/>
                  </a:lnTo>
                  <a:lnTo>
                    <a:pt x="170" y="2232"/>
                  </a:lnTo>
                  <a:lnTo>
                    <a:pt x="150" y="2287"/>
                  </a:lnTo>
                  <a:lnTo>
                    <a:pt x="132" y="2343"/>
                  </a:lnTo>
                  <a:lnTo>
                    <a:pt x="114" y="2398"/>
                  </a:lnTo>
                  <a:lnTo>
                    <a:pt x="97" y="2454"/>
                  </a:lnTo>
                  <a:lnTo>
                    <a:pt x="80" y="2510"/>
                  </a:lnTo>
                  <a:lnTo>
                    <a:pt x="65" y="2566"/>
                  </a:lnTo>
                  <a:lnTo>
                    <a:pt x="52" y="2623"/>
                  </a:lnTo>
                  <a:lnTo>
                    <a:pt x="39" y="2679"/>
                  </a:lnTo>
                  <a:lnTo>
                    <a:pt x="29" y="2737"/>
                  </a:lnTo>
                  <a:lnTo>
                    <a:pt x="20" y="2794"/>
                  </a:lnTo>
                  <a:lnTo>
                    <a:pt x="12" y="2851"/>
                  </a:lnTo>
                  <a:lnTo>
                    <a:pt x="6" y="2909"/>
                  </a:lnTo>
                  <a:lnTo>
                    <a:pt x="2" y="2966"/>
                  </a:lnTo>
                  <a:lnTo>
                    <a:pt x="0" y="3025"/>
                  </a:lnTo>
                  <a:lnTo>
                    <a:pt x="0" y="3083"/>
                  </a:lnTo>
                  <a:lnTo>
                    <a:pt x="2" y="3140"/>
                  </a:lnTo>
                  <a:lnTo>
                    <a:pt x="7" y="3199"/>
                  </a:lnTo>
                  <a:lnTo>
                    <a:pt x="14" y="3257"/>
                  </a:lnTo>
                  <a:lnTo>
                    <a:pt x="23" y="3317"/>
                  </a:lnTo>
                  <a:lnTo>
                    <a:pt x="34" y="3375"/>
                  </a:lnTo>
                  <a:lnTo>
                    <a:pt x="49" y="3434"/>
                  </a:lnTo>
                  <a:lnTo>
                    <a:pt x="66" y="3493"/>
                  </a:lnTo>
                  <a:lnTo>
                    <a:pt x="86" y="3551"/>
                  </a:lnTo>
                  <a:lnTo>
                    <a:pt x="110" y="3611"/>
                  </a:lnTo>
                  <a:lnTo>
                    <a:pt x="114" y="3622"/>
                  </a:lnTo>
                  <a:lnTo>
                    <a:pt x="118" y="36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25" name="ï$1îḍê">
              <a:extLst>
                <a:ext uri="{FF2B5EF4-FFF2-40B4-BE49-F238E27FC236}">
                  <a16:creationId xmlns:a16="http://schemas.microsoft.com/office/drawing/2014/main" id="{24C7841D-2873-408F-9044-A193FB702126}"/>
                </a:ext>
              </a:extLst>
            </p:cNvPr>
            <p:cNvSpPr/>
            <p:nvPr/>
          </p:nvSpPr>
          <p:spPr bwMode="auto">
            <a:xfrm>
              <a:off x="4636550" y="77818"/>
              <a:ext cx="23779" cy="80848"/>
            </a:xfrm>
            <a:custGeom>
              <a:avLst/>
              <a:gdLst>
                <a:gd name="T0" fmla="*/ 123 w 1136"/>
                <a:gd name="T1" fmla="*/ 3641 h 3776"/>
                <a:gd name="T2" fmla="*/ 162 w 1136"/>
                <a:gd name="T3" fmla="*/ 3695 h 3776"/>
                <a:gd name="T4" fmla="*/ 214 w 1136"/>
                <a:gd name="T5" fmla="*/ 3738 h 3776"/>
                <a:gd name="T6" fmla="*/ 277 w 1136"/>
                <a:gd name="T7" fmla="*/ 3766 h 3776"/>
                <a:gd name="T8" fmla="*/ 346 w 1136"/>
                <a:gd name="T9" fmla="*/ 3776 h 3776"/>
                <a:gd name="T10" fmla="*/ 396 w 1136"/>
                <a:gd name="T11" fmla="*/ 3770 h 3776"/>
                <a:gd name="T12" fmla="*/ 445 w 1136"/>
                <a:gd name="T13" fmla="*/ 3756 h 3776"/>
                <a:gd name="T14" fmla="*/ 487 w 1136"/>
                <a:gd name="T15" fmla="*/ 3732 h 3776"/>
                <a:gd name="T16" fmla="*/ 525 w 1136"/>
                <a:gd name="T17" fmla="*/ 3702 h 3776"/>
                <a:gd name="T18" fmla="*/ 555 w 1136"/>
                <a:gd name="T19" fmla="*/ 3664 h 3776"/>
                <a:gd name="T20" fmla="*/ 580 w 1136"/>
                <a:gd name="T21" fmla="*/ 3621 h 3776"/>
                <a:gd name="T22" fmla="*/ 594 w 1136"/>
                <a:gd name="T23" fmla="*/ 3574 h 3776"/>
                <a:gd name="T24" fmla="*/ 599 w 1136"/>
                <a:gd name="T25" fmla="*/ 3523 h 3776"/>
                <a:gd name="T26" fmla="*/ 590 w 1136"/>
                <a:gd name="T27" fmla="*/ 3460 h 3776"/>
                <a:gd name="T28" fmla="*/ 558 w 1136"/>
                <a:gd name="T29" fmla="*/ 3367 h 3776"/>
                <a:gd name="T30" fmla="*/ 520 w 1136"/>
                <a:gd name="T31" fmla="*/ 3195 h 3776"/>
                <a:gd name="T32" fmla="*/ 511 w 1136"/>
                <a:gd name="T33" fmla="*/ 3021 h 3776"/>
                <a:gd name="T34" fmla="*/ 526 w 1136"/>
                <a:gd name="T35" fmla="*/ 2843 h 3776"/>
                <a:gd name="T36" fmla="*/ 562 w 1136"/>
                <a:gd name="T37" fmla="*/ 2661 h 3776"/>
                <a:gd name="T38" fmla="*/ 616 w 1136"/>
                <a:gd name="T39" fmla="*/ 2474 h 3776"/>
                <a:gd name="T40" fmla="*/ 720 w 1136"/>
                <a:gd name="T41" fmla="*/ 2189 h 3776"/>
                <a:gd name="T42" fmla="*/ 889 w 1136"/>
                <a:gd name="T43" fmla="*/ 1778 h 3776"/>
                <a:gd name="T44" fmla="*/ 974 w 1136"/>
                <a:gd name="T45" fmla="*/ 1558 h 3776"/>
                <a:gd name="T46" fmla="*/ 1046 w 1136"/>
                <a:gd name="T47" fmla="*/ 1332 h 3776"/>
                <a:gd name="T48" fmla="*/ 1102 w 1136"/>
                <a:gd name="T49" fmla="*/ 1103 h 3776"/>
                <a:gd name="T50" fmla="*/ 1132 w 1136"/>
                <a:gd name="T51" fmla="*/ 870 h 3776"/>
                <a:gd name="T52" fmla="*/ 1132 w 1136"/>
                <a:gd name="T53" fmla="*/ 634 h 3776"/>
                <a:gd name="T54" fmla="*/ 1094 w 1136"/>
                <a:gd name="T55" fmla="*/ 396 h 3776"/>
                <a:gd name="T56" fmla="*/ 1012 w 1136"/>
                <a:gd name="T57" fmla="*/ 158 h 3776"/>
                <a:gd name="T58" fmla="*/ 976 w 1136"/>
                <a:gd name="T59" fmla="*/ 93 h 3776"/>
                <a:gd name="T60" fmla="*/ 924 w 1136"/>
                <a:gd name="T61" fmla="*/ 44 h 3776"/>
                <a:gd name="T62" fmla="*/ 858 w 1136"/>
                <a:gd name="T63" fmla="*/ 11 h 3776"/>
                <a:gd name="T64" fmla="*/ 783 w 1136"/>
                <a:gd name="T65" fmla="*/ 0 h 3776"/>
                <a:gd name="T66" fmla="*/ 733 w 1136"/>
                <a:gd name="T67" fmla="*/ 5 h 3776"/>
                <a:gd name="T68" fmla="*/ 687 w 1136"/>
                <a:gd name="T69" fmla="*/ 19 h 3776"/>
                <a:gd name="T70" fmla="*/ 646 w 1136"/>
                <a:gd name="T71" fmla="*/ 42 h 3776"/>
                <a:gd name="T72" fmla="*/ 609 w 1136"/>
                <a:gd name="T73" fmla="*/ 72 h 3776"/>
                <a:gd name="T74" fmla="*/ 579 w 1136"/>
                <a:gd name="T75" fmla="*/ 108 h 3776"/>
                <a:gd name="T76" fmla="*/ 556 w 1136"/>
                <a:gd name="T77" fmla="*/ 150 h 3776"/>
                <a:gd name="T78" fmla="*/ 541 w 1136"/>
                <a:gd name="T79" fmla="*/ 196 h 3776"/>
                <a:gd name="T80" fmla="*/ 536 w 1136"/>
                <a:gd name="T81" fmla="*/ 246 h 3776"/>
                <a:gd name="T82" fmla="*/ 541 w 1136"/>
                <a:gd name="T83" fmla="*/ 290 h 3776"/>
                <a:gd name="T84" fmla="*/ 553 w 1136"/>
                <a:gd name="T85" fmla="*/ 334 h 3776"/>
                <a:gd name="T86" fmla="*/ 576 w 1136"/>
                <a:gd name="T87" fmla="*/ 387 h 3776"/>
                <a:gd name="T88" fmla="*/ 625 w 1136"/>
                <a:gd name="T89" fmla="*/ 561 h 3776"/>
                <a:gd name="T90" fmla="*/ 642 w 1136"/>
                <a:gd name="T91" fmla="*/ 735 h 3776"/>
                <a:gd name="T92" fmla="*/ 632 w 1136"/>
                <a:gd name="T93" fmla="*/ 911 h 3776"/>
                <a:gd name="T94" fmla="*/ 599 w 1136"/>
                <a:gd name="T95" fmla="*/ 1091 h 3776"/>
                <a:gd name="T96" fmla="*/ 546 w 1136"/>
                <a:gd name="T97" fmla="*/ 1275 h 3776"/>
                <a:gd name="T98" fmla="*/ 462 w 1136"/>
                <a:gd name="T99" fmla="*/ 1509 h 3776"/>
                <a:gd name="T100" fmla="*/ 298 w 1136"/>
                <a:gd name="T101" fmla="*/ 1906 h 3776"/>
                <a:gd name="T102" fmla="*/ 190 w 1136"/>
                <a:gd name="T103" fmla="*/ 2176 h 3776"/>
                <a:gd name="T104" fmla="*/ 114 w 1136"/>
                <a:gd name="T105" fmla="*/ 2397 h 3776"/>
                <a:gd name="T106" fmla="*/ 52 w 1136"/>
                <a:gd name="T107" fmla="*/ 2621 h 3776"/>
                <a:gd name="T108" fmla="*/ 12 w 1136"/>
                <a:gd name="T109" fmla="*/ 2850 h 3776"/>
                <a:gd name="T110" fmla="*/ 0 w 1136"/>
                <a:gd name="T111" fmla="*/ 3082 h 3776"/>
                <a:gd name="T112" fmla="*/ 23 w 1136"/>
                <a:gd name="T113" fmla="*/ 3315 h 3776"/>
                <a:gd name="T114" fmla="*/ 87 w 1136"/>
                <a:gd name="T115" fmla="*/ 3551 h 37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36" h="3776">
                  <a:moveTo>
                    <a:pt x="118" y="3630"/>
                  </a:moveTo>
                  <a:lnTo>
                    <a:pt x="120" y="3636"/>
                  </a:lnTo>
                  <a:lnTo>
                    <a:pt x="122" y="3641"/>
                  </a:lnTo>
                  <a:lnTo>
                    <a:pt x="123" y="3641"/>
                  </a:lnTo>
                  <a:lnTo>
                    <a:pt x="132" y="3655"/>
                  </a:lnTo>
                  <a:lnTo>
                    <a:pt x="141" y="3669"/>
                  </a:lnTo>
                  <a:lnTo>
                    <a:pt x="151" y="3683"/>
                  </a:lnTo>
                  <a:lnTo>
                    <a:pt x="162" y="3695"/>
                  </a:lnTo>
                  <a:lnTo>
                    <a:pt x="174" y="3707"/>
                  </a:lnTo>
                  <a:lnTo>
                    <a:pt x="186" y="3718"/>
                  </a:lnTo>
                  <a:lnTo>
                    <a:pt x="200" y="3729"/>
                  </a:lnTo>
                  <a:lnTo>
                    <a:pt x="214" y="3738"/>
                  </a:lnTo>
                  <a:lnTo>
                    <a:pt x="228" y="3746"/>
                  </a:lnTo>
                  <a:lnTo>
                    <a:pt x="245" y="3754"/>
                  </a:lnTo>
                  <a:lnTo>
                    <a:pt x="260" y="3760"/>
                  </a:lnTo>
                  <a:lnTo>
                    <a:pt x="277" y="3766"/>
                  </a:lnTo>
                  <a:lnTo>
                    <a:pt x="293" y="3770"/>
                  </a:lnTo>
                  <a:lnTo>
                    <a:pt x="310" y="3773"/>
                  </a:lnTo>
                  <a:lnTo>
                    <a:pt x="328" y="3776"/>
                  </a:lnTo>
                  <a:lnTo>
                    <a:pt x="346" y="3776"/>
                  </a:lnTo>
                  <a:lnTo>
                    <a:pt x="359" y="3776"/>
                  </a:lnTo>
                  <a:lnTo>
                    <a:pt x="372" y="3775"/>
                  </a:lnTo>
                  <a:lnTo>
                    <a:pt x="384" y="3773"/>
                  </a:lnTo>
                  <a:lnTo>
                    <a:pt x="396" y="3770"/>
                  </a:lnTo>
                  <a:lnTo>
                    <a:pt x="410" y="3768"/>
                  </a:lnTo>
                  <a:lnTo>
                    <a:pt x="422" y="3764"/>
                  </a:lnTo>
                  <a:lnTo>
                    <a:pt x="433" y="3760"/>
                  </a:lnTo>
                  <a:lnTo>
                    <a:pt x="445" y="3756"/>
                  </a:lnTo>
                  <a:lnTo>
                    <a:pt x="456" y="3751"/>
                  </a:lnTo>
                  <a:lnTo>
                    <a:pt x="467" y="3745"/>
                  </a:lnTo>
                  <a:lnTo>
                    <a:pt x="477" y="3739"/>
                  </a:lnTo>
                  <a:lnTo>
                    <a:pt x="487" y="3732"/>
                  </a:lnTo>
                  <a:lnTo>
                    <a:pt x="497" y="3725"/>
                  </a:lnTo>
                  <a:lnTo>
                    <a:pt x="507" y="3718"/>
                  </a:lnTo>
                  <a:lnTo>
                    <a:pt x="516" y="3710"/>
                  </a:lnTo>
                  <a:lnTo>
                    <a:pt x="525" y="3702"/>
                  </a:lnTo>
                  <a:lnTo>
                    <a:pt x="533" y="3693"/>
                  </a:lnTo>
                  <a:lnTo>
                    <a:pt x="541" y="3684"/>
                  </a:lnTo>
                  <a:lnTo>
                    <a:pt x="548" y="3674"/>
                  </a:lnTo>
                  <a:lnTo>
                    <a:pt x="555" y="3664"/>
                  </a:lnTo>
                  <a:lnTo>
                    <a:pt x="562" y="3654"/>
                  </a:lnTo>
                  <a:lnTo>
                    <a:pt x="568" y="3644"/>
                  </a:lnTo>
                  <a:lnTo>
                    <a:pt x="575" y="3632"/>
                  </a:lnTo>
                  <a:lnTo>
                    <a:pt x="580" y="3621"/>
                  </a:lnTo>
                  <a:lnTo>
                    <a:pt x="584" y="3609"/>
                  </a:lnTo>
                  <a:lnTo>
                    <a:pt x="588" y="3598"/>
                  </a:lnTo>
                  <a:lnTo>
                    <a:pt x="591" y="3586"/>
                  </a:lnTo>
                  <a:lnTo>
                    <a:pt x="594" y="3574"/>
                  </a:lnTo>
                  <a:lnTo>
                    <a:pt x="596" y="3561"/>
                  </a:lnTo>
                  <a:lnTo>
                    <a:pt x="598" y="3549"/>
                  </a:lnTo>
                  <a:lnTo>
                    <a:pt x="599" y="3536"/>
                  </a:lnTo>
                  <a:lnTo>
                    <a:pt x="599" y="3523"/>
                  </a:lnTo>
                  <a:lnTo>
                    <a:pt x="599" y="3507"/>
                  </a:lnTo>
                  <a:lnTo>
                    <a:pt x="597" y="3490"/>
                  </a:lnTo>
                  <a:lnTo>
                    <a:pt x="594" y="3475"/>
                  </a:lnTo>
                  <a:lnTo>
                    <a:pt x="590" y="3460"/>
                  </a:lnTo>
                  <a:lnTo>
                    <a:pt x="591" y="3455"/>
                  </a:lnTo>
                  <a:lnTo>
                    <a:pt x="590" y="3450"/>
                  </a:lnTo>
                  <a:lnTo>
                    <a:pt x="573" y="3409"/>
                  </a:lnTo>
                  <a:lnTo>
                    <a:pt x="558" y="3367"/>
                  </a:lnTo>
                  <a:lnTo>
                    <a:pt x="546" y="3324"/>
                  </a:lnTo>
                  <a:lnTo>
                    <a:pt x="535" y="3282"/>
                  </a:lnTo>
                  <a:lnTo>
                    <a:pt x="527" y="3239"/>
                  </a:lnTo>
                  <a:lnTo>
                    <a:pt x="520" y="3195"/>
                  </a:lnTo>
                  <a:lnTo>
                    <a:pt x="515" y="3152"/>
                  </a:lnTo>
                  <a:lnTo>
                    <a:pt x="512" y="3109"/>
                  </a:lnTo>
                  <a:lnTo>
                    <a:pt x="511" y="3065"/>
                  </a:lnTo>
                  <a:lnTo>
                    <a:pt x="511" y="3021"/>
                  </a:lnTo>
                  <a:lnTo>
                    <a:pt x="512" y="2977"/>
                  </a:lnTo>
                  <a:lnTo>
                    <a:pt x="515" y="2932"/>
                  </a:lnTo>
                  <a:lnTo>
                    <a:pt x="520" y="2888"/>
                  </a:lnTo>
                  <a:lnTo>
                    <a:pt x="526" y="2843"/>
                  </a:lnTo>
                  <a:lnTo>
                    <a:pt x="533" y="2798"/>
                  </a:lnTo>
                  <a:lnTo>
                    <a:pt x="542" y="2752"/>
                  </a:lnTo>
                  <a:lnTo>
                    <a:pt x="551" y="2707"/>
                  </a:lnTo>
                  <a:lnTo>
                    <a:pt x="562" y="2661"/>
                  </a:lnTo>
                  <a:lnTo>
                    <a:pt x="575" y="2614"/>
                  </a:lnTo>
                  <a:lnTo>
                    <a:pt x="588" y="2568"/>
                  </a:lnTo>
                  <a:lnTo>
                    <a:pt x="602" y="2522"/>
                  </a:lnTo>
                  <a:lnTo>
                    <a:pt x="616" y="2474"/>
                  </a:lnTo>
                  <a:lnTo>
                    <a:pt x="632" y="2428"/>
                  </a:lnTo>
                  <a:lnTo>
                    <a:pt x="648" y="2381"/>
                  </a:lnTo>
                  <a:lnTo>
                    <a:pt x="683" y="2285"/>
                  </a:lnTo>
                  <a:lnTo>
                    <a:pt x="720" y="2189"/>
                  </a:lnTo>
                  <a:lnTo>
                    <a:pt x="760" y="2091"/>
                  </a:lnTo>
                  <a:lnTo>
                    <a:pt x="800" y="1994"/>
                  </a:lnTo>
                  <a:lnTo>
                    <a:pt x="845" y="1887"/>
                  </a:lnTo>
                  <a:lnTo>
                    <a:pt x="889" y="1778"/>
                  </a:lnTo>
                  <a:lnTo>
                    <a:pt x="912" y="1724"/>
                  </a:lnTo>
                  <a:lnTo>
                    <a:pt x="933" y="1668"/>
                  </a:lnTo>
                  <a:lnTo>
                    <a:pt x="954" y="1613"/>
                  </a:lnTo>
                  <a:lnTo>
                    <a:pt x="974" y="1558"/>
                  </a:lnTo>
                  <a:lnTo>
                    <a:pt x="993" y="1501"/>
                  </a:lnTo>
                  <a:lnTo>
                    <a:pt x="1012" y="1446"/>
                  </a:lnTo>
                  <a:lnTo>
                    <a:pt x="1029" y="1389"/>
                  </a:lnTo>
                  <a:lnTo>
                    <a:pt x="1046" y="1332"/>
                  </a:lnTo>
                  <a:lnTo>
                    <a:pt x="1062" y="1276"/>
                  </a:lnTo>
                  <a:lnTo>
                    <a:pt x="1076" y="1218"/>
                  </a:lnTo>
                  <a:lnTo>
                    <a:pt x="1090" y="1161"/>
                  </a:lnTo>
                  <a:lnTo>
                    <a:pt x="1102" y="1103"/>
                  </a:lnTo>
                  <a:lnTo>
                    <a:pt x="1112" y="1045"/>
                  </a:lnTo>
                  <a:lnTo>
                    <a:pt x="1120" y="987"/>
                  </a:lnTo>
                  <a:lnTo>
                    <a:pt x="1127" y="928"/>
                  </a:lnTo>
                  <a:lnTo>
                    <a:pt x="1132" y="870"/>
                  </a:lnTo>
                  <a:lnTo>
                    <a:pt x="1135" y="811"/>
                  </a:lnTo>
                  <a:lnTo>
                    <a:pt x="1136" y="753"/>
                  </a:lnTo>
                  <a:lnTo>
                    <a:pt x="1135" y="693"/>
                  </a:lnTo>
                  <a:lnTo>
                    <a:pt x="1132" y="634"/>
                  </a:lnTo>
                  <a:lnTo>
                    <a:pt x="1126" y="576"/>
                  </a:lnTo>
                  <a:lnTo>
                    <a:pt x="1118" y="516"/>
                  </a:lnTo>
                  <a:lnTo>
                    <a:pt x="1107" y="457"/>
                  </a:lnTo>
                  <a:lnTo>
                    <a:pt x="1094" y="396"/>
                  </a:lnTo>
                  <a:lnTo>
                    <a:pt x="1077" y="337"/>
                  </a:lnTo>
                  <a:lnTo>
                    <a:pt x="1059" y="278"/>
                  </a:lnTo>
                  <a:lnTo>
                    <a:pt x="1037" y="217"/>
                  </a:lnTo>
                  <a:lnTo>
                    <a:pt x="1012" y="158"/>
                  </a:lnTo>
                  <a:lnTo>
                    <a:pt x="1005" y="141"/>
                  </a:lnTo>
                  <a:lnTo>
                    <a:pt x="997" y="124"/>
                  </a:lnTo>
                  <a:lnTo>
                    <a:pt x="987" y="108"/>
                  </a:lnTo>
                  <a:lnTo>
                    <a:pt x="976" y="93"/>
                  </a:lnTo>
                  <a:lnTo>
                    <a:pt x="965" y="80"/>
                  </a:lnTo>
                  <a:lnTo>
                    <a:pt x="952" y="67"/>
                  </a:lnTo>
                  <a:lnTo>
                    <a:pt x="939" y="55"/>
                  </a:lnTo>
                  <a:lnTo>
                    <a:pt x="924" y="44"/>
                  </a:lnTo>
                  <a:lnTo>
                    <a:pt x="908" y="34"/>
                  </a:lnTo>
                  <a:lnTo>
                    <a:pt x="892" y="25"/>
                  </a:lnTo>
                  <a:lnTo>
                    <a:pt x="875" y="18"/>
                  </a:lnTo>
                  <a:lnTo>
                    <a:pt x="858" y="11"/>
                  </a:lnTo>
                  <a:lnTo>
                    <a:pt x="840" y="6"/>
                  </a:lnTo>
                  <a:lnTo>
                    <a:pt x="822" y="3"/>
                  </a:lnTo>
                  <a:lnTo>
                    <a:pt x="803" y="0"/>
                  </a:lnTo>
                  <a:lnTo>
                    <a:pt x="783" y="0"/>
                  </a:lnTo>
                  <a:lnTo>
                    <a:pt x="771" y="0"/>
                  </a:lnTo>
                  <a:lnTo>
                    <a:pt x="758" y="1"/>
                  </a:lnTo>
                  <a:lnTo>
                    <a:pt x="746" y="3"/>
                  </a:lnTo>
                  <a:lnTo>
                    <a:pt x="733" y="5"/>
                  </a:lnTo>
                  <a:lnTo>
                    <a:pt x="721" y="7"/>
                  </a:lnTo>
                  <a:lnTo>
                    <a:pt x="710" y="11"/>
                  </a:lnTo>
                  <a:lnTo>
                    <a:pt x="698" y="15"/>
                  </a:lnTo>
                  <a:lnTo>
                    <a:pt x="687" y="19"/>
                  </a:lnTo>
                  <a:lnTo>
                    <a:pt x="676" y="24"/>
                  </a:lnTo>
                  <a:lnTo>
                    <a:pt x="666" y="29"/>
                  </a:lnTo>
                  <a:lnTo>
                    <a:pt x="656" y="35"/>
                  </a:lnTo>
                  <a:lnTo>
                    <a:pt x="646" y="42"/>
                  </a:lnTo>
                  <a:lnTo>
                    <a:pt x="636" y="48"/>
                  </a:lnTo>
                  <a:lnTo>
                    <a:pt x="627" y="56"/>
                  </a:lnTo>
                  <a:lnTo>
                    <a:pt x="618" y="63"/>
                  </a:lnTo>
                  <a:lnTo>
                    <a:pt x="609" y="72"/>
                  </a:lnTo>
                  <a:lnTo>
                    <a:pt x="601" y="80"/>
                  </a:lnTo>
                  <a:lnTo>
                    <a:pt x="593" y="89"/>
                  </a:lnTo>
                  <a:lnTo>
                    <a:pt x="586" y="98"/>
                  </a:lnTo>
                  <a:lnTo>
                    <a:pt x="579" y="108"/>
                  </a:lnTo>
                  <a:lnTo>
                    <a:pt x="573" y="118"/>
                  </a:lnTo>
                  <a:lnTo>
                    <a:pt x="566" y="128"/>
                  </a:lnTo>
                  <a:lnTo>
                    <a:pt x="561" y="140"/>
                  </a:lnTo>
                  <a:lnTo>
                    <a:pt x="556" y="150"/>
                  </a:lnTo>
                  <a:lnTo>
                    <a:pt x="551" y="162"/>
                  </a:lnTo>
                  <a:lnTo>
                    <a:pt x="547" y="173"/>
                  </a:lnTo>
                  <a:lnTo>
                    <a:pt x="544" y="185"/>
                  </a:lnTo>
                  <a:lnTo>
                    <a:pt x="541" y="196"/>
                  </a:lnTo>
                  <a:lnTo>
                    <a:pt x="539" y="208"/>
                  </a:lnTo>
                  <a:lnTo>
                    <a:pt x="538" y="221"/>
                  </a:lnTo>
                  <a:lnTo>
                    <a:pt x="537" y="233"/>
                  </a:lnTo>
                  <a:lnTo>
                    <a:pt x="536" y="246"/>
                  </a:lnTo>
                  <a:lnTo>
                    <a:pt x="537" y="257"/>
                  </a:lnTo>
                  <a:lnTo>
                    <a:pt x="537" y="268"/>
                  </a:lnTo>
                  <a:lnTo>
                    <a:pt x="539" y="280"/>
                  </a:lnTo>
                  <a:lnTo>
                    <a:pt x="541" y="290"/>
                  </a:lnTo>
                  <a:lnTo>
                    <a:pt x="546" y="311"/>
                  </a:lnTo>
                  <a:lnTo>
                    <a:pt x="552" y="331"/>
                  </a:lnTo>
                  <a:lnTo>
                    <a:pt x="552" y="333"/>
                  </a:lnTo>
                  <a:lnTo>
                    <a:pt x="553" y="334"/>
                  </a:lnTo>
                  <a:lnTo>
                    <a:pt x="554" y="336"/>
                  </a:lnTo>
                  <a:lnTo>
                    <a:pt x="555" y="339"/>
                  </a:lnTo>
                  <a:lnTo>
                    <a:pt x="557" y="345"/>
                  </a:lnTo>
                  <a:lnTo>
                    <a:pt x="576" y="387"/>
                  </a:lnTo>
                  <a:lnTo>
                    <a:pt x="591" y="431"/>
                  </a:lnTo>
                  <a:lnTo>
                    <a:pt x="605" y="474"/>
                  </a:lnTo>
                  <a:lnTo>
                    <a:pt x="616" y="517"/>
                  </a:lnTo>
                  <a:lnTo>
                    <a:pt x="625" y="561"/>
                  </a:lnTo>
                  <a:lnTo>
                    <a:pt x="632" y="604"/>
                  </a:lnTo>
                  <a:lnTo>
                    <a:pt x="637" y="647"/>
                  </a:lnTo>
                  <a:lnTo>
                    <a:pt x="641" y="690"/>
                  </a:lnTo>
                  <a:lnTo>
                    <a:pt x="642" y="735"/>
                  </a:lnTo>
                  <a:lnTo>
                    <a:pt x="642" y="778"/>
                  </a:lnTo>
                  <a:lnTo>
                    <a:pt x="640" y="822"/>
                  </a:lnTo>
                  <a:lnTo>
                    <a:pt x="637" y="867"/>
                  </a:lnTo>
                  <a:lnTo>
                    <a:pt x="632" y="911"/>
                  </a:lnTo>
                  <a:lnTo>
                    <a:pt x="626" y="956"/>
                  </a:lnTo>
                  <a:lnTo>
                    <a:pt x="618" y="1001"/>
                  </a:lnTo>
                  <a:lnTo>
                    <a:pt x="609" y="1046"/>
                  </a:lnTo>
                  <a:lnTo>
                    <a:pt x="599" y="1091"/>
                  </a:lnTo>
                  <a:lnTo>
                    <a:pt x="588" y="1137"/>
                  </a:lnTo>
                  <a:lnTo>
                    <a:pt x="575" y="1182"/>
                  </a:lnTo>
                  <a:lnTo>
                    <a:pt x="561" y="1228"/>
                  </a:lnTo>
                  <a:lnTo>
                    <a:pt x="546" y="1275"/>
                  </a:lnTo>
                  <a:lnTo>
                    <a:pt x="531" y="1321"/>
                  </a:lnTo>
                  <a:lnTo>
                    <a:pt x="515" y="1367"/>
                  </a:lnTo>
                  <a:lnTo>
                    <a:pt x="498" y="1415"/>
                  </a:lnTo>
                  <a:lnTo>
                    <a:pt x="462" y="1509"/>
                  </a:lnTo>
                  <a:lnTo>
                    <a:pt x="424" y="1605"/>
                  </a:lnTo>
                  <a:lnTo>
                    <a:pt x="383" y="1703"/>
                  </a:lnTo>
                  <a:lnTo>
                    <a:pt x="342" y="1801"/>
                  </a:lnTo>
                  <a:lnTo>
                    <a:pt x="298" y="1906"/>
                  </a:lnTo>
                  <a:lnTo>
                    <a:pt x="254" y="2013"/>
                  </a:lnTo>
                  <a:lnTo>
                    <a:pt x="233" y="2067"/>
                  </a:lnTo>
                  <a:lnTo>
                    <a:pt x="211" y="2122"/>
                  </a:lnTo>
                  <a:lnTo>
                    <a:pt x="190" y="2176"/>
                  </a:lnTo>
                  <a:lnTo>
                    <a:pt x="170" y="2230"/>
                  </a:lnTo>
                  <a:lnTo>
                    <a:pt x="151" y="2286"/>
                  </a:lnTo>
                  <a:lnTo>
                    <a:pt x="132" y="2341"/>
                  </a:lnTo>
                  <a:lnTo>
                    <a:pt x="114" y="2397"/>
                  </a:lnTo>
                  <a:lnTo>
                    <a:pt x="97" y="2452"/>
                  </a:lnTo>
                  <a:lnTo>
                    <a:pt x="81" y="2508"/>
                  </a:lnTo>
                  <a:lnTo>
                    <a:pt x="66" y="2565"/>
                  </a:lnTo>
                  <a:lnTo>
                    <a:pt x="52" y="2621"/>
                  </a:lnTo>
                  <a:lnTo>
                    <a:pt x="40" y="2679"/>
                  </a:lnTo>
                  <a:lnTo>
                    <a:pt x="29" y="2735"/>
                  </a:lnTo>
                  <a:lnTo>
                    <a:pt x="20" y="2792"/>
                  </a:lnTo>
                  <a:lnTo>
                    <a:pt x="12" y="2850"/>
                  </a:lnTo>
                  <a:lnTo>
                    <a:pt x="6" y="2907"/>
                  </a:lnTo>
                  <a:lnTo>
                    <a:pt x="2" y="2966"/>
                  </a:lnTo>
                  <a:lnTo>
                    <a:pt x="0" y="3023"/>
                  </a:lnTo>
                  <a:lnTo>
                    <a:pt x="0" y="3082"/>
                  </a:lnTo>
                  <a:lnTo>
                    <a:pt x="3" y="3140"/>
                  </a:lnTo>
                  <a:lnTo>
                    <a:pt x="7" y="3198"/>
                  </a:lnTo>
                  <a:lnTo>
                    <a:pt x="14" y="3257"/>
                  </a:lnTo>
                  <a:lnTo>
                    <a:pt x="23" y="3315"/>
                  </a:lnTo>
                  <a:lnTo>
                    <a:pt x="35" y="3374"/>
                  </a:lnTo>
                  <a:lnTo>
                    <a:pt x="49" y="3433"/>
                  </a:lnTo>
                  <a:lnTo>
                    <a:pt x="67" y="3491"/>
                  </a:lnTo>
                  <a:lnTo>
                    <a:pt x="87" y="3551"/>
                  </a:lnTo>
                  <a:lnTo>
                    <a:pt x="110" y="3610"/>
                  </a:lnTo>
                  <a:lnTo>
                    <a:pt x="114" y="3620"/>
                  </a:lnTo>
                  <a:lnTo>
                    <a:pt x="118" y="36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26" name="í$ḷíḑè">
              <a:extLst>
                <a:ext uri="{FF2B5EF4-FFF2-40B4-BE49-F238E27FC236}">
                  <a16:creationId xmlns:a16="http://schemas.microsoft.com/office/drawing/2014/main" id="{FA1D697D-9A08-4BAC-987E-A4DBB42B98EE}"/>
                </a:ext>
              </a:extLst>
            </p:cNvPr>
            <p:cNvSpPr/>
            <p:nvPr/>
          </p:nvSpPr>
          <p:spPr bwMode="auto">
            <a:xfrm>
              <a:off x="4581066" y="31053"/>
              <a:ext cx="24571" cy="80848"/>
            </a:xfrm>
            <a:custGeom>
              <a:avLst/>
              <a:gdLst>
                <a:gd name="T0" fmla="*/ 123 w 1136"/>
                <a:gd name="T1" fmla="*/ 3641 h 3777"/>
                <a:gd name="T2" fmla="*/ 162 w 1136"/>
                <a:gd name="T3" fmla="*/ 3696 h 3777"/>
                <a:gd name="T4" fmla="*/ 213 w 1136"/>
                <a:gd name="T5" fmla="*/ 3739 h 3777"/>
                <a:gd name="T6" fmla="*/ 276 w 1136"/>
                <a:gd name="T7" fmla="*/ 3767 h 3777"/>
                <a:gd name="T8" fmla="*/ 346 w 1136"/>
                <a:gd name="T9" fmla="*/ 3777 h 3777"/>
                <a:gd name="T10" fmla="*/ 396 w 1136"/>
                <a:gd name="T11" fmla="*/ 3772 h 3777"/>
                <a:gd name="T12" fmla="*/ 444 w 1136"/>
                <a:gd name="T13" fmla="*/ 3757 h 3777"/>
                <a:gd name="T14" fmla="*/ 487 w 1136"/>
                <a:gd name="T15" fmla="*/ 3734 h 3777"/>
                <a:gd name="T16" fmla="*/ 524 w 1136"/>
                <a:gd name="T17" fmla="*/ 3702 h 3777"/>
                <a:gd name="T18" fmla="*/ 555 w 1136"/>
                <a:gd name="T19" fmla="*/ 3665 h 3777"/>
                <a:gd name="T20" fmla="*/ 578 w 1136"/>
                <a:gd name="T21" fmla="*/ 3622 h 3777"/>
                <a:gd name="T22" fmla="*/ 593 w 1136"/>
                <a:gd name="T23" fmla="*/ 3575 h 3777"/>
                <a:gd name="T24" fmla="*/ 598 w 1136"/>
                <a:gd name="T25" fmla="*/ 3523 h 3777"/>
                <a:gd name="T26" fmla="*/ 589 w 1136"/>
                <a:gd name="T27" fmla="*/ 3461 h 3777"/>
                <a:gd name="T28" fmla="*/ 558 w 1136"/>
                <a:gd name="T29" fmla="*/ 3367 h 3777"/>
                <a:gd name="T30" fmla="*/ 520 w 1136"/>
                <a:gd name="T31" fmla="*/ 3197 h 3777"/>
                <a:gd name="T32" fmla="*/ 510 w 1136"/>
                <a:gd name="T33" fmla="*/ 3023 h 3777"/>
                <a:gd name="T34" fmla="*/ 526 w 1136"/>
                <a:gd name="T35" fmla="*/ 2844 h 3777"/>
                <a:gd name="T36" fmla="*/ 562 w 1136"/>
                <a:gd name="T37" fmla="*/ 2662 h 3777"/>
                <a:gd name="T38" fmla="*/ 616 w 1136"/>
                <a:gd name="T39" fmla="*/ 2476 h 3777"/>
                <a:gd name="T40" fmla="*/ 720 w 1136"/>
                <a:gd name="T41" fmla="*/ 2190 h 3777"/>
                <a:gd name="T42" fmla="*/ 889 w 1136"/>
                <a:gd name="T43" fmla="*/ 1780 h 3777"/>
                <a:gd name="T44" fmla="*/ 973 w 1136"/>
                <a:gd name="T45" fmla="*/ 1558 h 3777"/>
                <a:gd name="T46" fmla="*/ 1046 w 1136"/>
                <a:gd name="T47" fmla="*/ 1334 h 3777"/>
                <a:gd name="T48" fmla="*/ 1100 w 1136"/>
                <a:gd name="T49" fmla="*/ 1104 h 3777"/>
                <a:gd name="T50" fmla="*/ 1132 w 1136"/>
                <a:gd name="T51" fmla="*/ 871 h 3777"/>
                <a:gd name="T52" fmla="*/ 1131 w 1136"/>
                <a:gd name="T53" fmla="*/ 636 h 3777"/>
                <a:gd name="T54" fmla="*/ 1093 w 1136"/>
                <a:gd name="T55" fmla="*/ 398 h 3777"/>
                <a:gd name="T56" fmla="*/ 1012 w 1136"/>
                <a:gd name="T57" fmla="*/ 158 h 3777"/>
                <a:gd name="T58" fmla="*/ 976 w 1136"/>
                <a:gd name="T59" fmla="*/ 95 h 3777"/>
                <a:gd name="T60" fmla="*/ 923 w 1136"/>
                <a:gd name="T61" fmla="*/ 44 h 3777"/>
                <a:gd name="T62" fmla="*/ 858 w 1136"/>
                <a:gd name="T63" fmla="*/ 12 h 3777"/>
                <a:gd name="T64" fmla="*/ 783 w 1136"/>
                <a:gd name="T65" fmla="*/ 0 h 3777"/>
                <a:gd name="T66" fmla="*/ 733 w 1136"/>
                <a:gd name="T67" fmla="*/ 5 h 3777"/>
                <a:gd name="T68" fmla="*/ 687 w 1136"/>
                <a:gd name="T69" fmla="*/ 19 h 3777"/>
                <a:gd name="T70" fmla="*/ 645 w 1136"/>
                <a:gd name="T71" fmla="*/ 42 h 3777"/>
                <a:gd name="T72" fmla="*/ 608 w 1136"/>
                <a:gd name="T73" fmla="*/ 73 h 3777"/>
                <a:gd name="T74" fmla="*/ 578 w 1136"/>
                <a:gd name="T75" fmla="*/ 109 h 3777"/>
                <a:gd name="T76" fmla="*/ 555 w 1136"/>
                <a:gd name="T77" fmla="*/ 151 h 3777"/>
                <a:gd name="T78" fmla="*/ 541 w 1136"/>
                <a:gd name="T79" fmla="*/ 197 h 3777"/>
                <a:gd name="T80" fmla="*/ 536 w 1136"/>
                <a:gd name="T81" fmla="*/ 247 h 3777"/>
                <a:gd name="T82" fmla="*/ 540 w 1136"/>
                <a:gd name="T83" fmla="*/ 291 h 3777"/>
                <a:gd name="T84" fmla="*/ 553 w 1136"/>
                <a:gd name="T85" fmla="*/ 334 h 3777"/>
                <a:gd name="T86" fmla="*/ 574 w 1136"/>
                <a:gd name="T87" fmla="*/ 389 h 3777"/>
                <a:gd name="T88" fmla="*/ 625 w 1136"/>
                <a:gd name="T89" fmla="*/ 561 h 3777"/>
                <a:gd name="T90" fmla="*/ 642 w 1136"/>
                <a:gd name="T91" fmla="*/ 735 h 3777"/>
                <a:gd name="T92" fmla="*/ 632 w 1136"/>
                <a:gd name="T93" fmla="*/ 913 h 3777"/>
                <a:gd name="T94" fmla="*/ 598 w 1136"/>
                <a:gd name="T95" fmla="*/ 1092 h 3777"/>
                <a:gd name="T96" fmla="*/ 546 w 1136"/>
                <a:gd name="T97" fmla="*/ 1275 h 3777"/>
                <a:gd name="T98" fmla="*/ 462 w 1136"/>
                <a:gd name="T99" fmla="*/ 1510 h 3777"/>
                <a:gd name="T100" fmla="*/ 298 w 1136"/>
                <a:gd name="T101" fmla="*/ 1908 h 3777"/>
                <a:gd name="T102" fmla="*/ 190 w 1136"/>
                <a:gd name="T103" fmla="*/ 2177 h 3777"/>
                <a:gd name="T104" fmla="*/ 114 w 1136"/>
                <a:gd name="T105" fmla="*/ 2397 h 3777"/>
                <a:gd name="T106" fmla="*/ 51 w 1136"/>
                <a:gd name="T107" fmla="*/ 2623 h 3777"/>
                <a:gd name="T108" fmla="*/ 12 w 1136"/>
                <a:gd name="T109" fmla="*/ 2850 h 3777"/>
                <a:gd name="T110" fmla="*/ 0 w 1136"/>
                <a:gd name="T111" fmla="*/ 3082 h 3777"/>
                <a:gd name="T112" fmla="*/ 23 w 1136"/>
                <a:gd name="T113" fmla="*/ 3316 h 3777"/>
                <a:gd name="T114" fmla="*/ 86 w 1136"/>
                <a:gd name="T115" fmla="*/ 3551 h 3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36" h="3777">
                  <a:moveTo>
                    <a:pt x="118" y="3632"/>
                  </a:moveTo>
                  <a:lnTo>
                    <a:pt x="120" y="3636"/>
                  </a:lnTo>
                  <a:lnTo>
                    <a:pt x="122" y="3641"/>
                  </a:lnTo>
                  <a:lnTo>
                    <a:pt x="123" y="3641"/>
                  </a:lnTo>
                  <a:lnTo>
                    <a:pt x="132" y="3656"/>
                  </a:lnTo>
                  <a:lnTo>
                    <a:pt x="141" y="3670"/>
                  </a:lnTo>
                  <a:lnTo>
                    <a:pt x="151" y="3683"/>
                  </a:lnTo>
                  <a:lnTo>
                    <a:pt x="162" y="3696"/>
                  </a:lnTo>
                  <a:lnTo>
                    <a:pt x="174" y="3708"/>
                  </a:lnTo>
                  <a:lnTo>
                    <a:pt x="186" y="3720"/>
                  </a:lnTo>
                  <a:lnTo>
                    <a:pt x="200" y="3730"/>
                  </a:lnTo>
                  <a:lnTo>
                    <a:pt x="213" y="3739"/>
                  </a:lnTo>
                  <a:lnTo>
                    <a:pt x="228" y="3748"/>
                  </a:lnTo>
                  <a:lnTo>
                    <a:pt x="243" y="3755"/>
                  </a:lnTo>
                  <a:lnTo>
                    <a:pt x="259" y="3762"/>
                  </a:lnTo>
                  <a:lnTo>
                    <a:pt x="276" y="3767"/>
                  </a:lnTo>
                  <a:lnTo>
                    <a:pt x="293" y="3771"/>
                  </a:lnTo>
                  <a:lnTo>
                    <a:pt x="310" y="3774"/>
                  </a:lnTo>
                  <a:lnTo>
                    <a:pt x="328" y="3776"/>
                  </a:lnTo>
                  <a:lnTo>
                    <a:pt x="346" y="3777"/>
                  </a:lnTo>
                  <a:lnTo>
                    <a:pt x="359" y="3777"/>
                  </a:lnTo>
                  <a:lnTo>
                    <a:pt x="371" y="3776"/>
                  </a:lnTo>
                  <a:lnTo>
                    <a:pt x="384" y="3774"/>
                  </a:lnTo>
                  <a:lnTo>
                    <a:pt x="396" y="3772"/>
                  </a:lnTo>
                  <a:lnTo>
                    <a:pt x="408" y="3769"/>
                  </a:lnTo>
                  <a:lnTo>
                    <a:pt x="420" y="3766"/>
                  </a:lnTo>
                  <a:lnTo>
                    <a:pt x="432" y="3762"/>
                  </a:lnTo>
                  <a:lnTo>
                    <a:pt x="444" y="3757"/>
                  </a:lnTo>
                  <a:lnTo>
                    <a:pt x="456" y="3752"/>
                  </a:lnTo>
                  <a:lnTo>
                    <a:pt x="466" y="3747"/>
                  </a:lnTo>
                  <a:lnTo>
                    <a:pt x="477" y="3740"/>
                  </a:lnTo>
                  <a:lnTo>
                    <a:pt x="487" y="3734"/>
                  </a:lnTo>
                  <a:lnTo>
                    <a:pt x="497" y="3727"/>
                  </a:lnTo>
                  <a:lnTo>
                    <a:pt x="506" y="3719"/>
                  </a:lnTo>
                  <a:lnTo>
                    <a:pt x="516" y="3712"/>
                  </a:lnTo>
                  <a:lnTo>
                    <a:pt x="524" y="3702"/>
                  </a:lnTo>
                  <a:lnTo>
                    <a:pt x="533" y="3693"/>
                  </a:lnTo>
                  <a:lnTo>
                    <a:pt x="541" y="3684"/>
                  </a:lnTo>
                  <a:lnTo>
                    <a:pt x="548" y="3675"/>
                  </a:lnTo>
                  <a:lnTo>
                    <a:pt x="555" y="3665"/>
                  </a:lnTo>
                  <a:lnTo>
                    <a:pt x="562" y="3655"/>
                  </a:lnTo>
                  <a:lnTo>
                    <a:pt x="568" y="3644"/>
                  </a:lnTo>
                  <a:lnTo>
                    <a:pt x="573" y="3633"/>
                  </a:lnTo>
                  <a:lnTo>
                    <a:pt x="578" y="3622"/>
                  </a:lnTo>
                  <a:lnTo>
                    <a:pt x="583" y="3611"/>
                  </a:lnTo>
                  <a:lnTo>
                    <a:pt x="587" y="3599"/>
                  </a:lnTo>
                  <a:lnTo>
                    <a:pt x="590" y="3587"/>
                  </a:lnTo>
                  <a:lnTo>
                    <a:pt x="593" y="3575"/>
                  </a:lnTo>
                  <a:lnTo>
                    <a:pt x="595" y="3562"/>
                  </a:lnTo>
                  <a:lnTo>
                    <a:pt x="597" y="3549"/>
                  </a:lnTo>
                  <a:lnTo>
                    <a:pt x="598" y="3536"/>
                  </a:lnTo>
                  <a:lnTo>
                    <a:pt x="598" y="3523"/>
                  </a:lnTo>
                  <a:lnTo>
                    <a:pt x="597" y="3507"/>
                  </a:lnTo>
                  <a:lnTo>
                    <a:pt x="595" y="3492"/>
                  </a:lnTo>
                  <a:lnTo>
                    <a:pt x="593" y="3476"/>
                  </a:lnTo>
                  <a:lnTo>
                    <a:pt x="589" y="3461"/>
                  </a:lnTo>
                  <a:lnTo>
                    <a:pt x="590" y="3456"/>
                  </a:lnTo>
                  <a:lnTo>
                    <a:pt x="589" y="3451"/>
                  </a:lnTo>
                  <a:lnTo>
                    <a:pt x="572" y="3409"/>
                  </a:lnTo>
                  <a:lnTo>
                    <a:pt x="558" y="3367"/>
                  </a:lnTo>
                  <a:lnTo>
                    <a:pt x="545" y="3325"/>
                  </a:lnTo>
                  <a:lnTo>
                    <a:pt x="535" y="3282"/>
                  </a:lnTo>
                  <a:lnTo>
                    <a:pt x="526" y="3240"/>
                  </a:lnTo>
                  <a:lnTo>
                    <a:pt x="520" y="3197"/>
                  </a:lnTo>
                  <a:lnTo>
                    <a:pt x="515" y="3154"/>
                  </a:lnTo>
                  <a:lnTo>
                    <a:pt x="512" y="3110"/>
                  </a:lnTo>
                  <a:lnTo>
                    <a:pt x="510" y="3066"/>
                  </a:lnTo>
                  <a:lnTo>
                    <a:pt x="510" y="3023"/>
                  </a:lnTo>
                  <a:lnTo>
                    <a:pt x="512" y="2978"/>
                  </a:lnTo>
                  <a:lnTo>
                    <a:pt x="515" y="2934"/>
                  </a:lnTo>
                  <a:lnTo>
                    <a:pt x="520" y="2889"/>
                  </a:lnTo>
                  <a:lnTo>
                    <a:pt x="526" y="2844"/>
                  </a:lnTo>
                  <a:lnTo>
                    <a:pt x="533" y="2799"/>
                  </a:lnTo>
                  <a:lnTo>
                    <a:pt x="541" y="2753"/>
                  </a:lnTo>
                  <a:lnTo>
                    <a:pt x="551" y="2707"/>
                  </a:lnTo>
                  <a:lnTo>
                    <a:pt x="562" y="2662"/>
                  </a:lnTo>
                  <a:lnTo>
                    <a:pt x="574" y="2616"/>
                  </a:lnTo>
                  <a:lnTo>
                    <a:pt x="586" y="2569"/>
                  </a:lnTo>
                  <a:lnTo>
                    <a:pt x="600" y="2522"/>
                  </a:lnTo>
                  <a:lnTo>
                    <a:pt x="616" y="2476"/>
                  </a:lnTo>
                  <a:lnTo>
                    <a:pt x="632" y="2428"/>
                  </a:lnTo>
                  <a:lnTo>
                    <a:pt x="648" y="2381"/>
                  </a:lnTo>
                  <a:lnTo>
                    <a:pt x="683" y="2286"/>
                  </a:lnTo>
                  <a:lnTo>
                    <a:pt x="720" y="2190"/>
                  </a:lnTo>
                  <a:lnTo>
                    <a:pt x="759" y="2093"/>
                  </a:lnTo>
                  <a:lnTo>
                    <a:pt x="800" y="1995"/>
                  </a:lnTo>
                  <a:lnTo>
                    <a:pt x="845" y="1887"/>
                  </a:lnTo>
                  <a:lnTo>
                    <a:pt x="889" y="1780"/>
                  </a:lnTo>
                  <a:lnTo>
                    <a:pt x="910" y="1724"/>
                  </a:lnTo>
                  <a:lnTo>
                    <a:pt x="932" y="1670"/>
                  </a:lnTo>
                  <a:lnTo>
                    <a:pt x="953" y="1615"/>
                  </a:lnTo>
                  <a:lnTo>
                    <a:pt x="973" y="1558"/>
                  </a:lnTo>
                  <a:lnTo>
                    <a:pt x="993" y="1503"/>
                  </a:lnTo>
                  <a:lnTo>
                    <a:pt x="1011" y="1446"/>
                  </a:lnTo>
                  <a:lnTo>
                    <a:pt x="1029" y="1390"/>
                  </a:lnTo>
                  <a:lnTo>
                    <a:pt x="1046" y="1334"/>
                  </a:lnTo>
                  <a:lnTo>
                    <a:pt x="1061" y="1276"/>
                  </a:lnTo>
                  <a:lnTo>
                    <a:pt x="1076" y="1219"/>
                  </a:lnTo>
                  <a:lnTo>
                    <a:pt x="1089" y="1161"/>
                  </a:lnTo>
                  <a:lnTo>
                    <a:pt x="1100" y="1104"/>
                  </a:lnTo>
                  <a:lnTo>
                    <a:pt x="1110" y="1045"/>
                  </a:lnTo>
                  <a:lnTo>
                    <a:pt x="1119" y="988"/>
                  </a:lnTo>
                  <a:lnTo>
                    <a:pt x="1127" y="930"/>
                  </a:lnTo>
                  <a:lnTo>
                    <a:pt x="1132" y="871"/>
                  </a:lnTo>
                  <a:lnTo>
                    <a:pt x="1135" y="813"/>
                  </a:lnTo>
                  <a:lnTo>
                    <a:pt x="1136" y="753"/>
                  </a:lnTo>
                  <a:lnTo>
                    <a:pt x="1135" y="695"/>
                  </a:lnTo>
                  <a:lnTo>
                    <a:pt x="1131" y="636"/>
                  </a:lnTo>
                  <a:lnTo>
                    <a:pt x="1126" y="576"/>
                  </a:lnTo>
                  <a:lnTo>
                    <a:pt x="1117" y="517"/>
                  </a:lnTo>
                  <a:lnTo>
                    <a:pt x="1106" y="457"/>
                  </a:lnTo>
                  <a:lnTo>
                    <a:pt x="1093" y="398"/>
                  </a:lnTo>
                  <a:lnTo>
                    <a:pt x="1077" y="337"/>
                  </a:lnTo>
                  <a:lnTo>
                    <a:pt x="1058" y="278"/>
                  </a:lnTo>
                  <a:lnTo>
                    <a:pt x="1037" y="219"/>
                  </a:lnTo>
                  <a:lnTo>
                    <a:pt x="1012" y="158"/>
                  </a:lnTo>
                  <a:lnTo>
                    <a:pt x="1005" y="141"/>
                  </a:lnTo>
                  <a:lnTo>
                    <a:pt x="996" y="125"/>
                  </a:lnTo>
                  <a:lnTo>
                    <a:pt x="987" y="109"/>
                  </a:lnTo>
                  <a:lnTo>
                    <a:pt x="976" y="95"/>
                  </a:lnTo>
                  <a:lnTo>
                    <a:pt x="965" y="81"/>
                  </a:lnTo>
                  <a:lnTo>
                    <a:pt x="952" y="67"/>
                  </a:lnTo>
                  <a:lnTo>
                    <a:pt x="937" y="55"/>
                  </a:lnTo>
                  <a:lnTo>
                    <a:pt x="923" y="44"/>
                  </a:lnTo>
                  <a:lnTo>
                    <a:pt x="908" y="34"/>
                  </a:lnTo>
                  <a:lnTo>
                    <a:pt x="892" y="25"/>
                  </a:lnTo>
                  <a:lnTo>
                    <a:pt x="875" y="18"/>
                  </a:lnTo>
                  <a:lnTo>
                    <a:pt x="858" y="12"/>
                  </a:lnTo>
                  <a:lnTo>
                    <a:pt x="840" y="7"/>
                  </a:lnTo>
                  <a:lnTo>
                    <a:pt x="821" y="3"/>
                  </a:lnTo>
                  <a:lnTo>
                    <a:pt x="802" y="1"/>
                  </a:lnTo>
                  <a:lnTo>
                    <a:pt x="783" y="0"/>
                  </a:lnTo>
                  <a:lnTo>
                    <a:pt x="769" y="0"/>
                  </a:lnTo>
                  <a:lnTo>
                    <a:pt x="757" y="1"/>
                  </a:lnTo>
                  <a:lnTo>
                    <a:pt x="745" y="3"/>
                  </a:lnTo>
                  <a:lnTo>
                    <a:pt x="733" y="5"/>
                  </a:lnTo>
                  <a:lnTo>
                    <a:pt x="721" y="8"/>
                  </a:lnTo>
                  <a:lnTo>
                    <a:pt x="709" y="11"/>
                  </a:lnTo>
                  <a:lnTo>
                    <a:pt x="698" y="15"/>
                  </a:lnTo>
                  <a:lnTo>
                    <a:pt x="687" y="19"/>
                  </a:lnTo>
                  <a:lnTo>
                    <a:pt x="676" y="24"/>
                  </a:lnTo>
                  <a:lnTo>
                    <a:pt x="665" y="30"/>
                  </a:lnTo>
                  <a:lnTo>
                    <a:pt x="655" y="36"/>
                  </a:lnTo>
                  <a:lnTo>
                    <a:pt x="645" y="42"/>
                  </a:lnTo>
                  <a:lnTo>
                    <a:pt x="636" y="49"/>
                  </a:lnTo>
                  <a:lnTo>
                    <a:pt x="626" y="56"/>
                  </a:lnTo>
                  <a:lnTo>
                    <a:pt x="618" y="64"/>
                  </a:lnTo>
                  <a:lnTo>
                    <a:pt x="608" y="73"/>
                  </a:lnTo>
                  <a:lnTo>
                    <a:pt x="600" y="81"/>
                  </a:lnTo>
                  <a:lnTo>
                    <a:pt x="592" y="90"/>
                  </a:lnTo>
                  <a:lnTo>
                    <a:pt x="585" y="100"/>
                  </a:lnTo>
                  <a:lnTo>
                    <a:pt x="578" y="109"/>
                  </a:lnTo>
                  <a:lnTo>
                    <a:pt x="572" y="119"/>
                  </a:lnTo>
                  <a:lnTo>
                    <a:pt x="566" y="129"/>
                  </a:lnTo>
                  <a:lnTo>
                    <a:pt x="560" y="140"/>
                  </a:lnTo>
                  <a:lnTo>
                    <a:pt x="555" y="151"/>
                  </a:lnTo>
                  <a:lnTo>
                    <a:pt x="551" y="162"/>
                  </a:lnTo>
                  <a:lnTo>
                    <a:pt x="547" y="173"/>
                  </a:lnTo>
                  <a:lnTo>
                    <a:pt x="544" y="185"/>
                  </a:lnTo>
                  <a:lnTo>
                    <a:pt x="541" y="197"/>
                  </a:lnTo>
                  <a:lnTo>
                    <a:pt x="539" y="209"/>
                  </a:lnTo>
                  <a:lnTo>
                    <a:pt x="537" y="222"/>
                  </a:lnTo>
                  <a:lnTo>
                    <a:pt x="537" y="234"/>
                  </a:lnTo>
                  <a:lnTo>
                    <a:pt x="536" y="247"/>
                  </a:lnTo>
                  <a:lnTo>
                    <a:pt x="536" y="258"/>
                  </a:lnTo>
                  <a:lnTo>
                    <a:pt x="537" y="269"/>
                  </a:lnTo>
                  <a:lnTo>
                    <a:pt x="539" y="280"/>
                  </a:lnTo>
                  <a:lnTo>
                    <a:pt x="540" y="291"/>
                  </a:lnTo>
                  <a:lnTo>
                    <a:pt x="545" y="312"/>
                  </a:lnTo>
                  <a:lnTo>
                    <a:pt x="552" y="332"/>
                  </a:lnTo>
                  <a:lnTo>
                    <a:pt x="552" y="333"/>
                  </a:lnTo>
                  <a:lnTo>
                    <a:pt x="553" y="334"/>
                  </a:lnTo>
                  <a:lnTo>
                    <a:pt x="553" y="337"/>
                  </a:lnTo>
                  <a:lnTo>
                    <a:pt x="555" y="339"/>
                  </a:lnTo>
                  <a:lnTo>
                    <a:pt x="557" y="345"/>
                  </a:lnTo>
                  <a:lnTo>
                    <a:pt x="574" y="389"/>
                  </a:lnTo>
                  <a:lnTo>
                    <a:pt x="590" y="431"/>
                  </a:lnTo>
                  <a:lnTo>
                    <a:pt x="603" y="474"/>
                  </a:lnTo>
                  <a:lnTo>
                    <a:pt x="615" y="518"/>
                  </a:lnTo>
                  <a:lnTo>
                    <a:pt x="625" y="561"/>
                  </a:lnTo>
                  <a:lnTo>
                    <a:pt x="632" y="604"/>
                  </a:lnTo>
                  <a:lnTo>
                    <a:pt x="637" y="648"/>
                  </a:lnTo>
                  <a:lnTo>
                    <a:pt x="640" y="692"/>
                  </a:lnTo>
                  <a:lnTo>
                    <a:pt x="642" y="735"/>
                  </a:lnTo>
                  <a:lnTo>
                    <a:pt x="642" y="780"/>
                  </a:lnTo>
                  <a:lnTo>
                    <a:pt x="640" y="824"/>
                  </a:lnTo>
                  <a:lnTo>
                    <a:pt x="637" y="868"/>
                  </a:lnTo>
                  <a:lnTo>
                    <a:pt x="632" y="913"/>
                  </a:lnTo>
                  <a:lnTo>
                    <a:pt x="626" y="957"/>
                  </a:lnTo>
                  <a:lnTo>
                    <a:pt x="618" y="1001"/>
                  </a:lnTo>
                  <a:lnTo>
                    <a:pt x="608" y="1046"/>
                  </a:lnTo>
                  <a:lnTo>
                    <a:pt x="598" y="1092"/>
                  </a:lnTo>
                  <a:lnTo>
                    <a:pt x="586" y="1137"/>
                  </a:lnTo>
                  <a:lnTo>
                    <a:pt x="574" y="1183"/>
                  </a:lnTo>
                  <a:lnTo>
                    <a:pt x="561" y="1229"/>
                  </a:lnTo>
                  <a:lnTo>
                    <a:pt x="546" y="1275"/>
                  </a:lnTo>
                  <a:lnTo>
                    <a:pt x="531" y="1321"/>
                  </a:lnTo>
                  <a:lnTo>
                    <a:pt x="514" y="1368"/>
                  </a:lnTo>
                  <a:lnTo>
                    <a:pt x="498" y="1415"/>
                  </a:lnTo>
                  <a:lnTo>
                    <a:pt x="462" y="1510"/>
                  </a:lnTo>
                  <a:lnTo>
                    <a:pt x="422" y="1605"/>
                  </a:lnTo>
                  <a:lnTo>
                    <a:pt x="383" y="1703"/>
                  </a:lnTo>
                  <a:lnTo>
                    <a:pt x="342" y="1802"/>
                  </a:lnTo>
                  <a:lnTo>
                    <a:pt x="298" y="1908"/>
                  </a:lnTo>
                  <a:lnTo>
                    <a:pt x="253" y="2014"/>
                  </a:lnTo>
                  <a:lnTo>
                    <a:pt x="232" y="2068"/>
                  </a:lnTo>
                  <a:lnTo>
                    <a:pt x="211" y="2122"/>
                  </a:lnTo>
                  <a:lnTo>
                    <a:pt x="190" y="2177"/>
                  </a:lnTo>
                  <a:lnTo>
                    <a:pt x="170" y="2232"/>
                  </a:lnTo>
                  <a:lnTo>
                    <a:pt x="150" y="2286"/>
                  </a:lnTo>
                  <a:lnTo>
                    <a:pt x="131" y="2342"/>
                  </a:lnTo>
                  <a:lnTo>
                    <a:pt x="114" y="2397"/>
                  </a:lnTo>
                  <a:lnTo>
                    <a:pt x="96" y="2454"/>
                  </a:lnTo>
                  <a:lnTo>
                    <a:pt x="80" y="2510"/>
                  </a:lnTo>
                  <a:lnTo>
                    <a:pt x="65" y="2565"/>
                  </a:lnTo>
                  <a:lnTo>
                    <a:pt x="51" y="2623"/>
                  </a:lnTo>
                  <a:lnTo>
                    <a:pt x="39" y="2679"/>
                  </a:lnTo>
                  <a:lnTo>
                    <a:pt x="29" y="2737"/>
                  </a:lnTo>
                  <a:lnTo>
                    <a:pt x="19" y="2793"/>
                  </a:lnTo>
                  <a:lnTo>
                    <a:pt x="12" y="2850"/>
                  </a:lnTo>
                  <a:lnTo>
                    <a:pt x="6" y="2909"/>
                  </a:lnTo>
                  <a:lnTo>
                    <a:pt x="2" y="2966"/>
                  </a:lnTo>
                  <a:lnTo>
                    <a:pt x="0" y="3025"/>
                  </a:lnTo>
                  <a:lnTo>
                    <a:pt x="0" y="3082"/>
                  </a:lnTo>
                  <a:lnTo>
                    <a:pt x="2" y="3140"/>
                  </a:lnTo>
                  <a:lnTo>
                    <a:pt x="7" y="3199"/>
                  </a:lnTo>
                  <a:lnTo>
                    <a:pt x="13" y="3257"/>
                  </a:lnTo>
                  <a:lnTo>
                    <a:pt x="23" y="3316"/>
                  </a:lnTo>
                  <a:lnTo>
                    <a:pt x="34" y="3375"/>
                  </a:lnTo>
                  <a:lnTo>
                    <a:pt x="49" y="3434"/>
                  </a:lnTo>
                  <a:lnTo>
                    <a:pt x="66" y="3493"/>
                  </a:lnTo>
                  <a:lnTo>
                    <a:pt x="86" y="3551"/>
                  </a:lnTo>
                  <a:lnTo>
                    <a:pt x="110" y="3611"/>
                  </a:lnTo>
                  <a:lnTo>
                    <a:pt x="114" y="3622"/>
                  </a:lnTo>
                  <a:lnTo>
                    <a:pt x="118" y="36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27" name="íṥ1ïḑé">
              <a:extLst>
                <a:ext uri="{FF2B5EF4-FFF2-40B4-BE49-F238E27FC236}">
                  <a16:creationId xmlns:a16="http://schemas.microsoft.com/office/drawing/2014/main" id="{DC59B2FB-EE04-4022-BF90-C62BF9CE9579}"/>
                </a:ext>
              </a:extLst>
            </p:cNvPr>
            <p:cNvSpPr/>
            <p:nvPr/>
          </p:nvSpPr>
          <p:spPr bwMode="auto">
            <a:xfrm>
              <a:off x="4859983" y="35853"/>
              <a:ext cx="238394" cy="347625"/>
            </a:xfrm>
            <a:custGeom>
              <a:avLst/>
              <a:gdLst>
                <a:gd name="T0" fmla="*/ 9581 w 11062"/>
                <a:gd name="T1" fmla="*/ 13339 h 16132"/>
                <a:gd name="T2" fmla="*/ 8775 w 11062"/>
                <a:gd name="T3" fmla="*/ 14325 h 16132"/>
                <a:gd name="T4" fmla="*/ 6999 w 11062"/>
                <a:gd name="T5" fmla="*/ 14980 h 16132"/>
                <a:gd name="T6" fmla="*/ 4346 w 11062"/>
                <a:gd name="T7" fmla="*/ 15077 h 16132"/>
                <a:gd name="T8" fmla="*/ 2649 w 11062"/>
                <a:gd name="T9" fmla="*/ 14454 h 16132"/>
                <a:gd name="T10" fmla="*/ 1519 w 11062"/>
                <a:gd name="T11" fmla="*/ 13302 h 16132"/>
                <a:gd name="T12" fmla="*/ 1023 w 11062"/>
                <a:gd name="T13" fmla="*/ 11870 h 16132"/>
                <a:gd name="T14" fmla="*/ 1038 w 11062"/>
                <a:gd name="T15" fmla="*/ 10686 h 16132"/>
                <a:gd name="T16" fmla="*/ 1161 w 11062"/>
                <a:gd name="T17" fmla="*/ 9659 h 16132"/>
                <a:gd name="T18" fmla="*/ 1368 w 11062"/>
                <a:gd name="T19" fmla="*/ 8565 h 16132"/>
                <a:gd name="T20" fmla="*/ 1751 w 11062"/>
                <a:gd name="T21" fmla="*/ 6782 h 16132"/>
                <a:gd name="T22" fmla="*/ 1969 w 11062"/>
                <a:gd name="T23" fmla="*/ 5444 h 16132"/>
                <a:gd name="T24" fmla="*/ 2066 w 11062"/>
                <a:gd name="T25" fmla="*/ 3973 h 16132"/>
                <a:gd name="T26" fmla="*/ 2442 w 11062"/>
                <a:gd name="T27" fmla="*/ 3510 h 16132"/>
                <a:gd name="T28" fmla="*/ 3378 w 11062"/>
                <a:gd name="T29" fmla="*/ 5418 h 16132"/>
                <a:gd name="T30" fmla="*/ 3921 w 11062"/>
                <a:gd name="T31" fmla="*/ 7026 h 16132"/>
                <a:gd name="T32" fmla="*/ 4134 w 11062"/>
                <a:gd name="T33" fmla="*/ 7893 h 16132"/>
                <a:gd name="T34" fmla="*/ 4981 w 11062"/>
                <a:gd name="T35" fmla="*/ 6640 h 16132"/>
                <a:gd name="T36" fmla="*/ 5652 w 11062"/>
                <a:gd name="T37" fmla="*/ 5541 h 16132"/>
                <a:gd name="T38" fmla="*/ 6048 w 11062"/>
                <a:gd name="T39" fmla="*/ 5124 h 16132"/>
                <a:gd name="T40" fmla="*/ 6276 w 11062"/>
                <a:gd name="T41" fmla="*/ 6127 h 16132"/>
                <a:gd name="T42" fmla="*/ 6449 w 11062"/>
                <a:gd name="T43" fmla="*/ 7550 h 16132"/>
                <a:gd name="T44" fmla="*/ 6532 w 11062"/>
                <a:gd name="T45" fmla="*/ 9200 h 16132"/>
                <a:gd name="T46" fmla="*/ 6940 w 11062"/>
                <a:gd name="T47" fmla="*/ 9209 h 16132"/>
                <a:gd name="T48" fmla="*/ 7692 w 11062"/>
                <a:gd name="T49" fmla="*/ 8420 h 16132"/>
                <a:gd name="T50" fmla="*/ 8583 w 11062"/>
                <a:gd name="T51" fmla="*/ 7268 h 16132"/>
                <a:gd name="T52" fmla="*/ 9393 w 11062"/>
                <a:gd name="T53" fmla="*/ 7890 h 16132"/>
                <a:gd name="T54" fmla="*/ 9897 w 11062"/>
                <a:gd name="T55" fmla="*/ 9499 h 16132"/>
                <a:gd name="T56" fmla="*/ 10055 w 11062"/>
                <a:gd name="T57" fmla="*/ 11059 h 16132"/>
                <a:gd name="T58" fmla="*/ 8546 w 11062"/>
                <a:gd name="T59" fmla="*/ 4537 h 16132"/>
                <a:gd name="T60" fmla="*/ 8332 w 11062"/>
                <a:gd name="T61" fmla="*/ 5604 h 16132"/>
                <a:gd name="T62" fmla="*/ 7919 w 11062"/>
                <a:gd name="T63" fmla="*/ 6448 h 16132"/>
                <a:gd name="T64" fmla="*/ 7572 w 11062"/>
                <a:gd name="T65" fmla="*/ 6944 h 16132"/>
                <a:gd name="T66" fmla="*/ 7322 w 11062"/>
                <a:gd name="T67" fmla="*/ 5677 h 16132"/>
                <a:gd name="T68" fmla="*/ 6610 w 11062"/>
                <a:gd name="T69" fmla="*/ 3988 h 16132"/>
                <a:gd name="T70" fmla="*/ 5839 w 11062"/>
                <a:gd name="T71" fmla="*/ 2871 h 16132"/>
                <a:gd name="T72" fmla="*/ 5524 w 11062"/>
                <a:gd name="T73" fmla="*/ 2624 h 16132"/>
                <a:gd name="T74" fmla="*/ 5435 w 11062"/>
                <a:gd name="T75" fmla="*/ 3254 h 16132"/>
                <a:gd name="T76" fmla="*/ 5137 w 11062"/>
                <a:gd name="T77" fmla="*/ 4285 h 16132"/>
                <a:gd name="T78" fmla="*/ 4503 w 11062"/>
                <a:gd name="T79" fmla="*/ 5519 h 16132"/>
                <a:gd name="T80" fmla="*/ 3295 w 11062"/>
                <a:gd name="T81" fmla="*/ 2924 h 16132"/>
                <a:gd name="T82" fmla="*/ 1805 w 11062"/>
                <a:gd name="T83" fmla="*/ 1110 h 16132"/>
                <a:gd name="T84" fmla="*/ 701 w 11062"/>
                <a:gd name="T85" fmla="*/ 145 h 16132"/>
                <a:gd name="T86" fmla="*/ 1011 w 11062"/>
                <a:gd name="T87" fmla="*/ 2771 h 16132"/>
                <a:gd name="T88" fmla="*/ 870 w 11062"/>
                <a:gd name="T89" fmla="*/ 6014 h 16132"/>
                <a:gd name="T90" fmla="*/ 290 w 11062"/>
                <a:gd name="T91" fmla="*/ 8820 h 16132"/>
                <a:gd name="T92" fmla="*/ 6 w 11062"/>
                <a:gd name="T93" fmla="*/ 11760 h 16132"/>
                <a:gd name="T94" fmla="*/ 554 w 11062"/>
                <a:gd name="T95" fmla="*/ 13649 h 16132"/>
                <a:gd name="T96" fmla="*/ 1906 w 11062"/>
                <a:gd name="T97" fmla="*/ 15167 h 16132"/>
                <a:gd name="T98" fmla="*/ 3939 w 11062"/>
                <a:gd name="T99" fmla="*/ 16031 h 16132"/>
                <a:gd name="T100" fmla="*/ 6884 w 11062"/>
                <a:gd name="T101" fmla="*/ 16016 h 16132"/>
                <a:gd name="T102" fmla="*/ 9121 w 11062"/>
                <a:gd name="T103" fmla="*/ 15301 h 16132"/>
                <a:gd name="T104" fmla="*/ 10305 w 11062"/>
                <a:gd name="T105" fmla="*/ 14100 h 16132"/>
                <a:gd name="T106" fmla="*/ 10866 w 11062"/>
                <a:gd name="T107" fmla="*/ 12606 h 16132"/>
                <a:gd name="T108" fmla="*/ 11039 w 11062"/>
                <a:gd name="T109" fmla="*/ 10358 h 16132"/>
                <a:gd name="T110" fmla="*/ 10527 w 11062"/>
                <a:gd name="T111" fmla="*/ 8031 h 16132"/>
                <a:gd name="T112" fmla="*/ 9405 w 11062"/>
                <a:gd name="T113" fmla="*/ 5745 h 16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062" h="16132">
                  <a:moveTo>
                    <a:pt x="9891" y="12362"/>
                  </a:moveTo>
                  <a:lnTo>
                    <a:pt x="9860" y="12483"/>
                  </a:lnTo>
                  <a:lnTo>
                    <a:pt x="9829" y="12606"/>
                  </a:lnTo>
                  <a:lnTo>
                    <a:pt x="9795" y="12729"/>
                  </a:lnTo>
                  <a:lnTo>
                    <a:pt x="9760" y="12852"/>
                  </a:lnTo>
                  <a:lnTo>
                    <a:pt x="9722" y="12975"/>
                  </a:lnTo>
                  <a:lnTo>
                    <a:pt x="9680" y="13097"/>
                  </a:lnTo>
                  <a:lnTo>
                    <a:pt x="9634" y="13219"/>
                  </a:lnTo>
                  <a:lnTo>
                    <a:pt x="9581" y="13339"/>
                  </a:lnTo>
                  <a:lnTo>
                    <a:pt x="9524" y="13458"/>
                  </a:lnTo>
                  <a:lnTo>
                    <a:pt x="9461" y="13576"/>
                  </a:lnTo>
                  <a:lnTo>
                    <a:pt x="9389" y="13691"/>
                  </a:lnTo>
                  <a:lnTo>
                    <a:pt x="9311" y="13805"/>
                  </a:lnTo>
                  <a:lnTo>
                    <a:pt x="9223" y="13915"/>
                  </a:lnTo>
                  <a:lnTo>
                    <a:pt x="9127" y="14023"/>
                  </a:lnTo>
                  <a:lnTo>
                    <a:pt x="9020" y="14128"/>
                  </a:lnTo>
                  <a:lnTo>
                    <a:pt x="8904" y="14228"/>
                  </a:lnTo>
                  <a:lnTo>
                    <a:pt x="8775" y="14325"/>
                  </a:lnTo>
                  <a:lnTo>
                    <a:pt x="8635" y="14419"/>
                  </a:lnTo>
                  <a:lnTo>
                    <a:pt x="8482" y="14508"/>
                  </a:lnTo>
                  <a:lnTo>
                    <a:pt x="8316" y="14591"/>
                  </a:lnTo>
                  <a:lnTo>
                    <a:pt x="8136" y="14670"/>
                  </a:lnTo>
                  <a:lnTo>
                    <a:pt x="7941" y="14744"/>
                  </a:lnTo>
                  <a:lnTo>
                    <a:pt x="7730" y="14812"/>
                  </a:lnTo>
                  <a:lnTo>
                    <a:pt x="7503" y="14875"/>
                  </a:lnTo>
                  <a:lnTo>
                    <a:pt x="7260" y="14930"/>
                  </a:lnTo>
                  <a:lnTo>
                    <a:pt x="6999" y="14980"/>
                  </a:lnTo>
                  <a:lnTo>
                    <a:pt x="6719" y="15023"/>
                  </a:lnTo>
                  <a:lnTo>
                    <a:pt x="6422" y="15058"/>
                  </a:lnTo>
                  <a:lnTo>
                    <a:pt x="6104" y="15086"/>
                  </a:lnTo>
                  <a:lnTo>
                    <a:pt x="5766" y="15107"/>
                  </a:lnTo>
                  <a:lnTo>
                    <a:pt x="5407" y="15120"/>
                  </a:lnTo>
                  <a:lnTo>
                    <a:pt x="5027" y="15124"/>
                  </a:lnTo>
                  <a:lnTo>
                    <a:pt x="4794" y="15119"/>
                  </a:lnTo>
                  <a:lnTo>
                    <a:pt x="4567" y="15103"/>
                  </a:lnTo>
                  <a:lnTo>
                    <a:pt x="4346" y="15077"/>
                  </a:lnTo>
                  <a:lnTo>
                    <a:pt x="4132" y="15042"/>
                  </a:lnTo>
                  <a:lnTo>
                    <a:pt x="3924" y="14998"/>
                  </a:lnTo>
                  <a:lnTo>
                    <a:pt x="3722" y="14944"/>
                  </a:lnTo>
                  <a:lnTo>
                    <a:pt x="3525" y="14882"/>
                  </a:lnTo>
                  <a:lnTo>
                    <a:pt x="3336" y="14811"/>
                  </a:lnTo>
                  <a:lnTo>
                    <a:pt x="3155" y="14734"/>
                  </a:lnTo>
                  <a:lnTo>
                    <a:pt x="2979" y="14648"/>
                  </a:lnTo>
                  <a:lnTo>
                    <a:pt x="2811" y="14554"/>
                  </a:lnTo>
                  <a:lnTo>
                    <a:pt x="2649" y="14454"/>
                  </a:lnTo>
                  <a:lnTo>
                    <a:pt x="2494" y="14347"/>
                  </a:lnTo>
                  <a:lnTo>
                    <a:pt x="2346" y="14235"/>
                  </a:lnTo>
                  <a:lnTo>
                    <a:pt x="2206" y="14117"/>
                  </a:lnTo>
                  <a:lnTo>
                    <a:pt x="2073" y="13992"/>
                  </a:lnTo>
                  <a:lnTo>
                    <a:pt x="1946" y="13863"/>
                  </a:lnTo>
                  <a:lnTo>
                    <a:pt x="1829" y="13729"/>
                  </a:lnTo>
                  <a:lnTo>
                    <a:pt x="1718" y="13590"/>
                  </a:lnTo>
                  <a:lnTo>
                    <a:pt x="1614" y="13448"/>
                  </a:lnTo>
                  <a:lnTo>
                    <a:pt x="1519" y="13302"/>
                  </a:lnTo>
                  <a:lnTo>
                    <a:pt x="1432" y="13152"/>
                  </a:lnTo>
                  <a:lnTo>
                    <a:pt x="1352" y="12998"/>
                  </a:lnTo>
                  <a:lnTo>
                    <a:pt x="1280" y="12843"/>
                  </a:lnTo>
                  <a:lnTo>
                    <a:pt x="1216" y="12685"/>
                  </a:lnTo>
                  <a:lnTo>
                    <a:pt x="1161" y="12524"/>
                  </a:lnTo>
                  <a:lnTo>
                    <a:pt x="1114" y="12363"/>
                  </a:lnTo>
                  <a:lnTo>
                    <a:pt x="1076" y="12200"/>
                  </a:lnTo>
                  <a:lnTo>
                    <a:pt x="1045" y="12035"/>
                  </a:lnTo>
                  <a:lnTo>
                    <a:pt x="1023" y="11870"/>
                  </a:lnTo>
                  <a:lnTo>
                    <a:pt x="1010" y="11706"/>
                  </a:lnTo>
                  <a:lnTo>
                    <a:pt x="1006" y="11540"/>
                  </a:lnTo>
                  <a:lnTo>
                    <a:pt x="1006" y="11414"/>
                  </a:lnTo>
                  <a:lnTo>
                    <a:pt x="1008" y="11289"/>
                  </a:lnTo>
                  <a:lnTo>
                    <a:pt x="1012" y="11166"/>
                  </a:lnTo>
                  <a:lnTo>
                    <a:pt x="1017" y="11044"/>
                  </a:lnTo>
                  <a:lnTo>
                    <a:pt x="1023" y="10924"/>
                  </a:lnTo>
                  <a:lnTo>
                    <a:pt x="1030" y="10804"/>
                  </a:lnTo>
                  <a:lnTo>
                    <a:pt x="1038" y="10686"/>
                  </a:lnTo>
                  <a:lnTo>
                    <a:pt x="1048" y="10568"/>
                  </a:lnTo>
                  <a:lnTo>
                    <a:pt x="1059" y="10453"/>
                  </a:lnTo>
                  <a:lnTo>
                    <a:pt x="1071" y="10337"/>
                  </a:lnTo>
                  <a:lnTo>
                    <a:pt x="1084" y="10222"/>
                  </a:lnTo>
                  <a:lnTo>
                    <a:pt x="1097" y="10108"/>
                  </a:lnTo>
                  <a:lnTo>
                    <a:pt x="1112" y="9995"/>
                  </a:lnTo>
                  <a:lnTo>
                    <a:pt x="1128" y="9883"/>
                  </a:lnTo>
                  <a:lnTo>
                    <a:pt x="1144" y="9771"/>
                  </a:lnTo>
                  <a:lnTo>
                    <a:pt x="1161" y="9659"/>
                  </a:lnTo>
                  <a:lnTo>
                    <a:pt x="1179" y="9548"/>
                  </a:lnTo>
                  <a:lnTo>
                    <a:pt x="1197" y="9438"/>
                  </a:lnTo>
                  <a:lnTo>
                    <a:pt x="1217" y="9328"/>
                  </a:lnTo>
                  <a:lnTo>
                    <a:pt x="1237" y="9218"/>
                  </a:lnTo>
                  <a:lnTo>
                    <a:pt x="1258" y="9110"/>
                  </a:lnTo>
                  <a:lnTo>
                    <a:pt x="1279" y="9001"/>
                  </a:lnTo>
                  <a:lnTo>
                    <a:pt x="1301" y="8892"/>
                  </a:lnTo>
                  <a:lnTo>
                    <a:pt x="1322" y="8783"/>
                  </a:lnTo>
                  <a:lnTo>
                    <a:pt x="1368" y="8565"/>
                  </a:lnTo>
                  <a:lnTo>
                    <a:pt x="1414" y="8348"/>
                  </a:lnTo>
                  <a:lnTo>
                    <a:pt x="1463" y="8130"/>
                  </a:lnTo>
                  <a:lnTo>
                    <a:pt x="1511" y="7911"/>
                  </a:lnTo>
                  <a:lnTo>
                    <a:pt x="1572" y="7631"/>
                  </a:lnTo>
                  <a:lnTo>
                    <a:pt x="1634" y="7351"/>
                  </a:lnTo>
                  <a:lnTo>
                    <a:pt x="1664" y="7210"/>
                  </a:lnTo>
                  <a:lnTo>
                    <a:pt x="1694" y="7068"/>
                  </a:lnTo>
                  <a:lnTo>
                    <a:pt x="1723" y="6926"/>
                  </a:lnTo>
                  <a:lnTo>
                    <a:pt x="1751" y="6782"/>
                  </a:lnTo>
                  <a:lnTo>
                    <a:pt x="1779" y="6638"/>
                  </a:lnTo>
                  <a:lnTo>
                    <a:pt x="1806" y="6493"/>
                  </a:lnTo>
                  <a:lnTo>
                    <a:pt x="1834" y="6347"/>
                  </a:lnTo>
                  <a:lnTo>
                    <a:pt x="1859" y="6200"/>
                  </a:lnTo>
                  <a:lnTo>
                    <a:pt x="1883" y="6051"/>
                  </a:lnTo>
                  <a:lnTo>
                    <a:pt x="1907" y="5901"/>
                  </a:lnTo>
                  <a:lnTo>
                    <a:pt x="1929" y="5750"/>
                  </a:lnTo>
                  <a:lnTo>
                    <a:pt x="1949" y="5598"/>
                  </a:lnTo>
                  <a:lnTo>
                    <a:pt x="1969" y="5444"/>
                  </a:lnTo>
                  <a:lnTo>
                    <a:pt x="1987" y="5287"/>
                  </a:lnTo>
                  <a:lnTo>
                    <a:pt x="2004" y="5130"/>
                  </a:lnTo>
                  <a:lnTo>
                    <a:pt x="2018" y="4971"/>
                  </a:lnTo>
                  <a:lnTo>
                    <a:pt x="2031" y="4809"/>
                  </a:lnTo>
                  <a:lnTo>
                    <a:pt x="2042" y="4646"/>
                  </a:lnTo>
                  <a:lnTo>
                    <a:pt x="2051" y="4482"/>
                  </a:lnTo>
                  <a:lnTo>
                    <a:pt x="2059" y="4314"/>
                  </a:lnTo>
                  <a:lnTo>
                    <a:pt x="2064" y="4145"/>
                  </a:lnTo>
                  <a:lnTo>
                    <a:pt x="2066" y="3973"/>
                  </a:lnTo>
                  <a:lnTo>
                    <a:pt x="2067" y="3798"/>
                  </a:lnTo>
                  <a:lnTo>
                    <a:pt x="2065" y="3622"/>
                  </a:lnTo>
                  <a:lnTo>
                    <a:pt x="2061" y="3443"/>
                  </a:lnTo>
                  <a:lnTo>
                    <a:pt x="2054" y="3261"/>
                  </a:lnTo>
                  <a:lnTo>
                    <a:pt x="2044" y="3076"/>
                  </a:lnTo>
                  <a:lnTo>
                    <a:pt x="2032" y="2890"/>
                  </a:lnTo>
                  <a:lnTo>
                    <a:pt x="2174" y="3093"/>
                  </a:lnTo>
                  <a:lnTo>
                    <a:pt x="2311" y="3300"/>
                  </a:lnTo>
                  <a:lnTo>
                    <a:pt x="2442" y="3510"/>
                  </a:lnTo>
                  <a:lnTo>
                    <a:pt x="2567" y="3722"/>
                  </a:lnTo>
                  <a:lnTo>
                    <a:pt x="2687" y="3935"/>
                  </a:lnTo>
                  <a:lnTo>
                    <a:pt x="2802" y="4150"/>
                  </a:lnTo>
                  <a:lnTo>
                    <a:pt x="2910" y="4365"/>
                  </a:lnTo>
                  <a:lnTo>
                    <a:pt x="3014" y="4578"/>
                  </a:lnTo>
                  <a:lnTo>
                    <a:pt x="3112" y="4792"/>
                  </a:lnTo>
                  <a:lnTo>
                    <a:pt x="3206" y="5003"/>
                  </a:lnTo>
                  <a:lnTo>
                    <a:pt x="3294" y="5213"/>
                  </a:lnTo>
                  <a:lnTo>
                    <a:pt x="3378" y="5418"/>
                  </a:lnTo>
                  <a:lnTo>
                    <a:pt x="3457" y="5620"/>
                  </a:lnTo>
                  <a:lnTo>
                    <a:pt x="3531" y="5818"/>
                  </a:lnTo>
                  <a:lnTo>
                    <a:pt x="3600" y="6011"/>
                  </a:lnTo>
                  <a:lnTo>
                    <a:pt x="3664" y="6198"/>
                  </a:lnTo>
                  <a:lnTo>
                    <a:pt x="3725" y="6379"/>
                  </a:lnTo>
                  <a:lnTo>
                    <a:pt x="3780" y="6553"/>
                  </a:lnTo>
                  <a:lnTo>
                    <a:pt x="3831" y="6719"/>
                  </a:lnTo>
                  <a:lnTo>
                    <a:pt x="3877" y="6877"/>
                  </a:lnTo>
                  <a:lnTo>
                    <a:pt x="3921" y="7026"/>
                  </a:lnTo>
                  <a:lnTo>
                    <a:pt x="3959" y="7166"/>
                  </a:lnTo>
                  <a:lnTo>
                    <a:pt x="3993" y="7295"/>
                  </a:lnTo>
                  <a:lnTo>
                    <a:pt x="4023" y="7414"/>
                  </a:lnTo>
                  <a:lnTo>
                    <a:pt x="4050" y="7521"/>
                  </a:lnTo>
                  <a:lnTo>
                    <a:pt x="4072" y="7615"/>
                  </a:lnTo>
                  <a:lnTo>
                    <a:pt x="4091" y="7697"/>
                  </a:lnTo>
                  <a:lnTo>
                    <a:pt x="4108" y="7766"/>
                  </a:lnTo>
                  <a:lnTo>
                    <a:pt x="4128" y="7860"/>
                  </a:lnTo>
                  <a:lnTo>
                    <a:pt x="4134" y="7893"/>
                  </a:lnTo>
                  <a:lnTo>
                    <a:pt x="4150" y="7869"/>
                  </a:lnTo>
                  <a:lnTo>
                    <a:pt x="4197" y="7804"/>
                  </a:lnTo>
                  <a:lnTo>
                    <a:pt x="4269" y="7699"/>
                  </a:lnTo>
                  <a:lnTo>
                    <a:pt x="4366" y="7560"/>
                  </a:lnTo>
                  <a:lnTo>
                    <a:pt x="4480" y="7392"/>
                  </a:lnTo>
                  <a:lnTo>
                    <a:pt x="4611" y="7200"/>
                  </a:lnTo>
                  <a:lnTo>
                    <a:pt x="4753" y="6987"/>
                  </a:lnTo>
                  <a:lnTo>
                    <a:pt x="4904" y="6758"/>
                  </a:lnTo>
                  <a:lnTo>
                    <a:pt x="4981" y="6640"/>
                  </a:lnTo>
                  <a:lnTo>
                    <a:pt x="5059" y="6519"/>
                  </a:lnTo>
                  <a:lnTo>
                    <a:pt x="5137" y="6396"/>
                  </a:lnTo>
                  <a:lnTo>
                    <a:pt x="5215" y="6273"/>
                  </a:lnTo>
                  <a:lnTo>
                    <a:pt x="5292" y="6149"/>
                  </a:lnTo>
                  <a:lnTo>
                    <a:pt x="5368" y="6025"/>
                  </a:lnTo>
                  <a:lnTo>
                    <a:pt x="5443" y="5901"/>
                  </a:lnTo>
                  <a:lnTo>
                    <a:pt x="5515" y="5779"/>
                  </a:lnTo>
                  <a:lnTo>
                    <a:pt x="5585" y="5659"/>
                  </a:lnTo>
                  <a:lnTo>
                    <a:pt x="5652" y="5541"/>
                  </a:lnTo>
                  <a:lnTo>
                    <a:pt x="5715" y="5426"/>
                  </a:lnTo>
                  <a:lnTo>
                    <a:pt x="5774" y="5315"/>
                  </a:lnTo>
                  <a:lnTo>
                    <a:pt x="5830" y="5208"/>
                  </a:lnTo>
                  <a:lnTo>
                    <a:pt x="5880" y="5106"/>
                  </a:lnTo>
                  <a:lnTo>
                    <a:pt x="5925" y="5008"/>
                  </a:lnTo>
                  <a:lnTo>
                    <a:pt x="5964" y="4916"/>
                  </a:lnTo>
                  <a:lnTo>
                    <a:pt x="5992" y="4978"/>
                  </a:lnTo>
                  <a:lnTo>
                    <a:pt x="6020" y="5046"/>
                  </a:lnTo>
                  <a:lnTo>
                    <a:pt x="6048" y="5124"/>
                  </a:lnTo>
                  <a:lnTo>
                    <a:pt x="6075" y="5209"/>
                  </a:lnTo>
                  <a:lnTo>
                    <a:pt x="6101" y="5300"/>
                  </a:lnTo>
                  <a:lnTo>
                    <a:pt x="6128" y="5399"/>
                  </a:lnTo>
                  <a:lnTo>
                    <a:pt x="6153" y="5505"/>
                  </a:lnTo>
                  <a:lnTo>
                    <a:pt x="6179" y="5617"/>
                  </a:lnTo>
                  <a:lnTo>
                    <a:pt x="6205" y="5736"/>
                  </a:lnTo>
                  <a:lnTo>
                    <a:pt x="6229" y="5861"/>
                  </a:lnTo>
                  <a:lnTo>
                    <a:pt x="6253" y="5991"/>
                  </a:lnTo>
                  <a:lnTo>
                    <a:pt x="6276" y="6127"/>
                  </a:lnTo>
                  <a:lnTo>
                    <a:pt x="6298" y="6267"/>
                  </a:lnTo>
                  <a:lnTo>
                    <a:pt x="6320" y="6413"/>
                  </a:lnTo>
                  <a:lnTo>
                    <a:pt x="6341" y="6564"/>
                  </a:lnTo>
                  <a:lnTo>
                    <a:pt x="6361" y="6719"/>
                  </a:lnTo>
                  <a:lnTo>
                    <a:pt x="6380" y="6878"/>
                  </a:lnTo>
                  <a:lnTo>
                    <a:pt x="6400" y="7041"/>
                  </a:lnTo>
                  <a:lnTo>
                    <a:pt x="6417" y="7208"/>
                  </a:lnTo>
                  <a:lnTo>
                    <a:pt x="6433" y="7377"/>
                  </a:lnTo>
                  <a:lnTo>
                    <a:pt x="6449" y="7550"/>
                  </a:lnTo>
                  <a:lnTo>
                    <a:pt x="6463" y="7726"/>
                  </a:lnTo>
                  <a:lnTo>
                    <a:pt x="6476" y="7904"/>
                  </a:lnTo>
                  <a:lnTo>
                    <a:pt x="6488" y="8085"/>
                  </a:lnTo>
                  <a:lnTo>
                    <a:pt x="6498" y="8268"/>
                  </a:lnTo>
                  <a:lnTo>
                    <a:pt x="6508" y="8451"/>
                  </a:lnTo>
                  <a:lnTo>
                    <a:pt x="6516" y="8637"/>
                  </a:lnTo>
                  <a:lnTo>
                    <a:pt x="6523" y="8824"/>
                  </a:lnTo>
                  <a:lnTo>
                    <a:pt x="6528" y="9012"/>
                  </a:lnTo>
                  <a:lnTo>
                    <a:pt x="6532" y="9200"/>
                  </a:lnTo>
                  <a:lnTo>
                    <a:pt x="6534" y="9390"/>
                  </a:lnTo>
                  <a:lnTo>
                    <a:pt x="6535" y="9578"/>
                  </a:lnTo>
                  <a:lnTo>
                    <a:pt x="6550" y="9565"/>
                  </a:lnTo>
                  <a:lnTo>
                    <a:pt x="6595" y="9528"/>
                  </a:lnTo>
                  <a:lnTo>
                    <a:pt x="6665" y="9465"/>
                  </a:lnTo>
                  <a:lnTo>
                    <a:pt x="6759" y="9380"/>
                  </a:lnTo>
                  <a:lnTo>
                    <a:pt x="6815" y="9329"/>
                  </a:lnTo>
                  <a:lnTo>
                    <a:pt x="6875" y="9272"/>
                  </a:lnTo>
                  <a:lnTo>
                    <a:pt x="6940" y="9209"/>
                  </a:lnTo>
                  <a:lnTo>
                    <a:pt x="7011" y="9142"/>
                  </a:lnTo>
                  <a:lnTo>
                    <a:pt x="7084" y="9069"/>
                  </a:lnTo>
                  <a:lnTo>
                    <a:pt x="7162" y="8991"/>
                  </a:lnTo>
                  <a:lnTo>
                    <a:pt x="7243" y="8908"/>
                  </a:lnTo>
                  <a:lnTo>
                    <a:pt x="7327" y="8819"/>
                  </a:lnTo>
                  <a:lnTo>
                    <a:pt x="7415" y="8726"/>
                  </a:lnTo>
                  <a:lnTo>
                    <a:pt x="7505" y="8629"/>
                  </a:lnTo>
                  <a:lnTo>
                    <a:pt x="7598" y="8527"/>
                  </a:lnTo>
                  <a:lnTo>
                    <a:pt x="7692" y="8420"/>
                  </a:lnTo>
                  <a:lnTo>
                    <a:pt x="7789" y="8308"/>
                  </a:lnTo>
                  <a:lnTo>
                    <a:pt x="7886" y="8192"/>
                  </a:lnTo>
                  <a:lnTo>
                    <a:pt x="7985" y="8072"/>
                  </a:lnTo>
                  <a:lnTo>
                    <a:pt x="8084" y="7948"/>
                  </a:lnTo>
                  <a:lnTo>
                    <a:pt x="8184" y="7820"/>
                  </a:lnTo>
                  <a:lnTo>
                    <a:pt x="8284" y="7688"/>
                  </a:lnTo>
                  <a:lnTo>
                    <a:pt x="8384" y="7552"/>
                  </a:lnTo>
                  <a:lnTo>
                    <a:pt x="8483" y="7412"/>
                  </a:lnTo>
                  <a:lnTo>
                    <a:pt x="8583" y="7268"/>
                  </a:lnTo>
                  <a:lnTo>
                    <a:pt x="8681" y="7121"/>
                  </a:lnTo>
                  <a:lnTo>
                    <a:pt x="8777" y="6971"/>
                  </a:lnTo>
                  <a:lnTo>
                    <a:pt x="8872" y="6817"/>
                  </a:lnTo>
                  <a:lnTo>
                    <a:pt x="8969" y="6995"/>
                  </a:lnTo>
                  <a:lnTo>
                    <a:pt x="9062" y="7174"/>
                  </a:lnTo>
                  <a:lnTo>
                    <a:pt x="9150" y="7352"/>
                  </a:lnTo>
                  <a:lnTo>
                    <a:pt x="9235" y="7532"/>
                  </a:lnTo>
                  <a:lnTo>
                    <a:pt x="9316" y="7710"/>
                  </a:lnTo>
                  <a:lnTo>
                    <a:pt x="9393" y="7890"/>
                  </a:lnTo>
                  <a:lnTo>
                    <a:pt x="9466" y="8069"/>
                  </a:lnTo>
                  <a:lnTo>
                    <a:pt x="9534" y="8248"/>
                  </a:lnTo>
                  <a:lnTo>
                    <a:pt x="9598" y="8428"/>
                  </a:lnTo>
                  <a:lnTo>
                    <a:pt x="9659" y="8607"/>
                  </a:lnTo>
                  <a:lnTo>
                    <a:pt x="9715" y="8787"/>
                  </a:lnTo>
                  <a:lnTo>
                    <a:pt x="9767" y="8965"/>
                  </a:lnTo>
                  <a:lnTo>
                    <a:pt x="9814" y="9144"/>
                  </a:lnTo>
                  <a:lnTo>
                    <a:pt x="9858" y="9321"/>
                  </a:lnTo>
                  <a:lnTo>
                    <a:pt x="9897" y="9499"/>
                  </a:lnTo>
                  <a:lnTo>
                    <a:pt x="9932" y="9675"/>
                  </a:lnTo>
                  <a:lnTo>
                    <a:pt x="9963" y="9852"/>
                  </a:lnTo>
                  <a:lnTo>
                    <a:pt x="9989" y="10027"/>
                  </a:lnTo>
                  <a:lnTo>
                    <a:pt x="10011" y="10201"/>
                  </a:lnTo>
                  <a:lnTo>
                    <a:pt x="10029" y="10375"/>
                  </a:lnTo>
                  <a:lnTo>
                    <a:pt x="10042" y="10547"/>
                  </a:lnTo>
                  <a:lnTo>
                    <a:pt x="10051" y="10720"/>
                  </a:lnTo>
                  <a:lnTo>
                    <a:pt x="10055" y="10890"/>
                  </a:lnTo>
                  <a:lnTo>
                    <a:pt x="10055" y="11059"/>
                  </a:lnTo>
                  <a:lnTo>
                    <a:pt x="10051" y="11227"/>
                  </a:lnTo>
                  <a:lnTo>
                    <a:pt x="10042" y="11394"/>
                  </a:lnTo>
                  <a:lnTo>
                    <a:pt x="10028" y="11559"/>
                  </a:lnTo>
                  <a:lnTo>
                    <a:pt x="10009" y="11723"/>
                  </a:lnTo>
                  <a:lnTo>
                    <a:pt x="9986" y="11885"/>
                  </a:lnTo>
                  <a:lnTo>
                    <a:pt x="9959" y="12046"/>
                  </a:lnTo>
                  <a:lnTo>
                    <a:pt x="9927" y="12205"/>
                  </a:lnTo>
                  <a:lnTo>
                    <a:pt x="9891" y="12362"/>
                  </a:lnTo>
                  <a:close/>
                  <a:moveTo>
                    <a:pt x="8546" y="4537"/>
                  </a:moveTo>
                  <a:lnTo>
                    <a:pt x="8540" y="4663"/>
                  </a:lnTo>
                  <a:lnTo>
                    <a:pt x="8529" y="4787"/>
                  </a:lnTo>
                  <a:lnTo>
                    <a:pt x="8513" y="4910"/>
                  </a:lnTo>
                  <a:lnTo>
                    <a:pt x="8492" y="5031"/>
                  </a:lnTo>
                  <a:lnTo>
                    <a:pt x="8467" y="5150"/>
                  </a:lnTo>
                  <a:lnTo>
                    <a:pt x="8438" y="5267"/>
                  </a:lnTo>
                  <a:lnTo>
                    <a:pt x="8406" y="5382"/>
                  </a:lnTo>
                  <a:lnTo>
                    <a:pt x="8370" y="5494"/>
                  </a:lnTo>
                  <a:lnTo>
                    <a:pt x="8332" y="5604"/>
                  </a:lnTo>
                  <a:lnTo>
                    <a:pt x="8290" y="5712"/>
                  </a:lnTo>
                  <a:lnTo>
                    <a:pt x="8247" y="5816"/>
                  </a:lnTo>
                  <a:lnTo>
                    <a:pt x="8203" y="5916"/>
                  </a:lnTo>
                  <a:lnTo>
                    <a:pt x="8157" y="6014"/>
                  </a:lnTo>
                  <a:lnTo>
                    <a:pt x="8110" y="6108"/>
                  </a:lnTo>
                  <a:lnTo>
                    <a:pt x="8061" y="6199"/>
                  </a:lnTo>
                  <a:lnTo>
                    <a:pt x="8014" y="6286"/>
                  </a:lnTo>
                  <a:lnTo>
                    <a:pt x="7966" y="6369"/>
                  </a:lnTo>
                  <a:lnTo>
                    <a:pt x="7919" y="6448"/>
                  </a:lnTo>
                  <a:lnTo>
                    <a:pt x="7871" y="6522"/>
                  </a:lnTo>
                  <a:lnTo>
                    <a:pt x="7826" y="6593"/>
                  </a:lnTo>
                  <a:lnTo>
                    <a:pt x="7782" y="6658"/>
                  </a:lnTo>
                  <a:lnTo>
                    <a:pt x="7741" y="6719"/>
                  </a:lnTo>
                  <a:lnTo>
                    <a:pt x="7700" y="6774"/>
                  </a:lnTo>
                  <a:lnTo>
                    <a:pt x="7663" y="6825"/>
                  </a:lnTo>
                  <a:lnTo>
                    <a:pt x="7629" y="6870"/>
                  </a:lnTo>
                  <a:lnTo>
                    <a:pt x="7599" y="6911"/>
                  </a:lnTo>
                  <a:lnTo>
                    <a:pt x="7572" y="6944"/>
                  </a:lnTo>
                  <a:lnTo>
                    <a:pt x="7549" y="6972"/>
                  </a:lnTo>
                  <a:lnTo>
                    <a:pt x="7516" y="7011"/>
                  </a:lnTo>
                  <a:lnTo>
                    <a:pt x="7505" y="7024"/>
                  </a:lnTo>
                  <a:lnTo>
                    <a:pt x="7499" y="6791"/>
                  </a:lnTo>
                  <a:lnTo>
                    <a:pt x="7483" y="6560"/>
                  </a:lnTo>
                  <a:lnTo>
                    <a:pt x="7456" y="6334"/>
                  </a:lnTo>
                  <a:lnTo>
                    <a:pt x="7420" y="6110"/>
                  </a:lnTo>
                  <a:lnTo>
                    <a:pt x="7376" y="5891"/>
                  </a:lnTo>
                  <a:lnTo>
                    <a:pt x="7322" y="5677"/>
                  </a:lnTo>
                  <a:lnTo>
                    <a:pt x="7263" y="5468"/>
                  </a:lnTo>
                  <a:lnTo>
                    <a:pt x="7197" y="5262"/>
                  </a:lnTo>
                  <a:lnTo>
                    <a:pt x="7124" y="5062"/>
                  </a:lnTo>
                  <a:lnTo>
                    <a:pt x="7047" y="4868"/>
                  </a:lnTo>
                  <a:lnTo>
                    <a:pt x="6966" y="4679"/>
                  </a:lnTo>
                  <a:lnTo>
                    <a:pt x="6880" y="4497"/>
                  </a:lnTo>
                  <a:lnTo>
                    <a:pt x="6792" y="4320"/>
                  </a:lnTo>
                  <a:lnTo>
                    <a:pt x="6702" y="4151"/>
                  </a:lnTo>
                  <a:lnTo>
                    <a:pt x="6610" y="3988"/>
                  </a:lnTo>
                  <a:lnTo>
                    <a:pt x="6517" y="3832"/>
                  </a:lnTo>
                  <a:lnTo>
                    <a:pt x="6425" y="3683"/>
                  </a:lnTo>
                  <a:lnTo>
                    <a:pt x="6333" y="3542"/>
                  </a:lnTo>
                  <a:lnTo>
                    <a:pt x="6243" y="3409"/>
                  </a:lnTo>
                  <a:lnTo>
                    <a:pt x="6154" y="3284"/>
                  </a:lnTo>
                  <a:lnTo>
                    <a:pt x="6070" y="3168"/>
                  </a:lnTo>
                  <a:lnTo>
                    <a:pt x="5987" y="3060"/>
                  </a:lnTo>
                  <a:lnTo>
                    <a:pt x="5911" y="2961"/>
                  </a:lnTo>
                  <a:lnTo>
                    <a:pt x="5839" y="2871"/>
                  </a:lnTo>
                  <a:lnTo>
                    <a:pt x="5772" y="2792"/>
                  </a:lnTo>
                  <a:lnTo>
                    <a:pt x="5712" y="2721"/>
                  </a:lnTo>
                  <a:lnTo>
                    <a:pt x="5660" y="2661"/>
                  </a:lnTo>
                  <a:lnTo>
                    <a:pt x="5614" y="2611"/>
                  </a:lnTo>
                  <a:lnTo>
                    <a:pt x="5552" y="2544"/>
                  </a:lnTo>
                  <a:lnTo>
                    <a:pt x="5530" y="2521"/>
                  </a:lnTo>
                  <a:lnTo>
                    <a:pt x="5529" y="2538"/>
                  </a:lnTo>
                  <a:lnTo>
                    <a:pt x="5527" y="2588"/>
                  </a:lnTo>
                  <a:lnTo>
                    <a:pt x="5524" y="2624"/>
                  </a:lnTo>
                  <a:lnTo>
                    <a:pt x="5521" y="2669"/>
                  </a:lnTo>
                  <a:lnTo>
                    <a:pt x="5516" y="2719"/>
                  </a:lnTo>
                  <a:lnTo>
                    <a:pt x="5510" y="2778"/>
                  </a:lnTo>
                  <a:lnTo>
                    <a:pt x="5503" y="2842"/>
                  </a:lnTo>
                  <a:lnTo>
                    <a:pt x="5493" y="2913"/>
                  </a:lnTo>
                  <a:lnTo>
                    <a:pt x="5482" y="2989"/>
                  </a:lnTo>
                  <a:lnTo>
                    <a:pt x="5469" y="3072"/>
                  </a:lnTo>
                  <a:lnTo>
                    <a:pt x="5453" y="3161"/>
                  </a:lnTo>
                  <a:lnTo>
                    <a:pt x="5435" y="3254"/>
                  </a:lnTo>
                  <a:lnTo>
                    <a:pt x="5414" y="3352"/>
                  </a:lnTo>
                  <a:lnTo>
                    <a:pt x="5391" y="3455"/>
                  </a:lnTo>
                  <a:lnTo>
                    <a:pt x="5365" y="3563"/>
                  </a:lnTo>
                  <a:lnTo>
                    <a:pt x="5336" y="3674"/>
                  </a:lnTo>
                  <a:lnTo>
                    <a:pt x="5304" y="3790"/>
                  </a:lnTo>
                  <a:lnTo>
                    <a:pt x="5268" y="3909"/>
                  </a:lnTo>
                  <a:lnTo>
                    <a:pt x="5227" y="4031"/>
                  </a:lnTo>
                  <a:lnTo>
                    <a:pt x="5184" y="4156"/>
                  </a:lnTo>
                  <a:lnTo>
                    <a:pt x="5137" y="4285"/>
                  </a:lnTo>
                  <a:lnTo>
                    <a:pt x="5086" y="4415"/>
                  </a:lnTo>
                  <a:lnTo>
                    <a:pt x="5029" y="4548"/>
                  </a:lnTo>
                  <a:lnTo>
                    <a:pt x="4969" y="4683"/>
                  </a:lnTo>
                  <a:lnTo>
                    <a:pt x="4904" y="4819"/>
                  </a:lnTo>
                  <a:lnTo>
                    <a:pt x="4834" y="4958"/>
                  </a:lnTo>
                  <a:lnTo>
                    <a:pt x="4759" y="5097"/>
                  </a:lnTo>
                  <a:lnTo>
                    <a:pt x="4680" y="5237"/>
                  </a:lnTo>
                  <a:lnTo>
                    <a:pt x="4594" y="5378"/>
                  </a:lnTo>
                  <a:lnTo>
                    <a:pt x="4503" y="5519"/>
                  </a:lnTo>
                  <a:lnTo>
                    <a:pt x="4403" y="5195"/>
                  </a:lnTo>
                  <a:lnTo>
                    <a:pt x="4293" y="4878"/>
                  </a:lnTo>
                  <a:lnTo>
                    <a:pt x="4173" y="4571"/>
                  </a:lnTo>
                  <a:lnTo>
                    <a:pt x="4043" y="4274"/>
                  </a:lnTo>
                  <a:lnTo>
                    <a:pt x="3906" y="3985"/>
                  </a:lnTo>
                  <a:lnTo>
                    <a:pt x="3762" y="3705"/>
                  </a:lnTo>
                  <a:lnTo>
                    <a:pt x="3611" y="3435"/>
                  </a:lnTo>
                  <a:lnTo>
                    <a:pt x="3455" y="3175"/>
                  </a:lnTo>
                  <a:lnTo>
                    <a:pt x="3295" y="2924"/>
                  </a:lnTo>
                  <a:lnTo>
                    <a:pt x="3131" y="2683"/>
                  </a:lnTo>
                  <a:lnTo>
                    <a:pt x="2965" y="2451"/>
                  </a:lnTo>
                  <a:lnTo>
                    <a:pt x="2797" y="2229"/>
                  </a:lnTo>
                  <a:lnTo>
                    <a:pt x="2628" y="2018"/>
                  </a:lnTo>
                  <a:lnTo>
                    <a:pt x="2459" y="1816"/>
                  </a:lnTo>
                  <a:lnTo>
                    <a:pt x="2292" y="1624"/>
                  </a:lnTo>
                  <a:lnTo>
                    <a:pt x="2126" y="1443"/>
                  </a:lnTo>
                  <a:lnTo>
                    <a:pt x="1964" y="1271"/>
                  </a:lnTo>
                  <a:lnTo>
                    <a:pt x="1805" y="1110"/>
                  </a:lnTo>
                  <a:lnTo>
                    <a:pt x="1651" y="960"/>
                  </a:lnTo>
                  <a:lnTo>
                    <a:pt x="1503" y="820"/>
                  </a:lnTo>
                  <a:lnTo>
                    <a:pt x="1361" y="691"/>
                  </a:lnTo>
                  <a:lnTo>
                    <a:pt x="1227" y="573"/>
                  </a:lnTo>
                  <a:lnTo>
                    <a:pt x="1102" y="465"/>
                  </a:lnTo>
                  <a:lnTo>
                    <a:pt x="985" y="368"/>
                  </a:lnTo>
                  <a:lnTo>
                    <a:pt x="879" y="283"/>
                  </a:lnTo>
                  <a:lnTo>
                    <a:pt x="784" y="209"/>
                  </a:lnTo>
                  <a:lnTo>
                    <a:pt x="701" y="145"/>
                  </a:lnTo>
                  <a:lnTo>
                    <a:pt x="631" y="93"/>
                  </a:lnTo>
                  <a:lnTo>
                    <a:pt x="534" y="23"/>
                  </a:lnTo>
                  <a:lnTo>
                    <a:pt x="501" y="0"/>
                  </a:lnTo>
                  <a:lnTo>
                    <a:pt x="630" y="507"/>
                  </a:lnTo>
                  <a:lnTo>
                    <a:pt x="742" y="995"/>
                  </a:lnTo>
                  <a:lnTo>
                    <a:pt x="834" y="1464"/>
                  </a:lnTo>
                  <a:lnTo>
                    <a:pt x="910" y="1916"/>
                  </a:lnTo>
                  <a:lnTo>
                    <a:pt x="968" y="2351"/>
                  </a:lnTo>
                  <a:lnTo>
                    <a:pt x="1011" y="2771"/>
                  </a:lnTo>
                  <a:lnTo>
                    <a:pt x="1040" y="3176"/>
                  </a:lnTo>
                  <a:lnTo>
                    <a:pt x="1056" y="3567"/>
                  </a:lnTo>
                  <a:lnTo>
                    <a:pt x="1059" y="3946"/>
                  </a:lnTo>
                  <a:lnTo>
                    <a:pt x="1050" y="4313"/>
                  </a:lnTo>
                  <a:lnTo>
                    <a:pt x="1030" y="4671"/>
                  </a:lnTo>
                  <a:lnTo>
                    <a:pt x="1001" y="5018"/>
                  </a:lnTo>
                  <a:lnTo>
                    <a:pt x="965" y="5358"/>
                  </a:lnTo>
                  <a:lnTo>
                    <a:pt x="920" y="5690"/>
                  </a:lnTo>
                  <a:lnTo>
                    <a:pt x="870" y="6014"/>
                  </a:lnTo>
                  <a:lnTo>
                    <a:pt x="813" y="6335"/>
                  </a:lnTo>
                  <a:lnTo>
                    <a:pt x="753" y="6650"/>
                  </a:lnTo>
                  <a:lnTo>
                    <a:pt x="689" y="6962"/>
                  </a:lnTo>
                  <a:lnTo>
                    <a:pt x="622" y="7271"/>
                  </a:lnTo>
                  <a:lnTo>
                    <a:pt x="554" y="7580"/>
                  </a:lnTo>
                  <a:lnTo>
                    <a:pt x="486" y="7888"/>
                  </a:lnTo>
                  <a:lnTo>
                    <a:pt x="418" y="8197"/>
                  </a:lnTo>
                  <a:lnTo>
                    <a:pt x="353" y="8507"/>
                  </a:lnTo>
                  <a:lnTo>
                    <a:pt x="290" y="8820"/>
                  </a:lnTo>
                  <a:lnTo>
                    <a:pt x="229" y="9137"/>
                  </a:lnTo>
                  <a:lnTo>
                    <a:pt x="175" y="9457"/>
                  </a:lnTo>
                  <a:lnTo>
                    <a:pt x="126" y="9784"/>
                  </a:lnTo>
                  <a:lnTo>
                    <a:pt x="83" y="10118"/>
                  </a:lnTo>
                  <a:lnTo>
                    <a:pt x="48" y="10460"/>
                  </a:lnTo>
                  <a:lnTo>
                    <a:pt x="22" y="10809"/>
                  </a:lnTo>
                  <a:lnTo>
                    <a:pt x="6" y="11169"/>
                  </a:lnTo>
                  <a:lnTo>
                    <a:pt x="0" y="11540"/>
                  </a:lnTo>
                  <a:lnTo>
                    <a:pt x="6" y="11760"/>
                  </a:lnTo>
                  <a:lnTo>
                    <a:pt x="23" y="11980"/>
                  </a:lnTo>
                  <a:lnTo>
                    <a:pt x="51" y="12198"/>
                  </a:lnTo>
                  <a:lnTo>
                    <a:pt x="91" y="12414"/>
                  </a:lnTo>
                  <a:lnTo>
                    <a:pt x="142" y="12627"/>
                  </a:lnTo>
                  <a:lnTo>
                    <a:pt x="203" y="12838"/>
                  </a:lnTo>
                  <a:lnTo>
                    <a:pt x="275" y="13047"/>
                  </a:lnTo>
                  <a:lnTo>
                    <a:pt x="358" y="13251"/>
                  </a:lnTo>
                  <a:lnTo>
                    <a:pt x="450" y="13452"/>
                  </a:lnTo>
                  <a:lnTo>
                    <a:pt x="554" y="13649"/>
                  </a:lnTo>
                  <a:lnTo>
                    <a:pt x="666" y="13841"/>
                  </a:lnTo>
                  <a:lnTo>
                    <a:pt x="789" y="14028"/>
                  </a:lnTo>
                  <a:lnTo>
                    <a:pt x="922" y="14210"/>
                  </a:lnTo>
                  <a:lnTo>
                    <a:pt x="1063" y="14386"/>
                  </a:lnTo>
                  <a:lnTo>
                    <a:pt x="1213" y="14556"/>
                  </a:lnTo>
                  <a:lnTo>
                    <a:pt x="1374" y="14719"/>
                  </a:lnTo>
                  <a:lnTo>
                    <a:pt x="1542" y="14876"/>
                  </a:lnTo>
                  <a:lnTo>
                    <a:pt x="1720" y="15025"/>
                  </a:lnTo>
                  <a:lnTo>
                    <a:pt x="1906" y="15167"/>
                  </a:lnTo>
                  <a:lnTo>
                    <a:pt x="2101" y="15300"/>
                  </a:lnTo>
                  <a:lnTo>
                    <a:pt x="2303" y="15425"/>
                  </a:lnTo>
                  <a:lnTo>
                    <a:pt x="2514" y="15541"/>
                  </a:lnTo>
                  <a:lnTo>
                    <a:pt x="2733" y="15648"/>
                  </a:lnTo>
                  <a:lnTo>
                    <a:pt x="2960" y="15746"/>
                  </a:lnTo>
                  <a:lnTo>
                    <a:pt x="3193" y="15834"/>
                  </a:lnTo>
                  <a:lnTo>
                    <a:pt x="3434" y="15910"/>
                  </a:lnTo>
                  <a:lnTo>
                    <a:pt x="3683" y="15977"/>
                  </a:lnTo>
                  <a:lnTo>
                    <a:pt x="3939" y="16031"/>
                  </a:lnTo>
                  <a:lnTo>
                    <a:pt x="4201" y="16075"/>
                  </a:lnTo>
                  <a:lnTo>
                    <a:pt x="4469" y="16107"/>
                  </a:lnTo>
                  <a:lnTo>
                    <a:pt x="4745" y="16126"/>
                  </a:lnTo>
                  <a:lnTo>
                    <a:pt x="5027" y="16132"/>
                  </a:lnTo>
                  <a:lnTo>
                    <a:pt x="5439" y="16127"/>
                  </a:lnTo>
                  <a:lnTo>
                    <a:pt x="5830" y="16113"/>
                  </a:lnTo>
                  <a:lnTo>
                    <a:pt x="6201" y="16090"/>
                  </a:lnTo>
                  <a:lnTo>
                    <a:pt x="6551" y="16057"/>
                  </a:lnTo>
                  <a:lnTo>
                    <a:pt x="6884" y="16016"/>
                  </a:lnTo>
                  <a:lnTo>
                    <a:pt x="7198" y="15967"/>
                  </a:lnTo>
                  <a:lnTo>
                    <a:pt x="7494" y="15909"/>
                  </a:lnTo>
                  <a:lnTo>
                    <a:pt x="7774" y="15844"/>
                  </a:lnTo>
                  <a:lnTo>
                    <a:pt x="8036" y="15771"/>
                  </a:lnTo>
                  <a:lnTo>
                    <a:pt x="8282" y="15690"/>
                  </a:lnTo>
                  <a:lnTo>
                    <a:pt x="8514" y="15603"/>
                  </a:lnTo>
                  <a:lnTo>
                    <a:pt x="8731" y="15509"/>
                  </a:lnTo>
                  <a:lnTo>
                    <a:pt x="8933" y="15408"/>
                  </a:lnTo>
                  <a:lnTo>
                    <a:pt x="9121" y="15301"/>
                  </a:lnTo>
                  <a:lnTo>
                    <a:pt x="9297" y="15188"/>
                  </a:lnTo>
                  <a:lnTo>
                    <a:pt x="9461" y="15069"/>
                  </a:lnTo>
                  <a:lnTo>
                    <a:pt x="9611" y="14945"/>
                  </a:lnTo>
                  <a:lnTo>
                    <a:pt x="9752" y="14816"/>
                  </a:lnTo>
                  <a:lnTo>
                    <a:pt x="9882" y="14681"/>
                  </a:lnTo>
                  <a:lnTo>
                    <a:pt x="10001" y="14543"/>
                  </a:lnTo>
                  <a:lnTo>
                    <a:pt x="10111" y="14399"/>
                  </a:lnTo>
                  <a:lnTo>
                    <a:pt x="10213" y="14252"/>
                  </a:lnTo>
                  <a:lnTo>
                    <a:pt x="10305" y="14100"/>
                  </a:lnTo>
                  <a:lnTo>
                    <a:pt x="10390" y="13945"/>
                  </a:lnTo>
                  <a:lnTo>
                    <a:pt x="10468" y="13787"/>
                  </a:lnTo>
                  <a:lnTo>
                    <a:pt x="10540" y="13625"/>
                  </a:lnTo>
                  <a:lnTo>
                    <a:pt x="10606" y="13461"/>
                  </a:lnTo>
                  <a:lnTo>
                    <a:pt x="10666" y="13294"/>
                  </a:lnTo>
                  <a:lnTo>
                    <a:pt x="10721" y="13124"/>
                  </a:lnTo>
                  <a:lnTo>
                    <a:pt x="10772" y="12954"/>
                  </a:lnTo>
                  <a:lnTo>
                    <a:pt x="10821" y="12781"/>
                  </a:lnTo>
                  <a:lnTo>
                    <a:pt x="10866" y="12606"/>
                  </a:lnTo>
                  <a:lnTo>
                    <a:pt x="10921" y="12364"/>
                  </a:lnTo>
                  <a:lnTo>
                    <a:pt x="10967" y="12119"/>
                  </a:lnTo>
                  <a:lnTo>
                    <a:pt x="11004" y="11873"/>
                  </a:lnTo>
                  <a:lnTo>
                    <a:pt x="11032" y="11624"/>
                  </a:lnTo>
                  <a:lnTo>
                    <a:pt x="11051" y="11374"/>
                  </a:lnTo>
                  <a:lnTo>
                    <a:pt x="11061" y="11122"/>
                  </a:lnTo>
                  <a:lnTo>
                    <a:pt x="11062" y="10868"/>
                  </a:lnTo>
                  <a:lnTo>
                    <a:pt x="11055" y="10614"/>
                  </a:lnTo>
                  <a:lnTo>
                    <a:pt x="11039" y="10358"/>
                  </a:lnTo>
                  <a:lnTo>
                    <a:pt x="11015" y="10101"/>
                  </a:lnTo>
                  <a:lnTo>
                    <a:pt x="10982" y="9843"/>
                  </a:lnTo>
                  <a:lnTo>
                    <a:pt x="10941" y="9584"/>
                  </a:lnTo>
                  <a:lnTo>
                    <a:pt x="10892" y="9325"/>
                  </a:lnTo>
                  <a:lnTo>
                    <a:pt x="10835" y="9066"/>
                  </a:lnTo>
                  <a:lnTo>
                    <a:pt x="10769" y="8807"/>
                  </a:lnTo>
                  <a:lnTo>
                    <a:pt x="10696" y="8548"/>
                  </a:lnTo>
                  <a:lnTo>
                    <a:pt x="10616" y="8289"/>
                  </a:lnTo>
                  <a:lnTo>
                    <a:pt x="10527" y="8031"/>
                  </a:lnTo>
                  <a:lnTo>
                    <a:pt x="10432" y="7772"/>
                  </a:lnTo>
                  <a:lnTo>
                    <a:pt x="10328" y="7514"/>
                  </a:lnTo>
                  <a:lnTo>
                    <a:pt x="10218" y="7257"/>
                  </a:lnTo>
                  <a:lnTo>
                    <a:pt x="10100" y="7002"/>
                  </a:lnTo>
                  <a:lnTo>
                    <a:pt x="9974" y="6747"/>
                  </a:lnTo>
                  <a:lnTo>
                    <a:pt x="9843" y="6494"/>
                  </a:lnTo>
                  <a:lnTo>
                    <a:pt x="9704" y="6243"/>
                  </a:lnTo>
                  <a:lnTo>
                    <a:pt x="9558" y="5993"/>
                  </a:lnTo>
                  <a:lnTo>
                    <a:pt x="9405" y="5745"/>
                  </a:lnTo>
                  <a:lnTo>
                    <a:pt x="9246" y="5498"/>
                  </a:lnTo>
                  <a:lnTo>
                    <a:pt x="9081" y="5254"/>
                  </a:lnTo>
                  <a:lnTo>
                    <a:pt x="8909" y="5013"/>
                  </a:lnTo>
                  <a:lnTo>
                    <a:pt x="8730" y="4774"/>
                  </a:lnTo>
                  <a:lnTo>
                    <a:pt x="8546" y="45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28" name="iśḻíḋé">
              <a:extLst>
                <a:ext uri="{FF2B5EF4-FFF2-40B4-BE49-F238E27FC236}">
                  <a16:creationId xmlns:a16="http://schemas.microsoft.com/office/drawing/2014/main" id="{0EF9BDB8-ACFB-4D9E-815C-A0D593EA1CDC}"/>
                </a:ext>
              </a:extLst>
            </p:cNvPr>
            <p:cNvSpPr/>
            <p:nvPr/>
          </p:nvSpPr>
          <p:spPr bwMode="auto">
            <a:xfrm>
              <a:off x="4899051" y="184152"/>
              <a:ext cx="153880" cy="124380"/>
            </a:xfrm>
            <a:custGeom>
              <a:avLst/>
              <a:gdLst>
                <a:gd name="T0" fmla="*/ 6161 w 7135"/>
                <a:gd name="T1" fmla="*/ 2475 h 5775"/>
                <a:gd name="T2" fmla="*/ 5762 w 7135"/>
                <a:gd name="T3" fmla="*/ 2876 h 5775"/>
                <a:gd name="T4" fmla="*/ 5263 w 7135"/>
                <a:gd name="T5" fmla="*/ 3283 h 5775"/>
                <a:gd name="T6" fmla="*/ 4610 w 7135"/>
                <a:gd name="T7" fmla="*/ 3704 h 5775"/>
                <a:gd name="T8" fmla="*/ 4041 w 7135"/>
                <a:gd name="T9" fmla="*/ 3621 h 5775"/>
                <a:gd name="T10" fmla="*/ 3918 w 7135"/>
                <a:gd name="T11" fmla="*/ 3141 h 5775"/>
                <a:gd name="T12" fmla="*/ 3836 w 7135"/>
                <a:gd name="T13" fmla="*/ 2666 h 5775"/>
                <a:gd name="T14" fmla="*/ 3788 w 7135"/>
                <a:gd name="T15" fmla="*/ 2122 h 5775"/>
                <a:gd name="T16" fmla="*/ 2970 w 7135"/>
                <a:gd name="T17" fmla="*/ 2186 h 5775"/>
                <a:gd name="T18" fmla="*/ 2646 w 7135"/>
                <a:gd name="T19" fmla="*/ 2694 h 5775"/>
                <a:gd name="T20" fmla="*/ 2288 w 7135"/>
                <a:gd name="T21" fmla="*/ 3226 h 5775"/>
                <a:gd name="T22" fmla="*/ 1744 w 7135"/>
                <a:gd name="T23" fmla="*/ 2191 h 5775"/>
                <a:gd name="T24" fmla="*/ 1302 w 7135"/>
                <a:gd name="T25" fmla="*/ 1101 h 5775"/>
                <a:gd name="T26" fmla="*/ 523 w 7135"/>
                <a:gd name="T27" fmla="*/ 1126 h 5775"/>
                <a:gd name="T28" fmla="*/ 322 w 7135"/>
                <a:gd name="T29" fmla="*/ 1803 h 5775"/>
                <a:gd name="T30" fmla="*/ 155 w 7135"/>
                <a:gd name="T31" fmla="*/ 2614 h 5775"/>
                <a:gd name="T32" fmla="*/ 42 w 7135"/>
                <a:gd name="T33" fmla="*/ 3654 h 5775"/>
                <a:gd name="T34" fmla="*/ 0 w 7135"/>
                <a:gd name="T35" fmla="*/ 5018 h 5775"/>
                <a:gd name="T36" fmla="*/ 15 w 7135"/>
                <a:gd name="T37" fmla="*/ 5105 h 5775"/>
                <a:gd name="T38" fmla="*/ 57 w 7135"/>
                <a:gd name="T39" fmla="*/ 5179 h 5775"/>
                <a:gd name="T40" fmla="*/ 120 w 7135"/>
                <a:gd name="T41" fmla="*/ 5234 h 5775"/>
                <a:gd name="T42" fmla="*/ 201 w 7135"/>
                <a:gd name="T43" fmla="*/ 5265 h 5775"/>
                <a:gd name="T44" fmla="*/ 289 w 7135"/>
                <a:gd name="T45" fmla="*/ 5267 h 5775"/>
                <a:gd name="T46" fmla="*/ 370 w 7135"/>
                <a:gd name="T47" fmla="*/ 5240 h 5775"/>
                <a:gd name="T48" fmla="*/ 437 w 7135"/>
                <a:gd name="T49" fmla="*/ 5188 h 5775"/>
                <a:gd name="T50" fmla="*/ 482 w 7135"/>
                <a:gd name="T51" fmla="*/ 5117 h 5775"/>
                <a:gd name="T52" fmla="*/ 502 w 7135"/>
                <a:gd name="T53" fmla="*/ 5032 h 5775"/>
                <a:gd name="T54" fmla="*/ 520 w 7135"/>
                <a:gd name="T55" fmla="*/ 4087 h 5775"/>
                <a:gd name="T56" fmla="*/ 584 w 7135"/>
                <a:gd name="T57" fmla="*/ 3203 h 5775"/>
                <a:gd name="T58" fmla="*/ 685 w 7135"/>
                <a:gd name="T59" fmla="*/ 2490 h 5775"/>
                <a:gd name="T60" fmla="*/ 816 w 7135"/>
                <a:gd name="T61" fmla="*/ 1897 h 5775"/>
                <a:gd name="T62" fmla="*/ 1026 w 7135"/>
                <a:gd name="T63" fmla="*/ 1774 h 5775"/>
                <a:gd name="T64" fmla="*/ 1436 w 7135"/>
                <a:gd name="T65" fmla="*/ 2753 h 5775"/>
                <a:gd name="T66" fmla="*/ 1949 w 7135"/>
                <a:gd name="T67" fmla="*/ 3914 h 5775"/>
                <a:gd name="T68" fmla="*/ 2728 w 7135"/>
                <a:gd name="T69" fmla="*/ 3474 h 5775"/>
                <a:gd name="T70" fmla="*/ 3116 w 7135"/>
                <a:gd name="T71" fmla="*/ 2895 h 5775"/>
                <a:gd name="T72" fmla="*/ 3343 w 7135"/>
                <a:gd name="T73" fmla="*/ 2782 h 5775"/>
                <a:gd name="T74" fmla="*/ 3419 w 7135"/>
                <a:gd name="T75" fmla="*/ 3221 h 5775"/>
                <a:gd name="T76" fmla="*/ 3595 w 7135"/>
                <a:gd name="T77" fmla="*/ 3883 h 5775"/>
                <a:gd name="T78" fmla="*/ 4108 w 7135"/>
                <a:gd name="T79" fmla="*/ 4532 h 5775"/>
                <a:gd name="T80" fmla="*/ 4902 w 7135"/>
                <a:gd name="T81" fmla="*/ 4116 h 5775"/>
                <a:gd name="T82" fmla="*/ 5527 w 7135"/>
                <a:gd name="T83" fmla="*/ 3714 h 5775"/>
                <a:gd name="T84" fmla="*/ 6017 w 7135"/>
                <a:gd name="T85" fmla="*/ 3324 h 5775"/>
                <a:gd name="T86" fmla="*/ 6411 w 7135"/>
                <a:gd name="T87" fmla="*/ 2943 h 5775"/>
                <a:gd name="T88" fmla="*/ 6624 w 7135"/>
                <a:gd name="T89" fmla="*/ 2997 h 5775"/>
                <a:gd name="T90" fmla="*/ 6623 w 7135"/>
                <a:gd name="T91" fmla="*/ 3626 h 5775"/>
                <a:gd name="T92" fmla="*/ 6567 w 7135"/>
                <a:gd name="T93" fmla="*/ 4245 h 5775"/>
                <a:gd name="T94" fmla="*/ 6457 w 7135"/>
                <a:gd name="T95" fmla="*/ 4831 h 5775"/>
                <a:gd name="T96" fmla="*/ 6297 w 7135"/>
                <a:gd name="T97" fmla="*/ 5360 h 5775"/>
                <a:gd name="T98" fmla="*/ 6251 w 7135"/>
                <a:gd name="T99" fmla="*/ 5502 h 5775"/>
                <a:gd name="T100" fmla="*/ 6259 w 7135"/>
                <a:gd name="T101" fmla="*/ 5587 h 5775"/>
                <a:gd name="T102" fmla="*/ 6295 w 7135"/>
                <a:gd name="T103" fmla="*/ 5664 h 5775"/>
                <a:gd name="T104" fmla="*/ 6353 w 7135"/>
                <a:gd name="T105" fmla="*/ 5726 h 5775"/>
                <a:gd name="T106" fmla="*/ 6431 w 7135"/>
                <a:gd name="T107" fmla="*/ 5765 h 5775"/>
                <a:gd name="T108" fmla="*/ 6522 w 7135"/>
                <a:gd name="T109" fmla="*/ 5775 h 5775"/>
                <a:gd name="T110" fmla="*/ 6641 w 7135"/>
                <a:gd name="T111" fmla="*/ 5733 h 5775"/>
                <a:gd name="T112" fmla="*/ 6728 w 7135"/>
                <a:gd name="T113" fmla="*/ 5635 h 5775"/>
                <a:gd name="T114" fmla="*/ 6926 w 7135"/>
                <a:gd name="T115" fmla="*/ 5033 h 5775"/>
                <a:gd name="T116" fmla="*/ 7072 w 7135"/>
                <a:gd name="T117" fmla="*/ 4273 h 5775"/>
                <a:gd name="T118" fmla="*/ 7134 w 7135"/>
                <a:gd name="T119" fmla="*/ 3469 h 5775"/>
                <a:gd name="T120" fmla="*/ 7108 w 7135"/>
                <a:gd name="T121" fmla="*/ 2658 h 5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135" h="5775">
                  <a:moveTo>
                    <a:pt x="6940" y="1575"/>
                  </a:moveTo>
                  <a:lnTo>
                    <a:pt x="6513" y="2072"/>
                  </a:lnTo>
                  <a:lnTo>
                    <a:pt x="6413" y="2188"/>
                  </a:lnTo>
                  <a:lnTo>
                    <a:pt x="6314" y="2303"/>
                  </a:lnTo>
                  <a:lnTo>
                    <a:pt x="6263" y="2361"/>
                  </a:lnTo>
                  <a:lnTo>
                    <a:pt x="6212" y="2418"/>
                  </a:lnTo>
                  <a:lnTo>
                    <a:pt x="6161" y="2475"/>
                  </a:lnTo>
                  <a:lnTo>
                    <a:pt x="6108" y="2532"/>
                  </a:lnTo>
                  <a:lnTo>
                    <a:pt x="6053" y="2590"/>
                  </a:lnTo>
                  <a:lnTo>
                    <a:pt x="5999" y="2647"/>
                  </a:lnTo>
                  <a:lnTo>
                    <a:pt x="5942" y="2704"/>
                  </a:lnTo>
                  <a:lnTo>
                    <a:pt x="5883" y="2761"/>
                  </a:lnTo>
                  <a:lnTo>
                    <a:pt x="5824" y="2818"/>
                  </a:lnTo>
                  <a:lnTo>
                    <a:pt x="5762" y="2876"/>
                  </a:lnTo>
                  <a:lnTo>
                    <a:pt x="5698" y="2933"/>
                  </a:lnTo>
                  <a:lnTo>
                    <a:pt x="5632" y="2992"/>
                  </a:lnTo>
                  <a:lnTo>
                    <a:pt x="5564" y="3049"/>
                  </a:lnTo>
                  <a:lnTo>
                    <a:pt x="5492" y="3108"/>
                  </a:lnTo>
                  <a:lnTo>
                    <a:pt x="5419" y="3166"/>
                  </a:lnTo>
                  <a:lnTo>
                    <a:pt x="5343" y="3225"/>
                  </a:lnTo>
                  <a:lnTo>
                    <a:pt x="5263" y="3283"/>
                  </a:lnTo>
                  <a:lnTo>
                    <a:pt x="5181" y="3343"/>
                  </a:lnTo>
                  <a:lnTo>
                    <a:pt x="5094" y="3402"/>
                  </a:lnTo>
                  <a:lnTo>
                    <a:pt x="5005" y="3462"/>
                  </a:lnTo>
                  <a:lnTo>
                    <a:pt x="4912" y="3521"/>
                  </a:lnTo>
                  <a:lnTo>
                    <a:pt x="4815" y="3582"/>
                  </a:lnTo>
                  <a:lnTo>
                    <a:pt x="4714" y="3642"/>
                  </a:lnTo>
                  <a:lnTo>
                    <a:pt x="4610" y="3704"/>
                  </a:lnTo>
                  <a:lnTo>
                    <a:pt x="4500" y="3765"/>
                  </a:lnTo>
                  <a:lnTo>
                    <a:pt x="4387" y="3828"/>
                  </a:lnTo>
                  <a:lnTo>
                    <a:pt x="4268" y="3890"/>
                  </a:lnTo>
                  <a:lnTo>
                    <a:pt x="4145" y="3953"/>
                  </a:lnTo>
                  <a:lnTo>
                    <a:pt x="4110" y="3844"/>
                  </a:lnTo>
                  <a:lnTo>
                    <a:pt x="4075" y="3734"/>
                  </a:lnTo>
                  <a:lnTo>
                    <a:pt x="4041" y="3621"/>
                  </a:lnTo>
                  <a:lnTo>
                    <a:pt x="4008" y="3506"/>
                  </a:lnTo>
                  <a:lnTo>
                    <a:pt x="3991" y="3448"/>
                  </a:lnTo>
                  <a:lnTo>
                    <a:pt x="3976" y="3388"/>
                  </a:lnTo>
                  <a:lnTo>
                    <a:pt x="3961" y="3328"/>
                  </a:lnTo>
                  <a:lnTo>
                    <a:pt x="3946" y="3266"/>
                  </a:lnTo>
                  <a:lnTo>
                    <a:pt x="3931" y="3204"/>
                  </a:lnTo>
                  <a:lnTo>
                    <a:pt x="3918" y="3141"/>
                  </a:lnTo>
                  <a:lnTo>
                    <a:pt x="3904" y="3077"/>
                  </a:lnTo>
                  <a:lnTo>
                    <a:pt x="3891" y="3011"/>
                  </a:lnTo>
                  <a:lnTo>
                    <a:pt x="3879" y="2944"/>
                  </a:lnTo>
                  <a:lnTo>
                    <a:pt x="3867" y="2877"/>
                  </a:lnTo>
                  <a:lnTo>
                    <a:pt x="3856" y="2807"/>
                  </a:lnTo>
                  <a:lnTo>
                    <a:pt x="3846" y="2738"/>
                  </a:lnTo>
                  <a:lnTo>
                    <a:pt x="3836" y="2666"/>
                  </a:lnTo>
                  <a:lnTo>
                    <a:pt x="3827" y="2593"/>
                  </a:lnTo>
                  <a:lnTo>
                    <a:pt x="3819" y="2518"/>
                  </a:lnTo>
                  <a:lnTo>
                    <a:pt x="3811" y="2442"/>
                  </a:lnTo>
                  <a:lnTo>
                    <a:pt x="3803" y="2365"/>
                  </a:lnTo>
                  <a:lnTo>
                    <a:pt x="3797" y="2285"/>
                  </a:lnTo>
                  <a:lnTo>
                    <a:pt x="3792" y="2204"/>
                  </a:lnTo>
                  <a:lnTo>
                    <a:pt x="3788" y="2122"/>
                  </a:lnTo>
                  <a:lnTo>
                    <a:pt x="3785" y="2038"/>
                  </a:lnTo>
                  <a:lnTo>
                    <a:pt x="3782" y="1951"/>
                  </a:lnTo>
                  <a:lnTo>
                    <a:pt x="3781" y="1864"/>
                  </a:lnTo>
                  <a:lnTo>
                    <a:pt x="3780" y="1774"/>
                  </a:lnTo>
                  <a:lnTo>
                    <a:pt x="3780" y="912"/>
                  </a:lnTo>
                  <a:lnTo>
                    <a:pt x="3017" y="2111"/>
                  </a:lnTo>
                  <a:lnTo>
                    <a:pt x="2970" y="2186"/>
                  </a:lnTo>
                  <a:lnTo>
                    <a:pt x="2923" y="2261"/>
                  </a:lnTo>
                  <a:lnTo>
                    <a:pt x="2877" y="2334"/>
                  </a:lnTo>
                  <a:lnTo>
                    <a:pt x="2830" y="2407"/>
                  </a:lnTo>
                  <a:lnTo>
                    <a:pt x="2785" y="2479"/>
                  </a:lnTo>
                  <a:lnTo>
                    <a:pt x="2739" y="2550"/>
                  </a:lnTo>
                  <a:lnTo>
                    <a:pt x="2693" y="2622"/>
                  </a:lnTo>
                  <a:lnTo>
                    <a:pt x="2646" y="2694"/>
                  </a:lnTo>
                  <a:lnTo>
                    <a:pt x="2599" y="2766"/>
                  </a:lnTo>
                  <a:lnTo>
                    <a:pt x="2551" y="2840"/>
                  </a:lnTo>
                  <a:lnTo>
                    <a:pt x="2502" y="2913"/>
                  </a:lnTo>
                  <a:lnTo>
                    <a:pt x="2450" y="2989"/>
                  </a:lnTo>
                  <a:lnTo>
                    <a:pt x="2398" y="3066"/>
                  </a:lnTo>
                  <a:lnTo>
                    <a:pt x="2344" y="3145"/>
                  </a:lnTo>
                  <a:lnTo>
                    <a:pt x="2288" y="3226"/>
                  </a:lnTo>
                  <a:lnTo>
                    <a:pt x="2229" y="3308"/>
                  </a:lnTo>
                  <a:lnTo>
                    <a:pt x="2141" y="3108"/>
                  </a:lnTo>
                  <a:lnTo>
                    <a:pt x="2055" y="2913"/>
                  </a:lnTo>
                  <a:lnTo>
                    <a:pt x="1973" y="2724"/>
                  </a:lnTo>
                  <a:lnTo>
                    <a:pt x="1893" y="2541"/>
                  </a:lnTo>
                  <a:lnTo>
                    <a:pt x="1817" y="2364"/>
                  </a:lnTo>
                  <a:lnTo>
                    <a:pt x="1744" y="2191"/>
                  </a:lnTo>
                  <a:lnTo>
                    <a:pt x="1672" y="2023"/>
                  </a:lnTo>
                  <a:lnTo>
                    <a:pt x="1605" y="1861"/>
                  </a:lnTo>
                  <a:lnTo>
                    <a:pt x="1540" y="1701"/>
                  </a:lnTo>
                  <a:lnTo>
                    <a:pt x="1476" y="1546"/>
                  </a:lnTo>
                  <a:lnTo>
                    <a:pt x="1416" y="1395"/>
                  </a:lnTo>
                  <a:lnTo>
                    <a:pt x="1358" y="1247"/>
                  </a:lnTo>
                  <a:lnTo>
                    <a:pt x="1302" y="1101"/>
                  </a:lnTo>
                  <a:lnTo>
                    <a:pt x="1249" y="959"/>
                  </a:lnTo>
                  <a:lnTo>
                    <a:pt x="1197" y="819"/>
                  </a:lnTo>
                  <a:lnTo>
                    <a:pt x="1148" y="681"/>
                  </a:lnTo>
                  <a:lnTo>
                    <a:pt x="907" y="0"/>
                  </a:lnTo>
                  <a:lnTo>
                    <a:pt x="646" y="762"/>
                  </a:lnTo>
                  <a:lnTo>
                    <a:pt x="584" y="943"/>
                  </a:lnTo>
                  <a:lnTo>
                    <a:pt x="523" y="1126"/>
                  </a:lnTo>
                  <a:lnTo>
                    <a:pt x="493" y="1217"/>
                  </a:lnTo>
                  <a:lnTo>
                    <a:pt x="463" y="1311"/>
                  </a:lnTo>
                  <a:lnTo>
                    <a:pt x="434" y="1406"/>
                  </a:lnTo>
                  <a:lnTo>
                    <a:pt x="405" y="1502"/>
                  </a:lnTo>
                  <a:lnTo>
                    <a:pt x="377" y="1599"/>
                  </a:lnTo>
                  <a:lnTo>
                    <a:pt x="348" y="1700"/>
                  </a:lnTo>
                  <a:lnTo>
                    <a:pt x="322" y="1803"/>
                  </a:lnTo>
                  <a:lnTo>
                    <a:pt x="295" y="1908"/>
                  </a:lnTo>
                  <a:lnTo>
                    <a:pt x="270" y="2017"/>
                  </a:lnTo>
                  <a:lnTo>
                    <a:pt x="245" y="2129"/>
                  </a:lnTo>
                  <a:lnTo>
                    <a:pt x="221" y="2244"/>
                  </a:lnTo>
                  <a:lnTo>
                    <a:pt x="199" y="2363"/>
                  </a:lnTo>
                  <a:lnTo>
                    <a:pt x="176" y="2487"/>
                  </a:lnTo>
                  <a:lnTo>
                    <a:pt x="155" y="2614"/>
                  </a:lnTo>
                  <a:lnTo>
                    <a:pt x="135" y="2747"/>
                  </a:lnTo>
                  <a:lnTo>
                    <a:pt x="116" y="2884"/>
                  </a:lnTo>
                  <a:lnTo>
                    <a:pt x="99" y="3026"/>
                  </a:lnTo>
                  <a:lnTo>
                    <a:pt x="83" y="3174"/>
                  </a:lnTo>
                  <a:lnTo>
                    <a:pt x="68" y="3329"/>
                  </a:lnTo>
                  <a:lnTo>
                    <a:pt x="54" y="3488"/>
                  </a:lnTo>
                  <a:lnTo>
                    <a:pt x="42" y="3654"/>
                  </a:lnTo>
                  <a:lnTo>
                    <a:pt x="31" y="3828"/>
                  </a:lnTo>
                  <a:lnTo>
                    <a:pt x="22" y="4007"/>
                  </a:lnTo>
                  <a:lnTo>
                    <a:pt x="14" y="4194"/>
                  </a:lnTo>
                  <a:lnTo>
                    <a:pt x="8" y="4388"/>
                  </a:lnTo>
                  <a:lnTo>
                    <a:pt x="4" y="4590"/>
                  </a:lnTo>
                  <a:lnTo>
                    <a:pt x="1" y="4801"/>
                  </a:lnTo>
                  <a:lnTo>
                    <a:pt x="0" y="5018"/>
                  </a:lnTo>
                  <a:lnTo>
                    <a:pt x="0" y="5032"/>
                  </a:lnTo>
                  <a:lnTo>
                    <a:pt x="1" y="5045"/>
                  </a:lnTo>
                  <a:lnTo>
                    <a:pt x="3" y="5057"/>
                  </a:lnTo>
                  <a:lnTo>
                    <a:pt x="5" y="5070"/>
                  </a:lnTo>
                  <a:lnTo>
                    <a:pt x="8" y="5082"/>
                  </a:lnTo>
                  <a:lnTo>
                    <a:pt x="11" y="5094"/>
                  </a:lnTo>
                  <a:lnTo>
                    <a:pt x="15" y="5105"/>
                  </a:lnTo>
                  <a:lnTo>
                    <a:pt x="20" y="5117"/>
                  </a:lnTo>
                  <a:lnTo>
                    <a:pt x="25" y="5128"/>
                  </a:lnTo>
                  <a:lnTo>
                    <a:pt x="30" y="5138"/>
                  </a:lnTo>
                  <a:lnTo>
                    <a:pt x="36" y="5150"/>
                  </a:lnTo>
                  <a:lnTo>
                    <a:pt x="43" y="5160"/>
                  </a:lnTo>
                  <a:lnTo>
                    <a:pt x="50" y="5170"/>
                  </a:lnTo>
                  <a:lnTo>
                    <a:pt x="57" y="5179"/>
                  </a:lnTo>
                  <a:lnTo>
                    <a:pt x="65" y="5188"/>
                  </a:lnTo>
                  <a:lnTo>
                    <a:pt x="73" y="5197"/>
                  </a:lnTo>
                  <a:lnTo>
                    <a:pt x="82" y="5205"/>
                  </a:lnTo>
                  <a:lnTo>
                    <a:pt x="91" y="5213"/>
                  </a:lnTo>
                  <a:lnTo>
                    <a:pt x="100" y="5221"/>
                  </a:lnTo>
                  <a:lnTo>
                    <a:pt x="110" y="5228"/>
                  </a:lnTo>
                  <a:lnTo>
                    <a:pt x="120" y="5234"/>
                  </a:lnTo>
                  <a:lnTo>
                    <a:pt x="131" y="5240"/>
                  </a:lnTo>
                  <a:lnTo>
                    <a:pt x="141" y="5246"/>
                  </a:lnTo>
                  <a:lnTo>
                    <a:pt x="152" y="5251"/>
                  </a:lnTo>
                  <a:lnTo>
                    <a:pt x="164" y="5255"/>
                  </a:lnTo>
                  <a:lnTo>
                    <a:pt x="176" y="5259"/>
                  </a:lnTo>
                  <a:lnTo>
                    <a:pt x="188" y="5262"/>
                  </a:lnTo>
                  <a:lnTo>
                    <a:pt x="201" y="5265"/>
                  </a:lnTo>
                  <a:lnTo>
                    <a:pt x="213" y="5267"/>
                  </a:lnTo>
                  <a:lnTo>
                    <a:pt x="225" y="5270"/>
                  </a:lnTo>
                  <a:lnTo>
                    <a:pt x="238" y="5271"/>
                  </a:lnTo>
                  <a:lnTo>
                    <a:pt x="251" y="5271"/>
                  </a:lnTo>
                  <a:lnTo>
                    <a:pt x="264" y="5271"/>
                  </a:lnTo>
                  <a:lnTo>
                    <a:pt x="277" y="5270"/>
                  </a:lnTo>
                  <a:lnTo>
                    <a:pt x="289" y="5267"/>
                  </a:lnTo>
                  <a:lnTo>
                    <a:pt x="301" y="5265"/>
                  </a:lnTo>
                  <a:lnTo>
                    <a:pt x="313" y="5262"/>
                  </a:lnTo>
                  <a:lnTo>
                    <a:pt x="325" y="5259"/>
                  </a:lnTo>
                  <a:lnTo>
                    <a:pt x="337" y="5255"/>
                  </a:lnTo>
                  <a:lnTo>
                    <a:pt x="348" y="5251"/>
                  </a:lnTo>
                  <a:lnTo>
                    <a:pt x="359" y="5246"/>
                  </a:lnTo>
                  <a:lnTo>
                    <a:pt x="370" y="5240"/>
                  </a:lnTo>
                  <a:lnTo>
                    <a:pt x="382" y="5234"/>
                  </a:lnTo>
                  <a:lnTo>
                    <a:pt x="392" y="5228"/>
                  </a:lnTo>
                  <a:lnTo>
                    <a:pt x="402" y="5221"/>
                  </a:lnTo>
                  <a:lnTo>
                    <a:pt x="411" y="5213"/>
                  </a:lnTo>
                  <a:lnTo>
                    <a:pt x="420" y="5205"/>
                  </a:lnTo>
                  <a:lnTo>
                    <a:pt x="429" y="5197"/>
                  </a:lnTo>
                  <a:lnTo>
                    <a:pt x="437" y="5188"/>
                  </a:lnTo>
                  <a:lnTo>
                    <a:pt x="445" y="5179"/>
                  </a:lnTo>
                  <a:lnTo>
                    <a:pt x="452" y="5170"/>
                  </a:lnTo>
                  <a:lnTo>
                    <a:pt x="459" y="5160"/>
                  </a:lnTo>
                  <a:lnTo>
                    <a:pt x="466" y="5150"/>
                  </a:lnTo>
                  <a:lnTo>
                    <a:pt x="472" y="5138"/>
                  </a:lnTo>
                  <a:lnTo>
                    <a:pt x="477" y="5128"/>
                  </a:lnTo>
                  <a:lnTo>
                    <a:pt x="482" y="5117"/>
                  </a:lnTo>
                  <a:lnTo>
                    <a:pt x="487" y="5105"/>
                  </a:lnTo>
                  <a:lnTo>
                    <a:pt x="491" y="5094"/>
                  </a:lnTo>
                  <a:lnTo>
                    <a:pt x="494" y="5082"/>
                  </a:lnTo>
                  <a:lnTo>
                    <a:pt x="497" y="5070"/>
                  </a:lnTo>
                  <a:lnTo>
                    <a:pt x="499" y="5057"/>
                  </a:lnTo>
                  <a:lnTo>
                    <a:pt x="501" y="5045"/>
                  </a:lnTo>
                  <a:lnTo>
                    <a:pt x="502" y="5032"/>
                  </a:lnTo>
                  <a:lnTo>
                    <a:pt x="502" y="5018"/>
                  </a:lnTo>
                  <a:lnTo>
                    <a:pt x="503" y="4851"/>
                  </a:lnTo>
                  <a:lnTo>
                    <a:pt x="504" y="4688"/>
                  </a:lnTo>
                  <a:lnTo>
                    <a:pt x="507" y="4530"/>
                  </a:lnTo>
                  <a:lnTo>
                    <a:pt x="510" y="4378"/>
                  </a:lnTo>
                  <a:lnTo>
                    <a:pt x="515" y="4230"/>
                  </a:lnTo>
                  <a:lnTo>
                    <a:pt x="520" y="4087"/>
                  </a:lnTo>
                  <a:lnTo>
                    <a:pt x="527" y="3949"/>
                  </a:lnTo>
                  <a:lnTo>
                    <a:pt x="534" y="3814"/>
                  </a:lnTo>
                  <a:lnTo>
                    <a:pt x="542" y="3684"/>
                  </a:lnTo>
                  <a:lnTo>
                    <a:pt x="551" y="3557"/>
                  </a:lnTo>
                  <a:lnTo>
                    <a:pt x="562" y="3435"/>
                  </a:lnTo>
                  <a:lnTo>
                    <a:pt x="573" y="3318"/>
                  </a:lnTo>
                  <a:lnTo>
                    <a:pt x="584" y="3203"/>
                  </a:lnTo>
                  <a:lnTo>
                    <a:pt x="596" y="3092"/>
                  </a:lnTo>
                  <a:lnTo>
                    <a:pt x="609" y="2984"/>
                  </a:lnTo>
                  <a:lnTo>
                    <a:pt x="623" y="2879"/>
                  </a:lnTo>
                  <a:lnTo>
                    <a:pt x="637" y="2777"/>
                  </a:lnTo>
                  <a:lnTo>
                    <a:pt x="653" y="2678"/>
                  </a:lnTo>
                  <a:lnTo>
                    <a:pt x="668" y="2583"/>
                  </a:lnTo>
                  <a:lnTo>
                    <a:pt x="685" y="2490"/>
                  </a:lnTo>
                  <a:lnTo>
                    <a:pt x="702" y="2398"/>
                  </a:lnTo>
                  <a:lnTo>
                    <a:pt x="719" y="2310"/>
                  </a:lnTo>
                  <a:lnTo>
                    <a:pt x="737" y="2224"/>
                  </a:lnTo>
                  <a:lnTo>
                    <a:pt x="757" y="2139"/>
                  </a:lnTo>
                  <a:lnTo>
                    <a:pt x="776" y="2056"/>
                  </a:lnTo>
                  <a:lnTo>
                    <a:pt x="796" y="1976"/>
                  </a:lnTo>
                  <a:lnTo>
                    <a:pt x="816" y="1897"/>
                  </a:lnTo>
                  <a:lnTo>
                    <a:pt x="837" y="1819"/>
                  </a:lnTo>
                  <a:lnTo>
                    <a:pt x="858" y="1743"/>
                  </a:lnTo>
                  <a:lnTo>
                    <a:pt x="880" y="1667"/>
                  </a:lnTo>
                  <a:lnTo>
                    <a:pt x="902" y="1593"/>
                  </a:lnTo>
                  <a:lnTo>
                    <a:pt x="924" y="1520"/>
                  </a:lnTo>
                  <a:lnTo>
                    <a:pt x="975" y="1646"/>
                  </a:lnTo>
                  <a:lnTo>
                    <a:pt x="1026" y="1774"/>
                  </a:lnTo>
                  <a:lnTo>
                    <a:pt x="1079" y="1905"/>
                  </a:lnTo>
                  <a:lnTo>
                    <a:pt x="1134" y="2038"/>
                  </a:lnTo>
                  <a:lnTo>
                    <a:pt x="1191" y="2175"/>
                  </a:lnTo>
                  <a:lnTo>
                    <a:pt x="1249" y="2314"/>
                  </a:lnTo>
                  <a:lnTo>
                    <a:pt x="1309" y="2456"/>
                  </a:lnTo>
                  <a:lnTo>
                    <a:pt x="1372" y="2603"/>
                  </a:lnTo>
                  <a:lnTo>
                    <a:pt x="1436" y="2753"/>
                  </a:lnTo>
                  <a:lnTo>
                    <a:pt x="1503" y="2906"/>
                  </a:lnTo>
                  <a:lnTo>
                    <a:pt x="1572" y="3063"/>
                  </a:lnTo>
                  <a:lnTo>
                    <a:pt x="1642" y="3225"/>
                  </a:lnTo>
                  <a:lnTo>
                    <a:pt x="1716" y="3390"/>
                  </a:lnTo>
                  <a:lnTo>
                    <a:pt x="1791" y="3561"/>
                  </a:lnTo>
                  <a:lnTo>
                    <a:pt x="1868" y="3735"/>
                  </a:lnTo>
                  <a:lnTo>
                    <a:pt x="1949" y="3914"/>
                  </a:lnTo>
                  <a:lnTo>
                    <a:pt x="2126" y="4310"/>
                  </a:lnTo>
                  <a:lnTo>
                    <a:pt x="2381" y="3960"/>
                  </a:lnTo>
                  <a:lnTo>
                    <a:pt x="2456" y="3856"/>
                  </a:lnTo>
                  <a:lnTo>
                    <a:pt x="2530" y="3755"/>
                  </a:lnTo>
                  <a:lnTo>
                    <a:pt x="2599" y="3658"/>
                  </a:lnTo>
                  <a:lnTo>
                    <a:pt x="2665" y="3565"/>
                  </a:lnTo>
                  <a:lnTo>
                    <a:pt x="2728" y="3474"/>
                  </a:lnTo>
                  <a:lnTo>
                    <a:pt x="2789" y="3386"/>
                  </a:lnTo>
                  <a:lnTo>
                    <a:pt x="2847" y="3300"/>
                  </a:lnTo>
                  <a:lnTo>
                    <a:pt x="2904" y="3217"/>
                  </a:lnTo>
                  <a:lnTo>
                    <a:pt x="2959" y="3135"/>
                  </a:lnTo>
                  <a:lnTo>
                    <a:pt x="3012" y="3054"/>
                  </a:lnTo>
                  <a:lnTo>
                    <a:pt x="3065" y="2974"/>
                  </a:lnTo>
                  <a:lnTo>
                    <a:pt x="3116" y="2895"/>
                  </a:lnTo>
                  <a:lnTo>
                    <a:pt x="3166" y="2816"/>
                  </a:lnTo>
                  <a:lnTo>
                    <a:pt x="3216" y="2737"/>
                  </a:lnTo>
                  <a:lnTo>
                    <a:pt x="3268" y="2657"/>
                  </a:lnTo>
                  <a:lnTo>
                    <a:pt x="3318" y="2577"/>
                  </a:lnTo>
                  <a:lnTo>
                    <a:pt x="3326" y="2647"/>
                  </a:lnTo>
                  <a:lnTo>
                    <a:pt x="3334" y="2715"/>
                  </a:lnTo>
                  <a:lnTo>
                    <a:pt x="3343" y="2782"/>
                  </a:lnTo>
                  <a:lnTo>
                    <a:pt x="3353" y="2848"/>
                  </a:lnTo>
                  <a:lnTo>
                    <a:pt x="3362" y="2912"/>
                  </a:lnTo>
                  <a:lnTo>
                    <a:pt x="3373" y="2976"/>
                  </a:lnTo>
                  <a:lnTo>
                    <a:pt x="3384" y="3038"/>
                  </a:lnTo>
                  <a:lnTo>
                    <a:pt x="3395" y="3101"/>
                  </a:lnTo>
                  <a:lnTo>
                    <a:pt x="3407" y="3161"/>
                  </a:lnTo>
                  <a:lnTo>
                    <a:pt x="3419" y="3221"/>
                  </a:lnTo>
                  <a:lnTo>
                    <a:pt x="3433" y="3280"/>
                  </a:lnTo>
                  <a:lnTo>
                    <a:pt x="3446" y="3339"/>
                  </a:lnTo>
                  <a:lnTo>
                    <a:pt x="3474" y="3453"/>
                  </a:lnTo>
                  <a:lnTo>
                    <a:pt x="3502" y="3564"/>
                  </a:lnTo>
                  <a:lnTo>
                    <a:pt x="3532" y="3672"/>
                  </a:lnTo>
                  <a:lnTo>
                    <a:pt x="3563" y="3778"/>
                  </a:lnTo>
                  <a:lnTo>
                    <a:pt x="3595" y="3883"/>
                  </a:lnTo>
                  <a:lnTo>
                    <a:pt x="3628" y="3986"/>
                  </a:lnTo>
                  <a:lnTo>
                    <a:pt x="3661" y="4088"/>
                  </a:lnTo>
                  <a:lnTo>
                    <a:pt x="3695" y="4188"/>
                  </a:lnTo>
                  <a:lnTo>
                    <a:pt x="3729" y="4287"/>
                  </a:lnTo>
                  <a:lnTo>
                    <a:pt x="3763" y="4387"/>
                  </a:lnTo>
                  <a:lnTo>
                    <a:pt x="3854" y="4653"/>
                  </a:lnTo>
                  <a:lnTo>
                    <a:pt x="4108" y="4532"/>
                  </a:lnTo>
                  <a:lnTo>
                    <a:pt x="4234" y="4472"/>
                  </a:lnTo>
                  <a:lnTo>
                    <a:pt x="4354" y="4412"/>
                  </a:lnTo>
                  <a:lnTo>
                    <a:pt x="4472" y="4352"/>
                  </a:lnTo>
                  <a:lnTo>
                    <a:pt x="4585" y="4293"/>
                  </a:lnTo>
                  <a:lnTo>
                    <a:pt x="4694" y="4233"/>
                  </a:lnTo>
                  <a:lnTo>
                    <a:pt x="4801" y="4175"/>
                  </a:lnTo>
                  <a:lnTo>
                    <a:pt x="4902" y="4116"/>
                  </a:lnTo>
                  <a:lnTo>
                    <a:pt x="5001" y="4058"/>
                  </a:lnTo>
                  <a:lnTo>
                    <a:pt x="5096" y="4000"/>
                  </a:lnTo>
                  <a:lnTo>
                    <a:pt x="5189" y="3942"/>
                  </a:lnTo>
                  <a:lnTo>
                    <a:pt x="5277" y="3884"/>
                  </a:lnTo>
                  <a:lnTo>
                    <a:pt x="5364" y="3828"/>
                  </a:lnTo>
                  <a:lnTo>
                    <a:pt x="5446" y="3770"/>
                  </a:lnTo>
                  <a:lnTo>
                    <a:pt x="5527" y="3714"/>
                  </a:lnTo>
                  <a:lnTo>
                    <a:pt x="5604" y="3657"/>
                  </a:lnTo>
                  <a:lnTo>
                    <a:pt x="5678" y="3601"/>
                  </a:lnTo>
                  <a:lnTo>
                    <a:pt x="5751" y="3545"/>
                  </a:lnTo>
                  <a:lnTo>
                    <a:pt x="5820" y="3489"/>
                  </a:lnTo>
                  <a:lnTo>
                    <a:pt x="5888" y="3433"/>
                  </a:lnTo>
                  <a:lnTo>
                    <a:pt x="5954" y="3379"/>
                  </a:lnTo>
                  <a:lnTo>
                    <a:pt x="6017" y="3324"/>
                  </a:lnTo>
                  <a:lnTo>
                    <a:pt x="6078" y="3269"/>
                  </a:lnTo>
                  <a:lnTo>
                    <a:pt x="6138" y="3214"/>
                  </a:lnTo>
                  <a:lnTo>
                    <a:pt x="6195" y="3159"/>
                  </a:lnTo>
                  <a:lnTo>
                    <a:pt x="6251" y="3106"/>
                  </a:lnTo>
                  <a:lnTo>
                    <a:pt x="6307" y="3051"/>
                  </a:lnTo>
                  <a:lnTo>
                    <a:pt x="6360" y="2998"/>
                  </a:lnTo>
                  <a:lnTo>
                    <a:pt x="6411" y="2943"/>
                  </a:lnTo>
                  <a:lnTo>
                    <a:pt x="6462" y="2890"/>
                  </a:lnTo>
                  <a:lnTo>
                    <a:pt x="6512" y="2837"/>
                  </a:lnTo>
                  <a:lnTo>
                    <a:pt x="6560" y="2783"/>
                  </a:lnTo>
                  <a:lnTo>
                    <a:pt x="6608" y="2731"/>
                  </a:lnTo>
                  <a:lnTo>
                    <a:pt x="6615" y="2818"/>
                  </a:lnTo>
                  <a:lnTo>
                    <a:pt x="6620" y="2907"/>
                  </a:lnTo>
                  <a:lnTo>
                    <a:pt x="6624" y="2997"/>
                  </a:lnTo>
                  <a:lnTo>
                    <a:pt x="6628" y="3087"/>
                  </a:lnTo>
                  <a:lnTo>
                    <a:pt x="6630" y="3176"/>
                  </a:lnTo>
                  <a:lnTo>
                    <a:pt x="6631" y="3266"/>
                  </a:lnTo>
                  <a:lnTo>
                    <a:pt x="6630" y="3356"/>
                  </a:lnTo>
                  <a:lnTo>
                    <a:pt x="6629" y="3446"/>
                  </a:lnTo>
                  <a:lnTo>
                    <a:pt x="6627" y="3535"/>
                  </a:lnTo>
                  <a:lnTo>
                    <a:pt x="6623" y="3626"/>
                  </a:lnTo>
                  <a:lnTo>
                    <a:pt x="6618" y="3715"/>
                  </a:lnTo>
                  <a:lnTo>
                    <a:pt x="6612" y="3805"/>
                  </a:lnTo>
                  <a:lnTo>
                    <a:pt x="6605" y="3893"/>
                  </a:lnTo>
                  <a:lnTo>
                    <a:pt x="6597" y="3982"/>
                  </a:lnTo>
                  <a:lnTo>
                    <a:pt x="6588" y="4071"/>
                  </a:lnTo>
                  <a:lnTo>
                    <a:pt x="6578" y="4158"/>
                  </a:lnTo>
                  <a:lnTo>
                    <a:pt x="6567" y="4245"/>
                  </a:lnTo>
                  <a:lnTo>
                    <a:pt x="6554" y="4332"/>
                  </a:lnTo>
                  <a:lnTo>
                    <a:pt x="6541" y="4418"/>
                  </a:lnTo>
                  <a:lnTo>
                    <a:pt x="6526" y="4502"/>
                  </a:lnTo>
                  <a:lnTo>
                    <a:pt x="6511" y="4586"/>
                  </a:lnTo>
                  <a:lnTo>
                    <a:pt x="6494" y="4669"/>
                  </a:lnTo>
                  <a:lnTo>
                    <a:pt x="6476" y="4750"/>
                  </a:lnTo>
                  <a:lnTo>
                    <a:pt x="6457" y="4831"/>
                  </a:lnTo>
                  <a:lnTo>
                    <a:pt x="6437" y="4911"/>
                  </a:lnTo>
                  <a:lnTo>
                    <a:pt x="6416" y="4989"/>
                  </a:lnTo>
                  <a:lnTo>
                    <a:pt x="6394" y="5067"/>
                  </a:lnTo>
                  <a:lnTo>
                    <a:pt x="6371" y="5142"/>
                  </a:lnTo>
                  <a:lnTo>
                    <a:pt x="6347" y="5216"/>
                  </a:lnTo>
                  <a:lnTo>
                    <a:pt x="6322" y="5289"/>
                  </a:lnTo>
                  <a:lnTo>
                    <a:pt x="6297" y="5360"/>
                  </a:lnTo>
                  <a:lnTo>
                    <a:pt x="6269" y="5429"/>
                  </a:lnTo>
                  <a:lnTo>
                    <a:pt x="6264" y="5441"/>
                  </a:lnTo>
                  <a:lnTo>
                    <a:pt x="6260" y="5453"/>
                  </a:lnTo>
                  <a:lnTo>
                    <a:pt x="6257" y="5466"/>
                  </a:lnTo>
                  <a:lnTo>
                    <a:pt x="6255" y="5478"/>
                  </a:lnTo>
                  <a:lnTo>
                    <a:pt x="6253" y="5490"/>
                  </a:lnTo>
                  <a:lnTo>
                    <a:pt x="6251" y="5502"/>
                  </a:lnTo>
                  <a:lnTo>
                    <a:pt x="6251" y="5515"/>
                  </a:lnTo>
                  <a:lnTo>
                    <a:pt x="6251" y="5528"/>
                  </a:lnTo>
                  <a:lnTo>
                    <a:pt x="6251" y="5540"/>
                  </a:lnTo>
                  <a:lnTo>
                    <a:pt x="6252" y="5552"/>
                  </a:lnTo>
                  <a:lnTo>
                    <a:pt x="6254" y="5564"/>
                  </a:lnTo>
                  <a:lnTo>
                    <a:pt x="6256" y="5575"/>
                  </a:lnTo>
                  <a:lnTo>
                    <a:pt x="6259" y="5587"/>
                  </a:lnTo>
                  <a:lnTo>
                    <a:pt x="6263" y="5599"/>
                  </a:lnTo>
                  <a:lnTo>
                    <a:pt x="6266" y="5610"/>
                  </a:lnTo>
                  <a:lnTo>
                    <a:pt x="6271" y="5621"/>
                  </a:lnTo>
                  <a:lnTo>
                    <a:pt x="6276" y="5632"/>
                  </a:lnTo>
                  <a:lnTo>
                    <a:pt x="6281" y="5644"/>
                  </a:lnTo>
                  <a:lnTo>
                    <a:pt x="6288" y="5654"/>
                  </a:lnTo>
                  <a:lnTo>
                    <a:pt x="6295" y="5664"/>
                  </a:lnTo>
                  <a:lnTo>
                    <a:pt x="6302" y="5674"/>
                  </a:lnTo>
                  <a:lnTo>
                    <a:pt x="6309" y="5683"/>
                  </a:lnTo>
                  <a:lnTo>
                    <a:pt x="6317" y="5693"/>
                  </a:lnTo>
                  <a:lnTo>
                    <a:pt x="6326" y="5702"/>
                  </a:lnTo>
                  <a:lnTo>
                    <a:pt x="6334" y="5710"/>
                  </a:lnTo>
                  <a:lnTo>
                    <a:pt x="6344" y="5718"/>
                  </a:lnTo>
                  <a:lnTo>
                    <a:pt x="6353" y="5726"/>
                  </a:lnTo>
                  <a:lnTo>
                    <a:pt x="6364" y="5733"/>
                  </a:lnTo>
                  <a:lnTo>
                    <a:pt x="6374" y="5739"/>
                  </a:lnTo>
                  <a:lnTo>
                    <a:pt x="6385" y="5745"/>
                  </a:lnTo>
                  <a:lnTo>
                    <a:pt x="6396" y="5751"/>
                  </a:lnTo>
                  <a:lnTo>
                    <a:pt x="6408" y="5756"/>
                  </a:lnTo>
                  <a:lnTo>
                    <a:pt x="6420" y="5761"/>
                  </a:lnTo>
                  <a:lnTo>
                    <a:pt x="6431" y="5765"/>
                  </a:lnTo>
                  <a:lnTo>
                    <a:pt x="6443" y="5768"/>
                  </a:lnTo>
                  <a:lnTo>
                    <a:pt x="6455" y="5771"/>
                  </a:lnTo>
                  <a:lnTo>
                    <a:pt x="6467" y="5773"/>
                  </a:lnTo>
                  <a:lnTo>
                    <a:pt x="6480" y="5774"/>
                  </a:lnTo>
                  <a:lnTo>
                    <a:pt x="6491" y="5775"/>
                  </a:lnTo>
                  <a:lnTo>
                    <a:pt x="6503" y="5775"/>
                  </a:lnTo>
                  <a:lnTo>
                    <a:pt x="6522" y="5775"/>
                  </a:lnTo>
                  <a:lnTo>
                    <a:pt x="6540" y="5773"/>
                  </a:lnTo>
                  <a:lnTo>
                    <a:pt x="6558" y="5769"/>
                  </a:lnTo>
                  <a:lnTo>
                    <a:pt x="6576" y="5765"/>
                  </a:lnTo>
                  <a:lnTo>
                    <a:pt x="6593" y="5759"/>
                  </a:lnTo>
                  <a:lnTo>
                    <a:pt x="6610" y="5750"/>
                  </a:lnTo>
                  <a:lnTo>
                    <a:pt x="6626" y="5742"/>
                  </a:lnTo>
                  <a:lnTo>
                    <a:pt x="6641" y="5733"/>
                  </a:lnTo>
                  <a:lnTo>
                    <a:pt x="6656" y="5722"/>
                  </a:lnTo>
                  <a:lnTo>
                    <a:pt x="6671" y="5710"/>
                  </a:lnTo>
                  <a:lnTo>
                    <a:pt x="6685" y="5697"/>
                  </a:lnTo>
                  <a:lnTo>
                    <a:pt x="6697" y="5683"/>
                  </a:lnTo>
                  <a:lnTo>
                    <a:pt x="6708" y="5668"/>
                  </a:lnTo>
                  <a:lnTo>
                    <a:pt x="6719" y="5652"/>
                  </a:lnTo>
                  <a:lnTo>
                    <a:pt x="6728" y="5635"/>
                  </a:lnTo>
                  <a:lnTo>
                    <a:pt x="6736" y="5617"/>
                  </a:lnTo>
                  <a:lnTo>
                    <a:pt x="6771" y="5525"/>
                  </a:lnTo>
                  <a:lnTo>
                    <a:pt x="6805" y="5431"/>
                  </a:lnTo>
                  <a:lnTo>
                    <a:pt x="6838" y="5334"/>
                  </a:lnTo>
                  <a:lnTo>
                    <a:pt x="6869" y="5235"/>
                  </a:lnTo>
                  <a:lnTo>
                    <a:pt x="6898" y="5134"/>
                  </a:lnTo>
                  <a:lnTo>
                    <a:pt x="6926" y="5033"/>
                  </a:lnTo>
                  <a:lnTo>
                    <a:pt x="6952" y="4928"/>
                  </a:lnTo>
                  <a:lnTo>
                    <a:pt x="6976" y="4822"/>
                  </a:lnTo>
                  <a:lnTo>
                    <a:pt x="6998" y="4715"/>
                  </a:lnTo>
                  <a:lnTo>
                    <a:pt x="7019" y="4606"/>
                  </a:lnTo>
                  <a:lnTo>
                    <a:pt x="7038" y="4496"/>
                  </a:lnTo>
                  <a:lnTo>
                    <a:pt x="7057" y="4385"/>
                  </a:lnTo>
                  <a:lnTo>
                    <a:pt x="7072" y="4273"/>
                  </a:lnTo>
                  <a:lnTo>
                    <a:pt x="7086" y="4160"/>
                  </a:lnTo>
                  <a:lnTo>
                    <a:pt x="7099" y="4046"/>
                  </a:lnTo>
                  <a:lnTo>
                    <a:pt x="7109" y="3932"/>
                  </a:lnTo>
                  <a:lnTo>
                    <a:pt x="7118" y="3817"/>
                  </a:lnTo>
                  <a:lnTo>
                    <a:pt x="7125" y="3701"/>
                  </a:lnTo>
                  <a:lnTo>
                    <a:pt x="7130" y="3585"/>
                  </a:lnTo>
                  <a:lnTo>
                    <a:pt x="7134" y="3469"/>
                  </a:lnTo>
                  <a:lnTo>
                    <a:pt x="7135" y="3353"/>
                  </a:lnTo>
                  <a:lnTo>
                    <a:pt x="7135" y="3236"/>
                  </a:lnTo>
                  <a:lnTo>
                    <a:pt x="7133" y="3120"/>
                  </a:lnTo>
                  <a:lnTo>
                    <a:pt x="7130" y="3004"/>
                  </a:lnTo>
                  <a:lnTo>
                    <a:pt x="7124" y="2888"/>
                  </a:lnTo>
                  <a:lnTo>
                    <a:pt x="7117" y="2773"/>
                  </a:lnTo>
                  <a:lnTo>
                    <a:pt x="7108" y="2658"/>
                  </a:lnTo>
                  <a:lnTo>
                    <a:pt x="7097" y="2544"/>
                  </a:lnTo>
                  <a:lnTo>
                    <a:pt x="7084" y="2430"/>
                  </a:lnTo>
                  <a:lnTo>
                    <a:pt x="7069" y="2318"/>
                  </a:lnTo>
                  <a:lnTo>
                    <a:pt x="7052" y="2207"/>
                  </a:lnTo>
                  <a:lnTo>
                    <a:pt x="7033" y="2097"/>
                  </a:lnTo>
                  <a:lnTo>
                    <a:pt x="6940" y="15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29" name="i$ḻîḓé">
              <a:extLst>
                <a:ext uri="{FF2B5EF4-FFF2-40B4-BE49-F238E27FC236}">
                  <a16:creationId xmlns:a16="http://schemas.microsoft.com/office/drawing/2014/main" id="{AB7B1245-7FED-45C5-B8D0-76B172542F64}"/>
                </a:ext>
              </a:extLst>
            </p:cNvPr>
            <p:cNvSpPr/>
            <p:nvPr/>
          </p:nvSpPr>
          <p:spPr bwMode="auto">
            <a:xfrm>
              <a:off x="4630596" y="1619697"/>
              <a:ext cx="467782" cy="335512"/>
            </a:xfrm>
            <a:custGeom>
              <a:avLst/>
              <a:gdLst>
                <a:gd name="T0" fmla="*/ 7962 w 16095"/>
                <a:gd name="T1" fmla="*/ 5014 h 11549"/>
                <a:gd name="T2" fmla="*/ 1276 w 16095"/>
                <a:gd name="T3" fmla="*/ 3458 h 11549"/>
                <a:gd name="T4" fmla="*/ 1143 w 16095"/>
                <a:gd name="T5" fmla="*/ 3357 h 11549"/>
                <a:gd name="T6" fmla="*/ 1050 w 16095"/>
                <a:gd name="T7" fmla="*/ 3220 h 11549"/>
                <a:gd name="T8" fmla="*/ 1008 w 16095"/>
                <a:gd name="T9" fmla="*/ 3056 h 11549"/>
                <a:gd name="T10" fmla="*/ 1022 w 16095"/>
                <a:gd name="T11" fmla="*/ 2885 h 11549"/>
                <a:gd name="T12" fmla="*/ 1090 w 16095"/>
                <a:gd name="T13" fmla="*/ 2734 h 11549"/>
                <a:gd name="T14" fmla="*/ 1204 w 16095"/>
                <a:gd name="T15" fmla="*/ 2613 h 11549"/>
                <a:gd name="T16" fmla="*/ 1354 w 16095"/>
                <a:gd name="T17" fmla="*/ 2535 h 11549"/>
                <a:gd name="T18" fmla="*/ 8076 w 16095"/>
                <a:gd name="T19" fmla="*/ 1005 h 11549"/>
                <a:gd name="T20" fmla="*/ 14781 w 16095"/>
                <a:gd name="T21" fmla="*/ 2550 h 11549"/>
                <a:gd name="T22" fmla="*/ 14923 w 16095"/>
                <a:gd name="T23" fmla="*/ 2640 h 11549"/>
                <a:gd name="T24" fmla="*/ 15026 w 16095"/>
                <a:gd name="T25" fmla="*/ 2769 h 11549"/>
                <a:gd name="T26" fmla="*/ 15082 w 16095"/>
                <a:gd name="T27" fmla="*/ 2926 h 11549"/>
                <a:gd name="T28" fmla="*/ 15082 w 16095"/>
                <a:gd name="T29" fmla="*/ 3099 h 11549"/>
                <a:gd name="T30" fmla="*/ 15026 w 16095"/>
                <a:gd name="T31" fmla="*/ 3257 h 11549"/>
                <a:gd name="T32" fmla="*/ 14923 w 16095"/>
                <a:gd name="T33" fmla="*/ 3386 h 11549"/>
                <a:gd name="T34" fmla="*/ 14781 w 16095"/>
                <a:gd name="T35" fmla="*/ 3476 h 11549"/>
                <a:gd name="T36" fmla="*/ 12557 w 16095"/>
                <a:gd name="T37" fmla="*/ 9147 h 11549"/>
                <a:gd name="T38" fmla="*/ 12133 w 16095"/>
                <a:gd name="T39" fmla="*/ 9634 h 11549"/>
                <a:gd name="T40" fmla="*/ 11142 w 16095"/>
                <a:gd name="T41" fmla="*/ 10111 h 11549"/>
                <a:gd name="T42" fmla="*/ 9586 w 16095"/>
                <a:gd name="T43" fmla="*/ 10454 h 11549"/>
                <a:gd name="T44" fmla="*/ 7499 w 16095"/>
                <a:gd name="T45" fmla="*/ 10534 h 11549"/>
                <a:gd name="T46" fmla="*/ 5660 w 16095"/>
                <a:gd name="T47" fmla="*/ 10307 h 11549"/>
                <a:gd name="T48" fmla="*/ 4387 w 16095"/>
                <a:gd name="T49" fmla="*/ 9882 h 11549"/>
                <a:gd name="T50" fmla="*/ 3680 w 16095"/>
                <a:gd name="T51" fmla="*/ 9384 h 11549"/>
                <a:gd name="T52" fmla="*/ 7715 w 16095"/>
                <a:gd name="T53" fmla="*/ 5989 h 11549"/>
                <a:gd name="T54" fmla="*/ 8048 w 16095"/>
                <a:gd name="T55" fmla="*/ 6026 h 11549"/>
                <a:gd name="T56" fmla="*/ 8388 w 16095"/>
                <a:gd name="T57" fmla="*/ 5988 h 11549"/>
                <a:gd name="T58" fmla="*/ 16061 w 16095"/>
                <a:gd name="T59" fmla="*/ 2690 h 11549"/>
                <a:gd name="T60" fmla="*/ 15875 w 16095"/>
                <a:gd name="T61" fmla="*/ 2227 h 11549"/>
                <a:gd name="T62" fmla="*/ 15551 w 16095"/>
                <a:gd name="T63" fmla="*/ 1852 h 11549"/>
                <a:gd name="T64" fmla="*/ 15113 w 16095"/>
                <a:gd name="T65" fmla="*/ 1601 h 11549"/>
                <a:gd name="T66" fmla="*/ 8214 w 16095"/>
                <a:gd name="T67" fmla="*/ 9 h 11549"/>
                <a:gd name="T68" fmla="*/ 7880 w 16095"/>
                <a:gd name="T69" fmla="*/ 9 h 11549"/>
                <a:gd name="T70" fmla="*/ 982 w 16095"/>
                <a:gd name="T71" fmla="*/ 1601 h 11549"/>
                <a:gd name="T72" fmla="*/ 544 w 16095"/>
                <a:gd name="T73" fmla="*/ 1852 h 11549"/>
                <a:gd name="T74" fmla="*/ 220 w 16095"/>
                <a:gd name="T75" fmla="*/ 2227 h 11549"/>
                <a:gd name="T76" fmla="*/ 34 w 16095"/>
                <a:gd name="T77" fmla="*/ 2690 h 11549"/>
                <a:gd name="T78" fmla="*/ 12 w 16095"/>
                <a:gd name="T79" fmla="*/ 3209 h 11549"/>
                <a:gd name="T80" fmla="*/ 159 w 16095"/>
                <a:gd name="T81" fmla="*/ 3691 h 11549"/>
                <a:gd name="T82" fmla="*/ 452 w 16095"/>
                <a:gd name="T83" fmla="*/ 4090 h 11549"/>
                <a:gd name="T84" fmla="*/ 863 w 16095"/>
                <a:gd name="T85" fmla="*/ 4376 h 11549"/>
                <a:gd name="T86" fmla="*/ 2520 w 16095"/>
                <a:gd name="T87" fmla="*/ 9163 h 11549"/>
                <a:gd name="T88" fmla="*/ 2898 w 16095"/>
                <a:gd name="T89" fmla="*/ 10104 h 11549"/>
                <a:gd name="T90" fmla="*/ 3950 w 16095"/>
                <a:gd name="T91" fmla="*/ 10878 h 11549"/>
                <a:gd name="T92" fmla="*/ 5765 w 16095"/>
                <a:gd name="T93" fmla="*/ 11391 h 11549"/>
                <a:gd name="T94" fmla="*/ 8416 w 16095"/>
                <a:gd name="T95" fmla="*/ 11545 h 11549"/>
                <a:gd name="T96" fmla="*/ 10860 w 16095"/>
                <a:gd name="T97" fmla="*/ 11292 h 11549"/>
                <a:gd name="T98" fmla="*/ 12476 w 16095"/>
                <a:gd name="T99" fmla="*/ 10706 h 11549"/>
                <a:gd name="T100" fmla="*/ 13351 w 16095"/>
                <a:gd name="T101" fmla="*/ 9880 h 11549"/>
                <a:gd name="T102" fmla="*/ 13580 w 16095"/>
                <a:gd name="T103" fmla="*/ 4790 h 11549"/>
                <a:gd name="T104" fmla="*/ 15345 w 16095"/>
                <a:gd name="T105" fmla="*/ 4316 h 11549"/>
                <a:gd name="T106" fmla="*/ 15729 w 16095"/>
                <a:gd name="T107" fmla="*/ 4000 h 11549"/>
                <a:gd name="T108" fmla="*/ 15987 w 16095"/>
                <a:gd name="T109" fmla="*/ 3576 h 11549"/>
                <a:gd name="T110" fmla="*/ 16094 w 16095"/>
                <a:gd name="T111" fmla="*/ 3079 h 11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095" h="11549">
                  <a:moveTo>
                    <a:pt x="8160" y="5008"/>
                  </a:moveTo>
                  <a:lnTo>
                    <a:pt x="8133" y="5014"/>
                  </a:lnTo>
                  <a:lnTo>
                    <a:pt x="8105" y="5018"/>
                  </a:lnTo>
                  <a:lnTo>
                    <a:pt x="8076" y="5020"/>
                  </a:lnTo>
                  <a:lnTo>
                    <a:pt x="8048" y="5021"/>
                  </a:lnTo>
                  <a:lnTo>
                    <a:pt x="8019" y="5020"/>
                  </a:lnTo>
                  <a:lnTo>
                    <a:pt x="7990" y="5018"/>
                  </a:lnTo>
                  <a:lnTo>
                    <a:pt x="7962" y="5014"/>
                  </a:lnTo>
                  <a:lnTo>
                    <a:pt x="7935" y="5008"/>
                  </a:lnTo>
                  <a:lnTo>
                    <a:pt x="1396" y="3502"/>
                  </a:lnTo>
                  <a:lnTo>
                    <a:pt x="1374" y="3497"/>
                  </a:lnTo>
                  <a:lnTo>
                    <a:pt x="1354" y="3491"/>
                  </a:lnTo>
                  <a:lnTo>
                    <a:pt x="1334" y="3484"/>
                  </a:lnTo>
                  <a:lnTo>
                    <a:pt x="1314" y="3476"/>
                  </a:lnTo>
                  <a:lnTo>
                    <a:pt x="1294" y="3467"/>
                  </a:lnTo>
                  <a:lnTo>
                    <a:pt x="1276" y="3458"/>
                  </a:lnTo>
                  <a:lnTo>
                    <a:pt x="1256" y="3448"/>
                  </a:lnTo>
                  <a:lnTo>
                    <a:pt x="1238" y="3437"/>
                  </a:lnTo>
                  <a:lnTo>
                    <a:pt x="1221" y="3425"/>
                  </a:lnTo>
                  <a:lnTo>
                    <a:pt x="1204" y="3413"/>
                  </a:lnTo>
                  <a:lnTo>
                    <a:pt x="1188" y="3400"/>
                  </a:lnTo>
                  <a:lnTo>
                    <a:pt x="1172" y="3386"/>
                  </a:lnTo>
                  <a:lnTo>
                    <a:pt x="1157" y="3372"/>
                  </a:lnTo>
                  <a:lnTo>
                    <a:pt x="1143" y="3357"/>
                  </a:lnTo>
                  <a:lnTo>
                    <a:pt x="1129" y="3341"/>
                  </a:lnTo>
                  <a:lnTo>
                    <a:pt x="1116" y="3325"/>
                  </a:lnTo>
                  <a:lnTo>
                    <a:pt x="1103" y="3309"/>
                  </a:lnTo>
                  <a:lnTo>
                    <a:pt x="1090" y="3292"/>
                  </a:lnTo>
                  <a:lnTo>
                    <a:pt x="1079" y="3275"/>
                  </a:lnTo>
                  <a:lnTo>
                    <a:pt x="1069" y="3257"/>
                  </a:lnTo>
                  <a:lnTo>
                    <a:pt x="1059" y="3238"/>
                  </a:lnTo>
                  <a:lnTo>
                    <a:pt x="1050" y="3220"/>
                  </a:lnTo>
                  <a:lnTo>
                    <a:pt x="1042" y="3201"/>
                  </a:lnTo>
                  <a:lnTo>
                    <a:pt x="1035" y="3181"/>
                  </a:lnTo>
                  <a:lnTo>
                    <a:pt x="1028" y="3160"/>
                  </a:lnTo>
                  <a:lnTo>
                    <a:pt x="1022" y="3140"/>
                  </a:lnTo>
                  <a:lnTo>
                    <a:pt x="1018" y="3119"/>
                  </a:lnTo>
                  <a:lnTo>
                    <a:pt x="1013" y="3099"/>
                  </a:lnTo>
                  <a:lnTo>
                    <a:pt x="1010" y="3077"/>
                  </a:lnTo>
                  <a:lnTo>
                    <a:pt x="1008" y="3056"/>
                  </a:lnTo>
                  <a:lnTo>
                    <a:pt x="1007" y="3035"/>
                  </a:lnTo>
                  <a:lnTo>
                    <a:pt x="1006" y="3013"/>
                  </a:lnTo>
                  <a:lnTo>
                    <a:pt x="1007" y="2991"/>
                  </a:lnTo>
                  <a:lnTo>
                    <a:pt x="1008" y="2970"/>
                  </a:lnTo>
                  <a:lnTo>
                    <a:pt x="1010" y="2948"/>
                  </a:lnTo>
                  <a:lnTo>
                    <a:pt x="1013" y="2926"/>
                  </a:lnTo>
                  <a:lnTo>
                    <a:pt x="1018" y="2905"/>
                  </a:lnTo>
                  <a:lnTo>
                    <a:pt x="1022" y="2885"/>
                  </a:lnTo>
                  <a:lnTo>
                    <a:pt x="1028" y="2865"/>
                  </a:lnTo>
                  <a:lnTo>
                    <a:pt x="1035" y="2845"/>
                  </a:lnTo>
                  <a:lnTo>
                    <a:pt x="1042" y="2825"/>
                  </a:lnTo>
                  <a:lnTo>
                    <a:pt x="1050" y="2806"/>
                  </a:lnTo>
                  <a:lnTo>
                    <a:pt x="1059" y="2788"/>
                  </a:lnTo>
                  <a:lnTo>
                    <a:pt x="1069" y="2769"/>
                  </a:lnTo>
                  <a:lnTo>
                    <a:pt x="1079" y="2751"/>
                  </a:lnTo>
                  <a:lnTo>
                    <a:pt x="1090" y="2734"/>
                  </a:lnTo>
                  <a:lnTo>
                    <a:pt x="1103" y="2717"/>
                  </a:lnTo>
                  <a:lnTo>
                    <a:pt x="1116" y="2701"/>
                  </a:lnTo>
                  <a:lnTo>
                    <a:pt x="1129" y="2684"/>
                  </a:lnTo>
                  <a:lnTo>
                    <a:pt x="1143" y="2668"/>
                  </a:lnTo>
                  <a:lnTo>
                    <a:pt x="1157" y="2654"/>
                  </a:lnTo>
                  <a:lnTo>
                    <a:pt x="1172" y="2640"/>
                  </a:lnTo>
                  <a:lnTo>
                    <a:pt x="1188" y="2626"/>
                  </a:lnTo>
                  <a:lnTo>
                    <a:pt x="1204" y="2613"/>
                  </a:lnTo>
                  <a:lnTo>
                    <a:pt x="1221" y="2601"/>
                  </a:lnTo>
                  <a:lnTo>
                    <a:pt x="1238" y="2589"/>
                  </a:lnTo>
                  <a:lnTo>
                    <a:pt x="1256" y="2578"/>
                  </a:lnTo>
                  <a:lnTo>
                    <a:pt x="1276" y="2568"/>
                  </a:lnTo>
                  <a:lnTo>
                    <a:pt x="1294" y="2559"/>
                  </a:lnTo>
                  <a:lnTo>
                    <a:pt x="1314" y="2550"/>
                  </a:lnTo>
                  <a:lnTo>
                    <a:pt x="1334" y="2542"/>
                  </a:lnTo>
                  <a:lnTo>
                    <a:pt x="1354" y="2535"/>
                  </a:lnTo>
                  <a:lnTo>
                    <a:pt x="1374" y="2529"/>
                  </a:lnTo>
                  <a:lnTo>
                    <a:pt x="1396" y="2524"/>
                  </a:lnTo>
                  <a:lnTo>
                    <a:pt x="7935" y="1017"/>
                  </a:lnTo>
                  <a:lnTo>
                    <a:pt x="7962" y="1011"/>
                  </a:lnTo>
                  <a:lnTo>
                    <a:pt x="7990" y="1007"/>
                  </a:lnTo>
                  <a:lnTo>
                    <a:pt x="8019" y="1005"/>
                  </a:lnTo>
                  <a:lnTo>
                    <a:pt x="8048" y="1004"/>
                  </a:lnTo>
                  <a:lnTo>
                    <a:pt x="8076" y="1005"/>
                  </a:lnTo>
                  <a:lnTo>
                    <a:pt x="8105" y="1007"/>
                  </a:lnTo>
                  <a:lnTo>
                    <a:pt x="8133" y="1011"/>
                  </a:lnTo>
                  <a:lnTo>
                    <a:pt x="8160" y="1017"/>
                  </a:lnTo>
                  <a:lnTo>
                    <a:pt x="14700" y="2524"/>
                  </a:lnTo>
                  <a:lnTo>
                    <a:pt x="14721" y="2529"/>
                  </a:lnTo>
                  <a:lnTo>
                    <a:pt x="14741" y="2535"/>
                  </a:lnTo>
                  <a:lnTo>
                    <a:pt x="14762" y="2542"/>
                  </a:lnTo>
                  <a:lnTo>
                    <a:pt x="14781" y="2550"/>
                  </a:lnTo>
                  <a:lnTo>
                    <a:pt x="14801" y="2559"/>
                  </a:lnTo>
                  <a:lnTo>
                    <a:pt x="14820" y="2568"/>
                  </a:lnTo>
                  <a:lnTo>
                    <a:pt x="14839" y="2578"/>
                  </a:lnTo>
                  <a:lnTo>
                    <a:pt x="14857" y="2589"/>
                  </a:lnTo>
                  <a:lnTo>
                    <a:pt x="14874" y="2601"/>
                  </a:lnTo>
                  <a:lnTo>
                    <a:pt x="14891" y="2613"/>
                  </a:lnTo>
                  <a:lnTo>
                    <a:pt x="14907" y="2626"/>
                  </a:lnTo>
                  <a:lnTo>
                    <a:pt x="14923" y="2640"/>
                  </a:lnTo>
                  <a:lnTo>
                    <a:pt x="14938" y="2654"/>
                  </a:lnTo>
                  <a:lnTo>
                    <a:pt x="14952" y="2668"/>
                  </a:lnTo>
                  <a:lnTo>
                    <a:pt x="14966" y="2684"/>
                  </a:lnTo>
                  <a:lnTo>
                    <a:pt x="14979" y="2701"/>
                  </a:lnTo>
                  <a:lnTo>
                    <a:pt x="14992" y="2717"/>
                  </a:lnTo>
                  <a:lnTo>
                    <a:pt x="15005" y="2734"/>
                  </a:lnTo>
                  <a:lnTo>
                    <a:pt x="15016" y="2751"/>
                  </a:lnTo>
                  <a:lnTo>
                    <a:pt x="15026" y="2769"/>
                  </a:lnTo>
                  <a:lnTo>
                    <a:pt x="15036" y="2788"/>
                  </a:lnTo>
                  <a:lnTo>
                    <a:pt x="15045" y="2806"/>
                  </a:lnTo>
                  <a:lnTo>
                    <a:pt x="15053" y="2825"/>
                  </a:lnTo>
                  <a:lnTo>
                    <a:pt x="15060" y="2845"/>
                  </a:lnTo>
                  <a:lnTo>
                    <a:pt x="15067" y="2865"/>
                  </a:lnTo>
                  <a:lnTo>
                    <a:pt x="15073" y="2885"/>
                  </a:lnTo>
                  <a:lnTo>
                    <a:pt x="15078" y="2905"/>
                  </a:lnTo>
                  <a:lnTo>
                    <a:pt x="15082" y="2926"/>
                  </a:lnTo>
                  <a:lnTo>
                    <a:pt x="15085" y="2948"/>
                  </a:lnTo>
                  <a:lnTo>
                    <a:pt x="15087" y="2970"/>
                  </a:lnTo>
                  <a:lnTo>
                    <a:pt x="15089" y="2991"/>
                  </a:lnTo>
                  <a:lnTo>
                    <a:pt x="15089" y="3013"/>
                  </a:lnTo>
                  <a:lnTo>
                    <a:pt x="15089" y="3035"/>
                  </a:lnTo>
                  <a:lnTo>
                    <a:pt x="15087" y="3056"/>
                  </a:lnTo>
                  <a:lnTo>
                    <a:pt x="15085" y="3077"/>
                  </a:lnTo>
                  <a:lnTo>
                    <a:pt x="15082" y="3099"/>
                  </a:lnTo>
                  <a:lnTo>
                    <a:pt x="15078" y="3119"/>
                  </a:lnTo>
                  <a:lnTo>
                    <a:pt x="15073" y="3140"/>
                  </a:lnTo>
                  <a:lnTo>
                    <a:pt x="15067" y="3160"/>
                  </a:lnTo>
                  <a:lnTo>
                    <a:pt x="15060" y="3181"/>
                  </a:lnTo>
                  <a:lnTo>
                    <a:pt x="15053" y="3201"/>
                  </a:lnTo>
                  <a:lnTo>
                    <a:pt x="15045" y="3220"/>
                  </a:lnTo>
                  <a:lnTo>
                    <a:pt x="15036" y="3238"/>
                  </a:lnTo>
                  <a:lnTo>
                    <a:pt x="15026" y="3257"/>
                  </a:lnTo>
                  <a:lnTo>
                    <a:pt x="15016" y="3275"/>
                  </a:lnTo>
                  <a:lnTo>
                    <a:pt x="15005" y="3292"/>
                  </a:lnTo>
                  <a:lnTo>
                    <a:pt x="14992" y="3309"/>
                  </a:lnTo>
                  <a:lnTo>
                    <a:pt x="14979" y="3325"/>
                  </a:lnTo>
                  <a:lnTo>
                    <a:pt x="14966" y="3341"/>
                  </a:lnTo>
                  <a:lnTo>
                    <a:pt x="14952" y="3357"/>
                  </a:lnTo>
                  <a:lnTo>
                    <a:pt x="14938" y="3372"/>
                  </a:lnTo>
                  <a:lnTo>
                    <a:pt x="14923" y="3386"/>
                  </a:lnTo>
                  <a:lnTo>
                    <a:pt x="14907" y="3400"/>
                  </a:lnTo>
                  <a:lnTo>
                    <a:pt x="14891" y="3413"/>
                  </a:lnTo>
                  <a:lnTo>
                    <a:pt x="14874" y="3425"/>
                  </a:lnTo>
                  <a:lnTo>
                    <a:pt x="14857" y="3437"/>
                  </a:lnTo>
                  <a:lnTo>
                    <a:pt x="14839" y="3448"/>
                  </a:lnTo>
                  <a:lnTo>
                    <a:pt x="14820" y="3458"/>
                  </a:lnTo>
                  <a:lnTo>
                    <a:pt x="14801" y="3467"/>
                  </a:lnTo>
                  <a:lnTo>
                    <a:pt x="14781" y="3476"/>
                  </a:lnTo>
                  <a:lnTo>
                    <a:pt x="14762" y="3484"/>
                  </a:lnTo>
                  <a:lnTo>
                    <a:pt x="14741" y="3491"/>
                  </a:lnTo>
                  <a:lnTo>
                    <a:pt x="14721" y="3497"/>
                  </a:lnTo>
                  <a:lnTo>
                    <a:pt x="14700" y="3502"/>
                  </a:lnTo>
                  <a:lnTo>
                    <a:pt x="8160" y="5008"/>
                  </a:lnTo>
                  <a:close/>
                  <a:moveTo>
                    <a:pt x="12574" y="9039"/>
                  </a:moveTo>
                  <a:lnTo>
                    <a:pt x="12570" y="9092"/>
                  </a:lnTo>
                  <a:lnTo>
                    <a:pt x="12557" y="9147"/>
                  </a:lnTo>
                  <a:lnTo>
                    <a:pt x="12535" y="9204"/>
                  </a:lnTo>
                  <a:lnTo>
                    <a:pt x="12504" y="9263"/>
                  </a:lnTo>
                  <a:lnTo>
                    <a:pt x="12464" y="9323"/>
                  </a:lnTo>
                  <a:lnTo>
                    <a:pt x="12415" y="9384"/>
                  </a:lnTo>
                  <a:lnTo>
                    <a:pt x="12358" y="9445"/>
                  </a:lnTo>
                  <a:lnTo>
                    <a:pt x="12292" y="9509"/>
                  </a:lnTo>
                  <a:lnTo>
                    <a:pt x="12216" y="9571"/>
                  </a:lnTo>
                  <a:lnTo>
                    <a:pt x="12133" y="9634"/>
                  </a:lnTo>
                  <a:lnTo>
                    <a:pt x="12039" y="9696"/>
                  </a:lnTo>
                  <a:lnTo>
                    <a:pt x="11937" y="9759"/>
                  </a:lnTo>
                  <a:lnTo>
                    <a:pt x="11827" y="9821"/>
                  </a:lnTo>
                  <a:lnTo>
                    <a:pt x="11708" y="9882"/>
                  </a:lnTo>
                  <a:lnTo>
                    <a:pt x="11579" y="9941"/>
                  </a:lnTo>
                  <a:lnTo>
                    <a:pt x="11443" y="10000"/>
                  </a:lnTo>
                  <a:lnTo>
                    <a:pt x="11297" y="10057"/>
                  </a:lnTo>
                  <a:lnTo>
                    <a:pt x="11142" y="10111"/>
                  </a:lnTo>
                  <a:lnTo>
                    <a:pt x="10979" y="10164"/>
                  </a:lnTo>
                  <a:lnTo>
                    <a:pt x="10806" y="10215"/>
                  </a:lnTo>
                  <a:lnTo>
                    <a:pt x="10625" y="10263"/>
                  </a:lnTo>
                  <a:lnTo>
                    <a:pt x="10435" y="10307"/>
                  </a:lnTo>
                  <a:lnTo>
                    <a:pt x="10235" y="10349"/>
                  </a:lnTo>
                  <a:lnTo>
                    <a:pt x="10028" y="10387"/>
                  </a:lnTo>
                  <a:lnTo>
                    <a:pt x="9811" y="10422"/>
                  </a:lnTo>
                  <a:lnTo>
                    <a:pt x="9586" y="10454"/>
                  </a:lnTo>
                  <a:lnTo>
                    <a:pt x="9351" y="10481"/>
                  </a:lnTo>
                  <a:lnTo>
                    <a:pt x="9109" y="10503"/>
                  </a:lnTo>
                  <a:lnTo>
                    <a:pt x="8856" y="10521"/>
                  </a:lnTo>
                  <a:lnTo>
                    <a:pt x="8596" y="10534"/>
                  </a:lnTo>
                  <a:lnTo>
                    <a:pt x="8326" y="10542"/>
                  </a:lnTo>
                  <a:lnTo>
                    <a:pt x="8048" y="10545"/>
                  </a:lnTo>
                  <a:lnTo>
                    <a:pt x="7769" y="10542"/>
                  </a:lnTo>
                  <a:lnTo>
                    <a:pt x="7499" y="10534"/>
                  </a:lnTo>
                  <a:lnTo>
                    <a:pt x="7239" y="10521"/>
                  </a:lnTo>
                  <a:lnTo>
                    <a:pt x="6986" y="10503"/>
                  </a:lnTo>
                  <a:lnTo>
                    <a:pt x="6744" y="10481"/>
                  </a:lnTo>
                  <a:lnTo>
                    <a:pt x="6509" y="10454"/>
                  </a:lnTo>
                  <a:lnTo>
                    <a:pt x="6284" y="10422"/>
                  </a:lnTo>
                  <a:lnTo>
                    <a:pt x="6067" y="10387"/>
                  </a:lnTo>
                  <a:lnTo>
                    <a:pt x="5860" y="10349"/>
                  </a:lnTo>
                  <a:lnTo>
                    <a:pt x="5660" y="10307"/>
                  </a:lnTo>
                  <a:lnTo>
                    <a:pt x="5470" y="10263"/>
                  </a:lnTo>
                  <a:lnTo>
                    <a:pt x="5289" y="10215"/>
                  </a:lnTo>
                  <a:lnTo>
                    <a:pt x="5116" y="10164"/>
                  </a:lnTo>
                  <a:lnTo>
                    <a:pt x="4953" y="10111"/>
                  </a:lnTo>
                  <a:lnTo>
                    <a:pt x="4798" y="10057"/>
                  </a:lnTo>
                  <a:lnTo>
                    <a:pt x="4652" y="10000"/>
                  </a:lnTo>
                  <a:lnTo>
                    <a:pt x="4516" y="9941"/>
                  </a:lnTo>
                  <a:lnTo>
                    <a:pt x="4387" y="9882"/>
                  </a:lnTo>
                  <a:lnTo>
                    <a:pt x="4268" y="9821"/>
                  </a:lnTo>
                  <a:lnTo>
                    <a:pt x="4158" y="9759"/>
                  </a:lnTo>
                  <a:lnTo>
                    <a:pt x="4056" y="9696"/>
                  </a:lnTo>
                  <a:lnTo>
                    <a:pt x="3963" y="9634"/>
                  </a:lnTo>
                  <a:lnTo>
                    <a:pt x="3879" y="9571"/>
                  </a:lnTo>
                  <a:lnTo>
                    <a:pt x="3803" y="9509"/>
                  </a:lnTo>
                  <a:lnTo>
                    <a:pt x="3737" y="9445"/>
                  </a:lnTo>
                  <a:lnTo>
                    <a:pt x="3680" y="9384"/>
                  </a:lnTo>
                  <a:lnTo>
                    <a:pt x="3631" y="9323"/>
                  </a:lnTo>
                  <a:lnTo>
                    <a:pt x="3591" y="9263"/>
                  </a:lnTo>
                  <a:lnTo>
                    <a:pt x="3561" y="9204"/>
                  </a:lnTo>
                  <a:lnTo>
                    <a:pt x="3539" y="9147"/>
                  </a:lnTo>
                  <a:lnTo>
                    <a:pt x="3525" y="9092"/>
                  </a:lnTo>
                  <a:lnTo>
                    <a:pt x="3521" y="9039"/>
                  </a:lnTo>
                  <a:lnTo>
                    <a:pt x="3521" y="5022"/>
                  </a:lnTo>
                  <a:lnTo>
                    <a:pt x="7715" y="5989"/>
                  </a:lnTo>
                  <a:lnTo>
                    <a:pt x="7756" y="5998"/>
                  </a:lnTo>
                  <a:lnTo>
                    <a:pt x="7797" y="6005"/>
                  </a:lnTo>
                  <a:lnTo>
                    <a:pt x="7839" y="6012"/>
                  </a:lnTo>
                  <a:lnTo>
                    <a:pt x="7881" y="6017"/>
                  </a:lnTo>
                  <a:lnTo>
                    <a:pt x="7923" y="6021"/>
                  </a:lnTo>
                  <a:lnTo>
                    <a:pt x="7964" y="6024"/>
                  </a:lnTo>
                  <a:lnTo>
                    <a:pt x="8006" y="6025"/>
                  </a:lnTo>
                  <a:lnTo>
                    <a:pt x="8048" y="6026"/>
                  </a:lnTo>
                  <a:lnTo>
                    <a:pt x="8090" y="6025"/>
                  </a:lnTo>
                  <a:lnTo>
                    <a:pt x="8131" y="6024"/>
                  </a:lnTo>
                  <a:lnTo>
                    <a:pt x="8173" y="6021"/>
                  </a:lnTo>
                  <a:lnTo>
                    <a:pt x="8215" y="6017"/>
                  </a:lnTo>
                  <a:lnTo>
                    <a:pt x="8258" y="6011"/>
                  </a:lnTo>
                  <a:lnTo>
                    <a:pt x="8300" y="6005"/>
                  </a:lnTo>
                  <a:lnTo>
                    <a:pt x="8343" y="5997"/>
                  </a:lnTo>
                  <a:lnTo>
                    <a:pt x="8388" y="5988"/>
                  </a:lnTo>
                  <a:lnTo>
                    <a:pt x="12574" y="5022"/>
                  </a:lnTo>
                  <a:lnTo>
                    <a:pt x="12574" y="9039"/>
                  </a:lnTo>
                  <a:close/>
                  <a:moveTo>
                    <a:pt x="16095" y="3013"/>
                  </a:moveTo>
                  <a:lnTo>
                    <a:pt x="16094" y="2947"/>
                  </a:lnTo>
                  <a:lnTo>
                    <a:pt x="16089" y="2881"/>
                  </a:lnTo>
                  <a:lnTo>
                    <a:pt x="16083" y="2817"/>
                  </a:lnTo>
                  <a:lnTo>
                    <a:pt x="16073" y="2754"/>
                  </a:lnTo>
                  <a:lnTo>
                    <a:pt x="16061" y="2690"/>
                  </a:lnTo>
                  <a:lnTo>
                    <a:pt x="16046" y="2628"/>
                  </a:lnTo>
                  <a:lnTo>
                    <a:pt x="16029" y="2568"/>
                  </a:lnTo>
                  <a:lnTo>
                    <a:pt x="16009" y="2508"/>
                  </a:lnTo>
                  <a:lnTo>
                    <a:pt x="15987" y="2449"/>
                  </a:lnTo>
                  <a:lnTo>
                    <a:pt x="15962" y="2391"/>
                  </a:lnTo>
                  <a:lnTo>
                    <a:pt x="15936" y="2335"/>
                  </a:lnTo>
                  <a:lnTo>
                    <a:pt x="15907" y="2280"/>
                  </a:lnTo>
                  <a:lnTo>
                    <a:pt x="15875" y="2227"/>
                  </a:lnTo>
                  <a:lnTo>
                    <a:pt x="15842" y="2173"/>
                  </a:lnTo>
                  <a:lnTo>
                    <a:pt x="15806" y="2123"/>
                  </a:lnTo>
                  <a:lnTo>
                    <a:pt x="15768" y="2074"/>
                  </a:lnTo>
                  <a:lnTo>
                    <a:pt x="15729" y="2026"/>
                  </a:lnTo>
                  <a:lnTo>
                    <a:pt x="15687" y="1979"/>
                  </a:lnTo>
                  <a:lnTo>
                    <a:pt x="15643" y="1935"/>
                  </a:lnTo>
                  <a:lnTo>
                    <a:pt x="15598" y="1893"/>
                  </a:lnTo>
                  <a:lnTo>
                    <a:pt x="15551" y="1852"/>
                  </a:lnTo>
                  <a:lnTo>
                    <a:pt x="15501" y="1814"/>
                  </a:lnTo>
                  <a:lnTo>
                    <a:pt x="15451" y="1777"/>
                  </a:lnTo>
                  <a:lnTo>
                    <a:pt x="15399" y="1741"/>
                  </a:lnTo>
                  <a:lnTo>
                    <a:pt x="15345" y="1709"/>
                  </a:lnTo>
                  <a:lnTo>
                    <a:pt x="15289" y="1679"/>
                  </a:lnTo>
                  <a:lnTo>
                    <a:pt x="15232" y="1650"/>
                  </a:lnTo>
                  <a:lnTo>
                    <a:pt x="15174" y="1625"/>
                  </a:lnTo>
                  <a:lnTo>
                    <a:pt x="15113" y="1601"/>
                  </a:lnTo>
                  <a:lnTo>
                    <a:pt x="15052" y="1580"/>
                  </a:lnTo>
                  <a:lnTo>
                    <a:pt x="14989" y="1561"/>
                  </a:lnTo>
                  <a:lnTo>
                    <a:pt x="14926" y="1545"/>
                  </a:lnTo>
                  <a:lnTo>
                    <a:pt x="8380" y="37"/>
                  </a:lnTo>
                  <a:lnTo>
                    <a:pt x="8339" y="28"/>
                  </a:lnTo>
                  <a:lnTo>
                    <a:pt x="8298" y="21"/>
                  </a:lnTo>
                  <a:lnTo>
                    <a:pt x="8256" y="15"/>
                  </a:lnTo>
                  <a:lnTo>
                    <a:pt x="8214" y="9"/>
                  </a:lnTo>
                  <a:lnTo>
                    <a:pt x="8172" y="5"/>
                  </a:lnTo>
                  <a:lnTo>
                    <a:pt x="8131" y="2"/>
                  </a:lnTo>
                  <a:lnTo>
                    <a:pt x="8090" y="1"/>
                  </a:lnTo>
                  <a:lnTo>
                    <a:pt x="8048" y="0"/>
                  </a:lnTo>
                  <a:lnTo>
                    <a:pt x="8006" y="1"/>
                  </a:lnTo>
                  <a:lnTo>
                    <a:pt x="7964" y="2"/>
                  </a:lnTo>
                  <a:lnTo>
                    <a:pt x="7922" y="5"/>
                  </a:lnTo>
                  <a:lnTo>
                    <a:pt x="7880" y="9"/>
                  </a:lnTo>
                  <a:lnTo>
                    <a:pt x="7837" y="15"/>
                  </a:lnTo>
                  <a:lnTo>
                    <a:pt x="7795" y="21"/>
                  </a:lnTo>
                  <a:lnTo>
                    <a:pt x="7752" y="29"/>
                  </a:lnTo>
                  <a:lnTo>
                    <a:pt x="7707" y="38"/>
                  </a:lnTo>
                  <a:lnTo>
                    <a:pt x="1170" y="1545"/>
                  </a:lnTo>
                  <a:lnTo>
                    <a:pt x="1106" y="1561"/>
                  </a:lnTo>
                  <a:lnTo>
                    <a:pt x="1043" y="1580"/>
                  </a:lnTo>
                  <a:lnTo>
                    <a:pt x="982" y="1601"/>
                  </a:lnTo>
                  <a:lnTo>
                    <a:pt x="921" y="1625"/>
                  </a:lnTo>
                  <a:lnTo>
                    <a:pt x="863" y="1650"/>
                  </a:lnTo>
                  <a:lnTo>
                    <a:pt x="806" y="1679"/>
                  </a:lnTo>
                  <a:lnTo>
                    <a:pt x="750" y="1709"/>
                  </a:lnTo>
                  <a:lnTo>
                    <a:pt x="696" y="1741"/>
                  </a:lnTo>
                  <a:lnTo>
                    <a:pt x="644" y="1777"/>
                  </a:lnTo>
                  <a:lnTo>
                    <a:pt x="594" y="1814"/>
                  </a:lnTo>
                  <a:lnTo>
                    <a:pt x="544" y="1852"/>
                  </a:lnTo>
                  <a:lnTo>
                    <a:pt x="497" y="1893"/>
                  </a:lnTo>
                  <a:lnTo>
                    <a:pt x="452" y="1935"/>
                  </a:lnTo>
                  <a:lnTo>
                    <a:pt x="407" y="1979"/>
                  </a:lnTo>
                  <a:lnTo>
                    <a:pt x="366" y="2026"/>
                  </a:lnTo>
                  <a:lnTo>
                    <a:pt x="327" y="2074"/>
                  </a:lnTo>
                  <a:lnTo>
                    <a:pt x="289" y="2123"/>
                  </a:lnTo>
                  <a:lnTo>
                    <a:pt x="253" y="2173"/>
                  </a:lnTo>
                  <a:lnTo>
                    <a:pt x="220" y="2227"/>
                  </a:lnTo>
                  <a:lnTo>
                    <a:pt x="188" y="2280"/>
                  </a:lnTo>
                  <a:lnTo>
                    <a:pt x="159" y="2335"/>
                  </a:lnTo>
                  <a:lnTo>
                    <a:pt x="133" y="2391"/>
                  </a:lnTo>
                  <a:lnTo>
                    <a:pt x="108" y="2449"/>
                  </a:lnTo>
                  <a:lnTo>
                    <a:pt x="86" y="2508"/>
                  </a:lnTo>
                  <a:lnTo>
                    <a:pt x="66" y="2568"/>
                  </a:lnTo>
                  <a:lnTo>
                    <a:pt x="49" y="2628"/>
                  </a:lnTo>
                  <a:lnTo>
                    <a:pt x="34" y="2690"/>
                  </a:lnTo>
                  <a:lnTo>
                    <a:pt x="22" y="2754"/>
                  </a:lnTo>
                  <a:lnTo>
                    <a:pt x="12" y="2817"/>
                  </a:lnTo>
                  <a:lnTo>
                    <a:pt x="6" y="2881"/>
                  </a:lnTo>
                  <a:lnTo>
                    <a:pt x="1" y="2947"/>
                  </a:lnTo>
                  <a:lnTo>
                    <a:pt x="0" y="3013"/>
                  </a:lnTo>
                  <a:lnTo>
                    <a:pt x="1" y="3079"/>
                  </a:lnTo>
                  <a:lnTo>
                    <a:pt x="6" y="3143"/>
                  </a:lnTo>
                  <a:lnTo>
                    <a:pt x="12" y="3209"/>
                  </a:lnTo>
                  <a:lnTo>
                    <a:pt x="22" y="3272"/>
                  </a:lnTo>
                  <a:lnTo>
                    <a:pt x="34" y="3335"/>
                  </a:lnTo>
                  <a:lnTo>
                    <a:pt x="49" y="3396"/>
                  </a:lnTo>
                  <a:lnTo>
                    <a:pt x="66" y="3458"/>
                  </a:lnTo>
                  <a:lnTo>
                    <a:pt x="86" y="3518"/>
                  </a:lnTo>
                  <a:lnTo>
                    <a:pt x="108" y="3576"/>
                  </a:lnTo>
                  <a:lnTo>
                    <a:pt x="133" y="3635"/>
                  </a:lnTo>
                  <a:lnTo>
                    <a:pt x="159" y="3691"/>
                  </a:lnTo>
                  <a:lnTo>
                    <a:pt x="188" y="3746"/>
                  </a:lnTo>
                  <a:lnTo>
                    <a:pt x="219" y="3800"/>
                  </a:lnTo>
                  <a:lnTo>
                    <a:pt x="253" y="3852"/>
                  </a:lnTo>
                  <a:lnTo>
                    <a:pt x="289" y="3903"/>
                  </a:lnTo>
                  <a:lnTo>
                    <a:pt x="327" y="3953"/>
                  </a:lnTo>
                  <a:lnTo>
                    <a:pt x="366" y="4000"/>
                  </a:lnTo>
                  <a:lnTo>
                    <a:pt x="407" y="4046"/>
                  </a:lnTo>
                  <a:lnTo>
                    <a:pt x="452" y="4090"/>
                  </a:lnTo>
                  <a:lnTo>
                    <a:pt x="497" y="4134"/>
                  </a:lnTo>
                  <a:lnTo>
                    <a:pt x="544" y="4174"/>
                  </a:lnTo>
                  <a:lnTo>
                    <a:pt x="594" y="4213"/>
                  </a:lnTo>
                  <a:lnTo>
                    <a:pt x="644" y="4249"/>
                  </a:lnTo>
                  <a:lnTo>
                    <a:pt x="696" y="4284"/>
                  </a:lnTo>
                  <a:lnTo>
                    <a:pt x="750" y="4316"/>
                  </a:lnTo>
                  <a:lnTo>
                    <a:pt x="806" y="4348"/>
                  </a:lnTo>
                  <a:lnTo>
                    <a:pt x="863" y="4376"/>
                  </a:lnTo>
                  <a:lnTo>
                    <a:pt x="921" y="4402"/>
                  </a:lnTo>
                  <a:lnTo>
                    <a:pt x="982" y="4425"/>
                  </a:lnTo>
                  <a:lnTo>
                    <a:pt x="1043" y="4446"/>
                  </a:lnTo>
                  <a:lnTo>
                    <a:pt x="1106" y="4465"/>
                  </a:lnTo>
                  <a:lnTo>
                    <a:pt x="1170" y="4481"/>
                  </a:lnTo>
                  <a:lnTo>
                    <a:pt x="2515" y="4790"/>
                  </a:lnTo>
                  <a:lnTo>
                    <a:pt x="2515" y="9039"/>
                  </a:lnTo>
                  <a:lnTo>
                    <a:pt x="2520" y="9163"/>
                  </a:lnTo>
                  <a:lnTo>
                    <a:pt x="2533" y="9287"/>
                  </a:lnTo>
                  <a:lnTo>
                    <a:pt x="2556" y="9408"/>
                  </a:lnTo>
                  <a:lnTo>
                    <a:pt x="2588" y="9529"/>
                  </a:lnTo>
                  <a:lnTo>
                    <a:pt x="2631" y="9648"/>
                  </a:lnTo>
                  <a:lnTo>
                    <a:pt x="2682" y="9766"/>
                  </a:lnTo>
                  <a:lnTo>
                    <a:pt x="2744" y="9880"/>
                  </a:lnTo>
                  <a:lnTo>
                    <a:pt x="2817" y="9994"/>
                  </a:lnTo>
                  <a:lnTo>
                    <a:pt x="2898" y="10104"/>
                  </a:lnTo>
                  <a:lnTo>
                    <a:pt x="2992" y="10212"/>
                  </a:lnTo>
                  <a:lnTo>
                    <a:pt x="3095" y="10317"/>
                  </a:lnTo>
                  <a:lnTo>
                    <a:pt x="3209" y="10418"/>
                  </a:lnTo>
                  <a:lnTo>
                    <a:pt x="3335" y="10518"/>
                  </a:lnTo>
                  <a:lnTo>
                    <a:pt x="3471" y="10613"/>
                  </a:lnTo>
                  <a:lnTo>
                    <a:pt x="3619" y="10706"/>
                  </a:lnTo>
                  <a:lnTo>
                    <a:pt x="3779" y="10794"/>
                  </a:lnTo>
                  <a:lnTo>
                    <a:pt x="3950" y="10878"/>
                  </a:lnTo>
                  <a:lnTo>
                    <a:pt x="4134" y="10959"/>
                  </a:lnTo>
                  <a:lnTo>
                    <a:pt x="4330" y="11035"/>
                  </a:lnTo>
                  <a:lnTo>
                    <a:pt x="4537" y="11106"/>
                  </a:lnTo>
                  <a:lnTo>
                    <a:pt x="4757" y="11174"/>
                  </a:lnTo>
                  <a:lnTo>
                    <a:pt x="4989" y="11235"/>
                  </a:lnTo>
                  <a:lnTo>
                    <a:pt x="5235" y="11292"/>
                  </a:lnTo>
                  <a:lnTo>
                    <a:pt x="5493" y="11344"/>
                  </a:lnTo>
                  <a:lnTo>
                    <a:pt x="5765" y="11391"/>
                  </a:lnTo>
                  <a:lnTo>
                    <a:pt x="6050" y="11432"/>
                  </a:lnTo>
                  <a:lnTo>
                    <a:pt x="6348" y="11467"/>
                  </a:lnTo>
                  <a:lnTo>
                    <a:pt x="6660" y="11496"/>
                  </a:lnTo>
                  <a:lnTo>
                    <a:pt x="6985" y="11519"/>
                  </a:lnTo>
                  <a:lnTo>
                    <a:pt x="7325" y="11535"/>
                  </a:lnTo>
                  <a:lnTo>
                    <a:pt x="7679" y="11545"/>
                  </a:lnTo>
                  <a:lnTo>
                    <a:pt x="8048" y="11549"/>
                  </a:lnTo>
                  <a:lnTo>
                    <a:pt x="8416" y="11545"/>
                  </a:lnTo>
                  <a:lnTo>
                    <a:pt x="8770" y="11535"/>
                  </a:lnTo>
                  <a:lnTo>
                    <a:pt x="9110" y="11519"/>
                  </a:lnTo>
                  <a:lnTo>
                    <a:pt x="9435" y="11496"/>
                  </a:lnTo>
                  <a:lnTo>
                    <a:pt x="9748" y="11467"/>
                  </a:lnTo>
                  <a:lnTo>
                    <a:pt x="10045" y="11432"/>
                  </a:lnTo>
                  <a:lnTo>
                    <a:pt x="10330" y="11391"/>
                  </a:lnTo>
                  <a:lnTo>
                    <a:pt x="10602" y="11344"/>
                  </a:lnTo>
                  <a:lnTo>
                    <a:pt x="10860" y="11292"/>
                  </a:lnTo>
                  <a:lnTo>
                    <a:pt x="11106" y="11235"/>
                  </a:lnTo>
                  <a:lnTo>
                    <a:pt x="11338" y="11174"/>
                  </a:lnTo>
                  <a:lnTo>
                    <a:pt x="11558" y="11106"/>
                  </a:lnTo>
                  <a:lnTo>
                    <a:pt x="11765" y="11035"/>
                  </a:lnTo>
                  <a:lnTo>
                    <a:pt x="11961" y="10959"/>
                  </a:lnTo>
                  <a:lnTo>
                    <a:pt x="12145" y="10878"/>
                  </a:lnTo>
                  <a:lnTo>
                    <a:pt x="12316" y="10794"/>
                  </a:lnTo>
                  <a:lnTo>
                    <a:pt x="12476" y="10706"/>
                  </a:lnTo>
                  <a:lnTo>
                    <a:pt x="12624" y="10613"/>
                  </a:lnTo>
                  <a:lnTo>
                    <a:pt x="12760" y="10518"/>
                  </a:lnTo>
                  <a:lnTo>
                    <a:pt x="12886" y="10418"/>
                  </a:lnTo>
                  <a:lnTo>
                    <a:pt x="13000" y="10317"/>
                  </a:lnTo>
                  <a:lnTo>
                    <a:pt x="13103" y="10212"/>
                  </a:lnTo>
                  <a:lnTo>
                    <a:pt x="13197" y="10104"/>
                  </a:lnTo>
                  <a:lnTo>
                    <a:pt x="13278" y="9994"/>
                  </a:lnTo>
                  <a:lnTo>
                    <a:pt x="13351" y="9880"/>
                  </a:lnTo>
                  <a:lnTo>
                    <a:pt x="13413" y="9766"/>
                  </a:lnTo>
                  <a:lnTo>
                    <a:pt x="13464" y="9648"/>
                  </a:lnTo>
                  <a:lnTo>
                    <a:pt x="13507" y="9529"/>
                  </a:lnTo>
                  <a:lnTo>
                    <a:pt x="13539" y="9408"/>
                  </a:lnTo>
                  <a:lnTo>
                    <a:pt x="13562" y="9287"/>
                  </a:lnTo>
                  <a:lnTo>
                    <a:pt x="13576" y="9163"/>
                  </a:lnTo>
                  <a:lnTo>
                    <a:pt x="13580" y="9039"/>
                  </a:lnTo>
                  <a:lnTo>
                    <a:pt x="13580" y="4790"/>
                  </a:lnTo>
                  <a:lnTo>
                    <a:pt x="14925" y="4481"/>
                  </a:lnTo>
                  <a:lnTo>
                    <a:pt x="14989" y="4465"/>
                  </a:lnTo>
                  <a:lnTo>
                    <a:pt x="15052" y="4446"/>
                  </a:lnTo>
                  <a:lnTo>
                    <a:pt x="15113" y="4425"/>
                  </a:lnTo>
                  <a:lnTo>
                    <a:pt x="15174" y="4402"/>
                  </a:lnTo>
                  <a:lnTo>
                    <a:pt x="15232" y="4376"/>
                  </a:lnTo>
                  <a:lnTo>
                    <a:pt x="15289" y="4348"/>
                  </a:lnTo>
                  <a:lnTo>
                    <a:pt x="15345" y="4316"/>
                  </a:lnTo>
                  <a:lnTo>
                    <a:pt x="15399" y="4284"/>
                  </a:lnTo>
                  <a:lnTo>
                    <a:pt x="15451" y="4249"/>
                  </a:lnTo>
                  <a:lnTo>
                    <a:pt x="15501" y="4213"/>
                  </a:lnTo>
                  <a:lnTo>
                    <a:pt x="15551" y="4174"/>
                  </a:lnTo>
                  <a:lnTo>
                    <a:pt x="15598" y="4134"/>
                  </a:lnTo>
                  <a:lnTo>
                    <a:pt x="15643" y="4090"/>
                  </a:lnTo>
                  <a:lnTo>
                    <a:pt x="15687" y="4046"/>
                  </a:lnTo>
                  <a:lnTo>
                    <a:pt x="15729" y="4000"/>
                  </a:lnTo>
                  <a:lnTo>
                    <a:pt x="15768" y="3953"/>
                  </a:lnTo>
                  <a:lnTo>
                    <a:pt x="15806" y="3903"/>
                  </a:lnTo>
                  <a:lnTo>
                    <a:pt x="15842" y="3852"/>
                  </a:lnTo>
                  <a:lnTo>
                    <a:pt x="15875" y="3800"/>
                  </a:lnTo>
                  <a:lnTo>
                    <a:pt x="15906" y="3746"/>
                  </a:lnTo>
                  <a:lnTo>
                    <a:pt x="15935" y="3691"/>
                  </a:lnTo>
                  <a:lnTo>
                    <a:pt x="15962" y="3635"/>
                  </a:lnTo>
                  <a:lnTo>
                    <a:pt x="15987" y="3576"/>
                  </a:lnTo>
                  <a:lnTo>
                    <a:pt x="16009" y="3518"/>
                  </a:lnTo>
                  <a:lnTo>
                    <a:pt x="16029" y="3458"/>
                  </a:lnTo>
                  <a:lnTo>
                    <a:pt x="16046" y="3396"/>
                  </a:lnTo>
                  <a:lnTo>
                    <a:pt x="16061" y="3335"/>
                  </a:lnTo>
                  <a:lnTo>
                    <a:pt x="16073" y="3272"/>
                  </a:lnTo>
                  <a:lnTo>
                    <a:pt x="16083" y="3209"/>
                  </a:lnTo>
                  <a:lnTo>
                    <a:pt x="16089" y="3143"/>
                  </a:lnTo>
                  <a:lnTo>
                    <a:pt x="16094" y="3079"/>
                  </a:lnTo>
                  <a:lnTo>
                    <a:pt x="16095" y="30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7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30" name="isľïḑé">
              <a:extLst>
                <a:ext uri="{FF2B5EF4-FFF2-40B4-BE49-F238E27FC236}">
                  <a16:creationId xmlns:a16="http://schemas.microsoft.com/office/drawing/2014/main" id="{F2D68274-0F5A-4B39-AAA7-4FCD19FBE7A8}"/>
                </a:ext>
              </a:extLst>
            </p:cNvPr>
            <p:cNvSpPr/>
            <p:nvPr/>
          </p:nvSpPr>
          <p:spPr bwMode="auto">
            <a:xfrm>
              <a:off x="5054288" y="1765946"/>
              <a:ext cx="29035" cy="160229"/>
            </a:xfrm>
            <a:custGeom>
              <a:avLst/>
              <a:gdLst>
                <a:gd name="T0" fmla="*/ 1 w 1006"/>
                <a:gd name="T1" fmla="*/ 5048 h 5524"/>
                <a:gd name="T2" fmla="*/ 10 w 1006"/>
                <a:gd name="T3" fmla="*/ 5123 h 5524"/>
                <a:gd name="T4" fmla="*/ 30 w 1006"/>
                <a:gd name="T5" fmla="*/ 5195 h 5524"/>
                <a:gd name="T6" fmla="*/ 60 w 1006"/>
                <a:gd name="T7" fmla="*/ 5262 h 5524"/>
                <a:gd name="T8" fmla="*/ 100 w 1006"/>
                <a:gd name="T9" fmla="*/ 5322 h 5524"/>
                <a:gd name="T10" fmla="*/ 147 w 1006"/>
                <a:gd name="T11" fmla="*/ 5377 h 5524"/>
                <a:gd name="T12" fmla="*/ 202 w 1006"/>
                <a:gd name="T13" fmla="*/ 5425 h 5524"/>
                <a:gd name="T14" fmla="*/ 264 w 1006"/>
                <a:gd name="T15" fmla="*/ 5464 h 5524"/>
                <a:gd name="T16" fmla="*/ 330 w 1006"/>
                <a:gd name="T17" fmla="*/ 5494 h 5524"/>
                <a:gd name="T18" fmla="*/ 401 w 1006"/>
                <a:gd name="T19" fmla="*/ 5514 h 5524"/>
                <a:gd name="T20" fmla="*/ 477 w 1006"/>
                <a:gd name="T21" fmla="*/ 5523 h 5524"/>
                <a:gd name="T22" fmla="*/ 554 w 1006"/>
                <a:gd name="T23" fmla="*/ 5522 h 5524"/>
                <a:gd name="T24" fmla="*/ 629 w 1006"/>
                <a:gd name="T25" fmla="*/ 5508 h 5524"/>
                <a:gd name="T26" fmla="*/ 699 w 1006"/>
                <a:gd name="T27" fmla="*/ 5485 h 5524"/>
                <a:gd name="T28" fmla="*/ 764 w 1006"/>
                <a:gd name="T29" fmla="*/ 5452 h 5524"/>
                <a:gd name="T30" fmla="*/ 823 w 1006"/>
                <a:gd name="T31" fmla="*/ 5410 h 5524"/>
                <a:gd name="T32" fmla="*/ 875 w 1006"/>
                <a:gd name="T33" fmla="*/ 5359 h 5524"/>
                <a:gd name="T34" fmla="*/ 921 w 1006"/>
                <a:gd name="T35" fmla="*/ 5303 h 5524"/>
                <a:gd name="T36" fmla="*/ 957 w 1006"/>
                <a:gd name="T37" fmla="*/ 5240 h 5524"/>
                <a:gd name="T38" fmla="*/ 983 w 1006"/>
                <a:gd name="T39" fmla="*/ 5171 h 5524"/>
                <a:gd name="T40" fmla="*/ 1000 w 1006"/>
                <a:gd name="T41" fmla="*/ 5098 h 5524"/>
                <a:gd name="T42" fmla="*/ 1006 w 1006"/>
                <a:gd name="T43" fmla="*/ 5022 h 5524"/>
                <a:gd name="T44" fmla="*/ 1003 w 1006"/>
                <a:gd name="T45" fmla="*/ 451 h 5524"/>
                <a:gd name="T46" fmla="*/ 990 w 1006"/>
                <a:gd name="T47" fmla="*/ 377 h 5524"/>
                <a:gd name="T48" fmla="*/ 967 w 1006"/>
                <a:gd name="T49" fmla="*/ 307 h 5524"/>
                <a:gd name="T50" fmla="*/ 934 w 1006"/>
                <a:gd name="T51" fmla="*/ 242 h 5524"/>
                <a:gd name="T52" fmla="*/ 891 w 1006"/>
                <a:gd name="T53" fmla="*/ 183 h 5524"/>
                <a:gd name="T54" fmla="*/ 841 w 1006"/>
                <a:gd name="T55" fmla="*/ 131 h 5524"/>
                <a:gd name="T56" fmla="*/ 785 w 1006"/>
                <a:gd name="T57" fmla="*/ 86 h 5524"/>
                <a:gd name="T58" fmla="*/ 721 w 1006"/>
                <a:gd name="T59" fmla="*/ 50 h 5524"/>
                <a:gd name="T60" fmla="*/ 653 w 1006"/>
                <a:gd name="T61" fmla="*/ 24 h 5524"/>
                <a:gd name="T62" fmla="*/ 580 w 1006"/>
                <a:gd name="T63" fmla="*/ 6 h 5524"/>
                <a:gd name="T64" fmla="*/ 503 w 1006"/>
                <a:gd name="T65" fmla="*/ 0 h 5524"/>
                <a:gd name="T66" fmla="*/ 427 w 1006"/>
                <a:gd name="T67" fmla="*/ 6 h 5524"/>
                <a:gd name="T68" fmla="*/ 353 w 1006"/>
                <a:gd name="T69" fmla="*/ 24 h 5524"/>
                <a:gd name="T70" fmla="*/ 285 w 1006"/>
                <a:gd name="T71" fmla="*/ 50 h 5524"/>
                <a:gd name="T72" fmla="*/ 221 w 1006"/>
                <a:gd name="T73" fmla="*/ 86 h 5524"/>
                <a:gd name="T74" fmla="*/ 165 w 1006"/>
                <a:gd name="T75" fmla="*/ 131 h 5524"/>
                <a:gd name="T76" fmla="*/ 115 w 1006"/>
                <a:gd name="T77" fmla="*/ 183 h 5524"/>
                <a:gd name="T78" fmla="*/ 73 w 1006"/>
                <a:gd name="T79" fmla="*/ 242 h 5524"/>
                <a:gd name="T80" fmla="*/ 39 w 1006"/>
                <a:gd name="T81" fmla="*/ 307 h 5524"/>
                <a:gd name="T82" fmla="*/ 16 w 1006"/>
                <a:gd name="T83" fmla="*/ 377 h 5524"/>
                <a:gd name="T84" fmla="*/ 2 w 1006"/>
                <a:gd name="T85" fmla="*/ 451 h 5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5524">
                  <a:moveTo>
                    <a:pt x="0" y="503"/>
                  </a:moveTo>
                  <a:lnTo>
                    <a:pt x="0" y="5022"/>
                  </a:lnTo>
                  <a:lnTo>
                    <a:pt x="1" y="5048"/>
                  </a:lnTo>
                  <a:lnTo>
                    <a:pt x="2" y="5073"/>
                  </a:lnTo>
                  <a:lnTo>
                    <a:pt x="6" y="5098"/>
                  </a:lnTo>
                  <a:lnTo>
                    <a:pt x="10" y="5123"/>
                  </a:lnTo>
                  <a:lnTo>
                    <a:pt x="16" y="5147"/>
                  </a:lnTo>
                  <a:lnTo>
                    <a:pt x="22" y="5171"/>
                  </a:lnTo>
                  <a:lnTo>
                    <a:pt x="30" y="5195"/>
                  </a:lnTo>
                  <a:lnTo>
                    <a:pt x="39" y="5218"/>
                  </a:lnTo>
                  <a:lnTo>
                    <a:pt x="49" y="5240"/>
                  </a:lnTo>
                  <a:lnTo>
                    <a:pt x="60" y="5262"/>
                  </a:lnTo>
                  <a:lnTo>
                    <a:pt x="73" y="5282"/>
                  </a:lnTo>
                  <a:lnTo>
                    <a:pt x="86" y="5303"/>
                  </a:lnTo>
                  <a:lnTo>
                    <a:pt x="100" y="5322"/>
                  </a:lnTo>
                  <a:lnTo>
                    <a:pt x="115" y="5341"/>
                  </a:lnTo>
                  <a:lnTo>
                    <a:pt x="131" y="5359"/>
                  </a:lnTo>
                  <a:lnTo>
                    <a:pt x="147" y="5377"/>
                  </a:lnTo>
                  <a:lnTo>
                    <a:pt x="165" y="5393"/>
                  </a:lnTo>
                  <a:lnTo>
                    <a:pt x="183" y="5410"/>
                  </a:lnTo>
                  <a:lnTo>
                    <a:pt x="202" y="5425"/>
                  </a:lnTo>
                  <a:lnTo>
                    <a:pt x="221" y="5439"/>
                  </a:lnTo>
                  <a:lnTo>
                    <a:pt x="243" y="5452"/>
                  </a:lnTo>
                  <a:lnTo>
                    <a:pt x="264" y="5464"/>
                  </a:lnTo>
                  <a:lnTo>
                    <a:pt x="285" y="5475"/>
                  </a:lnTo>
                  <a:lnTo>
                    <a:pt x="307" y="5485"/>
                  </a:lnTo>
                  <a:lnTo>
                    <a:pt x="330" y="5494"/>
                  </a:lnTo>
                  <a:lnTo>
                    <a:pt x="353" y="5502"/>
                  </a:lnTo>
                  <a:lnTo>
                    <a:pt x="377" y="5508"/>
                  </a:lnTo>
                  <a:lnTo>
                    <a:pt x="401" y="5514"/>
                  </a:lnTo>
                  <a:lnTo>
                    <a:pt x="427" y="5518"/>
                  </a:lnTo>
                  <a:lnTo>
                    <a:pt x="452" y="5522"/>
                  </a:lnTo>
                  <a:lnTo>
                    <a:pt x="477" y="5523"/>
                  </a:lnTo>
                  <a:lnTo>
                    <a:pt x="503" y="5524"/>
                  </a:lnTo>
                  <a:lnTo>
                    <a:pt x="529" y="5523"/>
                  </a:lnTo>
                  <a:lnTo>
                    <a:pt x="554" y="5522"/>
                  </a:lnTo>
                  <a:lnTo>
                    <a:pt x="580" y="5518"/>
                  </a:lnTo>
                  <a:lnTo>
                    <a:pt x="605" y="5514"/>
                  </a:lnTo>
                  <a:lnTo>
                    <a:pt x="629" y="5508"/>
                  </a:lnTo>
                  <a:lnTo>
                    <a:pt x="653" y="5502"/>
                  </a:lnTo>
                  <a:lnTo>
                    <a:pt x="676" y="5494"/>
                  </a:lnTo>
                  <a:lnTo>
                    <a:pt x="699" y="5485"/>
                  </a:lnTo>
                  <a:lnTo>
                    <a:pt x="721" y="5475"/>
                  </a:lnTo>
                  <a:lnTo>
                    <a:pt x="742" y="5464"/>
                  </a:lnTo>
                  <a:lnTo>
                    <a:pt x="764" y="5452"/>
                  </a:lnTo>
                  <a:lnTo>
                    <a:pt x="785" y="5439"/>
                  </a:lnTo>
                  <a:lnTo>
                    <a:pt x="804" y="5425"/>
                  </a:lnTo>
                  <a:lnTo>
                    <a:pt x="823" y="5410"/>
                  </a:lnTo>
                  <a:lnTo>
                    <a:pt x="841" y="5393"/>
                  </a:lnTo>
                  <a:lnTo>
                    <a:pt x="859" y="5377"/>
                  </a:lnTo>
                  <a:lnTo>
                    <a:pt x="875" y="5359"/>
                  </a:lnTo>
                  <a:lnTo>
                    <a:pt x="891" y="5341"/>
                  </a:lnTo>
                  <a:lnTo>
                    <a:pt x="906" y="5322"/>
                  </a:lnTo>
                  <a:lnTo>
                    <a:pt x="921" y="5303"/>
                  </a:lnTo>
                  <a:lnTo>
                    <a:pt x="934" y="5282"/>
                  </a:lnTo>
                  <a:lnTo>
                    <a:pt x="946" y="5262"/>
                  </a:lnTo>
                  <a:lnTo>
                    <a:pt x="957" y="5240"/>
                  </a:lnTo>
                  <a:lnTo>
                    <a:pt x="967" y="5218"/>
                  </a:lnTo>
                  <a:lnTo>
                    <a:pt x="976" y="5195"/>
                  </a:lnTo>
                  <a:lnTo>
                    <a:pt x="983" y="5171"/>
                  </a:lnTo>
                  <a:lnTo>
                    <a:pt x="990" y="5147"/>
                  </a:lnTo>
                  <a:lnTo>
                    <a:pt x="996" y="5123"/>
                  </a:lnTo>
                  <a:lnTo>
                    <a:pt x="1000" y="5098"/>
                  </a:lnTo>
                  <a:lnTo>
                    <a:pt x="1003" y="5073"/>
                  </a:lnTo>
                  <a:lnTo>
                    <a:pt x="1005" y="5048"/>
                  </a:lnTo>
                  <a:lnTo>
                    <a:pt x="1006" y="5022"/>
                  </a:lnTo>
                  <a:lnTo>
                    <a:pt x="1006" y="503"/>
                  </a:lnTo>
                  <a:lnTo>
                    <a:pt x="1005" y="476"/>
                  </a:lnTo>
                  <a:lnTo>
                    <a:pt x="1003" y="451"/>
                  </a:lnTo>
                  <a:lnTo>
                    <a:pt x="1000" y="426"/>
                  </a:lnTo>
                  <a:lnTo>
                    <a:pt x="996" y="401"/>
                  </a:lnTo>
                  <a:lnTo>
                    <a:pt x="990" y="377"/>
                  </a:lnTo>
                  <a:lnTo>
                    <a:pt x="983" y="353"/>
                  </a:lnTo>
                  <a:lnTo>
                    <a:pt x="976" y="330"/>
                  </a:lnTo>
                  <a:lnTo>
                    <a:pt x="967" y="307"/>
                  </a:lnTo>
                  <a:lnTo>
                    <a:pt x="957" y="285"/>
                  </a:lnTo>
                  <a:lnTo>
                    <a:pt x="946" y="264"/>
                  </a:lnTo>
                  <a:lnTo>
                    <a:pt x="934" y="242"/>
                  </a:lnTo>
                  <a:lnTo>
                    <a:pt x="921" y="221"/>
                  </a:lnTo>
                  <a:lnTo>
                    <a:pt x="906" y="202"/>
                  </a:lnTo>
                  <a:lnTo>
                    <a:pt x="891" y="183"/>
                  </a:lnTo>
                  <a:lnTo>
                    <a:pt x="875" y="165"/>
                  </a:lnTo>
                  <a:lnTo>
                    <a:pt x="859" y="147"/>
                  </a:lnTo>
                  <a:lnTo>
                    <a:pt x="841" y="131"/>
                  </a:lnTo>
                  <a:lnTo>
                    <a:pt x="823" y="115"/>
                  </a:lnTo>
                  <a:lnTo>
                    <a:pt x="804" y="100"/>
                  </a:lnTo>
                  <a:lnTo>
                    <a:pt x="785" y="86"/>
                  </a:lnTo>
                  <a:lnTo>
                    <a:pt x="764" y="73"/>
                  </a:lnTo>
                  <a:lnTo>
                    <a:pt x="742" y="61"/>
                  </a:lnTo>
                  <a:lnTo>
                    <a:pt x="721" y="50"/>
                  </a:lnTo>
                  <a:lnTo>
                    <a:pt x="699" y="40"/>
                  </a:lnTo>
                  <a:lnTo>
                    <a:pt x="676" y="31"/>
                  </a:lnTo>
                  <a:lnTo>
                    <a:pt x="653" y="24"/>
                  </a:lnTo>
                  <a:lnTo>
                    <a:pt x="629" y="16"/>
                  </a:lnTo>
                  <a:lnTo>
                    <a:pt x="605" y="10"/>
                  </a:lnTo>
                  <a:lnTo>
                    <a:pt x="580" y="6"/>
                  </a:lnTo>
                  <a:lnTo>
                    <a:pt x="554" y="3"/>
                  </a:lnTo>
                  <a:lnTo>
                    <a:pt x="529" y="1"/>
                  </a:lnTo>
                  <a:lnTo>
                    <a:pt x="503" y="0"/>
                  </a:lnTo>
                  <a:lnTo>
                    <a:pt x="477" y="1"/>
                  </a:lnTo>
                  <a:lnTo>
                    <a:pt x="452" y="3"/>
                  </a:lnTo>
                  <a:lnTo>
                    <a:pt x="427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4"/>
                  </a:lnTo>
                  <a:lnTo>
                    <a:pt x="330" y="31"/>
                  </a:lnTo>
                  <a:lnTo>
                    <a:pt x="307" y="40"/>
                  </a:lnTo>
                  <a:lnTo>
                    <a:pt x="285" y="50"/>
                  </a:lnTo>
                  <a:lnTo>
                    <a:pt x="264" y="61"/>
                  </a:lnTo>
                  <a:lnTo>
                    <a:pt x="243" y="73"/>
                  </a:lnTo>
                  <a:lnTo>
                    <a:pt x="221" y="86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100" y="202"/>
                  </a:lnTo>
                  <a:lnTo>
                    <a:pt x="86" y="221"/>
                  </a:lnTo>
                  <a:lnTo>
                    <a:pt x="73" y="242"/>
                  </a:lnTo>
                  <a:lnTo>
                    <a:pt x="60" y="264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2" y="451"/>
                  </a:lnTo>
                  <a:lnTo>
                    <a:pt x="1" y="476"/>
                  </a:lnTo>
                  <a:lnTo>
                    <a:pt x="0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31" name="î$ḻíḋe">
              <a:extLst>
                <a:ext uri="{FF2B5EF4-FFF2-40B4-BE49-F238E27FC236}">
                  <a16:creationId xmlns:a16="http://schemas.microsoft.com/office/drawing/2014/main" id="{F11C49B2-009C-44F8-95EC-16474BEDA439}"/>
                </a:ext>
              </a:extLst>
            </p:cNvPr>
            <p:cNvSpPr/>
            <p:nvPr/>
          </p:nvSpPr>
          <p:spPr bwMode="auto">
            <a:xfrm>
              <a:off x="5040309" y="1941230"/>
              <a:ext cx="58069" cy="87104"/>
            </a:xfrm>
            <a:custGeom>
              <a:avLst/>
              <a:gdLst>
                <a:gd name="T0" fmla="*/ 903 w 2012"/>
                <a:gd name="T1" fmla="*/ 16 h 3013"/>
                <a:gd name="T2" fmla="*/ 755 w 2012"/>
                <a:gd name="T3" fmla="*/ 98 h 3013"/>
                <a:gd name="T4" fmla="*/ 615 w 2012"/>
                <a:gd name="T5" fmla="*/ 236 h 3013"/>
                <a:gd name="T6" fmla="*/ 485 w 2012"/>
                <a:gd name="T7" fmla="*/ 420 h 3013"/>
                <a:gd name="T8" fmla="*/ 366 w 2012"/>
                <a:gd name="T9" fmla="*/ 638 h 3013"/>
                <a:gd name="T10" fmla="*/ 262 w 2012"/>
                <a:gd name="T11" fmla="*/ 879 h 3013"/>
                <a:gd name="T12" fmla="*/ 172 w 2012"/>
                <a:gd name="T13" fmla="*/ 1130 h 3013"/>
                <a:gd name="T14" fmla="*/ 100 w 2012"/>
                <a:gd name="T15" fmla="*/ 1380 h 3013"/>
                <a:gd name="T16" fmla="*/ 45 w 2012"/>
                <a:gd name="T17" fmla="*/ 1617 h 3013"/>
                <a:gd name="T18" fmla="*/ 12 w 2012"/>
                <a:gd name="T19" fmla="*/ 1831 h 3013"/>
                <a:gd name="T20" fmla="*/ 0 w 2012"/>
                <a:gd name="T21" fmla="*/ 2009 h 3013"/>
                <a:gd name="T22" fmla="*/ 12 w 2012"/>
                <a:gd name="T23" fmla="*/ 2161 h 3013"/>
                <a:gd name="T24" fmla="*/ 45 w 2012"/>
                <a:gd name="T25" fmla="*/ 2307 h 3013"/>
                <a:gd name="T26" fmla="*/ 100 w 2012"/>
                <a:gd name="T27" fmla="*/ 2444 h 3013"/>
                <a:gd name="T28" fmla="*/ 172 w 2012"/>
                <a:gd name="T29" fmla="*/ 2570 h 3013"/>
                <a:gd name="T30" fmla="*/ 262 w 2012"/>
                <a:gd name="T31" fmla="*/ 2684 h 3013"/>
                <a:gd name="T32" fmla="*/ 366 w 2012"/>
                <a:gd name="T33" fmla="*/ 2784 h 3013"/>
                <a:gd name="T34" fmla="*/ 485 w 2012"/>
                <a:gd name="T35" fmla="*/ 2867 h 3013"/>
                <a:gd name="T36" fmla="*/ 615 w 2012"/>
                <a:gd name="T37" fmla="*/ 2934 h 3013"/>
                <a:gd name="T38" fmla="*/ 755 w 2012"/>
                <a:gd name="T39" fmla="*/ 2981 h 3013"/>
                <a:gd name="T40" fmla="*/ 903 w 2012"/>
                <a:gd name="T41" fmla="*/ 3008 h 3013"/>
                <a:gd name="T42" fmla="*/ 1057 w 2012"/>
                <a:gd name="T43" fmla="*/ 3012 h 3013"/>
                <a:gd name="T44" fmla="*/ 1208 w 2012"/>
                <a:gd name="T45" fmla="*/ 2993 h 3013"/>
                <a:gd name="T46" fmla="*/ 1352 w 2012"/>
                <a:gd name="T47" fmla="*/ 2952 h 3013"/>
                <a:gd name="T48" fmla="*/ 1486 w 2012"/>
                <a:gd name="T49" fmla="*/ 2891 h 3013"/>
                <a:gd name="T50" fmla="*/ 1608 w 2012"/>
                <a:gd name="T51" fmla="*/ 2813 h 3013"/>
                <a:gd name="T52" fmla="*/ 1717 w 2012"/>
                <a:gd name="T53" fmla="*/ 2719 h 3013"/>
                <a:gd name="T54" fmla="*/ 1812 w 2012"/>
                <a:gd name="T55" fmla="*/ 2609 h 3013"/>
                <a:gd name="T56" fmla="*/ 1890 w 2012"/>
                <a:gd name="T57" fmla="*/ 2488 h 3013"/>
                <a:gd name="T58" fmla="*/ 1951 w 2012"/>
                <a:gd name="T59" fmla="*/ 2354 h 3013"/>
                <a:gd name="T60" fmla="*/ 1992 w 2012"/>
                <a:gd name="T61" fmla="*/ 2211 h 3013"/>
                <a:gd name="T62" fmla="*/ 2011 w 2012"/>
                <a:gd name="T63" fmla="*/ 2060 h 3013"/>
                <a:gd name="T64" fmla="*/ 2007 w 2012"/>
                <a:gd name="T65" fmla="*/ 1895 h 3013"/>
                <a:gd name="T66" fmla="*/ 1980 w 2012"/>
                <a:gd name="T67" fmla="*/ 1692 h 3013"/>
                <a:gd name="T68" fmla="*/ 1933 w 2012"/>
                <a:gd name="T69" fmla="*/ 1461 h 3013"/>
                <a:gd name="T70" fmla="*/ 1866 w 2012"/>
                <a:gd name="T71" fmla="*/ 1213 h 3013"/>
                <a:gd name="T72" fmla="*/ 1783 w 2012"/>
                <a:gd name="T73" fmla="*/ 961 h 3013"/>
                <a:gd name="T74" fmla="*/ 1682 w 2012"/>
                <a:gd name="T75" fmla="*/ 716 h 3013"/>
                <a:gd name="T76" fmla="*/ 1568 w 2012"/>
                <a:gd name="T77" fmla="*/ 489 h 3013"/>
                <a:gd name="T78" fmla="*/ 1442 w 2012"/>
                <a:gd name="T79" fmla="*/ 292 h 3013"/>
                <a:gd name="T80" fmla="*/ 1305 w 2012"/>
                <a:gd name="T81" fmla="*/ 138 h 3013"/>
                <a:gd name="T82" fmla="*/ 1159 w 2012"/>
                <a:gd name="T83" fmla="*/ 36 h 3013"/>
                <a:gd name="T84" fmla="*/ 1006 w 2012"/>
                <a:gd name="T85" fmla="*/ 0 h 30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12" h="3013">
                  <a:moveTo>
                    <a:pt x="1006" y="0"/>
                  </a:moveTo>
                  <a:lnTo>
                    <a:pt x="955" y="4"/>
                  </a:lnTo>
                  <a:lnTo>
                    <a:pt x="903" y="16"/>
                  </a:lnTo>
                  <a:lnTo>
                    <a:pt x="853" y="36"/>
                  </a:lnTo>
                  <a:lnTo>
                    <a:pt x="804" y="63"/>
                  </a:lnTo>
                  <a:lnTo>
                    <a:pt x="755" y="98"/>
                  </a:lnTo>
                  <a:lnTo>
                    <a:pt x="707" y="138"/>
                  </a:lnTo>
                  <a:lnTo>
                    <a:pt x="660" y="184"/>
                  </a:lnTo>
                  <a:lnTo>
                    <a:pt x="615" y="236"/>
                  </a:lnTo>
                  <a:lnTo>
                    <a:pt x="570" y="292"/>
                  </a:lnTo>
                  <a:lnTo>
                    <a:pt x="527" y="355"/>
                  </a:lnTo>
                  <a:lnTo>
                    <a:pt x="485" y="420"/>
                  </a:lnTo>
                  <a:lnTo>
                    <a:pt x="444" y="489"/>
                  </a:lnTo>
                  <a:lnTo>
                    <a:pt x="405" y="563"/>
                  </a:lnTo>
                  <a:lnTo>
                    <a:pt x="366" y="638"/>
                  </a:lnTo>
                  <a:lnTo>
                    <a:pt x="330" y="716"/>
                  </a:lnTo>
                  <a:lnTo>
                    <a:pt x="295" y="797"/>
                  </a:lnTo>
                  <a:lnTo>
                    <a:pt x="262" y="879"/>
                  </a:lnTo>
                  <a:lnTo>
                    <a:pt x="230" y="961"/>
                  </a:lnTo>
                  <a:lnTo>
                    <a:pt x="200" y="1046"/>
                  </a:lnTo>
                  <a:lnTo>
                    <a:pt x="172" y="1130"/>
                  </a:lnTo>
                  <a:lnTo>
                    <a:pt x="146" y="1213"/>
                  </a:lnTo>
                  <a:lnTo>
                    <a:pt x="122" y="1298"/>
                  </a:lnTo>
                  <a:lnTo>
                    <a:pt x="100" y="1380"/>
                  </a:lnTo>
                  <a:lnTo>
                    <a:pt x="80" y="1461"/>
                  </a:lnTo>
                  <a:lnTo>
                    <a:pt x="61" y="1541"/>
                  </a:lnTo>
                  <a:lnTo>
                    <a:pt x="45" y="1617"/>
                  </a:lnTo>
                  <a:lnTo>
                    <a:pt x="32" y="1692"/>
                  </a:lnTo>
                  <a:lnTo>
                    <a:pt x="20" y="1764"/>
                  </a:lnTo>
                  <a:lnTo>
                    <a:pt x="12" y="1831"/>
                  </a:lnTo>
                  <a:lnTo>
                    <a:pt x="5" y="1895"/>
                  </a:lnTo>
                  <a:lnTo>
                    <a:pt x="1" y="1954"/>
                  </a:lnTo>
                  <a:lnTo>
                    <a:pt x="0" y="2009"/>
                  </a:lnTo>
                  <a:lnTo>
                    <a:pt x="1" y="2060"/>
                  </a:lnTo>
                  <a:lnTo>
                    <a:pt x="5" y="2111"/>
                  </a:lnTo>
                  <a:lnTo>
                    <a:pt x="12" y="2161"/>
                  </a:lnTo>
                  <a:lnTo>
                    <a:pt x="20" y="2211"/>
                  </a:lnTo>
                  <a:lnTo>
                    <a:pt x="32" y="2260"/>
                  </a:lnTo>
                  <a:lnTo>
                    <a:pt x="45" y="2307"/>
                  </a:lnTo>
                  <a:lnTo>
                    <a:pt x="61" y="2354"/>
                  </a:lnTo>
                  <a:lnTo>
                    <a:pt x="80" y="2399"/>
                  </a:lnTo>
                  <a:lnTo>
                    <a:pt x="100" y="2444"/>
                  </a:lnTo>
                  <a:lnTo>
                    <a:pt x="122" y="2488"/>
                  </a:lnTo>
                  <a:lnTo>
                    <a:pt x="146" y="2529"/>
                  </a:lnTo>
                  <a:lnTo>
                    <a:pt x="172" y="2570"/>
                  </a:lnTo>
                  <a:lnTo>
                    <a:pt x="200" y="2609"/>
                  </a:lnTo>
                  <a:lnTo>
                    <a:pt x="230" y="2647"/>
                  </a:lnTo>
                  <a:lnTo>
                    <a:pt x="262" y="2684"/>
                  </a:lnTo>
                  <a:lnTo>
                    <a:pt x="295" y="2719"/>
                  </a:lnTo>
                  <a:lnTo>
                    <a:pt x="330" y="2752"/>
                  </a:lnTo>
                  <a:lnTo>
                    <a:pt x="366" y="2784"/>
                  </a:lnTo>
                  <a:lnTo>
                    <a:pt x="405" y="2813"/>
                  </a:lnTo>
                  <a:lnTo>
                    <a:pt x="444" y="2841"/>
                  </a:lnTo>
                  <a:lnTo>
                    <a:pt x="485" y="2867"/>
                  </a:lnTo>
                  <a:lnTo>
                    <a:pt x="527" y="2891"/>
                  </a:lnTo>
                  <a:lnTo>
                    <a:pt x="570" y="2914"/>
                  </a:lnTo>
                  <a:lnTo>
                    <a:pt x="615" y="2934"/>
                  </a:lnTo>
                  <a:lnTo>
                    <a:pt x="660" y="2952"/>
                  </a:lnTo>
                  <a:lnTo>
                    <a:pt x="707" y="2968"/>
                  </a:lnTo>
                  <a:lnTo>
                    <a:pt x="755" y="2981"/>
                  </a:lnTo>
                  <a:lnTo>
                    <a:pt x="804" y="2993"/>
                  </a:lnTo>
                  <a:lnTo>
                    <a:pt x="853" y="3001"/>
                  </a:lnTo>
                  <a:lnTo>
                    <a:pt x="903" y="3008"/>
                  </a:lnTo>
                  <a:lnTo>
                    <a:pt x="955" y="3012"/>
                  </a:lnTo>
                  <a:lnTo>
                    <a:pt x="1006" y="3013"/>
                  </a:lnTo>
                  <a:lnTo>
                    <a:pt x="1057" y="3012"/>
                  </a:lnTo>
                  <a:lnTo>
                    <a:pt x="1109" y="3008"/>
                  </a:lnTo>
                  <a:lnTo>
                    <a:pt x="1159" y="3001"/>
                  </a:lnTo>
                  <a:lnTo>
                    <a:pt x="1208" y="2993"/>
                  </a:lnTo>
                  <a:lnTo>
                    <a:pt x="1258" y="2981"/>
                  </a:lnTo>
                  <a:lnTo>
                    <a:pt x="1305" y="2968"/>
                  </a:lnTo>
                  <a:lnTo>
                    <a:pt x="1352" y="2952"/>
                  </a:lnTo>
                  <a:lnTo>
                    <a:pt x="1397" y="2934"/>
                  </a:lnTo>
                  <a:lnTo>
                    <a:pt x="1442" y="2914"/>
                  </a:lnTo>
                  <a:lnTo>
                    <a:pt x="1486" y="2891"/>
                  </a:lnTo>
                  <a:lnTo>
                    <a:pt x="1527" y="2867"/>
                  </a:lnTo>
                  <a:lnTo>
                    <a:pt x="1568" y="2841"/>
                  </a:lnTo>
                  <a:lnTo>
                    <a:pt x="1608" y="2813"/>
                  </a:lnTo>
                  <a:lnTo>
                    <a:pt x="1646" y="2784"/>
                  </a:lnTo>
                  <a:lnTo>
                    <a:pt x="1682" y="2752"/>
                  </a:lnTo>
                  <a:lnTo>
                    <a:pt x="1717" y="2719"/>
                  </a:lnTo>
                  <a:lnTo>
                    <a:pt x="1750" y="2684"/>
                  </a:lnTo>
                  <a:lnTo>
                    <a:pt x="1783" y="2647"/>
                  </a:lnTo>
                  <a:lnTo>
                    <a:pt x="1812" y="2609"/>
                  </a:lnTo>
                  <a:lnTo>
                    <a:pt x="1840" y="2570"/>
                  </a:lnTo>
                  <a:lnTo>
                    <a:pt x="1866" y="2529"/>
                  </a:lnTo>
                  <a:lnTo>
                    <a:pt x="1890" y="2488"/>
                  </a:lnTo>
                  <a:lnTo>
                    <a:pt x="1912" y="2444"/>
                  </a:lnTo>
                  <a:lnTo>
                    <a:pt x="1933" y="2399"/>
                  </a:lnTo>
                  <a:lnTo>
                    <a:pt x="1951" y="2354"/>
                  </a:lnTo>
                  <a:lnTo>
                    <a:pt x="1967" y="2307"/>
                  </a:lnTo>
                  <a:lnTo>
                    <a:pt x="1980" y="2260"/>
                  </a:lnTo>
                  <a:lnTo>
                    <a:pt x="1992" y="2211"/>
                  </a:lnTo>
                  <a:lnTo>
                    <a:pt x="2000" y="2161"/>
                  </a:lnTo>
                  <a:lnTo>
                    <a:pt x="2007" y="2111"/>
                  </a:lnTo>
                  <a:lnTo>
                    <a:pt x="2011" y="2060"/>
                  </a:lnTo>
                  <a:lnTo>
                    <a:pt x="2012" y="2009"/>
                  </a:lnTo>
                  <a:lnTo>
                    <a:pt x="2011" y="1954"/>
                  </a:lnTo>
                  <a:lnTo>
                    <a:pt x="2007" y="1895"/>
                  </a:lnTo>
                  <a:lnTo>
                    <a:pt x="2000" y="1831"/>
                  </a:lnTo>
                  <a:lnTo>
                    <a:pt x="1992" y="1764"/>
                  </a:lnTo>
                  <a:lnTo>
                    <a:pt x="1980" y="1692"/>
                  </a:lnTo>
                  <a:lnTo>
                    <a:pt x="1967" y="1617"/>
                  </a:lnTo>
                  <a:lnTo>
                    <a:pt x="1951" y="1541"/>
                  </a:lnTo>
                  <a:lnTo>
                    <a:pt x="1933" y="1461"/>
                  </a:lnTo>
                  <a:lnTo>
                    <a:pt x="1912" y="1380"/>
                  </a:lnTo>
                  <a:lnTo>
                    <a:pt x="1890" y="1298"/>
                  </a:lnTo>
                  <a:lnTo>
                    <a:pt x="1866" y="1213"/>
                  </a:lnTo>
                  <a:lnTo>
                    <a:pt x="1840" y="1130"/>
                  </a:lnTo>
                  <a:lnTo>
                    <a:pt x="1812" y="1046"/>
                  </a:lnTo>
                  <a:lnTo>
                    <a:pt x="1783" y="961"/>
                  </a:lnTo>
                  <a:lnTo>
                    <a:pt x="1750" y="879"/>
                  </a:lnTo>
                  <a:lnTo>
                    <a:pt x="1717" y="797"/>
                  </a:lnTo>
                  <a:lnTo>
                    <a:pt x="1682" y="716"/>
                  </a:lnTo>
                  <a:lnTo>
                    <a:pt x="1646" y="638"/>
                  </a:lnTo>
                  <a:lnTo>
                    <a:pt x="1608" y="563"/>
                  </a:lnTo>
                  <a:lnTo>
                    <a:pt x="1568" y="489"/>
                  </a:lnTo>
                  <a:lnTo>
                    <a:pt x="1527" y="420"/>
                  </a:lnTo>
                  <a:lnTo>
                    <a:pt x="1486" y="355"/>
                  </a:lnTo>
                  <a:lnTo>
                    <a:pt x="1442" y="292"/>
                  </a:lnTo>
                  <a:lnTo>
                    <a:pt x="1397" y="236"/>
                  </a:lnTo>
                  <a:lnTo>
                    <a:pt x="1352" y="184"/>
                  </a:lnTo>
                  <a:lnTo>
                    <a:pt x="1305" y="138"/>
                  </a:lnTo>
                  <a:lnTo>
                    <a:pt x="1258" y="98"/>
                  </a:lnTo>
                  <a:lnTo>
                    <a:pt x="1208" y="63"/>
                  </a:lnTo>
                  <a:lnTo>
                    <a:pt x="1159" y="36"/>
                  </a:lnTo>
                  <a:lnTo>
                    <a:pt x="1109" y="16"/>
                  </a:lnTo>
                  <a:lnTo>
                    <a:pt x="1057" y="4"/>
                  </a:lnTo>
                  <a:lnTo>
                    <a:pt x="10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32" name="ísḷíḋé">
              <a:extLst>
                <a:ext uri="{FF2B5EF4-FFF2-40B4-BE49-F238E27FC236}">
                  <a16:creationId xmlns:a16="http://schemas.microsoft.com/office/drawing/2014/main" id="{F6B346F2-84E0-477D-80D6-1FCB1D6142F0}"/>
                </a:ext>
              </a:extLst>
            </p:cNvPr>
            <p:cNvSpPr/>
            <p:nvPr/>
          </p:nvSpPr>
          <p:spPr bwMode="auto">
            <a:xfrm>
              <a:off x="4821555" y="2306672"/>
              <a:ext cx="65098" cy="66304"/>
            </a:xfrm>
            <a:custGeom>
              <a:avLst/>
              <a:gdLst>
                <a:gd name="T0" fmla="*/ 903 w 2011"/>
                <a:gd name="T1" fmla="*/ 5 h 2014"/>
                <a:gd name="T2" fmla="*/ 754 w 2011"/>
                <a:gd name="T3" fmla="*/ 31 h 2014"/>
                <a:gd name="T4" fmla="*/ 614 w 2011"/>
                <a:gd name="T5" fmla="*/ 79 h 2014"/>
                <a:gd name="T6" fmla="*/ 483 w 2011"/>
                <a:gd name="T7" fmla="*/ 146 h 2014"/>
                <a:gd name="T8" fmla="*/ 366 w 2011"/>
                <a:gd name="T9" fmla="*/ 229 h 2014"/>
                <a:gd name="T10" fmla="*/ 261 w 2011"/>
                <a:gd name="T11" fmla="*/ 330 h 2014"/>
                <a:gd name="T12" fmla="*/ 172 w 2011"/>
                <a:gd name="T13" fmla="*/ 444 h 2014"/>
                <a:gd name="T14" fmla="*/ 99 w 2011"/>
                <a:gd name="T15" fmla="*/ 571 h 2014"/>
                <a:gd name="T16" fmla="*/ 45 w 2011"/>
                <a:gd name="T17" fmla="*/ 708 h 2014"/>
                <a:gd name="T18" fmla="*/ 11 w 2011"/>
                <a:gd name="T19" fmla="*/ 854 h 2014"/>
                <a:gd name="T20" fmla="*/ 0 w 2011"/>
                <a:gd name="T21" fmla="*/ 1007 h 2014"/>
                <a:gd name="T22" fmla="*/ 11 w 2011"/>
                <a:gd name="T23" fmla="*/ 1160 h 2014"/>
                <a:gd name="T24" fmla="*/ 45 w 2011"/>
                <a:gd name="T25" fmla="*/ 1306 h 2014"/>
                <a:gd name="T26" fmla="*/ 99 w 2011"/>
                <a:gd name="T27" fmla="*/ 1443 h 2014"/>
                <a:gd name="T28" fmla="*/ 172 w 2011"/>
                <a:gd name="T29" fmla="*/ 1570 h 2014"/>
                <a:gd name="T30" fmla="*/ 261 w 2011"/>
                <a:gd name="T31" fmla="*/ 1684 h 2014"/>
                <a:gd name="T32" fmla="*/ 366 w 2011"/>
                <a:gd name="T33" fmla="*/ 1785 h 2014"/>
                <a:gd name="T34" fmla="*/ 483 w 2011"/>
                <a:gd name="T35" fmla="*/ 1868 h 2014"/>
                <a:gd name="T36" fmla="*/ 614 w 2011"/>
                <a:gd name="T37" fmla="*/ 1935 h 2014"/>
                <a:gd name="T38" fmla="*/ 754 w 2011"/>
                <a:gd name="T39" fmla="*/ 1982 h 2014"/>
                <a:gd name="T40" fmla="*/ 903 w 2011"/>
                <a:gd name="T41" fmla="*/ 2009 h 2014"/>
                <a:gd name="T42" fmla="*/ 1057 w 2011"/>
                <a:gd name="T43" fmla="*/ 2013 h 2014"/>
                <a:gd name="T44" fmla="*/ 1208 w 2011"/>
                <a:gd name="T45" fmla="*/ 1994 h 2014"/>
                <a:gd name="T46" fmla="*/ 1351 w 2011"/>
                <a:gd name="T47" fmla="*/ 1953 h 2014"/>
                <a:gd name="T48" fmla="*/ 1484 w 2011"/>
                <a:gd name="T49" fmla="*/ 1892 h 2014"/>
                <a:gd name="T50" fmla="*/ 1607 w 2011"/>
                <a:gd name="T51" fmla="*/ 1814 h 2014"/>
                <a:gd name="T52" fmla="*/ 1717 w 2011"/>
                <a:gd name="T53" fmla="*/ 1719 h 2014"/>
                <a:gd name="T54" fmla="*/ 1811 w 2011"/>
                <a:gd name="T55" fmla="*/ 1609 h 2014"/>
                <a:gd name="T56" fmla="*/ 1890 w 2011"/>
                <a:gd name="T57" fmla="*/ 1487 h 2014"/>
                <a:gd name="T58" fmla="*/ 1950 w 2011"/>
                <a:gd name="T59" fmla="*/ 1353 h 2014"/>
                <a:gd name="T60" fmla="*/ 1991 w 2011"/>
                <a:gd name="T61" fmla="*/ 1209 h 2014"/>
                <a:gd name="T62" fmla="*/ 2010 w 2011"/>
                <a:gd name="T63" fmla="*/ 1058 h 2014"/>
                <a:gd name="T64" fmla="*/ 2006 w 2011"/>
                <a:gd name="T65" fmla="*/ 904 h 2014"/>
                <a:gd name="T66" fmla="*/ 1979 w 2011"/>
                <a:gd name="T67" fmla="*/ 755 h 2014"/>
                <a:gd name="T68" fmla="*/ 1932 w 2011"/>
                <a:gd name="T69" fmla="*/ 615 h 2014"/>
                <a:gd name="T70" fmla="*/ 1866 w 2011"/>
                <a:gd name="T71" fmla="*/ 485 h 2014"/>
                <a:gd name="T72" fmla="*/ 1781 w 2011"/>
                <a:gd name="T73" fmla="*/ 366 h 2014"/>
                <a:gd name="T74" fmla="*/ 1681 w 2011"/>
                <a:gd name="T75" fmla="*/ 261 h 2014"/>
                <a:gd name="T76" fmla="*/ 1568 w 2011"/>
                <a:gd name="T77" fmla="*/ 172 h 2014"/>
                <a:gd name="T78" fmla="*/ 1441 w 2011"/>
                <a:gd name="T79" fmla="*/ 99 h 2014"/>
                <a:gd name="T80" fmla="*/ 1304 w 2011"/>
                <a:gd name="T81" fmla="*/ 45 h 2014"/>
                <a:gd name="T82" fmla="*/ 1158 w 2011"/>
                <a:gd name="T83" fmla="*/ 11 h 2014"/>
                <a:gd name="T84" fmla="*/ 1005 w 2011"/>
                <a:gd name="T85" fmla="*/ 0 h 20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11" h="2014">
                  <a:moveTo>
                    <a:pt x="1005" y="0"/>
                  </a:moveTo>
                  <a:lnTo>
                    <a:pt x="953" y="1"/>
                  </a:lnTo>
                  <a:lnTo>
                    <a:pt x="903" y="5"/>
                  </a:lnTo>
                  <a:lnTo>
                    <a:pt x="853" y="11"/>
                  </a:lnTo>
                  <a:lnTo>
                    <a:pt x="802" y="20"/>
                  </a:lnTo>
                  <a:lnTo>
                    <a:pt x="754" y="31"/>
                  </a:lnTo>
                  <a:lnTo>
                    <a:pt x="707" y="45"/>
                  </a:lnTo>
                  <a:lnTo>
                    <a:pt x="659" y="61"/>
                  </a:lnTo>
                  <a:lnTo>
                    <a:pt x="614" y="79"/>
                  </a:lnTo>
                  <a:lnTo>
                    <a:pt x="570" y="99"/>
                  </a:lnTo>
                  <a:lnTo>
                    <a:pt x="526" y="121"/>
                  </a:lnTo>
                  <a:lnTo>
                    <a:pt x="483" y="146"/>
                  </a:lnTo>
                  <a:lnTo>
                    <a:pt x="443" y="172"/>
                  </a:lnTo>
                  <a:lnTo>
                    <a:pt x="404" y="200"/>
                  </a:lnTo>
                  <a:lnTo>
                    <a:pt x="366" y="229"/>
                  </a:lnTo>
                  <a:lnTo>
                    <a:pt x="329" y="261"/>
                  </a:lnTo>
                  <a:lnTo>
                    <a:pt x="294" y="295"/>
                  </a:lnTo>
                  <a:lnTo>
                    <a:pt x="261" y="330"/>
                  </a:lnTo>
                  <a:lnTo>
                    <a:pt x="229" y="366"/>
                  </a:lnTo>
                  <a:lnTo>
                    <a:pt x="200" y="404"/>
                  </a:lnTo>
                  <a:lnTo>
                    <a:pt x="172" y="444"/>
                  </a:lnTo>
                  <a:lnTo>
                    <a:pt x="145" y="485"/>
                  </a:lnTo>
                  <a:lnTo>
                    <a:pt x="121" y="526"/>
                  </a:lnTo>
                  <a:lnTo>
                    <a:pt x="99" y="571"/>
                  </a:lnTo>
                  <a:lnTo>
                    <a:pt x="79" y="615"/>
                  </a:lnTo>
                  <a:lnTo>
                    <a:pt x="61" y="660"/>
                  </a:lnTo>
                  <a:lnTo>
                    <a:pt x="45" y="708"/>
                  </a:lnTo>
                  <a:lnTo>
                    <a:pt x="31" y="755"/>
                  </a:lnTo>
                  <a:lnTo>
                    <a:pt x="20" y="804"/>
                  </a:lnTo>
                  <a:lnTo>
                    <a:pt x="11" y="854"/>
                  </a:lnTo>
                  <a:lnTo>
                    <a:pt x="5" y="904"/>
                  </a:lnTo>
                  <a:lnTo>
                    <a:pt x="1" y="955"/>
                  </a:lnTo>
                  <a:lnTo>
                    <a:pt x="0" y="1007"/>
                  </a:lnTo>
                  <a:lnTo>
                    <a:pt x="1" y="1058"/>
                  </a:lnTo>
                  <a:lnTo>
                    <a:pt x="5" y="1110"/>
                  </a:lnTo>
                  <a:lnTo>
                    <a:pt x="11" y="1160"/>
                  </a:lnTo>
                  <a:lnTo>
                    <a:pt x="20" y="1209"/>
                  </a:lnTo>
                  <a:lnTo>
                    <a:pt x="31" y="1259"/>
                  </a:lnTo>
                  <a:lnTo>
                    <a:pt x="45" y="1306"/>
                  </a:lnTo>
                  <a:lnTo>
                    <a:pt x="61" y="1353"/>
                  </a:lnTo>
                  <a:lnTo>
                    <a:pt x="79" y="1399"/>
                  </a:lnTo>
                  <a:lnTo>
                    <a:pt x="99" y="1443"/>
                  </a:lnTo>
                  <a:lnTo>
                    <a:pt x="121" y="1487"/>
                  </a:lnTo>
                  <a:lnTo>
                    <a:pt x="145" y="1529"/>
                  </a:lnTo>
                  <a:lnTo>
                    <a:pt x="172" y="1570"/>
                  </a:lnTo>
                  <a:lnTo>
                    <a:pt x="200" y="1609"/>
                  </a:lnTo>
                  <a:lnTo>
                    <a:pt x="229" y="1648"/>
                  </a:lnTo>
                  <a:lnTo>
                    <a:pt x="261" y="1684"/>
                  </a:lnTo>
                  <a:lnTo>
                    <a:pt x="294" y="1719"/>
                  </a:lnTo>
                  <a:lnTo>
                    <a:pt x="329" y="1752"/>
                  </a:lnTo>
                  <a:lnTo>
                    <a:pt x="366" y="1785"/>
                  </a:lnTo>
                  <a:lnTo>
                    <a:pt x="404" y="1814"/>
                  </a:lnTo>
                  <a:lnTo>
                    <a:pt x="443" y="1842"/>
                  </a:lnTo>
                  <a:lnTo>
                    <a:pt x="483" y="1868"/>
                  </a:lnTo>
                  <a:lnTo>
                    <a:pt x="526" y="1892"/>
                  </a:lnTo>
                  <a:lnTo>
                    <a:pt x="570" y="1914"/>
                  </a:lnTo>
                  <a:lnTo>
                    <a:pt x="614" y="1935"/>
                  </a:lnTo>
                  <a:lnTo>
                    <a:pt x="659" y="1953"/>
                  </a:lnTo>
                  <a:lnTo>
                    <a:pt x="707" y="1969"/>
                  </a:lnTo>
                  <a:lnTo>
                    <a:pt x="754" y="1982"/>
                  </a:lnTo>
                  <a:lnTo>
                    <a:pt x="802" y="1994"/>
                  </a:lnTo>
                  <a:lnTo>
                    <a:pt x="853" y="2003"/>
                  </a:lnTo>
                  <a:lnTo>
                    <a:pt x="903" y="2009"/>
                  </a:lnTo>
                  <a:lnTo>
                    <a:pt x="953" y="2013"/>
                  </a:lnTo>
                  <a:lnTo>
                    <a:pt x="1005" y="2014"/>
                  </a:lnTo>
                  <a:lnTo>
                    <a:pt x="1057" y="2013"/>
                  </a:lnTo>
                  <a:lnTo>
                    <a:pt x="1108" y="2009"/>
                  </a:lnTo>
                  <a:lnTo>
                    <a:pt x="1158" y="2003"/>
                  </a:lnTo>
                  <a:lnTo>
                    <a:pt x="1208" y="1994"/>
                  </a:lnTo>
                  <a:lnTo>
                    <a:pt x="1257" y="1982"/>
                  </a:lnTo>
                  <a:lnTo>
                    <a:pt x="1304" y="1969"/>
                  </a:lnTo>
                  <a:lnTo>
                    <a:pt x="1351" y="1953"/>
                  </a:lnTo>
                  <a:lnTo>
                    <a:pt x="1397" y="1935"/>
                  </a:lnTo>
                  <a:lnTo>
                    <a:pt x="1441" y="1914"/>
                  </a:lnTo>
                  <a:lnTo>
                    <a:pt x="1484" y="1892"/>
                  </a:lnTo>
                  <a:lnTo>
                    <a:pt x="1527" y="1868"/>
                  </a:lnTo>
                  <a:lnTo>
                    <a:pt x="1568" y="1842"/>
                  </a:lnTo>
                  <a:lnTo>
                    <a:pt x="1607" y="1814"/>
                  </a:lnTo>
                  <a:lnTo>
                    <a:pt x="1645" y="1785"/>
                  </a:lnTo>
                  <a:lnTo>
                    <a:pt x="1681" y="1752"/>
                  </a:lnTo>
                  <a:lnTo>
                    <a:pt x="1717" y="1719"/>
                  </a:lnTo>
                  <a:lnTo>
                    <a:pt x="1750" y="1684"/>
                  </a:lnTo>
                  <a:lnTo>
                    <a:pt x="1781" y="1648"/>
                  </a:lnTo>
                  <a:lnTo>
                    <a:pt x="1811" y="1609"/>
                  </a:lnTo>
                  <a:lnTo>
                    <a:pt x="1839" y="1570"/>
                  </a:lnTo>
                  <a:lnTo>
                    <a:pt x="1866" y="1529"/>
                  </a:lnTo>
                  <a:lnTo>
                    <a:pt x="1890" y="1487"/>
                  </a:lnTo>
                  <a:lnTo>
                    <a:pt x="1912" y="1443"/>
                  </a:lnTo>
                  <a:lnTo>
                    <a:pt x="1932" y="1399"/>
                  </a:lnTo>
                  <a:lnTo>
                    <a:pt x="1950" y="1353"/>
                  </a:lnTo>
                  <a:lnTo>
                    <a:pt x="1966" y="1306"/>
                  </a:lnTo>
                  <a:lnTo>
                    <a:pt x="1979" y="1259"/>
                  </a:lnTo>
                  <a:lnTo>
                    <a:pt x="1991" y="1209"/>
                  </a:lnTo>
                  <a:lnTo>
                    <a:pt x="1999" y="1160"/>
                  </a:lnTo>
                  <a:lnTo>
                    <a:pt x="2006" y="1110"/>
                  </a:lnTo>
                  <a:lnTo>
                    <a:pt x="2010" y="1058"/>
                  </a:lnTo>
                  <a:lnTo>
                    <a:pt x="2011" y="1007"/>
                  </a:lnTo>
                  <a:lnTo>
                    <a:pt x="2010" y="955"/>
                  </a:lnTo>
                  <a:lnTo>
                    <a:pt x="2006" y="904"/>
                  </a:lnTo>
                  <a:lnTo>
                    <a:pt x="1999" y="854"/>
                  </a:lnTo>
                  <a:lnTo>
                    <a:pt x="1991" y="804"/>
                  </a:lnTo>
                  <a:lnTo>
                    <a:pt x="1979" y="755"/>
                  </a:lnTo>
                  <a:lnTo>
                    <a:pt x="1966" y="708"/>
                  </a:lnTo>
                  <a:lnTo>
                    <a:pt x="1950" y="660"/>
                  </a:lnTo>
                  <a:lnTo>
                    <a:pt x="1932" y="615"/>
                  </a:lnTo>
                  <a:lnTo>
                    <a:pt x="1912" y="571"/>
                  </a:lnTo>
                  <a:lnTo>
                    <a:pt x="1890" y="526"/>
                  </a:lnTo>
                  <a:lnTo>
                    <a:pt x="1866" y="485"/>
                  </a:lnTo>
                  <a:lnTo>
                    <a:pt x="1839" y="444"/>
                  </a:lnTo>
                  <a:lnTo>
                    <a:pt x="1811" y="404"/>
                  </a:lnTo>
                  <a:lnTo>
                    <a:pt x="1781" y="366"/>
                  </a:lnTo>
                  <a:lnTo>
                    <a:pt x="1750" y="330"/>
                  </a:lnTo>
                  <a:lnTo>
                    <a:pt x="1717" y="295"/>
                  </a:lnTo>
                  <a:lnTo>
                    <a:pt x="1681" y="261"/>
                  </a:lnTo>
                  <a:lnTo>
                    <a:pt x="1645" y="229"/>
                  </a:lnTo>
                  <a:lnTo>
                    <a:pt x="1607" y="200"/>
                  </a:lnTo>
                  <a:lnTo>
                    <a:pt x="1568" y="172"/>
                  </a:lnTo>
                  <a:lnTo>
                    <a:pt x="1527" y="146"/>
                  </a:lnTo>
                  <a:lnTo>
                    <a:pt x="1484" y="121"/>
                  </a:lnTo>
                  <a:lnTo>
                    <a:pt x="1441" y="99"/>
                  </a:lnTo>
                  <a:lnTo>
                    <a:pt x="1397" y="79"/>
                  </a:lnTo>
                  <a:lnTo>
                    <a:pt x="1351" y="61"/>
                  </a:lnTo>
                  <a:lnTo>
                    <a:pt x="1304" y="45"/>
                  </a:lnTo>
                  <a:lnTo>
                    <a:pt x="1257" y="31"/>
                  </a:lnTo>
                  <a:lnTo>
                    <a:pt x="1208" y="20"/>
                  </a:lnTo>
                  <a:lnTo>
                    <a:pt x="1158" y="11"/>
                  </a:lnTo>
                  <a:lnTo>
                    <a:pt x="1108" y="5"/>
                  </a:lnTo>
                  <a:lnTo>
                    <a:pt x="1057" y="1"/>
                  </a:lnTo>
                  <a:lnTo>
                    <a:pt x="10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33" name="íṧļíḋê">
              <a:extLst>
                <a:ext uri="{FF2B5EF4-FFF2-40B4-BE49-F238E27FC236}">
                  <a16:creationId xmlns:a16="http://schemas.microsoft.com/office/drawing/2014/main" id="{77B6B23B-33E4-4EBB-93CC-56951E8DBF72}"/>
                </a:ext>
              </a:extLst>
            </p:cNvPr>
            <p:cNvSpPr/>
            <p:nvPr/>
          </p:nvSpPr>
          <p:spPr bwMode="auto">
            <a:xfrm>
              <a:off x="4558752" y="2028195"/>
              <a:ext cx="524401" cy="508733"/>
            </a:xfrm>
            <a:custGeom>
              <a:avLst/>
              <a:gdLst>
                <a:gd name="T0" fmla="*/ 8272 w 16095"/>
                <a:gd name="T1" fmla="*/ 10861 h 15614"/>
                <a:gd name="T2" fmla="*/ 7663 w 16095"/>
                <a:gd name="T3" fmla="*/ 10157 h 15614"/>
                <a:gd name="T4" fmla="*/ 7592 w 16095"/>
                <a:gd name="T5" fmla="*/ 9193 h 15614"/>
                <a:gd name="T6" fmla="*/ 8095 w 16095"/>
                <a:gd name="T7" fmla="*/ 8404 h 15614"/>
                <a:gd name="T8" fmla="*/ 8976 w 16095"/>
                <a:gd name="T9" fmla="*/ 8061 h 15614"/>
                <a:gd name="T10" fmla="*/ 13895 w 16095"/>
                <a:gd name="T11" fmla="*/ 8004 h 15614"/>
                <a:gd name="T12" fmla="*/ 14225 w 16095"/>
                <a:gd name="T13" fmla="*/ 7822 h 15614"/>
                <a:gd name="T14" fmla="*/ 14471 w 16095"/>
                <a:gd name="T15" fmla="*/ 7513 h 15614"/>
                <a:gd name="T16" fmla="*/ 14715 w 16095"/>
                <a:gd name="T17" fmla="*/ 7669 h 15614"/>
                <a:gd name="T18" fmla="*/ 14993 w 16095"/>
                <a:gd name="T19" fmla="*/ 8335 h 15614"/>
                <a:gd name="T20" fmla="*/ 15089 w 16095"/>
                <a:gd name="T21" fmla="*/ 9066 h 15614"/>
                <a:gd name="T22" fmla="*/ 14939 w 16095"/>
                <a:gd name="T23" fmla="*/ 9973 h 15614"/>
                <a:gd name="T24" fmla="*/ 14509 w 16095"/>
                <a:gd name="T25" fmla="*/ 10768 h 15614"/>
                <a:gd name="T26" fmla="*/ 13502 w 16095"/>
                <a:gd name="T27" fmla="*/ 13368 h 15614"/>
                <a:gd name="T28" fmla="*/ 12873 w 16095"/>
                <a:gd name="T29" fmla="*/ 14256 h 15614"/>
                <a:gd name="T30" fmla="*/ 11820 w 16095"/>
                <a:gd name="T31" fmla="*/ 14607 h 15614"/>
                <a:gd name="T32" fmla="*/ 1782 w 16095"/>
                <a:gd name="T33" fmla="*/ 14305 h 15614"/>
                <a:gd name="T34" fmla="*/ 1113 w 16095"/>
                <a:gd name="T35" fmla="*/ 13450 h 15614"/>
                <a:gd name="T36" fmla="*/ 1239 w 16095"/>
                <a:gd name="T37" fmla="*/ 5079 h 15614"/>
                <a:gd name="T38" fmla="*/ 1927 w 16095"/>
                <a:gd name="T39" fmla="*/ 5411 h 15614"/>
                <a:gd name="T40" fmla="*/ 2704 w 16095"/>
                <a:gd name="T41" fmla="*/ 5539 h 15614"/>
                <a:gd name="T42" fmla="*/ 13317 w 16095"/>
                <a:gd name="T43" fmla="*/ 5601 h 15614"/>
                <a:gd name="T44" fmla="*/ 13531 w 16095"/>
                <a:gd name="T45" fmla="*/ 5826 h 15614"/>
                <a:gd name="T46" fmla="*/ 8796 w 16095"/>
                <a:gd name="T47" fmla="*/ 7065 h 15614"/>
                <a:gd name="T48" fmla="*/ 7362 w 16095"/>
                <a:gd name="T49" fmla="*/ 7705 h 15614"/>
                <a:gd name="T50" fmla="*/ 6590 w 16095"/>
                <a:gd name="T51" fmla="*/ 9062 h 15614"/>
                <a:gd name="T52" fmla="*/ 6787 w 16095"/>
                <a:gd name="T53" fmla="*/ 10662 h 15614"/>
                <a:gd name="T54" fmla="*/ 7854 w 16095"/>
                <a:gd name="T55" fmla="*/ 11784 h 15614"/>
                <a:gd name="T56" fmla="*/ 12574 w 16095"/>
                <a:gd name="T57" fmla="*/ 4029 h 15614"/>
                <a:gd name="T58" fmla="*/ 2279 w 16095"/>
                <a:gd name="T59" fmla="*/ 4461 h 15614"/>
                <a:gd name="T60" fmla="*/ 12574 w 16095"/>
                <a:gd name="T61" fmla="*/ 3526 h 15614"/>
                <a:gd name="T62" fmla="*/ 13203 w 16095"/>
                <a:gd name="T63" fmla="*/ 1023 h 15614"/>
                <a:gd name="T64" fmla="*/ 13465 w 16095"/>
                <a:gd name="T65" fmla="*/ 1191 h 15614"/>
                <a:gd name="T66" fmla="*/ 13580 w 16095"/>
                <a:gd name="T67" fmla="*/ 1485 h 15614"/>
                <a:gd name="T68" fmla="*/ 13305 w 16095"/>
                <a:gd name="T69" fmla="*/ 4552 h 15614"/>
                <a:gd name="T70" fmla="*/ 13074 w 16095"/>
                <a:gd name="T71" fmla="*/ 1963 h 15614"/>
                <a:gd name="T72" fmla="*/ 12946 w 16095"/>
                <a:gd name="T73" fmla="*/ 1676 h 15614"/>
                <a:gd name="T74" fmla="*/ 12675 w 16095"/>
                <a:gd name="T75" fmla="*/ 1521 h 15614"/>
                <a:gd name="T76" fmla="*/ 1816 w 16095"/>
                <a:gd name="T77" fmla="*/ 1550 h 15614"/>
                <a:gd name="T78" fmla="*/ 1581 w 16095"/>
                <a:gd name="T79" fmla="*/ 1754 h 15614"/>
                <a:gd name="T80" fmla="*/ 1508 w 16095"/>
                <a:gd name="T81" fmla="*/ 4000 h 15614"/>
                <a:gd name="T82" fmla="*/ 1194 w 16095"/>
                <a:gd name="T83" fmla="*/ 3561 h 15614"/>
                <a:gd name="T84" fmla="*/ 1026 w 16095"/>
                <a:gd name="T85" fmla="*/ 3034 h 15614"/>
                <a:gd name="T86" fmla="*/ 1113 w 16095"/>
                <a:gd name="T87" fmla="*/ 2164 h 15614"/>
                <a:gd name="T88" fmla="*/ 1782 w 16095"/>
                <a:gd name="T89" fmla="*/ 1309 h 15614"/>
                <a:gd name="T90" fmla="*/ 14587 w 16095"/>
                <a:gd name="T91" fmla="*/ 6044 h 15614"/>
                <a:gd name="T92" fmla="*/ 14437 w 16095"/>
                <a:gd name="T93" fmla="*/ 856 h 15614"/>
                <a:gd name="T94" fmla="*/ 13796 w 16095"/>
                <a:gd name="T95" fmla="*/ 182 h 15614"/>
                <a:gd name="T96" fmla="*/ 2624 w 16095"/>
                <a:gd name="T97" fmla="*/ 4 h 15614"/>
                <a:gd name="T98" fmla="*/ 1008 w 16095"/>
                <a:gd name="T99" fmla="*/ 634 h 15614"/>
                <a:gd name="T100" fmla="*/ 88 w 16095"/>
                <a:gd name="T101" fmla="*/ 2079 h 15614"/>
                <a:gd name="T102" fmla="*/ 168 w 16095"/>
                <a:gd name="T103" fmla="*/ 13795 h 15614"/>
                <a:gd name="T104" fmla="*/ 1220 w 16095"/>
                <a:gd name="T105" fmla="*/ 15141 h 15614"/>
                <a:gd name="T106" fmla="*/ 11820 w 16095"/>
                <a:gd name="T107" fmla="*/ 15614 h 15614"/>
                <a:gd name="T108" fmla="*/ 13474 w 16095"/>
                <a:gd name="T109" fmla="*/ 15063 h 15614"/>
                <a:gd name="T110" fmla="*/ 14461 w 16095"/>
                <a:gd name="T111" fmla="*/ 13667 h 15614"/>
                <a:gd name="T112" fmla="*/ 15382 w 16095"/>
                <a:gd name="T113" fmla="*/ 11280 h 15614"/>
                <a:gd name="T114" fmla="*/ 16072 w 16095"/>
                <a:gd name="T115" fmla="*/ 8642 h 15614"/>
                <a:gd name="T116" fmla="*/ 14769 w 16095"/>
                <a:gd name="T117" fmla="*/ 6190 h 15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095" h="15614">
                  <a:moveTo>
                    <a:pt x="14223" y="11081"/>
                  </a:moveTo>
                  <a:lnTo>
                    <a:pt x="9053" y="11081"/>
                  </a:lnTo>
                  <a:lnTo>
                    <a:pt x="8976" y="11079"/>
                  </a:lnTo>
                  <a:lnTo>
                    <a:pt x="8900" y="11073"/>
                  </a:lnTo>
                  <a:lnTo>
                    <a:pt x="8824" y="11064"/>
                  </a:lnTo>
                  <a:lnTo>
                    <a:pt x="8750" y="11050"/>
                  </a:lnTo>
                  <a:lnTo>
                    <a:pt x="8677" y="11034"/>
                  </a:lnTo>
                  <a:lnTo>
                    <a:pt x="8606" y="11012"/>
                  </a:lnTo>
                  <a:lnTo>
                    <a:pt x="8535" y="10989"/>
                  </a:lnTo>
                  <a:lnTo>
                    <a:pt x="8467" y="10962"/>
                  </a:lnTo>
                  <a:lnTo>
                    <a:pt x="8400" y="10932"/>
                  </a:lnTo>
                  <a:lnTo>
                    <a:pt x="8335" y="10899"/>
                  </a:lnTo>
                  <a:lnTo>
                    <a:pt x="8272" y="10861"/>
                  </a:lnTo>
                  <a:lnTo>
                    <a:pt x="8210" y="10822"/>
                  </a:lnTo>
                  <a:lnTo>
                    <a:pt x="8151" y="10781"/>
                  </a:lnTo>
                  <a:lnTo>
                    <a:pt x="8095" y="10735"/>
                  </a:lnTo>
                  <a:lnTo>
                    <a:pt x="8039" y="10688"/>
                  </a:lnTo>
                  <a:lnTo>
                    <a:pt x="7987" y="10638"/>
                  </a:lnTo>
                  <a:lnTo>
                    <a:pt x="7937" y="10585"/>
                  </a:lnTo>
                  <a:lnTo>
                    <a:pt x="7890" y="10531"/>
                  </a:lnTo>
                  <a:lnTo>
                    <a:pt x="7844" y="10473"/>
                  </a:lnTo>
                  <a:lnTo>
                    <a:pt x="7803" y="10414"/>
                  </a:lnTo>
                  <a:lnTo>
                    <a:pt x="7764" y="10353"/>
                  </a:lnTo>
                  <a:lnTo>
                    <a:pt x="7727" y="10289"/>
                  </a:lnTo>
                  <a:lnTo>
                    <a:pt x="7693" y="10225"/>
                  </a:lnTo>
                  <a:lnTo>
                    <a:pt x="7663" y="10157"/>
                  </a:lnTo>
                  <a:lnTo>
                    <a:pt x="7636" y="10089"/>
                  </a:lnTo>
                  <a:lnTo>
                    <a:pt x="7613" y="10019"/>
                  </a:lnTo>
                  <a:lnTo>
                    <a:pt x="7592" y="9947"/>
                  </a:lnTo>
                  <a:lnTo>
                    <a:pt x="7576" y="9874"/>
                  </a:lnTo>
                  <a:lnTo>
                    <a:pt x="7562" y="9800"/>
                  </a:lnTo>
                  <a:lnTo>
                    <a:pt x="7553" y="9724"/>
                  </a:lnTo>
                  <a:lnTo>
                    <a:pt x="7547" y="9647"/>
                  </a:lnTo>
                  <a:lnTo>
                    <a:pt x="7545" y="9570"/>
                  </a:lnTo>
                  <a:lnTo>
                    <a:pt x="7547" y="9492"/>
                  </a:lnTo>
                  <a:lnTo>
                    <a:pt x="7553" y="9416"/>
                  </a:lnTo>
                  <a:lnTo>
                    <a:pt x="7562" y="9340"/>
                  </a:lnTo>
                  <a:lnTo>
                    <a:pt x="7576" y="9266"/>
                  </a:lnTo>
                  <a:lnTo>
                    <a:pt x="7592" y="9193"/>
                  </a:lnTo>
                  <a:lnTo>
                    <a:pt x="7613" y="9121"/>
                  </a:lnTo>
                  <a:lnTo>
                    <a:pt x="7636" y="9051"/>
                  </a:lnTo>
                  <a:lnTo>
                    <a:pt x="7663" y="8983"/>
                  </a:lnTo>
                  <a:lnTo>
                    <a:pt x="7693" y="8915"/>
                  </a:lnTo>
                  <a:lnTo>
                    <a:pt x="7727" y="8851"/>
                  </a:lnTo>
                  <a:lnTo>
                    <a:pt x="7764" y="8787"/>
                  </a:lnTo>
                  <a:lnTo>
                    <a:pt x="7803" y="8726"/>
                  </a:lnTo>
                  <a:lnTo>
                    <a:pt x="7844" y="8666"/>
                  </a:lnTo>
                  <a:lnTo>
                    <a:pt x="7890" y="8609"/>
                  </a:lnTo>
                  <a:lnTo>
                    <a:pt x="7937" y="8554"/>
                  </a:lnTo>
                  <a:lnTo>
                    <a:pt x="7987" y="8502"/>
                  </a:lnTo>
                  <a:lnTo>
                    <a:pt x="8039" y="8452"/>
                  </a:lnTo>
                  <a:lnTo>
                    <a:pt x="8095" y="8404"/>
                  </a:lnTo>
                  <a:lnTo>
                    <a:pt x="8151" y="8359"/>
                  </a:lnTo>
                  <a:lnTo>
                    <a:pt x="8210" y="8318"/>
                  </a:lnTo>
                  <a:lnTo>
                    <a:pt x="8272" y="8278"/>
                  </a:lnTo>
                  <a:lnTo>
                    <a:pt x="8335" y="8241"/>
                  </a:lnTo>
                  <a:lnTo>
                    <a:pt x="8400" y="8208"/>
                  </a:lnTo>
                  <a:lnTo>
                    <a:pt x="8467" y="8178"/>
                  </a:lnTo>
                  <a:lnTo>
                    <a:pt x="8535" y="8151"/>
                  </a:lnTo>
                  <a:lnTo>
                    <a:pt x="8606" y="8127"/>
                  </a:lnTo>
                  <a:lnTo>
                    <a:pt x="8677" y="8106"/>
                  </a:lnTo>
                  <a:lnTo>
                    <a:pt x="8750" y="8090"/>
                  </a:lnTo>
                  <a:lnTo>
                    <a:pt x="8824" y="8076"/>
                  </a:lnTo>
                  <a:lnTo>
                    <a:pt x="8900" y="8067"/>
                  </a:lnTo>
                  <a:lnTo>
                    <a:pt x="8976" y="8061"/>
                  </a:lnTo>
                  <a:lnTo>
                    <a:pt x="9053" y="8059"/>
                  </a:lnTo>
                  <a:lnTo>
                    <a:pt x="13580" y="8059"/>
                  </a:lnTo>
                  <a:lnTo>
                    <a:pt x="13609" y="8058"/>
                  </a:lnTo>
                  <a:lnTo>
                    <a:pt x="13639" y="8057"/>
                  </a:lnTo>
                  <a:lnTo>
                    <a:pt x="13668" y="8054"/>
                  </a:lnTo>
                  <a:lnTo>
                    <a:pt x="13697" y="8051"/>
                  </a:lnTo>
                  <a:lnTo>
                    <a:pt x="13725" y="8047"/>
                  </a:lnTo>
                  <a:lnTo>
                    <a:pt x="13754" y="8042"/>
                  </a:lnTo>
                  <a:lnTo>
                    <a:pt x="13782" y="8036"/>
                  </a:lnTo>
                  <a:lnTo>
                    <a:pt x="13811" y="8029"/>
                  </a:lnTo>
                  <a:lnTo>
                    <a:pt x="13840" y="8022"/>
                  </a:lnTo>
                  <a:lnTo>
                    <a:pt x="13867" y="8014"/>
                  </a:lnTo>
                  <a:lnTo>
                    <a:pt x="13895" y="8004"/>
                  </a:lnTo>
                  <a:lnTo>
                    <a:pt x="13922" y="7994"/>
                  </a:lnTo>
                  <a:lnTo>
                    <a:pt x="13949" y="7984"/>
                  </a:lnTo>
                  <a:lnTo>
                    <a:pt x="13976" y="7973"/>
                  </a:lnTo>
                  <a:lnTo>
                    <a:pt x="14004" y="7961"/>
                  </a:lnTo>
                  <a:lnTo>
                    <a:pt x="14030" y="7949"/>
                  </a:lnTo>
                  <a:lnTo>
                    <a:pt x="14055" y="7935"/>
                  </a:lnTo>
                  <a:lnTo>
                    <a:pt x="14081" y="7921"/>
                  </a:lnTo>
                  <a:lnTo>
                    <a:pt x="14106" y="7907"/>
                  </a:lnTo>
                  <a:lnTo>
                    <a:pt x="14130" y="7891"/>
                  </a:lnTo>
                  <a:lnTo>
                    <a:pt x="14155" y="7874"/>
                  </a:lnTo>
                  <a:lnTo>
                    <a:pt x="14179" y="7858"/>
                  </a:lnTo>
                  <a:lnTo>
                    <a:pt x="14202" y="7840"/>
                  </a:lnTo>
                  <a:lnTo>
                    <a:pt x="14225" y="7822"/>
                  </a:lnTo>
                  <a:lnTo>
                    <a:pt x="14247" y="7803"/>
                  </a:lnTo>
                  <a:lnTo>
                    <a:pt x="14268" y="7784"/>
                  </a:lnTo>
                  <a:lnTo>
                    <a:pt x="14289" y="7764"/>
                  </a:lnTo>
                  <a:lnTo>
                    <a:pt x="14310" y="7743"/>
                  </a:lnTo>
                  <a:lnTo>
                    <a:pt x="14331" y="7721"/>
                  </a:lnTo>
                  <a:lnTo>
                    <a:pt x="14350" y="7699"/>
                  </a:lnTo>
                  <a:lnTo>
                    <a:pt x="14368" y="7677"/>
                  </a:lnTo>
                  <a:lnTo>
                    <a:pt x="14386" y="7654"/>
                  </a:lnTo>
                  <a:lnTo>
                    <a:pt x="14405" y="7627"/>
                  </a:lnTo>
                  <a:lnTo>
                    <a:pt x="14423" y="7599"/>
                  </a:lnTo>
                  <a:lnTo>
                    <a:pt x="14440" y="7571"/>
                  </a:lnTo>
                  <a:lnTo>
                    <a:pt x="14456" y="7542"/>
                  </a:lnTo>
                  <a:lnTo>
                    <a:pt x="14471" y="7513"/>
                  </a:lnTo>
                  <a:lnTo>
                    <a:pt x="14486" y="7483"/>
                  </a:lnTo>
                  <a:lnTo>
                    <a:pt x="14499" y="7452"/>
                  </a:lnTo>
                  <a:lnTo>
                    <a:pt x="14512" y="7421"/>
                  </a:lnTo>
                  <a:lnTo>
                    <a:pt x="14516" y="7414"/>
                  </a:lnTo>
                  <a:lnTo>
                    <a:pt x="14520" y="7406"/>
                  </a:lnTo>
                  <a:lnTo>
                    <a:pt x="14525" y="7399"/>
                  </a:lnTo>
                  <a:lnTo>
                    <a:pt x="14529" y="7391"/>
                  </a:lnTo>
                  <a:lnTo>
                    <a:pt x="14562" y="7435"/>
                  </a:lnTo>
                  <a:lnTo>
                    <a:pt x="14594" y="7481"/>
                  </a:lnTo>
                  <a:lnTo>
                    <a:pt x="14625" y="7527"/>
                  </a:lnTo>
                  <a:lnTo>
                    <a:pt x="14657" y="7573"/>
                  </a:lnTo>
                  <a:lnTo>
                    <a:pt x="14686" y="7621"/>
                  </a:lnTo>
                  <a:lnTo>
                    <a:pt x="14715" y="7669"/>
                  </a:lnTo>
                  <a:lnTo>
                    <a:pt x="14742" y="7717"/>
                  </a:lnTo>
                  <a:lnTo>
                    <a:pt x="14768" y="7766"/>
                  </a:lnTo>
                  <a:lnTo>
                    <a:pt x="14794" y="7815"/>
                  </a:lnTo>
                  <a:lnTo>
                    <a:pt x="14818" y="7865"/>
                  </a:lnTo>
                  <a:lnTo>
                    <a:pt x="14843" y="7916"/>
                  </a:lnTo>
                  <a:lnTo>
                    <a:pt x="14865" y="7966"/>
                  </a:lnTo>
                  <a:lnTo>
                    <a:pt x="14886" y="8018"/>
                  </a:lnTo>
                  <a:lnTo>
                    <a:pt x="14907" y="8070"/>
                  </a:lnTo>
                  <a:lnTo>
                    <a:pt x="14926" y="8122"/>
                  </a:lnTo>
                  <a:lnTo>
                    <a:pt x="14944" y="8175"/>
                  </a:lnTo>
                  <a:lnTo>
                    <a:pt x="14961" y="8228"/>
                  </a:lnTo>
                  <a:lnTo>
                    <a:pt x="14978" y="8281"/>
                  </a:lnTo>
                  <a:lnTo>
                    <a:pt x="14993" y="8335"/>
                  </a:lnTo>
                  <a:lnTo>
                    <a:pt x="15008" y="8389"/>
                  </a:lnTo>
                  <a:lnTo>
                    <a:pt x="15020" y="8444"/>
                  </a:lnTo>
                  <a:lnTo>
                    <a:pt x="15032" y="8499"/>
                  </a:lnTo>
                  <a:lnTo>
                    <a:pt x="15043" y="8554"/>
                  </a:lnTo>
                  <a:lnTo>
                    <a:pt x="15053" y="8610"/>
                  </a:lnTo>
                  <a:lnTo>
                    <a:pt x="15061" y="8666"/>
                  </a:lnTo>
                  <a:lnTo>
                    <a:pt x="15069" y="8723"/>
                  </a:lnTo>
                  <a:lnTo>
                    <a:pt x="15075" y="8779"/>
                  </a:lnTo>
                  <a:lnTo>
                    <a:pt x="15080" y="8837"/>
                  </a:lnTo>
                  <a:lnTo>
                    <a:pt x="15084" y="8893"/>
                  </a:lnTo>
                  <a:lnTo>
                    <a:pt x="15087" y="8950"/>
                  </a:lnTo>
                  <a:lnTo>
                    <a:pt x="15089" y="9008"/>
                  </a:lnTo>
                  <a:lnTo>
                    <a:pt x="15089" y="9066"/>
                  </a:lnTo>
                  <a:lnTo>
                    <a:pt x="15088" y="9139"/>
                  </a:lnTo>
                  <a:lnTo>
                    <a:pt x="15086" y="9210"/>
                  </a:lnTo>
                  <a:lnTo>
                    <a:pt x="15081" y="9283"/>
                  </a:lnTo>
                  <a:lnTo>
                    <a:pt x="15075" y="9353"/>
                  </a:lnTo>
                  <a:lnTo>
                    <a:pt x="15067" y="9425"/>
                  </a:lnTo>
                  <a:lnTo>
                    <a:pt x="15057" y="9495"/>
                  </a:lnTo>
                  <a:lnTo>
                    <a:pt x="15045" y="9565"/>
                  </a:lnTo>
                  <a:lnTo>
                    <a:pt x="15032" y="9634"/>
                  </a:lnTo>
                  <a:lnTo>
                    <a:pt x="15017" y="9704"/>
                  </a:lnTo>
                  <a:lnTo>
                    <a:pt x="15000" y="9771"/>
                  </a:lnTo>
                  <a:lnTo>
                    <a:pt x="14981" y="9840"/>
                  </a:lnTo>
                  <a:lnTo>
                    <a:pt x="14961" y="9906"/>
                  </a:lnTo>
                  <a:lnTo>
                    <a:pt x="14939" y="9973"/>
                  </a:lnTo>
                  <a:lnTo>
                    <a:pt x="14916" y="10039"/>
                  </a:lnTo>
                  <a:lnTo>
                    <a:pt x="14891" y="10104"/>
                  </a:lnTo>
                  <a:lnTo>
                    <a:pt x="14864" y="10168"/>
                  </a:lnTo>
                  <a:lnTo>
                    <a:pt x="14836" y="10233"/>
                  </a:lnTo>
                  <a:lnTo>
                    <a:pt x="14805" y="10295"/>
                  </a:lnTo>
                  <a:lnTo>
                    <a:pt x="14773" y="10358"/>
                  </a:lnTo>
                  <a:lnTo>
                    <a:pt x="14740" y="10419"/>
                  </a:lnTo>
                  <a:lnTo>
                    <a:pt x="14706" y="10480"/>
                  </a:lnTo>
                  <a:lnTo>
                    <a:pt x="14670" y="10539"/>
                  </a:lnTo>
                  <a:lnTo>
                    <a:pt x="14631" y="10597"/>
                  </a:lnTo>
                  <a:lnTo>
                    <a:pt x="14592" y="10655"/>
                  </a:lnTo>
                  <a:lnTo>
                    <a:pt x="14551" y="10712"/>
                  </a:lnTo>
                  <a:lnTo>
                    <a:pt x="14509" y="10768"/>
                  </a:lnTo>
                  <a:lnTo>
                    <a:pt x="14464" y="10823"/>
                  </a:lnTo>
                  <a:lnTo>
                    <a:pt x="14419" y="10876"/>
                  </a:lnTo>
                  <a:lnTo>
                    <a:pt x="14372" y="10929"/>
                  </a:lnTo>
                  <a:lnTo>
                    <a:pt x="14324" y="10981"/>
                  </a:lnTo>
                  <a:lnTo>
                    <a:pt x="14274" y="11032"/>
                  </a:lnTo>
                  <a:lnTo>
                    <a:pt x="14223" y="11081"/>
                  </a:lnTo>
                  <a:close/>
                  <a:moveTo>
                    <a:pt x="13580" y="12844"/>
                  </a:moveTo>
                  <a:lnTo>
                    <a:pt x="13578" y="12934"/>
                  </a:lnTo>
                  <a:lnTo>
                    <a:pt x="13571" y="13024"/>
                  </a:lnTo>
                  <a:lnTo>
                    <a:pt x="13560" y="13113"/>
                  </a:lnTo>
                  <a:lnTo>
                    <a:pt x="13545" y="13199"/>
                  </a:lnTo>
                  <a:lnTo>
                    <a:pt x="13525" y="13284"/>
                  </a:lnTo>
                  <a:lnTo>
                    <a:pt x="13502" y="13368"/>
                  </a:lnTo>
                  <a:lnTo>
                    <a:pt x="13474" y="13450"/>
                  </a:lnTo>
                  <a:lnTo>
                    <a:pt x="13442" y="13530"/>
                  </a:lnTo>
                  <a:lnTo>
                    <a:pt x="13407" y="13608"/>
                  </a:lnTo>
                  <a:lnTo>
                    <a:pt x="13368" y="13684"/>
                  </a:lnTo>
                  <a:lnTo>
                    <a:pt x="13326" y="13758"/>
                  </a:lnTo>
                  <a:lnTo>
                    <a:pt x="13279" y="13830"/>
                  </a:lnTo>
                  <a:lnTo>
                    <a:pt x="13231" y="13898"/>
                  </a:lnTo>
                  <a:lnTo>
                    <a:pt x="13179" y="13965"/>
                  </a:lnTo>
                  <a:lnTo>
                    <a:pt x="13123" y="14029"/>
                  </a:lnTo>
                  <a:lnTo>
                    <a:pt x="13065" y="14091"/>
                  </a:lnTo>
                  <a:lnTo>
                    <a:pt x="13004" y="14148"/>
                  </a:lnTo>
                  <a:lnTo>
                    <a:pt x="12939" y="14204"/>
                  </a:lnTo>
                  <a:lnTo>
                    <a:pt x="12873" y="14256"/>
                  </a:lnTo>
                  <a:lnTo>
                    <a:pt x="12805" y="14305"/>
                  </a:lnTo>
                  <a:lnTo>
                    <a:pt x="12733" y="14352"/>
                  </a:lnTo>
                  <a:lnTo>
                    <a:pt x="12659" y="14394"/>
                  </a:lnTo>
                  <a:lnTo>
                    <a:pt x="12583" y="14432"/>
                  </a:lnTo>
                  <a:lnTo>
                    <a:pt x="12505" y="14468"/>
                  </a:lnTo>
                  <a:lnTo>
                    <a:pt x="12425" y="14500"/>
                  </a:lnTo>
                  <a:lnTo>
                    <a:pt x="12343" y="14527"/>
                  </a:lnTo>
                  <a:lnTo>
                    <a:pt x="12259" y="14551"/>
                  </a:lnTo>
                  <a:lnTo>
                    <a:pt x="12175" y="14571"/>
                  </a:lnTo>
                  <a:lnTo>
                    <a:pt x="12088" y="14586"/>
                  </a:lnTo>
                  <a:lnTo>
                    <a:pt x="12000" y="14598"/>
                  </a:lnTo>
                  <a:lnTo>
                    <a:pt x="11910" y="14605"/>
                  </a:lnTo>
                  <a:lnTo>
                    <a:pt x="11820" y="14607"/>
                  </a:lnTo>
                  <a:lnTo>
                    <a:pt x="2766" y="14607"/>
                  </a:lnTo>
                  <a:lnTo>
                    <a:pt x="2676" y="14605"/>
                  </a:lnTo>
                  <a:lnTo>
                    <a:pt x="2586" y="14598"/>
                  </a:lnTo>
                  <a:lnTo>
                    <a:pt x="2498" y="14586"/>
                  </a:lnTo>
                  <a:lnTo>
                    <a:pt x="2411" y="14571"/>
                  </a:lnTo>
                  <a:lnTo>
                    <a:pt x="2327" y="14551"/>
                  </a:lnTo>
                  <a:lnTo>
                    <a:pt x="2243" y="14527"/>
                  </a:lnTo>
                  <a:lnTo>
                    <a:pt x="2161" y="14500"/>
                  </a:lnTo>
                  <a:lnTo>
                    <a:pt x="2081" y="14468"/>
                  </a:lnTo>
                  <a:lnTo>
                    <a:pt x="2003" y="14432"/>
                  </a:lnTo>
                  <a:lnTo>
                    <a:pt x="1927" y="14394"/>
                  </a:lnTo>
                  <a:lnTo>
                    <a:pt x="1853" y="14352"/>
                  </a:lnTo>
                  <a:lnTo>
                    <a:pt x="1782" y="14305"/>
                  </a:lnTo>
                  <a:lnTo>
                    <a:pt x="1713" y="14256"/>
                  </a:lnTo>
                  <a:lnTo>
                    <a:pt x="1647" y="14204"/>
                  </a:lnTo>
                  <a:lnTo>
                    <a:pt x="1582" y="14148"/>
                  </a:lnTo>
                  <a:lnTo>
                    <a:pt x="1521" y="14091"/>
                  </a:lnTo>
                  <a:lnTo>
                    <a:pt x="1464" y="14029"/>
                  </a:lnTo>
                  <a:lnTo>
                    <a:pt x="1408" y="13965"/>
                  </a:lnTo>
                  <a:lnTo>
                    <a:pt x="1356" y="13898"/>
                  </a:lnTo>
                  <a:lnTo>
                    <a:pt x="1307" y="13830"/>
                  </a:lnTo>
                  <a:lnTo>
                    <a:pt x="1260" y="13758"/>
                  </a:lnTo>
                  <a:lnTo>
                    <a:pt x="1218" y="13684"/>
                  </a:lnTo>
                  <a:lnTo>
                    <a:pt x="1180" y="13608"/>
                  </a:lnTo>
                  <a:lnTo>
                    <a:pt x="1145" y="13530"/>
                  </a:lnTo>
                  <a:lnTo>
                    <a:pt x="1113" y="13450"/>
                  </a:lnTo>
                  <a:lnTo>
                    <a:pt x="1085" y="13368"/>
                  </a:lnTo>
                  <a:lnTo>
                    <a:pt x="1061" y="13284"/>
                  </a:lnTo>
                  <a:lnTo>
                    <a:pt x="1041" y="13199"/>
                  </a:lnTo>
                  <a:lnTo>
                    <a:pt x="1026" y="13113"/>
                  </a:lnTo>
                  <a:lnTo>
                    <a:pt x="1015" y="13024"/>
                  </a:lnTo>
                  <a:lnTo>
                    <a:pt x="1008" y="12934"/>
                  </a:lnTo>
                  <a:lnTo>
                    <a:pt x="1006" y="12844"/>
                  </a:lnTo>
                  <a:lnTo>
                    <a:pt x="1006" y="4905"/>
                  </a:lnTo>
                  <a:lnTo>
                    <a:pt x="1051" y="4942"/>
                  </a:lnTo>
                  <a:lnTo>
                    <a:pt x="1097" y="4977"/>
                  </a:lnTo>
                  <a:lnTo>
                    <a:pt x="1144" y="5013"/>
                  </a:lnTo>
                  <a:lnTo>
                    <a:pt x="1191" y="5046"/>
                  </a:lnTo>
                  <a:lnTo>
                    <a:pt x="1239" y="5079"/>
                  </a:lnTo>
                  <a:lnTo>
                    <a:pt x="1289" y="5111"/>
                  </a:lnTo>
                  <a:lnTo>
                    <a:pt x="1338" y="5142"/>
                  </a:lnTo>
                  <a:lnTo>
                    <a:pt x="1389" y="5172"/>
                  </a:lnTo>
                  <a:lnTo>
                    <a:pt x="1439" y="5201"/>
                  </a:lnTo>
                  <a:lnTo>
                    <a:pt x="1492" y="5228"/>
                  </a:lnTo>
                  <a:lnTo>
                    <a:pt x="1544" y="5255"/>
                  </a:lnTo>
                  <a:lnTo>
                    <a:pt x="1596" y="5281"/>
                  </a:lnTo>
                  <a:lnTo>
                    <a:pt x="1651" y="5305"/>
                  </a:lnTo>
                  <a:lnTo>
                    <a:pt x="1705" y="5328"/>
                  </a:lnTo>
                  <a:lnTo>
                    <a:pt x="1759" y="5350"/>
                  </a:lnTo>
                  <a:lnTo>
                    <a:pt x="1815" y="5371"/>
                  </a:lnTo>
                  <a:lnTo>
                    <a:pt x="1871" y="5391"/>
                  </a:lnTo>
                  <a:lnTo>
                    <a:pt x="1927" y="5411"/>
                  </a:lnTo>
                  <a:lnTo>
                    <a:pt x="1984" y="5428"/>
                  </a:lnTo>
                  <a:lnTo>
                    <a:pt x="2042" y="5444"/>
                  </a:lnTo>
                  <a:lnTo>
                    <a:pt x="2099" y="5459"/>
                  </a:lnTo>
                  <a:lnTo>
                    <a:pt x="2158" y="5473"/>
                  </a:lnTo>
                  <a:lnTo>
                    <a:pt x="2217" y="5486"/>
                  </a:lnTo>
                  <a:lnTo>
                    <a:pt x="2276" y="5497"/>
                  </a:lnTo>
                  <a:lnTo>
                    <a:pt x="2337" y="5507"/>
                  </a:lnTo>
                  <a:lnTo>
                    <a:pt x="2396" y="5516"/>
                  </a:lnTo>
                  <a:lnTo>
                    <a:pt x="2458" y="5523"/>
                  </a:lnTo>
                  <a:lnTo>
                    <a:pt x="2518" y="5529"/>
                  </a:lnTo>
                  <a:lnTo>
                    <a:pt x="2580" y="5534"/>
                  </a:lnTo>
                  <a:lnTo>
                    <a:pt x="2642" y="5537"/>
                  </a:lnTo>
                  <a:lnTo>
                    <a:pt x="2704" y="5539"/>
                  </a:lnTo>
                  <a:lnTo>
                    <a:pt x="2766" y="5540"/>
                  </a:lnTo>
                  <a:lnTo>
                    <a:pt x="11065" y="5540"/>
                  </a:lnTo>
                  <a:lnTo>
                    <a:pt x="13077" y="5540"/>
                  </a:lnTo>
                  <a:lnTo>
                    <a:pt x="13103" y="5541"/>
                  </a:lnTo>
                  <a:lnTo>
                    <a:pt x="13128" y="5543"/>
                  </a:lnTo>
                  <a:lnTo>
                    <a:pt x="13154" y="5546"/>
                  </a:lnTo>
                  <a:lnTo>
                    <a:pt x="13179" y="5551"/>
                  </a:lnTo>
                  <a:lnTo>
                    <a:pt x="13203" y="5557"/>
                  </a:lnTo>
                  <a:lnTo>
                    <a:pt x="13227" y="5564"/>
                  </a:lnTo>
                  <a:lnTo>
                    <a:pt x="13250" y="5571"/>
                  </a:lnTo>
                  <a:lnTo>
                    <a:pt x="13273" y="5580"/>
                  </a:lnTo>
                  <a:lnTo>
                    <a:pt x="13295" y="5590"/>
                  </a:lnTo>
                  <a:lnTo>
                    <a:pt x="13317" y="5601"/>
                  </a:lnTo>
                  <a:lnTo>
                    <a:pt x="13338" y="5613"/>
                  </a:lnTo>
                  <a:lnTo>
                    <a:pt x="13358" y="5626"/>
                  </a:lnTo>
                  <a:lnTo>
                    <a:pt x="13378" y="5640"/>
                  </a:lnTo>
                  <a:lnTo>
                    <a:pt x="13397" y="5655"/>
                  </a:lnTo>
                  <a:lnTo>
                    <a:pt x="13415" y="5671"/>
                  </a:lnTo>
                  <a:lnTo>
                    <a:pt x="13433" y="5688"/>
                  </a:lnTo>
                  <a:lnTo>
                    <a:pt x="13449" y="5706"/>
                  </a:lnTo>
                  <a:lnTo>
                    <a:pt x="13465" y="5724"/>
                  </a:lnTo>
                  <a:lnTo>
                    <a:pt x="13481" y="5743"/>
                  </a:lnTo>
                  <a:lnTo>
                    <a:pt x="13495" y="5762"/>
                  </a:lnTo>
                  <a:lnTo>
                    <a:pt x="13508" y="5783"/>
                  </a:lnTo>
                  <a:lnTo>
                    <a:pt x="13520" y="5804"/>
                  </a:lnTo>
                  <a:lnTo>
                    <a:pt x="13531" y="5826"/>
                  </a:lnTo>
                  <a:lnTo>
                    <a:pt x="13541" y="5848"/>
                  </a:lnTo>
                  <a:lnTo>
                    <a:pt x="13550" y="5871"/>
                  </a:lnTo>
                  <a:lnTo>
                    <a:pt x="13558" y="5894"/>
                  </a:lnTo>
                  <a:lnTo>
                    <a:pt x="13564" y="5918"/>
                  </a:lnTo>
                  <a:lnTo>
                    <a:pt x="13570" y="5942"/>
                  </a:lnTo>
                  <a:lnTo>
                    <a:pt x="13574" y="5968"/>
                  </a:lnTo>
                  <a:lnTo>
                    <a:pt x="13578" y="5993"/>
                  </a:lnTo>
                  <a:lnTo>
                    <a:pt x="13580" y="6018"/>
                  </a:lnTo>
                  <a:lnTo>
                    <a:pt x="13580" y="6044"/>
                  </a:lnTo>
                  <a:lnTo>
                    <a:pt x="13580" y="7051"/>
                  </a:lnTo>
                  <a:lnTo>
                    <a:pt x="9053" y="7051"/>
                  </a:lnTo>
                  <a:lnTo>
                    <a:pt x="8924" y="7055"/>
                  </a:lnTo>
                  <a:lnTo>
                    <a:pt x="8796" y="7065"/>
                  </a:lnTo>
                  <a:lnTo>
                    <a:pt x="8670" y="7081"/>
                  </a:lnTo>
                  <a:lnTo>
                    <a:pt x="8546" y="7103"/>
                  </a:lnTo>
                  <a:lnTo>
                    <a:pt x="8425" y="7131"/>
                  </a:lnTo>
                  <a:lnTo>
                    <a:pt x="8306" y="7164"/>
                  </a:lnTo>
                  <a:lnTo>
                    <a:pt x="8188" y="7205"/>
                  </a:lnTo>
                  <a:lnTo>
                    <a:pt x="8075" y="7249"/>
                  </a:lnTo>
                  <a:lnTo>
                    <a:pt x="7963" y="7299"/>
                  </a:lnTo>
                  <a:lnTo>
                    <a:pt x="7854" y="7356"/>
                  </a:lnTo>
                  <a:lnTo>
                    <a:pt x="7750" y="7416"/>
                  </a:lnTo>
                  <a:lnTo>
                    <a:pt x="7647" y="7482"/>
                  </a:lnTo>
                  <a:lnTo>
                    <a:pt x="7549" y="7552"/>
                  </a:lnTo>
                  <a:lnTo>
                    <a:pt x="7454" y="7627"/>
                  </a:lnTo>
                  <a:lnTo>
                    <a:pt x="7362" y="7705"/>
                  </a:lnTo>
                  <a:lnTo>
                    <a:pt x="7275" y="7789"/>
                  </a:lnTo>
                  <a:lnTo>
                    <a:pt x="7191" y="7877"/>
                  </a:lnTo>
                  <a:lnTo>
                    <a:pt x="7113" y="7968"/>
                  </a:lnTo>
                  <a:lnTo>
                    <a:pt x="7039" y="8063"/>
                  </a:lnTo>
                  <a:lnTo>
                    <a:pt x="6968" y="8162"/>
                  </a:lnTo>
                  <a:lnTo>
                    <a:pt x="6903" y="8264"/>
                  </a:lnTo>
                  <a:lnTo>
                    <a:pt x="6842" y="8369"/>
                  </a:lnTo>
                  <a:lnTo>
                    <a:pt x="6787" y="8478"/>
                  </a:lnTo>
                  <a:lnTo>
                    <a:pt x="6737" y="8590"/>
                  </a:lnTo>
                  <a:lnTo>
                    <a:pt x="6691" y="8704"/>
                  </a:lnTo>
                  <a:lnTo>
                    <a:pt x="6651" y="8820"/>
                  </a:lnTo>
                  <a:lnTo>
                    <a:pt x="6618" y="8940"/>
                  </a:lnTo>
                  <a:lnTo>
                    <a:pt x="6590" y="9062"/>
                  </a:lnTo>
                  <a:lnTo>
                    <a:pt x="6568" y="9186"/>
                  </a:lnTo>
                  <a:lnTo>
                    <a:pt x="6552" y="9312"/>
                  </a:lnTo>
                  <a:lnTo>
                    <a:pt x="6542" y="9440"/>
                  </a:lnTo>
                  <a:lnTo>
                    <a:pt x="6539" y="9570"/>
                  </a:lnTo>
                  <a:lnTo>
                    <a:pt x="6542" y="9700"/>
                  </a:lnTo>
                  <a:lnTo>
                    <a:pt x="6552" y="9828"/>
                  </a:lnTo>
                  <a:lnTo>
                    <a:pt x="6568" y="9954"/>
                  </a:lnTo>
                  <a:lnTo>
                    <a:pt x="6590" y="10078"/>
                  </a:lnTo>
                  <a:lnTo>
                    <a:pt x="6618" y="10199"/>
                  </a:lnTo>
                  <a:lnTo>
                    <a:pt x="6651" y="10319"/>
                  </a:lnTo>
                  <a:lnTo>
                    <a:pt x="6691" y="10436"/>
                  </a:lnTo>
                  <a:lnTo>
                    <a:pt x="6737" y="10550"/>
                  </a:lnTo>
                  <a:lnTo>
                    <a:pt x="6787" y="10662"/>
                  </a:lnTo>
                  <a:lnTo>
                    <a:pt x="6842" y="10771"/>
                  </a:lnTo>
                  <a:lnTo>
                    <a:pt x="6903" y="10876"/>
                  </a:lnTo>
                  <a:lnTo>
                    <a:pt x="6968" y="10978"/>
                  </a:lnTo>
                  <a:lnTo>
                    <a:pt x="7039" y="11077"/>
                  </a:lnTo>
                  <a:lnTo>
                    <a:pt x="7113" y="11172"/>
                  </a:lnTo>
                  <a:lnTo>
                    <a:pt x="7191" y="11263"/>
                  </a:lnTo>
                  <a:lnTo>
                    <a:pt x="7275" y="11351"/>
                  </a:lnTo>
                  <a:lnTo>
                    <a:pt x="7362" y="11434"/>
                  </a:lnTo>
                  <a:lnTo>
                    <a:pt x="7454" y="11513"/>
                  </a:lnTo>
                  <a:lnTo>
                    <a:pt x="7549" y="11588"/>
                  </a:lnTo>
                  <a:lnTo>
                    <a:pt x="7647" y="11658"/>
                  </a:lnTo>
                  <a:lnTo>
                    <a:pt x="7750" y="11724"/>
                  </a:lnTo>
                  <a:lnTo>
                    <a:pt x="7854" y="11784"/>
                  </a:lnTo>
                  <a:lnTo>
                    <a:pt x="7963" y="11839"/>
                  </a:lnTo>
                  <a:lnTo>
                    <a:pt x="8075" y="11891"/>
                  </a:lnTo>
                  <a:lnTo>
                    <a:pt x="8188" y="11935"/>
                  </a:lnTo>
                  <a:lnTo>
                    <a:pt x="8306" y="11975"/>
                  </a:lnTo>
                  <a:lnTo>
                    <a:pt x="8425" y="12009"/>
                  </a:lnTo>
                  <a:lnTo>
                    <a:pt x="8546" y="12037"/>
                  </a:lnTo>
                  <a:lnTo>
                    <a:pt x="8670" y="12059"/>
                  </a:lnTo>
                  <a:lnTo>
                    <a:pt x="8796" y="12075"/>
                  </a:lnTo>
                  <a:lnTo>
                    <a:pt x="8924" y="12085"/>
                  </a:lnTo>
                  <a:lnTo>
                    <a:pt x="9053" y="12088"/>
                  </a:lnTo>
                  <a:lnTo>
                    <a:pt x="13580" y="12088"/>
                  </a:lnTo>
                  <a:lnTo>
                    <a:pt x="13580" y="12844"/>
                  </a:lnTo>
                  <a:close/>
                  <a:moveTo>
                    <a:pt x="12574" y="4029"/>
                  </a:moveTo>
                  <a:lnTo>
                    <a:pt x="12574" y="4533"/>
                  </a:lnTo>
                  <a:lnTo>
                    <a:pt x="11065" y="4533"/>
                  </a:lnTo>
                  <a:lnTo>
                    <a:pt x="2766" y="4533"/>
                  </a:lnTo>
                  <a:lnTo>
                    <a:pt x="2716" y="4532"/>
                  </a:lnTo>
                  <a:lnTo>
                    <a:pt x="2666" y="4530"/>
                  </a:lnTo>
                  <a:lnTo>
                    <a:pt x="2615" y="4526"/>
                  </a:lnTo>
                  <a:lnTo>
                    <a:pt x="2566" y="4521"/>
                  </a:lnTo>
                  <a:lnTo>
                    <a:pt x="2517" y="4514"/>
                  </a:lnTo>
                  <a:lnTo>
                    <a:pt x="2469" y="4506"/>
                  </a:lnTo>
                  <a:lnTo>
                    <a:pt x="2420" y="4497"/>
                  </a:lnTo>
                  <a:lnTo>
                    <a:pt x="2373" y="4486"/>
                  </a:lnTo>
                  <a:lnTo>
                    <a:pt x="2326" y="4474"/>
                  </a:lnTo>
                  <a:lnTo>
                    <a:pt x="2279" y="4461"/>
                  </a:lnTo>
                  <a:lnTo>
                    <a:pt x="2233" y="4446"/>
                  </a:lnTo>
                  <a:lnTo>
                    <a:pt x="2188" y="4430"/>
                  </a:lnTo>
                  <a:lnTo>
                    <a:pt x="2143" y="4413"/>
                  </a:lnTo>
                  <a:lnTo>
                    <a:pt x="2098" y="4396"/>
                  </a:lnTo>
                  <a:lnTo>
                    <a:pt x="2055" y="4377"/>
                  </a:lnTo>
                  <a:lnTo>
                    <a:pt x="2011" y="4357"/>
                  </a:lnTo>
                  <a:lnTo>
                    <a:pt x="2011" y="4029"/>
                  </a:lnTo>
                  <a:lnTo>
                    <a:pt x="12574" y="4029"/>
                  </a:lnTo>
                  <a:close/>
                  <a:moveTo>
                    <a:pt x="12574" y="3526"/>
                  </a:moveTo>
                  <a:lnTo>
                    <a:pt x="2011" y="3526"/>
                  </a:lnTo>
                  <a:lnTo>
                    <a:pt x="2011" y="3022"/>
                  </a:lnTo>
                  <a:lnTo>
                    <a:pt x="12574" y="3022"/>
                  </a:lnTo>
                  <a:lnTo>
                    <a:pt x="12574" y="3526"/>
                  </a:lnTo>
                  <a:close/>
                  <a:moveTo>
                    <a:pt x="12574" y="2518"/>
                  </a:moveTo>
                  <a:lnTo>
                    <a:pt x="2011" y="2518"/>
                  </a:lnTo>
                  <a:lnTo>
                    <a:pt x="2011" y="2015"/>
                  </a:lnTo>
                  <a:lnTo>
                    <a:pt x="12574" y="2015"/>
                  </a:lnTo>
                  <a:lnTo>
                    <a:pt x="12574" y="2518"/>
                  </a:lnTo>
                  <a:close/>
                  <a:moveTo>
                    <a:pt x="2766" y="1007"/>
                  </a:moveTo>
                  <a:lnTo>
                    <a:pt x="11065" y="1007"/>
                  </a:lnTo>
                  <a:lnTo>
                    <a:pt x="13077" y="1007"/>
                  </a:lnTo>
                  <a:lnTo>
                    <a:pt x="13103" y="1008"/>
                  </a:lnTo>
                  <a:lnTo>
                    <a:pt x="13128" y="1010"/>
                  </a:lnTo>
                  <a:lnTo>
                    <a:pt x="13154" y="1013"/>
                  </a:lnTo>
                  <a:lnTo>
                    <a:pt x="13179" y="1017"/>
                  </a:lnTo>
                  <a:lnTo>
                    <a:pt x="13203" y="1023"/>
                  </a:lnTo>
                  <a:lnTo>
                    <a:pt x="13227" y="1031"/>
                  </a:lnTo>
                  <a:lnTo>
                    <a:pt x="13250" y="1038"/>
                  </a:lnTo>
                  <a:lnTo>
                    <a:pt x="13273" y="1047"/>
                  </a:lnTo>
                  <a:lnTo>
                    <a:pt x="13295" y="1057"/>
                  </a:lnTo>
                  <a:lnTo>
                    <a:pt x="13317" y="1068"/>
                  </a:lnTo>
                  <a:lnTo>
                    <a:pt x="13338" y="1080"/>
                  </a:lnTo>
                  <a:lnTo>
                    <a:pt x="13358" y="1093"/>
                  </a:lnTo>
                  <a:lnTo>
                    <a:pt x="13378" y="1107"/>
                  </a:lnTo>
                  <a:lnTo>
                    <a:pt x="13397" y="1122"/>
                  </a:lnTo>
                  <a:lnTo>
                    <a:pt x="13415" y="1138"/>
                  </a:lnTo>
                  <a:lnTo>
                    <a:pt x="13433" y="1155"/>
                  </a:lnTo>
                  <a:lnTo>
                    <a:pt x="13449" y="1173"/>
                  </a:lnTo>
                  <a:lnTo>
                    <a:pt x="13465" y="1191"/>
                  </a:lnTo>
                  <a:lnTo>
                    <a:pt x="13481" y="1210"/>
                  </a:lnTo>
                  <a:lnTo>
                    <a:pt x="13495" y="1230"/>
                  </a:lnTo>
                  <a:lnTo>
                    <a:pt x="13508" y="1250"/>
                  </a:lnTo>
                  <a:lnTo>
                    <a:pt x="13520" y="1271"/>
                  </a:lnTo>
                  <a:lnTo>
                    <a:pt x="13531" y="1292"/>
                  </a:lnTo>
                  <a:lnTo>
                    <a:pt x="13541" y="1316"/>
                  </a:lnTo>
                  <a:lnTo>
                    <a:pt x="13550" y="1338"/>
                  </a:lnTo>
                  <a:lnTo>
                    <a:pt x="13558" y="1361"/>
                  </a:lnTo>
                  <a:lnTo>
                    <a:pt x="13564" y="1385"/>
                  </a:lnTo>
                  <a:lnTo>
                    <a:pt x="13570" y="1409"/>
                  </a:lnTo>
                  <a:lnTo>
                    <a:pt x="13574" y="1434"/>
                  </a:lnTo>
                  <a:lnTo>
                    <a:pt x="13578" y="1460"/>
                  </a:lnTo>
                  <a:lnTo>
                    <a:pt x="13580" y="1485"/>
                  </a:lnTo>
                  <a:lnTo>
                    <a:pt x="13580" y="1511"/>
                  </a:lnTo>
                  <a:lnTo>
                    <a:pt x="13580" y="2770"/>
                  </a:lnTo>
                  <a:lnTo>
                    <a:pt x="13580" y="3022"/>
                  </a:lnTo>
                  <a:lnTo>
                    <a:pt x="13580" y="4626"/>
                  </a:lnTo>
                  <a:lnTo>
                    <a:pt x="13551" y="4616"/>
                  </a:lnTo>
                  <a:lnTo>
                    <a:pt x="13521" y="4606"/>
                  </a:lnTo>
                  <a:lnTo>
                    <a:pt x="13491" y="4597"/>
                  </a:lnTo>
                  <a:lnTo>
                    <a:pt x="13459" y="4587"/>
                  </a:lnTo>
                  <a:lnTo>
                    <a:pt x="13429" y="4579"/>
                  </a:lnTo>
                  <a:lnTo>
                    <a:pt x="13398" y="4571"/>
                  </a:lnTo>
                  <a:lnTo>
                    <a:pt x="13367" y="4564"/>
                  </a:lnTo>
                  <a:lnTo>
                    <a:pt x="13336" y="4558"/>
                  </a:lnTo>
                  <a:lnTo>
                    <a:pt x="13305" y="4552"/>
                  </a:lnTo>
                  <a:lnTo>
                    <a:pt x="13272" y="4547"/>
                  </a:lnTo>
                  <a:lnTo>
                    <a:pt x="13240" y="4543"/>
                  </a:lnTo>
                  <a:lnTo>
                    <a:pt x="13208" y="4539"/>
                  </a:lnTo>
                  <a:lnTo>
                    <a:pt x="13176" y="4537"/>
                  </a:lnTo>
                  <a:lnTo>
                    <a:pt x="13144" y="4535"/>
                  </a:lnTo>
                  <a:lnTo>
                    <a:pt x="13110" y="4533"/>
                  </a:lnTo>
                  <a:lnTo>
                    <a:pt x="13077" y="4533"/>
                  </a:lnTo>
                  <a:lnTo>
                    <a:pt x="13077" y="4533"/>
                  </a:lnTo>
                  <a:lnTo>
                    <a:pt x="13077" y="4029"/>
                  </a:lnTo>
                  <a:lnTo>
                    <a:pt x="13077" y="3022"/>
                  </a:lnTo>
                  <a:lnTo>
                    <a:pt x="13077" y="2015"/>
                  </a:lnTo>
                  <a:lnTo>
                    <a:pt x="13076" y="1989"/>
                  </a:lnTo>
                  <a:lnTo>
                    <a:pt x="13074" y="1963"/>
                  </a:lnTo>
                  <a:lnTo>
                    <a:pt x="13071" y="1938"/>
                  </a:lnTo>
                  <a:lnTo>
                    <a:pt x="13066" y="1913"/>
                  </a:lnTo>
                  <a:lnTo>
                    <a:pt x="13061" y="1889"/>
                  </a:lnTo>
                  <a:lnTo>
                    <a:pt x="13054" y="1865"/>
                  </a:lnTo>
                  <a:lnTo>
                    <a:pt x="13046" y="1841"/>
                  </a:lnTo>
                  <a:lnTo>
                    <a:pt x="13037" y="1818"/>
                  </a:lnTo>
                  <a:lnTo>
                    <a:pt x="13027" y="1796"/>
                  </a:lnTo>
                  <a:lnTo>
                    <a:pt x="13016" y="1774"/>
                  </a:lnTo>
                  <a:lnTo>
                    <a:pt x="13004" y="1754"/>
                  </a:lnTo>
                  <a:lnTo>
                    <a:pt x="12991" y="1733"/>
                  </a:lnTo>
                  <a:lnTo>
                    <a:pt x="12977" y="1714"/>
                  </a:lnTo>
                  <a:lnTo>
                    <a:pt x="12962" y="1694"/>
                  </a:lnTo>
                  <a:lnTo>
                    <a:pt x="12946" y="1676"/>
                  </a:lnTo>
                  <a:lnTo>
                    <a:pt x="12929" y="1658"/>
                  </a:lnTo>
                  <a:lnTo>
                    <a:pt x="12912" y="1642"/>
                  </a:lnTo>
                  <a:lnTo>
                    <a:pt x="12894" y="1626"/>
                  </a:lnTo>
                  <a:lnTo>
                    <a:pt x="12875" y="1611"/>
                  </a:lnTo>
                  <a:lnTo>
                    <a:pt x="12855" y="1597"/>
                  </a:lnTo>
                  <a:lnTo>
                    <a:pt x="12835" y="1584"/>
                  </a:lnTo>
                  <a:lnTo>
                    <a:pt x="12814" y="1571"/>
                  </a:lnTo>
                  <a:lnTo>
                    <a:pt x="12792" y="1560"/>
                  </a:lnTo>
                  <a:lnTo>
                    <a:pt x="12769" y="1550"/>
                  </a:lnTo>
                  <a:lnTo>
                    <a:pt x="12746" y="1541"/>
                  </a:lnTo>
                  <a:lnTo>
                    <a:pt x="12723" y="1534"/>
                  </a:lnTo>
                  <a:lnTo>
                    <a:pt x="12700" y="1527"/>
                  </a:lnTo>
                  <a:lnTo>
                    <a:pt x="12675" y="1521"/>
                  </a:lnTo>
                  <a:lnTo>
                    <a:pt x="12651" y="1517"/>
                  </a:lnTo>
                  <a:lnTo>
                    <a:pt x="12626" y="1514"/>
                  </a:lnTo>
                  <a:lnTo>
                    <a:pt x="12599" y="1512"/>
                  </a:lnTo>
                  <a:lnTo>
                    <a:pt x="12574" y="1511"/>
                  </a:lnTo>
                  <a:lnTo>
                    <a:pt x="2011" y="1511"/>
                  </a:lnTo>
                  <a:lnTo>
                    <a:pt x="1986" y="1512"/>
                  </a:lnTo>
                  <a:lnTo>
                    <a:pt x="1960" y="1514"/>
                  </a:lnTo>
                  <a:lnTo>
                    <a:pt x="1934" y="1517"/>
                  </a:lnTo>
                  <a:lnTo>
                    <a:pt x="1910" y="1521"/>
                  </a:lnTo>
                  <a:lnTo>
                    <a:pt x="1886" y="1527"/>
                  </a:lnTo>
                  <a:lnTo>
                    <a:pt x="1862" y="1534"/>
                  </a:lnTo>
                  <a:lnTo>
                    <a:pt x="1839" y="1541"/>
                  </a:lnTo>
                  <a:lnTo>
                    <a:pt x="1816" y="1550"/>
                  </a:lnTo>
                  <a:lnTo>
                    <a:pt x="1794" y="1560"/>
                  </a:lnTo>
                  <a:lnTo>
                    <a:pt x="1771" y="1571"/>
                  </a:lnTo>
                  <a:lnTo>
                    <a:pt x="1750" y="1584"/>
                  </a:lnTo>
                  <a:lnTo>
                    <a:pt x="1730" y="1597"/>
                  </a:lnTo>
                  <a:lnTo>
                    <a:pt x="1710" y="1611"/>
                  </a:lnTo>
                  <a:lnTo>
                    <a:pt x="1691" y="1626"/>
                  </a:lnTo>
                  <a:lnTo>
                    <a:pt x="1673" y="1642"/>
                  </a:lnTo>
                  <a:lnTo>
                    <a:pt x="1656" y="1658"/>
                  </a:lnTo>
                  <a:lnTo>
                    <a:pt x="1639" y="1676"/>
                  </a:lnTo>
                  <a:lnTo>
                    <a:pt x="1624" y="1694"/>
                  </a:lnTo>
                  <a:lnTo>
                    <a:pt x="1608" y="1714"/>
                  </a:lnTo>
                  <a:lnTo>
                    <a:pt x="1594" y="1733"/>
                  </a:lnTo>
                  <a:lnTo>
                    <a:pt x="1581" y="1754"/>
                  </a:lnTo>
                  <a:lnTo>
                    <a:pt x="1569" y="1774"/>
                  </a:lnTo>
                  <a:lnTo>
                    <a:pt x="1558" y="1796"/>
                  </a:lnTo>
                  <a:lnTo>
                    <a:pt x="1548" y="1818"/>
                  </a:lnTo>
                  <a:lnTo>
                    <a:pt x="1539" y="1841"/>
                  </a:lnTo>
                  <a:lnTo>
                    <a:pt x="1531" y="1865"/>
                  </a:lnTo>
                  <a:lnTo>
                    <a:pt x="1524" y="1889"/>
                  </a:lnTo>
                  <a:lnTo>
                    <a:pt x="1519" y="1913"/>
                  </a:lnTo>
                  <a:lnTo>
                    <a:pt x="1514" y="1938"/>
                  </a:lnTo>
                  <a:lnTo>
                    <a:pt x="1511" y="1963"/>
                  </a:lnTo>
                  <a:lnTo>
                    <a:pt x="1509" y="1989"/>
                  </a:lnTo>
                  <a:lnTo>
                    <a:pt x="1508" y="2015"/>
                  </a:lnTo>
                  <a:lnTo>
                    <a:pt x="1508" y="3022"/>
                  </a:lnTo>
                  <a:lnTo>
                    <a:pt x="1508" y="4000"/>
                  </a:lnTo>
                  <a:lnTo>
                    <a:pt x="1480" y="3970"/>
                  </a:lnTo>
                  <a:lnTo>
                    <a:pt x="1452" y="3940"/>
                  </a:lnTo>
                  <a:lnTo>
                    <a:pt x="1424" y="3909"/>
                  </a:lnTo>
                  <a:lnTo>
                    <a:pt x="1397" y="3876"/>
                  </a:lnTo>
                  <a:lnTo>
                    <a:pt x="1372" y="3843"/>
                  </a:lnTo>
                  <a:lnTo>
                    <a:pt x="1347" y="3810"/>
                  </a:lnTo>
                  <a:lnTo>
                    <a:pt x="1323" y="3777"/>
                  </a:lnTo>
                  <a:lnTo>
                    <a:pt x="1299" y="3741"/>
                  </a:lnTo>
                  <a:lnTo>
                    <a:pt x="1277" y="3706"/>
                  </a:lnTo>
                  <a:lnTo>
                    <a:pt x="1254" y="3671"/>
                  </a:lnTo>
                  <a:lnTo>
                    <a:pt x="1233" y="3635"/>
                  </a:lnTo>
                  <a:lnTo>
                    <a:pt x="1213" y="3598"/>
                  </a:lnTo>
                  <a:lnTo>
                    <a:pt x="1194" y="3561"/>
                  </a:lnTo>
                  <a:lnTo>
                    <a:pt x="1175" y="3523"/>
                  </a:lnTo>
                  <a:lnTo>
                    <a:pt x="1158" y="3484"/>
                  </a:lnTo>
                  <a:lnTo>
                    <a:pt x="1141" y="3446"/>
                  </a:lnTo>
                  <a:lnTo>
                    <a:pt x="1125" y="3407"/>
                  </a:lnTo>
                  <a:lnTo>
                    <a:pt x="1110" y="3367"/>
                  </a:lnTo>
                  <a:lnTo>
                    <a:pt x="1096" y="3327"/>
                  </a:lnTo>
                  <a:lnTo>
                    <a:pt x="1083" y="3286"/>
                  </a:lnTo>
                  <a:lnTo>
                    <a:pt x="1071" y="3246"/>
                  </a:lnTo>
                  <a:lnTo>
                    <a:pt x="1060" y="3204"/>
                  </a:lnTo>
                  <a:lnTo>
                    <a:pt x="1050" y="3162"/>
                  </a:lnTo>
                  <a:lnTo>
                    <a:pt x="1041" y="3120"/>
                  </a:lnTo>
                  <a:lnTo>
                    <a:pt x="1033" y="3077"/>
                  </a:lnTo>
                  <a:lnTo>
                    <a:pt x="1026" y="3034"/>
                  </a:lnTo>
                  <a:lnTo>
                    <a:pt x="1020" y="2991"/>
                  </a:lnTo>
                  <a:lnTo>
                    <a:pt x="1015" y="2948"/>
                  </a:lnTo>
                  <a:lnTo>
                    <a:pt x="1011" y="2903"/>
                  </a:lnTo>
                  <a:lnTo>
                    <a:pt x="1008" y="2860"/>
                  </a:lnTo>
                  <a:lnTo>
                    <a:pt x="1007" y="2815"/>
                  </a:lnTo>
                  <a:lnTo>
                    <a:pt x="1006" y="2770"/>
                  </a:lnTo>
                  <a:lnTo>
                    <a:pt x="1008" y="2680"/>
                  </a:lnTo>
                  <a:lnTo>
                    <a:pt x="1015" y="2590"/>
                  </a:lnTo>
                  <a:lnTo>
                    <a:pt x="1026" y="2501"/>
                  </a:lnTo>
                  <a:lnTo>
                    <a:pt x="1041" y="2415"/>
                  </a:lnTo>
                  <a:lnTo>
                    <a:pt x="1061" y="2330"/>
                  </a:lnTo>
                  <a:lnTo>
                    <a:pt x="1085" y="2246"/>
                  </a:lnTo>
                  <a:lnTo>
                    <a:pt x="1113" y="2164"/>
                  </a:lnTo>
                  <a:lnTo>
                    <a:pt x="1145" y="2084"/>
                  </a:lnTo>
                  <a:lnTo>
                    <a:pt x="1180" y="2006"/>
                  </a:lnTo>
                  <a:lnTo>
                    <a:pt x="1218" y="1930"/>
                  </a:lnTo>
                  <a:lnTo>
                    <a:pt x="1260" y="1857"/>
                  </a:lnTo>
                  <a:lnTo>
                    <a:pt x="1307" y="1785"/>
                  </a:lnTo>
                  <a:lnTo>
                    <a:pt x="1356" y="1716"/>
                  </a:lnTo>
                  <a:lnTo>
                    <a:pt x="1408" y="1649"/>
                  </a:lnTo>
                  <a:lnTo>
                    <a:pt x="1464" y="1585"/>
                  </a:lnTo>
                  <a:lnTo>
                    <a:pt x="1521" y="1524"/>
                  </a:lnTo>
                  <a:lnTo>
                    <a:pt x="1582" y="1466"/>
                  </a:lnTo>
                  <a:lnTo>
                    <a:pt x="1647" y="1410"/>
                  </a:lnTo>
                  <a:lnTo>
                    <a:pt x="1713" y="1358"/>
                  </a:lnTo>
                  <a:lnTo>
                    <a:pt x="1782" y="1309"/>
                  </a:lnTo>
                  <a:lnTo>
                    <a:pt x="1853" y="1262"/>
                  </a:lnTo>
                  <a:lnTo>
                    <a:pt x="1927" y="1220"/>
                  </a:lnTo>
                  <a:lnTo>
                    <a:pt x="2003" y="1182"/>
                  </a:lnTo>
                  <a:lnTo>
                    <a:pt x="2081" y="1146"/>
                  </a:lnTo>
                  <a:lnTo>
                    <a:pt x="2161" y="1114"/>
                  </a:lnTo>
                  <a:lnTo>
                    <a:pt x="2243" y="1087"/>
                  </a:lnTo>
                  <a:lnTo>
                    <a:pt x="2327" y="1063"/>
                  </a:lnTo>
                  <a:lnTo>
                    <a:pt x="2411" y="1044"/>
                  </a:lnTo>
                  <a:lnTo>
                    <a:pt x="2498" y="1028"/>
                  </a:lnTo>
                  <a:lnTo>
                    <a:pt x="2586" y="1016"/>
                  </a:lnTo>
                  <a:lnTo>
                    <a:pt x="2676" y="1009"/>
                  </a:lnTo>
                  <a:lnTo>
                    <a:pt x="2766" y="1007"/>
                  </a:lnTo>
                  <a:close/>
                  <a:moveTo>
                    <a:pt x="14587" y="6044"/>
                  </a:moveTo>
                  <a:lnTo>
                    <a:pt x="14586" y="6044"/>
                  </a:lnTo>
                  <a:lnTo>
                    <a:pt x="14586" y="3022"/>
                  </a:lnTo>
                  <a:lnTo>
                    <a:pt x="14586" y="2770"/>
                  </a:lnTo>
                  <a:lnTo>
                    <a:pt x="14586" y="1511"/>
                  </a:lnTo>
                  <a:lnTo>
                    <a:pt x="14584" y="1433"/>
                  </a:lnTo>
                  <a:lnTo>
                    <a:pt x="14578" y="1357"/>
                  </a:lnTo>
                  <a:lnTo>
                    <a:pt x="14569" y="1281"/>
                  </a:lnTo>
                  <a:lnTo>
                    <a:pt x="14556" y="1207"/>
                  </a:lnTo>
                  <a:lnTo>
                    <a:pt x="14539" y="1133"/>
                  </a:lnTo>
                  <a:lnTo>
                    <a:pt x="14519" y="1062"/>
                  </a:lnTo>
                  <a:lnTo>
                    <a:pt x="14495" y="991"/>
                  </a:lnTo>
                  <a:lnTo>
                    <a:pt x="14467" y="923"/>
                  </a:lnTo>
                  <a:lnTo>
                    <a:pt x="14437" y="856"/>
                  </a:lnTo>
                  <a:lnTo>
                    <a:pt x="14404" y="791"/>
                  </a:lnTo>
                  <a:lnTo>
                    <a:pt x="14368" y="727"/>
                  </a:lnTo>
                  <a:lnTo>
                    <a:pt x="14329" y="666"/>
                  </a:lnTo>
                  <a:lnTo>
                    <a:pt x="14286" y="607"/>
                  </a:lnTo>
                  <a:lnTo>
                    <a:pt x="14242" y="550"/>
                  </a:lnTo>
                  <a:lnTo>
                    <a:pt x="14194" y="495"/>
                  </a:lnTo>
                  <a:lnTo>
                    <a:pt x="14144" y="442"/>
                  </a:lnTo>
                  <a:lnTo>
                    <a:pt x="14092" y="393"/>
                  </a:lnTo>
                  <a:lnTo>
                    <a:pt x="14037" y="346"/>
                  </a:lnTo>
                  <a:lnTo>
                    <a:pt x="13980" y="300"/>
                  </a:lnTo>
                  <a:lnTo>
                    <a:pt x="13921" y="258"/>
                  </a:lnTo>
                  <a:lnTo>
                    <a:pt x="13860" y="219"/>
                  </a:lnTo>
                  <a:lnTo>
                    <a:pt x="13796" y="182"/>
                  </a:lnTo>
                  <a:lnTo>
                    <a:pt x="13731" y="149"/>
                  </a:lnTo>
                  <a:lnTo>
                    <a:pt x="13665" y="119"/>
                  </a:lnTo>
                  <a:lnTo>
                    <a:pt x="13596" y="92"/>
                  </a:lnTo>
                  <a:lnTo>
                    <a:pt x="13526" y="67"/>
                  </a:lnTo>
                  <a:lnTo>
                    <a:pt x="13454" y="47"/>
                  </a:lnTo>
                  <a:lnTo>
                    <a:pt x="13381" y="30"/>
                  </a:lnTo>
                  <a:lnTo>
                    <a:pt x="13307" y="17"/>
                  </a:lnTo>
                  <a:lnTo>
                    <a:pt x="13231" y="8"/>
                  </a:lnTo>
                  <a:lnTo>
                    <a:pt x="13155" y="2"/>
                  </a:lnTo>
                  <a:lnTo>
                    <a:pt x="13077" y="0"/>
                  </a:lnTo>
                  <a:lnTo>
                    <a:pt x="11065" y="0"/>
                  </a:lnTo>
                  <a:lnTo>
                    <a:pt x="2766" y="0"/>
                  </a:lnTo>
                  <a:lnTo>
                    <a:pt x="2624" y="4"/>
                  </a:lnTo>
                  <a:lnTo>
                    <a:pt x="2484" y="14"/>
                  </a:lnTo>
                  <a:lnTo>
                    <a:pt x="2346" y="32"/>
                  </a:lnTo>
                  <a:lnTo>
                    <a:pt x="2209" y="56"/>
                  </a:lnTo>
                  <a:lnTo>
                    <a:pt x="2075" y="88"/>
                  </a:lnTo>
                  <a:lnTo>
                    <a:pt x="1944" y="125"/>
                  </a:lnTo>
                  <a:lnTo>
                    <a:pt x="1816" y="168"/>
                  </a:lnTo>
                  <a:lnTo>
                    <a:pt x="1690" y="218"/>
                  </a:lnTo>
                  <a:lnTo>
                    <a:pt x="1568" y="274"/>
                  </a:lnTo>
                  <a:lnTo>
                    <a:pt x="1449" y="335"/>
                  </a:lnTo>
                  <a:lnTo>
                    <a:pt x="1333" y="402"/>
                  </a:lnTo>
                  <a:lnTo>
                    <a:pt x="1220" y="473"/>
                  </a:lnTo>
                  <a:lnTo>
                    <a:pt x="1113" y="551"/>
                  </a:lnTo>
                  <a:lnTo>
                    <a:pt x="1008" y="634"/>
                  </a:lnTo>
                  <a:lnTo>
                    <a:pt x="907" y="720"/>
                  </a:lnTo>
                  <a:lnTo>
                    <a:pt x="811" y="812"/>
                  </a:lnTo>
                  <a:lnTo>
                    <a:pt x="719" y="909"/>
                  </a:lnTo>
                  <a:lnTo>
                    <a:pt x="633" y="1009"/>
                  </a:lnTo>
                  <a:lnTo>
                    <a:pt x="550" y="1114"/>
                  </a:lnTo>
                  <a:lnTo>
                    <a:pt x="473" y="1223"/>
                  </a:lnTo>
                  <a:lnTo>
                    <a:pt x="401" y="1335"/>
                  </a:lnTo>
                  <a:lnTo>
                    <a:pt x="334" y="1451"/>
                  </a:lnTo>
                  <a:lnTo>
                    <a:pt x="274" y="1570"/>
                  </a:lnTo>
                  <a:lnTo>
                    <a:pt x="217" y="1693"/>
                  </a:lnTo>
                  <a:lnTo>
                    <a:pt x="168" y="1819"/>
                  </a:lnTo>
                  <a:lnTo>
                    <a:pt x="125" y="1947"/>
                  </a:lnTo>
                  <a:lnTo>
                    <a:pt x="88" y="2079"/>
                  </a:lnTo>
                  <a:lnTo>
                    <a:pt x="56" y="2213"/>
                  </a:lnTo>
                  <a:lnTo>
                    <a:pt x="32" y="2349"/>
                  </a:lnTo>
                  <a:lnTo>
                    <a:pt x="14" y="2487"/>
                  </a:lnTo>
                  <a:lnTo>
                    <a:pt x="4" y="2628"/>
                  </a:lnTo>
                  <a:lnTo>
                    <a:pt x="0" y="2770"/>
                  </a:lnTo>
                  <a:lnTo>
                    <a:pt x="0" y="12844"/>
                  </a:lnTo>
                  <a:lnTo>
                    <a:pt x="4" y="12986"/>
                  </a:lnTo>
                  <a:lnTo>
                    <a:pt x="14" y="13127"/>
                  </a:lnTo>
                  <a:lnTo>
                    <a:pt x="32" y="13265"/>
                  </a:lnTo>
                  <a:lnTo>
                    <a:pt x="56" y="13401"/>
                  </a:lnTo>
                  <a:lnTo>
                    <a:pt x="88" y="13535"/>
                  </a:lnTo>
                  <a:lnTo>
                    <a:pt x="125" y="13667"/>
                  </a:lnTo>
                  <a:lnTo>
                    <a:pt x="168" y="13795"/>
                  </a:lnTo>
                  <a:lnTo>
                    <a:pt x="217" y="13921"/>
                  </a:lnTo>
                  <a:lnTo>
                    <a:pt x="274" y="14044"/>
                  </a:lnTo>
                  <a:lnTo>
                    <a:pt x="334" y="14163"/>
                  </a:lnTo>
                  <a:lnTo>
                    <a:pt x="401" y="14279"/>
                  </a:lnTo>
                  <a:lnTo>
                    <a:pt x="473" y="14391"/>
                  </a:lnTo>
                  <a:lnTo>
                    <a:pt x="550" y="14500"/>
                  </a:lnTo>
                  <a:lnTo>
                    <a:pt x="633" y="14605"/>
                  </a:lnTo>
                  <a:lnTo>
                    <a:pt x="719" y="14705"/>
                  </a:lnTo>
                  <a:lnTo>
                    <a:pt x="811" y="14802"/>
                  </a:lnTo>
                  <a:lnTo>
                    <a:pt x="907" y="14894"/>
                  </a:lnTo>
                  <a:lnTo>
                    <a:pt x="1008" y="14980"/>
                  </a:lnTo>
                  <a:lnTo>
                    <a:pt x="1113" y="15063"/>
                  </a:lnTo>
                  <a:lnTo>
                    <a:pt x="1220" y="15141"/>
                  </a:lnTo>
                  <a:lnTo>
                    <a:pt x="1333" y="15212"/>
                  </a:lnTo>
                  <a:lnTo>
                    <a:pt x="1449" y="15280"/>
                  </a:lnTo>
                  <a:lnTo>
                    <a:pt x="1568" y="15340"/>
                  </a:lnTo>
                  <a:lnTo>
                    <a:pt x="1690" y="15396"/>
                  </a:lnTo>
                  <a:lnTo>
                    <a:pt x="1816" y="15446"/>
                  </a:lnTo>
                  <a:lnTo>
                    <a:pt x="1944" y="15489"/>
                  </a:lnTo>
                  <a:lnTo>
                    <a:pt x="2075" y="15526"/>
                  </a:lnTo>
                  <a:lnTo>
                    <a:pt x="2209" y="15558"/>
                  </a:lnTo>
                  <a:lnTo>
                    <a:pt x="2346" y="15582"/>
                  </a:lnTo>
                  <a:lnTo>
                    <a:pt x="2484" y="15600"/>
                  </a:lnTo>
                  <a:lnTo>
                    <a:pt x="2624" y="15610"/>
                  </a:lnTo>
                  <a:lnTo>
                    <a:pt x="2766" y="15614"/>
                  </a:lnTo>
                  <a:lnTo>
                    <a:pt x="11820" y="15614"/>
                  </a:lnTo>
                  <a:lnTo>
                    <a:pt x="11962" y="15610"/>
                  </a:lnTo>
                  <a:lnTo>
                    <a:pt x="12102" y="15600"/>
                  </a:lnTo>
                  <a:lnTo>
                    <a:pt x="12240" y="15582"/>
                  </a:lnTo>
                  <a:lnTo>
                    <a:pt x="12377" y="15558"/>
                  </a:lnTo>
                  <a:lnTo>
                    <a:pt x="12510" y="15526"/>
                  </a:lnTo>
                  <a:lnTo>
                    <a:pt x="12642" y="15489"/>
                  </a:lnTo>
                  <a:lnTo>
                    <a:pt x="12770" y="15446"/>
                  </a:lnTo>
                  <a:lnTo>
                    <a:pt x="12895" y="15396"/>
                  </a:lnTo>
                  <a:lnTo>
                    <a:pt x="13018" y="15340"/>
                  </a:lnTo>
                  <a:lnTo>
                    <a:pt x="13138" y="15280"/>
                  </a:lnTo>
                  <a:lnTo>
                    <a:pt x="13253" y="15212"/>
                  </a:lnTo>
                  <a:lnTo>
                    <a:pt x="13366" y="15141"/>
                  </a:lnTo>
                  <a:lnTo>
                    <a:pt x="13474" y="15063"/>
                  </a:lnTo>
                  <a:lnTo>
                    <a:pt x="13578" y="14980"/>
                  </a:lnTo>
                  <a:lnTo>
                    <a:pt x="13679" y="14894"/>
                  </a:lnTo>
                  <a:lnTo>
                    <a:pt x="13775" y="14802"/>
                  </a:lnTo>
                  <a:lnTo>
                    <a:pt x="13867" y="14705"/>
                  </a:lnTo>
                  <a:lnTo>
                    <a:pt x="13953" y="14605"/>
                  </a:lnTo>
                  <a:lnTo>
                    <a:pt x="14036" y="14500"/>
                  </a:lnTo>
                  <a:lnTo>
                    <a:pt x="14113" y="14391"/>
                  </a:lnTo>
                  <a:lnTo>
                    <a:pt x="14185" y="14279"/>
                  </a:lnTo>
                  <a:lnTo>
                    <a:pt x="14252" y="14163"/>
                  </a:lnTo>
                  <a:lnTo>
                    <a:pt x="14313" y="14044"/>
                  </a:lnTo>
                  <a:lnTo>
                    <a:pt x="14369" y="13921"/>
                  </a:lnTo>
                  <a:lnTo>
                    <a:pt x="14418" y="13795"/>
                  </a:lnTo>
                  <a:lnTo>
                    <a:pt x="14461" y="13667"/>
                  </a:lnTo>
                  <a:lnTo>
                    <a:pt x="14499" y="13535"/>
                  </a:lnTo>
                  <a:lnTo>
                    <a:pt x="14530" y="13401"/>
                  </a:lnTo>
                  <a:lnTo>
                    <a:pt x="14554" y="13265"/>
                  </a:lnTo>
                  <a:lnTo>
                    <a:pt x="14572" y="13127"/>
                  </a:lnTo>
                  <a:lnTo>
                    <a:pt x="14583" y="12986"/>
                  </a:lnTo>
                  <a:lnTo>
                    <a:pt x="14586" y="12844"/>
                  </a:lnTo>
                  <a:lnTo>
                    <a:pt x="14586" y="12088"/>
                  </a:lnTo>
                  <a:lnTo>
                    <a:pt x="14587" y="12088"/>
                  </a:lnTo>
                  <a:lnTo>
                    <a:pt x="14769" y="11942"/>
                  </a:lnTo>
                  <a:lnTo>
                    <a:pt x="14940" y="11788"/>
                  </a:lnTo>
                  <a:lnTo>
                    <a:pt x="15099" y="11626"/>
                  </a:lnTo>
                  <a:lnTo>
                    <a:pt x="15247" y="11457"/>
                  </a:lnTo>
                  <a:lnTo>
                    <a:pt x="15382" y="11280"/>
                  </a:lnTo>
                  <a:lnTo>
                    <a:pt x="15506" y="11099"/>
                  </a:lnTo>
                  <a:lnTo>
                    <a:pt x="15618" y="10912"/>
                  </a:lnTo>
                  <a:lnTo>
                    <a:pt x="15718" y="10718"/>
                  </a:lnTo>
                  <a:lnTo>
                    <a:pt x="15806" y="10522"/>
                  </a:lnTo>
                  <a:lnTo>
                    <a:pt x="15883" y="10321"/>
                  </a:lnTo>
                  <a:lnTo>
                    <a:pt x="15948" y="10117"/>
                  </a:lnTo>
                  <a:lnTo>
                    <a:pt x="16000" y="9910"/>
                  </a:lnTo>
                  <a:lnTo>
                    <a:pt x="16042" y="9701"/>
                  </a:lnTo>
                  <a:lnTo>
                    <a:pt x="16072" y="9490"/>
                  </a:lnTo>
                  <a:lnTo>
                    <a:pt x="16089" y="9279"/>
                  </a:lnTo>
                  <a:lnTo>
                    <a:pt x="16095" y="9066"/>
                  </a:lnTo>
                  <a:lnTo>
                    <a:pt x="16089" y="8854"/>
                  </a:lnTo>
                  <a:lnTo>
                    <a:pt x="16072" y="8642"/>
                  </a:lnTo>
                  <a:lnTo>
                    <a:pt x="16042" y="8432"/>
                  </a:lnTo>
                  <a:lnTo>
                    <a:pt x="16000" y="8222"/>
                  </a:lnTo>
                  <a:lnTo>
                    <a:pt x="15948" y="8016"/>
                  </a:lnTo>
                  <a:lnTo>
                    <a:pt x="15883" y="7811"/>
                  </a:lnTo>
                  <a:lnTo>
                    <a:pt x="15806" y="7611"/>
                  </a:lnTo>
                  <a:lnTo>
                    <a:pt x="15718" y="7413"/>
                  </a:lnTo>
                  <a:lnTo>
                    <a:pt x="15618" y="7221"/>
                  </a:lnTo>
                  <a:lnTo>
                    <a:pt x="15506" y="7033"/>
                  </a:lnTo>
                  <a:lnTo>
                    <a:pt x="15382" y="6852"/>
                  </a:lnTo>
                  <a:lnTo>
                    <a:pt x="15247" y="6676"/>
                  </a:lnTo>
                  <a:lnTo>
                    <a:pt x="15099" y="6507"/>
                  </a:lnTo>
                  <a:lnTo>
                    <a:pt x="14940" y="6344"/>
                  </a:lnTo>
                  <a:lnTo>
                    <a:pt x="14769" y="6190"/>
                  </a:lnTo>
                  <a:lnTo>
                    <a:pt x="14587" y="60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34" name="ïṩ1îḍe">
              <a:extLst>
                <a:ext uri="{FF2B5EF4-FFF2-40B4-BE49-F238E27FC236}">
                  <a16:creationId xmlns:a16="http://schemas.microsoft.com/office/drawing/2014/main" id="{CE660B93-4B74-4C8B-BF50-64999A756169}"/>
                </a:ext>
              </a:extLst>
            </p:cNvPr>
            <p:cNvSpPr/>
            <p:nvPr/>
          </p:nvSpPr>
          <p:spPr bwMode="auto">
            <a:xfrm>
              <a:off x="4143833" y="2524105"/>
              <a:ext cx="403593" cy="404523"/>
            </a:xfrm>
            <a:custGeom>
              <a:avLst/>
              <a:gdLst>
                <a:gd name="T0" fmla="*/ 15014 w 16058"/>
                <a:gd name="T1" fmla="*/ 14913 h 16095"/>
                <a:gd name="T2" fmla="*/ 14893 w 16058"/>
                <a:gd name="T3" fmla="*/ 15041 h 16095"/>
                <a:gd name="T4" fmla="*/ 14719 w 16058"/>
                <a:gd name="T5" fmla="*/ 15089 h 16095"/>
                <a:gd name="T6" fmla="*/ 1179 w 16058"/>
                <a:gd name="T7" fmla="*/ 15049 h 16095"/>
                <a:gd name="T8" fmla="*/ 1052 w 16058"/>
                <a:gd name="T9" fmla="*/ 14927 h 16095"/>
                <a:gd name="T10" fmla="*/ 1004 w 16058"/>
                <a:gd name="T11" fmla="*/ 14754 h 16095"/>
                <a:gd name="T12" fmla="*/ 1044 w 16058"/>
                <a:gd name="T13" fmla="*/ 2690 h 16095"/>
                <a:gd name="T14" fmla="*/ 1165 w 16058"/>
                <a:gd name="T15" fmla="*/ 2563 h 16095"/>
                <a:gd name="T16" fmla="*/ 1338 w 16058"/>
                <a:gd name="T17" fmla="*/ 2515 h 16095"/>
                <a:gd name="T18" fmla="*/ 3562 w 16058"/>
                <a:gd name="T19" fmla="*/ 3739 h 16095"/>
                <a:gd name="T20" fmla="*/ 3733 w 16058"/>
                <a:gd name="T21" fmla="*/ 3938 h 16095"/>
                <a:gd name="T22" fmla="*/ 3988 w 16058"/>
                <a:gd name="T23" fmla="*/ 4023 h 16095"/>
                <a:gd name="T24" fmla="*/ 4253 w 16058"/>
                <a:gd name="T25" fmla="*/ 3963 h 16095"/>
                <a:gd name="T26" fmla="*/ 4444 w 16058"/>
                <a:gd name="T27" fmla="*/ 3781 h 16095"/>
                <a:gd name="T28" fmla="*/ 4516 w 16058"/>
                <a:gd name="T29" fmla="*/ 3521 h 16095"/>
                <a:gd name="T30" fmla="*/ 7566 w 16058"/>
                <a:gd name="T31" fmla="*/ 3717 h 16095"/>
                <a:gd name="T32" fmla="*/ 7729 w 16058"/>
                <a:gd name="T33" fmla="*/ 3924 h 16095"/>
                <a:gd name="T34" fmla="*/ 7978 w 16058"/>
                <a:gd name="T35" fmla="*/ 4021 h 16095"/>
                <a:gd name="T36" fmla="*/ 8247 w 16058"/>
                <a:gd name="T37" fmla="*/ 3974 h 16095"/>
                <a:gd name="T38" fmla="*/ 8446 w 16058"/>
                <a:gd name="T39" fmla="*/ 3802 h 16095"/>
                <a:gd name="T40" fmla="*/ 8530 w 16058"/>
                <a:gd name="T41" fmla="*/ 3547 h 16095"/>
                <a:gd name="T42" fmla="*/ 11572 w 16058"/>
                <a:gd name="T43" fmla="*/ 3694 h 16095"/>
                <a:gd name="T44" fmla="*/ 11724 w 16058"/>
                <a:gd name="T45" fmla="*/ 3909 h 16095"/>
                <a:gd name="T46" fmla="*/ 11967 w 16058"/>
                <a:gd name="T47" fmla="*/ 4018 h 16095"/>
                <a:gd name="T48" fmla="*/ 12238 w 16058"/>
                <a:gd name="T49" fmla="*/ 3985 h 16095"/>
                <a:gd name="T50" fmla="*/ 12446 w 16058"/>
                <a:gd name="T51" fmla="*/ 3822 h 16095"/>
                <a:gd name="T52" fmla="*/ 12542 w 16058"/>
                <a:gd name="T53" fmla="*/ 3572 h 16095"/>
                <a:gd name="T54" fmla="*/ 14835 w 16058"/>
                <a:gd name="T55" fmla="*/ 2535 h 16095"/>
                <a:gd name="T56" fmla="*/ 14978 w 16058"/>
                <a:gd name="T57" fmla="*/ 2637 h 16095"/>
                <a:gd name="T58" fmla="*/ 15050 w 16058"/>
                <a:gd name="T59" fmla="*/ 2799 h 16095"/>
                <a:gd name="T60" fmla="*/ 12535 w 16058"/>
                <a:gd name="T61" fmla="*/ 401 h 16095"/>
                <a:gd name="T62" fmla="*/ 12415 w 16058"/>
                <a:gd name="T63" fmla="*/ 165 h 16095"/>
                <a:gd name="T64" fmla="*/ 12193 w 16058"/>
                <a:gd name="T65" fmla="*/ 22 h 16095"/>
                <a:gd name="T66" fmla="*/ 11918 w 16058"/>
                <a:gd name="T67" fmla="*/ 16 h 16095"/>
                <a:gd name="T68" fmla="*/ 11688 w 16058"/>
                <a:gd name="T69" fmla="*/ 147 h 16095"/>
                <a:gd name="T70" fmla="*/ 11558 w 16058"/>
                <a:gd name="T71" fmla="*/ 377 h 16095"/>
                <a:gd name="T72" fmla="*/ 8525 w 16058"/>
                <a:gd name="T73" fmla="*/ 427 h 16095"/>
                <a:gd name="T74" fmla="*/ 8416 w 16058"/>
                <a:gd name="T75" fmla="*/ 183 h 16095"/>
                <a:gd name="T76" fmla="*/ 8202 w 16058"/>
                <a:gd name="T77" fmla="*/ 30 h 16095"/>
                <a:gd name="T78" fmla="*/ 7928 w 16058"/>
                <a:gd name="T79" fmla="*/ 10 h 16095"/>
                <a:gd name="T80" fmla="*/ 7692 w 16058"/>
                <a:gd name="T81" fmla="*/ 131 h 16095"/>
                <a:gd name="T82" fmla="*/ 7549 w 16058"/>
                <a:gd name="T83" fmla="*/ 353 h 16095"/>
                <a:gd name="T84" fmla="*/ 4513 w 16058"/>
                <a:gd name="T85" fmla="*/ 452 h 16095"/>
                <a:gd name="T86" fmla="*/ 4417 w 16058"/>
                <a:gd name="T87" fmla="*/ 202 h 16095"/>
                <a:gd name="T88" fmla="*/ 4210 w 16058"/>
                <a:gd name="T89" fmla="*/ 39 h 16095"/>
                <a:gd name="T90" fmla="*/ 3938 w 16058"/>
                <a:gd name="T91" fmla="*/ 6 h 16095"/>
                <a:gd name="T92" fmla="*/ 3695 w 16058"/>
                <a:gd name="T93" fmla="*/ 115 h 16095"/>
                <a:gd name="T94" fmla="*/ 3543 w 16058"/>
                <a:gd name="T95" fmla="*/ 330 h 16095"/>
                <a:gd name="T96" fmla="*/ 1201 w 16058"/>
                <a:gd name="T97" fmla="*/ 1516 h 16095"/>
                <a:gd name="T98" fmla="*/ 538 w 16058"/>
                <a:gd name="T99" fmla="*/ 1775 h 16095"/>
                <a:gd name="T100" fmla="*/ 105 w 16058"/>
                <a:gd name="T101" fmla="*/ 2328 h 16095"/>
                <a:gd name="T102" fmla="*/ 7 w 16058"/>
                <a:gd name="T103" fmla="*/ 14891 h 16095"/>
                <a:gd name="T104" fmla="*/ 266 w 16058"/>
                <a:gd name="T105" fmla="*/ 15556 h 16095"/>
                <a:gd name="T106" fmla="*/ 817 w 16058"/>
                <a:gd name="T107" fmla="*/ 15989 h 16095"/>
                <a:gd name="T108" fmla="*/ 14857 w 16058"/>
                <a:gd name="T109" fmla="*/ 16088 h 16095"/>
                <a:gd name="T110" fmla="*/ 15520 w 16058"/>
                <a:gd name="T111" fmla="*/ 15828 h 16095"/>
                <a:gd name="T112" fmla="*/ 15953 w 16058"/>
                <a:gd name="T113" fmla="*/ 15276 h 16095"/>
                <a:gd name="T114" fmla="*/ 16051 w 16058"/>
                <a:gd name="T115" fmla="*/ 2713 h 16095"/>
                <a:gd name="T116" fmla="*/ 15792 w 16058"/>
                <a:gd name="T117" fmla="*/ 2047 h 16095"/>
                <a:gd name="T118" fmla="*/ 15241 w 16058"/>
                <a:gd name="T119" fmla="*/ 1615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58" h="16095">
                  <a:moveTo>
                    <a:pt x="15054" y="14754"/>
                  </a:moveTo>
                  <a:lnTo>
                    <a:pt x="15053" y="14771"/>
                  </a:lnTo>
                  <a:lnTo>
                    <a:pt x="15052" y="14788"/>
                  </a:lnTo>
                  <a:lnTo>
                    <a:pt x="15050" y="14804"/>
                  </a:lnTo>
                  <a:lnTo>
                    <a:pt x="15047" y="14821"/>
                  </a:lnTo>
                  <a:lnTo>
                    <a:pt x="15043" y="14838"/>
                  </a:lnTo>
                  <a:lnTo>
                    <a:pt x="15039" y="14854"/>
                  </a:lnTo>
                  <a:lnTo>
                    <a:pt x="15034" y="14869"/>
                  </a:lnTo>
                  <a:lnTo>
                    <a:pt x="15028" y="14884"/>
                  </a:lnTo>
                  <a:lnTo>
                    <a:pt x="15021" y="14899"/>
                  </a:lnTo>
                  <a:lnTo>
                    <a:pt x="15014" y="14913"/>
                  </a:lnTo>
                  <a:lnTo>
                    <a:pt x="15006" y="14927"/>
                  </a:lnTo>
                  <a:lnTo>
                    <a:pt x="14997" y="14941"/>
                  </a:lnTo>
                  <a:lnTo>
                    <a:pt x="14988" y="14954"/>
                  </a:lnTo>
                  <a:lnTo>
                    <a:pt x="14978" y="14967"/>
                  </a:lnTo>
                  <a:lnTo>
                    <a:pt x="14967" y="14979"/>
                  </a:lnTo>
                  <a:lnTo>
                    <a:pt x="14956" y="14990"/>
                  </a:lnTo>
                  <a:lnTo>
                    <a:pt x="14945" y="15002"/>
                  </a:lnTo>
                  <a:lnTo>
                    <a:pt x="14932" y="15013"/>
                  </a:lnTo>
                  <a:lnTo>
                    <a:pt x="14920" y="15023"/>
                  </a:lnTo>
                  <a:lnTo>
                    <a:pt x="14907" y="15032"/>
                  </a:lnTo>
                  <a:lnTo>
                    <a:pt x="14893" y="15041"/>
                  </a:lnTo>
                  <a:lnTo>
                    <a:pt x="14879" y="15049"/>
                  </a:lnTo>
                  <a:lnTo>
                    <a:pt x="14865" y="15056"/>
                  </a:lnTo>
                  <a:lnTo>
                    <a:pt x="14850" y="15063"/>
                  </a:lnTo>
                  <a:lnTo>
                    <a:pt x="14835" y="15069"/>
                  </a:lnTo>
                  <a:lnTo>
                    <a:pt x="14820" y="15074"/>
                  </a:lnTo>
                  <a:lnTo>
                    <a:pt x="14803" y="15079"/>
                  </a:lnTo>
                  <a:lnTo>
                    <a:pt x="14787" y="15082"/>
                  </a:lnTo>
                  <a:lnTo>
                    <a:pt x="14770" y="15085"/>
                  </a:lnTo>
                  <a:lnTo>
                    <a:pt x="14754" y="15087"/>
                  </a:lnTo>
                  <a:lnTo>
                    <a:pt x="14737" y="15089"/>
                  </a:lnTo>
                  <a:lnTo>
                    <a:pt x="14719" y="15089"/>
                  </a:lnTo>
                  <a:lnTo>
                    <a:pt x="1338" y="15089"/>
                  </a:lnTo>
                  <a:lnTo>
                    <a:pt x="1321" y="15089"/>
                  </a:lnTo>
                  <a:lnTo>
                    <a:pt x="1304" y="15087"/>
                  </a:lnTo>
                  <a:lnTo>
                    <a:pt x="1288" y="15085"/>
                  </a:lnTo>
                  <a:lnTo>
                    <a:pt x="1271" y="15082"/>
                  </a:lnTo>
                  <a:lnTo>
                    <a:pt x="1255" y="15079"/>
                  </a:lnTo>
                  <a:lnTo>
                    <a:pt x="1238" y="15074"/>
                  </a:lnTo>
                  <a:lnTo>
                    <a:pt x="1223" y="15069"/>
                  </a:lnTo>
                  <a:lnTo>
                    <a:pt x="1208" y="15063"/>
                  </a:lnTo>
                  <a:lnTo>
                    <a:pt x="1193" y="15056"/>
                  </a:lnTo>
                  <a:lnTo>
                    <a:pt x="1179" y="15049"/>
                  </a:lnTo>
                  <a:lnTo>
                    <a:pt x="1165" y="15041"/>
                  </a:lnTo>
                  <a:lnTo>
                    <a:pt x="1151" y="15032"/>
                  </a:lnTo>
                  <a:lnTo>
                    <a:pt x="1138" y="15023"/>
                  </a:lnTo>
                  <a:lnTo>
                    <a:pt x="1125" y="15013"/>
                  </a:lnTo>
                  <a:lnTo>
                    <a:pt x="1113" y="15002"/>
                  </a:lnTo>
                  <a:lnTo>
                    <a:pt x="1102" y="14990"/>
                  </a:lnTo>
                  <a:lnTo>
                    <a:pt x="1091" y="14979"/>
                  </a:lnTo>
                  <a:lnTo>
                    <a:pt x="1080" y="14967"/>
                  </a:lnTo>
                  <a:lnTo>
                    <a:pt x="1070" y="14954"/>
                  </a:lnTo>
                  <a:lnTo>
                    <a:pt x="1061" y="14941"/>
                  </a:lnTo>
                  <a:lnTo>
                    <a:pt x="1052" y="14927"/>
                  </a:lnTo>
                  <a:lnTo>
                    <a:pt x="1044" y="14913"/>
                  </a:lnTo>
                  <a:lnTo>
                    <a:pt x="1037" y="14899"/>
                  </a:lnTo>
                  <a:lnTo>
                    <a:pt x="1030" y="14884"/>
                  </a:lnTo>
                  <a:lnTo>
                    <a:pt x="1024" y="14869"/>
                  </a:lnTo>
                  <a:lnTo>
                    <a:pt x="1019" y="14854"/>
                  </a:lnTo>
                  <a:lnTo>
                    <a:pt x="1014" y="14838"/>
                  </a:lnTo>
                  <a:lnTo>
                    <a:pt x="1011" y="14821"/>
                  </a:lnTo>
                  <a:lnTo>
                    <a:pt x="1008" y="14804"/>
                  </a:lnTo>
                  <a:lnTo>
                    <a:pt x="1006" y="14788"/>
                  </a:lnTo>
                  <a:lnTo>
                    <a:pt x="1004" y="14771"/>
                  </a:lnTo>
                  <a:lnTo>
                    <a:pt x="1004" y="14754"/>
                  </a:lnTo>
                  <a:lnTo>
                    <a:pt x="1004" y="2850"/>
                  </a:lnTo>
                  <a:lnTo>
                    <a:pt x="1004" y="2833"/>
                  </a:lnTo>
                  <a:lnTo>
                    <a:pt x="1006" y="2816"/>
                  </a:lnTo>
                  <a:lnTo>
                    <a:pt x="1008" y="2799"/>
                  </a:lnTo>
                  <a:lnTo>
                    <a:pt x="1011" y="2782"/>
                  </a:lnTo>
                  <a:lnTo>
                    <a:pt x="1014" y="2766"/>
                  </a:lnTo>
                  <a:lnTo>
                    <a:pt x="1019" y="2750"/>
                  </a:lnTo>
                  <a:lnTo>
                    <a:pt x="1024" y="2735"/>
                  </a:lnTo>
                  <a:lnTo>
                    <a:pt x="1030" y="2720"/>
                  </a:lnTo>
                  <a:lnTo>
                    <a:pt x="1037" y="2705"/>
                  </a:lnTo>
                  <a:lnTo>
                    <a:pt x="1044" y="2690"/>
                  </a:lnTo>
                  <a:lnTo>
                    <a:pt x="1052" y="2676"/>
                  </a:lnTo>
                  <a:lnTo>
                    <a:pt x="1061" y="2663"/>
                  </a:lnTo>
                  <a:lnTo>
                    <a:pt x="1070" y="2650"/>
                  </a:lnTo>
                  <a:lnTo>
                    <a:pt x="1080" y="2637"/>
                  </a:lnTo>
                  <a:lnTo>
                    <a:pt x="1091" y="2624"/>
                  </a:lnTo>
                  <a:lnTo>
                    <a:pt x="1102" y="2613"/>
                  </a:lnTo>
                  <a:lnTo>
                    <a:pt x="1113" y="2602"/>
                  </a:lnTo>
                  <a:lnTo>
                    <a:pt x="1125" y="2591"/>
                  </a:lnTo>
                  <a:lnTo>
                    <a:pt x="1138" y="2581"/>
                  </a:lnTo>
                  <a:lnTo>
                    <a:pt x="1151" y="2572"/>
                  </a:lnTo>
                  <a:lnTo>
                    <a:pt x="1165" y="2563"/>
                  </a:lnTo>
                  <a:lnTo>
                    <a:pt x="1179" y="2555"/>
                  </a:lnTo>
                  <a:lnTo>
                    <a:pt x="1193" y="2548"/>
                  </a:lnTo>
                  <a:lnTo>
                    <a:pt x="1208" y="2541"/>
                  </a:lnTo>
                  <a:lnTo>
                    <a:pt x="1223" y="2535"/>
                  </a:lnTo>
                  <a:lnTo>
                    <a:pt x="1238" y="2530"/>
                  </a:lnTo>
                  <a:lnTo>
                    <a:pt x="1255" y="2525"/>
                  </a:lnTo>
                  <a:lnTo>
                    <a:pt x="1271" y="2522"/>
                  </a:lnTo>
                  <a:lnTo>
                    <a:pt x="1288" y="2519"/>
                  </a:lnTo>
                  <a:lnTo>
                    <a:pt x="1304" y="2517"/>
                  </a:lnTo>
                  <a:lnTo>
                    <a:pt x="1321" y="2515"/>
                  </a:lnTo>
                  <a:lnTo>
                    <a:pt x="1338" y="2515"/>
                  </a:lnTo>
                  <a:lnTo>
                    <a:pt x="3513" y="2515"/>
                  </a:lnTo>
                  <a:lnTo>
                    <a:pt x="3513" y="3521"/>
                  </a:lnTo>
                  <a:lnTo>
                    <a:pt x="3514" y="3547"/>
                  </a:lnTo>
                  <a:lnTo>
                    <a:pt x="3515" y="3572"/>
                  </a:lnTo>
                  <a:lnTo>
                    <a:pt x="3519" y="3597"/>
                  </a:lnTo>
                  <a:lnTo>
                    <a:pt x="3523" y="3622"/>
                  </a:lnTo>
                  <a:lnTo>
                    <a:pt x="3529" y="3647"/>
                  </a:lnTo>
                  <a:lnTo>
                    <a:pt x="3535" y="3671"/>
                  </a:lnTo>
                  <a:lnTo>
                    <a:pt x="3543" y="3694"/>
                  </a:lnTo>
                  <a:lnTo>
                    <a:pt x="3552" y="3717"/>
                  </a:lnTo>
                  <a:lnTo>
                    <a:pt x="3562" y="3739"/>
                  </a:lnTo>
                  <a:lnTo>
                    <a:pt x="3573" y="3760"/>
                  </a:lnTo>
                  <a:lnTo>
                    <a:pt x="3585" y="3781"/>
                  </a:lnTo>
                  <a:lnTo>
                    <a:pt x="3598" y="3802"/>
                  </a:lnTo>
                  <a:lnTo>
                    <a:pt x="3612" y="3822"/>
                  </a:lnTo>
                  <a:lnTo>
                    <a:pt x="3627" y="3841"/>
                  </a:lnTo>
                  <a:lnTo>
                    <a:pt x="3643" y="3859"/>
                  </a:lnTo>
                  <a:lnTo>
                    <a:pt x="3659" y="3877"/>
                  </a:lnTo>
                  <a:lnTo>
                    <a:pt x="3677" y="3893"/>
                  </a:lnTo>
                  <a:lnTo>
                    <a:pt x="3695" y="3909"/>
                  </a:lnTo>
                  <a:lnTo>
                    <a:pt x="3714" y="3924"/>
                  </a:lnTo>
                  <a:lnTo>
                    <a:pt x="3733" y="3938"/>
                  </a:lnTo>
                  <a:lnTo>
                    <a:pt x="3755" y="3951"/>
                  </a:lnTo>
                  <a:lnTo>
                    <a:pt x="3776" y="3963"/>
                  </a:lnTo>
                  <a:lnTo>
                    <a:pt x="3797" y="3974"/>
                  </a:lnTo>
                  <a:lnTo>
                    <a:pt x="3819" y="3985"/>
                  </a:lnTo>
                  <a:lnTo>
                    <a:pt x="3842" y="3994"/>
                  </a:lnTo>
                  <a:lnTo>
                    <a:pt x="3865" y="4002"/>
                  </a:lnTo>
                  <a:lnTo>
                    <a:pt x="3889" y="4008"/>
                  </a:lnTo>
                  <a:lnTo>
                    <a:pt x="3913" y="4014"/>
                  </a:lnTo>
                  <a:lnTo>
                    <a:pt x="3938" y="4018"/>
                  </a:lnTo>
                  <a:lnTo>
                    <a:pt x="3963" y="4021"/>
                  </a:lnTo>
                  <a:lnTo>
                    <a:pt x="3988" y="4023"/>
                  </a:lnTo>
                  <a:lnTo>
                    <a:pt x="4015" y="4024"/>
                  </a:lnTo>
                  <a:lnTo>
                    <a:pt x="4041" y="4023"/>
                  </a:lnTo>
                  <a:lnTo>
                    <a:pt x="4066" y="4021"/>
                  </a:lnTo>
                  <a:lnTo>
                    <a:pt x="4091" y="4018"/>
                  </a:lnTo>
                  <a:lnTo>
                    <a:pt x="4116" y="4014"/>
                  </a:lnTo>
                  <a:lnTo>
                    <a:pt x="4140" y="4008"/>
                  </a:lnTo>
                  <a:lnTo>
                    <a:pt x="4164" y="4002"/>
                  </a:lnTo>
                  <a:lnTo>
                    <a:pt x="4187" y="3994"/>
                  </a:lnTo>
                  <a:lnTo>
                    <a:pt x="4210" y="3985"/>
                  </a:lnTo>
                  <a:lnTo>
                    <a:pt x="4232" y="3974"/>
                  </a:lnTo>
                  <a:lnTo>
                    <a:pt x="4253" y="3963"/>
                  </a:lnTo>
                  <a:lnTo>
                    <a:pt x="4274" y="3951"/>
                  </a:lnTo>
                  <a:lnTo>
                    <a:pt x="4295" y="3938"/>
                  </a:lnTo>
                  <a:lnTo>
                    <a:pt x="4315" y="3924"/>
                  </a:lnTo>
                  <a:lnTo>
                    <a:pt x="4334" y="3909"/>
                  </a:lnTo>
                  <a:lnTo>
                    <a:pt x="4352" y="3893"/>
                  </a:lnTo>
                  <a:lnTo>
                    <a:pt x="4369" y="3877"/>
                  </a:lnTo>
                  <a:lnTo>
                    <a:pt x="4386" y="3859"/>
                  </a:lnTo>
                  <a:lnTo>
                    <a:pt x="4402" y="3841"/>
                  </a:lnTo>
                  <a:lnTo>
                    <a:pt x="4417" y="3822"/>
                  </a:lnTo>
                  <a:lnTo>
                    <a:pt x="4431" y="3802"/>
                  </a:lnTo>
                  <a:lnTo>
                    <a:pt x="4444" y="3781"/>
                  </a:lnTo>
                  <a:lnTo>
                    <a:pt x="4456" y="3760"/>
                  </a:lnTo>
                  <a:lnTo>
                    <a:pt x="4467" y="3739"/>
                  </a:lnTo>
                  <a:lnTo>
                    <a:pt x="4477" y="3717"/>
                  </a:lnTo>
                  <a:lnTo>
                    <a:pt x="4486" y="3694"/>
                  </a:lnTo>
                  <a:lnTo>
                    <a:pt x="4493" y="3671"/>
                  </a:lnTo>
                  <a:lnTo>
                    <a:pt x="4500" y="3647"/>
                  </a:lnTo>
                  <a:lnTo>
                    <a:pt x="4506" y="3622"/>
                  </a:lnTo>
                  <a:lnTo>
                    <a:pt x="4510" y="3597"/>
                  </a:lnTo>
                  <a:lnTo>
                    <a:pt x="4513" y="3572"/>
                  </a:lnTo>
                  <a:lnTo>
                    <a:pt x="4515" y="3547"/>
                  </a:lnTo>
                  <a:lnTo>
                    <a:pt x="4516" y="3521"/>
                  </a:lnTo>
                  <a:lnTo>
                    <a:pt x="4516" y="2515"/>
                  </a:lnTo>
                  <a:lnTo>
                    <a:pt x="7527" y="2515"/>
                  </a:lnTo>
                  <a:lnTo>
                    <a:pt x="7527" y="3521"/>
                  </a:lnTo>
                  <a:lnTo>
                    <a:pt x="7528" y="3547"/>
                  </a:lnTo>
                  <a:lnTo>
                    <a:pt x="7529" y="3572"/>
                  </a:lnTo>
                  <a:lnTo>
                    <a:pt x="7533" y="3597"/>
                  </a:lnTo>
                  <a:lnTo>
                    <a:pt x="7537" y="3622"/>
                  </a:lnTo>
                  <a:lnTo>
                    <a:pt x="7543" y="3647"/>
                  </a:lnTo>
                  <a:lnTo>
                    <a:pt x="7549" y="3671"/>
                  </a:lnTo>
                  <a:lnTo>
                    <a:pt x="7557" y="3694"/>
                  </a:lnTo>
                  <a:lnTo>
                    <a:pt x="7566" y="3717"/>
                  </a:lnTo>
                  <a:lnTo>
                    <a:pt x="7576" y="3739"/>
                  </a:lnTo>
                  <a:lnTo>
                    <a:pt x="7587" y="3760"/>
                  </a:lnTo>
                  <a:lnTo>
                    <a:pt x="7599" y="3781"/>
                  </a:lnTo>
                  <a:lnTo>
                    <a:pt x="7612" y="3802"/>
                  </a:lnTo>
                  <a:lnTo>
                    <a:pt x="7627" y="3822"/>
                  </a:lnTo>
                  <a:lnTo>
                    <a:pt x="7642" y="3841"/>
                  </a:lnTo>
                  <a:lnTo>
                    <a:pt x="7658" y="3859"/>
                  </a:lnTo>
                  <a:lnTo>
                    <a:pt x="7674" y="3877"/>
                  </a:lnTo>
                  <a:lnTo>
                    <a:pt x="7692" y="3893"/>
                  </a:lnTo>
                  <a:lnTo>
                    <a:pt x="7710" y="3909"/>
                  </a:lnTo>
                  <a:lnTo>
                    <a:pt x="7729" y="3924"/>
                  </a:lnTo>
                  <a:lnTo>
                    <a:pt x="7748" y="3938"/>
                  </a:lnTo>
                  <a:lnTo>
                    <a:pt x="7769" y="3951"/>
                  </a:lnTo>
                  <a:lnTo>
                    <a:pt x="7790" y="3963"/>
                  </a:lnTo>
                  <a:lnTo>
                    <a:pt x="7811" y="3974"/>
                  </a:lnTo>
                  <a:lnTo>
                    <a:pt x="7833" y="3985"/>
                  </a:lnTo>
                  <a:lnTo>
                    <a:pt x="7856" y="3994"/>
                  </a:lnTo>
                  <a:lnTo>
                    <a:pt x="7879" y="4002"/>
                  </a:lnTo>
                  <a:lnTo>
                    <a:pt x="7904" y="4008"/>
                  </a:lnTo>
                  <a:lnTo>
                    <a:pt x="7928" y="4014"/>
                  </a:lnTo>
                  <a:lnTo>
                    <a:pt x="7953" y="4018"/>
                  </a:lnTo>
                  <a:lnTo>
                    <a:pt x="7978" y="4021"/>
                  </a:lnTo>
                  <a:lnTo>
                    <a:pt x="8003" y="4023"/>
                  </a:lnTo>
                  <a:lnTo>
                    <a:pt x="8029" y="4024"/>
                  </a:lnTo>
                  <a:lnTo>
                    <a:pt x="8055" y="4023"/>
                  </a:lnTo>
                  <a:lnTo>
                    <a:pt x="8080" y="4021"/>
                  </a:lnTo>
                  <a:lnTo>
                    <a:pt x="8105" y="4018"/>
                  </a:lnTo>
                  <a:lnTo>
                    <a:pt x="8130" y="4014"/>
                  </a:lnTo>
                  <a:lnTo>
                    <a:pt x="8154" y="4008"/>
                  </a:lnTo>
                  <a:lnTo>
                    <a:pt x="8179" y="4002"/>
                  </a:lnTo>
                  <a:lnTo>
                    <a:pt x="8202" y="3994"/>
                  </a:lnTo>
                  <a:lnTo>
                    <a:pt x="8224" y="3985"/>
                  </a:lnTo>
                  <a:lnTo>
                    <a:pt x="8247" y="3974"/>
                  </a:lnTo>
                  <a:lnTo>
                    <a:pt x="8268" y="3963"/>
                  </a:lnTo>
                  <a:lnTo>
                    <a:pt x="8289" y="3951"/>
                  </a:lnTo>
                  <a:lnTo>
                    <a:pt x="8309" y="3938"/>
                  </a:lnTo>
                  <a:lnTo>
                    <a:pt x="8329" y="3924"/>
                  </a:lnTo>
                  <a:lnTo>
                    <a:pt x="8348" y="3909"/>
                  </a:lnTo>
                  <a:lnTo>
                    <a:pt x="8366" y="3893"/>
                  </a:lnTo>
                  <a:lnTo>
                    <a:pt x="8383" y="3877"/>
                  </a:lnTo>
                  <a:lnTo>
                    <a:pt x="8400" y="3859"/>
                  </a:lnTo>
                  <a:lnTo>
                    <a:pt x="8416" y="3841"/>
                  </a:lnTo>
                  <a:lnTo>
                    <a:pt x="8431" y="3822"/>
                  </a:lnTo>
                  <a:lnTo>
                    <a:pt x="8446" y="3802"/>
                  </a:lnTo>
                  <a:lnTo>
                    <a:pt x="8459" y="3781"/>
                  </a:lnTo>
                  <a:lnTo>
                    <a:pt x="8471" y="3760"/>
                  </a:lnTo>
                  <a:lnTo>
                    <a:pt x="8482" y="3739"/>
                  </a:lnTo>
                  <a:lnTo>
                    <a:pt x="8492" y="3717"/>
                  </a:lnTo>
                  <a:lnTo>
                    <a:pt x="8501" y="3694"/>
                  </a:lnTo>
                  <a:lnTo>
                    <a:pt x="8508" y="3671"/>
                  </a:lnTo>
                  <a:lnTo>
                    <a:pt x="8515" y="3647"/>
                  </a:lnTo>
                  <a:lnTo>
                    <a:pt x="8521" y="3622"/>
                  </a:lnTo>
                  <a:lnTo>
                    <a:pt x="8525" y="3597"/>
                  </a:lnTo>
                  <a:lnTo>
                    <a:pt x="8528" y="3572"/>
                  </a:lnTo>
                  <a:lnTo>
                    <a:pt x="8530" y="3547"/>
                  </a:lnTo>
                  <a:lnTo>
                    <a:pt x="8531" y="3521"/>
                  </a:lnTo>
                  <a:lnTo>
                    <a:pt x="8531" y="2515"/>
                  </a:lnTo>
                  <a:lnTo>
                    <a:pt x="11542" y="2515"/>
                  </a:lnTo>
                  <a:lnTo>
                    <a:pt x="11542" y="3521"/>
                  </a:lnTo>
                  <a:lnTo>
                    <a:pt x="11543" y="3547"/>
                  </a:lnTo>
                  <a:lnTo>
                    <a:pt x="11545" y="3572"/>
                  </a:lnTo>
                  <a:lnTo>
                    <a:pt x="11548" y="3597"/>
                  </a:lnTo>
                  <a:lnTo>
                    <a:pt x="11552" y="3622"/>
                  </a:lnTo>
                  <a:lnTo>
                    <a:pt x="11558" y="3647"/>
                  </a:lnTo>
                  <a:lnTo>
                    <a:pt x="11564" y="3671"/>
                  </a:lnTo>
                  <a:lnTo>
                    <a:pt x="11572" y="3694"/>
                  </a:lnTo>
                  <a:lnTo>
                    <a:pt x="11581" y="3717"/>
                  </a:lnTo>
                  <a:lnTo>
                    <a:pt x="11591" y="3739"/>
                  </a:lnTo>
                  <a:lnTo>
                    <a:pt x="11602" y="3760"/>
                  </a:lnTo>
                  <a:lnTo>
                    <a:pt x="11614" y="3781"/>
                  </a:lnTo>
                  <a:lnTo>
                    <a:pt x="11627" y="3802"/>
                  </a:lnTo>
                  <a:lnTo>
                    <a:pt x="11641" y="3822"/>
                  </a:lnTo>
                  <a:lnTo>
                    <a:pt x="11656" y="3841"/>
                  </a:lnTo>
                  <a:lnTo>
                    <a:pt x="11672" y="3859"/>
                  </a:lnTo>
                  <a:lnTo>
                    <a:pt x="11688" y="3877"/>
                  </a:lnTo>
                  <a:lnTo>
                    <a:pt x="11706" y="3893"/>
                  </a:lnTo>
                  <a:lnTo>
                    <a:pt x="11724" y="3909"/>
                  </a:lnTo>
                  <a:lnTo>
                    <a:pt x="11743" y="3924"/>
                  </a:lnTo>
                  <a:lnTo>
                    <a:pt x="11762" y="3938"/>
                  </a:lnTo>
                  <a:lnTo>
                    <a:pt x="11784" y="3951"/>
                  </a:lnTo>
                  <a:lnTo>
                    <a:pt x="11805" y="3963"/>
                  </a:lnTo>
                  <a:lnTo>
                    <a:pt x="11826" y="3974"/>
                  </a:lnTo>
                  <a:lnTo>
                    <a:pt x="11848" y="3985"/>
                  </a:lnTo>
                  <a:lnTo>
                    <a:pt x="11871" y="3994"/>
                  </a:lnTo>
                  <a:lnTo>
                    <a:pt x="11894" y="4002"/>
                  </a:lnTo>
                  <a:lnTo>
                    <a:pt x="11918" y="4008"/>
                  </a:lnTo>
                  <a:lnTo>
                    <a:pt x="11942" y="4014"/>
                  </a:lnTo>
                  <a:lnTo>
                    <a:pt x="11967" y="4018"/>
                  </a:lnTo>
                  <a:lnTo>
                    <a:pt x="11992" y="4021"/>
                  </a:lnTo>
                  <a:lnTo>
                    <a:pt x="12017" y="4023"/>
                  </a:lnTo>
                  <a:lnTo>
                    <a:pt x="12044" y="4024"/>
                  </a:lnTo>
                  <a:lnTo>
                    <a:pt x="12070" y="4023"/>
                  </a:lnTo>
                  <a:lnTo>
                    <a:pt x="12095" y="4021"/>
                  </a:lnTo>
                  <a:lnTo>
                    <a:pt x="12120" y="4018"/>
                  </a:lnTo>
                  <a:lnTo>
                    <a:pt x="12145" y="4014"/>
                  </a:lnTo>
                  <a:lnTo>
                    <a:pt x="12169" y="4008"/>
                  </a:lnTo>
                  <a:lnTo>
                    <a:pt x="12193" y="4002"/>
                  </a:lnTo>
                  <a:lnTo>
                    <a:pt x="12216" y="3994"/>
                  </a:lnTo>
                  <a:lnTo>
                    <a:pt x="12238" y="3985"/>
                  </a:lnTo>
                  <a:lnTo>
                    <a:pt x="12261" y="3974"/>
                  </a:lnTo>
                  <a:lnTo>
                    <a:pt x="12282" y="3963"/>
                  </a:lnTo>
                  <a:lnTo>
                    <a:pt x="12303" y="3951"/>
                  </a:lnTo>
                  <a:lnTo>
                    <a:pt x="12324" y="3938"/>
                  </a:lnTo>
                  <a:lnTo>
                    <a:pt x="12344" y="3924"/>
                  </a:lnTo>
                  <a:lnTo>
                    <a:pt x="12363" y="3909"/>
                  </a:lnTo>
                  <a:lnTo>
                    <a:pt x="12381" y="3893"/>
                  </a:lnTo>
                  <a:lnTo>
                    <a:pt x="12398" y="3877"/>
                  </a:lnTo>
                  <a:lnTo>
                    <a:pt x="12415" y="3859"/>
                  </a:lnTo>
                  <a:lnTo>
                    <a:pt x="12431" y="3841"/>
                  </a:lnTo>
                  <a:lnTo>
                    <a:pt x="12446" y="3822"/>
                  </a:lnTo>
                  <a:lnTo>
                    <a:pt x="12460" y="3802"/>
                  </a:lnTo>
                  <a:lnTo>
                    <a:pt x="12473" y="3781"/>
                  </a:lnTo>
                  <a:lnTo>
                    <a:pt x="12485" y="3760"/>
                  </a:lnTo>
                  <a:lnTo>
                    <a:pt x="12496" y="3739"/>
                  </a:lnTo>
                  <a:lnTo>
                    <a:pt x="12506" y="3717"/>
                  </a:lnTo>
                  <a:lnTo>
                    <a:pt x="12515" y="3694"/>
                  </a:lnTo>
                  <a:lnTo>
                    <a:pt x="12522" y="3671"/>
                  </a:lnTo>
                  <a:lnTo>
                    <a:pt x="12529" y="3647"/>
                  </a:lnTo>
                  <a:lnTo>
                    <a:pt x="12535" y="3622"/>
                  </a:lnTo>
                  <a:lnTo>
                    <a:pt x="12539" y="3597"/>
                  </a:lnTo>
                  <a:lnTo>
                    <a:pt x="12542" y="3572"/>
                  </a:lnTo>
                  <a:lnTo>
                    <a:pt x="12544" y="3547"/>
                  </a:lnTo>
                  <a:lnTo>
                    <a:pt x="12545" y="3521"/>
                  </a:lnTo>
                  <a:lnTo>
                    <a:pt x="12545" y="2515"/>
                  </a:lnTo>
                  <a:lnTo>
                    <a:pt x="14719" y="2515"/>
                  </a:lnTo>
                  <a:lnTo>
                    <a:pt x="14737" y="2515"/>
                  </a:lnTo>
                  <a:lnTo>
                    <a:pt x="14754" y="2517"/>
                  </a:lnTo>
                  <a:lnTo>
                    <a:pt x="14770" y="2519"/>
                  </a:lnTo>
                  <a:lnTo>
                    <a:pt x="14787" y="2522"/>
                  </a:lnTo>
                  <a:lnTo>
                    <a:pt x="14803" y="2525"/>
                  </a:lnTo>
                  <a:lnTo>
                    <a:pt x="14820" y="2530"/>
                  </a:lnTo>
                  <a:lnTo>
                    <a:pt x="14835" y="2535"/>
                  </a:lnTo>
                  <a:lnTo>
                    <a:pt x="14850" y="2541"/>
                  </a:lnTo>
                  <a:lnTo>
                    <a:pt x="14865" y="2548"/>
                  </a:lnTo>
                  <a:lnTo>
                    <a:pt x="14879" y="2555"/>
                  </a:lnTo>
                  <a:lnTo>
                    <a:pt x="14893" y="2563"/>
                  </a:lnTo>
                  <a:lnTo>
                    <a:pt x="14907" y="2572"/>
                  </a:lnTo>
                  <a:lnTo>
                    <a:pt x="14920" y="2581"/>
                  </a:lnTo>
                  <a:lnTo>
                    <a:pt x="14932" y="2591"/>
                  </a:lnTo>
                  <a:lnTo>
                    <a:pt x="14945" y="2602"/>
                  </a:lnTo>
                  <a:lnTo>
                    <a:pt x="14956" y="2613"/>
                  </a:lnTo>
                  <a:lnTo>
                    <a:pt x="14967" y="2624"/>
                  </a:lnTo>
                  <a:lnTo>
                    <a:pt x="14978" y="2637"/>
                  </a:lnTo>
                  <a:lnTo>
                    <a:pt x="14988" y="2650"/>
                  </a:lnTo>
                  <a:lnTo>
                    <a:pt x="14997" y="2663"/>
                  </a:lnTo>
                  <a:lnTo>
                    <a:pt x="15006" y="2676"/>
                  </a:lnTo>
                  <a:lnTo>
                    <a:pt x="15014" y="2690"/>
                  </a:lnTo>
                  <a:lnTo>
                    <a:pt x="15021" y="2705"/>
                  </a:lnTo>
                  <a:lnTo>
                    <a:pt x="15028" y="2720"/>
                  </a:lnTo>
                  <a:lnTo>
                    <a:pt x="15034" y="2735"/>
                  </a:lnTo>
                  <a:lnTo>
                    <a:pt x="15039" y="2750"/>
                  </a:lnTo>
                  <a:lnTo>
                    <a:pt x="15043" y="2766"/>
                  </a:lnTo>
                  <a:lnTo>
                    <a:pt x="15047" y="2782"/>
                  </a:lnTo>
                  <a:lnTo>
                    <a:pt x="15050" y="2799"/>
                  </a:lnTo>
                  <a:lnTo>
                    <a:pt x="15052" y="2816"/>
                  </a:lnTo>
                  <a:lnTo>
                    <a:pt x="15053" y="2833"/>
                  </a:lnTo>
                  <a:lnTo>
                    <a:pt x="15054" y="2850"/>
                  </a:lnTo>
                  <a:lnTo>
                    <a:pt x="15054" y="14754"/>
                  </a:lnTo>
                  <a:close/>
                  <a:moveTo>
                    <a:pt x="14719" y="1509"/>
                  </a:moveTo>
                  <a:lnTo>
                    <a:pt x="12545" y="1509"/>
                  </a:lnTo>
                  <a:lnTo>
                    <a:pt x="12545" y="503"/>
                  </a:lnTo>
                  <a:lnTo>
                    <a:pt x="12544" y="477"/>
                  </a:lnTo>
                  <a:lnTo>
                    <a:pt x="12542" y="452"/>
                  </a:lnTo>
                  <a:lnTo>
                    <a:pt x="12539" y="427"/>
                  </a:lnTo>
                  <a:lnTo>
                    <a:pt x="12535" y="401"/>
                  </a:lnTo>
                  <a:lnTo>
                    <a:pt x="12529" y="377"/>
                  </a:lnTo>
                  <a:lnTo>
                    <a:pt x="12522" y="353"/>
                  </a:lnTo>
                  <a:lnTo>
                    <a:pt x="12515" y="330"/>
                  </a:lnTo>
                  <a:lnTo>
                    <a:pt x="12506" y="307"/>
                  </a:lnTo>
                  <a:lnTo>
                    <a:pt x="12496" y="285"/>
                  </a:lnTo>
                  <a:lnTo>
                    <a:pt x="12485" y="264"/>
                  </a:lnTo>
                  <a:lnTo>
                    <a:pt x="12473" y="242"/>
                  </a:lnTo>
                  <a:lnTo>
                    <a:pt x="12460" y="221"/>
                  </a:lnTo>
                  <a:lnTo>
                    <a:pt x="12446" y="202"/>
                  </a:lnTo>
                  <a:lnTo>
                    <a:pt x="12431" y="183"/>
                  </a:lnTo>
                  <a:lnTo>
                    <a:pt x="12415" y="165"/>
                  </a:lnTo>
                  <a:lnTo>
                    <a:pt x="12398" y="147"/>
                  </a:lnTo>
                  <a:lnTo>
                    <a:pt x="12381" y="131"/>
                  </a:lnTo>
                  <a:lnTo>
                    <a:pt x="12363" y="115"/>
                  </a:lnTo>
                  <a:lnTo>
                    <a:pt x="12344" y="100"/>
                  </a:lnTo>
                  <a:lnTo>
                    <a:pt x="12324" y="86"/>
                  </a:lnTo>
                  <a:lnTo>
                    <a:pt x="12303" y="72"/>
                  </a:lnTo>
                  <a:lnTo>
                    <a:pt x="12282" y="60"/>
                  </a:lnTo>
                  <a:lnTo>
                    <a:pt x="12261" y="49"/>
                  </a:lnTo>
                  <a:lnTo>
                    <a:pt x="12238" y="39"/>
                  </a:lnTo>
                  <a:lnTo>
                    <a:pt x="12216" y="30"/>
                  </a:lnTo>
                  <a:lnTo>
                    <a:pt x="12193" y="22"/>
                  </a:lnTo>
                  <a:lnTo>
                    <a:pt x="12169" y="16"/>
                  </a:lnTo>
                  <a:lnTo>
                    <a:pt x="12145" y="10"/>
                  </a:lnTo>
                  <a:lnTo>
                    <a:pt x="12120" y="6"/>
                  </a:lnTo>
                  <a:lnTo>
                    <a:pt x="12095" y="3"/>
                  </a:lnTo>
                  <a:lnTo>
                    <a:pt x="12070" y="1"/>
                  </a:lnTo>
                  <a:lnTo>
                    <a:pt x="12044" y="0"/>
                  </a:lnTo>
                  <a:lnTo>
                    <a:pt x="12017" y="1"/>
                  </a:lnTo>
                  <a:lnTo>
                    <a:pt x="11992" y="3"/>
                  </a:lnTo>
                  <a:lnTo>
                    <a:pt x="11967" y="6"/>
                  </a:lnTo>
                  <a:lnTo>
                    <a:pt x="11942" y="10"/>
                  </a:lnTo>
                  <a:lnTo>
                    <a:pt x="11918" y="16"/>
                  </a:lnTo>
                  <a:lnTo>
                    <a:pt x="11894" y="22"/>
                  </a:lnTo>
                  <a:lnTo>
                    <a:pt x="11871" y="30"/>
                  </a:lnTo>
                  <a:lnTo>
                    <a:pt x="11848" y="39"/>
                  </a:lnTo>
                  <a:lnTo>
                    <a:pt x="11826" y="49"/>
                  </a:lnTo>
                  <a:lnTo>
                    <a:pt x="11805" y="60"/>
                  </a:lnTo>
                  <a:lnTo>
                    <a:pt x="11784" y="72"/>
                  </a:lnTo>
                  <a:lnTo>
                    <a:pt x="11762" y="86"/>
                  </a:lnTo>
                  <a:lnTo>
                    <a:pt x="11743" y="100"/>
                  </a:lnTo>
                  <a:lnTo>
                    <a:pt x="11724" y="115"/>
                  </a:lnTo>
                  <a:lnTo>
                    <a:pt x="11706" y="131"/>
                  </a:lnTo>
                  <a:lnTo>
                    <a:pt x="11688" y="147"/>
                  </a:lnTo>
                  <a:lnTo>
                    <a:pt x="11672" y="165"/>
                  </a:lnTo>
                  <a:lnTo>
                    <a:pt x="11656" y="183"/>
                  </a:lnTo>
                  <a:lnTo>
                    <a:pt x="11641" y="202"/>
                  </a:lnTo>
                  <a:lnTo>
                    <a:pt x="11627" y="221"/>
                  </a:lnTo>
                  <a:lnTo>
                    <a:pt x="11614" y="242"/>
                  </a:lnTo>
                  <a:lnTo>
                    <a:pt x="11602" y="264"/>
                  </a:lnTo>
                  <a:lnTo>
                    <a:pt x="11591" y="285"/>
                  </a:lnTo>
                  <a:lnTo>
                    <a:pt x="11581" y="307"/>
                  </a:lnTo>
                  <a:lnTo>
                    <a:pt x="11572" y="330"/>
                  </a:lnTo>
                  <a:lnTo>
                    <a:pt x="11564" y="353"/>
                  </a:lnTo>
                  <a:lnTo>
                    <a:pt x="11558" y="377"/>
                  </a:lnTo>
                  <a:lnTo>
                    <a:pt x="11552" y="401"/>
                  </a:lnTo>
                  <a:lnTo>
                    <a:pt x="11548" y="427"/>
                  </a:lnTo>
                  <a:lnTo>
                    <a:pt x="11545" y="452"/>
                  </a:lnTo>
                  <a:lnTo>
                    <a:pt x="11543" y="477"/>
                  </a:lnTo>
                  <a:lnTo>
                    <a:pt x="11542" y="503"/>
                  </a:lnTo>
                  <a:lnTo>
                    <a:pt x="11542" y="1509"/>
                  </a:lnTo>
                  <a:lnTo>
                    <a:pt x="8531" y="1509"/>
                  </a:lnTo>
                  <a:lnTo>
                    <a:pt x="8531" y="503"/>
                  </a:lnTo>
                  <a:lnTo>
                    <a:pt x="8530" y="477"/>
                  </a:lnTo>
                  <a:lnTo>
                    <a:pt x="8528" y="452"/>
                  </a:lnTo>
                  <a:lnTo>
                    <a:pt x="8525" y="427"/>
                  </a:lnTo>
                  <a:lnTo>
                    <a:pt x="8521" y="401"/>
                  </a:lnTo>
                  <a:lnTo>
                    <a:pt x="8515" y="377"/>
                  </a:lnTo>
                  <a:lnTo>
                    <a:pt x="8508" y="353"/>
                  </a:lnTo>
                  <a:lnTo>
                    <a:pt x="8501" y="330"/>
                  </a:lnTo>
                  <a:lnTo>
                    <a:pt x="8492" y="307"/>
                  </a:lnTo>
                  <a:lnTo>
                    <a:pt x="8482" y="285"/>
                  </a:lnTo>
                  <a:lnTo>
                    <a:pt x="8471" y="264"/>
                  </a:lnTo>
                  <a:lnTo>
                    <a:pt x="8459" y="242"/>
                  </a:lnTo>
                  <a:lnTo>
                    <a:pt x="8446" y="221"/>
                  </a:lnTo>
                  <a:lnTo>
                    <a:pt x="8431" y="202"/>
                  </a:lnTo>
                  <a:lnTo>
                    <a:pt x="8416" y="183"/>
                  </a:lnTo>
                  <a:lnTo>
                    <a:pt x="8400" y="165"/>
                  </a:lnTo>
                  <a:lnTo>
                    <a:pt x="8383" y="147"/>
                  </a:lnTo>
                  <a:lnTo>
                    <a:pt x="8366" y="131"/>
                  </a:lnTo>
                  <a:lnTo>
                    <a:pt x="8348" y="115"/>
                  </a:lnTo>
                  <a:lnTo>
                    <a:pt x="8329" y="100"/>
                  </a:lnTo>
                  <a:lnTo>
                    <a:pt x="8309" y="86"/>
                  </a:lnTo>
                  <a:lnTo>
                    <a:pt x="8289" y="72"/>
                  </a:lnTo>
                  <a:lnTo>
                    <a:pt x="8268" y="60"/>
                  </a:lnTo>
                  <a:lnTo>
                    <a:pt x="8247" y="49"/>
                  </a:lnTo>
                  <a:lnTo>
                    <a:pt x="8224" y="39"/>
                  </a:lnTo>
                  <a:lnTo>
                    <a:pt x="8202" y="30"/>
                  </a:lnTo>
                  <a:lnTo>
                    <a:pt x="8179" y="22"/>
                  </a:lnTo>
                  <a:lnTo>
                    <a:pt x="8154" y="16"/>
                  </a:lnTo>
                  <a:lnTo>
                    <a:pt x="8130" y="10"/>
                  </a:lnTo>
                  <a:lnTo>
                    <a:pt x="8105" y="6"/>
                  </a:lnTo>
                  <a:lnTo>
                    <a:pt x="8080" y="3"/>
                  </a:lnTo>
                  <a:lnTo>
                    <a:pt x="8055" y="1"/>
                  </a:lnTo>
                  <a:lnTo>
                    <a:pt x="8029" y="0"/>
                  </a:lnTo>
                  <a:lnTo>
                    <a:pt x="8003" y="1"/>
                  </a:lnTo>
                  <a:lnTo>
                    <a:pt x="7978" y="3"/>
                  </a:lnTo>
                  <a:lnTo>
                    <a:pt x="7953" y="6"/>
                  </a:lnTo>
                  <a:lnTo>
                    <a:pt x="7928" y="10"/>
                  </a:lnTo>
                  <a:lnTo>
                    <a:pt x="7904" y="16"/>
                  </a:lnTo>
                  <a:lnTo>
                    <a:pt x="7879" y="22"/>
                  </a:lnTo>
                  <a:lnTo>
                    <a:pt x="7856" y="30"/>
                  </a:lnTo>
                  <a:lnTo>
                    <a:pt x="7833" y="39"/>
                  </a:lnTo>
                  <a:lnTo>
                    <a:pt x="7811" y="49"/>
                  </a:lnTo>
                  <a:lnTo>
                    <a:pt x="7790" y="60"/>
                  </a:lnTo>
                  <a:lnTo>
                    <a:pt x="7769" y="72"/>
                  </a:lnTo>
                  <a:lnTo>
                    <a:pt x="7748" y="86"/>
                  </a:lnTo>
                  <a:lnTo>
                    <a:pt x="7729" y="100"/>
                  </a:lnTo>
                  <a:lnTo>
                    <a:pt x="7710" y="115"/>
                  </a:lnTo>
                  <a:lnTo>
                    <a:pt x="7692" y="131"/>
                  </a:lnTo>
                  <a:lnTo>
                    <a:pt x="7674" y="147"/>
                  </a:lnTo>
                  <a:lnTo>
                    <a:pt x="7658" y="165"/>
                  </a:lnTo>
                  <a:lnTo>
                    <a:pt x="7642" y="183"/>
                  </a:lnTo>
                  <a:lnTo>
                    <a:pt x="7627" y="202"/>
                  </a:lnTo>
                  <a:lnTo>
                    <a:pt x="7612" y="221"/>
                  </a:lnTo>
                  <a:lnTo>
                    <a:pt x="7599" y="242"/>
                  </a:lnTo>
                  <a:lnTo>
                    <a:pt x="7587" y="264"/>
                  </a:lnTo>
                  <a:lnTo>
                    <a:pt x="7576" y="285"/>
                  </a:lnTo>
                  <a:lnTo>
                    <a:pt x="7566" y="307"/>
                  </a:lnTo>
                  <a:lnTo>
                    <a:pt x="7557" y="330"/>
                  </a:lnTo>
                  <a:lnTo>
                    <a:pt x="7549" y="353"/>
                  </a:lnTo>
                  <a:lnTo>
                    <a:pt x="7543" y="377"/>
                  </a:lnTo>
                  <a:lnTo>
                    <a:pt x="7537" y="401"/>
                  </a:lnTo>
                  <a:lnTo>
                    <a:pt x="7533" y="427"/>
                  </a:lnTo>
                  <a:lnTo>
                    <a:pt x="7529" y="452"/>
                  </a:lnTo>
                  <a:lnTo>
                    <a:pt x="7528" y="477"/>
                  </a:lnTo>
                  <a:lnTo>
                    <a:pt x="7527" y="503"/>
                  </a:lnTo>
                  <a:lnTo>
                    <a:pt x="7527" y="1509"/>
                  </a:lnTo>
                  <a:lnTo>
                    <a:pt x="4516" y="1509"/>
                  </a:lnTo>
                  <a:lnTo>
                    <a:pt x="4516" y="503"/>
                  </a:lnTo>
                  <a:lnTo>
                    <a:pt x="4515" y="477"/>
                  </a:lnTo>
                  <a:lnTo>
                    <a:pt x="4513" y="452"/>
                  </a:lnTo>
                  <a:lnTo>
                    <a:pt x="4510" y="427"/>
                  </a:lnTo>
                  <a:lnTo>
                    <a:pt x="4506" y="401"/>
                  </a:lnTo>
                  <a:lnTo>
                    <a:pt x="4500" y="377"/>
                  </a:lnTo>
                  <a:lnTo>
                    <a:pt x="4493" y="353"/>
                  </a:lnTo>
                  <a:lnTo>
                    <a:pt x="4486" y="330"/>
                  </a:lnTo>
                  <a:lnTo>
                    <a:pt x="4477" y="307"/>
                  </a:lnTo>
                  <a:lnTo>
                    <a:pt x="4467" y="285"/>
                  </a:lnTo>
                  <a:lnTo>
                    <a:pt x="4456" y="264"/>
                  </a:lnTo>
                  <a:lnTo>
                    <a:pt x="4444" y="242"/>
                  </a:lnTo>
                  <a:lnTo>
                    <a:pt x="4431" y="221"/>
                  </a:lnTo>
                  <a:lnTo>
                    <a:pt x="4417" y="202"/>
                  </a:lnTo>
                  <a:lnTo>
                    <a:pt x="4402" y="183"/>
                  </a:lnTo>
                  <a:lnTo>
                    <a:pt x="4386" y="165"/>
                  </a:lnTo>
                  <a:lnTo>
                    <a:pt x="4369" y="147"/>
                  </a:lnTo>
                  <a:lnTo>
                    <a:pt x="4352" y="131"/>
                  </a:lnTo>
                  <a:lnTo>
                    <a:pt x="4334" y="115"/>
                  </a:lnTo>
                  <a:lnTo>
                    <a:pt x="4315" y="100"/>
                  </a:lnTo>
                  <a:lnTo>
                    <a:pt x="4295" y="86"/>
                  </a:lnTo>
                  <a:lnTo>
                    <a:pt x="4274" y="72"/>
                  </a:lnTo>
                  <a:lnTo>
                    <a:pt x="4253" y="60"/>
                  </a:lnTo>
                  <a:lnTo>
                    <a:pt x="4232" y="49"/>
                  </a:lnTo>
                  <a:lnTo>
                    <a:pt x="4210" y="39"/>
                  </a:lnTo>
                  <a:lnTo>
                    <a:pt x="4187" y="30"/>
                  </a:lnTo>
                  <a:lnTo>
                    <a:pt x="4164" y="22"/>
                  </a:lnTo>
                  <a:lnTo>
                    <a:pt x="4140" y="16"/>
                  </a:lnTo>
                  <a:lnTo>
                    <a:pt x="4116" y="10"/>
                  </a:lnTo>
                  <a:lnTo>
                    <a:pt x="4091" y="6"/>
                  </a:lnTo>
                  <a:lnTo>
                    <a:pt x="4066" y="3"/>
                  </a:lnTo>
                  <a:lnTo>
                    <a:pt x="4041" y="1"/>
                  </a:lnTo>
                  <a:lnTo>
                    <a:pt x="4015" y="0"/>
                  </a:lnTo>
                  <a:lnTo>
                    <a:pt x="3988" y="1"/>
                  </a:lnTo>
                  <a:lnTo>
                    <a:pt x="3963" y="3"/>
                  </a:lnTo>
                  <a:lnTo>
                    <a:pt x="3938" y="6"/>
                  </a:lnTo>
                  <a:lnTo>
                    <a:pt x="3913" y="10"/>
                  </a:lnTo>
                  <a:lnTo>
                    <a:pt x="3889" y="16"/>
                  </a:lnTo>
                  <a:lnTo>
                    <a:pt x="3865" y="22"/>
                  </a:lnTo>
                  <a:lnTo>
                    <a:pt x="3842" y="30"/>
                  </a:lnTo>
                  <a:lnTo>
                    <a:pt x="3819" y="39"/>
                  </a:lnTo>
                  <a:lnTo>
                    <a:pt x="3797" y="49"/>
                  </a:lnTo>
                  <a:lnTo>
                    <a:pt x="3776" y="60"/>
                  </a:lnTo>
                  <a:lnTo>
                    <a:pt x="3755" y="72"/>
                  </a:lnTo>
                  <a:lnTo>
                    <a:pt x="3733" y="86"/>
                  </a:lnTo>
                  <a:lnTo>
                    <a:pt x="3714" y="100"/>
                  </a:lnTo>
                  <a:lnTo>
                    <a:pt x="3695" y="115"/>
                  </a:lnTo>
                  <a:lnTo>
                    <a:pt x="3677" y="131"/>
                  </a:lnTo>
                  <a:lnTo>
                    <a:pt x="3659" y="147"/>
                  </a:lnTo>
                  <a:lnTo>
                    <a:pt x="3643" y="165"/>
                  </a:lnTo>
                  <a:lnTo>
                    <a:pt x="3627" y="183"/>
                  </a:lnTo>
                  <a:lnTo>
                    <a:pt x="3612" y="202"/>
                  </a:lnTo>
                  <a:lnTo>
                    <a:pt x="3598" y="221"/>
                  </a:lnTo>
                  <a:lnTo>
                    <a:pt x="3585" y="242"/>
                  </a:lnTo>
                  <a:lnTo>
                    <a:pt x="3573" y="264"/>
                  </a:lnTo>
                  <a:lnTo>
                    <a:pt x="3562" y="285"/>
                  </a:lnTo>
                  <a:lnTo>
                    <a:pt x="3552" y="307"/>
                  </a:lnTo>
                  <a:lnTo>
                    <a:pt x="3543" y="330"/>
                  </a:lnTo>
                  <a:lnTo>
                    <a:pt x="3535" y="353"/>
                  </a:lnTo>
                  <a:lnTo>
                    <a:pt x="3529" y="377"/>
                  </a:lnTo>
                  <a:lnTo>
                    <a:pt x="3523" y="401"/>
                  </a:lnTo>
                  <a:lnTo>
                    <a:pt x="3519" y="427"/>
                  </a:lnTo>
                  <a:lnTo>
                    <a:pt x="3515" y="452"/>
                  </a:lnTo>
                  <a:lnTo>
                    <a:pt x="3514" y="477"/>
                  </a:lnTo>
                  <a:lnTo>
                    <a:pt x="3513" y="503"/>
                  </a:lnTo>
                  <a:lnTo>
                    <a:pt x="3513" y="1509"/>
                  </a:lnTo>
                  <a:lnTo>
                    <a:pt x="1338" y="1509"/>
                  </a:lnTo>
                  <a:lnTo>
                    <a:pt x="1270" y="1511"/>
                  </a:lnTo>
                  <a:lnTo>
                    <a:pt x="1201" y="1516"/>
                  </a:lnTo>
                  <a:lnTo>
                    <a:pt x="1134" y="1524"/>
                  </a:lnTo>
                  <a:lnTo>
                    <a:pt x="1069" y="1536"/>
                  </a:lnTo>
                  <a:lnTo>
                    <a:pt x="1004" y="1551"/>
                  </a:lnTo>
                  <a:lnTo>
                    <a:pt x="940" y="1569"/>
                  </a:lnTo>
                  <a:lnTo>
                    <a:pt x="878" y="1590"/>
                  </a:lnTo>
                  <a:lnTo>
                    <a:pt x="817" y="1615"/>
                  </a:lnTo>
                  <a:lnTo>
                    <a:pt x="758" y="1641"/>
                  </a:lnTo>
                  <a:lnTo>
                    <a:pt x="701" y="1671"/>
                  </a:lnTo>
                  <a:lnTo>
                    <a:pt x="644" y="1703"/>
                  </a:lnTo>
                  <a:lnTo>
                    <a:pt x="590" y="1738"/>
                  </a:lnTo>
                  <a:lnTo>
                    <a:pt x="538" y="1775"/>
                  </a:lnTo>
                  <a:lnTo>
                    <a:pt x="487" y="1815"/>
                  </a:lnTo>
                  <a:lnTo>
                    <a:pt x="439" y="1857"/>
                  </a:lnTo>
                  <a:lnTo>
                    <a:pt x="391" y="1901"/>
                  </a:lnTo>
                  <a:lnTo>
                    <a:pt x="347" y="1949"/>
                  </a:lnTo>
                  <a:lnTo>
                    <a:pt x="305" y="1997"/>
                  </a:lnTo>
                  <a:lnTo>
                    <a:pt x="266" y="2047"/>
                  </a:lnTo>
                  <a:lnTo>
                    <a:pt x="229" y="2100"/>
                  </a:lnTo>
                  <a:lnTo>
                    <a:pt x="194" y="2155"/>
                  </a:lnTo>
                  <a:lnTo>
                    <a:pt x="162" y="2210"/>
                  </a:lnTo>
                  <a:lnTo>
                    <a:pt x="131" y="2268"/>
                  </a:lnTo>
                  <a:lnTo>
                    <a:pt x="105" y="2328"/>
                  </a:lnTo>
                  <a:lnTo>
                    <a:pt x="81" y="2389"/>
                  </a:lnTo>
                  <a:lnTo>
                    <a:pt x="60" y="2450"/>
                  </a:lnTo>
                  <a:lnTo>
                    <a:pt x="42" y="2515"/>
                  </a:lnTo>
                  <a:lnTo>
                    <a:pt x="27" y="2579"/>
                  </a:lnTo>
                  <a:lnTo>
                    <a:pt x="15" y="2646"/>
                  </a:lnTo>
                  <a:lnTo>
                    <a:pt x="7" y="2713"/>
                  </a:lnTo>
                  <a:lnTo>
                    <a:pt x="2" y="2780"/>
                  </a:lnTo>
                  <a:lnTo>
                    <a:pt x="0" y="2850"/>
                  </a:lnTo>
                  <a:lnTo>
                    <a:pt x="0" y="14754"/>
                  </a:lnTo>
                  <a:lnTo>
                    <a:pt x="2" y="14822"/>
                  </a:lnTo>
                  <a:lnTo>
                    <a:pt x="7" y="14891"/>
                  </a:lnTo>
                  <a:lnTo>
                    <a:pt x="15" y="14958"/>
                  </a:lnTo>
                  <a:lnTo>
                    <a:pt x="27" y="15024"/>
                  </a:lnTo>
                  <a:lnTo>
                    <a:pt x="42" y="15089"/>
                  </a:lnTo>
                  <a:lnTo>
                    <a:pt x="60" y="15152"/>
                  </a:lnTo>
                  <a:lnTo>
                    <a:pt x="81" y="15215"/>
                  </a:lnTo>
                  <a:lnTo>
                    <a:pt x="105" y="15276"/>
                  </a:lnTo>
                  <a:lnTo>
                    <a:pt x="131" y="15336"/>
                  </a:lnTo>
                  <a:lnTo>
                    <a:pt x="162" y="15393"/>
                  </a:lnTo>
                  <a:lnTo>
                    <a:pt x="194" y="15449"/>
                  </a:lnTo>
                  <a:lnTo>
                    <a:pt x="229" y="15504"/>
                  </a:lnTo>
                  <a:lnTo>
                    <a:pt x="266" y="15556"/>
                  </a:lnTo>
                  <a:lnTo>
                    <a:pt x="305" y="15607"/>
                  </a:lnTo>
                  <a:lnTo>
                    <a:pt x="347" y="15655"/>
                  </a:lnTo>
                  <a:lnTo>
                    <a:pt x="391" y="15702"/>
                  </a:lnTo>
                  <a:lnTo>
                    <a:pt x="439" y="15747"/>
                  </a:lnTo>
                  <a:lnTo>
                    <a:pt x="487" y="15789"/>
                  </a:lnTo>
                  <a:lnTo>
                    <a:pt x="538" y="15828"/>
                  </a:lnTo>
                  <a:lnTo>
                    <a:pt x="590" y="15866"/>
                  </a:lnTo>
                  <a:lnTo>
                    <a:pt x="644" y="15901"/>
                  </a:lnTo>
                  <a:lnTo>
                    <a:pt x="701" y="15933"/>
                  </a:lnTo>
                  <a:lnTo>
                    <a:pt x="758" y="15963"/>
                  </a:lnTo>
                  <a:lnTo>
                    <a:pt x="817" y="15989"/>
                  </a:lnTo>
                  <a:lnTo>
                    <a:pt x="878" y="16014"/>
                  </a:lnTo>
                  <a:lnTo>
                    <a:pt x="940" y="16035"/>
                  </a:lnTo>
                  <a:lnTo>
                    <a:pt x="1004" y="16053"/>
                  </a:lnTo>
                  <a:lnTo>
                    <a:pt x="1069" y="16068"/>
                  </a:lnTo>
                  <a:lnTo>
                    <a:pt x="1134" y="16080"/>
                  </a:lnTo>
                  <a:lnTo>
                    <a:pt x="1201" y="16088"/>
                  </a:lnTo>
                  <a:lnTo>
                    <a:pt x="1270" y="16093"/>
                  </a:lnTo>
                  <a:lnTo>
                    <a:pt x="1338" y="16095"/>
                  </a:lnTo>
                  <a:lnTo>
                    <a:pt x="14719" y="16095"/>
                  </a:lnTo>
                  <a:lnTo>
                    <a:pt x="14788" y="16093"/>
                  </a:lnTo>
                  <a:lnTo>
                    <a:pt x="14857" y="16088"/>
                  </a:lnTo>
                  <a:lnTo>
                    <a:pt x="14924" y="16080"/>
                  </a:lnTo>
                  <a:lnTo>
                    <a:pt x="14989" y="16068"/>
                  </a:lnTo>
                  <a:lnTo>
                    <a:pt x="15054" y="16053"/>
                  </a:lnTo>
                  <a:lnTo>
                    <a:pt x="15118" y="16035"/>
                  </a:lnTo>
                  <a:lnTo>
                    <a:pt x="15180" y="16014"/>
                  </a:lnTo>
                  <a:lnTo>
                    <a:pt x="15241" y="15989"/>
                  </a:lnTo>
                  <a:lnTo>
                    <a:pt x="15300" y="15963"/>
                  </a:lnTo>
                  <a:lnTo>
                    <a:pt x="15357" y="15933"/>
                  </a:lnTo>
                  <a:lnTo>
                    <a:pt x="15414" y="15901"/>
                  </a:lnTo>
                  <a:lnTo>
                    <a:pt x="15468" y="15866"/>
                  </a:lnTo>
                  <a:lnTo>
                    <a:pt x="15520" y="15828"/>
                  </a:lnTo>
                  <a:lnTo>
                    <a:pt x="15571" y="15789"/>
                  </a:lnTo>
                  <a:lnTo>
                    <a:pt x="15619" y="15747"/>
                  </a:lnTo>
                  <a:lnTo>
                    <a:pt x="15666" y="15702"/>
                  </a:lnTo>
                  <a:lnTo>
                    <a:pt x="15711" y="15655"/>
                  </a:lnTo>
                  <a:lnTo>
                    <a:pt x="15752" y="15607"/>
                  </a:lnTo>
                  <a:lnTo>
                    <a:pt x="15792" y="15556"/>
                  </a:lnTo>
                  <a:lnTo>
                    <a:pt x="15829" y="15504"/>
                  </a:lnTo>
                  <a:lnTo>
                    <a:pt x="15864" y="15449"/>
                  </a:lnTo>
                  <a:lnTo>
                    <a:pt x="15896" y="15393"/>
                  </a:lnTo>
                  <a:lnTo>
                    <a:pt x="15926" y="15336"/>
                  </a:lnTo>
                  <a:lnTo>
                    <a:pt x="15953" y="15276"/>
                  </a:lnTo>
                  <a:lnTo>
                    <a:pt x="15977" y="15215"/>
                  </a:lnTo>
                  <a:lnTo>
                    <a:pt x="15998" y="15152"/>
                  </a:lnTo>
                  <a:lnTo>
                    <a:pt x="16016" y="15089"/>
                  </a:lnTo>
                  <a:lnTo>
                    <a:pt x="16031" y="15024"/>
                  </a:lnTo>
                  <a:lnTo>
                    <a:pt x="16043" y="14958"/>
                  </a:lnTo>
                  <a:lnTo>
                    <a:pt x="16051" y="14891"/>
                  </a:lnTo>
                  <a:lnTo>
                    <a:pt x="16056" y="14822"/>
                  </a:lnTo>
                  <a:lnTo>
                    <a:pt x="16058" y="14754"/>
                  </a:lnTo>
                  <a:lnTo>
                    <a:pt x="16058" y="2850"/>
                  </a:lnTo>
                  <a:lnTo>
                    <a:pt x="16056" y="2780"/>
                  </a:lnTo>
                  <a:lnTo>
                    <a:pt x="16051" y="2713"/>
                  </a:lnTo>
                  <a:lnTo>
                    <a:pt x="16043" y="2646"/>
                  </a:lnTo>
                  <a:lnTo>
                    <a:pt x="16031" y="2579"/>
                  </a:lnTo>
                  <a:lnTo>
                    <a:pt x="16016" y="2515"/>
                  </a:lnTo>
                  <a:lnTo>
                    <a:pt x="15998" y="2450"/>
                  </a:lnTo>
                  <a:lnTo>
                    <a:pt x="15977" y="2389"/>
                  </a:lnTo>
                  <a:lnTo>
                    <a:pt x="15953" y="2328"/>
                  </a:lnTo>
                  <a:lnTo>
                    <a:pt x="15926" y="2268"/>
                  </a:lnTo>
                  <a:lnTo>
                    <a:pt x="15896" y="2210"/>
                  </a:lnTo>
                  <a:lnTo>
                    <a:pt x="15864" y="2155"/>
                  </a:lnTo>
                  <a:lnTo>
                    <a:pt x="15829" y="2100"/>
                  </a:lnTo>
                  <a:lnTo>
                    <a:pt x="15792" y="2047"/>
                  </a:lnTo>
                  <a:lnTo>
                    <a:pt x="15752" y="1997"/>
                  </a:lnTo>
                  <a:lnTo>
                    <a:pt x="15711" y="1949"/>
                  </a:lnTo>
                  <a:lnTo>
                    <a:pt x="15666" y="1901"/>
                  </a:lnTo>
                  <a:lnTo>
                    <a:pt x="15619" y="1857"/>
                  </a:lnTo>
                  <a:lnTo>
                    <a:pt x="15571" y="1815"/>
                  </a:lnTo>
                  <a:lnTo>
                    <a:pt x="15520" y="1775"/>
                  </a:lnTo>
                  <a:lnTo>
                    <a:pt x="15468" y="1738"/>
                  </a:lnTo>
                  <a:lnTo>
                    <a:pt x="15414" y="1703"/>
                  </a:lnTo>
                  <a:lnTo>
                    <a:pt x="15357" y="1671"/>
                  </a:lnTo>
                  <a:lnTo>
                    <a:pt x="15300" y="1641"/>
                  </a:lnTo>
                  <a:lnTo>
                    <a:pt x="15241" y="1615"/>
                  </a:lnTo>
                  <a:lnTo>
                    <a:pt x="15180" y="1590"/>
                  </a:lnTo>
                  <a:lnTo>
                    <a:pt x="15118" y="1569"/>
                  </a:lnTo>
                  <a:lnTo>
                    <a:pt x="15054" y="1551"/>
                  </a:lnTo>
                  <a:lnTo>
                    <a:pt x="14989" y="1536"/>
                  </a:lnTo>
                  <a:lnTo>
                    <a:pt x="14924" y="1524"/>
                  </a:lnTo>
                  <a:lnTo>
                    <a:pt x="14857" y="1516"/>
                  </a:lnTo>
                  <a:lnTo>
                    <a:pt x="14788" y="1511"/>
                  </a:lnTo>
                  <a:lnTo>
                    <a:pt x="14719" y="15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35" name="ïṧľidè">
              <a:extLst>
                <a:ext uri="{FF2B5EF4-FFF2-40B4-BE49-F238E27FC236}">
                  <a16:creationId xmlns:a16="http://schemas.microsoft.com/office/drawing/2014/main" id="{CCCCBC8F-9B5C-42E1-93E1-1885A69FA2E8}"/>
                </a:ext>
              </a:extLst>
            </p:cNvPr>
            <p:cNvSpPr/>
            <p:nvPr/>
          </p:nvSpPr>
          <p:spPr bwMode="auto">
            <a:xfrm>
              <a:off x="4232177" y="2675686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36" name="ïṥḻîḍè">
              <a:extLst>
                <a:ext uri="{FF2B5EF4-FFF2-40B4-BE49-F238E27FC236}">
                  <a16:creationId xmlns:a16="http://schemas.microsoft.com/office/drawing/2014/main" id="{30BED60A-FEC9-4666-96AD-A3B859EF4F49}"/>
                </a:ext>
              </a:extLst>
            </p:cNvPr>
            <p:cNvSpPr/>
            <p:nvPr/>
          </p:nvSpPr>
          <p:spPr bwMode="auto">
            <a:xfrm>
              <a:off x="4232177" y="2738922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37" name="îṣḻïďe">
              <a:extLst>
                <a:ext uri="{FF2B5EF4-FFF2-40B4-BE49-F238E27FC236}">
                  <a16:creationId xmlns:a16="http://schemas.microsoft.com/office/drawing/2014/main" id="{CB393EC2-2613-4567-B708-777DF3FABA9A}"/>
                </a:ext>
              </a:extLst>
            </p:cNvPr>
            <p:cNvSpPr/>
            <p:nvPr/>
          </p:nvSpPr>
          <p:spPr bwMode="auto">
            <a:xfrm>
              <a:off x="4232177" y="2802158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38" name="ïṧ1iḋê">
              <a:extLst>
                <a:ext uri="{FF2B5EF4-FFF2-40B4-BE49-F238E27FC236}">
                  <a16:creationId xmlns:a16="http://schemas.microsoft.com/office/drawing/2014/main" id="{088944BE-AACA-4093-A32C-F518EAEABF99}"/>
                </a:ext>
              </a:extLst>
            </p:cNvPr>
            <p:cNvSpPr/>
            <p:nvPr/>
          </p:nvSpPr>
          <p:spPr bwMode="auto">
            <a:xfrm>
              <a:off x="4320521" y="2802158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39" name="išḻîďe">
              <a:extLst>
                <a:ext uri="{FF2B5EF4-FFF2-40B4-BE49-F238E27FC236}">
                  <a16:creationId xmlns:a16="http://schemas.microsoft.com/office/drawing/2014/main" id="{F9AF2DE2-36E2-420E-8171-DE7646FC1975}"/>
                </a:ext>
              </a:extLst>
            </p:cNvPr>
            <p:cNvSpPr/>
            <p:nvPr/>
          </p:nvSpPr>
          <p:spPr bwMode="auto">
            <a:xfrm>
              <a:off x="4320521" y="2738922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40" name="îSḷïḑé">
              <a:extLst>
                <a:ext uri="{FF2B5EF4-FFF2-40B4-BE49-F238E27FC236}">
                  <a16:creationId xmlns:a16="http://schemas.microsoft.com/office/drawing/2014/main" id="{8600E0BF-1F89-4EEB-9550-2D515DBCFED1}"/>
                </a:ext>
              </a:extLst>
            </p:cNvPr>
            <p:cNvSpPr/>
            <p:nvPr/>
          </p:nvSpPr>
          <p:spPr bwMode="auto">
            <a:xfrm>
              <a:off x="4320521" y="2675686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41" name="î$ḻíḑé">
              <a:extLst>
                <a:ext uri="{FF2B5EF4-FFF2-40B4-BE49-F238E27FC236}">
                  <a16:creationId xmlns:a16="http://schemas.microsoft.com/office/drawing/2014/main" id="{E9FB316E-E4F8-4F2F-B89A-741034633A0F}"/>
                </a:ext>
              </a:extLst>
            </p:cNvPr>
            <p:cNvSpPr/>
            <p:nvPr/>
          </p:nvSpPr>
          <p:spPr bwMode="auto">
            <a:xfrm>
              <a:off x="4408866" y="2802158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42" name="ïṧľiḓé">
              <a:extLst>
                <a:ext uri="{FF2B5EF4-FFF2-40B4-BE49-F238E27FC236}">
                  <a16:creationId xmlns:a16="http://schemas.microsoft.com/office/drawing/2014/main" id="{789C1E39-3C26-4DF7-95B2-5576D995EC30}"/>
                </a:ext>
              </a:extLst>
            </p:cNvPr>
            <p:cNvSpPr/>
            <p:nvPr/>
          </p:nvSpPr>
          <p:spPr bwMode="auto">
            <a:xfrm>
              <a:off x="4408866" y="2738922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43" name="ïsľïḓé">
              <a:extLst>
                <a:ext uri="{FF2B5EF4-FFF2-40B4-BE49-F238E27FC236}">
                  <a16:creationId xmlns:a16="http://schemas.microsoft.com/office/drawing/2014/main" id="{6EBC17E0-E9D5-47CA-B2B5-3B5DADCF2FBE}"/>
                </a:ext>
              </a:extLst>
            </p:cNvPr>
            <p:cNvSpPr/>
            <p:nvPr/>
          </p:nvSpPr>
          <p:spPr bwMode="auto">
            <a:xfrm>
              <a:off x="4408866" y="2675686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44" name="iṣļîdè">
              <a:extLst>
                <a:ext uri="{FF2B5EF4-FFF2-40B4-BE49-F238E27FC236}">
                  <a16:creationId xmlns:a16="http://schemas.microsoft.com/office/drawing/2014/main" id="{B562FF29-4566-4142-AB05-98229AAF5E70}"/>
                </a:ext>
              </a:extLst>
            </p:cNvPr>
            <p:cNvSpPr/>
            <p:nvPr/>
          </p:nvSpPr>
          <p:spPr bwMode="auto">
            <a:xfrm>
              <a:off x="2621874" y="2019340"/>
              <a:ext cx="402604" cy="401679"/>
            </a:xfrm>
            <a:custGeom>
              <a:avLst/>
              <a:gdLst>
                <a:gd name="T0" fmla="*/ 15050 w 16095"/>
                <a:gd name="T1" fmla="*/ 7221 h 16058"/>
                <a:gd name="T2" fmla="*/ 14924 w 16095"/>
                <a:gd name="T3" fmla="*/ 7397 h 16058"/>
                <a:gd name="T4" fmla="*/ 14736 w 16095"/>
                <a:gd name="T5" fmla="*/ 7505 h 16058"/>
                <a:gd name="T6" fmla="*/ 13077 w 16095"/>
                <a:gd name="T7" fmla="*/ 4015 h 16058"/>
                <a:gd name="T8" fmla="*/ 13328 w 16095"/>
                <a:gd name="T9" fmla="*/ 4081 h 16058"/>
                <a:gd name="T10" fmla="*/ 15001 w 16095"/>
                <a:gd name="T11" fmla="*/ 6239 h 16058"/>
                <a:gd name="T12" fmla="*/ 15074 w 16095"/>
                <a:gd name="T13" fmla="*/ 6403 h 16058"/>
                <a:gd name="T14" fmla="*/ 10562 w 16095"/>
                <a:gd name="T15" fmla="*/ 15054 h 16058"/>
                <a:gd name="T16" fmla="*/ 10523 w 16095"/>
                <a:gd name="T17" fmla="*/ 9841 h 16058"/>
                <a:gd name="T18" fmla="*/ 10397 w 16095"/>
                <a:gd name="T19" fmla="*/ 9665 h 16058"/>
                <a:gd name="T20" fmla="*/ 10209 w 16095"/>
                <a:gd name="T21" fmla="*/ 9557 h 16058"/>
                <a:gd name="T22" fmla="*/ 6236 w 16095"/>
                <a:gd name="T23" fmla="*/ 9537 h 16058"/>
                <a:gd name="T24" fmla="*/ 6027 w 16095"/>
                <a:gd name="T25" fmla="*/ 9607 h 16058"/>
                <a:gd name="T26" fmla="*/ 5870 w 16095"/>
                <a:gd name="T27" fmla="*/ 9755 h 16058"/>
                <a:gd name="T28" fmla="*/ 5790 w 16095"/>
                <a:gd name="T29" fmla="*/ 9960 h 16058"/>
                <a:gd name="T30" fmla="*/ 10059 w 16095"/>
                <a:gd name="T31" fmla="*/ 15054 h 16058"/>
                <a:gd name="T32" fmla="*/ 1010 w 16095"/>
                <a:gd name="T33" fmla="*/ 6462 h 16058"/>
                <a:gd name="T34" fmla="*/ 1063 w 16095"/>
                <a:gd name="T35" fmla="*/ 6291 h 16058"/>
                <a:gd name="T36" fmla="*/ 2696 w 16095"/>
                <a:gd name="T37" fmla="*/ 4131 h 16058"/>
                <a:gd name="T38" fmla="*/ 2930 w 16095"/>
                <a:gd name="T39" fmla="*/ 4023 h 16058"/>
                <a:gd name="T40" fmla="*/ 1432 w 16095"/>
                <a:gd name="T41" fmla="*/ 7521 h 16058"/>
                <a:gd name="T42" fmla="*/ 1227 w 16095"/>
                <a:gd name="T43" fmla="*/ 7442 h 16058"/>
                <a:gd name="T44" fmla="*/ 1078 w 16095"/>
                <a:gd name="T45" fmla="*/ 7285 h 16058"/>
                <a:gd name="T46" fmla="*/ 1009 w 16095"/>
                <a:gd name="T47" fmla="*/ 7077 h 16058"/>
                <a:gd name="T48" fmla="*/ 9439 w 16095"/>
                <a:gd name="T49" fmla="*/ 4015 h 16058"/>
                <a:gd name="T50" fmla="*/ 5127 w 16095"/>
                <a:gd name="T51" fmla="*/ 7527 h 16058"/>
                <a:gd name="T52" fmla="*/ 13077 w 16095"/>
                <a:gd name="T53" fmla="*/ 1004 h 16058"/>
                <a:gd name="T54" fmla="*/ 14110 w 16095"/>
                <a:gd name="T55" fmla="*/ 3426 h 16058"/>
                <a:gd name="T56" fmla="*/ 14022 w 16095"/>
                <a:gd name="T57" fmla="*/ 658 h 16058"/>
                <a:gd name="T58" fmla="*/ 13788 w 16095"/>
                <a:gd name="T59" fmla="*/ 294 h 16058"/>
                <a:gd name="T60" fmla="*/ 13423 w 16095"/>
                <a:gd name="T61" fmla="*/ 61 h 16058"/>
                <a:gd name="T62" fmla="*/ 2967 w 16095"/>
                <a:gd name="T63" fmla="*/ 1 h 16058"/>
                <a:gd name="T64" fmla="*/ 2538 w 16095"/>
                <a:gd name="T65" fmla="*/ 121 h 16058"/>
                <a:gd name="T66" fmla="*/ 2212 w 16095"/>
                <a:gd name="T67" fmla="*/ 403 h 16058"/>
                <a:gd name="T68" fmla="*/ 2032 w 16095"/>
                <a:gd name="T69" fmla="*/ 802 h 16058"/>
                <a:gd name="T70" fmla="*/ 1906 w 16095"/>
                <a:gd name="T71" fmla="*/ 3503 h 16058"/>
                <a:gd name="T72" fmla="*/ 233 w 16095"/>
                <a:gd name="T73" fmla="*/ 5720 h 16058"/>
                <a:gd name="T74" fmla="*/ 110 w 16095"/>
                <a:gd name="T75" fmla="*/ 5962 h 16058"/>
                <a:gd name="T76" fmla="*/ 31 w 16095"/>
                <a:gd name="T77" fmla="*/ 6222 h 16058"/>
                <a:gd name="T78" fmla="*/ 0 w 16095"/>
                <a:gd name="T79" fmla="*/ 6493 h 16058"/>
                <a:gd name="T80" fmla="*/ 92 w 16095"/>
                <a:gd name="T81" fmla="*/ 7542 h 16058"/>
                <a:gd name="T82" fmla="*/ 443 w 16095"/>
                <a:gd name="T83" fmla="*/ 8089 h 16058"/>
                <a:gd name="T84" fmla="*/ 991 w 16095"/>
                <a:gd name="T85" fmla="*/ 8439 h 16058"/>
                <a:gd name="T86" fmla="*/ 1510 w 16095"/>
                <a:gd name="T87" fmla="*/ 15106 h 16058"/>
                <a:gd name="T88" fmla="*/ 1631 w 16095"/>
                <a:gd name="T89" fmla="*/ 15533 h 16058"/>
                <a:gd name="T90" fmla="*/ 1913 w 16095"/>
                <a:gd name="T91" fmla="*/ 15858 h 16058"/>
                <a:gd name="T92" fmla="*/ 2312 w 16095"/>
                <a:gd name="T93" fmla="*/ 16038 h 16058"/>
                <a:gd name="T94" fmla="*/ 13782 w 16095"/>
                <a:gd name="T95" fmla="*/ 16038 h 16058"/>
                <a:gd name="T96" fmla="*/ 14182 w 16095"/>
                <a:gd name="T97" fmla="*/ 15858 h 16058"/>
                <a:gd name="T98" fmla="*/ 14464 w 16095"/>
                <a:gd name="T99" fmla="*/ 15533 h 16058"/>
                <a:gd name="T100" fmla="*/ 14585 w 16095"/>
                <a:gd name="T101" fmla="*/ 15106 h 16058"/>
                <a:gd name="T102" fmla="*/ 15104 w 16095"/>
                <a:gd name="T103" fmla="*/ 8439 h 16058"/>
                <a:gd name="T104" fmla="*/ 15652 w 16095"/>
                <a:gd name="T105" fmla="*/ 8089 h 16058"/>
                <a:gd name="T106" fmla="*/ 16003 w 16095"/>
                <a:gd name="T107" fmla="*/ 7542 h 16058"/>
                <a:gd name="T108" fmla="*/ 16095 w 16095"/>
                <a:gd name="T109" fmla="*/ 6493 h 16058"/>
                <a:gd name="T110" fmla="*/ 16064 w 16095"/>
                <a:gd name="T111" fmla="*/ 6222 h 16058"/>
                <a:gd name="T112" fmla="*/ 15985 w 16095"/>
                <a:gd name="T113" fmla="*/ 5963 h 16058"/>
                <a:gd name="T114" fmla="*/ 15862 w 16095"/>
                <a:gd name="T115" fmla="*/ 5720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095" h="16058">
                  <a:moveTo>
                    <a:pt x="15089" y="7025"/>
                  </a:moveTo>
                  <a:lnTo>
                    <a:pt x="15088" y="7051"/>
                  </a:lnTo>
                  <a:lnTo>
                    <a:pt x="15086" y="7077"/>
                  </a:lnTo>
                  <a:lnTo>
                    <a:pt x="15083" y="7102"/>
                  </a:lnTo>
                  <a:lnTo>
                    <a:pt x="15079" y="7127"/>
                  </a:lnTo>
                  <a:lnTo>
                    <a:pt x="15073" y="7151"/>
                  </a:lnTo>
                  <a:lnTo>
                    <a:pt x="15066" y="7175"/>
                  </a:lnTo>
                  <a:lnTo>
                    <a:pt x="15059" y="7198"/>
                  </a:lnTo>
                  <a:lnTo>
                    <a:pt x="15050" y="7221"/>
                  </a:lnTo>
                  <a:lnTo>
                    <a:pt x="15040" y="7243"/>
                  </a:lnTo>
                  <a:lnTo>
                    <a:pt x="15029" y="7264"/>
                  </a:lnTo>
                  <a:lnTo>
                    <a:pt x="15017" y="7285"/>
                  </a:lnTo>
                  <a:lnTo>
                    <a:pt x="15004" y="7306"/>
                  </a:lnTo>
                  <a:lnTo>
                    <a:pt x="14989" y="7325"/>
                  </a:lnTo>
                  <a:lnTo>
                    <a:pt x="14974" y="7345"/>
                  </a:lnTo>
                  <a:lnTo>
                    <a:pt x="14958" y="7363"/>
                  </a:lnTo>
                  <a:lnTo>
                    <a:pt x="14942" y="7381"/>
                  </a:lnTo>
                  <a:lnTo>
                    <a:pt x="14924" y="7397"/>
                  </a:lnTo>
                  <a:lnTo>
                    <a:pt x="14906" y="7413"/>
                  </a:lnTo>
                  <a:lnTo>
                    <a:pt x="14887" y="7428"/>
                  </a:lnTo>
                  <a:lnTo>
                    <a:pt x="14867" y="7442"/>
                  </a:lnTo>
                  <a:lnTo>
                    <a:pt x="14847" y="7455"/>
                  </a:lnTo>
                  <a:lnTo>
                    <a:pt x="14826" y="7467"/>
                  </a:lnTo>
                  <a:lnTo>
                    <a:pt x="14804" y="7478"/>
                  </a:lnTo>
                  <a:lnTo>
                    <a:pt x="14782" y="7488"/>
                  </a:lnTo>
                  <a:lnTo>
                    <a:pt x="14759" y="7497"/>
                  </a:lnTo>
                  <a:lnTo>
                    <a:pt x="14736" y="7505"/>
                  </a:lnTo>
                  <a:lnTo>
                    <a:pt x="14712" y="7511"/>
                  </a:lnTo>
                  <a:lnTo>
                    <a:pt x="14688" y="7517"/>
                  </a:lnTo>
                  <a:lnTo>
                    <a:pt x="14663" y="7521"/>
                  </a:lnTo>
                  <a:lnTo>
                    <a:pt x="14637" y="7524"/>
                  </a:lnTo>
                  <a:lnTo>
                    <a:pt x="14612" y="7526"/>
                  </a:lnTo>
                  <a:lnTo>
                    <a:pt x="14586" y="7527"/>
                  </a:lnTo>
                  <a:lnTo>
                    <a:pt x="13654" y="7527"/>
                  </a:lnTo>
                  <a:lnTo>
                    <a:pt x="11642" y="4015"/>
                  </a:lnTo>
                  <a:lnTo>
                    <a:pt x="13077" y="4015"/>
                  </a:lnTo>
                  <a:lnTo>
                    <a:pt x="13106" y="4016"/>
                  </a:lnTo>
                  <a:lnTo>
                    <a:pt x="13137" y="4018"/>
                  </a:lnTo>
                  <a:lnTo>
                    <a:pt x="13165" y="4023"/>
                  </a:lnTo>
                  <a:lnTo>
                    <a:pt x="13194" y="4029"/>
                  </a:lnTo>
                  <a:lnTo>
                    <a:pt x="13222" y="4036"/>
                  </a:lnTo>
                  <a:lnTo>
                    <a:pt x="13249" y="4045"/>
                  </a:lnTo>
                  <a:lnTo>
                    <a:pt x="13276" y="4056"/>
                  </a:lnTo>
                  <a:lnTo>
                    <a:pt x="13303" y="4068"/>
                  </a:lnTo>
                  <a:lnTo>
                    <a:pt x="13328" y="4081"/>
                  </a:lnTo>
                  <a:lnTo>
                    <a:pt x="13352" y="4096"/>
                  </a:lnTo>
                  <a:lnTo>
                    <a:pt x="13376" y="4113"/>
                  </a:lnTo>
                  <a:lnTo>
                    <a:pt x="13399" y="4131"/>
                  </a:lnTo>
                  <a:lnTo>
                    <a:pt x="13420" y="4150"/>
                  </a:lnTo>
                  <a:lnTo>
                    <a:pt x="13441" y="4170"/>
                  </a:lnTo>
                  <a:lnTo>
                    <a:pt x="13461" y="4192"/>
                  </a:lnTo>
                  <a:lnTo>
                    <a:pt x="13480" y="4215"/>
                  </a:lnTo>
                  <a:lnTo>
                    <a:pt x="14988" y="6222"/>
                  </a:lnTo>
                  <a:lnTo>
                    <a:pt x="15001" y="6239"/>
                  </a:lnTo>
                  <a:lnTo>
                    <a:pt x="15012" y="6256"/>
                  </a:lnTo>
                  <a:lnTo>
                    <a:pt x="15022" y="6274"/>
                  </a:lnTo>
                  <a:lnTo>
                    <a:pt x="15032" y="6291"/>
                  </a:lnTo>
                  <a:lnTo>
                    <a:pt x="15041" y="6309"/>
                  </a:lnTo>
                  <a:lnTo>
                    <a:pt x="15049" y="6327"/>
                  </a:lnTo>
                  <a:lnTo>
                    <a:pt x="15057" y="6346"/>
                  </a:lnTo>
                  <a:lnTo>
                    <a:pt x="15063" y="6365"/>
                  </a:lnTo>
                  <a:lnTo>
                    <a:pt x="15069" y="6384"/>
                  </a:lnTo>
                  <a:lnTo>
                    <a:pt x="15074" y="6403"/>
                  </a:lnTo>
                  <a:lnTo>
                    <a:pt x="15079" y="6423"/>
                  </a:lnTo>
                  <a:lnTo>
                    <a:pt x="15082" y="6443"/>
                  </a:lnTo>
                  <a:lnTo>
                    <a:pt x="15085" y="6462"/>
                  </a:lnTo>
                  <a:lnTo>
                    <a:pt x="15087" y="6483"/>
                  </a:lnTo>
                  <a:lnTo>
                    <a:pt x="15089" y="6503"/>
                  </a:lnTo>
                  <a:lnTo>
                    <a:pt x="15089" y="6524"/>
                  </a:lnTo>
                  <a:lnTo>
                    <a:pt x="15089" y="7025"/>
                  </a:lnTo>
                  <a:close/>
                  <a:moveTo>
                    <a:pt x="13580" y="15054"/>
                  </a:moveTo>
                  <a:lnTo>
                    <a:pt x="10562" y="15054"/>
                  </a:lnTo>
                  <a:lnTo>
                    <a:pt x="10562" y="10036"/>
                  </a:lnTo>
                  <a:lnTo>
                    <a:pt x="10561" y="10010"/>
                  </a:lnTo>
                  <a:lnTo>
                    <a:pt x="10559" y="9985"/>
                  </a:lnTo>
                  <a:lnTo>
                    <a:pt x="10556" y="9960"/>
                  </a:lnTo>
                  <a:lnTo>
                    <a:pt x="10552" y="9935"/>
                  </a:lnTo>
                  <a:lnTo>
                    <a:pt x="10546" y="9911"/>
                  </a:lnTo>
                  <a:lnTo>
                    <a:pt x="10539" y="9887"/>
                  </a:lnTo>
                  <a:lnTo>
                    <a:pt x="10532" y="9864"/>
                  </a:lnTo>
                  <a:lnTo>
                    <a:pt x="10523" y="9841"/>
                  </a:lnTo>
                  <a:lnTo>
                    <a:pt x="10513" y="9818"/>
                  </a:lnTo>
                  <a:lnTo>
                    <a:pt x="10502" y="9797"/>
                  </a:lnTo>
                  <a:lnTo>
                    <a:pt x="10490" y="9776"/>
                  </a:lnTo>
                  <a:lnTo>
                    <a:pt x="10477" y="9755"/>
                  </a:lnTo>
                  <a:lnTo>
                    <a:pt x="10463" y="9736"/>
                  </a:lnTo>
                  <a:lnTo>
                    <a:pt x="10448" y="9717"/>
                  </a:lnTo>
                  <a:lnTo>
                    <a:pt x="10432" y="9699"/>
                  </a:lnTo>
                  <a:lnTo>
                    <a:pt x="10415" y="9681"/>
                  </a:lnTo>
                  <a:lnTo>
                    <a:pt x="10397" y="9665"/>
                  </a:lnTo>
                  <a:lnTo>
                    <a:pt x="10379" y="9649"/>
                  </a:lnTo>
                  <a:lnTo>
                    <a:pt x="10360" y="9634"/>
                  </a:lnTo>
                  <a:lnTo>
                    <a:pt x="10340" y="9620"/>
                  </a:lnTo>
                  <a:lnTo>
                    <a:pt x="10320" y="9607"/>
                  </a:lnTo>
                  <a:lnTo>
                    <a:pt x="10299" y="9595"/>
                  </a:lnTo>
                  <a:lnTo>
                    <a:pt x="10278" y="9584"/>
                  </a:lnTo>
                  <a:lnTo>
                    <a:pt x="10256" y="9574"/>
                  </a:lnTo>
                  <a:lnTo>
                    <a:pt x="10232" y="9565"/>
                  </a:lnTo>
                  <a:lnTo>
                    <a:pt x="10209" y="9557"/>
                  </a:lnTo>
                  <a:lnTo>
                    <a:pt x="10185" y="9550"/>
                  </a:lnTo>
                  <a:lnTo>
                    <a:pt x="10161" y="9544"/>
                  </a:lnTo>
                  <a:lnTo>
                    <a:pt x="10136" y="9540"/>
                  </a:lnTo>
                  <a:lnTo>
                    <a:pt x="10111" y="9537"/>
                  </a:lnTo>
                  <a:lnTo>
                    <a:pt x="10086" y="9535"/>
                  </a:lnTo>
                  <a:lnTo>
                    <a:pt x="10059" y="9534"/>
                  </a:lnTo>
                  <a:lnTo>
                    <a:pt x="6287" y="9534"/>
                  </a:lnTo>
                  <a:lnTo>
                    <a:pt x="6261" y="9535"/>
                  </a:lnTo>
                  <a:lnTo>
                    <a:pt x="6236" y="9537"/>
                  </a:lnTo>
                  <a:lnTo>
                    <a:pt x="6211" y="9540"/>
                  </a:lnTo>
                  <a:lnTo>
                    <a:pt x="6186" y="9544"/>
                  </a:lnTo>
                  <a:lnTo>
                    <a:pt x="6161" y="9550"/>
                  </a:lnTo>
                  <a:lnTo>
                    <a:pt x="6137" y="9557"/>
                  </a:lnTo>
                  <a:lnTo>
                    <a:pt x="6114" y="9565"/>
                  </a:lnTo>
                  <a:lnTo>
                    <a:pt x="6091" y="9574"/>
                  </a:lnTo>
                  <a:lnTo>
                    <a:pt x="6069" y="9584"/>
                  </a:lnTo>
                  <a:lnTo>
                    <a:pt x="6048" y="9595"/>
                  </a:lnTo>
                  <a:lnTo>
                    <a:pt x="6027" y="9607"/>
                  </a:lnTo>
                  <a:lnTo>
                    <a:pt x="6005" y="9620"/>
                  </a:lnTo>
                  <a:lnTo>
                    <a:pt x="5986" y="9634"/>
                  </a:lnTo>
                  <a:lnTo>
                    <a:pt x="5967" y="9649"/>
                  </a:lnTo>
                  <a:lnTo>
                    <a:pt x="5949" y="9665"/>
                  </a:lnTo>
                  <a:lnTo>
                    <a:pt x="5931" y="9681"/>
                  </a:lnTo>
                  <a:lnTo>
                    <a:pt x="5915" y="9699"/>
                  </a:lnTo>
                  <a:lnTo>
                    <a:pt x="5899" y="9717"/>
                  </a:lnTo>
                  <a:lnTo>
                    <a:pt x="5884" y="9736"/>
                  </a:lnTo>
                  <a:lnTo>
                    <a:pt x="5870" y="9755"/>
                  </a:lnTo>
                  <a:lnTo>
                    <a:pt x="5857" y="9776"/>
                  </a:lnTo>
                  <a:lnTo>
                    <a:pt x="5844" y="9797"/>
                  </a:lnTo>
                  <a:lnTo>
                    <a:pt x="5833" y="9818"/>
                  </a:lnTo>
                  <a:lnTo>
                    <a:pt x="5823" y="9841"/>
                  </a:lnTo>
                  <a:lnTo>
                    <a:pt x="5814" y="9864"/>
                  </a:lnTo>
                  <a:lnTo>
                    <a:pt x="5806" y="9887"/>
                  </a:lnTo>
                  <a:lnTo>
                    <a:pt x="5800" y="9911"/>
                  </a:lnTo>
                  <a:lnTo>
                    <a:pt x="5794" y="9935"/>
                  </a:lnTo>
                  <a:lnTo>
                    <a:pt x="5790" y="9960"/>
                  </a:lnTo>
                  <a:lnTo>
                    <a:pt x="5787" y="9985"/>
                  </a:lnTo>
                  <a:lnTo>
                    <a:pt x="5785" y="10010"/>
                  </a:lnTo>
                  <a:lnTo>
                    <a:pt x="5784" y="10036"/>
                  </a:lnTo>
                  <a:lnTo>
                    <a:pt x="5784" y="15054"/>
                  </a:lnTo>
                  <a:lnTo>
                    <a:pt x="2515" y="15054"/>
                  </a:lnTo>
                  <a:lnTo>
                    <a:pt x="2515" y="8531"/>
                  </a:lnTo>
                  <a:lnTo>
                    <a:pt x="13580" y="8531"/>
                  </a:lnTo>
                  <a:lnTo>
                    <a:pt x="13580" y="15054"/>
                  </a:lnTo>
                  <a:close/>
                  <a:moveTo>
                    <a:pt x="10059" y="15054"/>
                  </a:moveTo>
                  <a:lnTo>
                    <a:pt x="6287" y="15054"/>
                  </a:lnTo>
                  <a:lnTo>
                    <a:pt x="6287" y="10036"/>
                  </a:lnTo>
                  <a:lnTo>
                    <a:pt x="10059" y="10036"/>
                  </a:lnTo>
                  <a:lnTo>
                    <a:pt x="10059" y="15054"/>
                  </a:lnTo>
                  <a:close/>
                  <a:moveTo>
                    <a:pt x="1006" y="7025"/>
                  </a:moveTo>
                  <a:lnTo>
                    <a:pt x="1006" y="6524"/>
                  </a:lnTo>
                  <a:lnTo>
                    <a:pt x="1006" y="6503"/>
                  </a:lnTo>
                  <a:lnTo>
                    <a:pt x="1008" y="6483"/>
                  </a:lnTo>
                  <a:lnTo>
                    <a:pt x="1010" y="6462"/>
                  </a:lnTo>
                  <a:lnTo>
                    <a:pt x="1012" y="6443"/>
                  </a:lnTo>
                  <a:lnTo>
                    <a:pt x="1016" y="6423"/>
                  </a:lnTo>
                  <a:lnTo>
                    <a:pt x="1020" y="6403"/>
                  </a:lnTo>
                  <a:lnTo>
                    <a:pt x="1026" y="6384"/>
                  </a:lnTo>
                  <a:lnTo>
                    <a:pt x="1032" y="6365"/>
                  </a:lnTo>
                  <a:lnTo>
                    <a:pt x="1038" y="6346"/>
                  </a:lnTo>
                  <a:lnTo>
                    <a:pt x="1046" y="6327"/>
                  </a:lnTo>
                  <a:lnTo>
                    <a:pt x="1054" y="6309"/>
                  </a:lnTo>
                  <a:lnTo>
                    <a:pt x="1063" y="6291"/>
                  </a:lnTo>
                  <a:lnTo>
                    <a:pt x="1073" y="6274"/>
                  </a:lnTo>
                  <a:lnTo>
                    <a:pt x="1083" y="6256"/>
                  </a:lnTo>
                  <a:lnTo>
                    <a:pt x="1094" y="6239"/>
                  </a:lnTo>
                  <a:lnTo>
                    <a:pt x="1107" y="6222"/>
                  </a:lnTo>
                  <a:lnTo>
                    <a:pt x="2615" y="4215"/>
                  </a:lnTo>
                  <a:lnTo>
                    <a:pt x="2634" y="4192"/>
                  </a:lnTo>
                  <a:lnTo>
                    <a:pt x="2654" y="4170"/>
                  </a:lnTo>
                  <a:lnTo>
                    <a:pt x="2674" y="4150"/>
                  </a:lnTo>
                  <a:lnTo>
                    <a:pt x="2696" y="4131"/>
                  </a:lnTo>
                  <a:lnTo>
                    <a:pt x="2719" y="4113"/>
                  </a:lnTo>
                  <a:lnTo>
                    <a:pt x="2743" y="4096"/>
                  </a:lnTo>
                  <a:lnTo>
                    <a:pt x="2767" y="4081"/>
                  </a:lnTo>
                  <a:lnTo>
                    <a:pt x="2792" y="4068"/>
                  </a:lnTo>
                  <a:lnTo>
                    <a:pt x="2819" y="4056"/>
                  </a:lnTo>
                  <a:lnTo>
                    <a:pt x="2846" y="4045"/>
                  </a:lnTo>
                  <a:lnTo>
                    <a:pt x="2873" y="4036"/>
                  </a:lnTo>
                  <a:lnTo>
                    <a:pt x="2901" y="4029"/>
                  </a:lnTo>
                  <a:lnTo>
                    <a:pt x="2930" y="4023"/>
                  </a:lnTo>
                  <a:lnTo>
                    <a:pt x="2958" y="4018"/>
                  </a:lnTo>
                  <a:lnTo>
                    <a:pt x="2989" y="4016"/>
                  </a:lnTo>
                  <a:lnTo>
                    <a:pt x="3018" y="4015"/>
                  </a:lnTo>
                  <a:lnTo>
                    <a:pt x="4452" y="4015"/>
                  </a:lnTo>
                  <a:lnTo>
                    <a:pt x="2440" y="7527"/>
                  </a:lnTo>
                  <a:lnTo>
                    <a:pt x="1509" y="7527"/>
                  </a:lnTo>
                  <a:lnTo>
                    <a:pt x="1483" y="7526"/>
                  </a:lnTo>
                  <a:lnTo>
                    <a:pt x="1458" y="7524"/>
                  </a:lnTo>
                  <a:lnTo>
                    <a:pt x="1432" y="7521"/>
                  </a:lnTo>
                  <a:lnTo>
                    <a:pt x="1407" y="7517"/>
                  </a:lnTo>
                  <a:lnTo>
                    <a:pt x="1383" y="7511"/>
                  </a:lnTo>
                  <a:lnTo>
                    <a:pt x="1359" y="7505"/>
                  </a:lnTo>
                  <a:lnTo>
                    <a:pt x="1336" y="7497"/>
                  </a:lnTo>
                  <a:lnTo>
                    <a:pt x="1313" y="7488"/>
                  </a:lnTo>
                  <a:lnTo>
                    <a:pt x="1291" y="7478"/>
                  </a:lnTo>
                  <a:lnTo>
                    <a:pt x="1269" y="7467"/>
                  </a:lnTo>
                  <a:lnTo>
                    <a:pt x="1248" y="7455"/>
                  </a:lnTo>
                  <a:lnTo>
                    <a:pt x="1227" y="7442"/>
                  </a:lnTo>
                  <a:lnTo>
                    <a:pt x="1208" y="7428"/>
                  </a:lnTo>
                  <a:lnTo>
                    <a:pt x="1189" y="7413"/>
                  </a:lnTo>
                  <a:lnTo>
                    <a:pt x="1171" y="7397"/>
                  </a:lnTo>
                  <a:lnTo>
                    <a:pt x="1153" y="7381"/>
                  </a:lnTo>
                  <a:lnTo>
                    <a:pt x="1137" y="7363"/>
                  </a:lnTo>
                  <a:lnTo>
                    <a:pt x="1121" y="7345"/>
                  </a:lnTo>
                  <a:lnTo>
                    <a:pt x="1106" y="7325"/>
                  </a:lnTo>
                  <a:lnTo>
                    <a:pt x="1091" y="7306"/>
                  </a:lnTo>
                  <a:lnTo>
                    <a:pt x="1078" y="7285"/>
                  </a:lnTo>
                  <a:lnTo>
                    <a:pt x="1066" y="7264"/>
                  </a:lnTo>
                  <a:lnTo>
                    <a:pt x="1055" y="7243"/>
                  </a:lnTo>
                  <a:lnTo>
                    <a:pt x="1045" y="7221"/>
                  </a:lnTo>
                  <a:lnTo>
                    <a:pt x="1036" y="7198"/>
                  </a:lnTo>
                  <a:lnTo>
                    <a:pt x="1028" y="7175"/>
                  </a:lnTo>
                  <a:lnTo>
                    <a:pt x="1022" y="7151"/>
                  </a:lnTo>
                  <a:lnTo>
                    <a:pt x="1016" y="7127"/>
                  </a:lnTo>
                  <a:lnTo>
                    <a:pt x="1012" y="7102"/>
                  </a:lnTo>
                  <a:lnTo>
                    <a:pt x="1009" y="7077"/>
                  </a:lnTo>
                  <a:lnTo>
                    <a:pt x="1007" y="7051"/>
                  </a:lnTo>
                  <a:lnTo>
                    <a:pt x="1006" y="7025"/>
                  </a:lnTo>
                  <a:close/>
                  <a:moveTo>
                    <a:pt x="9962" y="4015"/>
                  </a:moveTo>
                  <a:lnTo>
                    <a:pt x="11062" y="4015"/>
                  </a:lnTo>
                  <a:lnTo>
                    <a:pt x="13074" y="7527"/>
                  </a:lnTo>
                  <a:lnTo>
                    <a:pt x="10968" y="7527"/>
                  </a:lnTo>
                  <a:lnTo>
                    <a:pt x="9962" y="4015"/>
                  </a:lnTo>
                  <a:close/>
                  <a:moveTo>
                    <a:pt x="8299" y="4015"/>
                  </a:moveTo>
                  <a:lnTo>
                    <a:pt x="9439" y="4015"/>
                  </a:lnTo>
                  <a:lnTo>
                    <a:pt x="10444" y="7527"/>
                  </a:lnTo>
                  <a:lnTo>
                    <a:pt x="8299" y="7527"/>
                  </a:lnTo>
                  <a:lnTo>
                    <a:pt x="8299" y="4015"/>
                  </a:lnTo>
                  <a:close/>
                  <a:moveTo>
                    <a:pt x="6656" y="4015"/>
                  </a:moveTo>
                  <a:lnTo>
                    <a:pt x="7796" y="4015"/>
                  </a:lnTo>
                  <a:lnTo>
                    <a:pt x="7796" y="7527"/>
                  </a:lnTo>
                  <a:lnTo>
                    <a:pt x="5650" y="7527"/>
                  </a:lnTo>
                  <a:lnTo>
                    <a:pt x="6656" y="4015"/>
                  </a:lnTo>
                  <a:close/>
                  <a:moveTo>
                    <a:pt x="5127" y="7527"/>
                  </a:moveTo>
                  <a:lnTo>
                    <a:pt x="3020" y="7527"/>
                  </a:lnTo>
                  <a:lnTo>
                    <a:pt x="5032" y="4015"/>
                  </a:lnTo>
                  <a:lnTo>
                    <a:pt x="6132" y="4015"/>
                  </a:lnTo>
                  <a:lnTo>
                    <a:pt x="5127" y="7527"/>
                  </a:lnTo>
                  <a:close/>
                  <a:moveTo>
                    <a:pt x="13077" y="1004"/>
                  </a:moveTo>
                  <a:lnTo>
                    <a:pt x="13077" y="3011"/>
                  </a:lnTo>
                  <a:lnTo>
                    <a:pt x="3018" y="3011"/>
                  </a:lnTo>
                  <a:lnTo>
                    <a:pt x="3018" y="1004"/>
                  </a:lnTo>
                  <a:lnTo>
                    <a:pt x="13077" y="1004"/>
                  </a:lnTo>
                  <a:close/>
                  <a:moveTo>
                    <a:pt x="15793" y="5620"/>
                  </a:moveTo>
                  <a:lnTo>
                    <a:pt x="14284" y="3614"/>
                  </a:lnTo>
                  <a:lnTo>
                    <a:pt x="14262" y="3585"/>
                  </a:lnTo>
                  <a:lnTo>
                    <a:pt x="14239" y="3557"/>
                  </a:lnTo>
                  <a:lnTo>
                    <a:pt x="14214" y="3530"/>
                  </a:lnTo>
                  <a:lnTo>
                    <a:pt x="14189" y="3503"/>
                  </a:lnTo>
                  <a:lnTo>
                    <a:pt x="14164" y="3477"/>
                  </a:lnTo>
                  <a:lnTo>
                    <a:pt x="14137" y="3451"/>
                  </a:lnTo>
                  <a:lnTo>
                    <a:pt x="14110" y="3426"/>
                  </a:lnTo>
                  <a:lnTo>
                    <a:pt x="14083" y="3401"/>
                  </a:lnTo>
                  <a:lnTo>
                    <a:pt x="14083" y="1004"/>
                  </a:lnTo>
                  <a:lnTo>
                    <a:pt x="14082" y="952"/>
                  </a:lnTo>
                  <a:lnTo>
                    <a:pt x="14078" y="901"/>
                  </a:lnTo>
                  <a:lnTo>
                    <a:pt x="14072" y="851"/>
                  </a:lnTo>
                  <a:lnTo>
                    <a:pt x="14063" y="802"/>
                  </a:lnTo>
                  <a:lnTo>
                    <a:pt x="14052" y="753"/>
                  </a:lnTo>
                  <a:lnTo>
                    <a:pt x="14038" y="706"/>
                  </a:lnTo>
                  <a:lnTo>
                    <a:pt x="14022" y="658"/>
                  </a:lnTo>
                  <a:lnTo>
                    <a:pt x="14004" y="613"/>
                  </a:lnTo>
                  <a:lnTo>
                    <a:pt x="13984" y="569"/>
                  </a:lnTo>
                  <a:lnTo>
                    <a:pt x="13961" y="526"/>
                  </a:lnTo>
                  <a:lnTo>
                    <a:pt x="13937" y="484"/>
                  </a:lnTo>
                  <a:lnTo>
                    <a:pt x="13911" y="443"/>
                  </a:lnTo>
                  <a:lnTo>
                    <a:pt x="13883" y="403"/>
                  </a:lnTo>
                  <a:lnTo>
                    <a:pt x="13854" y="365"/>
                  </a:lnTo>
                  <a:lnTo>
                    <a:pt x="13822" y="329"/>
                  </a:lnTo>
                  <a:lnTo>
                    <a:pt x="13788" y="294"/>
                  </a:lnTo>
                  <a:lnTo>
                    <a:pt x="13753" y="261"/>
                  </a:lnTo>
                  <a:lnTo>
                    <a:pt x="13717" y="229"/>
                  </a:lnTo>
                  <a:lnTo>
                    <a:pt x="13679" y="200"/>
                  </a:lnTo>
                  <a:lnTo>
                    <a:pt x="13640" y="172"/>
                  </a:lnTo>
                  <a:lnTo>
                    <a:pt x="13598" y="146"/>
                  </a:lnTo>
                  <a:lnTo>
                    <a:pt x="13557" y="121"/>
                  </a:lnTo>
                  <a:lnTo>
                    <a:pt x="13513" y="99"/>
                  </a:lnTo>
                  <a:lnTo>
                    <a:pt x="13468" y="79"/>
                  </a:lnTo>
                  <a:lnTo>
                    <a:pt x="13423" y="61"/>
                  </a:lnTo>
                  <a:lnTo>
                    <a:pt x="13376" y="45"/>
                  </a:lnTo>
                  <a:lnTo>
                    <a:pt x="13329" y="32"/>
                  </a:lnTo>
                  <a:lnTo>
                    <a:pt x="13279" y="20"/>
                  </a:lnTo>
                  <a:lnTo>
                    <a:pt x="13230" y="12"/>
                  </a:lnTo>
                  <a:lnTo>
                    <a:pt x="13180" y="5"/>
                  </a:lnTo>
                  <a:lnTo>
                    <a:pt x="13128" y="1"/>
                  </a:lnTo>
                  <a:lnTo>
                    <a:pt x="13077" y="0"/>
                  </a:lnTo>
                  <a:lnTo>
                    <a:pt x="3018" y="0"/>
                  </a:lnTo>
                  <a:lnTo>
                    <a:pt x="2967" y="1"/>
                  </a:lnTo>
                  <a:lnTo>
                    <a:pt x="2915" y="5"/>
                  </a:lnTo>
                  <a:lnTo>
                    <a:pt x="2865" y="12"/>
                  </a:lnTo>
                  <a:lnTo>
                    <a:pt x="2815" y="20"/>
                  </a:lnTo>
                  <a:lnTo>
                    <a:pt x="2766" y="32"/>
                  </a:lnTo>
                  <a:lnTo>
                    <a:pt x="2718" y="45"/>
                  </a:lnTo>
                  <a:lnTo>
                    <a:pt x="2672" y="61"/>
                  </a:lnTo>
                  <a:lnTo>
                    <a:pt x="2627" y="79"/>
                  </a:lnTo>
                  <a:lnTo>
                    <a:pt x="2581" y="99"/>
                  </a:lnTo>
                  <a:lnTo>
                    <a:pt x="2538" y="121"/>
                  </a:lnTo>
                  <a:lnTo>
                    <a:pt x="2496" y="146"/>
                  </a:lnTo>
                  <a:lnTo>
                    <a:pt x="2455" y="172"/>
                  </a:lnTo>
                  <a:lnTo>
                    <a:pt x="2416" y="200"/>
                  </a:lnTo>
                  <a:lnTo>
                    <a:pt x="2378" y="229"/>
                  </a:lnTo>
                  <a:lnTo>
                    <a:pt x="2341" y="261"/>
                  </a:lnTo>
                  <a:lnTo>
                    <a:pt x="2307" y="294"/>
                  </a:lnTo>
                  <a:lnTo>
                    <a:pt x="2273" y="329"/>
                  </a:lnTo>
                  <a:lnTo>
                    <a:pt x="2241" y="365"/>
                  </a:lnTo>
                  <a:lnTo>
                    <a:pt x="2212" y="403"/>
                  </a:lnTo>
                  <a:lnTo>
                    <a:pt x="2184" y="443"/>
                  </a:lnTo>
                  <a:lnTo>
                    <a:pt x="2158" y="484"/>
                  </a:lnTo>
                  <a:lnTo>
                    <a:pt x="2134" y="526"/>
                  </a:lnTo>
                  <a:lnTo>
                    <a:pt x="2111" y="569"/>
                  </a:lnTo>
                  <a:lnTo>
                    <a:pt x="2091" y="613"/>
                  </a:lnTo>
                  <a:lnTo>
                    <a:pt x="2073" y="658"/>
                  </a:lnTo>
                  <a:lnTo>
                    <a:pt x="2057" y="706"/>
                  </a:lnTo>
                  <a:lnTo>
                    <a:pt x="2043" y="753"/>
                  </a:lnTo>
                  <a:lnTo>
                    <a:pt x="2032" y="802"/>
                  </a:lnTo>
                  <a:lnTo>
                    <a:pt x="2023" y="851"/>
                  </a:lnTo>
                  <a:lnTo>
                    <a:pt x="2017" y="901"/>
                  </a:lnTo>
                  <a:lnTo>
                    <a:pt x="2013" y="952"/>
                  </a:lnTo>
                  <a:lnTo>
                    <a:pt x="2012" y="1004"/>
                  </a:lnTo>
                  <a:lnTo>
                    <a:pt x="2012" y="3402"/>
                  </a:lnTo>
                  <a:lnTo>
                    <a:pt x="1985" y="3426"/>
                  </a:lnTo>
                  <a:lnTo>
                    <a:pt x="1959" y="3451"/>
                  </a:lnTo>
                  <a:lnTo>
                    <a:pt x="1931" y="3477"/>
                  </a:lnTo>
                  <a:lnTo>
                    <a:pt x="1906" y="3503"/>
                  </a:lnTo>
                  <a:lnTo>
                    <a:pt x="1881" y="3529"/>
                  </a:lnTo>
                  <a:lnTo>
                    <a:pt x="1857" y="3556"/>
                  </a:lnTo>
                  <a:lnTo>
                    <a:pt x="1833" y="3584"/>
                  </a:lnTo>
                  <a:lnTo>
                    <a:pt x="1811" y="3613"/>
                  </a:lnTo>
                  <a:lnTo>
                    <a:pt x="303" y="5619"/>
                  </a:lnTo>
                  <a:lnTo>
                    <a:pt x="285" y="5644"/>
                  </a:lnTo>
                  <a:lnTo>
                    <a:pt x="268" y="5669"/>
                  </a:lnTo>
                  <a:lnTo>
                    <a:pt x="250" y="5695"/>
                  </a:lnTo>
                  <a:lnTo>
                    <a:pt x="233" y="5720"/>
                  </a:lnTo>
                  <a:lnTo>
                    <a:pt x="217" y="5746"/>
                  </a:lnTo>
                  <a:lnTo>
                    <a:pt x="202" y="5772"/>
                  </a:lnTo>
                  <a:lnTo>
                    <a:pt x="187" y="5798"/>
                  </a:lnTo>
                  <a:lnTo>
                    <a:pt x="173" y="5825"/>
                  </a:lnTo>
                  <a:lnTo>
                    <a:pt x="159" y="5851"/>
                  </a:lnTo>
                  <a:lnTo>
                    <a:pt x="146" y="5879"/>
                  </a:lnTo>
                  <a:lnTo>
                    <a:pt x="133" y="5906"/>
                  </a:lnTo>
                  <a:lnTo>
                    <a:pt x="121" y="5934"/>
                  </a:lnTo>
                  <a:lnTo>
                    <a:pt x="110" y="5962"/>
                  </a:lnTo>
                  <a:lnTo>
                    <a:pt x="99" y="5991"/>
                  </a:lnTo>
                  <a:lnTo>
                    <a:pt x="88" y="6019"/>
                  </a:lnTo>
                  <a:lnTo>
                    <a:pt x="78" y="6047"/>
                  </a:lnTo>
                  <a:lnTo>
                    <a:pt x="68" y="6076"/>
                  </a:lnTo>
                  <a:lnTo>
                    <a:pt x="60" y="6105"/>
                  </a:lnTo>
                  <a:lnTo>
                    <a:pt x="51" y="6134"/>
                  </a:lnTo>
                  <a:lnTo>
                    <a:pt x="44" y="6163"/>
                  </a:lnTo>
                  <a:lnTo>
                    <a:pt x="37" y="6193"/>
                  </a:lnTo>
                  <a:lnTo>
                    <a:pt x="31" y="6222"/>
                  </a:lnTo>
                  <a:lnTo>
                    <a:pt x="25" y="6253"/>
                  </a:lnTo>
                  <a:lnTo>
                    <a:pt x="20" y="6282"/>
                  </a:lnTo>
                  <a:lnTo>
                    <a:pt x="15" y="6312"/>
                  </a:lnTo>
                  <a:lnTo>
                    <a:pt x="11" y="6342"/>
                  </a:lnTo>
                  <a:lnTo>
                    <a:pt x="8" y="6372"/>
                  </a:lnTo>
                  <a:lnTo>
                    <a:pt x="5" y="6402"/>
                  </a:lnTo>
                  <a:lnTo>
                    <a:pt x="3" y="6432"/>
                  </a:lnTo>
                  <a:lnTo>
                    <a:pt x="1" y="6463"/>
                  </a:lnTo>
                  <a:lnTo>
                    <a:pt x="0" y="6493"/>
                  </a:lnTo>
                  <a:lnTo>
                    <a:pt x="0" y="6524"/>
                  </a:lnTo>
                  <a:lnTo>
                    <a:pt x="0" y="7025"/>
                  </a:lnTo>
                  <a:lnTo>
                    <a:pt x="2" y="7103"/>
                  </a:lnTo>
                  <a:lnTo>
                    <a:pt x="8" y="7179"/>
                  </a:lnTo>
                  <a:lnTo>
                    <a:pt x="17" y="7254"/>
                  </a:lnTo>
                  <a:lnTo>
                    <a:pt x="31" y="7328"/>
                  </a:lnTo>
                  <a:lnTo>
                    <a:pt x="47" y="7401"/>
                  </a:lnTo>
                  <a:lnTo>
                    <a:pt x="68" y="7473"/>
                  </a:lnTo>
                  <a:lnTo>
                    <a:pt x="92" y="7542"/>
                  </a:lnTo>
                  <a:lnTo>
                    <a:pt x="119" y="7610"/>
                  </a:lnTo>
                  <a:lnTo>
                    <a:pt x="149" y="7678"/>
                  </a:lnTo>
                  <a:lnTo>
                    <a:pt x="182" y="7742"/>
                  </a:lnTo>
                  <a:lnTo>
                    <a:pt x="218" y="7805"/>
                  </a:lnTo>
                  <a:lnTo>
                    <a:pt x="259" y="7866"/>
                  </a:lnTo>
                  <a:lnTo>
                    <a:pt x="300" y="7926"/>
                  </a:lnTo>
                  <a:lnTo>
                    <a:pt x="345" y="7983"/>
                  </a:lnTo>
                  <a:lnTo>
                    <a:pt x="392" y="8037"/>
                  </a:lnTo>
                  <a:lnTo>
                    <a:pt x="443" y="8089"/>
                  </a:lnTo>
                  <a:lnTo>
                    <a:pt x="495" y="8139"/>
                  </a:lnTo>
                  <a:lnTo>
                    <a:pt x="549" y="8187"/>
                  </a:lnTo>
                  <a:lnTo>
                    <a:pt x="607" y="8232"/>
                  </a:lnTo>
                  <a:lnTo>
                    <a:pt x="666" y="8273"/>
                  </a:lnTo>
                  <a:lnTo>
                    <a:pt x="727" y="8313"/>
                  </a:lnTo>
                  <a:lnTo>
                    <a:pt x="791" y="8349"/>
                  </a:lnTo>
                  <a:lnTo>
                    <a:pt x="855" y="8382"/>
                  </a:lnTo>
                  <a:lnTo>
                    <a:pt x="922" y="8412"/>
                  </a:lnTo>
                  <a:lnTo>
                    <a:pt x="991" y="8439"/>
                  </a:lnTo>
                  <a:lnTo>
                    <a:pt x="1060" y="8464"/>
                  </a:lnTo>
                  <a:lnTo>
                    <a:pt x="1133" y="8484"/>
                  </a:lnTo>
                  <a:lnTo>
                    <a:pt x="1205" y="8501"/>
                  </a:lnTo>
                  <a:lnTo>
                    <a:pt x="1280" y="8514"/>
                  </a:lnTo>
                  <a:lnTo>
                    <a:pt x="1355" y="8523"/>
                  </a:lnTo>
                  <a:lnTo>
                    <a:pt x="1431" y="8529"/>
                  </a:lnTo>
                  <a:lnTo>
                    <a:pt x="1509" y="8531"/>
                  </a:lnTo>
                  <a:lnTo>
                    <a:pt x="1509" y="15054"/>
                  </a:lnTo>
                  <a:lnTo>
                    <a:pt x="1510" y="15106"/>
                  </a:lnTo>
                  <a:lnTo>
                    <a:pt x="1514" y="15157"/>
                  </a:lnTo>
                  <a:lnTo>
                    <a:pt x="1520" y="15207"/>
                  </a:lnTo>
                  <a:lnTo>
                    <a:pt x="1529" y="15257"/>
                  </a:lnTo>
                  <a:lnTo>
                    <a:pt x="1540" y="15305"/>
                  </a:lnTo>
                  <a:lnTo>
                    <a:pt x="1554" y="15352"/>
                  </a:lnTo>
                  <a:lnTo>
                    <a:pt x="1570" y="15400"/>
                  </a:lnTo>
                  <a:lnTo>
                    <a:pt x="1588" y="15445"/>
                  </a:lnTo>
                  <a:lnTo>
                    <a:pt x="1608" y="15489"/>
                  </a:lnTo>
                  <a:lnTo>
                    <a:pt x="1631" y="15533"/>
                  </a:lnTo>
                  <a:lnTo>
                    <a:pt x="1655" y="15574"/>
                  </a:lnTo>
                  <a:lnTo>
                    <a:pt x="1681" y="15615"/>
                  </a:lnTo>
                  <a:lnTo>
                    <a:pt x="1709" y="15655"/>
                  </a:lnTo>
                  <a:lnTo>
                    <a:pt x="1738" y="15693"/>
                  </a:lnTo>
                  <a:lnTo>
                    <a:pt x="1770" y="15729"/>
                  </a:lnTo>
                  <a:lnTo>
                    <a:pt x="1804" y="15764"/>
                  </a:lnTo>
                  <a:lnTo>
                    <a:pt x="1839" y="15797"/>
                  </a:lnTo>
                  <a:lnTo>
                    <a:pt x="1875" y="15829"/>
                  </a:lnTo>
                  <a:lnTo>
                    <a:pt x="1913" y="15858"/>
                  </a:lnTo>
                  <a:lnTo>
                    <a:pt x="1953" y="15886"/>
                  </a:lnTo>
                  <a:lnTo>
                    <a:pt x="1993" y="15912"/>
                  </a:lnTo>
                  <a:lnTo>
                    <a:pt x="2035" y="15937"/>
                  </a:lnTo>
                  <a:lnTo>
                    <a:pt x="2078" y="15959"/>
                  </a:lnTo>
                  <a:lnTo>
                    <a:pt x="2124" y="15979"/>
                  </a:lnTo>
                  <a:lnTo>
                    <a:pt x="2169" y="15997"/>
                  </a:lnTo>
                  <a:lnTo>
                    <a:pt x="2216" y="16013"/>
                  </a:lnTo>
                  <a:lnTo>
                    <a:pt x="2263" y="16026"/>
                  </a:lnTo>
                  <a:lnTo>
                    <a:pt x="2312" y="16038"/>
                  </a:lnTo>
                  <a:lnTo>
                    <a:pt x="2362" y="16046"/>
                  </a:lnTo>
                  <a:lnTo>
                    <a:pt x="2412" y="16053"/>
                  </a:lnTo>
                  <a:lnTo>
                    <a:pt x="2464" y="16057"/>
                  </a:lnTo>
                  <a:lnTo>
                    <a:pt x="2515" y="16058"/>
                  </a:lnTo>
                  <a:lnTo>
                    <a:pt x="13580" y="16058"/>
                  </a:lnTo>
                  <a:lnTo>
                    <a:pt x="13632" y="16057"/>
                  </a:lnTo>
                  <a:lnTo>
                    <a:pt x="13683" y="16053"/>
                  </a:lnTo>
                  <a:lnTo>
                    <a:pt x="13733" y="16046"/>
                  </a:lnTo>
                  <a:lnTo>
                    <a:pt x="13782" y="16038"/>
                  </a:lnTo>
                  <a:lnTo>
                    <a:pt x="13832" y="16026"/>
                  </a:lnTo>
                  <a:lnTo>
                    <a:pt x="13879" y="16013"/>
                  </a:lnTo>
                  <a:lnTo>
                    <a:pt x="13926" y="15997"/>
                  </a:lnTo>
                  <a:lnTo>
                    <a:pt x="13971" y="15979"/>
                  </a:lnTo>
                  <a:lnTo>
                    <a:pt x="14016" y="15959"/>
                  </a:lnTo>
                  <a:lnTo>
                    <a:pt x="14060" y="15937"/>
                  </a:lnTo>
                  <a:lnTo>
                    <a:pt x="14101" y="15912"/>
                  </a:lnTo>
                  <a:lnTo>
                    <a:pt x="14142" y="15886"/>
                  </a:lnTo>
                  <a:lnTo>
                    <a:pt x="14182" y="15858"/>
                  </a:lnTo>
                  <a:lnTo>
                    <a:pt x="14220" y="15829"/>
                  </a:lnTo>
                  <a:lnTo>
                    <a:pt x="14256" y="15797"/>
                  </a:lnTo>
                  <a:lnTo>
                    <a:pt x="14291" y="15764"/>
                  </a:lnTo>
                  <a:lnTo>
                    <a:pt x="14325" y="15729"/>
                  </a:lnTo>
                  <a:lnTo>
                    <a:pt x="14356" y="15693"/>
                  </a:lnTo>
                  <a:lnTo>
                    <a:pt x="14386" y="15655"/>
                  </a:lnTo>
                  <a:lnTo>
                    <a:pt x="14414" y="15615"/>
                  </a:lnTo>
                  <a:lnTo>
                    <a:pt x="14440" y="15574"/>
                  </a:lnTo>
                  <a:lnTo>
                    <a:pt x="14464" y="15533"/>
                  </a:lnTo>
                  <a:lnTo>
                    <a:pt x="14487" y="15489"/>
                  </a:lnTo>
                  <a:lnTo>
                    <a:pt x="14507" y="15445"/>
                  </a:lnTo>
                  <a:lnTo>
                    <a:pt x="14525" y="15400"/>
                  </a:lnTo>
                  <a:lnTo>
                    <a:pt x="14541" y="15352"/>
                  </a:lnTo>
                  <a:lnTo>
                    <a:pt x="14554" y="15305"/>
                  </a:lnTo>
                  <a:lnTo>
                    <a:pt x="14566" y="15257"/>
                  </a:lnTo>
                  <a:lnTo>
                    <a:pt x="14574" y="15207"/>
                  </a:lnTo>
                  <a:lnTo>
                    <a:pt x="14581" y="15157"/>
                  </a:lnTo>
                  <a:lnTo>
                    <a:pt x="14585" y="15106"/>
                  </a:lnTo>
                  <a:lnTo>
                    <a:pt x="14586" y="15054"/>
                  </a:lnTo>
                  <a:lnTo>
                    <a:pt x="14586" y="8531"/>
                  </a:lnTo>
                  <a:lnTo>
                    <a:pt x="14664" y="8529"/>
                  </a:lnTo>
                  <a:lnTo>
                    <a:pt x="14740" y="8523"/>
                  </a:lnTo>
                  <a:lnTo>
                    <a:pt x="14815" y="8514"/>
                  </a:lnTo>
                  <a:lnTo>
                    <a:pt x="14890" y="8501"/>
                  </a:lnTo>
                  <a:lnTo>
                    <a:pt x="14962" y="8484"/>
                  </a:lnTo>
                  <a:lnTo>
                    <a:pt x="15034" y="8464"/>
                  </a:lnTo>
                  <a:lnTo>
                    <a:pt x="15104" y="8439"/>
                  </a:lnTo>
                  <a:lnTo>
                    <a:pt x="15173" y="8412"/>
                  </a:lnTo>
                  <a:lnTo>
                    <a:pt x="15240" y="8382"/>
                  </a:lnTo>
                  <a:lnTo>
                    <a:pt x="15304" y="8349"/>
                  </a:lnTo>
                  <a:lnTo>
                    <a:pt x="15368" y="8313"/>
                  </a:lnTo>
                  <a:lnTo>
                    <a:pt x="15429" y="8273"/>
                  </a:lnTo>
                  <a:lnTo>
                    <a:pt x="15488" y="8232"/>
                  </a:lnTo>
                  <a:lnTo>
                    <a:pt x="15545" y="8187"/>
                  </a:lnTo>
                  <a:lnTo>
                    <a:pt x="15600" y="8139"/>
                  </a:lnTo>
                  <a:lnTo>
                    <a:pt x="15652" y="8089"/>
                  </a:lnTo>
                  <a:lnTo>
                    <a:pt x="15703" y="8037"/>
                  </a:lnTo>
                  <a:lnTo>
                    <a:pt x="15750" y="7983"/>
                  </a:lnTo>
                  <a:lnTo>
                    <a:pt x="15795" y="7926"/>
                  </a:lnTo>
                  <a:lnTo>
                    <a:pt x="15836" y="7866"/>
                  </a:lnTo>
                  <a:lnTo>
                    <a:pt x="15876" y="7805"/>
                  </a:lnTo>
                  <a:lnTo>
                    <a:pt x="15913" y="7742"/>
                  </a:lnTo>
                  <a:lnTo>
                    <a:pt x="15946" y="7678"/>
                  </a:lnTo>
                  <a:lnTo>
                    <a:pt x="15976" y="7610"/>
                  </a:lnTo>
                  <a:lnTo>
                    <a:pt x="16003" y="7542"/>
                  </a:lnTo>
                  <a:lnTo>
                    <a:pt x="16027" y="7473"/>
                  </a:lnTo>
                  <a:lnTo>
                    <a:pt x="16048" y="7401"/>
                  </a:lnTo>
                  <a:lnTo>
                    <a:pt x="16064" y="7328"/>
                  </a:lnTo>
                  <a:lnTo>
                    <a:pt x="16078" y="7254"/>
                  </a:lnTo>
                  <a:lnTo>
                    <a:pt x="16087" y="7179"/>
                  </a:lnTo>
                  <a:lnTo>
                    <a:pt x="16093" y="7103"/>
                  </a:lnTo>
                  <a:lnTo>
                    <a:pt x="16095" y="7025"/>
                  </a:lnTo>
                  <a:lnTo>
                    <a:pt x="16095" y="6524"/>
                  </a:lnTo>
                  <a:lnTo>
                    <a:pt x="16095" y="6493"/>
                  </a:lnTo>
                  <a:lnTo>
                    <a:pt x="16094" y="6463"/>
                  </a:lnTo>
                  <a:lnTo>
                    <a:pt x="16092" y="6432"/>
                  </a:lnTo>
                  <a:lnTo>
                    <a:pt x="16090" y="6402"/>
                  </a:lnTo>
                  <a:lnTo>
                    <a:pt x="16087" y="6372"/>
                  </a:lnTo>
                  <a:lnTo>
                    <a:pt x="16084" y="6342"/>
                  </a:lnTo>
                  <a:lnTo>
                    <a:pt x="16080" y="6312"/>
                  </a:lnTo>
                  <a:lnTo>
                    <a:pt x="16075" y="6282"/>
                  </a:lnTo>
                  <a:lnTo>
                    <a:pt x="16070" y="6253"/>
                  </a:lnTo>
                  <a:lnTo>
                    <a:pt x="16064" y="6222"/>
                  </a:lnTo>
                  <a:lnTo>
                    <a:pt x="16058" y="6193"/>
                  </a:lnTo>
                  <a:lnTo>
                    <a:pt x="16051" y="6163"/>
                  </a:lnTo>
                  <a:lnTo>
                    <a:pt x="16044" y="6134"/>
                  </a:lnTo>
                  <a:lnTo>
                    <a:pt x="16035" y="6105"/>
                  </a:lnTo>
                  <a:lnTo>
                    <a:pt x="16027" y="6076"/>
                  </a:lnTo>
                  <a:lnTo>
                    <a:pt x="16018" y="6047"/>
                  </a:lnTo>
                  <a:lnTo>
                    <a:pt x="16007" y="6019"/>
                  </a:lnTo>
                  <a:lnTo>
                    <a:pt x="15996" y="5991"/>
                  </a:lnTo>
                  <a:lnTo>
                    <a:pt x="15985" y="5963"/>
                  </a:lnTo>
                  <a:lnTo>
                    <a:pt x="15974" y="5934"/>
                  </a:lnTo>
                  <a:lnTo>
                    <a:pt x="15962" y="5906"/>
                  </a:lnTo>
                  <a:lnTo>
                    <a:pt x="15949" y="5879"/>
                  </a:lnTo>
                  <a:lnTo>
                    <a:pt x="15936" y="5852"/>
                  </a:lnTo>
                  <a:lnTo>
                    <a:pt x="15922" y="5825"/>
                  </a:lnTo>
                  <a:lnTo>
                    <a:pt x="15908" y="5798"/>
                  </a:lnTo>
                  <a:lnTo>
                    <a:pt x="15893" y="5772"/>
                  </a:lnTo>
                  <a:lnTo>
                    <a:pt x="15878" y="5746"/>
                  </a:lnTo>
                  <a:lnTo>
                    <a:pt x="15862" y="5720"/>
                  </a:lnTo>
                  <a:lnTo>
                    <a:pt x="15846" y="5695"/>
                  </a:lnTo>
                  <a:lnTo>
                    <a:pt x="15828" y="5669"/>
                  </a:lnTo>
                  <a:lnTo>
                    <a:pt x="15811" y="5644"/>
                  </a:lnTo>
                  <a:lnTo>
                    <a:pt x="15793" y="56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45" name="îśļîďè">
              <a:extLst>
                <a:ext uri="{FF2B5EF4-FFF2-40B4-BE49-F238E27FC236}">
                  <a16:creationId xmlns:a16="http://schemas.microsoft.com/office/drawing/2014/main" id="{8F9BEEF4-0DB9-4FA8-8857-261692874752}"/>
                </a:ext>
              </a:extLst>
            </p:cNvPr>
            <p:cNvSpPr/>
            <p:nvPr/>
          </p:nvSpPr>
          <p:spPr bwMode="auto">
            <a:xfrm>
              <a:off x="3700087" y="1717618"/>
              <a:ext cx="325956" cy="295234"/>
            </a:xfrm>
            <a:custGeom>
              <a:avLst/>
              <a:gdLst>
                <a:gd name="T0" fmla="*/ 13271 w 16095"/>
                <a:gd name="T1" fmla="*/ 332 h 14578"/>
                <a:gd name="T2" fmla="*/ 11351 w 16095"/>
                <a:gd name="T3" fmla="*/ 5 h 14578"/>
                <a:gd name="T4" fmla="*/ 9463 w 16095"/>
                <a:gd name="T5" fmla="*/ 518 h 14578"/>
                <a:gd name="T6" fmla="*/ 789 w 16095"/>
                <a:gd name="T7" fmla="*/ 8840 h 14578"/>
                <a:gd name="T8" fmla="*/ 101 w 16095"/>
                <a:gd name="T9" fmla="*/ 10223 h 14578"/>
                <a:gd name="T10" fmla="*/ 64 w 16095"/>
                <a:gd name="T11" fmla="*/ 11733 h 14578"/>
                <a:gd name="T12" fmla="*/ 680 w 16095"/>
                <a:gd name="T13" fmla="*/ 13142 h 14578"/>
                <a:gd name="T14" fmla="*/ 1881 w 16095"/>
                <a:gd name="T15" fmla="*/ 14176 h 14578"/>
                <a:gd name="T16" fmla="*/ 3350 w 16095"/>
                <a:gd name="T17" fmla="*/ 14574 h 14578"/>
                <a:gd name="T18" fmla="*/ 4844 w 16095"/>
                <a:gd name="T19" fmla="*/ 14321 h 14578"/>
                <a:gd name="T20" fmla="*/ 13346 w 16095"/>
                <a:gd name="T21" fmla="*/ 6301 h 14578"/>
                <a:gd name="T22" fmla="*/ 13942 w 16095"/>
                <a:gd name="T23" fmla="*/ 5355 h 14578"/>
                <a:gd name="T24" fmla="*/ 14071 w 16095"/>
                <a:gd name="T25" fmla="*/ 4284 h 14578"/>
                <a:gd name="T26" fmla="*/ 13735 w 16095"/>
                <a:gd name="T27" fmla="*/ 3247 h 14578"/>
                <a:gd name="T28" fmla="*/ 12951 w 16095"/>
                <a:gd name="T29" fmla="*/ 2425 h 14578"/>
                <a:gd name="T30" fmla="*/ 11928 w 16095"/>
                <a:gd name="T31" fmla="*/ 2037 h 14578"/>
                <a:gd name="T32" fmla="*/ 10852 w 16095"/>
                <a:gd name="T33" fmla="*/ 2115 h 14578"/>
                <a:gd name="T34" fmla="*/ 9884 w 16095"/>
                <a:gd name="T35" fmla="*/ 2658 h 14578"/>
                <a:gd name="T36" fmla="*/ 4173 w 16095"/>
                <a:gd name="T37" fmla="*/ 8404 h 14578"/>
                <a:gd name="T38" fmla="*/ 4125 w 16095"/>
                <a:gd name="T39" fmla="*/ 8617 h 14578"/>
                <a:gd name="T40" fmla="*/ 4173 w 16095"/>
                <a:gd name="T41" fmla="*/ 8828 h 14578"/>
                <a:gd name="T42" fmla="*/ 4311 w 16095"/>
                <a:gd name="T43" fmla="*/ 9007 h 14578"/>
                <a:gd name="T44" fmla="*/ 4509 w 16095"/>
                <a:gd name="T45" fmla="*/ 9105 h 14578"/>
                <a:gd name="T46" fmla="*/ 4725 w 16095"/>
                <a:gd name="T47" fmla="*/ 9110 h 14578"/>
                <a:gd name="T48" fmla="*/ 4926 w 16095"/>
                <a:gd name="T49" fmla="*/ 9022 h 14578"/>
                <a:gd name="T50" fmla="*/ 10802 w 16095"/>
                <a:gd name="T51" fmla="*/ 3226 h 14578"/>
                <a:gd name="T52" fmla="*/ 11423 w 16095"/>
                <a:gd name="T53" fmla="*/ 3024 h 14578"/>
                <a:gd name="T54" fmla="*/ 12067 w 16095"/>
                <a:gd name="T55" fmla="*/ 3101 h 14578"/>
                <a:gd name="T56" fmla="*/ 12635 w 16095"/>
                <a:gd name="T57" fmla="*/ 3458 h 14578"/>
                <a:gd name="T58" fmla="*/ 12992 w 16095"/>
                <a:gd name="T59" fmla="*/ 4025 h 14578"/>
                <a:gd name="T60" fmla="*/ 13069 w 16095"/>
                <a:gd name="T61" fmla="*/ 4669 h 14578"/>
                <a:gd name="T62" fmla="*/ 12868 w 16095"/>
                <a:gd name="T63" fmla="*/ 5291 h 14578"/>
                <a:gd name="T64" fmla="*/ 5006 w 16095"/>
                <a:gd name="T65" fmla="*/ 13088 h 14578"/>
                <a:gd name="T66" fmla="*/ 3999 w 16095"/>
                <a:gd name="T67" fmla="*/ 13528 h 14578"/>
                <a:gd name="T68" fmla="*/ 2920 w 16095"/>
                <a:gd name="T69" fmla="*/ 13502 h 14578"/>
                <a:gd name="T70" fmla="*/ 1931 w 16095"/>
                <a:gd name="T71" fmla="*/ 13011 h 14578"/>
                <a:gd name="T72" fmla="*/ 1237 w 16095"/>
                <a:gd name="T73" fmla="*/ 12119 h 14578"/>
                <a:gd name="T74" fmla="*/ 1004 w 16095"/>
                <a:gd name="T75" fmla="*/ 11060 h 14578"/>
                <a:gd name="T76" fmla="*/ 1237 w 16095"/>
                <a:gd name="T77" fmla="*/ 10003 h 14578"/>
                <a:gd name="T78" fmla="*/ 9139 w 16095"/>
                <a:gd name="T79" fmla="*/ 1982 h 14578"/>
                <a:gd name="T80" fmla="*/ 10495 w 16095"/>
                <a:gd name="T81" fmla="*/ 1221 h 14578"/>
                <a:gd name="T82" fmla="*/ 12003 w 16095"/>
                <a:gd name="T83" fmla="*/ 1113 h 14578"/>
                <a:gd name="T84" fmla="*/ 13433 w 16095"/>
                <a:gd name="T85" fmla="*/ 1657 h 14578"/>
                <a:gd name="T86" fmla="*/ 14530 w 16095"/>
                <a:gd name="T87" fmla="*/ 2808 h 14578"/>
                <a:gd name="T88" fmla="*/ 15002 w 16095"/>
                <a:gd name="T89" fmla="*/ 4258 h 14578"/>
                <a:gd name="T90" fmla="*/ 14820 w 16095"/>
                <a:gd name="T91" fmla="*/ 5759 h 14578"/>
                <a:gd name="T92" fmla="*/ 13987 w 16095"/>
                <a:gd name="T93" fmla="*/ 7083 h 14578"/>
                <a:gd name="T94" fmla="*/ 8431 w 16095"/>
                <a:gd name="T95" fmla="*/ 12692 h 14578"/>
                <a:gd name="T96" fmla="*/ 8395 w 16095"/>
                <a:gd name="T97" fmla="*/ 12905 h 14578"/>
                <a:gd name="T98" fmla="*/ 8451 w 16095"/>
                <a:gd name="T99" fmla="*/ 13115 h 14578"/>
                <a:gd name="T100" fmla="*/ 8600 w 16095"/>
                <a:gd name="T101" fmla="*/ 13286 h 14578"/>
                <a:gd name="T102" fmla="*/ 8801 w 16095"/>
                <a:gd name="T103" fmla="*/ 13375 h 14578"/>
                <a:gd name="T104" fmla="*/ 9017 w 16095"/>
                <a:gd name="T105" fmla="*/ 13370 h 14578"/>
                <a:gd name="T106" fmla="*/ 9214 w 16095"/>
                <a:gd name="T107" fmla="*/ 13271 h 14578"/>
                <a:gd name="T108" fmla="*/ 15577 w 16095"/>
                <a:gd name="T109" fmla="*/ 6628 h 14578"/>
                <a:gd name="T110" fmla="*/ 16090 w 16095"/>
                <a:gd name="T111" fmla="*/ 4742 h 14578"/>
                <a:gd name="T112" fmla="*/ 15763 w 16095"/>
                <a:gd name="T113" fmla="*/ 2822 h 14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4578">
                  <a:moveTo>
                    <a:pt x="14768" y="1326"/>
                  </a:moveTo>
                  <a:lnTo>
                    <a:pt x="14600" y="1165"/>
                  </a:lnTo>
                  <a:lnTo>
                    <a:pt x="14425" y="1015"/>
                  </a:lnTo>
                  <a:lnTo>
                    <a:pt x="14244" y="875"/>
                  </a:lnTo>
                  <a:lnTo>
                    <a:pt x="14059" y="746"/>
                  </a:lnTo>
                  <a:lnTo>
                    <a:pt x="13868" y="626"/>
                  </a:lnTo>
                  <a:lnTo>
                    <a:pt x="13673" y="518"/>
                  </a:lnTo>
                  <a:lnTo>
                    <a:pt x="13474" y="419"/>
                  </a:lnTo>
                  <a:lnTo>
                    <a:pt x="13271" y="332"/>
                  </a:lnTo>
                  <a:lnTo>
                    <a:pt x="13065" y="253"/>
                  </a:lnTo>
                  <a:lnTo>
                    <a:pt x="12857" y="187"/>
                  </a:lnTo>
                  <a:lnTo>
                    <a:pt x="12646" y="130"/>
                  </a:lnTo>
                  <a:lnTo>
                    <a:pt x="12432" y="83"/>
                  </a:lnTo>
                  <a:lnTo>
                    <a:pt x="12218" y="46"/>
                  </a:lnTo>
                  <a:lnTo>
                    <a:pt x="12002" y="21"/>
                  </a:lnTo>
                  <a:lnTo>
                    <a:pt x="11786" y="5"/>
                  </a:lnTo>
                  <a:lnTo>
                    <a:pt x="11568" y="0"/>
                  </a:lnTo>
                  <a:lnTo>
                    <a:pt x="11351" y="5"/>
                  </a:lnTo>
                  <a:lnTo>
                    <a:pt x="11134" y="21"/>
                  </a:lnTo>
                  <a:lnTo>
                    <a:pt x="10918" y="46"/>
                  </a:lnTo>
                  <a:lnTo>
                    <a:pt x="10703" y="83"/>
                  </a:lnTo>
                  <a:lnTo>
                    <a:pt x="10490" y="130"/>
                  </a:lnTo>
                  <a:lnTo>
                    <a:pt x="10280" y="187"/>
                  </a:lnTo>
                  <a:lnTo>
                    <a:pt x="10070" y="253"/>
                  </a:lnTo>
                  <a:lnTo>
                    <a:pt x="9864" y="332"/>
                  </a:lnTo>
                  <a:lnTo>
                    <a:pt x="9662" y="419"/>
                  </a:lnTo>
                  <a:lnTo>
                    <a:pt x="9463" y="518"/>
                  </a:lnTo>
                  <a:lnTo>
                    <a:pt x="9268" y="626"/>
                  </a:lnTo>
                  <a:lnTo>
                    <a:pt x="9078" y="746"/>
                  </a:lnTo>
                  <a:lnTo>
                    <a:pt x="8891" y="875"/>
                  </a:lnTo>
                  <a:lnTo>
                    <a:pt x="8711" y="1015"/>
                  </a:lnTo>
                  <a:lnTo>
                    <a:pt x="8536" y="1165"/>
                  </a:lnTo>
                  <a:lnTo>
                    <a:pt x="8367" y="1326"/>
                  </a:lnTo>
                  <a:lnTo>
                    <a:pt x="1029" y="8572"/>
                  </a:lnTo>
                  <a:lnTo>
                    <a:pt x="904" y="8704"/>
                  </a:lnTo>
                  <a:lnTo>
                    <a:pt x="789" y="8840"/>
                  </a:lnTo>
                  <a:lnTo>
                    <a:pt x="680" y="8979"/>
                  </a:lnTo>
                  <a:lnTo>
                    <a:pt x="579" y="9124"/>
                  </a:lnTo>
                  <a:lnTo>
                    <a:pt x="487" y="9272"/>
                  </a:lnTo>
                  <a:lnTo>
                    <a:pt x="402" y="9424"/>
                  </a:lnTo>
                  <a:lnTo>
                    <a:pt x="326" y="9579"/>
                  </a:lnTo>
                  <a:lnTo>
                    <a:pt x="258" y="9736"/>
                  </a:lnTo>
                  <a:lnTo>
                    <a:pt x="197" y="9896"/>
                  </a:lnTo>
                  <a:lnTo>
                    <a:pt x="145" y="10058"/>
                  </a:lnTo>
                  <a:lnTo>
                    <a:pt x="101" y="10223"/>
                  </a:lnTo>
                  <a:lnTo>
                    <a:pt x="64" y="10388"/>
                  </a:lnTo>
                  <a:lnTo>
                    <a:pt x="36" y="10556"/>
                  </a:lnTo>
                  <a:lnTo>
                    <a:pt x="16" y="10724"/>
                  </a:lnTo>
                  <a:lnTo>
                    <a:pt x="4" y="10892"/>
                  </a:lnTo>
                  <a:lnTo>
                    <a:pt x="0" y="11060"/>
                  </a:lnTo>
                  <a:lnTo>
                    <a:pt x="4" y="11229"/>
                  </a:lnTo>
                  <a:lnTo>
                    <a:pt x="16" y="11398"/>
                  </a:lnTo>
                  <a:lnTo>
                    <a:pt x="36" y="11566"/>
                  </a:lnTo>
                  <a:lnTo>
                    <a:pt x="64" y="11733"/>
                  </a:lnTo>
                  <a:lnTo>
                    <a:pt x="101" y="11899"/>
                  </a:lnTo>
                  <a:lnTo>
                    <a:pt x="145" y="12064"/>
                  </a:lnTo>
                  <a:lnTo>
                    <a:pt x="197" y="12226"/>
                  </a:lnTo>
                  <a:lnTo>
                    <a:pt x="258" y="12385"/>
                  </a:lnTo>
                  <a:lnTo>
                    <a:pt x="326" y="12543"/>
                  </a:lnTo>
                  <a:lnTo>
                    <a:pt x="402" y="12698"/>
                  </a:lnTo>
                  <a:lnTo>
                    <a:pt x="487" y="12850"/>
                  </a:lnTo>
                  <a:lnTo>
                    <a:pt x="579" y="12998"/>
                  </a:lnTo>
                  <a:lnTo>
                    <a:pt x="680" y="13142"/>
                  </a:lnTo>
                  <a:lnTo>
                    <a:pt x="789" y="13282"/>
                  </a:lnTo>
                  <a:lnTo>
                    <a:pt x="904" y="13418"/>
                  </a:lnTo>
                  <a:lnTo>
                    <a:pt x="1029" y="13550"/>
                  </a:lnTo>
                  <a:lnTo>
                    <a:pt x="1161" y="13673"/>
                  </a:lnTo>
                  <a:lnTo>
                    <a:pt x="1297" y="13790"/>
                  </a:lnTo>
                  <a:lnTo>
                    <a:pt x="1436" y="13898"/>
                  </a:lnTo>
                  <a:lnTo>
                    <a:pt x="1581" y="13999"/>
                  </a:lnTo>
                  <a:lnTo>
                    <a:pt x="1729" y="14091"/>
                  </a:lnTo>
                  <a:lnTo>
                    <a:pt x="1881" y="14176"/>
                  </a:lnTo>
                  <a:lnTo>
                    <a:pt x="2036" y="14252"/>
                  </a:lnTo>
                  <a:lnTo>
                    <a:pt x="2193" y="14321"/>
                  </a:lnTo>
                  <a:lnTo>
                    <a:pt x="2354" y="14381"/>
                  </a:lnTo>
                  <a:lnTo>
                    <a:pt x="2516" y="14433"/>
                  </a:lnTo>
                  <a:lnTo>
                    <a:pt x="2680" y="14477"/>
                  </a:lnTo>
                  <a:lnTo>
                    <a:pt x="2846" y="14514"/>
                  </a:lnTo>
                  <a:lnTo>
                    <a:pt x="3013" y="14542"/>
                  </a:lnTo>
                  <a:lnTo>
                    <a:pt x="3181" y="14562"/>
                  </a:lnTo>
                  <a:lnTo>
                    <a:pt x="3350" y="14574"/>
                  </a:lnTo>
                  <a:lnTo>
                    <a:pt x="3519" y="14578"/>
                  </a:lnTo>
                  <a:lnTo>
                    <a:pt x="3688" y="14574"/>
                  </a:lnTo>
                  <a:lnTo>
                    <a:pt x="3857" y="14562"/>
                  </a:lnTo>
                  <a:lnTo>
                    <a:pt x="4025" y="14542"/>
                  </a:lnTo>
                  <a:lnTo>
                    <a:pt x="4192" y="14514"/>
                  </a:lnTo>
                  <a:lnTo>
                    <a:pt x="4358" y="14477"/>
                  </a:lnTo>
                  <a:lnTo>
                    <a:pt x="4522" y="14433"/>
                  </a:lnTo>
                  <a:lnTo>
                    <a:pt x="4684" y="14381"/>
                  </a:lnTo>
                  <a:lnTo>
                    <a:pt x="4844" y="14321"/>
                  </a:lnTo>
                  <a:lnTo>
                    <a:pt x="5002" y="14252"/>
                  </a:lnTo>
                  <a:lnTo>
                    <a:pt x="5156" y="14176"/>
                  </a:lnTo>
                  <a:lnTo>
                    <a:pt x="5308" y="14091"/>
                  </a:lnTo>
                  <a:lnTo>
                    <a:pt x="5456" y="13999"/>
                  </a:lnTo>
                  <a:lnTo>
                    <a:pt x="5601" y="13898"/>
                  </a:lnTo>
                  <a:lnTo>
                    <a:pt x="5741" y="13790"/>
                  </a:lnTo>
                  <a:lnTo>
                    <a:pt x="5877" y="13673"/>
                  </a:lnTo>
                  <a:lnTo>
                    <a:pt x="6007" y="13550"/>
                  </a:lnTo>
                  <a:lnTo>
                    <a:pt x="13346" y="6301"/>
                  </a:lnTo>
                  <a:lnTo>
                    <a:pt x="13435" y="6208"/>
                  </a:lnTo>
                  <a:lnTo>
                    <a:pt x="13519" y="6110"/>
                  </a:lnTo>
                  <a:lnTo>
                    <a:pt x="13596" y="6011"/>
                  </a:lnTo>
                  <a:lnTo>
                    <a:pt x="13669" y="5907"/>
                  </a:lnTo>
                  <a:lnTo>
                    <a:pt x="13735" y="5802"/>
                  </a:lnTo>
                  <a:lnTo>
                    <a:pt x="13795" y="5693"/>
                  </a:lnTo>
                  <a:lnTo>
                    <a:pt x="13850" y="5582"/>
                  </a:lnTo>
                  <a:lnTo>
                    <a:pt x="13899" y="5470"/>
                  </a:lnTo>
                  <a:lnTo>
                    <a:pt x="13942" y="5355"/>
                  </a:lnTo>
                  <a:lnTo>
                    <a:pt x="13980" y="5240"/>
                  </a:lnTo>
                  <a:lnTo>
                    <a:pt x="14011" y="5123"/>
                  </a:lnTo>
                  <a:lnTo>
                    <a:pt x="14037" y="5004"/>
                  </a:lnTo>
                  <a:lnTo>
                    <a:pt x="14057" y="4885"/>
                  </a:lnTo>
                  <a:lnTo>
                    <a:pt x="14071" y="4765"/>
                  </a:lnTo>
                  <a:lnTo>
                    <a:pt x="14080" y="4645"/>
                  </a:lnTo>
                  <a:lnTo>
                    <a:pt x="14083" y="4524"/>
                  </a:lnTo>
                  <a:lnTo>
                    <a:pt x="14080" y="4404"/>
                  </a:lnTo>
                  <a:lnTo>
                    <a:pt x="14071" y="4284"/>
                  </a:lnTo>
                  <a:lnTo>
                    <a:pt x="14057" y="4164"/>
                  </a:lnTo>
                  <a:lnTo>
                    <a:pt x="14037" y="4044"/>
                  </a:lnTo>
                  <a:lnTo>
                    <a:pt x="14011" y="3926"/>
                  </a:lnTo>
                  <a:lnTo>
                    <a:pt x="13980" y="3809"/>
                  </a:lnTo>
                  <a:lnTo>
                    <a:pt x="13942" y="3693"/>
                  </a:lnTo>
                  <a:lnTo>
                    <a:pt x="13899" y="3579"/>
                  </a:lnTo>
                  <a:lnTo>
                    <a:pt x="13850" y="3466"/>
                  </a:lnTo>
                  <a:lnTo>
                    <a:pt x="13795" y="3356"/>
                  </a:lnTo>
                  <a:lnTo>
                    <a:pt x="13735" y="3247"/>
                  </a:lnTo>
                  <a:lnTo>
                    <a:pt x="13669" y="3142"/>
                  </a:lnTo>
                  <a:lnTo>
                    <a:pt x="13596" y="3038"/>
                  </a:lnTo>
                  <a:lnTo>
                    <a:pt x="13519" y="2939"/>
                  </a:lnTo>
                  <a:lnTo>
                    <a:pt x="13435" y="2841"/>
                  </a:lnTo>
                  <a:lnTo>
                    <a:pt x="13346" y="2748"/>
                  </a:lnTo>
                  <a:lnTo>
                    <a:pt x="13252" y="2658"/>
                  </a:lnTo>
                  <a:lnTo>
                    <a:pt x="13156" y="2575"/>
                  </a:lnTo>
                  <a:lnTo>
                    <a:pt x="13055" y="2497"/>
                  </a:lnTo>
                  <a:lnTo>
                    <a:pt x="12951" y="2425"/>
                  </a:lnTo>
                  <a:lnTo>
                    <a:pt x="12846" y="2359"/>
                  </a:lnTo>
                  <a:lnTo>
                    <a:pt x="12737" y="2299"/>
                  </a:lnTo>
                  <a:lnTo>
                    <a:pt x="12627" y="2244"/>
                  </a:lnTo>
                  <a:lnTo>
                    <a:pt x="12514" y="2196"/>
                  </a:lnTo>
                  <a:lnTo>
                    <a:pt x="12400" y="2152"/>
                  </a:lnTo>
                  <a:lnTo>
                    <a:pt x="12284" y="2115"/>
                  </a:lnTo>
                  <a:lnTo>
                    <a:pt x="12167" y="2083"/>
                  </a:lnTo>
                  <a:lnTo>
                    <a:pt x="12048" y="2057"/>
                  </a:lnTo>
                  <a:lnTo>
                    <a:pt x="11928" y="2037"/>
                  </a:lnTo>
                  <a:lnTo>
                    <a:pt x="11809" y="2023"/>
                  </a:lnTo>
                  <a:lnTo>
                    <a:pt x="11689" y="2015"/>
                  </a:lnTo>
                  <a:lnTo>
                    <a:pt x="11568" y="2012"/>
                  </a:lnTo>
                  <a:lnTo>
                    <a:pt x="11448" y="2015"/>
                  </a:lnTo>
                  <a:lnTo>
                    <a:pt x="11327" y="2023"/>
                  </a:lnTo>
                  <a:lnTo>
                    <a:pt x="11207" y="2037"/>
                  </a:lnTo>
                  <a:lnTo>
                    <a:pt x="11087" y="2057"/>
                  </a:lnTo>
                  <a:lnTo>
                    <a:pt x="10969" y="2083"/>
                  </a:lnTo>
                  <a:lnTo>
                    <a:pt x="10852" y="2115"/>
                  </a:lnTo>
                  <a:lnTo>
                    <a:pt x="10736" y="2152"/>
                  </a:lnTo>
                  <a:lnTo>
                    <a:pt x="10622" y="2196"/>
                  </a:lnTo>
                  <a:lnTo>
                    <a:pt x="10509" y="2244"/>
                  </a:lnTo>
                  <a:lnTo>
                    <a:pt x="10398" y="2299"/>
                  </a:lnTo>
                  <a:lnTo>
                    <a:pt x="10291" y="2359"/>
                  </a:lnTo>
                  <a:lnTo>
                    <a:pt x="10184" y="2425"/>
                  </a:lnTo>
                  <a:lnTo>
                    <a:pt x="10082" y="2497"/>
                  </a:lnTo>
                  <a:lnTo>
                    <a:pt x="9981" y="2575"/>
                  </a:lnTo>
                  <a:lnTo>
                    <a:pt x="9884" y="2658"/>
                  </a:lnTo>
                  <a:lnTo>
                    <a:pt x="9790" y="2748"/>
                  </a:lnTo>
                  <a:lnTo>
                    <a:pt x="4273" y="8261"/>
                  </a:lnTo>
                  <a:lnTo>
                    <a:pt x="4255" y="8279"/>
                  </a:lnTo>
                  <a:lnTo>
                    <a:pt x="4239" y="8299"/>
                  </a:lnTo>
                  <a:lnTo>
                    <a:pt x="4223" y="8319"/>
                  </a:lnTo>
                  <a:lnTo>
                    <a:pt x="4209" y="8339"/>
                  </a:lnTo>
                  <a:lnTo>
                    <a:pt x="4196" y="8361"/>
                  </a:lnTo>
                  <a:lnTo>
                    <a:pt x="4184" y="8382"/>
                  </a:lnTo>
                  <a:lnTo>
                    <a:pt x="4173" y="8404"/>
                  </a:lnTo>
                  <a:lnTo>
                    <a:pt x="4163" y="8427"/>
                  </a:lnTo>
                  <a:lnTo>
                    <a:pt x="4154" y="8450"/>
                  </a:lnTo>
                  <a:lnTo>
                    <a:pt x="4146" y="8473"/>
                  </a:lnTo>
                  <a:lnTo>
                    <a:pt x="4140" y="8497"/>
                  </a:lnTo>
                  <a:lnTo>
                    <a:pt x="4134" y="8520"/>
                  </a:lnTo>
                  <a:lnTo>
                    <a:pt x="4130" y="8544"/>
                  </a:lnTo>
                  <a:lnTo>
                    <a:pt x="4128" y="8568"/>
                  </a:lnTo>
                  <a:lnTo>
                    <a:pt x="4126" y="8592"/>
                  </a:lnTo>
                  <a:lnTo>
                    <a:pt x="4125" y="8617"/>
                  </a:lnTo>
                  <a:lnTo>
                    <a:pt x="4126" y="8640"/>
                  </a:lnTo>
                  <a:lnTo>
                    <a:pt x="4128" y="8664"/>
                  </a:lnTo>
                  <a:lnTo>
                    <a:pt x="4130" y="8688"/>
                  </a:lnTo>
                  <a:lnTo>
                    <a:pt x="4134" y="8712"/>
                  </a:lnTo>
                  <a:lnTo>
                    <a:pt x="4140" y="8736"/>
                  </a:lnTo>
                  <a:lnTo>
                    <a:pt x="4146" y="8759"/>
                  </a:lnTo>
                  <a:lnTo>
                    <a:pt x="4154" y="8782"/>
                  </a:lnTo>
                  <a:lnTo>
                    <a:pt x="4163" y="8806"/>
                  </a:lnTo>
                  <a:lnTo>
                    <a:pt x="4173" y="8828"/>
                  </a:lnTo>
                  <a:lnTo>
                    <a:pt x="4184" y="8850"/>
                  </a:lnTo>
                  <a:lnTo>
                    <a:pt x="4196" y="8872"/>
                  </a:lnTo>
                  <a:lnTo>
                    <a:pt x="4209" y="8893"/>
                  </a:lnTo>
                  <a:lnTo>
                    <a:pt x="4223" y="8913"/>
                  </a:lnTo>
                  <a:lnTo>
                    <a:pt x="4239" y="8933"/>
                  </a:lnTo>
                  <a:lnTo>
                    <a:pt x="4255" y="8953"/>
                  </a:lnTo>
                  <a:lnTo>
                    <a:pt x="4273" y="8971"/>
                  </a:lnTo>
                  <a:lnTo>
                    <a:pt x="4292" y="8989"/>
                  </a:lnTo>
                  <a:lnTo>
                    <a:pt x="4311" y="9007"/>
                  </a:lnTo>
                  <a:lnTo>
                    <a:pt x="4332" y="9022"/>
                  </a:lnTo>
                  <a:lnTo>
                    <a:pt x="4352" y="9036"/>
                  </a:lnTo>
                  <a:lnTo>
                    <a:pt x="4373" y="9050"/>
                  </a:lnTo>
                  <a:lnTo>
                    <a:pt x="4395" y="9062"/>
                  </a:lnTo>
                  <a:lnTo>
                    <a:pt x="4417" y="9073"/>
                  </a:lnTo>
                  <a:lnTo>
                    <a:pt x="4439" y="9082"/>
                  </a:lnTo>
                  <a:lnTo>
                    <a:pt x="4462" y="9091"/>
                  </a:lnTo>
                  <a:lnTo>
                    <a:pt x="4485" y="9098"/>
                  </a:lnTo>
                  <a:lnTo>
                    <a:pt x="4509" y="9105"/>
                  </a:lnTo>
                  <a:lnTo>
                    <a:pt x="4533" y="9110"/>
                  </a:lnTo>
                  <a:lnTo>
                    <a:pt x="4557" y="9114"/>
                  </a:lnTo>
                  <a:lnTo>
                    <a:pt x="4580" y="9117"/>
                  </a:lnTo>
                  <a:lnTo>
                    <a:pt x="4604" y="9118"/>
                  </a:lnTo>
                  <a:lnTo>
                    <a:pt x="4628" y="9119"/>
                  </a:lnTo>
                  <a:lnTo>
                    <a:pt x="4652" y="9118"/>
                  </a:lnTo>
                  <a:lnTo>
                    <a:pt x="4677" y="9117"/>
                  </a:lnTo>
                  <a:lnTo>
                    <a:pt x="4701" y="9114"/>
                  </a:lnTo>
                  <a:lnTo>
                    <a:pt x="4725" y="9110"/>
                  </a:lnTo>
                  <a:lnTo>
                    <a:pt x="4748" y="9105"/>
                  </a:lnTo>
                  <a:lnTo>
                    <a:pt x="4772" y="9098"/>
                  </a:lnTo>
                  <a:lnTo>
                    <a:pt x="4795" y="9091"/>
                  </a:lnTo>
                  <a:lnTo>
                    <a:pt x="4817" y="9082"/>
                  </a:lnTo>
                  <a:lnTo>
                    <a:pt x="4841" y="9073"/>
                  </a:lnTo>
                  <a:lnTo>
                    <a:pt x="4863" y="9062"/>
                  </a:lnTo>
                  <a:lnTo>
                    <a:pt x="4884" y="9050"/>
                  </a:lnTo>
                  <a:lnTo>
                    <a:pt x="4905" y="9036"/>
                  </a:lnTo>
                  <a:lnTo>
                    <a:pt x="4926" y="9022"/>
                  </a:lnTo>
                  <a:lnTo>
                    <a:pt x="4946" y="9007"/>
                  </a:lnTo>
                  <a:lnTo>
                    <a:pt x="4965" y="8989"/>
                  </a:lnTo>
                  <a:lnTo>
                    <a:pt x="4984" y="8971"/>
                  </a:lnTo>
                  <a:lnTo>
                    <a:pt x="10501" y="3458"/>
                  </a:lnTo>
                  <a:lnTo>
                    <a:pt x="10557" y="3405"/>
                  </a:lnTo>
                  <a:lnTo>
                    <a:pt x="10616" y="3355"/>
                  </a:lnTo>
                  <a:lnTo>
                    <a:pt x="10676" y="3308"/>
                  </a:lnTo>
                  <a:lnTo>
                    <a:pt x="10738" y="3265"/>
                  </a:lnTo>
                  <a:lnTo>
                    <a:pt x="10802" y="3226"/>
                  </a:lnTo>
                  <a:lnTo>
                    <a:pt x="10866" y="3190"/>
                  </a:lnTo>
                  <a:lnTo>
                    <a:pt x="10933" y="3157"/>
                  </a:lnTo>
                  <a:lnTo>
                    <a:pt x="11000" y="3128"/>
                  </a:lnTo>
                  <a:lnTo>
                    <a:pt x="11069" y="3101"/>
                  </a:lnTo>
                  <a:lnTo>
                    <a:pt x="11139" y="3079"/>
                  </a:lnTo>
                  <a:lnTo>
                    <a:pt x="11209" y="3060"/>
                  </a:lnTo>
                  <a:lnTo>
                    <a:pt x="11280" y="3045"/>
                  </a:lnTo>
                  <a:lnTo>
                    <a:pt x="11352" y="3033"/>
                  </a:lnTo>
                  <a:lnTo>
                    <a:pt x="11423" y="3024"/>
                  </a:lnTo>
                  <a:lnTo>
                    <a:pt x="11496" y="3019"/>
                  </a:lnTo>
                  <a:lnTo>
                    <a:pt x="11568" y="3017"/>
                  </a:lnTo>
                  <a:lnTo>
                    <a:pt x="11641" y="3019"/>
                  </a:lnTo>
                  <a:lnTo>
                    <a:pt x="11713" y="3024"/>
                  </a:lnTo>
                  <a:lnTo>
                    <a:pt x="11785" y="3033"/>
                  </a:lnTo>
                  <a:lnTo>
                    <a:pt x="11857" y="3045"/>
                  </a:lnTo>
                  <a:lnTo>
                    <a:pt x="11927" y="3060"/>
                  </a:lnTo>
                  <a:lnTo>
                    <a:pt x="11998" y="3079"/>
                  </a:lnTo>
                  <a:lnTo>
                    <a:pt x="12067" y="3101"/>
                  </a:lnTo>
                  <a:lnTo>
                    <a:pt x="12137" y="3128"/>
                  </a:lnTo>
                  <a:lnTo>
                    <a:pt x="12204" y="3157"/>
                  </a:lnTo>
                  <a:lnTo>
                    <a:pt x="12270" y="3190"/>
                  </a:lnTo>
                  <a:lnTo>
                    <a:pt x="12335" y="3226"/>
                  </a:lnTo>
                  <a:lnTo>
                    <a:pt x="12398" y="3265"/>
                  </a:lnTo>
                  <a:lnTo>
                    <a:pt x="12461" y="3308"/>
                  </a:lnTo>
                  <a:lnTo>
                    <a:pt x="12521" y="3355"/>
                  </a:lnTo>
                  <a:lnTo>
                    <a:pt x="12579" y="3405"/>
                  </a:lnTo>
                  <a:lnTo>
                    <a:pt x="12635" y="3458"/>
                  </a:lnTo>
                  <a:lnTo>
                    <a:pt x="12689" y="3515"/>
                  </a:lnTo>
                  <a:lnTo>
                    <a:pt x="12738" y="3572"/>
                  </a:lnTo>
                  <a:lnTo>
                    <a:pt x="12785" y="3632"/>
                  </a:lnTo>
                  <a:lnTo>
                    <a:pt x="12828" y="3695"/>
                  </a:lnTo>
                  <a:lnTo>
                    <a:pt x="12868" y="3758"/>
                  </a:lnTo>
                  <a:lnTo>
                    <a:pt x="12904" y="3823"/>
                  </a:lnTo>
                  <a:lnTo>
                    <a:pt x="12936" y="3890"/>
                  </a:lnTo>
                  <a:lnTo>
                    <a:pt x="12967" y="3957"/>
                  </a:lnTo>
                  <a:lnTo>
                    <a:pt x="12992" y="4025"/>
                  </a:lnTo>
                  <a:lnTo>
                    <a:pt x="13015" y="4095"/>
                  </a:lnTo>
                  <a:lnTo>
                    <a:pt x="13033" y="4165"/>
                  </a:lnTo>
                  <a:lnTo>
                    <a:pt x="13049" y="4236"/>
                  </a:lnTo>
                  <a:lnTo>
                    <a:pt x="13061" y="4308"/>
                  </a:lnTo>
                  <a:lnTo>
                    <a:pt x="13069" y="4380"/>
                  </a:lnTo>
                  <a:lnTo>
                    <a:pt x="13075" y="4452"/>
                  </a:lnTo>
                  <a:lnTo>
                    <a:pt x="13076" y="4524"/>
                  </a:lnTo>
                  <a:lnTo>
                    <a:pt x="13075" y="4596"/>
                  </a:lnTo>
                  <a:lnTo>
                    <a:pt x="13069" y="4669"/>
                  </a:lnTo>
                  <a:lnTo>
                    <a:pt x="13061" y="4741"/>
                  </a:lnTo>
                  <a:lnTo>
                    <a:pt x="13049" y="4812"/>
                  </a:lnTo>
                  <a:lnTo>
                    <a:pt x="13033" y="4884"/>
                  </a:lnTo>
                  <a:lnTo>
                    <a:pt x="13015" y="4954"/>
                  </a:lnTo>
                  <a:lnTo>
                    <a:pt x="12992" y="5024"/>
                  </a:lnTo>
                  <a:lnTo>
                    <a:pt x="12967" y="5092"/>
                  </a:lnTo>
                  <a:lnTo>
                    <a:pt x="12936" y="5159"/>
                  </a:lnTo>
                  <a:lnTo>
                    <a:pt x="12904" y="5226"/>
                  </a:lnTo>
                  <a:lnTo>
                    <a:pt x="12868" y="5291"/>
                  </a:lnTo>
                  <a:lnTo>
                    <a:pt x="12828" y="5354"/>
                  </a:lnTo>
                  <a:lnTo>
                    <a:pt x="12785" y="5417"/>
                  </a:lnTo>
                  <a:lnTo>
                    <a:pt x="12738" y="5476"/>
                  </a:lnTo>
                  <a:lnTo>
                    <a:pt x="12689" y="5534"/>
                  </a:lnTo>
                  <a:lnTo>
                    <a:pt x="12635" y="5591"/>
                  </a:lnTo>
                  <a:lnTo>
                    <a:pt x="5297" y="12838"/>
                  </a:lnTo>
                  <a:lnTo>
                    <a:pt x="5203" y="12927"/>
                  </a:lnTo>
                  <a:lnTo>
                    <a:pt x="5106" y="13011"/>
                  </a:lnTo>
                  <a:lnTo>
                    <a:pt x="5006" y="13088"/>
                  </a:lnTo>
                  <a:lnTo>
                    <a:pt x="4902" y="13160"/>
                  </a:lnTo>
                  <a:lnTo>
                    <a:pt x="4796" y="13226"/>
                  </a:lnTo>
                  <a:lnTo>
                    <a:pt x="4688" y="13286"/>
                  </a:lnTo>
                  <a:lnTo>
                    <a:pt x="4577" y="13341"/>
                  </a:lnTo>
                  <a:lnTo>
                    <a:pt x="4465" y="13390"/>
                  </a:lnTo>
                  <a:lnTo>
                    <a:pt x="4351" y="13433"/>
                  </a:lnTo>
                  <a:lnTo>
                    <a:pt x="4235" y="13470"/>
                  </a:lnTo>
                  <a:lnTo>
                    <a:pt x="4117" y="13502"/>
                  </a:lnTo>
                  <a:lnTo>
                    <a:pt x="3999" y="13528"/>
                  </a:lnTo>
                  <a:lnTo>
                    <a:pt x="3880" y="13549"/>
                  </a:lnTo>
                  <a:lnTo>
                    <a:pt x="3760" y="13563"/>
                  </a:lnTo>
                  <a:lnTo>
                    <a:pt x="3639" y="13571"/>
                  </a:lnTo>
                  <a:lnTo>
                    <a:pt x="3519" y="13574"/>
                  </a:lnTo>
                  <a:lnTo>
                    <a:pt x="3398" y="13571"/>
                  </a:lnTo>
                  <a:lnTo>
                    <a:pt x="3277" y="13563"/>
                  </a:lnTo>
                  <a:lnTo>
                    <a:pt x="3158" y="13549"/>
                  </a:lnTo>
                  <a:lnTo>
                    <a:pt x="3039" y="13528"/>
                  </a:lnTo>
                  <a:lnTo>
                    <a:pt x="2920" y="13502"/>
                  </a:lnTo>
                  <a:lnTo>
                    <a:pt x="2803" y="13470"/>
                  </a:lnTo>
                  <a:lnTo>
                    <a:pt x="2687" y="13433"/>
                  </a:lnTo>
                  <a:lnTo>
                    <a:pt x="2572" y="13390"/>
                  </a:lnTo>
                  <a:lnTo>
                    <a:pt x="2460" y="13341"/>
                  </a:lnTo>
                  <a:lnTo>
                    <a:pt x="2350" y="13286"/>
                  </a:lnTo>
                  <a:lnTo>
                    <a:pt x="2241" y="13226"/>
                  </a:lnTo>
                  <a:lnTo>
                    <a:pt x="2136" y="13160"/>
                  </a:lnTo>
                  <a:lnTo>
                    <a:pt x="2032" y="13088"/>
                  </a:lnTo>
                  <a:lnTo>
                    <a:pt x="1931" y="13011"/>
                  </a:lnTo>
                  <a:lnTo>
                    <a:pt x="1835" y="12927"/>
                  </a:lnTo>
                  <a:lnTo>
                    <a:pt x="1740" y="12838"/>
                  </a:lnTo>
                  <a:lnTo>
                    <a:pt x="1652" y="12744"/>
                  </a:lnTo>
                  <a:lnTo>
                    <a:pt x="1568" y="12647"/>
                  </a:lnTo>
                  <a:lnTo>
                    <a:pt x="1491" y="12546"/>
                  </a:lnTo>
                  <a:lnTo>
                    <a:pt x="1418" y="12444"/>
                  </a:lnTo>
                  <a:lnTo>
                    <a:pt x="1352" y="12338"/>
                  </a:lnTo>
                  <a:lnTo>
                    <a:pt x="1292" y="12230"/>
                  </a:lnTo>
                  <a:lnTo>
                    <a:pt x="1237" y="12119"/>
                  </a:lnTo>
                  <a:lnTo>
                    <a:pt x="1188" y="12006"/>
                  </a:lnTo>
                  <a:lnTo>
                    <a:pt x="1145" y="11892"/>
                  </a:lnTo>
                  <a:lnTo>
                    <a:pt x="1108" y="11776"/>
                  </a:lnTo>
                  <a:lnTo>
                    <a:pt x="1076" y="11660"/>
                  </a:lnTo>
                  <a:lnTo>
                    <a:pt x="1050" y="11541"/>
                  </a:lnTo>
                  <a:lnTo>
                    <a:pt x="1030" y="11421"/>
                  </a:lnTo>
                  <a:lnTo>
                    <a:pt x="1016" y="11302"/>
                  </a:lnTo>
                  <a:lnTo>
                    <a:pt x="1007" y="11181"/>
                  </a:lnTo>
                  <a:lnTo>
                    <a:pt x="1004" y="11060"/>
                  </a:lnTo>
                  <a:lnTo>
                    <a:pt x="1007" y="10940"/>
                  </a:lnTo>
                  <a:lnTo>
                    <a:pt x="1016" y="10820"/>
                  </a:lnTo>
                  <a:lnTo>
                    <a:pt x="1030" y="10701"/>
                  </a:lnTo>
                  <a:lnTo>
                    <a:pt x="1050" y="10581"/>
                  </a:lnTo>
                  <a:lnTo>
                    <a:pt x="1076" y="10462"/>
                  </a:lnTo>
                  <a:lnTo>
                    <a:pt x="1108" y="10346"/>
                  </a:lnTo>
                  <a:lnTo>
                    <a:pt x="1145" y="10229"/>
                  </a:lnTo>
                  <a:lnTo>
                    <a:pt x="1188" y="10115"/>
                  </a:lnTo>
                  <a:lnTo>
                    <a:pt x="1237" y="10003"/>
                  </a:lnTo>
                  <a:lnTo>
                    <a:pt x="1292" y="9892"/>
                  </a:lnTo>
                  <a:lnTo>
                    <a:pt x="1352" y="9784"/>
                  </a:lnTo>
                  <a:lnTo>
                    <a:pt x="1418" y="9678"/>
                  </a:lnTo>
                  <a:lnTo>
                    <a:pt x="1491" y="9575"/>
                  </a:lnTo>
                  <a:lnTo>
                    <a:pt x="1568" y="9475"/>
                  </a:lnTo>
                  <a:lnTo>
                    <a:pt x="1652" y="9378"/>
                  </a:lnTo>
                  <a:lnTo>
                    <a:pt x="1740" y="9284"/>
                  </a:lnTo>
                  <a:lnTo>
                    <a:pt x="9007" y="2108"/>
                  </a:lnTo>
                  <a:lnTo>
                    <a:pt x="9139" y="1982"/>
                  </a:lnTo>
                  <a:lnTo>
                    <a:pt x="9275" y="1866"/>
                  </a:lnTo>
                  <a:lnTo>
                    <a:pt x="9415" y="1757"/>
                  </a:lnTo>
                  <a:lnTo>
                    <a:pt x="9559" y="1657"/>
                  </a:lnTo>
                  <a:lnTo>
                    <a:pt x="9707" y="1564"/>
                  </a:lnTo>
                  <a:lnTo>
                    <a:pt x="9859" y="1480"/>
                  </a:lnTo>
                  <a:lnTo>
                    <a:pt x="10014" y="1402"/>
                  </a:lnTo>
                  <a:lnTo>
                    <a:pt x="10172" y="1334"/>
                  </a:lnTo>
                  <a:lnTo>
                    <a:pt x="10332" y="1274"/>
                  </a:lnTo>
                  <a:lnTo>
                    <a:pt x="10495" y="1221"/>
                  </a:lnTo>
                  <a:lnTo>
                    <a:pt x="10659" y="1177"/>
                  </a:lnTo>
                  <a:lnTo>
                    <a:pt x="10825" y="1141"/>
                  </a:lnTo>
                  <a:lnTo>
                    <a:pt x="10992" y="1113"/>
                  </a:lnTo>
                  <a:lnTo>
                    <a:pt x="11160" y="1093"/>
                  </a:lnTo>
                  <a:lnTo>
                    <a:pt x="11328" y="1081"/>
                  </a:lnTo>
                  <a:lnTo>
                    <a:pt x="11497" y="1077"/>
                  </a:lnTo>
                  <a:lnTo>
                    <a:pt x="11666" y="1081"/>
                  </a:lnTo>
                  <a:lnTo>
                    <a:pt x="11835" y="1093"/>
                  </a:lnTo>
                  <a:lnTo>
                    <a:pt x="12003" y="1113"/>
                  </a:lnTo>
                  <a:lnTo>
                    <a:pt x="12170" y="1141"/>
                  </a:lnTo>
                  <a:lnTo>
                    <a:pt x="12335" y="1177"/>
                  </a:lnTo>
                  <a:lnTo>
                    <a:pt x="12500" y="1221"/>
                  </a:lnTo>
                  <a:lnTo>
                    <a:pt x="12662" y="1274"/>
                  </a:lnTo>
                  <a:lnTo>
                    <a:pt x="12822" y="1334"/>
                  </a:lnTo>
                  <a:lnTo>
                    <a:pt x="12980" y="1402"/>
                  </a:lnTo>
                  <a:lnTo>
                    <a:pt x="13135" y="1480"/>
                  </a:lnTo>
                  <a:lnTo>
                    <a:pt x="13285" y="1564"/>
                  </a:lnTo>
                  <a:lnTo>
                    <a:pt x="13433" y="1657"/>
                  </a:lnTo>
                  <a:lnTo>
                    <a:pt x="13578" y="1757"/>
                  </a:lnTo>
                  <a:lnTo>
                    <a:pt x="13718" y="1866"/>
                  </a:lnTo>
                  <a:lnTo>
                    <a:pt x="13855" y="1982"/>
                  </a:lnTo>
                  <a:lnTo>
                    <a:pt x="13986" y="2108"/>
                  </a:lnTo>
                  <a:lnTo>
                    <a:pt x="14110" y="2239"/>
                  </a:lnTo>
                  <a:lnTo>
                    <a:pt x="14228" y="2376"/>
                  </a:lnTo>
                  <a:lnTo>
                    <a:pt x="14337" y="2515"/>
                  </a:lnTo>
                  <a:lnTo>
                    <a:pt x="14437" y="2660"/>
                  </a:lnTo>
                  <a:lnTo>
                    <a:pt x="14530" y="2808"/>
                  </a:lnTo>
                  <a:lnTo>
                    <a:pt x="14614" y="2960"/>
                  </a:lnTo>
                  <a:lnTo>
                    <a:pt x="14692" y="3114"/>
                  </a:lnTo>
                  <a:lnTo>
                    <a:pt x="14760" y="3272"/>
                  </a:lnTo>
                  <a:lnTo>
                    <a:pt x="14820" y="3432"/>
                  </a:lnTo>
                  <a:lnTo>
                    <a:pt x="14873" y="3594"/>
                  </a:lnTo>
                  <a:lnTo>
                    <a:pt x="14917" y="3758"/>
                  </a:lnTo>
                  <a:lnTo>
                    <a:pt x="14953" y="3924"/>
                  </a:lnTo>
                  <a:lnTo>
                    <a:pt x="14981" y="4091"/>
                  </a:lnTo>
                  <a:lnTo>
                    <a:pt x="15002" y="4258"/>
                  </a:lnTo>
                  <a:lnTo>
                    <a:pt x="15014" y="4427"/>
                  </a:lnTo>
                  <a:lnTo>
                    <a:pt x="15018" y="4596"/>
                  </a:lnTo>
                  <a:lnTo>
                    <a:pt x="15014" y="4765"/>
                  </a:lnTo>
                  <a:lnTo>
                    <a:pt x="15002" y="4933"/>
                  </a:lnTo>
                  <a:lnTo>
                    <a:pt x="14981" y="5101"/>
                  </a:lnTo>
                  <a:lnTo>
                    <a:pt x="14953" y="5268"/>
                  </a:lnTo>
                  <a:lnTo>
                    <a:pt x="14917" y="5434"/>
                  </a:lnTo>
                  <a:lnTo>
                    <a:pt x="14873" y="5598"/>
                  </a:lnTo>
                  <a:lnTo>
                    <a:pt x="14820" y="5759"/>
                  </a:lnTo>
                  <a:lnTo>
                    <a:pt x="14760" y="5919"/>
                  </a:lnTo>
                  <a:lnTo>
                    <a:pt x="14692" y="6077"/>
                  </a:lnTo>
                  <a:lnTo>
                    <a:pt x="14615" y="6232"/>
                  </a:lnTo>
                  <a:lnTo>
                    <a:pt x="14531" y="6384"/>
                  </a:lnTo>
                  <a:lnTo>
                    <a:pt x="14438" y="6531"/>
                  </a:lnTo>
                  <a:lnTo>
                    <a:pt x="14338" y="6676"/>
                  </a:lnTo>
                  <a:lnTo>
                    <a:pt x="14228" y="6816"/>
                  </a:lnTo>
                  <a:lnTo>
                    <a:pt x="14111" y="6953"/>
                  </a:lnTo>
                  <a:lnTo>
                    <a:pt x="13987" y="7083"/>
                  </a:lnTo>
                  <a:lnTo>
                    <a:pt x="8541" y="12525"/>
                  </a:lnTo>
                  <a:lnTo>
                    <a:pt x="8523" y="12544"/>
                  </a:lnTo>
                  <a:lnTo>
                    <a:pt x="8507" y="12563"/>
                  </a:lnTo>
                  <a:lnTo>
                    <a:pt x="8491" y="12583"/>
                  </a:lnTo>
                  <a:lnTo>
                    <a:pt x="8477" y="12605"/>
                  </a:lnTo>
                  <a:lnTo>
                    <a:pt x="8464" y="12626"/>
                  </a:lnTo>
                  <a:lnTo>
                    <a:pt x="8451" y="12648"/>
                  </a:lnTo>
                  <a:lnTo>
                    <a:pt x="8441" y="12670"/>
                  </a:lnTo>
                  <a:lnTo>
                    <a:pt x="8431" y="12692"/>
                  </a:lnTo>
                  <a:lnTo>
                    <a:pt x="8422" y="12715"/>
                  </a:lnTo>
                  <a:lnTo>
                    <a:pt x="8415" y="12738"/>
                  </a:lnTo>
                  <a:lnTo>
                    <a:pt x="8408" y="12761"/>
                  </a:lnTo>
                  <a:lnTo>
                    <a:pt x="8403" y="12786"/>
                  </a:lnTo>
                  <a:lnTo>
                    <a:pt x="8399" y="12810"/>
                  </a:lnTo>
                  <a:lnTo>
                    <a:pt x="8396" y="12833"/>
                  </a:lnTo>
                  <a:lnTo>
                    <a:pt x="8395" y="12857"/>
                  </a:lnTo>
                  <a:lnTo>
                    <a:pt x="8394" y="12881"/>
                  </a:lnTo>
                  <a:lnTo>
                    <a:pt x="8395" y="12905"/>
                  </a:lnTo>
                  <a:lnTo>
                    <a:pt x="8396" y="12929"/>
                  </a:lnTo>
                  <a:lnTo>
                    <a:pt x="8399" y="12953"/>
                  </a:lnTo>
                  <a:lnTo>
                    <a:pt x="8403" y="12978"/>
                  </a:lnTo>
                  <a:lnTo>
                    <a:pt x="8408" y="13001"/>
                  </a:lnTo>
                  <a:lnTo>
                    <a:pt x="8415" y="13025"/>
                  </a:lnTo>
                  <a:lnTo>
                    <a:pt x="8422" y="13048"/>
                  </a:lnTo>
                  <a:lnTo>
                    <a:pt x="8431" y="13070"/>
                  </a:lnTo>
                  <a:lnTo>
                    <a:pt x="8441" y="13093"/>
                  </a:lnTo>
                  <a:lnTo>
                    <a:pt x="8451" y="13115"/>
                  </a:lnTo>
                  <a:lnTo>
                    <a:pt x="8464" y="13136"/>
                  </a:lnTo>
                  <a:lnTo>
                    <a:pt x="8477" y="13157"/>
                  </a:lnTo>
                  <a:lnTo>
                    <a:pt x="8491" y="13179"/>
                  </a:lnTo>
                  <a:lnTo>
                    <a:pt x="8507" y="13199"/>
                  </a:lnTo>
                  <a:lnTo>
                    <a:pt x="8523" y="13218"/>
                  </a:lnTo>
                  <a:lnTo>
                    <a:pt x="8541" y="13237"/>
                  </a:lnTo>
                  <a:lnTo>
                    <a:pt x="8561" y="13254"/>
                  </a:lnTo>
                  <a:lnTo>
                    <a:pt x="8580" y="13271"/>
                  </a:lnTo>
                  <a:lnTo>
                    <a:pt x="8600" y="13286"/>
                  </a:lnTo>
                  <a:lnTo>
                    <a:pt x="8621" y="13301"/>
                  </a:lnTo>
                  <a:lnTo>
                    <a:pt x="8642" y="13314"/>
                  </a:lnTo>
                  <a:lnTo>
                    <a:pt x="8663" y="13326"/>
                  </a:lnTo>
                  <a:lnTo>
                    <a:pt x="8685" y="13337"/>
                  </a:lnTo>
                  <a:lnTo>
                    <a:pt x="8708" y="13348"/>
                  </a:lnTo>
                  <a:lnTo>
                    <a:pt x="8731" y="13356"/>
                  </a:lnTo>
                  <a:lnTo>
                    <a:pt x="8754" y="13364"/>
                  </a:lnTo>
                  <a:lnTo>
                    <a:pt x="8778" y="13370"/>
                  </a:lnTo>
                  <a:lnTo>
                    <a:pt x="8801" y="13375"/>
                  </a:lnTo>
                  <a:lnTo>
                    <a:pt x="8825" y="13379"/>
                  </a:lnTo>
                  <a:lnTo>
                    <a:pt x="8849" y="13382"/>
                  </a:lnTo>
                  <a:lnTo>
                    <a:pt x="8873" y="13384"/>
                  </a:lnTo>
                  <a:lnTo>
                    <a:pt x="8898" y="13385"/>
                  </a:lnTo>
                  <a:lnTo>
                    <a:pt x="8922" y="13384"/>
                  </a:lnTo>
                  <a:lnTo>
                    <a:pt x="8946" y="13382"/>
                  </a:lnTo>
                  <a:lnTo>
                    <a:pt x="8969" y="13379"/>
                  </a:lnTo>
                  <a:lnTo>
                    <a:pt x="8993" y="13375"/>
                  </a:lnTo>
                  <a:lnTo>
                    <a:pt x="9017" y="13370"/>
                  </a:lnTo>
                  <a:lnTo>
                    <a:pt x="9040" y="13364"/>
                  </a:lnTo>
                  <a:lnTo>
                    <a:pt x="9063" y="13356"/>
                  </a:lnTo>
                  <a:lnTo>
                    <a:pt x="9087" y="13348"/>
                  </a:lnTo>
                  <a:lnTo>
                    <a:pt x="9109" y="13337"/>
                  </a:lnTo>
                  <a:lnTo>
                    <a:pt x="9131" y="13326"/>
                  </a:lnTo>
                  <a:lnTo>
                    <a:pt x="9153" y="13314"/>
                  </a:lnTo>
                  <a:lnTo>
                    <a:pt x="9174" y="13301"/>
                  </a:lnTo>
                  <a:lnTo>
                    <a:pt x="9194" y="13286"/>
                  </a:lnTo>
                  <a:lnTo>
                    <a:pt x="9214" y="13271"/>
                  </a:lnTo>
                  <a:lnTo>
                    <a:pt x="9234" y="13254"/>
                  </a:lnTo>
                  <a:lnTo>
                    <a:pt x="9253" y="13237"/>
                  </a:lnTo>
                  <a:lnTo>
                    <a:pt x="14768" y="7724"/>
                  </a:lnTo>
                  <a:lnTo>
                    <a:pt x="14929" y="7555"/>
                  </a:lnTo>
                  <a:lnTo>
                    <a:pt x="15080" y="7380"/>
                  </a:lnTo>
                  <a:lnTo>
                    <a:pt x="15220" y="7200"/>
                  </a:lnTo>
                  <a:lnTo>
                    <a:pt x="15349" y="7014"/>
                  </a:lnTo>
                  <a:lnTo>
                    <a:pt x="15468" y="6823"/>
                  </a:lnTo>
                  <a:lnTo>
                    <a:pt x="15577" y="6628"/>
                  </a:lnTo>
                  <a:lnTo>
                    <a:pt x="15676" y="6430"/>
                  </a:lnTo>
                  <a:lnTo>
                    <a:pt x="15763" y="6227"/>
                  </a:lnTo>
                  <a:lnTo>
                    <a:pt x="15842" y="6021"/>
                  </a:lnTo>
                  <a:lnTo>
                    <a:pt x="15909" y="5813"/>
                  </a:lnTo>
                  <a:lnTo>
                    <a:pt x="15965" y="5602"/>
                  </a:lnTo>
                  <a:lnTo>
                    <a:pt x="16013" y="5388"/>
                  </a:lnTo>
                  <a:lnTo>
                    <a:pt x="16049" y="5174"/>
                  </a:lnTo>
                  <a:lnTo>
                    <a:pt x="16074" y="4958"/>
                  </a:lnTo>
                  <a:lnTo>
                    <a:pt x="16090" y="4742"/>
                  </a:lnTo>
                  <a:lnTo>
                    <a:pt x="16095" y="4525"/>
                  </a:lnTo>
                  <a:lnTo>
                    <a:pt x="16090" y="4308"/>
                  </a:lnTo>
                  <a:lnTo>
                    <a:pt x="16074" y="4091"/>
                  </a:lnTo>
                  <a:lnTo>
                    <a:pt x="16049" y="3875"/>
                  </a:lnTo>
                  <a:lnTo>
                    <a:pt x="16013" y="3660"/>
                  </a:lnTo>
                  <a:lnTo>
                    <a:pt x="15965" y="3447"/>
                  </a:lnTo>
                  <a:lnTo>
                    <a:pt x="15909" y="3236"/>
                  </a:lnTo>
                  <a:lnTo>
                    <a:pt x="15842" y="3028"/>
                  </a:lnTo>
                  <a:lnTo>
                    <a:pt x="15763" y="2822"/>
                  </a:lnTo>
                  <a:lnTo>
                    <a:pt x="15676" y="2620"/>
                  </a:lnTo>
                  <a:lnTo>
                    <a:pt x="15577" y="2421"/>
                  </a:lnTo>
                  <a:lnTo>
                    <a:pt x="15468" y="2226"/>
                  </a:lnTo>
                  <a:lnTo>
                    <a:pt x="15349" y="2036"/>
                  </a:lnTo>
                  <a:lnTo>
                    <a:pt x="15220" y="1850"/>
                  </a:lnTo>
                  <a:lnTo>
                    <a:pt x="15080" y="1669"/>
                  </a:lnTo>
                  <a:lnTo>
                    <a:pt x="14929" y="1495"/>
                  </a:lnTo>
                  <a:lnTo>
                    <a:pt x="14768" y="13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46" name="îṧ1íḋé">
              <a:extLst>
                <a:ext uri="{FF2B5EF4-FFF2-40B4-BE49-F238E27FC236}">
                  <a16:creationId xmlns:a16="http://schemas.microsoft.com/office/drawing/2014/main" id="{1317EC6C-9A67-4C6B-AD43-C2D1283CDB53}"/>
                </a:ext>
              </a:extLst>
            </p:cNvPr>
            <p:cNvSpPr/>
            <p:nvPr/>
          </p:nvSpPr>
          <p:spPr bwMode="auto">
            <a:xfrm>
              <a:off x="3719883" y="2452159"/>
              <a:ext cx="366358" cy="366358"/>
            </a:xfrm>
            <a:custGeom>
              <a:avLst/>
              <a:gdLst>
                <a:gd name="T0" fmla="*/ 4167 w 16092"/>
                <a:gd name="T1" fmla="*/ 13921 h 16091"/>
                <a:gd name="T2" fmla="*/ 2857 w 16092"/>
                <a:gd name="T3" fmla="*/ 12802 h 16091"/>
                <a:gd name="T4" fmla="*/ 1872 w 16092"/>
                <a:gd name="T5" fmla="*/ 11423 h 16091"/>
                <a:gd name="T6" fmla="*/ 1245 w 16092"/>
                <a:gd name="T7" fmla="*/ 9857 h 16091"/>
                <a:gd name="T8" fmla="*/ 1007 w 16092"/>
                <a:gd name="T9" fmla="*/ 8176 h 16091"/>
                <a:gd name="T10" fmla="*/ 1188 w 16092"/>
                <a:gd name="T11" fmla="*/ 6453 h 16091"/>
                <a:gd name="T12" fmla="*/ 1812 w 16092"/>
                <a:gd name="T13" fmla="*/ 4775 h 16091"/>
                <a:gd name="T14" fmla="*/ 2807 w 16092"/>
                <a:gd name="T15" fmla="*/ 3343 h 16091"/>
                <a:gd name="T16" fmla="*/ 4090 w 16092"/>
                <a:gd name="T17" fmla="*/ 2225 h 16091"/>
                <a:gd name="T18" fmla="*/ 5590 w 16092"/>
                <a:gd name="T19" fmla="*/ 1452 h 16091"/>
                <a:gd name="T20" fmla="*/ 7234 w 16092"/>
                <a:gd name="T21" fmla="*/ 1054 h 16091"/>
                <a:gd name="T22" fmla="*/ 8949 w 16092"/>
                <a:gd name="T23" fmla="*/ 1063 h 16091"/>
                <a:gd name="T24" fmla="*/ 10662 w 16092"/>
                <a:gd name="T25" fmla="*/ 1511 h 16091"/>
                <a:gd name="T26" fmla="*/ 12211 w 16092"/>
                <a:gd name="T27" fmla="*/ 2370 h 16091"/>
                <a:gd name="T28" fmla="*/ 13458 w 16092"/>
                <a:gd name="T29" fmla="*/ 3547 h 16091"/>
                <a:gd name="T30" fmla="*/ 14374 w 16092"/>
                <a:gd name="T31" fmla="*/ 4968 h 16091"/>
                <a:gd name="T32" fmla="*/ 14925 w 16092"/>
                <a:gd name="T33" fmla="*/ 6564 h 16091"/>
                <a:gd name="T34" fmla="*/ 15082 w 16092"/>
                <a:gd name="T35" fmla="*/ 8259 h 16091"/>
                <a:gd name="T36" fmla="*/ 14814 w 16092"/>
                <a:gd name="T37" fmla="*/ 9982 h 16091"/>
                <a:gd name="T38" fmla="*/ 14107 w 16092"/>
                <a:gd name="T39" fmla="*/ 11626 h 16091"/>
                <a:gd name="T40" fmla="*/ 13049 w 16092"/>
                <a:gd name="T41" fmla="*/ 12998 h 16091"/>
                <a:gd name="T42" fmla="*/ 11716 w 16092"/>
                <a:gd name="T43" fmla="*/ 14049 h 16091"/>
                <a:gd name="T44" fmla="*/ 10181 w 16092"/>
                <a:gd name="T45" fmla="*/ 14750 h 16091"/>
                <a:gd name="T46" fmla="*/ 8518 w 16092"/>
                <a:gd name="T47" fmla="*/ 15069 h 16091"/>
                <a:gd name="T48" fmla="*/ 6797 w 16092"/>
                <a:gd name="T49" fmla="*/ 14974 h 16091"/>
                <a:gd name="T50" fmla="*/ 11036 w 16092"/>
                <a:gd name="T51" fmla="*/ 576 h 16091"/>
                <a:gd name="T52" fmla="*/ 9076 w 16092"/>
                <a:gd name="T53" fmla="*/ 64 h 16091"/>
                <a:gd name="T54" fmla="*/ 7115 w 16092"/>
                <a:gd name="T55" fmla="*/ 52 h 16091"/>
                <a:gd name="T56" fmla="*/ 5238 w 16092"/>
                <a:gd name="T57" fmla="*/ 506 h 16091"/>
                <a:gd name="T58" fmla="*/ 3525 w 16092"/>
                <a:gd name="T59" fmla="*/ 1390 h 16091"/>
                <a:gd name="T60" fmla="*/ 2058 w 16092"/>
                <a:gd name="T61" fmla="*/ 2669 h 16091"/>
                <a:gd name="T62" fmla="*/ 921 w 16092"/>
                <a:gd name="T63" fmla="*/ 4306 h 16091"/>
                <a:gd name="T64" fmla="*/ 207 w 16092"/>
                <a:gd name="T65" fmla="*/ 6227 h 16091"/>
                <a:gd name="T66" fmla="*/ 0 w 16092"/>
                <a:gd name="T67" fmla="*/ 8197 h 16091"/>
                <a:gd name="T68" fmla="*/ 272 w 16092"/>
                <a:gd name="T69" fmla="*/ 10118 h 16091"/>
                <a:gd name="T70" fmla="*/ 987 w 16092"/>
                <a:gd name="T71" fmla="*/ 11906 h 16091"/>
                <a:gd name="T72" fmla="*/ 2111 w 16092"/>
                <a:gd name="T73" fmla="*/ 13482 h 16091"/>
                <a:gd name="T74" fmla="*/ 3610 w 16092"/>
                <a:gd name="T75" fmla="*/ 14760 h 16091"/>
                <a:gd name="T76" fmla="*/ 5443 w 16092"/>
                <a:gd name="T77" fmla="*/ 15658 h 16091"/>
                <a:gd name="T78" fmla="*/ 7410 w 16092"/>
                <a:gd name="T79" fmla="*/ 16068 h 16091"/>
                <a:gd name="T80" fmla="*/ 9360 w 16092"/>
                <a:gd name="T81" fmla="*/ 15984 h 16091"/>
                <a:gd name="T82" fmla="*/ 11211 w 16092"/>
                <a:gd name="T83" fmla="*/ 15441 h 16091"/>
                <a:gd name="T84" fmla="*/ 12882 w 16092"/>
                <a:gd name="T85" fmla="*/ 14476 h 16091"/>
                <a:gd name="T86" fmla="*/ 14289 w 16092"/>
                <a:gd name="T87" fmla="*/ 13122 h 16091"/>
                <a:gd name="T88" fmla="*/ 15351 w 16092"/>
                <a:gd name="T89" fmla="*/ 11416 h 16091"/>
                <a:gd name="T90" fmla="*/ 15965 w 16092"/>
                <a:gd name="T91" fmla="*/ 9470 h 16091"/>
                <a:gd name="T92" fmla="*/ 16075 w 16092"/>
                <a:gd name="T93" fmla="*/ 7503 h 16091"/>
                <a:gd name="T94" fmla="*/ 15711 w 16092"/>
                <a:gd name="T95" fmla="*/ 5602 h 16091"/>
                <a:gd name="T96" fmla="*/ 14911 w 16092"/>
                <a:gd name="T97" fmla="*/ 3850 h 16091"/>
                <a:gd name="T98" fmla="*/ 13708 w 16092"/>
                <a:gd name="T99" fmla="*/ 2328 h 16091"/>
                <a:gd name="T100" fmla="*/ 12139 w 16092"/>
                <a:gd name="T101" fmla="*/ 1119 h 16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092" h="16091">
                  <a:moveTo>
                    <a:pt x="5429" y="14581"/>
                  </a:moveTo>
                  <a:lnTo>
                    <a:pt x="5096" y="14438"/>
                  </a:lnTo>
                  <a:lnTo>
                    <a:pt x="4775" y="14279"/>
                  </a:lnTo>
                  <a:lnTo>
                    <a:pt x="4465" y="14107"/>
                  </a:lnTo>
                  <a:lnTo>
                    <a:pt x="4167" y="13921"/>
                  </a:lnTo>
                  <a:lnTo>
                    <a:pt x="3880" y="13721"/>
                  </a:lnTo>
                  <a:lnTo>
                    <a:pt x="3605" y="13509"/>
                  </a:lnTo>
                  <a:lnTo>
                    <a:pt x="3343" y="13284"/>
                  </a:lnTo>
                  <a:lnTo>
                    <a:pt x="3093" y="13049"/>
                  </a:lnTo>
                  <a:lnTo>
                    <a:pt x="2857" y="12802"/>
                  </a:lnTo>
                  <a:lnTo>
                    <a:pt x="2633" y="12544"/>
                  </a:lnTo>
                  <a:lnTo>
                    <a:pt x="2422" y="12277"/>
                  </a:lnTo>
                  <a:lnTo>
                    <a:pt x="2225" y="12001"/>
                  </a:lnTo>
                  <a:lnTo>
                    <a:pt x="2042" y="11716"/>
                  </a:lnTo>
                  <a:lnTo>
                    <a:pt x="1872" y="11423"/>
                  </a:lnTo>
                  <a:lnTo>
                    <a:pt x="1717" y="11123"/>
                  </a:lnTo>
                  <a:lnTo>
                    <a:pt x="1577" y="10815"/>
                  </a:lnTo>
                  <a:lnTo>
                    <a:pt x="1452" y="10501"/>
                  </a:lnTo>
                  <a:lnTo>
                    <a:pt x="1341" y="10182"/>
                  </a:lnTo>
                  <a:lnTo>
                    <a:pt x="1245" y="9857"/>
                  </a:lnTo>
                  <a:lnTo>
                    <a:pt x="1166" y="9527"/>
                  </a:lnTo>
                  <a:lnTo>
                    <a:pt x="1102" y="9194"/>
                  </a:lnTo>
                  <a:lnTo>
                    <a:pt x="1054" y="8857"/>
                  </a:lnTo>
                  <a:lnTo>
                    <a:pt x="1022" y="8518"/>
                  </a:lnTo>
                  <a:lnTo>
                    <a:pt x="1007" y="8176"/>
                  </a:lnTo>
                  <a:lnTo>
                    <a:pt x="1009" y="7832"/>
                  </a:lnTo>
                  <a:lnTo>
                    <a:pt x="1027" y="7488"/>
                  </a:lnTo>
                  <a:lnTo>
                    <a:pt x="1063" y="7143"/>
                  </a:lnTo>
                  <a:lnTo>
                    <a:pt x="1117" y="6797"/>
                  </a:lnTo>
                  <a:lnTo>
                    <a:pt x="1188" y="6453"/>
                  </a:lnTo>
                  <a:lnTo>
                    <a:pt x="1277" y="6109"/>
                  </a:lnTo>
                  <a:lnTo>
                    <a:pt x="1384" y="5768"/>
                  </a:lnTo>
                  <a:lnTo>
                    <a:pt x="1510" y="5429"/>
                  </a:lnTo>
                  <a:lnTo>
                    <a:pt x="1654" y="5096"/>
                  </a:lnTo>
                  <a:lnTo>
                    <a:pt x="1812" y="4775"/>
                  </a:lnTo>
                  <a:lnTo>
                    <a:pt x="1984" y="4465"/>
                  </a:lnTo>
                  <a:lnTo>
                    <a:pt x="2170" y="4167"/>
                  </a:lnTo>
                  <a:lnTo>
                    <a:pt x="2370" y="3880"/>
                  </a:lnTo>
                  <a:lnTo>
                    <a:pt x="2582" y="3605"/>
                  </a:lnTo>
                  <a:lnTo>
                    <a:pt x="2807" y="3343"/>
                  </a:lnTo>
                  <a:lnTo>
                    <a:pt x="3042" y="3093"/>
                  </a:lnTo>
                  <a:lnTo>
                    <a:pt x="3289" y="2857"/>
                  </a:lnTo>
                  <a:lnTo>
                    <a:pt x="3547" y="2633"/>
                  </a:lnTo>
                  <a:lnTo>
                    <a:pt x="3814" y="2422"/>
                  </a:lnTo>
                  <a:lnTo>
                    <a:pt x="4090" y="2225"/>
                  </a:lnTo>
                  <a:lnTo>
                    <a:pt x="4375" y="2042"/>
                  </a:lnTo>
                  <a:lnTo>
                    <a:pt x="4669" y="1873"/>
                  </a:lnTo>
                  <a:lnTo>
                    <a:pt x="4968" y="1718"/>
                  </a:lnTo>
                  <a:lnTo>
                    <a:pt x="5276" y="1577"/>
                  </a:lnTo>
                  <a:lnTo>
                    <a:pt x="5590" y="1452"/>
                  </a:lnTo>
                  <a:lnTo>
                    <a:pt x="5910" y="1341"/>
                  </a:lnTo>
                  <a:lnTo>
                    <a:pt x="6234" y="1245"/>
                  </a:lnTo>
                  <a:lnTo>
                    <a:pt x="6564" y="1166"/>
                  </a:lnTo>
                  <a:lnTo>
                    <a:pt x="6897" y="1103"/>
                  </a:lnTo>
                  <a:lnTo>
                    <a:pt x="7234" y="1054"/>
                  </a:lnTo>
                  <a:lnTo>
                    <a:pt x="7573" y="1022"/>
                  </a:lnTo>
                  <a:lnTo>
                    <a:pt x="7915" y="1007"/>
                  </a:lnTo>
                  <a:lnTo>
                    <a:pt x="8259" y="1009"/>
                  </a:lnTo>
                  <a:lnTo>
                    <a:pt x="8603" y="1028"/>
                  </a:lnTo>
                  <a:lnTo>
                    <a:pt x="8949" y="1063"/>
                  </a:lnTo>
                  <a:lnTo>
                    <a:pt x="9294" y="1117"/>
                  </a:lnTo>
                  <a:lnTo>
                    <a:pt x="9638" y="1188"/>
                  </a:lnTo>
                  <a:lnTo>
                    <a:pt x="9982" y="1278"/>
                  </a:lnTo>
                  <a:lnTo>
                    <a:pt x="10323" y="1385"/>
                  </a:lnTo>
                  <a:lnTo>
                    <a:pt x="10662" y="1511"/>
                  </a:lnTo>
                  <a:lnTo>
                    <a:pt x="10995" y="1654"/>
                  </a:lnTo>
                  <a:lnTo>
                    <a:pt x="11316" y="1812"/>
                  </a:lnTo>
                  <a:lnTo>
                    <a:pt x="11626" y="1984"/>
                  </a:lnTo>
                  <a:lnTo>
                    <a:pt x="11924" y="2171"/>
                  </a:lnTo>
                  <a:lnTo>
                    <a:pt x="12211" y="2370"/>
                  </a:lnTo>
                  <a:lnTo>
                    <a:pt x="12486" y="2582"/>
                  </a:lnTo>
                  <a:lnTo>
                    <a:pt x="12748" y="2807"/>
                  </a:lnTo>
                  <a:lnTo>
                    <a:pt x="12998" y="3043"/>
                  </a:lnTo>
                  <a:lnTo>
                    <a:pt x="13234" y="3289"/>
                  </a:lnTo>
                  <a:lnTo>
                    <a:pt x="13458" y="3547"/>
                  </a:lnTo>
                  <a:lnTo>
                    <a:pt x="13669" y="3814"/>
                  </a:lnTo>
                  <a:lnTo>
                    <a:pt x="13866" y="4090"/>
                  </a:lnTo>
                  <a:lnTo>
                    <a:pt x="14049" y="4375"/>
                  </a:lnTo>
                  <a:lnTo>
                    <a:pt x="14219" y="4669"/>
                  </a:lnTo>
                  <a:lnTo>
                    <a:pt x="14374" y="4968"/>
                  </a:lnTo>
                  <a:lnTo>
                    <a:pt x="14514" y="5276"/>
                  </a:lnTo>
                  <a:lnTo>
                    <a:pt x="14639" y="5590"/>
                  </a:lnTo>
                  <a:lnTo>
                    <a:pt x="14750" y="5910"/>
                  </a:lnTo>
                  <a:lnTo>
                    <a:pt x="14846" y="6234"/>
                  </a:lnTo>
                  <a:lnTo>
                    <a:pt x="14925" y="6564"/>
                  </a:lnTo>
                  <a:lnTo>
                    <a:pt x="14989" y="6897"/>
                  </a:lnTo>
                  <a:lnTo>
                    <a:pt x="15037" y="7234"/>
                  </a:lnTo>
                  <a:lnTo>
                    <a:pt x="15069" y="7573"/>
                  </a:lnTo>
                  <a:lnTo>
                    <a:pt x="15084" y="7915"/>
                  </a:lnTo>
                  <a:lnTo>
                    <a:pt x="15082" y="8259"/>
                  </a:lnTo>
                  <a:lnTo>
                    <a:pt x="15064" y="8603"/>
                  </a:lnTo>
                  <a:lnTo>
                    <a:pt x="15028" y="8949"/>
                  </a:lnTo>
                  <a:lnTo>
                    <a:pt x="14974" y="9294"/>
                  </a:lnTo>
                  <a:lnTo>
                    <a:pt x="14903" y="9638"/>
                  </a:lnTo>
                  <a:lnTo>
                    <a:pt x="14814" y="9982"/>
                  </a:lnTo>
                  <a:lnTo>
                    <a:pt x="14707" y="10323"/>
                  </a:lnTo>
                  <a:lnTo>
                    <a:pt x="14581" y="10662"/>
                  </a:lnTo>
                  <a:lnTo>
                    <a:pt x="14437" y="10995"/>
                  </a:lnTo>
                  <a:lnTo>
                    <a:pt x="14279" y="11316"/>
                  </a:lnTo>
                  <a:lnTo>
                    <a:pt x="14107" y="11626"/>
                  </a:lnTo>
                  <a:lnTo>
                    <a:pt x="13921" y="11924"/>
                  </a:lnTo>
                  <a:lnTo>
                    <a:pt x="13721" y="12211"/>
                  </a:lnTo>
                  <a:lnTo>
                    <a:pt x="13509" y="12486"/>
                  </a:lnTo>
                  <a:lnTo>
                    <a:pt x="13284" y="12748"/>
                  </a:lnTo>
                  <a:lnTo>
                    <a:pt x="13049" y="12998"/>
                  </a:lnTo>
                  <a:lnTo>
                    <a:pt x="12802" y="13235"/>
                  </a:lnTo>
                  <a:lnTo>
                    <a:pt x="12544" y="13458"/>
                  </a:lnTo>
                  <a:lnTo>
                    <a:pt x="12277" y="13669"/>
                  </a:lnTo>
                  <a:lnTo>
                    <a:pt x="12001" y="13866"/>
                  </a:lnTo>
                  <a:lnTo>
                    <a:pt x="11716" y="14049"/>
                  </a:lnTo>
                  <a:lnTo>
                    <a:pt x="11422" y="14219"/>
                  </a:lnTo>
                  <a:lnTo>
                    <a:pt x="11123" y="14374"/>
                  </a:lnTo>
                  <a:lnTo>
                    <a:pt x="10815" y="14514"/>
                  </a:lnTo>
                  <a:lnTo>
                    <a:pt x="10501" y="14639"/>
                  </a:lnTo>
                  <a:lnTo>
                    <a:pt x="10181" y="14750"/>
                  </a:lnTo>
                  <a:lnTo>
                    <a:pt x="9857" y="14846"/>
                  </a:lnTo>
                  <a:lnTo>
                    <a:pt x="9527" y="14925"/>
                  </a:lnTo>
                  <a:lnTo>
                    <a:pt x="9194" y="14989"/>
                  </a:lnTo>
                  <a:lnTo>
                    <a:pt x="8857" y="15037"/>
                  </a:lnTo>
                  <a:lnTo>
                    <a:pt x="8518" y="15069"/>
                  </a:lnTo>
                  <a:lnTo>
                    <a:pt x="8176" y="15084"/>
                  </a:lnTo>
                  <a:lnTo>
                    <a:pt x="7832" y="15082"/>
                  </a:lnTo>
                  <a:lnTo>
                    <a:pt x="7487" y="15064"/>
                  </a:lnTo>
                  <a:lnTo>
                    <a:pt x="7142" y="15028"/>
                  </a:lnTo>
                  <a:lnTo>
                    <a:pt x="6797" y="14974"/>
                  </a:lnTo>
                  <a:lnTo>
                    <a:pt x="6453" y="14903"/>
                  </a:lnTo>
                  <a:lnTo>
                    <a:pt x="6109" y="14814"/>
                  </a:lnTo>
                  <a:lnTo>
                    <a:pt x="5768" y="14707"/>
                  </a:lnTo>
                  <a:lnTo>
                    <a:pt x="5429" y="14581"/>
                  </a:lnTo>
                  <a:close/>
                  <a:moveTo>
                    <a:pt x="11036" y="576"/>
                  </a:moveTo>
                  <a:lnTo>
                    <a:pt x="10648" y="433"/>
                  </a:lnTo>
                  <a:lnTo>
                    <a:pt x="10258" y="310"/>
                  </a:lnTo>
                  <a:lnTo>
                    <a:pt x="9864" y="207"/>
                  </a:lnTo>
                  <a:lnTo>
                    <a:pt x="9470" y="126"/>
                  </a:lnTo>
                  <a:lnTo>
                    <a:pt x="9076" y="64"/>
                  </a:lnTo>
                  <a:lnTo>
                    <a:pt x="8681" y="23"/>
                  </a:lnTo>
                  <a:lnTo>
                    <a:pt x="8287" y="2"/>
                  </a:lnTo>
                  <a:lnTo>
                    <a:pt x="7895" y="0"/>
                  </a:lnTo>
                  <a:lnTo>
                    <a:pt x="7503" y="17"/>
                  </a:lnTo>
                  <a:lnTo>
                    <a:pt x="7115" y="52"/>
                  </a:lnTo>
                  <a:lnTo>
                    <a:pt x="6731" y="108"/>
                  </a:lnTo>
                  <a:lnTo>
                    <a:pt x="6349" y="180"/>
                  </a:lnTo>
                  <a:lnTo>
                    <a:pt x="5973" y="272"/>
                  </a:lnTo>
                  <a:lnTo>
                    <a:pt x="5603" y="380"/>
                  </a:lnTo>
                  <a:lnTo>
                    <a:pt x="5238" y="506"/>
                  </a:lnTo>
                  <a:lnTo>
                    <a:pt x="4880" y="650"/>
                  </a:lnTo>
                  <a:lnTo>
                    <a:pt x="4529" y="810"/>
                  </a:lnTo>
                  <a:lnTo>
                    <a:pt x="4185" y="987"/>
                  </a:lnTo>
                  <a:lnTo>
                    <a:pt x="3851" y="1180"/>
                  </a:lnTo>
                  <a:lnTo>
                    <a:pt x="3525" y="1390"/>
                  </a:lnTo>
                  <a:lnTo>
                    <a:pt x="3209" y="1616"/>
                  </a:lnTo>
                  <a:lnTo>
                    <a:pt x="2904" y="1856"/>
                  </a:lnTo>
                  <a:lnTo>
                    <a:pt x="2610" y="2111"/>
                  </a:lnTo>
                  <a:lnTo>
                    <a:pt x="2328" y="2383"/>
                  </a:lnTo>
                  <a:lnTo>
                    <a:pt x="2058" y="2669"/>
                  </a:lnTo>
                  <a:lnTo>
                    <a:pt x="1803" y="2969"/>
                  </a:lnTo>
                  <a:lnTo>
                    <a:pt x="1559" y="3282"/>
                  </a:lnTo>
                  <a:lnTo>
                    <a:pt x="1332" y="3610"/>
                  </a:lnTo>
                  <a:lnTo>
                    <a:pt x="1119" y="3951"/>
                  </a:lnTo>
                  <a:lnTo>
                    <a:pt x="921" y="4306"/>
                  </a:lnTo>
                  <a:lnTo>
                    <a:pt x="740" y="4675"/>
                  </a:lnTo>
                  <a:lnTo>
                    <a:pt x="577" y="5055"/>
                  </a:lnTo>
                  <a:lnTo>
                    <a:pt x="433" y="5443"/>
                  </a:lnTo>
                  <a:lnTo>
                    <a:pt x="310" y="5833"/>
                  </a:lnTo>
                  <a:lnTo>
                    <a:pt x="207" y="6227"/>
                  </a:lnTo>
                  <a:lnTo>
                    <a:pt x="126" y="6621"/>
                  </a:lnTo>
                  <a:lnTo>
                    <a:pt x="64" y="7015"/>
                  </a:lnTo>
                  <a:lnTo>
                    <a:pt x="23" y="7411"/>
                  </a:lnTo>
                  <a:lnTo>
                    <a:pt x="2" y="7804"/>
                  </a:lnTo>
                  <a:lnTo>
                    <a:pt x="0" y="8197"/>
                  </a:lnTo>
                  <a:lnTo>
                    <a:pt x="17" y="8588"/>
                  </a:lnTo>
                  <a:lnTo>
                    <a:pt x="52" y="8976"/>
                  </a:lnTo>
                  <a:lnTo>
                    <a:pt x="108" y="9360"/>
                  </a:lnTo>
                  <a:lnTo>
                    <a:pt x="180" y="9742"/>
                  </a:lnTo>
                  <a:lnTo>
                    <a:pt x="272" y="10118"/>
                  </a:lnTo>
                  <a:lnTo>
                    <a:pt x="380" y="10489"/>
                  </a:lnTo>
                  <a:lnTo>
                    <a:pt x="506" y="10854"/>
                  </a:lnTo>
                  <a:lnTo>
                    <a:pt x="650" y="11212"/>
                  </a:lnTo>
                  <a:lnTo>
                    <a:pt x="810" y="11563"/>
                  </a:lnTo>
                  <a:lnTo>
                    <a:pt x="987" y="11906"/>
                  </a:lnTo>
                  <a:lnTo>
                    <a:pt x="1180" y="12241"/>
                  </a:lnTo>
                  <a:lnTo>
                    <a:pt x="1389" y="12566"/>
                  </a:lnTo>
                  <a:lnTo>
                    <a:pt x="1615" y="12882"/>
                  </a:lnTo>
                  <a:lnTo>
                    <a:pt x="1856" y="13188"/>
                  </a:lnTo>
                  <a:lnTo>
                    <a:pt x="2111" y="13482"/>
                  </a:lnTo>
                  <a:lnTo>
                    <a:pt x="2383" y="13763"/>
                  </a:lnTo>
                  <a:lnTo>
                    <a:pt x="2669" y="14033"/>
                  </a:lnTo>
                  <a:lnTo>
                    <a:pt x="2969" y="14289"/>
                  </a:lnTo>
                  <a:lnTo>
                    <a:pt x="3282" y="14532"/>
                  </a:lnTo>
                  <a:lnTo>
                    <a:pt x="3610" y="14760"/>
                  </a:lnTo>
                  <a:lnTo>
                    <a:pt x="3951" y="14972"/>
                  </a:lnTo>
                  <a:lnTo>
                    <a:pt x="4306" y="15170"/>
                  </a:lnTo>
                  <a:lnTo>
                    <a:pt x="4675" y="15351"/>
                  </a:lnTo>
                  <a:lnTo>
                    <a:pt x="5055" y="15514"/>
                  </a:lnTo>
                  <a:lnTo>
                    <a:pt x="5443" y="15658"/>
                  </a:lnTo>
                  <a:lnTo>
                    <a:pt x="5833" y="15781"/>
                  </a:lnTo>
                  <a:lnTo>
                    <a:pt x="6227" y="15884"/>
                  </a:lnTo>
                  <a:lnTo>
                    <a:pt x="6621" y="15965"/>
                  </a:lnTo>
                  <a:lnTo>
                    <a:pt x="7015" y="16027"/>
                  </a:lnTo>
                  <a:lnTo>
                    <a:pt x="7410" y="16068"/>
                  </a:lnTo>
                  <a:lnTo>
                    <a:pt x="7804" y="16089"/>
                  </a:lnTo>
                  <a:lnTo>
                    <a:pt x="8196" y="16091"/>
                  </a:lnTo>
                  <a:lnTo>
                    <a:pt x="8588" y="16074"/>
                  </a:lnTo>
                  <a:lnTo>
                    <a:pt x="8976" y="16039"/>
                  </a:lnTo>
                  <a:lnTo>
                    <a:pt x="9360" y="15984"/>
                  </a:lnTo>
                  <a:lnTo>
                    <a:pt x="9742" y="15911"/>
                  </a:lnTo>
                  <a:lnTo>
                    <a:pt x="10118" y="15820"/>
                  </a:lnTo>
                  <a:lnTo>
                    <a:pt x="10488" y="15711"/>
                  </a:lnTo>
                  <a:lnTo>
                    <a:pt x="10853" y="15585"/>
                  </a:lnTo>
                  <a:lnTo>
                    <a:pt x="11211" y="15441"/>
                  </a:lnTo>
                  <a:lnTo>
                    <a:pt x="11563" y="15281"/>
                  </a:lnTo>
                  <a:lnTo>
                    <a:pt x="11906" y="15104"/>
                  </a:lnTo>
                  <a:lnTo>
                    <a:pt x="12241" y="14911"/>
                  </a:lnTo>
                  <a:lnTo>
                    <a:pt x="12566" y="14702"/>
                  </a:lnTo>
                  <a:lnTo>
                    <a:pt x="12882" y="14476"/>
                  </a:lnTo>
                  <a:lnTo>
                    <a:pt x="13187" y="14235"/>
                  </a:lnTo>
                  <a:lnTo>
                    <a:pt x="13481" y="13980"/>
                  </a:lnTo>
                  <a:lnTo>
                    <a:pt x="13763" y="13708"/>
                  </a:lnTo>
                  <a:lnTo>
                    <a:pt x="14033" y="13423"/>
                  </a:lnTo>
                  <a:lnTo>
                    <a:pt x="14289" y="13122"/>
                  </a:lnTo>
                  <a:lnTo>
                    <a:pt x="14532" y="12809"/>
                  </a:lnTo>
                  <a:lnTo>
                    <a:pt x="14760" y="12481"/>
                  </a:lnTo>
                  <a:lnTo>
                    <a:pt x="14972" y="12140"/>
                  </a:lnTo>
                  <a:lnTo>
                    <a:pt x="15170" y="11785"/>
                  </a:lnTo>
                  <a:lnTo>
                    <a:pt x="15351" y="11416"/>
                  </a:lnTo>
                  <a:lnTo>
                    <a:pt x="15515" y="11036"/>
                  </a:lnTo>
                  <a:lnTo>
                    <a:pt x="15658" y="10648"/>
                  </a:lnTo>
                  <a:lnTo>
                    <a:pt x="15781" y="10258"/>
                  </a:lnTo>
                  <a:lnTo>
                    <a:pt x="15884" y="9864"/>
                  </a:lnTo>
                  <a:lnTo>
                    <a:pt x="15965" y="9470"/>
                  </a:lnTo>
                  <a:lnTo>
                    <a:pt x="16027" y="9076"/>
                  </a:lnTo>
                  <a:lnTo>
                    <a:pt x="16068" y="8680"/>
                  </a:lnTo>
                  <a:lnTo>
                    <a:pt x="16089" y="8287"/>
                  </a:lnTo>
                  <a:lnTo>
                    <a:pt x="16092" y="7894"/>
                  </a:lnTo>
                  <a:lnTo>
                    <a:pt x="16075" y="7503"/>
                  </a:lnTo>
                  <a:lnTo>
                    <a:pt x="16039" y="7115"/>
                  </a:lnTo>
                  <a:lnTo>
                    <a:pt x="15984" y="6731"/>
                  </a:lnTo>
                  <a:lnTo>
                    <a:pt x="15911" y="6349"/>
                  </a:lnTo>
                  <a:lnTo>
                    <a:pt x="15820" y="5973"/>
                  </a:lnTo>
                  <a:lnTo>
                    <a:pt x="15711" y="5602"/>
                  </a:lnTo>
                  <a:lnTo>
                    <a:pt x="15585" y="5238"/>
                  </a:lnTo>
                  <a:lnTo>
                    <a:pt x="15441" y="4879"/>
                  </a:lnTo>
                  <a:lnTo>
                    <a:pt x="15281" y="4528"/>
                  </a:lnTo>
                  <a:lnTo>
                    <a:pt x="15104" y="4185"/>
                  </a:lnTo>
                  <a:lnTo>
                    <a:pt x="14911" y="3850"/>
                  </a:lnTo>
                  <a:lnTo>
                    <a:pt x="14701" y="3525"/>
                  </a:lnTo>
                  <a:lnTo>
                    <a:pt x="14476" y="3209"/>
                  </a:lnTo>
                  <a:lnTo>
                    <a:pt x="14235" y="2904"/>
                  </a:lnTo>
                  <a:lnTo>
                    <a:pt x="13980" y="2610"/>
                  </a:lnTo>
                  <a:lnTo>
                    <a:pt x="13708" y="2328"/>
                  </a:lnTo>
                  <a:lnTo>
                    <a:pt x="13422" y="2058"/>
                  </a:lnTo>
                  <a:lnTo>
                    <a:pt x="13122" y="1802"/>
                  </a:lnTo>
                  <a:lnTo>
                    <a:pt x="12809" y="1559"/>
                  </a:lnTo>
                  <a:lnTo>
                    <a:pt x="12481" y="1331"/>
                  </a:lnTo>
                  <a:lnTo>
                    <a:pt x="12139" y="1119"/>
                  </a:lnTo>
                  <a:lnTo>
                    <a:pt x="11785" y="921"/>
                  </a:lnTo>
                  <a:lnTo>
                    <a:pt x="11416" y="740"/>
                  </a:lnTo>
                  <a:lnTo>
                    <a:pt x="11036" y="5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47" name="iṥlíḍè">
              <a:extLst>
                <a:ext uri="{FF2B5EF4-FFF2-40B4-BE49-F238E27FC236}">
                  <a16:creationId xmlns:a16="http://schemas.microsoft.com/office/drawing/2014/main" id="{A3453C31-2519-4AE0-82D0-C6B5EFA72AA7}"/>
                </a:ext>
              </a:extLst>
            </p:cNvPr>
            <p:cNvSpPr/>
            <p:nvPr/>
          </p:nvSpPr>
          <p:spPr bwMode="auto">
            <a:xfrm>
              <a:off x="3879902" y="2612178"/>
              <a:ext cx="46321" cy="46321"/>
            </a:xfrm>
            <a:custGeom>
              <a:avLst/>
              <a:gdLst>
                <a:gd name="T0" fmla="*/ 728 w 2011"/>
                <a:gd name="T1" fmla="*/ 1425 h 2011"/>
                <a:gd name="T2" fmla="*/ 634 w 2011"/>
                <a:gd name="T3" fmla="*/ 1346 h 2011"/>
                <a:gd name="T4" fmla="*/ 565 w 2011"/>
                <a:gd name="T5" fmla="*/ 1247 h 2011"/>
                <a:gd name="T6" fmla="*/ 520 w 2011"/>
                <a:gd name="T7" fmla="*/ 1135 h 2011"/>
                <a:gd name="T8" fmla="*/ 503 w 2011"/>
                <a:gd name="T9" fmla="*/ 1015 h 2011"/>
                <a:gd name="T10" fmla="*/ 516 w 2011"/>
                <a:gd name="T11" fmla="*/ 892 h 2011"/>
                <a:gd name="T12" fmla="*/ 560 w 2011"/>
                <a:gd name="T13" fmla="*/ 771 h 2011"/>
                <a:gd name="T14" fmla="*/ 631 w 2011"/>
                <a:gd name="T15" fmla="*/ 670 h 2011"/>
                <a:gd name="T16" fmla="*/ 723 w 2011"/>
                <a:gd name="T17" fmla="*/ 590 h 2011"/>
                <a:gd name="T18" fmla="*/ 830 w 2011"/>
                <a:gd name="T19" fmla="*/ 535 h 2011"/>
                <a:gd name="T20" fmla="*/ 947 w 2011"/>
                <a:gd name="T21" fmla="*/ 507 h 2011"/>
                <a:gd name="T22" fmla="*/ 1070 w 2011"/>
                <a:gd name="T23" fmla="*/ 507 h 2011"/>
                <a:gd name="T24" fmla="*/ 1193 w 2011"/>
                <a:gd name="T25" fmla="*/ 539 h 2011"/>
                <a:gd name="T26" fmla="*/ 1303 w 2011"/>
                <a:gd name="T27" fmla="*/ 600 h 2011"/>
                <a:gd name="T28" fmla="*/ 1392 w 2011"/>
                <a:gd name="T29" fmla="*/ 685 h 2011"/>
                <a:gd name="T30" fmla="*/ 1457 w 2011"/>
                <a:gd name="T31" fmla="*/ 786 h 2011"/>
                <a:gd name="T32" fmla="*/ 1496 w 2011"/>
                <a:gd name="T33" fmla="*/ 900 h 2011"/>
                <a:gd name="T34" fmla="*/ 1507 w 2011"/>
                <a:gd name="T35" fmla="*/ 1021 h 2011"/>
                <a:gd name="T36" fmla="*/ 1488 w 2011"/>
                <a:gd name="T37" fmla="*/ 1143 h 2011"/>
                <a:gd name="T38" fmla="*/ 1438 w 2011"/>
                <a:gd name="T39" fmla="*/ 1261 h 2011"/>
                <a:gd name="T40" fmla="*/ 1363 w 2011"/>
                <a:gd name="T41" fmla="*/ 1360 h 2011"/>
                <a:gd name="T42" fmla="*/ 1267 w 2011"/>
                <a:gd name="T43" fmla="*/ 1434 h 2011"/>
                <a:gd name="T44" fmla="*/ 1158 w 2011"/>
                <a:gd name="T45" fmla="*/ 1484 h 2011"/>
                <a:gd name="T46" fmla="*/ 1039 w 2011"/>
                <a:gd name="T47" fmla="*/ 1507 h 2011"/>
                <a:gd name="T48" fmla="*/ 916 w 2011"/>
                <a:gd name="T49" fmla="*/ 1500 h 2011"/>
                <a:gd name="T50" fmla="*/ 1380 w 2011"/>
                <a:gd name="T51" fmla="*/ 72 h 2011"/>
                <a:gd name="T52" fmla="*/ 1134 w 2011"/>
                <a:gd name="T53" fmla="*/ 8 h 2011"/>
                <a:gd name="T54" fmla="*/ 890 w 2011"/>
                <a:gd name="T55" fmla="*/ 7 h 2011"/>
                <a:gd name="T56" fmla="*/ 654 w 2011"/>
                <a:gd name="T57" fmla="*/ 63 h 2011"/>
                <a:gd name="T58" fmla="*/ 440 w 2011"/>
                <a:gd name="T59" fmla="*/ 174 h 2011"/>
                <a:gd name="T60" fmla="*/ 257 w 2011"/>
                <a:gd name="T61" fmla="*/ 334 h 2011"/>
                <a:gd name="T62" fmla="*/ 115 w 2011"/>
                <a:gd name="T63" fmla="*/ 538 h 2011"/>
                <a:gd name="T64" fmla="*/ 26 w 2011"/>
                <a:gd name="T65" fmla="*/ 778 h 2011"/>
                <a:gd name="T66" fmla="*/ 0 w 2011"/>
                <a:gd name="T67" fmla="*/ 1025 h 2011"/>
                <a:gd name="T68" fmla="*/ 34 w 2011"/>
                <a:gd name="T69" fmla="*/ 1265 h 2011"/>
                <a:gd name="T70" fmla="*/ 123 w 2011"/>
                <a:gd name="T71" fmla="*/ 1488 h 2011"/>
                <a:gd name="T72" fmla="*/ 264 w 2011"/>
                <a:gd name="T73" fmla="*/ 1686 h 2011"/>
                <a:gd name="T74" fmla="*/ 451 w 2011"/>
                <a:gd name="T75" fmla="*/ 1844 h 2011"/>
                <a:gd name="T76" fmla="*/ 680 w 2011"/>
                <a:gd name="T77" fmla="*/ 1957 h 2011"/>
                <a:gd name="T78" fmla="*/ 926 w 2011"/>
                <a:gd name="T79" fmla="*/ 2008 h 2011"/>
                <a:gd name="T80" fmla="*/ 1169 w 2011"/>
                <a:gd name="T81" fmla="*/ 1997 h 2011"/>
                <a:gd name="T82" fmla="*/ 1401 w 2011"/>
                <a:gd name="T83" fmla="*/ 1930 h 2011"/>
                <a:gd name="T84" fmla="*/ 1610 w 2011"/>
                <a:gd name="T85" fmla="*/ 1809 h 2011"/>
                <a:gd name="T86" fmla="*/ 1786 w 2011"/>
                <a:gd name="T87" fmla="*/ 1640 h 2011"/>
                <a:gd name="T88" fmla="*/ 1919 w 2011"/>
                <a:gd name="T89" fmla="*/ 1427 h 2011"/>
                <a:gd name="T90" fmla="*/ 1995 w 2011"/>
                <a:gd name="T91" fmla="*/ 1184 h 2011"/>
                <a:gd name="T92" fmla="*/ 2009 w 2011"/>
                <a:gd name="T93" fmla="*/ 938 h 2011"/>
                <a:gd name="T94" fmla="*/ 1964 w 2011"/>
                <a:gd name="T95" fmla="*/ 701 h 2011"/>
                <a:gd name="T96" fmla="*/ 1864 w 2011"/>
                <a:gd name="T97" fmla="*/ 481 h 2011"/>
                <a:gd name="T98" fmla="*/ 1714 w 2011"/>
                <a:gd name="T99" fmla="*/ 291 h 2011"/>
                <a:gd name="T100" fmla="*/ 1518 w 2011"/>
                <a:gd name="T101" fmla="*/ 139 h 20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011" h="2011">
                  <a:moveTo>
                    <a:pt x="818" y="1472"/>
                  </a:moveTo>
                  <a:lnTo>
                    <a:pt x="794" y="1462"/>
                  </a:lnTo>
                  <a:lnTo>
                    <a:pt x="772" y="1451"/>
                  </a:lnTo>
                  <a:lnTo>
                    <a:pt x="750" y="1438"/>
                  </a:lnTo>
                  <a:lnTo>
                    <a:pt x="728" y="1425"/>
                  </a:lnTo>
                  <a:lnTo>
                    <a:pt x="708" y="1411"/>
                  </a:lnTo>
                  <a:lnTo>
                    <a:pt x="689" y="1396"/>
                  </a:lnTo>
                  <a:lnTo>
                    <a:pt x="670" y="1380"/>
                  </a:lnTo>
                  <a:lnTo>
                    <a:pt x="651" y="1363"/>
                  </a:lnTo>
                  <a:lnTo>
                    <a:pt x="634" y="1346"/>
                  </a:lnTo>
                  <a:lnTo>
                    <a:pt x="619" y="1326"/>
                  </a:lnTo>
                  <a:lnTo>
                    <a:pt x="604" y="1307"/>
                  </a:lnTo>
                  <a:lnTo>
                    <a:pt x="590" y="1288"/>
                  </a:lnTo>
                  <a:lnTo>
                    <a:pt x="577" y="1268"/>
                  </a:lnTo>
                  <a:lnTo>
                    <a:pt x="565" y="1247"/>
                  </a:lnTo>
                  <a:lnTo>
                    <a:pt x="554" y="1225"/>
                  </a:lnTo>
                  <a:lnTo>
                    <a:pt x="544" y="1204"/>
                  </a:lnTo>
                  <a:lnTo>
                    <a:pt x="535" y="1181"/>
                  </a:lnTo>
                  <a:lnTo>
                    <a:pt x="527" y="1158"/>
                  </a:lnTo>
                  <a:lnTo>
                    <a:pt x="520" y="1135"/>
                  </a:lnTo>
                  <a:lnTo>
                    <a:pt x="514" y="1111"/>
                  </a:lnTo>
                  <a:lnTo>
                    <a:pt x="510" y="1087"/>
                  </a:lnTo>
                  <a:lnTo>
                    <a:pt x="507" y="1064"/>
                  </a:lnTo>
                  <a:lnTo>
                    <a:pt x="504" y="1039"/>
                  </a:lnTo>
                  <a:lnTo>
                    <a:pt x="503" y="1015"/>
                  </a:lnTo>
                  <a:lnTo>
                    <a:pt x="503" y="990"/>
                  </a:lnTo>
                  <a:lnTo>
                    <a:pt x="505" y="965"/>
                  </a:lnTo>
                  <a:lnTo>
                    <a:pt x="507" y="941"/>
                  </a:lnTo>
                  <a:lnTo>
                    <a:pt x="511" y="916"/>
                  </a:lnTo>
                  <a:lnTo>
                    <a:pt x="516" y="892"/>
                  </a:lnTo>
                  <a:lnTo>
                    <a:pt x="522" y="867"/>
                  </a:lnTo>
                  <a:lnTo>
                    <a:pt x="530" y="843"/>
                  </a:lnTo>
                  <a:lnTo>
                    <a:pt x="539" y="818"/>
                  </a:lnTo>
                  <a:lnTo>
                    <a:pt x="549" y="794"/>
                  </a:lnTo>
                  <a:lnTo>
                    <a:pt x="560" y="771"/>
                  </a:lnTo>
                  <a:lnTo>
                    <a:pt x="572" y="749"/>
                  </a:lnTo>
                  <a:lnTo>
                    <a:pt x="586" y="728"/>
                  </a:lnTo>
                  <a:lnTo>
                    <a:pt x="600" y="708"/>
                  </a:lnTo>
                  <a:lnTo>
                    <a:pt x="615" y="689"/>
                  </a:lnTo>
                  <a:lnTo>
                    <a:pt x="631" y="670"/>
                  </a:lnTo>
                  <a:lnTo>
                    <a:pt x="648" y="651"/>
                  </a:lnTo>
                  <a:lnTo>
                    <a:pt x="665" y="634"/>
                  </a:lnTo>
                  <a:lnTo>
                    <a:pt x="685" y="619"/>
                  </a:lnTo>
                  <a:lnTo>
                    <a:pt x="703" y="604"/>
                  </a:lnTo>
                  <a:lnTo>
                    <a:pt x="723" y="590"/>
                  </a:lnTo>
                  <a:lnTo>
                    <a:pt x="743" y="577"/>
                  </a:lnTo>
                  <a:lnTo>
                    <a:pt x="764" y="565"/>
                  </a:lnTo>
                  <a:lnTo>
                    <a:pt x="786" y="554"/>
                  </a:lnTo>
                  <a:lnTo>
                    <a:pt x="807" y="544"/>
                  </a:lnTo>
                  <a:lnTo>
                    <a:pt x="830" y="535"/>
                  </a:lnTo>
                  <a:lnTo>
                    <a:pt x="853" y="527"/>
                  </a:lnTo>
                  <a:lnTo>
                    <a:pt x="876" y="520"/>
                  </a:lnTo>
                  <a:lnTo>
                    <a:pt x="900" y="515"/>
                  </a:lnTo>
                  <a:lnTo>
                    <a:pt x="923" y="510"/>
                  </a:lnTo>
                  <a:lnTo>
                    <a:pt x="947" y="507"/>
                  </a:lnTo>
                  <a:lnTo>
                    <a:pt x="972" y="504"/>
                  </a:lnTo>
                  <a:lnTo>
                    <a:pt x="996" y="503"/>
                  </a:lnTo>
                  <a:lnTo>
                    <a:pt x="1021" y="503"/>
                  </a:lnTo>
                  <a:lnTo>
                    <a:pt x="1046" y="505"/>
                  </a:lnTo>
                  <a:lnTo>
                    <a:pt x="1070" y="507"/>
                  </a:lnTo>
                  <a:lnTo>
                    <a:pt x="1095" y="511"/>
                  </a:lnTo>
                  <a:lnTo>
                    <a:pt x="1119" y="516"/>
                  </a:lnTo>
                  <a:lnTo>
                    <a:pt x="1144" y="522"/>
                  </a:lnTo>
                  <a:lnTo>
                    <a:pt x="1168" y="530"/>
                  </a:lnTo>
                  <a:lnTo>
                    <a:pt x="1193" y="539"/>
                  </a:lnTo>
                  <a:lnTo>
                    <a:pt x="1217" y="549"/>
                  </a:lnTo>
                  <a:lnTo>
                    <a:pt x="1239" y="560"/>
                  </a:lnTo>
                  <a:lnTo>
                    <a:pt x="1261" y="573"/>
                  </a:lnTo>
                  <a:lnTo>
                    <a:pt x="1282" y="586"/>
                  </a:lnTo>
                  <a:lnTo>
                    <a:pt x="1303" y="600"/>
                  </a:lnTo>
                  <a:lnTo>
                    <a:pt x="1322" y="615"/>
                  </a:lnTo>
                  <a:lnTo>
                    <a:pt x="1341" y="631"/>
                  </a:lnTo>
                  <a:lnTo>
                    <a:pt x="1360" y="648"/>
                  </a:lnTo>
                  <a:lnTo>
                    <a:pt x="1376" y="665"/>
                  </a:lnTo>
                  <a:lnTo>
                    <a:pt x="1392" y="685"/>
                  </a:lnTo>
                  <a:lnTo>
                    <a:pt x="1407" y="704"/>
                  </a:lnTo>
                  <a:lnTo>
                    <a:pt x="1421" y="723"/>
                  </a:lnTo>
                  <a:lnTo>
                    <a:pt x="1434" y="743"/>
                  </a:lnTo>
                  <a:lnTo>
                    <a:pt x="1446" y="764"/>
                  </a:lnTo>
                  <a:lnTo>
                    <a:pt x="1457" y="786"/>
                  </a:lnTo>
                  <a:lnTo>
                    <a:pt x="1467" y="807"/>
                  </a:lnTo>
                  <a:lnTo>
                    <a:pt x="1476" y="830"/>
                  </a:lnTo>
                  <a:lnTo>
                    <a:pt x="1484" y="853"/>
                  </a:lnTo>
                  <a:lnTo>
                    <a:pt x="1491" y="876"/>
                  </a:lnTo>
                  <a:lnTo>
                    <a:pt x="1496" y="900"/>
                  </a:lnTo>
                  <a:lnTo>
                    <a:pt x="1501" y="923"/>
                  </a:lnTo>
                  <a:lnTo>
                    <a:pt x="1504" y="947"/>
                  </a:lnTo>
                  <a:lnTo>
                    <a:pt x="1506" y="971"/>
                  </a:lnTo>
                  <a:lnTo>
                    <a:pt x="1508" y="996"/>
                  </a:lnTo>
                  <a:lnTo>
                    <a:pt x="1507" y="1021"/>
                  </a:lnTo>
                  <a:lnTo>
                    <a:pt x="1506" y="1046"/>
                  </a:lnTo>
                  <a:lnTo>
                    <a:pt x="1504" y="1070"/>
                  </a:lnTo>
                  <a:lnTo>
                    <a:pt x="1500" y="1095"/>
                  </a:lnTo>
                  <a:lnTo>
                    <a:pt x="1495" y="1119"/>
                  </a:lnTo>
                  <a:lnTo>
                    <a:pt x="1488" y="1143"/>
                  </a:lnTo>
                  <a:lnTo>
                    <a:pt x="1481" y="1168"/>
                  </a:lnTo>
                  <a:lnTo>
                    <a:pt x="1472" y="1193"/>
                  </a:lnTo>
                  <a:lnTo>
                    <a:pt x="1462" y="1216"/>
                  </a:lnTo>
                  <a:lnTo>
                    <a:pt x="1451" y="1239"/>
                  </a:lnTo>
                  <a:lnTo>
                    <a:pt x="1438" y="1261"/>
                  </a:lnTo>
                  <a:lnTo>
                    <a:pt x="1425" y="1282"/>
                  </a:lnTo>
                  <a:lnTo>
                    <a:pt x="1411" y="1303"/>
                  </a:lnTo>
                  <a:lnTo>
                    <a:pt x="1396" y="1322"/>
                  </a:lnTo>
                  <a:lnTo>
                    <a:pt x="1380" y="1341"/>
                  </a:lnTo>
                  <a:lnTo>
                    <a:pt x="1363" y="1360"/>
                  </a:lnTo>
                  <a:lnTo>
                    <a:pt x="1346" y="1376"/>
                  </a:lnTo>
                  <a:lnTo>
                    <a:pt x="1326" y="1392"/>
                  </a:lnTo>
                  <a:lnTo>
                    <a:pt x="1307" y="1407"/>
                  </a:lnTo>
                  <a:lnTo>
                    <a:pt x="1288" y="1421"/>
                  </a:lnTo>
                  <a:lnTo>
                    <a:pt x="1267" y="1434"/>
                  </a:lnTo>
                  <a:lnTo>
                    <a:pt x="1247" y="1446"/>
                  </a:lnTo>
                  <a:lnTo>
                    <a:pt x="1225" y="1457"/>
                  </a:lnTo>
                  <a:lnTo>
                    <a:pt x="1204" y="1467"/>
                  </a:lnTo>
                  <a:lnTo>
                    <a:pt x="1181" y="1476"/>
                  </a:lnTo>
                  <a:lnTo>
                    <a:pt x="1158" y="1484"/>
                  </a:lnTo>
                  <a:lnTo>
                    <a:pt x="1134" y="1491"/>
                  </a:lnTo>
                  <a:lnTo>
                    <a:pt x="1111" y="1496"/>
                  </a:lnTo>
                  <a:lnTo>
                    <a:pt x="1087" y="1501"/>
                  </a:lnTo>
                  <a:lnTo>
                    <a:pt x="1063" y="1504"/>
                  </a:lnTo>
                  <a:lnTo>
                    <a:pt x="1039" y="1507"/>
                  </a:lnTo>
                  <a:lnTo>
                    <a:pt x="1015" y="1508"/>
                  </a:lnTo>
                  <a:lnTo>
                    <a:pt x="990" y="1508"/>
                  </a:lnTo>
                  <a:lnTo>
                    <a:pt x="965" y="1506"/>
                  </a:lnTo>
                  <a:lnTo>
                    <a:pt x="941" y="1504"/>
                  </a:lnTo>
                  <a:lnTo>
                    <a:pt x="916" y="1500"/>
                  </a:lnTo>
                  <a:lnTo>
                    <a:pt x="892" y="1495"/>
                  </a:lnTo>
                  <a:lnTo>
                    <a:pt x="867" y="1489"/>
                  </a:lnTo>
                  <a:lnTo>
                    <a:pt x="843" y="1481"/>
                  </a:lnTo>
                  <a:lnTo>
                    <a:pt x="818" y="1472"/>
                  </a:lnTo>
                  <a:close/>
                  <a:moveTo>
                    <a:pt x="1380" y="72"/>
                  </a:moveTo>
                  <a:lnTo>
                    <a:pt x="1331" y="54"/>
                  </a:lnTo>
                  <a:lnTo>
                    <a:pt x="1282" y="39"/>
                  </a:lnTo>
                  <a:lnTo>
                    <a:pt x="1233" y="26"/>
                  </a:lnTo>
                  <a:lnTo>
                    <a:pt x="1184" y="16"/>
                  </a:lnTo>
                  <a:lnTo>
                    <a:pt x="1134" y="8"/>
                  </a:lnTo>
                  <a:lnTo>
                    <a:pt x="1085" y="3"/>
                  </a:lnTo>
                  <a:lnTo>
                    <a:pt x="1036" y="1"/>
                  </a:lnTo>
                  <a:lnTo>
                    <a:pt x="987" y="0"/>
                  </a:lnTo>
                  <a:lnTo>
                    <a:pt x="938" y="2"/>
                  </a:lnTo>
                  <a:lnTo>
                    <a:pt x="890" y="7"/>
                  </a:lnTo>
                  <a:lnTo>
                    <a:pt x="842" y="14"/>
                  </a:lnTo>
                  <a:lnTo>
                    <a:pt x="794" y="23"/>
                  </a:lnTo>
                  <a:lnTo>
                    <a:pt x="747" y="34"/>
                  </a:lnTo>
                  <a:lnTo>
                    <a:pt x="701" y="48"/>
                  </a:lnTo>
                  <a:lnTo>
                    <a:pt x="654" y="63"/>
                  </a:lnTo>
                  <a:lnTo>
                    <a:pt x="610" y="81"/>
                  </a:lnTo>
                  <a:lnTo>
                    <a:pt x="566" y="101"/>
                  </a:lnTo>
                  <a:lnTo>
                    <a:pt x="524" y="123"/>
                  </a:lnTo>
                  <a:lnTo>
                    <a:pt x="481" y="147"/>
                  </a:lnTo>
                  <a:lnTo>
                    <a:pt x="440" y="174"/>
                  </a:lnTo>
                  <a:lnTo>
                    <a:pt x="401" y="202"/>
                  </a:lnTo>
                  <a:lnTo>
                    <a:pt x="363" y="232"/>
                  </a:lnTo>
                  <a:lnTo>
                    <a:pt x="326" y="264"/>
                  </a:lnTo>
                  <a:lnTo>
                    <a:pt x="291" y="297"/>
                  </a:lnTo>
                  <a:lnTo>
                    <a:pt x="257" y="334"/>
                  </a:lnTo>
                  <a:lnTo>
                    <a:pt x="225" y="371"/>
                  </a:lnTo>
                  <a:lnTo>
                    <a:pt x="195" y="410"/>
                  </a:lnTo>
                  <a:lnTo>
                    <a:pt x="167" y="451"/>
                  </a:lnTo>
                  <a:lnTo>
                    <a:pt x="139" y="493"/>
                  </a:lnTo>
                  <a:lnTo>
                    <a:pt x="115" y="538"/>
                  </a:lnTo>
                  <a:lnTo>
                    <a:pt x="93" y="584"/>
                  </a:lnTo>
                  <a:lnTo>
                    <a:pt x="72" y="631"/>
                  </a:lnTo>
                  <a:lnTo>
                    <a:pt x="54" y="681"/>
                  </a:lnTo>
                  <a:lnTo>
                    <a:pt x="39" y="729"/>
                  </a:lnTo>
                  <a:lnTo>
                    <a:pt x="26" y="778"/>
                  </a:lnTo>
                  <a:lnTo>
                    <a:pt x="16" y="827"/>
                  </a:lnTo>
                  <a:lnTo>
                    <a:pt x="8" y="877"/>
                  </a:lnTo>
                  <a:lnTo>
                    <a:pt x="3" y="926"/>
                  </a:lnTo>
                  <a:lnTo>
                    <a:pt x="1" y="975"/>
                  </a:lnTo>
                  <a:lnTo>
                    <a:pt x="0" y="1025"/>
                  </a:lnTo>
                  <a:lnTo>
                    <a:pt x="3" y="1074"/>
                  </a:lnTo>
                  <a:lnTo>
                    <a:pt x="7" y="1122"/>
                  </a:lnTo>
                  <a:lnTo>
                    <a:pt x="14" y="1170"/>
                  </a:lnTo>
                  <a:lnTo>
                    <a:pt x="23" y="1218"/>
                  </a:lnTo>
                  <a:lnTo>
                    <a:pt x="34" y="1265"/>
                  </a:lnTo>
                  <a:lnTo>
                    <a:pt x="48" y="1311"/>
                  </a:lnTo>
                  <a:lnTo>
                    <a:pt x="63" y="1357"/>
                  </a:lnTo>
                  <a:lnTo>
                    <a:pt x="81" y="1402"/>
                  </a:lnTo>
                  <a:lnTo>
                    <a:pt x="101" y="1445"/>
                  </a:lnTo>
                  <a:lnTo>
                    <a:pt x="123" y="1488"/>
                  </a:lnTo>
                  <a:lnTo>
                    <a:pt x="147" y="1531"/>
                  </a:lnTo>
                  <a:lnTo>
                    <a:pt x="174" y="1571"/>
                  </a:lnTo>
                  <a:lnTo>
                    <a:pt x="202" y="1610"/>
                  </a:lnTo>
                  <a:lnTo>
                    <a:pt x="232" y="1648"/>
                  </a:lnTo>
                  <a:lnTo>
                    <a:pt x="264" y="1686"/>
                  </a:lnTo>
                  <a:lnTo>
                    <a:pt x="297" y="1721"/>
                  </a:lnTo>
                  <a:lnTo>
                    <a:pt x="334" y="1754"/>
                  </a:lnTo>
                  <a:lnTo>
                    <a:pt x="371" y="1786"/>
                  </a:lnTo>
                  <a:lnTo>
                    <a:pt x="410" y="1816"/>
                  </a:lnTo>
                  <a:lnTo>
                    <a:pt x="451" y="1844"/>
                  </a:lnTo>
                  <a:lnTo>
                    <a:pt x="493" y="1872"/>
                  </a:lnTo>
                  <a:lnTo>
                    <a:pt x="538" y="1896"/>
                  </a:lnTo>
                  <a:lnTo>
                    <a:pt x="584" y="1919"/>
                  </a:lnTo>
                  <a:lnTo>
                    <a:pt x="631" y="1939"/>
                  </a:lnTo>
                  <a:lnTo>
                    <a:pt x="680" y="1957"/>
                  </a:lnTo>
                  <a:lnTo>
                    <a:pt x="729" y="1972"/>
                  </a:lnTo>
                  <a:lnTo>
                    <a:pt x="778" y="1985"/>
                  </a:lnTo>
                  <a:lnTo>
                    <a:pt x="827" y="1995"/>
                  </a:lnTo>
                  <a:lnTo>
                    <a:pt x="877" y="2003"/>
                  </a:lnTo>
                  <a:lnTo>
                    <a:pt x="926" y="2008"/>
                  </a:lnTo>
                  <a:lnTo>
                    <a:pt x="975" y="2011"/>
                  </a:lnTo>
                  <a:lnTo>
                    <a:pt x="1025" y="2011"/>
                  </a:lnTo>
                  <a:lnTo>
                    <a:pt x="1073" y="2009"/>
                  </a:lnTo>
                  <a:lnTo>
                    <a:pt x="1122" y="2004"/>
                  </a:lnTo>
                  <a:lnTo>
                    <a:pt x="1169" y="1997"/>
                  </a:lnTo>
                  <a:lnTo>
                    <a:pt x="1218" y="1988"/>
                  </a:lnTo>
                  <a:lnTo>
                    <a:pt x="1264" y="1977"/>
                  </a:lnTo>
                  <a:lnTo>
                    <a:pt x="1311" y="1964"/>
                  </a:lnTo>
                  <a:lnTo>
                    <a:pt x="1357" y="1948"/>
                  </a:lnTo>
                  <a:lnTo>
                    <a:pt x="1401" y="1930"/>
                  </a:lnTo>
                  <a:lnTo>
                    <a:pt x="1445" y="1910"/>
                  </a:lnTo>
                  <a:lnTo>
                    <a:pt x="1488" y="1888"/>
                  </a:lnTo>
                  <a:lnTo>
                    <a:pt x="1530" y="1864"/>
                  </a:lnTo>
                  <a:lnTo>
                    <a:pt x="1571" y="1837"/>
                  </a:lnTo>
                  <a:lnTo>
                    <a:pt x="1610" y="1809"/>
                  </a:lnTo>
                  <a:lnTo>
                    <a:pt x="1648" y="1779"/>
                  </a:lnTo>
                  <a:lnTo>
                    <a:pt x="1685" y="1747"/>
                  </a:lnTo>
                  <a:lnTo>
                    <a:pt x="1721" y="1714"/>
                  </a:lnTo>
                  <a:lnTo>
                    <a:pt x="1754" y="1677"/>
                  </a:lnTo>
                  <a:lnTo>
                    <a:pt x="1786" y="1640"/>
                  </a:lnTo>
                  <a:lnTo>
                    <a:pt x="1816" y="1601"/>
                  </a:lnTo>
                  <a:lnTo>
                    <a:pt x="1844" y="1560"/>
                  </a:lnTo>
                  <a:lnTo>
                    <a:pt x="1872" y="1518"/>
                  </a:lnTo>
                  <a:lnTo>
                    <a:pt x="1896" y="1473"/>
                  </a:lnTo>
                  <a:lnTo>
                    <a:pt x="1919" y="1427"/>
                  </a:lnTo>
                  <a:lnTo>
                    <a:pt x="1939" y="1380"/>
                  </a:lnTo>
                  <a:lnTo>
                    <a:pt x="1957" y="1330"/>
                  </a:lnTo>
                  <a:lnTo>
                    <a:pt x="1972" y="1282"/>
                  </a:lnTo>
                  <a:lnTo>
                    <a:pt x="1985" y="1233"/>
                  </a:lnTo>
                  <a:lnTo>
                    <a:pt x="1995" y="1184"/>
                  </a:lnTo>
                  <a:lnTo>
                    <a:pt x="2003" y="1134"/>
                  </a:lnTo>
                  <a:lnTo>
                    <a:pt x="2008" y="1085"/>
                  </a:lnTo>
                  <a:lnTo>
                    <a:pt x="2011" y="1036"/>
                  </a:lnTo>
                  <a:lnTo>
                    <a:pt x="2011" y="986"/>
                  </a:lnTo>
                  <a:lnTo>
                    <a:pt x="2009" y="938"/>
                  </a:lnTo>
                  <a:lnTo>
                    <a:pt x="2004" y="890"/>
                  </a:lnTo>
                  <a:lnTo>
                    <a:pt x="1998" y="842"/>
                  </a:lnTo>
                  <a:lnTo>
                    <a:pt x="1988" y="794"/>
                  </a:lnTo>
                  <a:lnTo>
                    <a:pt x="1977" y="747"/>
                  </a:lnTo>
                  <a:lnTo>
                    <a:pt x="1964" y="701"/>
                  </a:lnTo>
                  <a:lnTo>
                    <a:pt x="1948" y="654"/>
                  </a:lnTo>
                  <a:lnTo>
                    <a:pt x="1930" y="610"/>
                  </a:lnTo>
                  <a:lnTo>
                    <a:pt x="1910" y="566"/>
                  </a:lnTo>
                  <a:lnTo>
                    <a:pt x="1888" y="523"/>
                  </a:lnTo>
                  <a:lnTo>
                    <a:pt x="1864" y="481"/>
                  </a:lnTo>
                  <a:lnTo>
                    <a:pt x="1837" y="441"/>
                  </a:lnTo>
                  <a:lnTo>
                    <a:pt x="1809" y="401"/>
                  </a:lnTo>
                  <a:lnTo>
                    <a:pt x="1780" y="363"/>
                  </a:lnTo>
                  <a:lnTo>
                    <a:pt x="1748" y="326"/>
                  </a:lnTo>
                  <a:lnTo>
                    <a:pt x="1714" y="291"/>
                  </a:lnTo>
                  <a:lnTo>
                    <a:pt x="1678" y="257"/>
                  </a:lnTo>
                  <a:lnTo>
                    <a:pt x="1640" y="225"/>
                  </a:lnTo>
                  <a:lnTo>
                    <a:pt x="1601" y="195"/>
                  </a:lnTo>
                  <a:lnTo>
                    <a:pt x="1561" y="167"/>
                  </a:lnTo>
                  <a:lnTo>
                    <a:pt x="1518" y="139"/>
                  </a:lnTo>
                  <a:lnTo>
                    <a:pt x="1473" y="115"/>
                  </a:lnTo>
                  <a:lnTo>
                    <a:pt x="1427" y="92"/>
                  </a:lnTo>
                  <a:lnTo>
                    <a:pt x="1380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48" name="îşlíḓê">
              <a:extLst>
                <a:ext uri="{FF2B5EF4-FFF2-40B4-BE49-F238E27FC236}">
                  <a16:creationId xmlns:a16="http://schemas.microsoft.com/office/drawing/2014/main" id="{2FBCC352-C9B5-4DD1-AC05-68A8627A55EB}"/>
                </a:ext>
              </a:extLst>
            </p:cNvPr>
            <p:cNvSpPr/>
            <p:nvPr/>
          </p:nvSpPr>
          <p:spPr bwMode="auto">
            <a:xfrm>
              <a:off x="3834423" y="2566699"/>
              <a:ext cx="137279" cy="137279"/>
            </a:xfrm>
            <a:custGeom>
              <a:avLst/>
              <a:gdLst>
                <a:gd name="T0" fmla="*/ 1909 w 6034"/>
                <a:gd name="T1" fmla="*/ 4695 h 6033"/>
                <a:gd name="T2" fmla="*/ 1534 w 6034"/>
                <a:gd name="T3" fmla="*/ 4376 h 6033"/>
                <a:gd name="T4" fmla="*/ 1253 w 6034"/>
                <a:gd name="T5" fmla="*/ 3981 h 6033"/>
                <a:gd name="T6" fmla="*/ 1074 w 6034"/>
                <a:gd name="T7" fmla="*/ 3534 h 6033"/>
                <a:gd name="T8" fmla="*/ 1006 w 6034"/>
                <a:gd name="T9" fmla="*/ 3054 h 6033"/>
                <a:gd name="T10" fmla="*/ 1057 w 6034"/>
                <a:gd name="T11" fmla="*/ 2561 h 6033"/>
                <a:gd name="T12" fmla="*/ 1235 w 6034"/>
                <a:gd name="T13" fmla="*/ 2082 h 6033"/>
                <a:gd name="T14" fmla="*/ 1520 w 6034"/>
                <a:gd name="T15" fmla="*/ 1673 h 6033"/>
                <a:gd name="T16" fmla="*/ 1886 w 6034"/>
                <a:gd name="T17" fmla="*/ 1354 h 6033"/>
                <a:gd name="T18" fmla="*/ 2314 w 6034"/>
                <a:gd name="T19" fmla="*/ 1132 h 6033"/>
                <a:gd name="T20" fmla="*/ 2784 w 6034"/>
                <a:gd name="T21" fmla="*/ 1019 h 6033"/>
                <a:gd name="T22" fmla="*/ 3274 w 6034"/>
                <a:gd name="T23" fmla="*/ 1022 h 6033"/>
                <a:gd name="T24" fmla="*/ 3764 w 6034"/>
                <a:gd name="T25" fmla="*/ 1148 h 6033"/>
                <a:gd name="T26" fmla="*/ 4207 w 6034"/>
                <a:gd name="T27" fmla="*/ 1395 h 6033"/>
                <a:gd name="T28" fmla="*/ 4563 w 6034"/>
                <a:gd name="T29" fmla="*/ 1731 h 6033"/>
                <a:gd name="T30" fmla="*/ 4824 w 6034"/>
                <a:gd name="T31" fmla="*/ 2137 h 6033"/>
                <a:gd name="T32" fmla="*/ 4982 w 6034"/>
                <a:gd name="T33" fmla="*/ 2593 h 6033"/>
                <a:gd name="T34" fmla="*/ 5027 w 6034"/>
                <a:gd name="T35" fmla="*/ 3078 h 6033"/>
                <a:gd name="T36" fmla="*/ 4951 w 6034"/>
                <a:gd name="T37" fmla="*/ 3570 h 6033"/>
                <a:gd name="T38" fmla="*/ 4749 w 6034"/>
                <a:gd name="T39" fmla="*/ 4040 h 6033"/>
                <a:gd name="T40" fmla="*/ 4446 w 6034"/>
                <a:gd name="T41" fmla="*/ 4431 h 6033"/>
                <a:gd name="T42" fmla="*/ 4066 w 6034"/>
                <a:gd name="T43" fmla="*/ 4732 h 6033"/>
                <a:gd name="T44" fmla="*/ 3627 w 6034"/>
                <a:gd name="T45" fmla="*/ 4932 h 6033"/>
                <a:gd name="T46" fmla="*/ 3151 w 6034"/>
                <a:gd name="T47" fmla="*/ 5023 h 6033"/>
                <a:gd name="T48" fmla="*/ 2660 w 6034"/>
                <a:gd name="T49" fmla="*/ 4996 h 6033"/>
                <a:gd name="T50" fmla="*/ 4138 w 6034"/>
                <a:gd name="T51" fmla="*/ 216 h 6033"/>
                <a:gd name="T52" fmla="*/ 3403 w 6034"/>
                <a:gd name="T53" fmla="*/ 24 h 6033"/>
                <a:gd name="T54" fmla="*/ 2667 w 6034"/>
                <a:gd name="T55" fmla="*/ 19 h 6033"/>
                <a:gd name="T56" fmla="*/ 1963 w 6034"/>
                <a:gd name="T57" fmla="*/ 190 h 6033"/>
                <a:gd name="T58" fmla="*/ 1321 w 6034"/>
                <a:gd name="T59" fmla="*/ 521 h 6033"/>
                <a:gd name="T60" fmla="*/ 771 w 6034"/>
                <a:gd name="T61" fmla="*/ 1001 h 6033"/>
                <a:gd name="T62" fmla="*/ 346 w 6034"/>
                <a:gd name="T63" fmla="*/ 1614 h 6033"/>
                <a:gd name="T64" fmla="*/ 78 w 6034"/>
                <a:gd name="T65" fmla="*/ 2334 h 6033"/>
                <a:gd name="T66" fmla="*/ 0 w 6034"/>
                <a:gd name="T67" fmla="*/ 3073 h 6033"/>
                <a:gd name="T68" fmla="*/ 101 w 6034"/>
                <a:gd name="T69" fmla="*/ 3793 h 6033"/>
                <a:gd name="T70" fmla="*/ 370 w 6034"/>
                <a:gd name="T71" fmla="*/ 4464 h 6033"/>
                <a:gd name="T72" fmla="*/ 791 w 6034"/>
                <a:gd name="T73" fmla="*/ 5055 h 6033"/>
                <a:gd name="T74" fmla="*/ 1354 w 6034"/>
                <a:gd name="T75" fmla="*/ 5534 h 6033"/>
                <a:gd name="T76" fmla="*/ 2041 w 6034"/>
                <a:gd name="T77" fmla="*/ 5870 h 6033"/>
                <a:gd name="T78" fmla="*/ 2778 w 6034"/>
                <a:gd name="T79" fmla="*/ 6024 h 6033"/>
                <a:gd name="T80" fmla="*/ 3509 w 6034"/>
                <a:gd name="T81" fmla="*/ 5993 h 6033"/>
                <a:gd name="T82" fmla="*/ 4205 w 6034"/>
                <a:gd name="T83" fmla="*/ 5790 h 6033"/>
                <a:gd name="T84" fmla="*/ 4830 w 6034"/>
                <a:gd name="T85" fmla="*/ 5428 h 6033"/>
                <a:gd name="T86" fmla="*/ 5358 w 6034"/>
                <a:gd name="T87" fmla="*/ 4921 h 6033"/>
                <a:gd name="T88" fmla="*/ 5757 w 6034"/>
                <a:gd name="T89" fmla="*/ 4281 h 6033"/>
                <a:gd name="T90" fmla="*/ 5987 w 6034"/>
                <a:gd name="T91" fmla="*/ 3551 h 6033"/>
                <a:gd name="T92" fmla="*/ 6027 w 6034"/>
                <a:gd name="T93" fmla="*/ 2813 h 6033"/>
                <a:gd name="T94" fmla="*/ 5891 w 6034"/>
                <a:gd name="T95" fmla="*/ 2100 h 6033"/>
                <a:gd name="T96" fmla="*/ 5591 w 6034"/>
                <a:gd name="T97" fmla="*/ 1443 h 6033"/>
                <a:gd name="T98" fmla="*/ 5140 w 6034"/>
                <a:gd name="T99" fmla="*/ 873 h 6033"/>
                <a:gd name="T100" fmla="*/ 4552 w 6034"/>
                <a:gd name="T101" fmla="*/ 419 h 6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34" h="6033">
                  <a:moveTo>
                    <a:pt x="2269" y="4884"/>
                  </a:moveTo>
                  <a:lnTo>
                    <a:pt x="2175" y="4842"/>
                  </a:lnTo>
                  <a:lnTo>
                    <a:pt x="2082" y="4797"/>
                  </a:lnTo>
                  <a:lnTo>
                    <a:pt x="1993" y="4749"/>
                  </a:lnTo>
                  <a:lnTo>
                    <a:pt x="1909" y="4695"/>
                  </a:lnTo>
                  <a:lnTo>
                    <a:pt x="1826" y="4638"/>
                  </a:lnTo>
                  <a:lnTo>
                    <a:pt x="1748" y="4578"/>
                  </a:lnTo>
                  <a:lnTo>
                    <a:pt x="1674" y="4513"/>
                  </a:lnTo>
                  <a:lnTo>
                    <a:pt x="1602" y="4446"/>
                  </a:lnTo>
                  <a:lnTo>
                    <a:pt x="1534" y="4376"/>
                  </a:lnTo>
                  <a:lnTo>
                    <a:pt x="1470" y="4302"/>
                  </a:lnTo>
                  <a:lnTo>
                    <a:pt x="1410" y="4226"/>
                  </a:lnTo>
                  <a:lnTo>
                    <a:pt x="1354" y="4146"/>
                  </a:lnTo>
                  <a:lnTo>
                    <a:pt x="1301" y="4065"/>
                  </a:lnTo>
                  <a:lnTo>
                    <a:pt x="1253" y="3981"/>
                  </a:lnTo>
                  <a:lnTo>
                    <a:pt x="1209" y="3896"/>
                  </a:lnTo>
                  <a:lnTo>
                    <a:pt x="1169" y="3807"/>
                  </a:lnTo>
                  <a:lnTo>
                    <a:pt x="1132" y="3718"/>
                  </a:lnTo>
                  <a:lnTo>
                    <a:pt x="1101" y="3627"/>
                  </a:lnTo>
                  <a:lnTo>
                    <a:pt x="1074" y="3534"/>
                  </a:lnTo>
                  <a:lnTo>
                    <a:pt x="1051" y="3440"/>
                  </a:lnTo>
                  <a:lnTo>
                    <a:pt x="1033" y="3344"/>
                  </a:lnTo>
                  <a:lnTo>
                    <a:pt x="1019" y="3248"/>
                  </a:lnTo>
                  <a:lnTo>
                    <a:pt x="1010" y="3151"/>
                  </a:lnTo>
                  <a:lnTo>
                    <a:pt x="1006" y="3054"/>
                  </a:lnTo>
                  <a:lnTo>
                    <a:pt x="1007" y="2955"/>
                  </a:lnTo>
                  <a:lnTo>
                    <a:pt x="1012" y="2857"/>
                  </a:lnTo>
                  <a:lnTo>
                    <a:pt x="1022" y="2758"/>
                  </a:lnTo>
                  <a:lnTo>
                    <a:pt x="1037" y="2659"/>
                  </a:lnTo>
                  <a:lnTo>
                    <a:pt x="1057" y="2561"/>
                  </a:lnTo>
                  <a:lnTo>
                    <a:pt x="1083" y="2463"/>
                  </a:lnTo>
                  <a:lnTo>
                    <a:pt x="1113" y="2366"/>
                  </a:lnTo>
                  <a:lnTo>
                    <a:pt x="1149" y="2269"/>
                  </a:lnTo>
                  <a:lnTo>
                    <a:pt x="1190" y="2174"/>
                  </a:lnTo>
                  <a:lnTo>
                    <a:pt x="1235" y="2082"/>
                  </a:lnTo>
                  <a:lnTo>
                    <a:pt x="1284" y="1993"/>
                  </a:lnTo>
                  <a:lnTo>
                    <a:pt x="1338" y="1908"/>
                  </a:lnTo>
                  <a:lnTo>
                    <a:pt x="1395" y="1826"/>
                  </a:lnTo>
                  <a:lnTo>
                    <a:pt x="1455" y="1748"/>
                  </a:lnTo>
                  <a:lnTo>
                    <a:pt x="1520" y="1673"/>
                  </a:lnTo>
                  <a:lnTo>
                    <a:pt x="1587" y="1601"/>
                  </a:lnTo>
                  <a:lnTo>
                    <a:pt x="1657" y="1534"/>
                  </a:lnTo>
                  <a:lnTo>
                    <a:pt x="1731" y="1470"/>
                  </a:lnTo>
                  <a:lnTo>
                    <a:pt x="1807" y="1410"/>
                  </a:lnTo>
                  <a:lnTo>
                    <a:pt x="1886" y="1354"/>
                  </a:lnTo>
                  <a:lnTo>
                    <a:pt x="1967" y="1301"/>
                  </a:lnTo>
                  <a:lnTo>
                    <a:pt x="2052" y="1253"/>
                  </a:lnTo>
                  <a:lnTo>
                    <a:pt x="2137" y="1209"/>
                  </a:lnTo>
                  <a:lnTo>
                    <a:pt x="2225" y="1169"/>
                  </a:lnTo>
                  <a:lnTo>
                    <a:pt x="2314" y="1132"/>
                  </a:lnTo>
                  <a:lnTo>
                    <a:pt x="2406" y="1101"/>
                  </a:lnTo>
                  <a:lnTo>
                    <a:pt x="2498" y="1074"/>
                  </a:lnTo>
                  <a:lnTo>
                    <a:pt x="2593" y="1051"/>
                  </a:lnTo>
                  <a:lnTo>
                    <a:pt x="2689" y="1033"/>
                  </a:lnTo>
                  <a:lnTo>
                    <a:pt x="2784" y="1019"/>
                  </a:lnTo>
                  <a:lnTo>
                    <a:pt x="2882" y="1010"/>
                  </a:lnTo>
                  <a:lnTo>
                    <a:pt x="2979" y="1006"/>
                  </a:lnTo>
                  <a:lnTo>
                    <a:pt x="3077" y="1006"/>
                  </a:lnTo>
                  <a:lnTo>
                    <a:pt x="3175" y="1011"/>
                  </a:lnTo>
                  <a:lnTo>
                    <a:pt x="3274" y="1022"/>
                  </a:lnTo>
                  <a:lnTo>
                    <a:pt x="3373" y="1037"/>
                  </a:lnTo>
                  <a:lnTo>
                    <a:pt x="3471" y="1057"/>
                  </a:lnTo>
                  <a:lnTo>
                    <a:pt x="3570" y="1082"/>
                  </a:lnTo>
                  <a:lnTo>
                    <a:pt x="3667" y="1113"/>
                  </a:lnTo>
                  <a:lnTo>
                    <a:pt x="3764" y="1148"/>
                  </a:lnTo>
                  <a:lnTo>
                    <a:pt x="3859" y="1190"/>
                  </a:lnTo>
                  <a:lnTo>
                    <a:pt x="3951" y="1235"/>
                  </a:lnTo>
                  <a:lnTo>
                    <a:pt x="4040" y="1284"/>
                  </a:lnTo>
                  <a:lnTo>
                    <a:pt x="4125" y="1338"/>
                  </a:lnTo>
                  <a:lnTo>
                    <a:pt x="4207" y="1395"/>
                  </a:lnTo>
                  <a:lnTo>
                    <a:pt x="4285" y="1455"/>
                  </a:lnTo>
                  <a:lnTo>
                    <a:pt x="4360" y="1520"/>
                  </a:lnTo>
                  <a:lnTo>
                    <a:pt x="4432" y="1587"/>
                  </a:lnTo>
                  <a:lnTo>
                    <a:pt x="4499" y="1657"/>
                  </a:lnTo>
                  <a:lnTo>
                    <a:pt x="4563" y="1731"/>
                  </a:lnTo>
                  <a:lnTo>
                    <a:pt x="4623" y="1807"/>
                  </a:lnTo>
                  <a:lnTo>
                    <a:pt x="4679" y="1887"/>
                  </a:lnTo>
                  <a:lnTo>
                    <a:pt x="4732" y="1968"/>
                  </a:lnTo>
                  <a:lnTo>
                    <a:pt x="4780" y="2052"/>
                  </a:lnTo>
                  <a:lnTo>
                    <a:pt x="4824" y="2137"/>
                  </a:lnTo>
                  <a:lnTo>
                    <a:pt x="4864" y="2226"/>
                  </a:lnTo>
                  <a:lnTo>
                    <a:pt x="4901" y="2315"/>
                  </a:lnTo>
                  <a:lnTo>
                    <a:pt x="4932" y="2407"/>
                  </a:lnTo>
                  <a:lnTo>
                    <a:pt x="4960" y="2499"/>
                  </a:lnTo>
                  <a:lnTo>
                    <a:pt x="4982" y="2593"/>
                  </a:lnTo>
                  <a:lnTo>
                    <a:pt x="5000" y="2689"/>
                  </a:lnTo>
                  <a:lnTo>
                    <a:pt x="5014" y="2785"/>
                  </a:lnTo>
                  <a:lnTo>
                    <a:pt x="5023" y="2882"/>
                  </a:lnTo>
                  <a:lnTo>
                    <a:pt x="5027" y="2979"/>
                  </a:lnTo>
                  <a:lnTo>
                    <a:pt x="5027" y="3078"/>
                  </a:lnTo>
                  <a:lnTo>
                    <a:pt x="5021" y="3176"/>
                  </a:lnTo>
                  <a:lnTo>
                    <a:pt x="5011" y="3275"/>
                  </a:lnTo>
                  <a:lnTo>
                    <a:pt x="4996" y="3374"/>
                  </a:lnTo>
                  <a:lnTo>
                    <a:pt x="4976" y="3472"/>
                  </a:lnTo>
                  <a:lnTo>
                    <a:pt x="4951" y="3570"/>
                  </a:lnTo>
                  <a:lnTo>
                    <a:pt x="4920" y="3667"/>
                  </a:lnTo>
                  <a:lnTo>
                    <a:pt x="4884" y="3764"/>
                  </a:lnTo>
                  <a:lnTo>
                    <a:pt x="4843" y="3859"/>
                  </a:lnTo>
                  <a:lnTo>
                    <a:pt x="4798" y="3951"/>
                  </a:lnTo>
                  <a:lnTo>
                    <a:pt x="4749" y="4040"/>
                  </a:lnTo>
                  <a:lnTo>
                    <a:pt x="4695" y="4125"/>
                  </a:lnTo>
                  <a:lnTo>
                    <a:pt x="4638" y="4207"/>
                  </a:lnTo>
                  <a:lnTo>
                    <a:pt x="4578" y="4285"/>
                  </a:lnTo>
                  <a:lnTo>
                    <a:pt x="4513" y="4359"/>
                  </a:lnTo>
                  <a:lnTo>
                    <a:pt x="4446" y="4431"/>
                  </a:lnTo>
                  <a:lnTo>
                    <a:pt x="4376" y="4499"/>
                  </a:lnTo>
                  <a:lnTo>
                    <a:pt x="4302" y="4563"/>
                  </a:lnTo>
                  <a:lnTo>
                    <a:pt x="4226" y="4623"/>
                  </a:lnTo>
                  <a:lnTo>
                    <a:pt x="4147" y="4679"/>
                  </a:lnTo>
                  <a:lnTo>
                    <a:pt x="4066" y="4732"/>
                  </a:lnTo>
                  <a:lnTo>
                    <a:pt x="3981" y="4780"/>
                  </a:lnTo>
                  <a:lnTo>
                    <a:pt x="3896" y="4824"/>
                  </a:lnTo>
                  <a:lnTo>
                    <a:pt x="3808" y="4864"/>
                  </a:lnTo>
                  <a:lnTo>
                    <a:pt x="3719" y="4901"/>
                  </a:lnTo>
                  <a:lnTo>
                    <a:pt x="3627" y="4932"/>
                  </a:lnTo>
                  <a:lnTo>
                    <a:pt x="3535" y="4959"/>
                  </a:lnTo>
                  <a:lnTo>
                    <a:pt x="3440" y="4982"/>
                  </a:lnTo>
                  <a:lnTo>
                    <a:pt x="3344" y="5000"/>
                  </a:lnTo>
                  <a:lnTo>
                    <a:pt x="3249" y="5014"/>
                  </a:lnTo>
                  <a:lnTo>
                    <a:pt x="3151" y="5023"/>
                  </a:lnTo>
                  <a:lnTo>
                    <a:pt x="3054" y="5027"/>
                  </a:lnTo>
                  <a:lnTo>
                    <a:pt x="2956" y="5027"/>
                  </a:lnTo>
                  <a:lnTo>
                    <a:pt x="2858" y="5021"/>
                  </a:lnTo>
                  <a:lnTo>
                    <a:pt x="2759" y="5011"/>
                  </a:lnTo>
                  <a:lnTo>
                    <a:pt x="2660" y="4996"/>
                  </a:lnTo>
                  <a:lnTo>
                    <a:pt x="2562" y="4976"/>
                  </a:lnTo>
                  <a:lnTo>
                    <a:pt x="2463" y="4950"/>
                  </a:lnTo>
                  <a:lnTo>
                    <a:pt x="2366" y="4920"/>
                  </a:lnTo>
                  <a:lnTo>
                    <a:pt x="2269" y="4884"/>
                  </a:lnTo>
                  <a:close/>
                  <a:moveTo>
                    <a:pt x="4138" y="216"/>
                  </a:moveTo>
                  <a:lnTo>
                    <a:pt x="3992" y="162"/>
                  </a:lnTo>
                  <a:lnTo>
                    <a:pt x="3846" y="115"/>
                  </a:lnTo>
                  <a:lnTo>
                    <a:pt x="3699" y="77"/>
                  </a:lnTo>
                  <a:lnTo>
                    <a:pt x="3551" y="47"/>
                  </a:lnTo>
                  <a:lnTo>
                    <a:pt x="3403" y="24"/>
                  </a:lnTo>
                  <a:lnTo>
                    <a:pt x="3255" y="9"/>
                  </a:lnTo>
                  <a:lnTo>
                    <a:pt x="3107" y="1"/>
                  </a:lnTo>
                  <a:lnTo>
                    <a:pt x="2960" y="0"/>
                  </a:lnTo>
                  <a:lnTo>
                    <a:pt x="2813" y="6"/>
                  </a:lnTo>
                  <a:lnTo>
                    <a:pt x="2667" y="19"/>
                  </a:lnTo>
                  <a:lnTo>
                    <a:pt x="2524" y="40"/>
                  </a:lnTo>
                  <a:lnTo>
                    <a:pt x="2381" y="67"/>
                  </a:lnTo>
                  <a:lnTo>
                    <a:pt x="2240" y="101"/>
                  </a:lnTo>
                  <a:lnTo>
                    <a:pt x="2100" y="142"/>
                  </a:lnTo>
                  <a:lnTo>
                    <a:pt x="1963" y="190"/>
                  </a:lnTo>
                  <a:lnTo>
                    <a:pt x="1829" y="243"/>
                  </a:lnTo>
                  <a:lnTo>
                    <a:pt x="1698" y="303"/>
                  </a:lnTo>
                  <a:lnTo>
                    <a:pt x="1569" y="370"/>
                  </a:lnTo>
                  <a:lnTo>
                    <a:pt x="1443" y="442"/>
                  </a:lnTo>
                  <a:lnTo>
                    <a:pt x="1321" y="521"/>
                  </a:lnTo>
                  <a:lnTo>
                    <a:pt x="1203" y="605"/>
                  </a:lnTo>
                  <a:lnTo>
                    <a:pt x="1088" y="696"/>
                  </a:lnTo>
                  <a:lnTo>
                    <a:pt x="978" y="791"/>
                  </a:lnTo>
                  <a:lnTo>
                    <a:pt x="873" y="893"/>
                  </a:lnTo>
                  <a:lnTo>
                    <a:pt x="771" y="1001"/>
                  </a:lnTo>
                  <a:lnTo>
                    <a:pt x="676" y="1112"/>
                  </a:lnTo>
                  <a:lnTo>
                    <a:pt x="584" y="1231"/>
                  </a:lnTo>
                  <a:lnTo>
                    <a:pt x="499" y="1354"/>
                  </a:lnTo>
                  <a:lnTo>
                    <a:pt x="419" y="1481"/>
                  </a:lnTo>
                  <a:lnTo>
                    <a:pt x="346" y="1614"/>
                  </a:lnTo>
                  <a:lnTo>
                    <a:pt x="277" y="1752"/>
                  </a:lnTo>
                  <a:lnTo>
                    <a:pt x="216" y="1895"/>
                  </a:lnTo>
                  <a:lnTo>
                    <a:pt x="162" y="2041"/>
                  </a:lnTo>
                  <a:lnTo>
                    <a:pt x="116" y="2188"/>
                  </a:lnTo>
                  <a:lnTo>
                    <a:pt x="78" y="2334"/>
                  </a:lnTo>
                  <a:lnTo>
                    <a:pt x="47" y="2482"/>
                  </a:lnTo>
                  <a:lnTo>
                    <a:pt x="24" y="2630"/>
                  </a:lnTo>
                  <a:lnTo>
                    <a:pt x="9" y="2778"/>
                  </a:lnTo>
                  <a:lnTo>
                    <a:pt x="1" y="2926"/>
                  </a:lnTo>
                  <a:lnTo>
                    <a:pt x="0" y="3073"/>
                  </a:lnTo>
                  <a:lnTo>
                    <a:pt x="6" y="3220"/>
                  </a:lnTo>
                  <a:lnTo>
                    <a:pt x="20" y="3366"/>
                  </a:lnTo>
                  <a:lnTo>
                    <a:pt x="40" y="3509"/>
                  </a:lnTo>
                  <a:lnTo>
                    <a:pt x="67" y="3652"/>
                  </a:lnTo>
                  <a:lnTo>
                    <a:pt x="101" y="3793"/>
                  </a:lnTo>
                  <a:lnTo>
                    <a:pt x="143" y="3933"/>
                  </a:lnTo>
                  <a:lnTo>
                    <a:pt x="190" y="4070"/>
                  </a:lnTo>
                  <a:lnTo>
                    <a:pt x="243" y="4204"/>
                  </a:lnTo>
                  <a:lnTo>
                    <a:pt x="303" y="4335"/>
                  </a:lnTo>
                  <a:lnTo>
                    <a:pt x="370" y="4464"/>
                  </a:lnTo>
                  <a:lnTo>
                    <a:pt x="442" y="4590"/>
                  </a:lnTo>
                  <a:lnTo>
                    <a:pt x="521" y="4712"/>
                  </a:lnTo>
                  <a:lnTo>
                    <a:pt x="605" y="4830"/>
                  </a:lnTo>
                  <a:lnTo>
                    <a:pt x="696" y="4945"/>
                  </a:lnTo>
                  <a:lnTo>
                    <a:pt x="791" y="5055"/>
                  </a:lnTo>
                  <a:lnTo>
                    <a:pt x="893" y="5160"/>
                  </a:lnTo>
                  <a:lnTo>
                    <a:pt x="1001" y="5262"/>
                  </a:lnTo>
                  <a:lnTo>
                    <a:pt x="1113" y="5357"/>
                  </a:lnTo>
                  <a:lnTo>
                    <a:pt x="1231" y="5449"/>
                  </a:lnTo>
                  <a:lnTo>
                    <a:pt x="1354" y="5534"/>
                  </a:lnTo>
                  <a:lnTo>
                    <a:pt x="1481" y="5614"/>
                  </a:lnTo>
                  <a:lnTo>
                    <a:pt x="1614" y="5687"/>
                  </a:lnTo>
                  <a:lnTo>
                    <a:pt x="1752" y="5756"/>
                  </a:lnTo>
                  <a:lnTo>
                    <a:pt x="1895" y="5817"/>
                  </a:lnTo>
                  <a:lnTo>
                    <a:pt x="2041" y="5870"/>
                  </a:lnTo>
                  <a:lnTo>
                    <a:pt x="2188" y="5917"/>
                  </a:lnTo>
                  <a:lnTo>
                    <a:pt x="2334" y="5955"/>
                  </a:lnTo>
                  <a:lnTo>
                    <a:pt x="2482" y="5986"/>
                  </a:lnTo>
                  <a:lnTo>
                    <a:pt x="2630" y="6009"/>
                  </a:lnTo>
                  <a:lnTo>
                    <a:pt x="2778" y="6024"/>
                  </a:lnTo>
                  <a:lnTo>
                    <a:pt x="2926" y="6032"/>
                  </a:lnTo>
                  <a:lnTo>
                    <a:pt x="3074" y="6033"/>
                  </a:lnTo>
                  <a:lnTo>
                    <a:pt x="3220" y="6027"/>
                  </a:lnTo>
                  <a:lnTo>
                    <a:pt x="3366" y="6013"/>
                  </a:lnTo>
                  <a:lnTo>
                    <a:pt x="3509" y="5993"/>
                  </a:lnTo>
                  <a:lnTo>
                    <a:pt x="3652" y="5966"/>
                  </a:lnTo>
                  <a:lnTo>
                    <a:pt x="3794" y="5932"/>
                  </a:lnTo>
                  <a:lnTo>
                    <a:pt x="3933" y="5891"/>
                  </a:lnTo>
                  <a:lnTo>
                    <a:pt x="4070" y="5843"/>
                  </a:lnTo>
                  <a:lnTo>
                    <a:pt x="4205" y="5790"/>
                  </a:lnTo>
                  <a:lnTo>
                    <a:pt x="4336" y="5730"/>
                  </a:lnTo>
                  <a:lnTo>
                    <a:pt x="4465" y="5663"/>
                  </a:lnTo>
                  <a:lnTo>
                    <a:pt x="4590" y="5591"/>
                  </a:lnTo>
                  <a:lnTo>
                    <a:pt x="4713" y="5512"/>
                  </a:lnTo>
                  <a:lnTo>
                    <a:pt x="4830" y="5428"/>
                  </a:lnTo>
                  <a:lnTo>
                    <a:pt x="4945" y="5338"/>
                  </a:lnTo>
                  <a:lnTo>
                    <a:pt x="5056" y="5242"/>
                  </a:lnTo>
                  <a:lnTo>
                    <a:pt x="5161" y="5140"/>
                  </a:lnTo>
                  <a:lnTo>
                    <a:pt x="5262" y="5033"/>
                  </a:lnTo>
                  <a:lnTo>
                    <a:pt x="5358" y="4921"/>
                  </a:lnTo>
                  <a:lnTo>
                    <a:pt x="5449" y="4803"/>
                  </a:lnTo>
                  <a:lnTo>
                    <a:pt x="5534" y="4680"/>
                  </a:lnTo>
                  <a:lnTo>
                    <a:pt x="5615" y="4552"/>
                  </a:lnTo>
                  <a:lnTo>
                    <a:pt x="5688" y="4419"/>
                  </a:lnTo>
                  <a:lnTo>
                    <a:pt x="5757" y="4281"/>
                  </a:lnTo>
                  <a:lnTo>
                    <a:pt x="5818" y="4138"/>
                  </a:lnTo>
                  <a:lnTo>
                    <a:pt x="5871" y="3992"/>
                  </a:lnTo>
                  <a:lnTo>
                    <a:pt x="5918" y="3846"/>
                  </a:lnTo>
                  <a:lnTo>
                    <a:pt x="5956" y="3699"/>
                  </a:lnTo>
                  <a:lnTo>
                    <a:pt x="5987" y="3551"/>
                  </a:lnTo>
                  <a:lnTo>
                    <a:pt x="6009" y="3403"/>
                  </a:lnTo>
                  <a:lnTo>
                    <a:pt x="6025" y="3255"/>
                  </a:lnTo>
                  <a:lnTo>
                    <a:pt x="6033" y="3107"/>
                  </a:lnTo>
                  <a:lnTo>
                    <a:pt x="6034" y="2960"/>
                  </a:lnTo>
                  <a:lnTo>
                    <a:pt x="6027" y="2813"/>
                  </a:lnTo>
                  <a:lnTo>
                    <a:pt x="6014" y="2667"/>
                  </a:lnTo>
                  <a:lnTo>
                    <a:pt x="5993" y="2524"/>
                  </a:lnTo>
                  <a:lnTo>
                    <a:pt x="5966" y="2381"/>
                  </a:lnTo>
                  <a:lnTo>
                    <a:pt x="5932" y="2240"/>
                  </a:lnTo>
                  <a:lnTo>
                    <a:pt x="5891" y="2100"/>
                  </a:lnTo>
                  <a:lnTo>
                    <a:pt x="5844" y="1963"/>
                  </a:lnTo>
                  <a:lnTo>
                    <a:pt x="5790" y="1829"/>
                  </a:lnTo>
                  <a:lnTo>
                    <a:pt x="5730" y="1698"/>
                  </a:lnTo>
                  <a:lnTo>
                    <a:pt x="5663" y="1569"/>
                  </a:lnTo>
                  <a:lnTo>
                    <a:pt x="5591" y="1443"/>
                  </a:lnTo>
                  <a:lnTo>
                    <a:pt x="5512" y="1321"/>
                  </a:lnTo>
                  <a:lnTo>
                    <a:pt x="5428" y="1203"/>
                  </a:lnTo>
                  <a:lnTo>
                    <a:pt x="5338" y="1088"/>
                  </a:lnTo>
                  <a:lnTo>
                    <a:pt x="5242" y="978"/>
                  </a:lnTo>
                  <a:lnTo>
                    <a:pt x="5140" y="873"/>
                  </a:lnTo>
                  <a:lnTo>
                    <a:pt x="5033" y="771"/>
                  </a:lnTo>
                  <a:lnTo>
                    <a:pt x="4921" y="676"/>
                  </a:lnTo>
                  <a:lnTo>
                    <a:pt x="4803" y="584"/>
                  </a:lnTo>
                  <a:lnTo>
                    <a:pt x="4679" y="499"/>
                  </a:lnTo>
                  <a:lnTo>
                    <a:pt x="4552" y="419"/>
                  </a:lnTo>
                  <a:lnTo>
                    <a:pt x="4419" y="345"/>
                  </a:lnTo>
                  <a:lnTo>
                    <a:pt x="4281" y="277"/>
                  </a:lnTo>
                  <a:lnTo>
                    <a:pt x="4138" y="2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49" name="îṣliḓê">
              <a:extLst>
                <a:ext uri="{FF2B5EF4-FFF2-40B4-BE49-F238E27FC236}">
                  <a16:creationId xmlns:a16="http://schemas.microsoft.com/office/drawing/2014/main" id="{847E8CB2-2254-4A31-AC9C-BAB359CE6703}"/>
                </a:ext>
              </a:extLst>
            </p:cNvPr>
            <p:cNvSpPr/>
            <p:nvPr/>
          </p:nvSpPr>
          <p:spPr bwMode="auto">
            <a:xfrm>
              <a:off x="3931276" y="2661867"/>
              <a:ext cx="57270" cy="58112"/>
            </a:xfrm>
            <a:custGeom>
              <a:avLst/>
              <a:gdLst>
                <a:gd name="T0" fmla="*/ 2514 w 2520"/>
                <a:gd name="T1" fmla="*/ 308 h 2567"/>
                <a:gd name="T2" fmla="*/ 2520 w 2520"/>
                <a:gd name="T3" fmla="*/ 259 h 2567"/>
                <a:gd name="T4" fmla="*/ 2517 w 2520"/>
                <a:gd name="T5" fmla="*/ 211 h 2567"/>
                <a:gd name="T6" fmla="*/ 2505 w 2520"/>
                <a:gd name="T7" fmla="*/ 163 h 2567"/>
                <a:gd name="T8" fmla="*/ 2483 w 2520"/>
                <a:gd name="T9" fmla="*/ 120 h 2567"/>
                <a:gd name="T10" fmla="*/ 2454 w 2520"/>
                <a:gd name="T11" fmla="*/ 82 h 2567"/>
                <a:gd name="T12" fmla="*/ 2417 w 2520"/>
                <a:gd name="T13" fmla="*/ 49 h 2567"/>
                <a:gd name="T14" fmla="*/ 2374 w 2520"/>
                <a:gd name="T15" fmla="*/ 23 h 2567"/>
                <a:gd name="T16" fmla="*/ 2326 w 2520"/>
                <a:gd name="T17" fmla="*/ 6 h 2567"/>
                <a:gd name="T18" fmla="*/ 2276 w 2520"/>
                <a:gd name="T19" fmla="*/ 0 h 2567"/>
                <a:gd name="T20" fmla="*/ 2227 w 2520"/>
                <a:gd name="T21" fmla="*/ 3 h 2567"/>
                <a:gd name="T22" fmla="*/ 2181 w 2520"/>
                <a:gd name="T23" fmla="*/ 15 h 2567"/>
                <a:gd name="T24" fmla="*/ 2137 w 2520"/>
                <a:gd name="T25" fmla="*/ 37 h 2567"/>
                <a:gd name="T26" fmla="*/ 2098 w 2520"/>
                <a:gd name="T27" fmla="*/ 66 h 2567"/>
                <a:gd name="T28" fmla="*/ 2066 w 2520"/>
                <a:gd name="T29" fmla="*/ 103 h 2567"/>
                <a:gd name="T30" fmla="*/ 2041 w 2520"/>
                <a:gd name="T31" fmla="*/ 146 h 2567"/>
                <a:gd name="T32" fmla="*/ 1963 w 2520"/>
                <a:gd name="T33" fmla="*/ 324 h 2567"/>
                <a:gd name="T34" fmla="*/ 1797 w 2520"/>
                <a:gd name="T35" fmla="*/ 640 h 2567"/>
                <a:gd name="T36" fmla="*/ 1605 w 2520"/>
                <a:gd name="T37" fmla="*/ 934 h 2567"/>
                <a:gd name="T38" fmla="*/ 1387 w 2520"/>
                <a:gd name="T39" fmla="*/ 1202 h 2567"/>
                <a:gd name="T40" fmla="*/ 1146 w 2520"/>
                <a:gd name="T41" fmla="*/ 1446 h 2567"/>
                <a:gd name="T42" fmla="*/ 883 w 2520"/>
                <a:gd name="T43" fmla="*/ 1663 h 2567"/>
                <a:gd name="T44" fmla="*/ 602 w 2520"/>
                <a:gd name="T45" fmla="*/ 1853 h 2567"/>
                <a:gd name="T46" fmla="*/ 306 w 2520"/>
                <a:gd name="T47" fmla="*/ 2015 h 2567"/>
                <a:gd name="T48" fmla="*/ 130 w 2520"/>
                <a:gd name="T49" fmla="*/ 2097 h 2567"/>
                <a:gd name="T50" fmla="*/ 88 w 2520"/>
                <a:gd name="T51" fmla="*/ 2125 h 2567"/>
                <a:gd name="T52" fmla="*/ 54 w 2520"/>
                <a:gd name="T53" fmla="*/ 2160 h 2567"/>
                <a:gd name="T54" fmla="*/ 28 w 2520"/>
                <a:gd name="T55" fmla="*/ 2201 h 2567"/>
                <a:gd name="T56" fmla="*/ 10 w 2520"/>
                <a:gd name="T57" fmla="*/ 2246 h 2567"/>
                <a:gd name="T58" fmla="*/ 1 w 2520"/>
                <a:gd name="T59" fmla="*/ 2293 h 2567"/>
                <a:gd name="T60" fmla="*/ 2 w 2520"/>
                <a:gd name="T61" fmla="*/ 2342 h 2567"/>
                <a:gd name="T62" fmla="*/ 12 w 2520"/>
                <a:gd name="T63" fmla="*/ 2390 h 2567"/>
                <a:gd name="T64" fmla="*/ 32 w 2520"/>
                <a:gd name="T65" fmla="*/ 2438 h 2567"/>
                <a:gd name="T66" fmla="*/ 60 w 2520"/>
                <a:gd name="T67" fmla="*/ 2479 h 2567"/>
                <a:gd name="T68" fmla="*/ 95 w 2520"/>
                <a:gd name="T69" fmla="*/ 2513 h 2567"/>
                <a:gd name="T70" fmla="*/ 137 w 2520"/>
                <a:gd name="T71" fmla="*/ 2539 h 2567"/>
                <a:gd name="T72" fmla="*/ 181 w 2520"/>
                <a:gd name="T73" fmla="*/ 2557 h 2567"/>
                <a:gd name="T74" fmla="*/ 228 w 2520"/>
                <a:gd name="T75" fmla="*/ 2566 h 2567"/>
                <a:gd name="T76" fmla="*/ 277 w 2520"/>
                <a:gd name="T77" fmla="*/ 2566 h 2567"/>
                <a:gd name="T78" fmla="*/ 327 w 2520"/>
                <a:gd name="T79" fmla="*/ 2556 h 2567"/>
                <a:gd name="T80" fmla="*/ 362 w 2520"/>
                <a:gd name="T81" fmla="*/ 2540 h 2567"/>
                <a:gd name="T82" fmla="*/ 707 w 2520"/>
                <a:gd name="T83" fmla="*/ 2371 h 2567"/>
                <a:gd name="T84" fmla="*/ 1036 w 2520"/>
                <a:gd name="T85" fmla="*/ 2169 h 2567"/>
                <a:gd name="T86" fmla="*/ 1344 w 2520"/>
                <a:gd name="T87" fmla="*/ 1937 h 2567"/>
                <a:gd name="T88" fmla="*/ 1630 w 2520"/>
                <a:gd name="T89" fmla="*/ 1674 h 2567"/>
                <a:gd name="T90" fmla="*/ 1892 w 2520"/>
                <a:gd name="T91" fmla="*/ 1382 h 2567"/>
                <a:gd name="T92" fmla="*/ 2126 w 2520"/>
                <a:gd name="T93" fmla="*/ 1063 h 2567"/>
                <a:gd name="T94" fmla="*/ 2331 w 2520"/>
                <a:gd name="T95" fmla="*/ 717 h 2567"/>
                <a:gd name="T96" fmla="*/ 2502 w 2520"/>
                <a:gd name="T97" fmla="*/ 344 h 2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20" h="2567">
                  <a:moveTo>
                    <a:pt x="2502" y="344"/>
                  </a:moveTo>
                  <a:lnTo>
                    <a:pt x="2507" y="332"/>
                  </a:lnTo>
                  <a:lnTo>
                    <a:pt x="2511" y="320"/>
                  </a:lnTo>
                  <a:lnTo>
                    <a:pt x="2514" y="308"/>
                  </a:lnTo>
                  <a:lnTo>
                    <a:pt x="2516" y="296"/>
                  </a:lnTo>
                  <a:lnTo>
                    <a:pt x="2518" y="284"/>
                  </a:lnTo>
                  <a:lnTo>
                    <a:pt x="2520" y="271"/>
                  </a:lnTo>
                  <a:lnTo>
                    <a:pt x="2520" y="259"/>
                  </a:lnTo>
                  <a:lnTo>
                    <a:pt x="2520" y="247"/>
                  </a:lnTo>
                  <a:lnTo>
                    <a:pt x="2520" y="235"/>
                  </a:lnTo>
                  <a:lnTo>
                    <a:pt x="2519" y="223"/>
                  </a:lnTo>
                  <a:lnTo>
                    <a:pt x="2517" y="211"/>
                  </a:lnTo>
                  <a:lnTo>
                    <a:pt x="2515" y="198"/>
                  </a:lnTo>
                  <a:lnTo>
                    <a:pt x="2512" y="186"/>
                  </a:lnTo>
                  <a:lnTo>
                    <a:pt x="2509" y="175"/>
                  </a:lnTo>
                  <a:lnTo>
                    <a:pt x="2505" y="163"/>
                  </a:lnTo>
                  <a:lnTo>
                    <a:pt x="2500" y="152"/>
                  </a:lnTo>
                  <a:lnTo>
                    <a:pt x="2494" y="141"/>
                  </a:lnTo>
                  <a:lnTo>
                    <a:pt x="2489" y="131"/>
                  </a:lnTo>
                  <a:lnTo>
                    <a:pt x="2483" y="120"/>
                  </a:lnTo>
                  <a:lnTo>
                    <a:pt x="2476" y="110"/>
                  </a:lnTo>
                  <a:lnTo>
                    <a:pt x="2469" y="100"/>
                  </a:lnTo>
                  <a:lnTo>
                    <a:pt x="2462" y="91"/>
                  </a:lnTo>
                  <a:lnTo>
                    <a:pt x="2454" y="82"/>
                  </a:lnTo>
                  <a:lnTo>
                    <a:pt x="2445" y="73"/>
                  </a:lnTo>
                  <a:lnTo>
                    <a:pt x="2437" y="65"/>
                  </a:lnTo>
                  <a:lnTo>
                    <a:pt x="2427" y="57"/>
                  </a:lnTo>
                  <a:lnTo>
                    <a:pt x="2417" y="49"/>
                  </a:lnTo>
                  <a:lnTo>
                    <a:pt x="2407" y="42"/>
                  </a:lnTo>
                  <a:lnTo>
                    <a:pt x="2397" y="36"/>
                  </a:lnTo>
                  <a:lnTo>
                    <a:pt x="2386" y="29"/>
                  </a:lnTo>
                  <a:lnTo>
                    <a:pt x="2374" y="23"/>
                  </a:lnTo>
                  <a:lnTo>
                    <a:pt x="2362" y="18"/>
                  </a:lnTo>
                  <a:lnTo>
                    <a:pt x="2350" y="13"/>
                  </a:lnTo>
                  <a:lnTo>
                    <a:pt x="2338" y="9"/>
                  </a:lnTo>
                  <a:lnTo>
                    <a:pt x="2326" y="6"/>
                  </a:lnTo>
                  <a:lnTo>
                    <a:pt x="2313" y="4"/>
                  </a:lnTo>
                  <a:lnTo>
                    <a:pt x="2300" y="2"/>
                  </a:lnTo>
                  <a:lnTo>
                    <a:pt x="2288" y="0"/>
                  </a:lnTo>
                  <a:lnTo>
                    <a:pt x="2276" y="0"/>
                  </a:lnTo>
                  <a:lnTo>
                    <a:pt x="2264" y="0"/>
                  </a:lnTo>
                  <a:lnTo>
                    <a:pt x="2251" y="0"/>
                  </a:lnTo>
                  <a:lnTo>
                    <a:pt x="2239" y="1"/>
                  </a:lnTo>
                  <a:lnTo>
                    <a:pt x="2227" y="3"/>
                  </a:lnTo>
                  <a:lnTo>
                    <a:pt x="2216" y="5"/>
                  </a:lnTo>
                  <a:lnTo>
                    <a:pt x="2204" y="8"/>
                  </a:lnTo>
                  <a:lnTo>
                    <a:pt x="2192" y="11"/>
                  </a:lnTo>
                  <a:lnTo>
                    <a:pt x="2181" y="15"/>
                  </a:lnTo>
                  <a:lnTo>
                    <a:pt x="2170" y="20"/>
                  </a:lnTo>
                  <a:lnTo>
                    <a:pt x="2159" y="25"/>
                  </a:lnTo>
                  <a:lnTo>
                    <a:pt x="2147" y="30"/>
                  </a:lnTo>
                  <a:lnTo>
                    <a:pt x="2137" y="37"/>
                  </a:lnTo>
                  <a:lnTo>
                    <a:pt x="2127" y="44"/>
                  </a:lnTo>
                  <a:lnTo>
                    <a:pt x="2117" y="51"/>
                  </a:lnTo>
                  <a:lnTo>
                    <a:pt x="2108" y="58"/>
                  </a:lnTo>
                  <a:lnTo>
                    <a:pt x="2098" y="66"/>
                  </a:lnTo>
                  <a:lnTo>
                    <a:pt x="2090" y="75"/>
                  </a:lnTo>
                  <a:lnTo>
                    <a:pt x="2081" y="83"/>
                  </a:lnTo>
                  <a:lnTo>
                    <a:pt x="2073" y="93"/>
                  </a:lnTo>
                  <a:lnTo>
                    <a:pt x="2066" y="103"/>
                  </a:lnTo>
                  <a:lnTo>
                    <a:pt x="2059" y="113"/>
                  </a:lnTo>
                  <a:lnTo>
                    <a:pt x="2052" y="124"/>
                  </a:lnTo>
                  <a:lnTo>
                    <a:pt x="2046" y="135"/>
                  </a:lnTo>
                  <a:lnTo>
                    <a:pt x="2041" y="146"/>
                  </a:lnTo>
                  <a:lnTo>
                    <a:pt x="2036" y="158"/>
                  </a:lnTo>
                  <a:lnTo>
                    <a:pt x="2035" y="157"/>
                  </a:lnTo>
                  <a:lnTo>
                    <a:pt x="2000" y="242"/>
                  </a:lnTo>
                  <a:lnTo>
                    <a:pt x="1963" y="324"/>
                  </a:lnTo>
                  <a:lnTo>
                    <a:pt x="1924" y="406"/>
                  </a:lnTo>
                  <a:lnTo>
                    <a:pt x="1884" y="485"/>
                  </a:lnTo>
                  <a:lnTo>
                    <a:pt x="1842" y="564"/>
                  </a:lnTo>
                  <a:lnTo>
                    <a:pt x="1797" y="640"/>
                  </a:lnTo>
                  <a:lnTo>
                    <a:pt x="1752" y="716"/>
                  </a:lnTo>
                  <a:lnTo>
                    <a:pt x="1705" y="790"/>
                  </a:lnTo>
                  <a:lnTo>
                    <a:pt x="1656" y="862"/>
                  </a:lnTo>
                  <a:lnTo>
                    <a:pt x="1605" y="934"/>
                  </a:lnTo>
                  <a:lnTo>
                    <a:pt x="1553" y="1003"/>
                  </a:lnTo>
                  <a:lnTo>
                    <a:pt x="1499" y="1071"/>
                  </a:lnTo>
                  <a:lnTo>
                    <a:pt x="1443" y="1137"/>
                  </a:lnTo>
                  <a:lnTo>
                    <a:pt x="1387" y="1202"/>
                  </a:lnTo>
                  <a:lnTo>
                    <a:pt x="1329" y="1266"/>
                  </a:lnTo>
                  <a:lnTo>
                    <a:pt x="1268" y="1327"/>
                  </a:lnTo>
                  <a:lnTo>
                    <a:pt x="1208" y="1387"/>
                  </a:lnTo>
                  <a:lnTo>
                    <a:pt x="1146" y="1446"/>
                  </a:lnTo>
                  <a:lnTo>
                    <a:pt x="1081" y="1502"/>
                  </a:lnTo>
                  <a:lnTo>
                    <a:pt x="1017" y="1557"/>
                  </a:lnTo>
                  <a:lnTo>
                    <a:pt x="950" y="1612"/>
                  </a:lnTo>
                  <a:lnTo>
                    <a:pt x="883" y="1663"/>
                  </a:lnTo>
                  <a:lnTo>
                    <a:pt x="815" y="1713"/>
                  </a:lnTo>
                  <a:lnTo>
                    <a:pt x="745" y="1762"/>
                  </a:lnTo>
                  <a:lnTo>
                    <a:pt x="674" y="1808"/>
                  </a:lnTo>
                  <a:lnTo>
                    <a:pt x="602" y="1853"/>
                  </a:lnTo>
                  <a:lnTo>
                    <a:pt x="530" y="1896"/>
                  </a:lnTo>
                  <a:lnTo>
                    <a:pt x="456" y="1938"/>
                  </a:lnTo>
                  <a:lnTo>
                    <a:pt x="381" y="1978"/>
                  </a:lnTo>
                  <a:lnTo>
                    <a:pt x="306" y="2015"/>
                  </a:lnTo>
                  <a:lnTo>
                    <a:pt x="229" y="2051"/>
                  </a:lnTo>
                  <a:lnTo>
                    <a:pt x="153" y="2086"/>
                  </a:lnTo>
                  <a:lnTo>
                    <a:pt x="141" y="2091"/>
                  </a:lnTo>
                  <a:lnTo>
                    <a:pt x="130" y="2097"/>
                  </a:lnTo>
                  <a:lnTo>
                    <a:pt x="118" y="2103"/>
                  </a:lnTo>
                  <a:lnTo>
                    <a:pt x="107" y="2110"/>
                  </a:lnTo>
                  <a:lnTo>
                    <a:pt x="97" y="2118"/>
                  </a:lnTo>
                  <a:lnTo>
                    <a:pt x="88" y="2125"/>
                  </a:lnTo>
                  <a:lnTo>
                    <a:pt x="79" y="2133"/>
                  </a:lnTo>
                  <a:lnTo>
                    <a:pt x="70" y="2142"/>
                  </a:lnTo>
                  <a:lnTo>
                    <a:pt x="62" y="2151"/>
                  </a:lnTo>
                  <a:lnTo>
                    <a:pt x="54" y="2160"/>
                  </a:lnTo>
                  <a:lnTo>
                    <a:pt x="47" y="2170"/>
                  </a:lnTo>
                  <a:lnTo>
                    <a:pt x="40" y="2180"/>
                  </a:lnTo>
                  <a:lnTo>
                    <a:pt x="34" y="2190"/>
                  </a:lnTo>
                  <a:lnTo>
                    <a:pt x="28" y="2201"/>
                  </a:lnTo>
                  <a:lnTo>
                    <a:pt x="23" y="2211"/>
                  </a:lnTo>
                  <a:lnTo>
                    <a:pt x="18" y="2222"/>
                  </a:lnTo>
                  <a:lnTo>
                    <a:pt x="14" y="2234"/>
                  </a:lnTo>
                  <a:lnTo>
                    <a:pt x="10" y="2246"/>
                  </a:lnTo>
                  <a:lnTo>
                    <a:pt x="7" y="2258"/>
                  </a:lnTo>
                  <a:lnTo>
                    <a:pt x="5" y="2269"/>
                  </a:lnTo>
                  <a:lnTo>
                    <a:pt x="3" y="2281"/>
                  </a:lnTo>
                  <a:lnTo>
                    <a:pt x="1" y="2293"/>
                  </a:lnTo>
                  <a:lnTo>
                    <a:pt x="1" y="2305"/>
                  </a:lnTo>
                  <a:lnTo>
                    <a:pt x="0" y="2317"/>
                  </a:lnTo>
                  <a:lnTo>
                    <a:pt x="1" y="2330"/>
                  </a:lnTo>
                  <a:lnTo>
                    <a:pt x="2" y="2342"/>
                  </a:lnTo>
                  <a:lnTo>
                    <a:pt x="3" y="2354"/>
                  </a:lnTo>
                  <a:lnTo>
                    <a:pt x="5" y="2366"/>
                  </a:lnTo>
                  <a:lnTo>
                    <a:pt x="8" y="2378"/>
                  </a:lnTo>
                  <a:lnTo>
                    <a:pt x="12" y="2390"/>
                  </a:lnTo>
                  <a:lnTo>
                    <a:pt x="16" y="2402"/>
                  </a:lnTo>
                  <a:lnTo>
                    <a:pt x="21" y="2415"/>
                  </a:lnTo>
                  <a:lnTo>
                    <a:pt x="26" y="2427"/>
                  </a:lnTo>
                  <a:lnTo>
                    <a:pt x="32" y="2438"/>
                  </a:lnTo>
                  <a:lnTo>
                    <a:pt x="38" y="2449"/>
                  </a:lnTo>
                  <a:lnTo>
                    <a:pt x="45" y="2460"/>
                  </a:lnTo>
                  <a:lnTo>
                    <a:pt x="52" y="2470"/>
                  </a:lnTo>
                  <a:lnTo>
                    <a:pt x="60" y="2479"/>
                  </a:lnTo>
                  <a:lnTo>
                    <a:pt x="68" y="2489"/>
                  </a:lnTo>
                  <a:lnTo>
                    <a:pt x="77" y="2497"/>
                  </a:lnTo>
                  <a:lnTo>
                    <a:pt x="86" y="2506"/>
                  </a:lnTo>
                  <a:lnTo>
                    <a:pt x="95" y="2513"/>
                  </a:lnTo>
                  <a:lnTo>
                    <a:pt x="105" y="2521"/>
                  </a:lnTo>
                  <a:lnTo>
                    <a:pt x="115" y="2527"/>
                  </a:lnTo>
                  <a:lnTo>
                    <a:pt x="126" y="2534"/>
                  </a:lnTo>
                  <a:lnTo>
                    <a:pt x="137" y="2539"/>
                  </a:lnTo>
                  <a:lnTo>
                    <a:pt x="148" y="2545"/>
                  </a:lnTo>
                  <a:lnTo>
                    <a:pt x="159" y="2549"/>
                  </a:lnTo>
                  <a:lnTo>
                    <a:pt x="170" y="2553"/>
                  </a:lnTo>
                  <a:lnTo>
                    <a:pt x="181" y="2557"/>
                  </a:lnTo>
                  <a:lnTo>
                    <a:pt x="193" y="2560"/>
                  </a:lnTo>
                  <a:lnTo>
                    <a:pt x="204" y="2563"/>
                  </a:lnTo>
                  <a:lnTo>
                    <a:pt x="216" y="2565"/>
                  </a:lnTo>
                  <a:lnTo>
                    <a:pt x="228" y="2566"/>
                  </a:lnTo>
                  <a:lnTo>
                    <a:pt x="240" y="2567"/>
                  </a:lnTo>
                  <a:lnTo>
                    <a:pt x="253" y="2567"/>
                  </a:lnTo>
                  <a:lnTo>
                    <a:pt x="265" y="2567"/>
                  </a:lnTo>
                  <a:lnTo>
                    <a:pt x="277" y="2566"/>
                  </a:lnTo>
                  <a:lnTo>
                    <a:pt x="289" y="2564"/>
                  </a:lnTo>
                  <a:lnTo>
                    <a:pt x="302" y="2562"/>
                  </a:lnTo>
                  <a:lnTo>
                    <a:pt x="314" y="2559"/>
                  </a:lnTo>
                  <a:lnTo>
                    <a:pt x="327" y="2556"/>
                  </a:lnTo>
                  <a:lnTo>
                    <a:pt x="339" y="2552"/>
                  </a:lnTo>
                  <a:lnTo>
                    <a:pt x="351" y="2547"/>
                  </a:lnTo>
                  <a:lnTo>
                    <a:pt x="356" y="2543"/>
                  </a:lnTo>
                  <a:lnTo>
                    <a:pt x="362" y="2540"/>
                  </a:lnTo>
                  <a:lnTo>
                    <a:pt x="449" y="2501"/>
                  </a:lnTo>
                  <a:lnTo>
                    <a:pt x="536" y="2460"/>
                  </a:lnTo>
                  <a:lnTo>
                    <a:pt x="622" y="2417"/>
                  </a:lnTo>
                  <a:lnTo>
                    <a:pt x="707" y="2371"/>
                  </a:lnTo>
                  <a:lnTo>
                    <a:pt x="790" y="2324"/>
                  </a:lnTo>
                  <a:lnTo>
                    <a:pt x="874" y="2275"/>
                  </a:lnTo>
                  <a:lnTo>
                    <a:pt x="955" y="2222"/>
                  </a:lnTo>
                  <a:lnTo>
                    <a:pt x="1036" y="2169"/>
                  </a:lnTo>
                  <a:lnTo>
                    <a:pt x="1114" y="2114"/>
                  </a:lnTo>
                  <a:lnTo>
                    <a:pt x="1193" y="2057"/>
                  </a:lnTo>
                  <a:lnTo>
                    <a:pt x="1269" y="1998"/>
                  </a:lnTo>
                  <a:lnTo>
                    <a:pt x="1344" y="1937"/>
                  </a:lnTo>
                  <a:lnTo>
                    <a:pt x="1418" y="1874"/>
                  </a:lnTo>
                  <a:lnTo>
                    <a:pt x="1491" y="1809"/>
                  </a:lnTo>
                  <a:lnTo>
                    <a:pt x="1561" y="1743"/>
                  </a:lnTo>
                  <a:lnTo>
                    <a:pt x="1630" y="1674"/>
                  </a:lnTo>
                  <a:lnTo>
                    <a:pt x="1699" y="1604"/>
                  </a:lnTo>
                  <a:lnTo>
                    <a:pt x="1765" y="1532"/>
                  </a:lnTo>
                  <a:lnTo>
                    <a:pt x="1830" y="1458"/>
                  </a:lnTo>
                  <a:lnTo>
                    <a:pt x="1892" y="1382"/>
                  </a:lnTo>
                  <a:lnTo>
                    <a:pt x="1953" y="1305"/>
                  </a:lnTo>
                  <a:lnTo>
                    <a:pt x="2013" y="1227"/>
                  </a:lnTo>
                  <a:lnTo>
                    <a:pt x="2071" y="1145"/>
                  </a:lnTo>
                  <a:lnTo>
                    <a:pt x="2126" y="1063"/>
                  </a:lnTo>
                  <a:lnTo>
                    <a:pt x="2181" y="979"/>
                  </a:lnTo>
                  <a:lnTo>
                    <a:pt x="2232" y="894"/>
                  </a:lnTo>
                  <a:lnTo>
                    <a:pt x="2282" y="806"/>
                  </a:lnTo>
                  <a:lnTo>
                    <a:pt x="2331" y="717"/>
                  </a:lnTo>
                  <a:lnTo>
                    <a:pt x="2376" y="626"/>
                  </a:lnTo>
                  <a:lnTo>
                    <a:pt x="2420" y="533"/>
                  </a:lnTo>
                  <a:lnTo>
                    <a:pt x="2462" y="440"/>
                  </a:lnTo>
                  <a:lnTo>
                    <a:pt x="2502" y="344"/>
                  </a:lnTo>
                  <a:lnTo>
                    <a:pt x="2502" y="3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50" name="ïş1îḑè">
              <a:extLst>
                <a:ext uri="{FF2B5EF4-FFF2-40B4-BE49-F238E27FC236}">
                  <a16:creationId xmlns:a16="http://schemas.microsoft.com/office/drawing/2014/main" id="{9708B58D-EFC6-48E4-86F6-03D83F76A46C}"/>
                </a:ext>
              </a:extLst>
            </p:cNvPr>
            <p:cNvSpPr/>
            <p:nvPr/>
          </p:nvSpPr>
          <p:spPr bwMode="auto">
            <a:xfrm>
              <a:off x="3948962" y="2678711"/>
              <a:ext cx="81693" cy="83378"/>
            </a:xfrm>
            <a:custGeom>
              <a:avLst/>
              <a:gdLst>
                <a:gd name="T0" fmla="*/ 3402 w 3596"/>
                <a:gd name="T1" fmla="*/ 6 h 3668"/>
                <a:gd name="T2" fmla="*/ 3352 w 3596"/>
                <a:gd name="T3" fmla="*/ 0 h 3668"/>
                <a:gd name="T4" fmla="*/ 3303 w 3596"/>
                <a:gd name="T5" fmla="*/ 3 h 3668"/>
                <a:gd name="T6" fmla="*/ 3257 w 3596"/>
                <a:gd name="T7" fmla="*/ 15 h 3668"/>
                <a:gd name="T8" fmla="*/ 3213 w 3596"/>
                <a:gd name="T9" fmla="*/ 36 h 3668"/>
                <a:gd name="T10" fmla="*/ 3174 w 3596"/>
                <a:gd name="T11" fmla="*/ 65 h 3668"/>
                <a:gd name="T12" fmla="*/ 3142 w 3596"/>
                <a:gd name="T13" fmla="*/ 102 h 3668"/>
                <a:gd name="T14" fmla="*/ 3116 w 3596"/>
                <a:gd name="T15" fmla="*/ 146 h 3668"/>
                <a:gd name="T16" fmla="*/ 2938 w 3596"/>
                <a:gd name="T17" fmla="*/ 547 h 3668"/>
                <a:gd name="T18" fmla="*/ 2666 w 3596"/>
                <a:gd name="T19" fmla="*/ 1035 h 3668"/>
                <a:gd name="T20" fmla="*/ 2353 w 3596"/>
                <a:gd name="T21" fmla="*/ 1485 h 3668"/>
                <a:gd name="T22" fmla="*/ 2000 w 3596"/>
                <a:gd name="T23" fmla="*/ 1898 h 3668"/>
                <a:gd name="T24" fmla="*/ 1613 w 3596"/>
                <a:gd name="T25" fmla="*/ 2270 h 3668"/>
                <a:gd name="T26" fmla="*/ 1193 w 3596"/>
                <a:gd name="T27" fmla="*/ 2601 h 3668"/>
                <a:gd name="T28" fmla="*/ 746 w 3596"/>
                <a:gd name="T29" fmla="*/ 2889 h 3668"/>
                <a:gd name="T30" fmla="*/ 274 w 3596"/>
                <a:gd name="T31" fmla="*/ 3133 h 3668"/>
                <a:gd name="T32" fmla="*/ 119 w 3596"/>
                <a:gd name="T33" fmla="*/ 3204 h 3668"/>
                <a:gd name="T34" fmla="*/ 80 w 3596"/>
                <a:gd name="T35" fmla="*/ 3234 h 3668"/>
                <a:gd name="T36" fmla="*/ 48 w 3596"/>
                <a:gd name="T37" fmla="*/ 3271 h 3668"/>
                <a:gd name="T38" fmla="*/ 24 w 3596"/>
                <a:gd name="T39" fmla="*/ 3312 h 3668"/>
                <a:gd name="T40" fmla="*/ 7 w 3596"/>
                <a:gd name="T41" fmla="*/ 3359 h 3668"/>
                <a:gd name="T42" fmla="*/ 1 w 3596"/>
                <a:gd name="T43" fmla="*/ 3406 h 3668"/>
                <a:gd name="T44" fmla="*/ 3 w 3596"/>
                <a:gd name="T45" fmla="*/ 3455 h 3668"/>
                <a:gd name="T46" fmla="*/ 17 w 3596"/>
                <a:gd name="T47" fmla="*/ 3504 h 3668"/>
                <a:gd name="T48" fmla="*/ 39 w 3596"/>
                <a:gd name="T49" fmla="*/ 3551 h 3668"/>
                <a:gd name="T50" fmla="*/ 69 w 3596"/>
                <a:gd name="T51" fmla="*/ 3590 h 3668"/>
                <a:gd name="T52" fmla="*/ 106 w 3596"/>
                <a:gd name="T53" fmla="*/ 3622 h 3668"/>
                <a:gd name="T54" fmla="*/ 147 w 3596"/>
                <a:gd name="T55" fmla="*/ 3646 h 3668"/>
                <a:gd name="T56" fmla="*/ 194 w 3596"/>
                <a:gd name="T57" fmla="*/ 3661 h 3668"/>
                <a:gd name="T58" fmla="*/ 241 w 3596"/>
                <a:gd name="T59" fmla="*/ 3668 h 3668"/>
                <a:gd name="T60" fmla="*/ 290 w 3596"/>
                <a:gd name="T61" fmla="*/ 3666 h 3668"/>
                <a:gd name="T62" fmla="*/ 339 w 3596"/>
                <a:gd name="T63" fmla="*/ 3653 h 3668"/>
                <a:gd name="T64" fmla="*/ 499 w 3596"/>
                <a:gd name="T65" fmla="*/ 3578 h 3668"/>
                <a:gd name="T66" fmla="*/ 1011 w 3596"/>
                <a:gd name="T67" fmla="*/ 3312 h 3668"/>
                <a:gd name="T68" fmla="*/ 1497 w 3596"/>
                <a:gd name="T69" fmla="*/ 2998 h 3668"/>
                <a:gd name="T70" fmla="*/ 1952 w 3596"/>
                <a:gd name="T71" fmla="*/ 2638 h 3668"/>
                <a:gd name="T72" fmla="*/ 2373 w 3596"/>
                <a:gd name="T73" fmla="*/ 2233 h 3668"/>
                <a:gd name="T74" fmla="*/ 2756 w 3596"/>
                <a:gd name="T75" fmla="*/ 1785 h 3668"/>
                <a:gd name="T76" fmla="*/ 3096 w 3596"/>
                <a:gd name="T77" fmla="*/ 1295 h 3668"/>
                <a:gd name="T78" fmla="*/ 3390 w 3596"/>
                <a:gd name="T79" fmla="*/ 766 h 3668"/>
                <a:gd name="T80" fmla="*/ 3583 w 3596"/>
                <a:gd name="T81" fmla="*/ 333 h 3668"/>
                <a:gd name="T82" fmla="*/ 3594 w 3596"/>
                <a:gd name="T83" fmla="*/ 283 h 3668"/>
                <a:gd name="T84" fmla="*/ 3596 w 3596"/>
                <a:gd name="T85" fmla="*/ 234 h 3668"/>
                <a:gd name="T86" fmla="*/ 3587 w 3596"/>
                <a:gd name="T87" fmla="*/ 186 h 3668"/>
                <a:gd name="T88" fmla="*/ 3571 w 3596"/>
                <a:gd name="T89" fmla="*/ 142 h 3668"/>
                <a:gd name="T90" fmla="*/ 3545 w 3596"/>
                <a:gd name="T91" fmla="*/ 100 h 3668"/>
                <a:gd name="T92" fmla="*/ 3512 w 3596"/>
                <a:gd name="T93" fmla="*/ 64 h 3668"/>
                <a:gd name="T94" fmla="*/ 3472 w 3596"/>
                <a:gd name="T95" fmla="*/ 35 h 3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96" h="3668">
                  <a:moveTo>
                    <a:pt x="3438" y="18"/>
                  </a:moveTo>
                  <a:lnTo>
                    <a:pt x="3426" y="13"/>
                  </a:lnTo>
                  <a:lnTo>
                    <a:pt x="3414" y="9"/>
                  </a:lnTo>
                  <a:lnTo>
                    <a:pt x="3402" y="6"/>
                  </a:lnTo>
                  <a:lnTo>
                    <a:pt x="3388" y="4"/>
                  </a:lnTo>
                  <a:lnTo>
                    <a:pt x="3376" y="2"/>
                  </a:lnTo>
                  <a:lnTo>
                    <a:pt x="3364" y="0"/>
                  </a:lnTo>
                  <a:lnTo>
                    <a:pt x="3352" y="0"/>
                  </a:lnTo>
                  <a:lnTo>
                    <a:pt x="3339" y="0"/>
                  </a:lnTo>
                  <a:lnTo>
                    <a:pt x="3327" y="0"/>
                  </a:lnTo>
                  <a:lnTo>
                    <a:pt x="3315" y="1"/>
                  </a:lnTo>
                  <a:lnTo>
                    <a:pt x="3303" y="3"/>
                  </a:lnTo>
                  <a:lnTo>
                    <a:pt x="3291" y="5"/>
                  </a:lnTo>
                  <a:lnTo>
                    <a:pt x="3280" y="8"/>
                  </a:lnTo>
                  <a:lnTo>
                    <a:pt x="3268" y="11"/>
                  </a:lnTo>
                  <a:lnTo>
                    <a:pt x="3257" y="15"/>
                  </a:lnTo>
                  <a:lnTo>
                    <a:pt x="3246" y="20"/>
                  </a:lnTo>
                  <a:lnTo>
                    <a:pt x="3235" y="25"/>
                  </a:lnTo>
                  <a:lnTo>
                    <a:pt x="3223" y="30"/>
                  </a:lnTo>
                  <a:lnTo>
                    <a:pt x="3213" y="36"/>
                  </a:lnTo>
                  <a:lnTo>
                    <a:pt x="3203" y="43"/>
                  </a:lnTo>
                  <a:lnTo>
                    <a:pt x="3193" y="50"/>
                  </a:lnTo>
                  <a:lnTo>
                    <a:pt x="3183" y="57"/>
                  </a:lnTo>
                  <a:lnTo>
                    <a:pt x="3174" y="65"/>
                  </a:lnTo>
                  <a:lnTo>
                    <a:pt x="3165" y="74"/>
                  </a:lnTo>
                  <a:lnTo>
                    <a:pt x="3157" y="83"/>
                  </a:lnTo>
                  <a:lnTo>
                    <a:pt x="3149" y="92"/>
                  </a:lnTo>
                  <a:lnTo>
                    <a:pt x="3142" y="102"/>
                  </a:lnTo>
                  <a:lnTo>
                    <a:pt x="3135" y="112"/>
                  </a:lnTo>
                  <a:lnTo>
                    <a:pt x="3128" y="122"/>
                  </a:lnTo>
                  <a:lnTo>
                    <a:pt x="3122" y="133"/>
                  </a:lnTo>
                  <a:lnTo>
                    <a:pt x="3116" y="146"/>
                  </a:lnTo>
                  <a:lnTo>
                    <a:pt x="3111" y="158"/>
                  </a:lnTo>
                  <a:lnTo>
                    <a:pt x="3056" y="289"/>
                  </a:lnTo>
                  <a:lnTo>
                    <a:pt x="2998" y="419"/>
                  </a:lnTo>
                  <a:lnTo>
                    <a:pt x="2938" y="547"/>
                  </a:lnTo>
                  <a:lnTo>
                    <a:pt x="2874" y="672"/>
                  </a:lnTo>
                  <a:lnTo>
                    <a:pt x="2808" y="795"/>
                  </a:lnTo>
                  <a:lnTo>
                    <a:pt x="2739" y="916"/>
                  </a:lnTo>
                  <a:lnTo>
                    <a:pt x="2666" y="1035"/>
                  </a:lnTo>
                  <a:lnTo>
                    <a:pt x="2592" y="1150"/>
                  </a:lnTo>
                  <a:lnTo>
                    <a:pt x="2515" y="1264"/>
                  </a:lnTo>
                  <a:lnTo>
                    <a:pt x="2435" y="1376"/>
                  </a:lnTo>
                  <a:lnTo>
                    <a:pt x="2353" y="1485"/>
                  </a:lnTo>
                  <a:lnTo>
                    <a:pt x="2269" y="1592"/>
                  </a:lnTo>
                  <a:lnTo>
                    <a:pt x="2181" y="1697"/>
                  </a:lnTo>
                  <a:lnTo>
                    <a:pt x="2092" y="1798"/>
                  </a:lnTo>
                  <a:lnTo>
                    <a:pt x="2000" y="1898"/>
                  </a:lnTo>
                  <a:lnTo>
                    <a:pt x="1907" y="1994"/>
                  </a:lnTo>
                  <a:lnTo>
                    <a:pt x="1811" y="2089"/>
                  </a:lnTo>
                  <a:lnTo>
                    <a:pt x="1713" y="2181"/>
                  </a:lnTo>
                  <a:lnTo>
                    <a:pt x="1613" y="2270"/>
                  </a:lnTo>
                  <a:lnTo>
                    <a:pt x="1511" y="2357"/>
                  </a:lnTo>
                  <a:lnTo>
                    <a:pt x="1407" y="2441"/>
                  </a:lnTo>
                  <a:lnTo>
                    <a:pt x="1301" y="2523"/>
                  </a:lnTo>
                  <a:lnTo>
                    <a:pt x="1193" y="2601"/>
                  </a:lnTo>
                  <a:lnTo>
                    <a:pt x="1084" y="2678"/>
                  </a:lnTo>
                  <a:lnTo>
                    <a:pt x="973" y="2751"/>
                  </a:lnTo>
                  <a:lnTo>
                    <a:pt x="861" y="2821"/>
                  </a:lnTo>
                  <a:lnTo>
                    <a:pt x="746" y="2889"/>
                  </a:lnTo>
                  <a:lnTo>
                    <a:pt x="630" y="2954"/>
                  </a:lnTo>
                  <a:lnTo>
                    <a:pt x="512" y="3017"/>
                  </a:lnTo>
                  <a:lnTo>
                    <a:pt x="394" y="3076"/>
                  </a:lnTo>
                  <a:lnTo>
                    <a:pt x="274" y="3133"/>
                  </a:lnTo>
                  <a:lnTo>
                    <a:pt x="152" y="3187"/>
                  </a:lnTo>
                  <a:lnTo>
                    <a:pt x="141" y="3192"/>
                  </a:lnTo>
                  <a:lnTo>
                    <a:pt x="129" y="3198"/>
                  </a:lnTo>
                  <a:lnTo>
                    <a:pt x="119" y="3204"/>
                  </a:lnTo>
                  <a:lnTo>
                    <a:pt x="108" y="3211"/>
                  </a:lnTo>
                  <a:lnTo>
                    <a:pt x="98" y="3219"/>
                  </a:lnTo>
                  <a:lnTo>
                    <a:pt x="89" y="3226"/>
                  </a:lnTo>
                  <a:lnTo>
                    <a:pt x="80" y="3234"/>
                  </a:lnTo>
                  <a:lnTo>
                    <a:pt x="71" y="3243"/>
                  </a:lnTo>
                  <a:lnTo>
                    <a:pt x="63" y="3252"/>
                  </a:lnTo>
                  <a:lnTo>
                    <a:pt x="55" y="3261"/>
                  </a:lnTo>
                  <a:lnTo>
                    <a:pt x="48" y="3271"/>
                  </a:lnTo>
                  <a:lnTo>
                    <a:pt x="41" y="3281"/>
                  </a:lnTo>
                  <a:lnTo>
                    <a:pt x="35" y="3291"/>
                  </a:lnTo>
                  <a:lnTo>
                    <a:pt x="29" y="3302"/>
                  </a:lnTo>
                  <a:lnTo>
                    <a:pt x="24" y="3312"/>
                  </a:lnTo>
                  <a:lnTo>
                    <a:pt x="19" y="3324"/>
                  </a:lnTo>
                  <a:lnTo>
                    <a:pt x="15" y="3335"/>
                  </a:lnTo>
                  <a:lnTo>
                    <a:pt x="11" y="3346"/>
                  </a:lnTo>
                  <a:lnTo>
                    <a:pt x="7" y="3359"/>
                  </a:lnTo>
                  <a:lnTo>
                    <a:pt x="5" y="3370"/>
                  </a:lnTo>
                  <a:lnTo>
                    <a:pt x="3" y="3382"/>
                  </a:lnTo>
                  <a:lnTo>
                    <a:pt x="1" y="3394"/>
                  </a:lnTo>
                  <a:lnTo>
                    <a:pt x="1" y="3406"/>
                  </a:lnTo>
                  <a:lnTo>
                    <a:pt x="0" y="3419"/>
                  </a:lnTo>
                  <a:lnTo>
                    <a:pt x="1" y="3431"/>
                  </a:lnTo>
                  <a:lnTo>
                    <a:pt x="2" y="3443"/>
                  </a:lnTo>
                  <a:lnTo>
                    <a:pt x="3" y="3455"/>
                  </a:lnTo>
                  <a:lnTo>
                    <a:pt x="6" y="3467"/>
                  </a:lnTo>
                  <a:lnTo>
                    <a:pt x="8" y="3480"/>
                  </a:lnTo>
                  <a:lnTo>
                    <a:pt x="13" y="3492"/>
                  </a:lnTo>
                  <a:lnTo>
                    <a:pt x="17" y="3504"/>
                  </a:lnTo>
                  <a:lnTo>
                    <a:pt x="22" y="3516"/>
                  </a:lnTo>
                  <a:lnTo>
                    <a:pt x="27" y="3529"/>
                  </a:lnTo>
                  <a:lnTo>
                    <a:pt x="33" y="3540"/>
                  </a:lnTo>
                  <a:lnTo>
                    <a:pt x="39" y="3551"/>
                  </a:lnTo>
                  <a:lnTo>
                    <a:pt x="46" y="3561"/>
                  </a:lnTo>
                  <a:lnTo>
                    <a:pt x="54" y="3571"/>
                  </a:lnTo>
                  <a:lnTo>
                    <a:pt x="61" y="3581"/>
                  </a:lnTo>
                  <a:lnTo>
                    <a:pt x="69" y="3590"/>
                  </a:lnTo>
                  <a:lnTo>
                    <a:pt x="78" y="3599"/>
                  </a:lnTo>
                  <a:lnTo>
                    <a:pt x="87" y="3607"/>
                  </a:lnTo>
                  <a:lnTo>
                    <a:pt x="96" y="3615"/>
                  </a:lnTo>
                  <a:lnTo>
                    <a:pt x="106" y="3622"/>
                  </a:lnTo>
                  <a:lnTo>
                    <a:pt x="116" y="3629"/>
                  </a:lnTo>
                  <a:lnTo>
                    <a:pt x="126" y="3635"/>
                  </a:lnTo>
                  <a:lnTo>
                    <a:pt x="137" y="3641"/>
                  </a:lnTo>
                  <a:lnTo>
                    <a:pt x="147" y="3646"/>
                  </a:lnTo>
                  <a:lnTo>
                    <a:pt x="158" y="3651"/>
                  </a:lnTo>
                  <a:lnTo>
                    <a:pt x="170" y="3655"/>
                  </a:lnTo>
                  <a:lnTo>
                    <a:pt x="182" y="3658"/>
                  </a:lnTo>
                  <a:lnTo>
                    <a:pt x="194" y="3661"/>
                  </a:lnTo>
                  <a:lnTo>
                    <a:pt x="205" y="3664"/>
                  </a:lnTo>
                  <a:lnTo>
                    <a:pt x="217" y="3666"/>
                  </a:lnTo>
                  <a:lnTo>
                    <a:pt x="229" y="3667"/>
                  </a:lnTo>
                  <a:lnTo>
                    <a:pt x="241" y="3668"/>
                  </a:lnTo>
                  <a:lnTo>
                    <a:pt x="254" y="3668"/>
                  </a:lnTo>
                  <a:lnTo>
                    <a:pt x="266" y="3668"/>
                  </a:lnTo>
                  <a:lnTo>
                    <a:pt x="278" y="3667"/>
                  </a:lnTo>
                  <a:lnTo>
                    <a:pt x="290" y="3666"/>
                  </a:lnTo>
                  <a:lnTo>
                    <a:pt x="302" y="3663"/>
                  </a:lnTo>
                  <a:lnTo>
                    <a:pt x="315" y="3661"/>
                  </a:lnTo>
                  <a:lnTo>
                    <a:pt x="327" y="3657"/>
                  </a:lnTo>
                  <a:lnTo>
                    <a:pt x="339" y="3653"/>
                  </a:lnTo>
                  <a:lnTo>
                    <a:pt x="352" y="3648"/>
                  </a:lnTo>
                  <a:lnTo>
                    <a:pt x="360" y="3642"/>
                  </a:lnTo>
                  <a:lnTo>
                    <a:pt x="368" y="3637"/>
                  </a:lnTo>
                  <a:lnTo>
                    <a:pt x="499" y="3578"/>
                  </a:lnTo>
                  <a:lnTo>
                    <a:pt x="629" y="3516"/>
                  </a:lnTo>
                  <a:lnTo>
                    <a:pt x="758" y="3451"/>
                  </a:lnTo>
                  <a:lnTo>
                    <a:pt x="886" y="3384"/>
                  </a:lnTo>
                  <a:lnTo>
                    <a:pt x="1011" y="3312"/>
                  </a:lnTo>
                  <a:lnTo>
                    <a:pt x="1135" y="3238"/>
                  </a:lnTo>
                  <a:lnTo>
                    <a:pt x="1258" y="3161"/>
                  </a:lnTo>
                  <a:lnTo>
                    <a:pt x="1379" y="3081"/>
                  </a:lnTo>
                  <a:lnTo>
                    <a:pt x="1497" y="2998"/>
                  </a:lnTo>
                  <a:lnTo>
                    <a:pt x="1614" y="2913"/>
                  </a:lnTo>
                  <a:lnTo>
                    <a:pt x="1729" y="2824"/>
                  </a:lnTo>
                  <a:lnTo>
                    <a:pt x="1841" y="2733"/>
                  </a:lnTo>
                  <a:lnTo>
                    <a:pt x="1952" y="2638"/>
                  </a:lnTo>
                  <a:lnTo>
                    <a:pt x="2061" y="2541"/>
                  </a:lnTo>
                  <a:lnTo>
                    <a:pt x="2167" y="2441"/>
                  </a:lnTo>
                  <a:lnTo>
                    <a:pt x="2271" y="2339"/>
                  </a:lnTo>
                  <a:lnTo>
                    <a:pt x="2373" y="2233"/>
                  </a:lnTo>
                  <a:lnTo>
                    <a:pt x="2472" y="2125"/>
                  </a:lnTo>
                  <a:lnTo>
                    <a:pt x="2570" y="2015"/>
                  </a:lnTo>
                  <a:lnTo>
                    <a:pt x="2664" y="1901"/>
                  </a:lnTo>
                  <a:lnTo>
                    <a:pt x="2756" y="1785"/>
                  </a:lnTo>
                  <a:lnTo>
                    <a:pt x="2845" y="1667"/>
                  </a:lnTo>
                  <a:lnTo>
                    <a:pt x="2932" y="1546"/>
                  </a:lnTo>
                  <a:lnTo>
                    <a:pt x="3015" y="1422"/>
                  </a:lnTo>
                  <a:lnTo>
                    <a:pt x="3096" y="1295"/>
                  </a:lnTo>
                  <a:lnTo>
                    <a:pt x="3174" y="1167"/>
                  </a:lnTo>
                  <a:lnTo>
                    <a:pt x="3249" y="1036"/>
                  </a:lnTo>
                  <a:lnTo>
                    <a:pt x="3321" y="902"/>
                  </a:lnTo>
                  <a:lnTo>
                    <a:pt x="3390" y="766"/>
                  </a:lnTo>
                  <a:lnTo>
                    <a:pt x="3456" y="628"/>
                  </a:lnTo>
                  <a:lnTo>
                    <a:pt x="3518" y="488"/>
                  </a:lnTo>
                  <a:lnTo>
                    <a:pt x="3578" y="345"/>
                  </a:lnTo>
                  <a:lnTo>
                    <a:pt x="3583" y="333"/>
                  </a:lnTo>
                  <a:lnTo>
                    <a:pt x="3587" y="320"/>
                  </a:lnTo>
                  <a:lnTo>
                    <a:pt x="3590" y="308"/>
                  </a:lnTo>
                  <a:lnTo>
                    <a:pt x="3592" y="295"/>
                  </a:lnTo>
                  <a:lnTo>
                    <a:pt x="3594" y="283"/>
                  </a:lnTo>
                  <a:lnTo>
                    <a:pt x="3595" y="271"/>
                  </a:lnTo>
                  <a:lnTo>
                    <a:pt x="3596" y="258"/>
                  </a:lnTo>
                  <a:lnTo>
                    <a:pt x="3596" y="246"/>
                  </a:lnTo>
                  <a:lnTo>
                    <a:pt x="3596" y="234"/>
                  </a:lnTo>
                  <a:lnTo>
                    <a:pt x="3594" y="222"/>
                  </a:lnTo>
                  <a:lnTo>
                    <a:pt x="3593" y="210"/>
                  </a:lnTo>
                  <a:lnTo>
                    <a:pt x="3590" y="198"/>
                  </a:lnTo>
                  <a:lnTo>
                    <a:pt x="3587" y="186"/>
                  </a:lnTo>
                  <a:lnTo>
                    <a:pt x="3584" y="175"/>
                  </a:lnTo>
                  <a:lnTo>
                    <a:pt x="3580" y="164"/>
                  </a:lnTo>
                  <a:lnTo>
                    <a:pt x="3576" y="153"/>
                  </a:lnTo>
                  <a:lnTo>
                    <a:pt x="3571" y="142"/>
                  </a:lnTo>
                  <a:lnTo>
                    <a:pt x="3564" y="130"/>
                  </a:lnTo>
                  <a:lnTo>
                    <a:pt x="3558" y="119"/>
                  </a:lnTo>
                  <a:lnTo>
                    <a:pt x="3552" y="109"/>
                  </a:lnTo>
                  <a:lnTo>
                    <a:pt x="3545" y="100"/>
                  </a:lnTo>
                  <a:lnTo>
                    <a:pt x="3537" y="90"/>
                  </a:lnTo>
                  <a:lnTo>
                    <a:pt x="3529" y="81"/>
                  </a:lnTo>
                  <a:lnTo>
                    <a:pt x="3521" y="72"/>
                  </a:lnTo>
                  <a:lnTo>
                    <a:pt x="3512" y="64"/>
                  </a:lnTo>
                  <a:lnTo>
                    <a:pt x="3503" y="56"/>
                  </a:lnTo>
                  <a:lnTo>
                    <a:pt x="3493" y="48"/>
                  </a:lnTo>
                  <a:lnTo>
                    <a:pt x="3483" y="41"/>
                  </a:lnTo>
                  <a:lnTo>
                    <a:pt x="3472" y="35"/>
                  </a:lnTo>
                  <a:lnTo>
                    <a:pt x="3461" y="29"/>
                  </a:lnTo>
                  <a:lnTo>
                    <a:pt x="3450" y="23"/>
                  </a:lnTo>
                  <a:lnTo>
                    <a:pt x="3438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51" name="isḻiḑê">
              <a:extLst>
                <a:ext uri="{FF2B5EF4-FFF2-40B4-BE49-F238E27FC236}">
                  <a16:creationId xmlns:a16="http://schemas.microsoft.com/office/drawing/2014/main" id="{816F83D9-6F72-40D0-92CA-AF21264CAA2E}"/>
                </a:ext>
              </a:extLst>
            </p:cNvPr>
            <p:cNvSpPr/>
            <p:nvPr/>
          </p:nvSpPr>
          <p:spPr bwMode="auto">
            <a:xfrm>
              <a:off x="3940540" y="2670289"/>
              <a:ext cx="69061" cy="70745"/>
            </a:xfrm>
            <a:custGeom>
              <a:avLst/>
              <a:gdLst>
                <a:gd name="T0" fmla="*/ 2862 w 3057"/>
                <a:gd name="T1" fmla="*/ 8 h 3119"/>
                <a:gd name="T2" fmla="*/ 2813 w 3057"/>
                <a:gd name="T3" fmla="*/ 0 h 3119"/>
                <a:gd name="T4" fmla="*/ 2764 w 3057"/>
                <a:gd name="T5" fmla="*/ 4 h 3119"/>
                <a:gd name="T6" fmla="*/ 2718 w 3057"/>
                <a:gd name="T7" fmla="*/ 17 h 3119"/>
                <a:gd name="T8" fmla="*/ 2674 w 3057"/>
                <a:gd name="T9" fmla="*/ 38 h 3119"/>
                <a:gd name="T10" fmla="*/ 2636 w 3057"/>
                <a:gd name="T11" fmla="*/ 67 h 3119"/>
                <a:gd name="T12" fmla="*/ 2602 w 3057"/>
                <a:gd name="T13" fmla="*/ 103 h 3119"/>
                <a:gd name="T14" fmla="*/ 2577 w 3057"/>
                <a:gd name="T15" fmla="*/ 146 h 3119"/>
                <a:gd name="T16" fmla="*/ 2430 w 3057"/>
                <a:gd name="T17" fmla="*/ 477 h 3119"/>
                <a:gd name="T18" fmla="*/ 2209 w 3057"/>
                <a:gd name="T19" fmla="*/ 877 h 3119"/>
                <a:gd name="T20" fmla="*/ 1953 w 3057"/>
                <a:gd name="T21" fmla="*/ 1245 h 3119"/>
                <a:gd name="T22" fmla="*/ 1664 w 3057"/>
                <a:gd name="T23" fmla="*/ 1583 h 3119"/>
                <a:gd name="T24" fmla="*/ 1347 w 3057"/>
                <a:gd name="T25" fmla="*/ 1888 h 3119"/>
                <a:gd name="T26" fmla="*/ 1004 w 3057"/>
                <a:gd name="T27" fmla="*/ 2158 h 3119"/>
                <a:gd name="T28" fmla="*/ 638 w 3057"/>
                <a:gd name="T29" fmla="*/ 2394 h 3119"/>
                <a:gd name="T30" fmla="*/ 252 w 3057"/>
                <a:gd name="T31" fmla="*/ 2593 h 3119"/>
                <a:gd name="T32" fmla="*/ 129 w 3057"/>
                <a:gd name="T33" fmla="*/ 2648 h 3119"/>
                <a:gd name="T34" fmla="*/ 88 w 3057"/>
                <a:gd name="T35" fmla="*/ 2676 h 3119"/>
                <a:gd name="T36" fmla="*/ 54 w 3057"/>
                <a:gd name="T37" fmla="*/ 2711 h 3119"/>
                <a:gd name="T38" fmla="*/ 28 w 3057"/>
                <a:gd name="T39" fmla="*/ 2753 h 3119"/>
                <a:gd name="T40" fmla="*/ 10 w 3057"/>
                <a:gd name="T41" fmla="*/ 2797 h 3119"/>
                <a:gd name="T42" fmla="*/ 1 w 3057"/>
                <a:gd name="T43" fmla="*/ 2844 h 3119"/>
                <a:gd name="T44" fmla="*/ 1 w 3057"/>
                <a:gd name="T45" fmla="*/ 2894 h 3119"/>
                <a:gd name="T46" fmla="*/ 11 w 3057"/>
                <a:gd name="T47" fmla="*/ 2943 h 3119"/>
                <a:gd name="T48" fmla="*/ 31 w 3057"/>
                <a:gd name="T49" fmla="*/ 2990 h 3119"/>
                <a:gd name="T50" fmla="*/ 60 w 3057"/>
                <a:gd name="T51" fmla="*/ 3031 h 3119"/>
                <a:gd name="T52" fmla="*/ 96 w 3057"/>
                <a:gd name="T53" fmla="*/ 3066 h 3119"/>
                <a:gd name="T54" fmla="*/ 136 w 3057"/>
                <a:gd name="T55" fmla="*/ 3092 h 3119"/>
                <a:gd name="T56" fmla="*/ 181 w 3057"/>
                <a:gd name="T57" fmla="*/ 3109 h 3119"/>
                <a:gd name="T58" fmla="*/ 228 w 3057"/>
                <a:gd name="T59" fmla="*/ 3118 h 3119"/>
                <a:gd name="T60" fmla="*/ 278 w 3057"/>
                <a:gd name="T61" fmla="*/ 3118 h 3119"/>
                <a:gd name="T62" fmla="*/ 326 w 3057"/>
                <a:gd name="T63" fmla="*/ 3108 h 3119"/>
                <a:gd name="T64" fmla="*/ 363 w 3057"/>
                <a:gd name="T65" fmla="*/ 3089 h 3119"/>
                <a:gd name="T66" fmla="*/ 796 w 3057"/>
                <a:gd name="T67" fmla="*/ 2877 h 3119"/>
                <a:gd name="T68" fmla="*/ 1206 w 3057"/>
                <a:gd name="T69" fmla="*/ 2626 h 3119"/>
                <a:gd name="T70" fmla="*/ 1593 w 3057"/>
                <a:gd name="T71" fmla="*/ 2336 h 3119"/>
                <a:gd name="T72" fmla="*/ 1951 w 3057"/>
                <a:gd name="T73" fmla="*/ 2007 h 3119"/>
                <a:gd name="T74" fmla="*/ 2278 w 3057"/>
                <a:gd name="T75" fmla="*/ 1643 h 3119"/>
                <a:gd name="T76" fmla="*/ 2570 w 3057"/>
                <a:gd name="T77" fmla="*/ 1244 h 3119"/>
                <a:gd name="T78" fmla="*/ 2825 w 3057"/>
                <a:gd name="T79" fmla="*/ 810 h 3119"/>
                <a:gd name="T80" fmla="*/ 3039 w 3057"/>
                <a:gd name="T81" fmla="*/ 346 h 3119"/>
                <a:gd name="T82" fmla="*/ 3053 w 3057"/>
                <a:gd name="T83" fmla="*/ 297 h 3119"/>
                <a:gd name="T84" fmla="*/ 3057 w 3057"/>
                <a:gd name="T85" fmla="*/ 248 h 3119"/>
                <a:gd name="T86" fmla="*/ 3051 w 3057"/>
                <a:gd name="T87" fmla="*/ 200 h 3119"/>
                <a:gd name="T88" fmla="*/ 3036 w 3057"/>
                <a:gd name="T89" fmla="*/ 153 h 3119"/>
                <a:gd name="T90" fmla="*/ 3013 w 3057"/>
                <a:gd name="T91" fmla="*/ 111 h 3119"/>
                <a:gd name="T92" fmla="*/ 2983 w 3057"/>
                <a:gd name="T93" fmla="*/ 74 h 3119"/>
                <a:gd name="T94" fmla="*/ 2943 w 3057"/>
                <a:gd name="T95" fmla="*/ 43 h 3119"/>
                <a:gd name="T96" fmla="*/ 2899 w 3057"/>
                <a:gd name="T97" fmla="*/ 19 h 3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57" h="3119">
                  <a:moveTo>
                    <a:pt x="2899" y="19"/>
                  </a:moveTo>
                  <a:lnTo>
                    <a:pt x="2887" y="15"/>
                  </a:lnTo>
                  <a:lnTo>
                    <a:pt x="2874" y="11"/>
                  </a:lnTo>
                  <a:lnTo>
                    <a:pt x="2862" y="8"/>
                  </a:lnTo>
                  <a:lnTo>
                    <a:pt x="2850" y="5"/>
                  </a:lnTo>
                  <a:lnTo>
                    <a:pt x="2838" y="3"/>
                  </a:lnTo>
                  <a:lnTo>
                    <a:pt x="2825" y="2"/>
                  </a:lnTo>
                  <a:lnTo>
                    <a:pt x="2813" y="0"/>
                  </a:lnTo>
                  <a:lnTo>
                    <a:pt x="2801" y="0"/>
                  </a:lnTo>
                  <a:lnTo>
                    <a:pt x="2789" y="2"/>
                  </a:lnTo>
                  <a:lnTo>
                    <a:pt x="2777" y="3"/>
                  </a:lnTo>
                  <a:lnTo>
                    <a:pt x="2764" y="4"/>
                  </a:lnTo>
                  <a:lnTo>
                    <a:pt x="2752" y="7"/>
                  </a:lnTo>
                  <a:lnTo>
                    <a:pt x="2740" y="9"/>
                  </a:lnTo>
                  <a:lnTo>
                    <a:pt x="2729" y="13"/>
                  </a:lnTo>
                  <a:lnTo>
                    <a:pt x="2718" y="17"/>
                  </a:lnTo>
                  <a:lnTo>
                    <a:pt x="2706" y="21"/>
                  </a:lnTo>
                  <a:lnTo>
                    <a:pt x="2695" y="26"/>
                  </a:lnTo>
                  <a:lnTo>
                    <a:pt x="2685" y="32"/>
                  </a:lnTo>
                  <a:lnTo>
                    <a:pt x="2674" y="38"/>
                  </a:lnTo>
                  <a:lnTo>
                    <a:pt x="2664" y="44"/>
                  </a:lnTo>
                  <a:lnTo>
                    <a:pt x="2655" y="51"/>
                  </a:lnTo>
                  <a:lnTo>
                    <a:pt x="2645" y="59"/>
                  </a:lnTo>
                  <a:lnTo>
                    <a:pt x="2636" y="67"/>
                  </a:lnTo>
                  <a:lnTo>
                    <a:pt x="2627" y="75"/>
                  </a:lnTo>
                  <a:lnTo>
                    <a:pt x="2619" y="84"/>
                  </a:lnTo>
                  <a:lnTo>
                    <a:pt x="2611" y="93"/>
                  </a:lnTo>
                  <a:lnTo>
                    <a:pt x="2602" y="103"/>
                  </a:lnTo>
                  <a:lnTo>
                    <a:pt x="2595" y="113"/>
                  </a:lnTo>
                  <a:lnTo>
                    <a:pt x="2589" y="124"/>
                  </a:lnTo>
                  <a:lnTo>
                    <a:pt x="2582" y="135"/>
                  </a:lnTo>
                  <a:lnTo>
                    <a:pt x="2577" y="146"/>
                  </a:lnTo>
                  <a:lnTo>
                    <a:pt x="2572" y="158"/>
                  </a:lnTo>
                  <a:lnTo>
                    <a:pt x="2527" y="266"/>
                  </a:lnTo>
                  <a:lnTo>
                    <a:pt x="2480" y="373"/>
                  </a:lnTo>
                  <a:lnTo>
                    <a:pt x="2430" y="477"/>
                  </a:lnTo>
                  <a:lnTo>
                    <a:pt x="2378" y="580"/>
                  </a:lnTo>
                  <a:lnTo>
                    <a:pt x="2324" y="681"/>
                  </a:lnTo>
                  <a:lnTo>
                    <a:pt x="2267" y="779"/>
                  </a:lnTo>
                  <a:lnTo>
                    <a:pt x="2209" y="877"/>
                  </a:lnTo>
                  <a:lnTo>
                    <a:pt x="2148" y="971"/>
                  </a:lnTo>
                  <a:lnTo>
                    <a:pt x="2084" y="1065"/>
                  </a:lnTo>
                  <a:lnTo>
                    <a:pt x="2020" y="1156"/>
                  </a:lnTo>
                  <a:lnTo>
                    <a:pt x="1953" y="1245"/>
                  </a:lnTo>
                  <a:lnTo>
                    <a:pt x="1883" y="1332"/>
                  </a:lnTo>
                  <a:lnTo>
                    <a:pt x="1812" y="1418"/>
                  </a:lnTo>
                  <a:lnTo>
                    <a:pt x="1739" y="1501"/>
                  </a:lnTo>
                  <a:lnTo>
                    <a:pt x="1664" y="1583"/>
                  </a:lnTo>
                  <a:lnTo>
                    <a:pt x="1587" y="1662"/>
                  </a:lnTo>
                  <a:lnTo>
                    <a:pt x="1509" y="1739"/>
                  </a:lnTo>
                  <a:lnTo>
                    <a:pt x="1429" y="1814"/>
                  </a:lnTo>
                  <a:lnTo>
                    <a:pt x="1347" y="1888"/>
                  </a:lnTo>
                  <a:lnTo>
                    <a:pt x="1264" y="1958"/>
                  </a:lnTo>
                  <a:lnTo>
                    <a:pt x="1178" y="2027"/>
                  </a:lnTo>
                  <a:lnTo>
                    <a:pt x="1092" y="2094"/>
                  </a:lnTo>
                  <a:lnTo>
                    <a:pt x="1004" y="2158"/>
                  </a:lnTo>
                  <a:lnTo>
                    <a:pt x="915" y="2221"/>
                  </a:lnTo>
                  <a:lnTo>
                    <a:pt x="823" y="2280"/>
                  </a:lnTo>
                  <a:lnTo>
                    <a:pt x="731" y="2338"/>
                  </a:lnTo>
                  <a:lnTo>
                    <a:pt x="638" y="2394"/>
                  </a:lnTo>
                  <a:lnTo>
                    <a:pt x="542" y="2447"/>
                  </a:lnTo>
                  <a:lnTo>
                    <a:pt x="447" y="2498"/>
                  </a:lnTo>
                  <a:lnTo>
                    <a:pt x="349" y="2547"/>
                  </a:lnTo>
                  <a:lnTo>
                    <a:pt x="252" y="2593"/>
                  </a:lnTo>
                  <a:lnTo>
                    <a:pt x="152" y="2636"/>
                  </a:lnTo>
                  <a:lnTo>
                    <a:pt x="152" y="2636"/>
                  </a:lnTo>
                  <a:lnTo>
                    <a:pt x="141" y="2642"/>
                  </a:lnTo>
                  <a:lnTo>
                    <a:pt x="129" y="2648"/>
                  </a:lnTo>
                  <a:lnTo>
                    <a:pt x="119" y="2654"/>
                  </a:lnTo>
                  <a:lnTo>
                    <a:pt x="108" y="2661"/>
                  </a:lnTo>
                  <a:lnTo>
                    <a:pt x="98" y="2668"/>
                  </a:lnTo>
                  <a:lnTo>
                    <a:pt x="88" y="2676"/>
                  </a:lnTo>
                  <a:lnTo>
                    <a:pt x="79" y="2684"/>
                  </a:lnTo>
                  <a:lnTo>
                    <a:pt x="71" y="2693"/>
                  </a:lnTo>
                  <a:lnTo>
                    <a:pt x="61" y="2702"/>
                  </a:lnTo>
                  <a:lnTo>
                    <a:pt x="54" y="2711"/>
                  </a:lnTo>
                  <a:lnTo>
                    <a:pt x="46" y="2722"/>
                  </a:lnTo>
                  <a:lnTo>
                    <a:pt x="40" y="2732"/>
                  </a:lnTo>
                  <a:lnTo>
                    <a:pt x="33" y="2742"/>
                  </a:lnTo>
                  <a:lnTo>
                    <a:pt x="28" y="2753"/>
                  </a:lnTo>
                  <a:lnTo>
                    <a:pt x="22" y="2763"/>
                  </a:lnTo>
                  <a:lnTo>
                    <a:pt x="18" y="2775"/>
                  </a:lnTo>
                  <a:lnTo>
                    <a:pt x="13" y="2786"/>
                  </a:lnTo>
                  <a:lnTo>
                    <a:pt x="10" y="2797"/>
                  </a:lnTo>
                  <a:lnTo>
                    <a:pt x="7" y="2809"/>
                  </a:lnTo>
                  <a:lnTo>
                    <a:pt x="4" y="2821"/>
                  </a:lnTo>
                  <a:lnTo>
                    <a:pt x="2" y="2832"/>
                  </a:lnTo>
                  <a:lnTo>
                    <a:pt x="1" y="2844"/>
                  </a:lnTo>
                  <a:lnTo>
                    <a:pt x="0" y="2857"/>
                  </a:lnTo>
                  <a:lnTo>
                    <a:pt x="0" y="2869"/>
                  </a:lnTo>
                  <a:lnTo>
                    <a:pt x="0" y="2882"/>
                  </a:lnTo>
                  <a:lnTo>
                    <a:pt x="1" y="2894"/>
                  </a:lnTo>
                  <a:lnTo>
                    <a:pt x="3" y="2906"/>
                  </a:lnTo>
                  <a:lnTo>
                    <a:pt x="5" y="2919"/>
                  </a:lnTo>
                  <a:lnTo>
                    <a:pt x="8" y="2931"/>
                  </a:lnTo>
                  <a:lnTo>
                    <a:pt x="11" y="2943"/>
                  </a:lnTo>
                  <a:lnTo>
                    <a:pt x="15" y="2955"/>
                  </a:lnTo>
                  <a:lnTo>
                    <a:pt x="20" y="2967"/>
                  </a:lnTo>
                  <a:lnTo>
                    <a:pt x="25" y="2979"/>
                  </a:lnTo>
                  <a:lnTo>
                    <a:pt x="31" y="2990"/>
                  </a:lnTo>
                  <a:lnTo>
                    <a:pt x="38" y="3001"/>
                  </a:lnTo>
                  <a:lnTo>
                    <a:pt x="45" y="3011"/>
                  </a:lnTo>
                  <a:lnTo>
                    <a:pt x="52" y="3021"/>
                  </a:lnTo>
                  <a:lnTo>
                    <a:pt x="60" y="3031"/>
                  </a:lnTo>
                  <a:lnTo>
                    <a:pt x="69" y="3040"/>
                  </a:lnTo>
                  <a:lnTo>
                    <a:pt x="77" y="3049"/>
                  </a:lnTo>
                  <a:lnTo>
                    <a:pt x="86" y="3058"/>
                  </a:lnTo>
                  <a:lnTo>
                    <a:pt x="96" y="3066"/>
                  </a:lnTo>
                  <a:lnTo>
                    <a:pt x="105" y="3073"/>
                  </a:lnTo>
                  <a:lnTo>
                    <a:pt x="115" y="3080"/>
                  </a:lnTo>
                  <a:lnTo>
                    <a:pt x="126" y="3086"/>
                  </a:lnTo>
                  <a:lnTo>
                    <a:pt x="136" y="3092"/>
                  </a:lnTo>
                  <a:lnTo>
                    <a:pt x="147" y="3097"/>
                  </a:lnTo>
                  <a:lnTo>
                    <a:pt x="158" y="3101"/>
                  </a:lnTo>
                  <a:lnTo>
                    <a:pt x="169" y="3106"/>
                  </a:lnTo>
                  <a:lnTo>
                    <a:pt x="181" y="3109"/>
                  </a:lnTo>
                  <a:lnTo>
                    <a:pt x="192" y="3112"/>
                  </a:lnTo>
                  <a:lnTo>
                    <a:pt x="204" y="3115"/>
                  </a:lnTo>
                  <a:lnTo>
                    <a:pt x="216" y="3117"/>
                  </a:lnTo>
                  <a:lnTo>
                    <a:pt x="228" y="3118"/>
                  </a:lnTo>
                  <a:lnTo>
                    <a:pt x="241" y="3119"/>
                  </a:lnTo>
                  <a:lnTo>
                    <a:pt x="253" y="3119"/>
                  </a:lnTo>
                  <a:lnTo>
                    <a:pt x="265" y="3119"/>
                  </a:lnTo>
                  <a:lnTo>
                    <a:pt x="278" y="3118"/>
                  </a:lnTo>
                  <a:lnTo>
                    <a:pt x="290" y="3117"/>
                  </a:lnTo>
                  <a:lnTo>
                    <a:pt x="302" y="3114"/>
                  </a:lnTo>
                  <a:lnTo>
                    <a:pt x="314" y="3112"/>
                  </a:lnTo>
                  <a:lnTo>
                    <a:pt x="326" y="3108"/>
                  </a:lnTo>
                  <a:lnTo>
                    <a:pt x="338" y="3104"/>
                  </a:lnTo>
                  <a:lnTo>
                    <a:pt x="350" y="3099"/>
                  </a:lnTo>
                  <a:lnTo>
                    <a:pt x="357" y="3094"/>
                  </a:lnTo>
                  <a:lnTo>
                    <a:pt x="363" y="3089"/>
                  </a:lnTo>
                  <a:lnTo>
                    <a:pt x="474" y="3040"/>
                  </a:lnTo>
                  <a:lnTo>
                    <a:pt x="582" y="2988"/>
                  </a:lnTo>
                  <a:lnTo>
                    <a:pt x="689" y="2935"/>
                  </a:lnTo>
                  <a:lnTo>
                    <a:pt x="796" y="2877"/>
                  </a:lnTo>
                  <a:lnTo>
                    <a:pt x="900" y="2819"/>
                  </a:lnTo>
                  <a:lnTo>
                    <a:pt x="1004" y="2757"/>
                  </a:lnTo>
                  <a:lnTo>
                    <a:pt x="1106" y="2693"/>
                  </a:lnTo>
                  <a:lnTo>
                    <a:pt x="1206" y="2626"/>
                  </a:lnTo>
                  <a:lnTo>
                    <a:pt x="1305" y="2558"/>
                  </a:lnTo>
                  <a:lnTo>
                    <a:pt x="1402" y="2486"/>
                  </a:lnTo>
                  <a:lnTo>
                    <a:pt x="1498" y="2412"/>
                  </a:lnTo>
                  <a:lnTo>
                    <a:pt x="1593" y="2336"/>
                  </a:lnTo>
                  <a:lnTo>
                    <a:pt x="1684" y="2257"/>
                  </a:lnTo>
                  <a:lnTo>
                    <a:pt x="1775" y="2176"/>
                  </a:lnTo>
                  <a:lnTo>
                    <a:pt x="1863" y="2093"/>
                  </a:lnTo>
                  <a:lnTo>
                    <a:pt x="1951" y="2007"/>
                  </a:lnTo>
                  <a:lnTo>
                    <a:pt x="2035" y="1920"/>
                  </a:lnTo>
                  <a:lnTo>
                    <a:pt x="2118" y="1829"/>
                  </a:lnTo>
                  <a:lnTo>
                    <a:pt x="2199" y="1738"/>
                  </a:lnTo>
                  <a:lnTo>
                    <a:pt x="2278" y="1643"/>
                  </a:lnTo>
                  <a:lnTo>
                    <a:pt x="2354" y="1547"/>
                  </a:lnTo>
                  <a:lnTo>
                    <a:pt x="2428" y="1448"/>
                  </a:lnTo>
                  <a:lnTo>
                    <a:pt x="2500" y="1346"/>
                  </a:lnTo>
                  <a:lnTo>
                    <a:pt x="2570" y="1244"/>
                  </a:lnTo>
                  <a:lnTo>
                    <a:pt x="2638" y="1138"/>
                  </a:lnTo>
                  <a:lnTo>
                    <a:pt x="2702" y="1032"/>
                  </a:lnTo>
                  <a:lnTo>
                    <a:pt x="2764" y="922"/>
                  </a:lnTo>
                  <a:lnTo>
                    <a:pt x="2825" y="810"/>
                  </a:lnTo>
                  <a:lnTo>
                    <a:pt x="2882" y="698"/>
                  </a:lnTo>
                  <a:lnTo>
                    <a:pt x="2937" y="582"/>
                  </a:lnTo>
                  <a:lnTo>
                    <a:pt x="2989" y="465"/>
                  </a:lnTo>
                  <a:lnTo>
                    <a:pt x="3039" y="346"/>
                  </a:lnTo>
                  <a:lnTo>
                    <a:pt x="3043" y="333"/>
                  </a:lnTo>
                  <a:lnTo>
                    <a:pt x="3047" y="321"/>
                  </a:lnTo>
                  <a:lnTo>
                    <a:pt x="3050" y="309"/>
                  </a:lnTo>
                  <a:lnTo>
                    <a:pt x="3053" y="297"/>
                  </a:lnTo>
                  <a:lnTo>
                    <a:pt x="3055" y="284"/>
                  </a:lnTo>
                  <a:lnTo>
                    <a:pt x="3056" y="272"/>
                  </a:lnTo>
                  <a:lnTo>
                    <a:pt x="3057" y="260"/>
                  </a:lnTo>
                  <a:lnTo>
                    <a:pt x="3057" y="248"/>
                  </a:lnTo>
                  <a:lnTo>
                    <a:pt x="3056" y="236"/>
                  </a:lnTo>
                  <a:lnTo>
                    <a:pt x="3055" y="223"/>
                  </a:lnTo>
                  <a:lnTo>
                    <a:pt x="3053" y="212"/>
                  </a:lnTo>
                  <a:lnTo>
                    <a:pt x="3051" y="200"/>
                  </a:lnTo>
                  <a:lnTo>
                    <a:pt x="3048" y="188"/>
                  </a:lnTo>
                  <a:lnTo>
                    <a:pt x="3045" y="176"/>
                  </a:lnTo>
                  <a:lnTo>
                    <a:pt x="3041" y="164"/>
                  </a:lnTo>
                  <a:lnTo>
                    <a:pt x="3036" y="153"/>
                  </a:lnTo>
                  <a:lnTo>
                    <a:pt x="3031" y="142"/>
                  </a:lnTo>
                  <a:lnTo>
                    <a:pt x="3026" y="131"/>
                  </a:lnTo>
                  <a:lnTo>
                    <a:pt x="3020" y="121"/>
                  </a:lnTo>
                  <a:lnTo>
                    <a:pt x="3013" y="111"/>
                  </a:lnTo>
                  <a:lnTo>
                    <a:pt x="3006" y="101"/>
                  </a:lnTo>
                  <a:lnTo>
                    <a:pt x="2999" y="92"/>
                  </a:lnTo>
                  <a:lnTo>
                    <a:pt x="2991" y="83"/>
                  </a:lnTo>
                  <a:lnTo>
                    <a:pt x="2983" y="74"/>
                  </a:lnTo>
                  <a:lnTo>
                    <a:pt x="2974" y="65"/>
                  </a:lnTo>
                  <a:lnTo>
                    <a:pt x="2964" y="57"/>
                  </a:lnTo>
                  <a:lnTo>
                    <a:pt x="2955" y="50"/>
                  </a:lnTo>
                  <a:lnTo>
                    <a:pt x="2943" y="43"/>
                  </a:lnTo>
                  <a:lnTo>
                    <a:pt x="2933" y="36"/>
                  </a:lnTo>
                  <a:lnTo>
                    <a:pt x="2922" y="30"/>
                  </a:lnTo>
                  <a:lnTo>
                    <a:pt x="2910" y="24"/>
                  </a:lnTo>
                  <a:lnTo>
                    <a:pt x="2899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52" name="îṩḻîḓe">
              <a:extLst>
                <a:ext uri="{FF2B5EF4-FFF2-40B4-BE49-F238E27FC236}">
                  <a16:creationId xmlns:a16="http://schemas.microsoft.com/office/drawing/2014/main" id="{67A3DB24-7982-461F-82FB-CF3ED41372FA}"/>
                </a:ext>
              </a:extLst>
            </p:cNvPr>
            <p:cNvSpPr/>
            <p:nvPr/>
          </p:nvSpPr>
          <p:spPr bwMode="auto">
            <a:xfrm>
              <a:off x="3817579" y="2550696"/>
              <a:ext cx="57270" cy="58112"/>
            </a:xfrm>
            <a:custGeom>
              <a:avLst/>
              <a:gdLst>
                <a:gd name="T0" fmla="*/ 2482 w 2520"/>
                <a:gd name="T1" fmla="*/ 117 h 2567"/>
                <a:gd name="T2" fmla="*/ 2452 w 2520"/>
                <a:gd name="T3" fmla="*/ 78 h 2567"/>
                <a:gd name="T4" fmla="*/ 2415 w 2520"/>
                <a:gd name="T5" fmla="*/ 46 h 2567"/>
                <a:gd name="T6" fmla="*/ 2373 w 2520"/>
                <a:gd name="T7" fmla="*/ 22 h 2567"/>
                <a:gd name="T8" fmla="*/ 2327 w 2520"/>
                <a:gd name="T9" fmla="*/ 6 h 2567"/>
                <a:gd name="T10" fmla="*/ 2280 w 2520"/>
                <a:gd name="T11" fmla="*/ 0 h 2567"/>
                <a:gd name="T12" fmla="*/ 2231 w 2520"/>
                <a:gd name="T13" fmla="*/ 3 h 2567"/>
                <a:gd name="T14" fmla="*/ 2181 w 2520"/>
                <a:gd name="T15" fmla="*/ 15 h 2567"/>
                <a:gd name="T16" fmla="*/ 2072 w 2520"/>
                <a:gd name="T17" fmla="*/ 66 h 2567"/>
                <a:gd name="T18" fmla="*/ 1730 w 2520"/>
                <a:gd name="T19" fmla="*/ 243 h 2567"/>
                <a:gd name="T20" fmla="*/ 1406 w 2520"/>
                <a:gd name="T21" fmla="*/ 453 h 2567"/>
                <a:gd name="T22" fmla="*/ 1102 w 2520"/>
                <a:gd name="T23" fmla="*/ 693 h 2567"/>
                <a:gd name="T24" fmla="*/ 822 w 2520"/>
                <a:gd name="T25" fmla="*/ 963 h 2567"/>
                <a:gd name="T26" fmla="*/ 567 w 2520"/>
                <a:gd name="T27" fmla="*/ 1262 h 2567"/>
                <a:gd name="T28" fmla="*/ 340 w 2520"/>
                <a:gd name="T29" fmla="*/ 1588 h 2567"/>
                <a:gd name="T30" fmla="*/ 144 w 2520"/>
                <a:gd name="T31" fmla="*/ 1941 h 2567"/>
                <a:gd name="T32" fmla="*/ 18 w 2520"/>
                <a:gd name="T33" fmla="*/ 2222 h 2567"/>
                <a:gd name="T34" fmla="*/ 4 w 2520"/>
                <a:gd name="T35" fmla="*/ 2271 h 2567"/>
                <a:gd name="T36" fmla="*/ 0 w 2520"/>
                <a:gd name="T37" fmla="*/ 2320 h 2567"/>
                <a:gd name="T38" fmla="*/ 5 w 2520"/>
                <a:gd name="T39" fmla="*/ 2369 h 2567"/>
                <a:gd name="T40" fmla="*/ 20 w 2520"/>
                <a:gd name="T41" fmla="*/ 2415 h 2567"/>
                <a:gd name="T42" fmla="*/ 44 w 2520"/>
                <a:gd name="T43" fmla="*/ 2457 h 2567"/>
                <a:gd name="T44" fmla="*/ 75 w 2520"/>
                <a:gd name="T45" fmla="*/ 2494 h 2567"/>
                <a:gd name="T46" fmla="*/ 113 w 2520"/>
                <a:gd name="T47" fmla="*/ 2525 h 2567"/>
                <a:gd name="T48" fmla="*/ 158 w 2520"/>
                <a:gd name="T49" fmla="*/ 2549 h 2567"/>
                <a:gd name="T50" fmla="*/ 208 w 2520"/>
                <a:gd name="T51" fmla="*/ 2563 h 2567"/>
                <a:gd name="T52" fmla="*/ 257 w 2520"/>
                <a:gd name="T53" fmla="*/ 2567 h 2567"/>
                <a:gd name="T54" fmla="*/ 305 w 2520"/>
                <a:gd name="T55" fmla="*/ 2561 h 2567"/>
                <a:gd name="T56" fmla="*/ 351 w 2520"/>
                <a:gd name="T57" fmla="*/ 2547 h 2567"/>
                <a:gd name="T58" fmla="*/ 394 w 2520"/>
                <a:gd name="T59" fmla="*/ 2523 h 2567"/>
                <a:gd name="T60" fmla="*/ 431 w 2520"/>
                <a:gd name="T61" fmla="*/ 2492 h 2567"/>
                <a:gd name="T62" fmla="*/ 462 w 2520"/>
                <a:gd name="T63" fmla="*/ 2454 h 2567"/>
                <a:gd name="T64" fmla="*/ 485 w 2520"/>
                <a:gd name="T65" fmla="*/ 2409 h 2567"/>
                <a:gd name="T66" fmla="*/ 596 w 2520"/>
                <a:gd name="T67" fmla="*/ 2161 h 2567"/>
                <a:gd name="T68" fmla="*/ 768 w 2520"/>
                <a:gd name="T69" fmla="*/ 1850 h 2567"/>
                <a:gd name="T70" fmla="*/ 968 w 2520"/>
                <a:gd name="T71" fmla="*/ 1564 h 2567"/>
                <a:gd name="T72" fmla="*/ 1192 w 2520"/>
                <a:gd name="T73" fmla="*/ 1301 h 2567"/>
                <a:gd name="T74" fmla="*/ 1439 w 2520"/>
                <a:gd name="T75" fmla="*/ 1065 h 2567"/>
                <a:gd name="T76" fmla="*/ 1705 w 2520"/>
                <a:gd name="T77" fmla="*/ 854 h 2567"/>
                <a:gd name="T78" fmla="*/ 1990 w 2520"/>
                <a:gd name="T79" fmla="*/ 671 h 2567"/>
                <a:gd name="T80" fmla="*/ 2291 w 2520"/>
                <a:gd name="T81" fmla="*/ 516 h 2567"/>
                <a:gd name="T82" fmla="*/ 2402 w 2520"/>
                <a:gd name="T83" fmla="*/ 464 h 2567"/>
                <a:gd name="T84" fmla="*/ 2441 w 2520"/>
                <a:gd name="T85" fmla="*/ 434 h 2567"/>
                <a:gd name="T86" fmla="*/ 2473 w 2520"/>
                <a:gd name="T87" fmla="*/ 397 h 2567"/>
                <a:gd name="T88" fmla="*/ 2497 w 2520"/>
                <a:gd name="T89" fmla="*/ 356 h 2567"/>
                <a:gd name="T90" fmla="*/ 2513 w 2520"/>
                <a:gd name="T91" fmla="*/ 309 h 2567"/>
                <a:gd name="T92" fmla="*/ 2520 w 2520"/>
                <a:gd name="T93" fmla="*/ 262 h 2567"/>
                <a:gd name="T94" fmla="*/ 2517 w 2520"/>
                <a:gd name="T95" fmla="*/ 213 h 2567"/>
                <a:gd name="T96" fmla="*/ 2505 w 2520"/>
                <a:gd name="T97" fmla="*/ 164 h 2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20" h="2567">
                  <a:moveTo>
                    <a:pt x="2500" y="151"/>
                  </a:moveTo>
                  <a:lnTo>
                    <a:pt x="2494" y="139"/>
                  </a:lnTo>
                  <a:lnTo>
                    <a:pt x="2489" y="128"/>
                  </a:lnTo>
                  <a:lnTo>
                    <a:pt x="2482" y="117"/>
                  </a:lnTo>
                  <a:lnTo>
                    <a:pt x="2475" y="107"/>
                  </a:lnTo>
                  <a:lnTo>
                    <a:pt x="2468" y="97"/>
                  </a:lnTo>
                  <a:lnTo>
                    <a:pt x="2460" y="87"/>
                  </a:lnTo>
                  <a:lnTo>
                    <a:pt x="2452" y="78"/>
                  </a:lnTo>
                  <a:lnTo>
                    <a:pt x="2443" y="69"/>
                  </a:lnTo>
                  <a:lnTo>
                    <a:pt x="2434" y="61"/>
                  </a:lnTo>
                  <a:lnTo>
                    <a:pt x="2425" y="53"/>
                  </a:lnTo>
                  <a:lnTo>
                    <a:pt x="2415" y="46"/>
                  </a:lnTo>
                  <a:lnTo>
                    <a:pt x="2405" y="39"/>
                  </a:lnTo>
                  <a:lnTo>
                    <a:pt x="2394" y="33"/>
                  </a:lnTo>
                  <a:lnTo>
                    <a:pt x="2384" y="27"/>
                  </a:lnTo>
                  <a:lnTo>
                    <a:pt x="2373" y="22"/>
                  </a:lnTo>
                  <a:lnTo>
                    <a:pt x="2362" y="17"/>
                  </a:lnTo>
                  <a:lnTo>
                    <a:pt x="2351" y="13"/>
                  </a:lnTo>
                  <a:lnTo>
                    <a:pt x="2339" y="10"/>
                  </a:lnTo>
                  <a:lnTo>
                    <a:pt x="2327" y="6"/>
                  </a:lnTo>
                  <a:lnTo>
                    <a:pt x="2316" y="4"/>
                  </a:lnTo>
                  <a:lnTo>
                    <a:pt x="2304" y="2"/>
                  </a:lnTo>
                  <a:lnTo>
                    <a:pt x="2292" y="1"/>
                  </a:lnTo>
                  <a:lnTo>
                    <a:pt x="2280" y="0"/>
                  </a:lnTo>
                  <a:lnTo>
                    <a:pt x="2268" y="0"/>
                  </a:lnTo>
                  <a:lnTo>
                    <a:pt x="2255" y="0"/>
                  </a:lnTo>
                  <a:lnTo>
                    <a:pt x="2243" y="1"/>
                  </a:lnTo>
                  <a:lnTo>
                    <a:pt x="2231" y="3"/>
                  </a:lnTo>
                  <a:lnTo>
                    <a:pt x="2218" y="5"/>
                  </a:lnTo>
                  <a:lnTo>
                    <a:pt x="2206" y="8"/>
                  </a:lnTo>
                  <a:lnTo>
                    <a:pt x="2193" y="11"/>
                  </a:lnTo>
                  <a:lnTo>
                    <a:pt x="2181" y="15"/>
                  </a:lnTo>
                  <a:lnTo>
                    <a:pt x="2169" y="20"/>
                  </a:lnTo>
                  <a:lnTo>
                    <a:pt x="2164" y="24"/>
                  </a:lnTo>
                  <a:lnTo>
                    <a:pt x="2159" y="27"/>
                  </a:lnTo>
                  <a:lnTo>
                    <a:pt x="2072" y="66"/>
                  </a:lnTo>
                  <a:lnTo>
                    <a:pt x="1984" y="107"/>
                  </a:lnTo>
                  <a:lnTo>
                    <a:pt x="1899" y="150"/>
                  </a:lnTo>
                  <a:lnTo>
                    <a:pt x="1813" y="196"/>
                  </a:lnTo>
                  <a:lnTo>
                    <a:pt x="1730" y="243"/>
                  </a:lnTo>
                  <a:lnTo>
                    <a:pt x="1647" y="292"/>
                  </a:lnTo>
                  <a:lnTo>
                    <a:pt x="1566" y="345"/>
                  </a:lnTo>
                  <a:lnTo>
                    <a:pt x="1485" y="398"/>
                  </a:lnTo>
                  <a:lnTo>
                    <a:pt x="1406" y="453"/>
                  </a:lnTo>
                  <a:lnTo>
                    <a:pt x="1328" y="510"/>
                  </a:lnTo>
                  <a:lnTo>
                    <a:pt x="1252" y="569"/>
                  </a:lnTo>
                  <a:lnTo>
                    <a:pt x="1176" y="630"/>
                  </a:lnTo>
                  <a:lnTo>
                    <a:pt x="1102" y="693"/>
                  </a:lnTo>
                  <a:lnTo>
                    <a:pt x="1029" y="758"/>
                  </a:lnTo>
                  <a:lnTo>
                    <a:pt x="959" y="824"/>
                  </a:lnTo>
                  <a:lnTo>
                    <a:pt x="890" y="893"/>
                  </a:lnTo>
                  <a:lnTo>
                    <a:pt x="822" y="963"/>
                  </a:lnTo>
                  <a:lnTo>
                    <a:pt x="756" y="1036"/>
                  </a:lnTo>
                  <a:lnTo>
                    <a:pt x="690" y="1109"/>
                  </a:lnTo>
                  <a:lnTo>
                    <a:pt x="628" y="1185"/>
                  </a:lnTo>
                  <a:lnTo>
                    <a:pt x="567" y="1262"/>
                  </a:lnTo>
                  <a:lnTo>
                    <a:pt x="507" y="1340"/>
                  </a:lnTo>
                  <a:lnTo>
                    <a:pt x="450" y="1422"/>
                  </a:lnTo>
                  <a:lnTo>
                    <a:pt x="394" y="1504"/>
                  </a:lnTo>
                  <a:lnTo>
                    <a:pt x="340" y="1588"/>
                  </a:lnTo>
                  <a:lnTo>
                    <a:pt x="288" y="1673"/>
                  </a:lnTo>
                  <a:lnTo>
                    <a:pt x="238" y="1761"/>
                  </a:lnTo>
                  <a:lnTo>
                    <a:pt x="189" y="1850"/>
                  </a:lnTo>
                  <a:lnTo>
                    <a:pt x="144" y="1941"/>
                  </a:lnTo>
                  <a:lnTo>
                    <a:pt x="100" y="2034"/>
                  </a:lnTo>
                  <a:lnTo>
                    <a:pt x="58" y="2127"/>
                  </a:lnTo>
                  <a:lnTo>
                    <a:pt x="18" y="2222"/>
                  </a:lnTo>
                  <a:lnTo>
                    <a:pt x="18" y="2222"/>
                  </a:lnTo>
                  <a:lnTo>
                    <a:pt x="13" y="2235"/>
                  </a:lnTo>
                  <a:lnTo>
                    <a:pt x="9" y="2247"/>
                  </a:lnTo>
                  <a:lnTo>
                    <a:pt x="6" y="2259"/>
                  </a:lnTo>
                  <a:lnTo>
                    <a:pt x="4" y="2271"/>
                  </a:lnTo>
                  <a:lnTo>
                    <a:pt x="2" y="2283"/>
                  </a:lnTo>
                  <a:lnTo>
                    <a:pt x="1" y="2296"/>
                  </a:lnTo>
                  <a:lnTo>
                    <a:pt x="0" y="2308"/>
                  </a:lnTo>
                  <a:lnTo>
                    <a:pt x="0" y="2320"/>
                  </a:lnTo>
                  <a:lnTo>
                    <a:pt x="0" y="2332"/>
                  </a:lnTo>
                  <a:lnTo>
                    <a:pt x="1" y="2344"/>
                  </a:lnTo>
                  <a:lnTo>
                    <a:pt x="3" y="2356"/>
                  </a:lnTo>
                  <a:lnTo>
                    <a:pt x="5" y="2369"/>
                  </a:lnTo>
                  <a:lnTo>
                    <a:pt x="8" y="2381"/>
                  </a:lnTo>
                  <a:lnTo>
                    <a:pt x="12" y="2392"/>
                  </a:lnTo>
                  <a:lnTo>
                    <a:pt x="16" y="2404"/>
                  </a:lnTo>
                  <a:lnTo>
                    <a:pt x="20" y="2415"/>
                  </a:lnTo>
                  <a:lnTo>
                    <a:pt x="26" y="2426"/>
                  </a:lnTo>
                  <a:lnTo>
                    <a:pt x="31" y="2436"/>
                  </a:lnTo>
                  <a:lnTo>
                    <a:pt x="37" y="2447"/>
                  </a:lnTo>
                  <a:lnTo>
                    <a:pt x="44" y="2457"/>
                  </a:lnTo>
                  <a:lnTo>
                    <a:pt x="51" y="2467"/>
                  </a:lnTo>
                  <a:lnTo>
                    <a:pt x="58" y="2476"/>
                  </a:lnTo>
                  <a:lnTo>
                    <a:pt x="66" y="2485"/>
                  </a:lnTo>
                  <a:lnTo>
                    <a:pt x="75" y="2494"/>
                  </a:lnTo>
                  <a:lnTo>
                    <a:pt x="84" y="2502"/>
                  </a:lnTo>
                  <a:lnTo>
                    <a:pt x="93" y="2510"/>
                  </a:lnTo>
                  <a:lnTo>
                    <a:pt x="103" y="2518"/>
                  </a:lnTo>
                  <a:lnTo>
                    <a:pt x="113" y="2525"/>
                  </a:lnTo>
                  <a:lnTo>
                    <a:pt x="124" y="2533"/>
                  </a:lnTo>
                  <a:lnTo>
                    <a:pt x="135" y="2539"/>
                  </a:lnTo>
                  <a:lnTo>
                    <a:pt x="146" y="2544"/>
                  </a:lnTo>
                  <a:lnTo>
                    <a:pt x="158" y="2549"/>
                  </a:lnTo>
                  <a:lnTo>
                    <a:pt x="170" y="2554"/>
                  </a:lnTo>
                  <a:lnTo>
                    <a:pt x="182" y="2558"/>
                  </a:lnTo>
                  <a:lnTo>
                    <a:pt x="194" y="2561"/>
                  </a:lnTo>
                  <a:lnTo>
                    <a:pt x="208" y="2563"/>
                  </a:lnTo>
                  <a:lnTo>
                    <a:pt x="220" y="2565"/>
                  </a:lnTo>
                  <a:lnTo>
                    <a:pt x="232" y="2566"/>
                  </a:lnTo>
                  <a:lnTo>
                    <a:pt x="245" y="2567"/>
                  </a:lnTo>
                  <a:lnTo>
                    <a:pt x="257" y="2567"/>
                  </a:lnTo>
                  <a:lnTo>
                    <a:pt x="269" y="2567"/>
                  </a:lnTo>
                  <a:lnTo>
                    <a:pt x="281" y="2565"/>
                  </a:lnTo>
                  <a:lnTo>
                    <a:pt x="293" y="2564"/>
                  </a:lnTo>
                  <a:lnTo>
                    <a:pt x="305" y="2561"/>
                  </a:lnTo>
                  <a:lnTo>
                    <a:pt x="316" y="2559"/>
                  </a:lnTo>
                  <a:lnTo>
                    <a:pt x="328" y="2555"/>
                  </a:lnTo>
                  <a:lnTo>
                    <a:pt x="339" y="2551"/>
                  </a:lnTo>
                  <a:lnTo>
                    <a:pt x="351" y="2547"/>
                  </a:lnTo>
                  <a:lnTo>
                    <a:pt x="361" y="2542"/>
                  </a:lnTo>
                  <a:lnTo>
                    <a:pt x="373" y="2536"/>
                  </a:lnTo>
                  <a:lnTo>
                    <a:pt x="383" y="2529"/>
                  </a:lnTo>
                  <a:lnTo>
                    <a:pt x="394" y="2523"/>
                  </a:lnTo>
                  <a:lnTo>
                    <a:pt x="403" y="2516"/>
                  </a:lnTo>
                  <a:lnTo>
                    <a:pt x="413" y="2508"/>
                  </a:lnTo>
                  <a:lnTo>
                    <a:pt x="422" y="2500"/>
                  </a:lnTo>
                  <a:lnTo>
                    <a:pt x="431" y="2492"/>
                  </a:lnTo>
                  <a:lnTo>
                    <a:pt x="439" y="2483"/>
                  </a:lnTo>
                  <a:lnTo>
                    <a:pt x="447" y="2474"/>
                  </a:lnTo>
                  <a:lnTo>
                    <a:pt x="455" y="2464"/>
                  </a:lnTo>
                  <a:lnTo>
                    <a:pt x="462" y="2454"/>
                  </a:lnTo>
                  <a:lnTo>
                    <a:pt x="468" y="2443"/>
                  </a:lnTo>
                  <a:lnTo>
                    <a:pt x="474" y="2432"/>
                  </a:lnTo>
                  <a:lnTo>
                    <a:pt x="480" y="2421"/>
                  </a:lnTo>
                  <a:lnTo>
                    <a:pt x="485" y="2409"/>
                  </a:lnTo>
                  <a:lnTo>
                    <a:pt x="485" y="2409"/>
                  </a:lnTo>
                  <a:lnTo>
                    <a:pt x="520" y="2324"/>
                  </a:lnTo>
                  <a:lnTo>
                    <a:pt x="558" y="2242"/>
                  </a:lnTo>
                  <a:lnTo>
                    <a:pt x="596" y="2161"/>
                  </a:lnTo>
                  <a:lnTo>
                    <a:pt x="636" y="2082"/>
                  </a:lnTo>
                  <a:lnTo>
                    <a:pt x="678" y="2003"/>
                  </a:lnTo>
                  <a:lnTo>
                    <a:pt x="723" y="1926"/>
                  </a:lnTo>
                  <a:lnTo>
                    <a:pt x="768" y="1850"/>
                  </a:lnTo>
                  <a:lnTo>
                    <a:pt x="815" y="1777"/>
                  </a:lnTo>
                  <a:lnTo>
                    <a:pt x="864" y="1705"/>
                  </a:lnTo>
                  <a:lnTo>
                    <a:pt x="916" y="1633"/>
                  </a:lnTo>
                  <a:lnTo>
                    <a:pt x="968" y="1564"/>
                  </a:lnTo>
                  <a:lnTo>
                    <a:pt x="1021" y="1496"/>
                  </a:lnTo>
                  <a:lnTo>
                    <a:pt x="1077" y="1430"/>
                  </a:lnTo>
                  <a:lnTo>
                    <a:pt x="1134" y="1365"/>
                  </a:lnTo>
                  <a:lnTo>
                    <a:pt x="1192" y="1301"/>
                  </a:lnTo>
                  <a:lnTo>
                    <a:pt x="1252" y="1240"/>
                  </a:lnTo>
                  <a:lnTo>
                    <a:pt x="1313" y="1180"/>
                  </a:lnTo>
                  <a:lnTo>
                    <a:pt x="1375" y="1121"/>
                  </a:lnTo>
                  <a:lnTo>
                    <a:pt x="1439" y="1065"/>
                  </a:lnTo>
                  <a:lnTo>
                    <a:pt x="1503" y="1010"/>
                  </a:lnTo>
                  <a:lnTo>
                    <a:pt x="1570" y="956"/>
                  </a:lnTo>
                  <a:lnTo>
                    <a:pt x="1637" y="904"/>
                  </a:lnTo>
                  <a:lnTo>
                    <a:pt x="1705" y="854"/>
                  </a:lnTo>
                  <a:lnTo>
                    <a:pt x="1775" y="805"/>
                  </a:lnTo>
                  <a:lnTo>
                    <a:pt x="1846" y="759"/>
                  </a:lnTo>
                  <a:lnTo>
                    <a:pt x="1918" y="714"/>
                  </a:lnTo>
                  <a:lnTo>
                    <a:pt x="1990" y="671"/>
                  </a:lnTo>
                  <a:lnTo>
                    <a:pt x="2064" y="629"/>
                  </a:lnTo>
                  <a:lnTo>
                    <a:pt x="2139" y="590"/>
                  </a:lnTo>
                  <a:lnTo>
                    <a:pt x="2214" y="552"/>
                  </a:lnTo>
                  <a:lnTo>
                    <a:pt x="2291" y="516"/>
                  </a:lnTo>
                  <a:lnTo>
                    <a:pt x="2367" y="481"/>
                  </a:lnTo>
                  <a:lnTo>
                    <a:pt x="2379" y="476"/>
                  </a:lnTo>
                  <a:lnTo>
                    <a:pt x="2390" y="470"/>
                  </a:lnTo>
                  <a:lnTo>
                    <a:pt x="2402" y="464"/>
                  </a:lnTo>
                  <a:lnTo>
                    <a:pt x="2413" y="457"/>
                  </a:lnTo>
                  <a:lnTo>
                    <a:pt x="2423" y="450"/>
                  </a:lnTo>
                  <a:lnTo>
                    <a:pt x="2432" y="442"/>
                  </a:lnTo>
                  <a:lnTo>
                    <a:pt x="2441" y="434"/>
                  </a:lnTo>
                  <a:lnTo>
                    <a:pt x="2450" y="425"/>
                  </a:lnTo>
                  <a:lnTo>
                    <a:pt x="2458" y="416"/>
                  </a:lnTo>
                  <a:lnTo>
                    <a:pt x="2466" y="407"/>
                  </a:lnTo>
                  <a:lnTo>
                    <a:pt x="2473" y="397"/>
                  </a:lnTo>
                  <a:lnTo>
                    <a:pt x="2480" y="387"/>
                  </a:lnTo>
                  <a:lnTo>
                    <a:pt x="2486" y="377"/>
                  </a:lnTo>
                  <a:lnTo>
                    <a:pt x="2492" y="366"/>
                  </a:lnTo>
                  <a:lnTo>
                    <a:pt x="2497" y="356"/>
                  </a:lnTo>
                  <a:lnTo>
                    <a:pt x="2502" y="345"/>
                  </a:lnTo>
                  <a:lnTo>
                    <a:pt x="2506" y="333"/>
                  </a:lnTo>
                  <a:lnTo>
                    <a:pt x="2510" y="321"/>
                  </a:lnTo>
                  <a:lnTo>
                    <a:pt x="2513" y="309"/>
                  </a:lnTo>
                  <a:lnTo>
                    <a:pt x="2515" y="298"/>
                  </a:lnTo>
                  <a:lnTo>
                    <a:pt x="2517" y="286"/>
                  </a:lnTo>
                  <a:lnTo>
                    <a:pt x="2519" y="274"/>
                  </a:lnTo>
                  <a:lnTo>
                    <a:pt x="2520" y="262"/>
                  </a:lnTo>
                  <a:lnTo>
                    <a:pt x="2520" y="249"/>
                  </a:lnTo>
                  <a:lnTo>
                    <a:pt x="2520" y="237"/>
                  </a:lnTo>
                  <a:lnTo>
                    <a:pt x="2519" y="225"/>
                  </a:lnTo>
                  <a:lnTo>
                    <a:pt x="2517" y="213"/>
                  </a:lnTo>
                  <a:lnTo>
                    <a:pt x="2515" y="200"/>
                  </a:lnTo>
                  <a:lnTo>
                    <a:pt x="2512" y="188"/>
                  </a:lnTo>
                  <a:lnTo>
                    <a:pt x="2509" y="176"/>
                  </a:lnTo>
                  <a:lnTo>
                    <a:pt x="2505" y="164"/>
                  </a:lnTo>
                  <a:lnTo>
                    <a:pt x="2500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53" name="íṧlide">
              <a:extLst>
                <a:ext uri="{FF2B5EF4-FFF2-40B4-BE49-F238E27FC236}">
                  <a16:creationId xmlns:a16="http://schemas.microsoft.com/office/drawing/2014/main" id="{D6F95D62-7EF6-4DB5-A699-861930CB6F42}"/>
                </a:ext>
              </a:extLst>
            </p:cNvPr>
            <p:cNvSpPr/>
            <p:nvPr/>
          </p:nvSpPr>
          <p:spPr bwMode="auto">
            <a:xfrm>
              <a:off x="3775468" y="2508586"/>
              <a:ext cx="81693" cy="83378"/>
            </a:xfrm>
            <a:custGeom>
              <a:avLst/>
              <a:gdLst>
                <a:gd name="T0" fmla="*/ 3557 w 3596"/>
                <a:gd name="T1" fmla="*/ 117 h 3668"/>
                <a:gd name="T2" fmla="*/ 3527 w 3596"/>
                <a:gd name="T3" fmla="*/ 78 h 3668"/>
                <a:gd name="T4" fmla="*/ 3490 w 3596"/>
                <a:gd name="T5" fmla="*/ 46 h 3668"/>
                <a:gd name="T6" fmla="*/ 3449 w 3596"/>
                <a:gd name="T7" fmla="*/ 22 h 3668"/>
                <a:gd name="T8" fmla="*/ 3402 w 3596"/>
                <a:gd name="T9" fmla="*/ 7 h 3668"/>
                <a:gd name="T10" fmla="*/ 3355 w 3596"/>
                <a:gd name="T11" fmla="*/ 0 h 3668"/>
                <a:gd name="T12" fmla="*/ 3306 w 3596"/>
                <a:gd name="T13" fmla="*/ 2 h 3668"/>
                <a:gd name="T14" fmla="*/ 3257 w 3596"/>
                <a:gd name="T15" fmla="*/ 15 h 3668"/>
                <a:gd name="T16" fmla="*/ 3098 w 3596"/>
                <a:gd name="T17" fmla="*/ 89 h 3668"/>
                <a:gd name="T18" fmla="*/ 2585 w 3596"/>
                <a:gd name="T19" fmla="*/ 356 h 3668"/>
                <a:gd name="T20" fmla="*/ 2100 w 3596"/>
                <a:gd name="T21" fmla="*/ 670 h 3668"/>
                <a:gd name="T22" fmla="*/ 1644 w 3596"/>
                <a:gd name="T23" fmla="*/ 1030 h 3668"/>
                <a:gd name="T24" fmla="*/ 1224 w 3596"/>
                <a:gd name="T25" fmla="*/ 1434 h 3668"/>
                <a:gd name="T26" fmla="*/ 841 w 3596"/>
                <a:gd name="T27" fmla="*/ 1883 h 3668"/>
                <a:gd name="T28" fmla="*/ 500 w 3596"/>
                <a:gd name="T29" fmla="*/ 2372 h 3668"/>
                <a:gd name="T30" fmla="*/ 207 w 3596"/>
                <a:gd name="T31" fmla="*/ 2901 h 3668"/>
                <a:gd name="T32" fmla="*/ 14 w 3596"/>
                <a:gd name="T33" fmla="*/ 3335 h 3668"/>
                <a:gd name="T34" fmla="*/ 2 w 3596"/>
                <a:gd name="T35" fmla="*/ 3385 h 3668"/>
                <a:gd name="T36" fmla="*/ 1 w 3596"/>
                <a:gd name="T37" fmla="*/ 3434 h 3668"/>
                <a:gd name="T38" fmla="*/ 9 w 3596"/>
                <a:gd name="T39" fmla="*/ 3481 h 3668"/>
                <a:gd name="T40" fmla="*/ 25 w 3596"/>
                <a:gd name="T41" fmla="*/ 3526 h 3668"/>
                <a:gd name="T42" fmla="*/ 52 w 3596"/>
                <a:gd name="T43" fmla="*/ 3568 h 3668"/>
                <a:gd name="T44" fmla="*/ 84 w 3596"/>
                <a:gd name="T45" fmla="*/ 3604 h 3668"/>
                <a:gd name="T46" fmla="*/ 124 w 3596"/>
                <a:gd name="T47" fmla="*/ 3633 h 3668"/>
                <a:gd name="T48" fmla="*/ 171 w 3596"/>
                <a:gd name="T49" fmla="*/ 3655 h 3668"/>
                <a:gd name="T50" fmla="*/ 220 w 3596"/>
                <a:gd name="T51" fmla="*/ 3666 h 3668"/>
                <a:gd name="T52" fmla="*/ 269 w 3596"/>
                <a:gd name="T53" fmla="*/ 3668 h 3668"/>
                <a:gd name="T54" fmla="*/ 316 w 3596"/>
                <a:gd name="T55" fmla="*/ 3660 h 3668"/>
                <a:gd name="T56" fmla="*/ 361 w 3596"/>
                <a:gd name="T57" fmla="*/ 3643 h 3668"/>
                <a:gd name="T58" fmla="*/ 403 w 3596"/>
                <a:gd name="T59" fmla="*/ 3618 h 3668"/>
                <a:gd name="T60" fmla="*/ 439 w 3596"/>
                <a:gd name="T61" fmla="*/ 3586 h 3668"/>
                <a:gd name="T62" fmla="*/ 468 w 3596"/>
                <a:gd name="T63" fmla="*/ 3546 h 3668"/>
                <a:gd name="T64" fmla="*/ 540 w 3596"/>
                <a:gd name="T65" fmla="*/ 3379 h 3668"/>
                <a:gd name="T66" fmla="*/ 788 w 3596"/>
                <a:gd name="T67" fmla="*/ 2873 h 3668"/>
                <a:gd name="T68" fmla="*/ 1081 w 3596"/>
                <a:gd name="T69" fmla="*/ 2404 h 3668"/>
                <a:gd name="T70" fmla="*/ 1415 w 3596"/>
                <a:gd name="T71" fmla="*/ 1971 h 3668"/>
                <a:gd name="T72" fmla="*/ 1785 w 3596"/>
                <a:gd name="T73" fmla="*/ 1579 h 3668"/>
                <a:gd name="T74" fmla="*/ 2189 w 3596"/>
                <a:gd name="T75" fmla="*/ 1227 h 3668"/>
                <a:gd name="T76" fmla="*/ 2623 w 3596"/>
                <a:gd name="T77" fmla="*/ 917 h 3668"/>
                <a:gd name="T78" fmla="*/ 3084 w 3596"/>
                <a:gd name="T79" fmla="*/ 651 h 3668"/>
                <a:gd name="T80" fmla="*/ 3455 w 3596"/>
                <a:gd name="T81" fmla="*/ 476 h 3668"/>
                <a:gd name="T82" fmla="*/ 3498 w 3596"/>
                <a:gd name="T83" fmla="*/ 449 h 3668"/>
                <a:gd name="T84" fmla="*/ 3533 w 3596"/>
                <a:gd name="T85" fmla="*/ 416 h 3668"/>
                <a:gd name="T86" fmla="*/ 3561 w 3596"/>
                <a:gd name="T87" fmla="*/ 377 h 3668"/>
                <a:gd name="T88" fmla="*/ 3581 w 3596"/>
                <a:gd name="T89" fmla="*/ 333 h 3668"/>
                <a:gd name="T90" fmla="*/ 3593 w 3596"/>
                <a:gd name="T91" fmla="*/ 286 h 3668"/>
                <a:gd name="T92" fmla="*/ 3596 w 3596"/>
                <a:gd name="T93" fmla="*/ 237 h 3668"/>
                <a:gd name="T94" fmla="*/ 3588 w 3596"/>
                <a:gd name="T95" fmla="*/ 188 h 3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96" h="3668">
                  <a:moveTo>
                    <a:pt x="3575" y="152"/>
                  </a:moveTo>
                  <a:lnTo>
                    <a:pt x="3569" y="140"/>
                  </a:lnTo>
                  <a:lnTo>
                    <a:pt x="3563" y="128"/>
                  </a:lnTo>
                  <a:lnTo>
                    <a:pt x="3557" y="117"/>
                  </a:lnTo>
                  <a:lnTo>
                    <a:pt x="3550" y="107"/>
                  </a:lnTo>
                  <a:lnTo>
                    <a:pt x="3543" y="97"/>
                  </a:lnTo>
                  <a:lnTo>
                    <a:pt x="3535" y="87"/>
                  </a:lnTo>
                  <a:lnTo>
                    <a:pt x="3527" y="78"/>
                  </a:lnTo>
                  <a:lnTo>
                    <a:pt x="3518" y="70"/>
                  </a:lnTo>
                  <a:lnTo>
                    <a:pt x="3509" y="61"/>
                  </a:lnTo>
                  <a:lnTo>
                    <a:pt x="3500" y="54"/>
                  </a:lnTo>
                  <a:lnTo>
                    <a:pt x="3490" y="46"/>
                  </a:lnTo>
                  <a:lnTo>
                    <a:pt x="3480" y="40"/>
                  </a:lnTo>
                  <a:lnTo>
                    <a:pt x="3470" y="33"/>
                  </a:lnTo>
                  <a:lnTo>
                    <a:pt x="3459" y="28"/>
                  </a:lnTo>
                  <a:lnTo>
                    <a:pt x="3449" y="22"/>
                  </a:lnTo>
                  <a:lnTo>
                    <a:pt x="3438" y="18"/>
                  </a:lnTo>
                  <a:lnTo>
                    <a:pt x="3426" y="13"/>
                  </a:lnTo>
                  <a:lnTo>
                    <a:pt x="3414" y="10"/>
                  </a:lnTo>
                  <a:lnTo>
                    <a:pt x="3402" y="7"/>
                  </a:lnTo>
                  <a:lnTo>
                    <a:pt x="3391" y="4"/>
                  </a:lnTo>
                  <a:lnTo>
                    <a:pt x="3379" y="2"/>
                  </a:lnTo>
                  <a:lnTo>
                    <a:pt x="3367" y="1"/>
                  </a:lnTo>
                  <a:lnTo>
                    <a:pt x="3355" y="0"/>
                  </a:lnTo>
                  <a:lnTo>
                    <a:pt x="3342" y="0"/>
                  </a:lnTo>
                  <a:lnTo>
                    <a:pt x="3330" y="0"/>
                  </a:lnTo>
                  <a:lnTo>
                    <a:pt x="3318" y="1"/>
                  </a:lnTo>
                  <a:lnTo>
                    <a:pt x="3306" y="2"/>
                  </a:lnTo>
                  <a:lnTo>
                    <a:pt x="3294" y="5"/>
                  </a:lnTo>
                  <a:lnTo>
                    <a:pt x="3281" y="7"/>
                  </a:lnTo>
                  <a:lnTo>
                    <a:pt x="3269" y="11"/>
                  </a:lnTo>
                  <a:lnTo>
                    <a:pt x="3257" y="15"/>
                  </a:lnTo>
                  <a:lnTo>
                    <a:pt x="3244" y="20"/>
                  </a:lnTo>
                  <a:lnTo>
                    <a:pt x="3236" y="25"/>
                  </a:lnTo>
                  <a:lnTo>
                    <a:pt x="3229" y="31"/>
                  </a:lnTo>
                  <a:lnTo>
                    <a:pt x="3098" y="89"/>
                  </a:lnTo>
                  <a:lnTo>
                    <a:pt x="2967" y="152"/>
                  </a:lnTo>
                  <a:lnTo>
                    <a:pt x="2838" y="216"/>
                  </a:lnTo>
                  <a:lnTo>
                    <a:pt x="2710" y="284"/>
                  </a:lnTo>
                  <a:lnTo>
                    <a:pt x="2585" y="356"/>
                  </a:lnTo>
                  <a:lnTo>
                    <a:pt x="2461" y="429"/>
                  </a:lnTo>
                  <a:lnTo>
                    <a:pt x="2338" y="507"/>
                  </a:lnTo>
                  <a:lnTo>
                    <a:pt x="2218" y="586"/>
                  </a:lnTo>
                  <a:lnTo>
                    <a:pt x="2100" y="670"/>
                  </a:lnTo>
                  <a:lnTo>
                    <a:pt x="1982" y="755"/>
                  </a:lnTo>
                  <a:lnTo>
                    <a:pt x="1867" y="844"/>
                  </a:lnTo>
                  <a:lnTo>
                    <a:pt x="1755" y="935"/>
                  </a:lnTo>
                  <a:lnTo>
                    <a:pt x="1644" y="1030"/>
                  </a:lnTo>
                  <a:lnTo>
                    <a:pt x="1535" y="1126"/>
                  </a:lnTo>
                  <a:lnTo>
                    <a:pt x="1429" y="1227"/>
                  </a:lnTo>
                  <a:lnTo>
                    <a:pt x="1325" y="1329"/>
                  </a:lnTo>
                  <a:lnTo>
                    <a:pt x="1224" y="1434"/>
                  </a:lnTo>
                  <a:lnTo>
                    <a:pt x="1124" y="1543"/>
                  </a:lnTo>
                  <a:lnTo>
                    <a:pt x="1027" y="1653"/>
                  </a:lnTo>
                  <a:lnTo>
                    <a:pt x="933" y="1766"/>
                  </a:lnTo>
                  <a:lnTo>
                    <a:pt x="841" y="1883"/>
                  </a:lnTo>
                  <a:lnTo>
                    <a:pt x="752" y="2001"/>
                  </a:lnTo>
                  <a:lnTo>
                    <a:pt x="665" y="2122"/>
                  </a:lnTo>
                  <a:lnTo>
                    <a:pt x="582" y="2246"/>
                  </a:lnTo>
                  <a:lnTo>
                    <a:pt x="500" y="2372"/>
                  </a:lnTo>
                  <a:lnTo>
                    <a:pt x="423" y="2500"/>
                  </a:lnTo>
                  <a:lnTo>
                    <a:pt x="347" y="2631"/>
                  </a:lnTo>
                  <a:lnTo>
                    <a:pt x="276" y="2765"/>
                  </a:lnTo>
                  <a:lnTo>
                    <a:pt x="207" y="2901"/>
                  </a:lnTo>
                  <a:lnTo>
                    <a:pt x="141" y="3040"/>
                  </a:lnTo>
                  <a:lnTo>
                    <a:pt x="78" y="3180"/>
                  </a:lnTo>
                  <a:lnTo>
                    <a:pt x="18" y="3323"/>
                  </a:lnTo>
                  <a:lnTo>
                    <a:pt x="14" y="3335"/>
                  </a:lnTo>
                  <a:lnTo>
                    <a:pt x="10" y="3347"/>
                  </a:lnTo>
                  <a:lnTo>
                    <a:pt x="7" y="3359"/>
                  </a:lnTo>
                  <a:lnTo>
                    <a:pt x="4" y="3373"/>
                  </a:lnTo>
                  <a:lnTo>
                    <a:pt x="2" y="3385"/>
                  </a:lnTo>
                  <a:lnTo>
                    <a:pt x="1" y="3397"/>
                  </a:lnTo>
                  <a:lnTo>
                    <a:pt x="0" y="3409"/>
                  </a:lnTo>
                  <a:lnTo>
                    <a:pt x="0" y="3422"/>
                  </a:lnTo>
                  <a:lnTo>
                    <a:pt x="1" y="3434"/>
                  </a:lnTo>
                  <a:lnTo>
                    <a:pt x="2" y="3446"/>
                  </a:lnTo>
                  <a:lnTo>
                    <a:pt x="4" y="3458"/>
                  </a:lnTo>
                  <a:lnTo>
                    <a:pt x="6" y="3470"/>
                  </a:lnTo>
                  <a:lnTo>
                    <a:pt x="9" y="3481"/>
                  </a:lnTo>
                  <a:lnTo>
                    <a:pt x="12" y="3493"/>
                  </a:lnTo>
                  <a:lnTo>
                    <a:pt x="16" y="3504"/>
                  </a:lnTo>
                  <a:lnTo>
                    <a:pt x="20" y="3515"/>
                  </a:lnTo>
                  <a:lnTo>
                    <a:pt x="25" y="3526"/>
                  </a:lnTo>
                  <a:lnTo>
                    <a:pt x="32" y="3538"/>
                  </a:lnTo>
                  <a:lnTo>
                    <a:pt x="38" y="3548"/>
                  </a:lnTo>
                  <a:lnTo>
                    <a:pt x="45" y="3559"/>
                  </a:lnTo>
                  <a:lnTo>
                    <a:pt x="52" y="3568"/>
                  </a:lnTo>
                  <a:lnTo>
                    <a:pt x="59" y="3578"/>
                  </a:lnTo>
                  <a:lnTo>
                    <a:pt x="67" y="3587"/>
                  </a:lnTo>
                  <a:lnTo>
                    <a:pt x="75" y="3596"/>
                  </a:lnTo>
                  <a:lnTo>
                    <a:pt x="84" y="3604"/>
                  </a:lnTo>
                  <a:lnTo>
                    <a:pt x="94" y="3612"/>
                  </a:lnTo>
                  <a:lnTo>
                    <a:pt x="103" y="3620"/>
                  </a:lnTo>
                  <a:lnTo>
                    <a:pt x="114" y="3627"/>
                  </a:lnTo>
                  <a:lnTo>
                    <a:pt x="124" y="3633"/>
                  </a:lnTo>
                  <a:lnTo>
                    <a:pt x="135" y="3639"/>
                  </a:lnTo>
                  <a:lnTo>
                    <a:pt x="147" y="3645"/>
                  </a:lnTo>
                  <a:lnTo>
                    <a:pt x="159" y="3650"/>
                  </a:lnTo>
                  <a:lnTo>
                    <a:pt x="171" y="3655"/>
                  </a:lnTo>
                  <a:lnTo>
                    <a:pt x="183" y="3659"/>
                  </a:lnTo>
                  <a:lnTo>
                    <a:pt x="195" y="3662"/>
                  </a:lnTo>
                  <a:lnTo>
                    <a:pt x="208" y="3664"/>
                  </a:lnTo>
                  <a:lnTo>
                    <a:pt x="220" y="3666"/>
                  </a:lnTo>
                  <a:lnTo>
                    <a:pt x="232" y="3668"/>
                  </a:lnTo>
                  <a:lnTo>
                    <a:pt x="245" y="3668"/>
                  </a:lnTo>
                  <a:lnTo>
                    <a:pt x="257" y="3668"/>
                  </a:lnTo>
                  <a:lnTo>
                    <a:pt x="269" y="3668"/>
                  </a:lnTo>
                  <a:lnTo>
                    <a:pt x="281" y="3667"/>
                  </a:lnTo>
                  <a:lnTo>
                    <a:pt x="293" y="3665"/>
                  </a:lnTo>
                  <a:lnTo>
                    <a:pt x="305" y="3663"/>
                  </a:lnTo>
                  <a:lnTo>
                    <a:pt x="316" y="3660"/>
                  </a:lnTo>
                  <a:lnTo>
                    <a:pt x="328" y="3657"/>
                  </a:lnTo>
                  <a:lnTo>
                    <a:pt x="339" y="3653"/>
                  </a:lnTo>
                  <a:lnTo>
                    <a:pt x="350" y="3648"/>
                  </a:lnTo>
                  <a:lnTo>
                    <a:pt x="361" y="3643"/>
                  </a:lnTo>
                  <a:lnTo>
                    <a:pt x="373" y="3638"/>
                  </a:lnTo>
                  <a:lnTo>
                    <a:pt x="383" y="3632"/>
                  </a:lnTo>
                  <a:lnTo>
                    <a:pt x="393" y="3625"/>
                  </a:lnTo>
                  <a:lnTo>
                    <a:pt x="403" y="3618"/>
                  </a:lnTo>
                  <a:lnTo>
                    <a:pt x="413" y="3611"/>
                  </a:lnTo>
                  <a:lnTo>
                    <a:pt x="422" y="3603"/>
                  </a:lnTo>
                  <a:lnTo>
                    <a:pt x="431" y="3594"/>
                  </a:lnTo>
                  <a:lnTo>
                    <a:pt x="439" y="3586"/>
                  </a:lnTo>
                  <a:lnTo>
                    <a:pt x="447" y="3576"/>
                  </a:lnTo>
                  <a:lnTo>
                    <a:pt x="454" y="3566"/>
                  </a:lnTo>
                  <a:lnTo>
                    <a:pt x="461" y="3556"/>
                  </a:lnTo>
                  <a:lnTo>
                    <a:pt x="468" y="3546"/>
                  </a:lnTo>
                  <a:lnTo>
                    <a:pt x="474" y="3535"/>
                  </a:lnTo>
                  <a:lnTo>
                    <a:pt x="480" y="3522"/>
                  </a:lnTo>
                  <a:lnTo>
                    <a:pt x="485" y="3510"/>
                  </a:lnTo>
                  <a:lnTo>
                    <a:pt x="540" y="3379"/>
                  </a:lnTo>
                  <a:lnTo>
                    <a:pt x="598" y="3249"/>
                  </a:lnTo>
                  <a:lnTo>
                    <a:pt x="658" y="3121"/>
                  </a:lnTo>
                  <a:lnTo>
                    <a:pt x="722" y="2996"/>
                  </a:lnTo>
                  <a:lnTo>
                    <a:pt x="788" y="2873"/>
                  </a:lnTo>
                  <a:lnTo>
                    <a:pt x="857" y="2752"/>
                  </a:lnTo>
                  <a:lnTo>
                    <a:pt x="929" y="2633"/>
                  </a:lnTo>
                  <a:lnTo>
                    <a:pt x="1004" y="2518"/>
                  </a:lnTo>
                  <a:lnTo>
                    <a:pt x="1081" y="2404"/>
                  </a:lnTo>
                  <a:lnTo>
                    <a:pt x="1160" y="2292"/>
                  </a:lnTo>
                  <a:lnTo>
                    <a:pt x="1243" y="2183"/>
                  </a:lnTo>
                  <a:lnTo>
                    <a:pt x="1327" y="2076"/>
                  </a:lnTo>
                  <a:lnTo>
                    <a:pt x="1415" y="1971"/>
                  </a:lnTo>
                  <a:lnTo>
                    <a:pt x="1503" y="1870"/>
                  </a:lnTo>
                  <a:lnTo>
                    <a:pt x="1595" y="1770"/>
                  </a:lnTo>
                  <a:lnTo>
                    <a:pt x="1689" y="1674"/>
                  </a:lnTo>
                  <a:lnTo>
                    <a:pt x="1785" y="1579"/>
                  </a:lnTo>
                  <a:lnTo>
                    <a:pt x="1882" y="1487"/>
                  </a:lnTo>
                  <a:lnTo>
                    <a:pt x="1983" y="1398"/>
                  </a:lnTo>
                  <a:lnTo>
                    <a:pt x="2085" y="1311"/>
                  </a:lnTo>
                  <a:lnTo>
                    <a:pt x="2189" y="1227"/>
                  </a:lnTo>
                  <a:lnTo>
                    <a:pt x="2295" y="1145"/>
                  </a:lnTo>
                  <a:lnTo>
                    <a:pt x="2403" y="1067"/>
                  </a:lnTo>
                  <a:lnTo>
                    <a:pt x="2512" y="990"/>
                  </a:lnTo>
                  <a:lnTo>
                    <a:pt x="2623" y="917"/>
                  </a:lnTo>
                  <a:lnTo>
                    <a:pt x="2735" y="847"/>
                  </a:lnTo>
                  <a:lnTo>
                    <a:pt x="2850" y="778"/>
                  </a:lnTo>
                  <a:lnTo>
                    <a:pt x="2966" y="714"/>
                  </a:lnTo>
                  <a:lnTo>
                    <a:pt x="3084" y="651"/>
                  </a:lnTo>
                  <a:lnTo>
                    <a:pt x="3202" y="592"/>
                  </a:lnTo>
                  <a:lnTo>
                    <a:pt x="3322" y="535"/>
                  </a:lnTo>
                  <a:lnTo>
                    <a:pt x="3444" y="481"/>
                  </a:lnTo>
                  <a:lnTo>
                    <a:pt x="3455" y="476"/>
                  </a:lnTo>
                  <a:lnTo>
                    <a:pt x="3467" y="470"/>
                  </a:lnTo>
                  <a:lnTo>
                    <a:pt x="3477" y="463"/>
                  </a:lnTo>
                  <a:lnTo>
                    <a:pt x="3488" y="457"/>
                  </a:lnTo>
                  <a:lnTo>
                    <a:pt x="3498" y="449"/>
                  </a:lnTo>
                  <a:lnTo>
                    <a:pt x="3507" y="441"/>
                  </a:lnTo>
                  <a:lnTo>
                    <a:pt x="3517" y="433"/>
                  </a:lnTo>
                  <a:lnTo>
                    <a:pt x="3525" y="425"/>
                  </a:lnTo>
                  <a:lnTo>
                    <a:pt x="3533" y="416"/>
                  </a:lnTo>
                  <a:lnTo>
                    <a:pt x="3541" y="406"/>
                  </a:lnTo>
                  <a:lnTo>
                    <a:pt x="3548" y="397"/>
                  </a:lnTo>
                  <a:lnTo>
                    <a:pt x="3555" y="387"/>
                  </a:lnTo>
                  <a:lnTo>
                    <a:pt x="3561" y="377"/>
                  </a:lnTo>
                  <a:lnTo>
                    <a:pt x="3567" y="366"/>
                  </a:lnTo>
                  <a:lnTo>
                    <a:pt x="3572" y="355"/>
                  </a:lnTo>
                  <a:lnTo>
                    <a:pt x="3577" y="344"/>
                  </a:lnTo>
                  <a:lnTo>
                    <a:pt x="3581" y="333"/>
                  </a:lnTo>
                  <a:lnTo>
                    <a:pt x="3585" y="322"/>
                  </a:lnTo>
                  <a:lnTo>
                    <a:pt x="3589" y="309"/>
                  </a:lnTo>
                  <a:lnTo>
                    <a:pt x="3591" y="297"/>
                  </a:lnTo>
                  <a:lnTo>
                    <a:pt x="3593" y="286"/>
                  </a:lnTo>
                  <a:lnTo>
                    <a:pt x="3595" y="274"/>
                  </a:lnTo>
                  <a:lnTo>
                    <a:pt x="3596" y="261"/>
                  </a:lnTo>
                  <a:lnTo>
                    <a:pt x="3596" y="249"/>
                  </a:lnTo>
                  <a:lnTo>
                    <a:pt x="3596" y="237"/>
                  </a:lnTo>
                  <a:lnTo>
                    <a:pt x="3595" y="225"/>
                  </a:lnTo>
                  <a:lnTo>
                    <a:pt x="3593" y="213"/>
                  </a:lnTo>
                  <a:lnTo>
                    <a:pt x="3591" y="200"/>
                  </a:lnTo>
                  <a:lnTo>
                    <a:pt x="3588" y="188"/>
                  </a:lnTo>
                  <a:lnTo>
                    <a:pt x="3584" y="176"/>
                  </a:lnTo>
                  <a:lnTo>
                    <a:pt x="3579" y="164"/>
                  </a:lnTo>
                  <a:lnTo>
                    <a:pt x="3575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54" name="iṡľïdè">
              <a:extLst>
                <a:ext uri="{FF2B5EF4-FFF2-40B4-BE49-F238E27FC236}">
                  <a16:creationId xmlns:a16="http://schemas.microsoft.com/office/drawing/2014/main" id="{3F4640E1-B4A3-4CC4-8C0B-102ACDC78D7E}"/>
                </a:ext>
              </a:extLst>
            </p:cNvPr>
            <p:cNvSpPr/>
            <p:nvPr/>
          </p:nvSpPr>
          <p:spPr bwMode="auto">
            <a:xfrm>
              <a:off x="3796523" y="2529642"/>
              <a:ext cx="69061" cy="70745"/>
            </a:xfrm>
            <a:custGeom>
              <a:avLst/>
              <a:gdLst>
                <a:gd name="T0" fmla="*/ 2939 w 3057"/>
                <a:gd name="T1" fmla="*/ 464 h 3119"/>
                <a:gd name="T2" fmla="*/ 2978 w 3057"/>
                <a:gd name="T3" fmla="*/ 434 h 3119"/>
                <a:gd name="T4" fmla="*/ 3011 w 3057"/>
                <a:gd name="T5" fmla="*/ 397 h 3119"/>
                <a:gd name="T6" fmla="*/ 3035 w 3057"/>
                <a:gd name="T7" fmla="*/ 355 h 3119"/>
                <a:gd name="T8" fmla="*/ 3050 w 3057"/>
                <a:gd name="T9" fmla="*/ 310 h 3119"/>
                <a:gd name="T10" fmla="*/ 3057 w 3057"/>
                <a:gd name="T11" fmla="*/ 263 h 3119"/>
                <a:gd name="T12" fmla="*/ 3055 w 3057"/>
                <a:gd name="T13" fmla="*/ 213 h 3119"/>
                <a:gd name="T14" fmla="*/ 3042 w 3057"/>
                <a:gd name="T15" fmla="*/ 164 h 3119"/>
                <a:gd name="T16" fmla="*/ 3020 w 3057"/>
                <a:gd name="T17" fmla="*/ 118 h 3119"/>
                <a:gd name="T18" fmla="*/ 2988 w 3057"/>
                <a:gd name="T19" fmla="*/ 79 h 3119"/>
                <a:gd name="T20" fmla="*/ 2952 w 3057"/>
                <a:gd name="T21" fmla="*/ 46 h 3119"/>
                <a:gd name="T22" fmla="*/ 2910 w 3057"/>
                <a:gd name="T23" fmla="*/ 22 h 3119"/>
                <a:gd name="T24" fmla="*/ 2865 w 3057"/>
                <a:gd name="T25" fmla="*/ 7 h 3119"/>
                <a:gd name="T26" fmla="*/ 2816 w 3057"/>
                <a:gd name="T27" fmla="*/ 0 h 3119"/>
                <a:gd name="T28" fmla="*/ 2767 w 3057"/>
                <a:gd name="T29" fmla="*/ 3 h 3119"/>
                <a:gd name="T30" fmla="*/ 2719 w 3057"/>
                <a:gd name="T31" fmla="*/ 15 h 3119"/>
                <a:gd name="T32" fmla="*/ 2584 w 3057"/>
                <a:gd name="T33" fmla="*/ 79 h 3119"/>
                <a:gd name="T34" fmla="*/ 2157 w 3057"/>
                <a:gd name="T35" fmla="*/ 300 h 3119"/>
                <a:gd name="T36" fmla="*/ 1752 w 3057"/>
                <a:gd name="T37" fmla="*/ 561 h 3119"/>
                <a:gd name="T38" fmla="*/ 1373 w 3057"/>
                <a:gd name="T39" fmla="*/ 862 h 3119"/>
                <a:gd name="T40" fmla="*/ 1022 w 3057"/>
                <a:gd name="T41" fmla="*/ 1199 h 3119"/>
                <a:gd name="T42" fmla="*/ 703 w 3057"/>
                <a:gd name="T43" fmla="*/ 1573 h 3119"/>
                <a:gd name="T44" fmla="*/ 419 w 3057"/>
                <a:gd name="T45" fmla="*/ 1981 h 3119"/>
                <a:gd name="T46" fmla="*/ 175 w 3057"/>
                <a:gd name="T47" fmla="*/ 2422 h 3119"/>
                <a:gd name="T48" fmla="*/ 14 w 3057"/>
                <a:gd name="T49" fmla="*/ 2786 h 3119"/>
                <a:gd name="T50" fmla="*/ 2 w 3057"/>
                <a:gd name="T51" fmla="*/ 2835 h 3119"/>
                <a:gd name="T52" fmla="*/ 1 w 3057"/>
                <a:gd name="T53" fmla="*/ 2884 h 3119"/>
                <a:gd name="T54" fmla="*/ 9 w 3057"/>
                <a:gd name="T55" fmla="*/ 2931 h 3119"/>
                <a:gd name="T56" fmla="*/ 26 w 3057"/>
                <a:gd name="T57" fmla="*/ 2977 h 3119"/>
                <a:gd name="T58" fmla="*/ 51 w 3057"/>
                <a:gd name="T59" fmla="*/ 3018 h 3119"/>
                <a:gd name="T60" fmla="*/ 83 w 3057"/>
                <a:gd name="T61" fmla="*/ 3054 h 3119"/>
                <a:gd name="T62" fmla="*/ 124 w 3057"/>
                <a:gd name="T63" fmla="*/ 3083 h 3119"/>
                <a:gd name="T64" fmla="*/ 171 w 3057"/>
                <a:gd name="T65" fmla="*/ 3105 h 3119"/>
                <a:gd name="T66" fmla="*/ 219 w 3057"/>
                <a:gd name="T67" fmla="*/ 3116 h 3119"/>
                <a:gd name="T68" fmla="*/ 268 w 3057"/>
                <a:gd name="T69" fmla="*/ 3119 h 3119"/>
                <a:gd name="T70" fmla="*/ 317 w 3057"/>
                <a:gd name="T71" fmla="*/ 3110 h 3119"/>
                <a:gd name="T72" fmla="*/ 361 w 3057"/>
                <a:gd name="T73" fmla="*/ 3093 h 3119"/>
                <a:gd name="T74" fmla="*/ 402 w 3057"/>
                <a:gd name="T75" fmla="*/ 3068 h 3119"/>
                <a:gd name="T76" fmla="*/ 438 w 3057"/>
                <a:gd name="T77" fmla="*/ 3035 h 3119"/>
                <a:gd name="T78" fmla="*/ 469 w 3057"/>
                <a:gd name="T79" fmla="*/ 2996 h 3119"/>
                <a:gd name="T80" fmla="*/ 530 w 3057"/>
                <a:gd name="T81" fmla="*/ 2853 h 3119"/>
                <a:gd name="T82" fmla="*/ 733 w 3057"/>
                <a:gd name="T83" fmla="*/ 2439 h 3119"/>
                <a:gd name="T84" fmla="*/ 973 w 3057"/>
                <a:gd name="T85" fmla="*/ 2055 h 3119"/>
                <a:gd name="T86" fmla="*/ 1245 w 3057"/>
                <a:gd name="T87" fmla="*/ 1701 h 3119"/>
                <a:gd name="T88" fmla="*/ 1548 w 3057"/>
                <a:gd name="T89" fmla="*/ 1380 h 3119"/>
                <a:gd name="T90" fmla="*/ 1879 w 3057"/>
                <a:gd name="T91" fmla="*/ 1092 h 3119"/>
                <a:gd name="T92" fmla="*/ 2234 w 3057"/>
                <a:gd name="T93" fmla="*/ 839 h 3119"/>
                <a:gd name="T94" fmla="*/ 2610 w 3057"/>
                <a:gd name="T95" fmla="*/ 622 h 3119"/>
                <a:gd name="T96" fmla="*/ 2905 w 3057"/>
                <a:gd name="T97" fmla="*/ 482 h 3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57" h="3119">
                  <a:moveTo>
                    <a:pt x="2905" y="482"/>
                  </a:moveTo>
                  <a:lnTo>
                    <a:pt x="2917" y="477"/>
                  </a:lnTo>
                  <a:lnTo>
                    <a:pt x="2928" y="471"/>
                  </a:lnTo>
                  <a:lnTo>
                    <a:pt x="2939" y="464"/>
                  </a:lnTo>
                  <a:lnTo>
                    <a:pt x="2949" y="458"/>
                  </a:lnTo>
                  <a:lnTo>
                    <a:pt x="2959" y="450"/>
                  </a:lnTo>
                  <a:lnTo>
                    <a:pt x="2969" y="442"/>
                  </a:lnTo>
                  <a:lnTo>
                    <a:pt x="2978" y="434"/>
                  </a:lnTo>
                  <a:lnTo>
                    <a:pt x="2986" y="426"/>
                  </a:lnTo>
                  <a:lnTo>
                    <a:pt x="2996" y="417"/>
                  </a:lnTo>
                  <a:lnTo>
                    <a:pt x="3003" y="408"/>
                  </a:lnTo>
                  <a:lnTo>
                    <a:pt x="3011" y="397"/>
                  </a:lnTo>
                  <a:lnTo>
                    <a:pt x="3017" y="387"/>
                  </a:lnTo>
                  <a:lnTo>
                    <a:pt x="3024" y="377"/>
                  </a:lnTo>
                  <a:lnTo>
                    <a:pt x="3029" y="366"/>
                  </a:lnTo>
                  <a:lnTo>
                    <a:pt x="3035" y="355"/>
                  </a:lnTo>
                  <a:lnTo>
                    <a:pt x="3039" y="344"/>
                  </a:lnTo>
                  <a:lnTo>
                    <a:pt x="3044" y="333"/>
                  </a:lnTo>
                  <a:lnTo>
                    <a:pt x="3047" y="322"/>
                  </a:lnTo>
                  <a:lnTo>
                    <a:pt x="3050" y="310"/>
                  </a:lnTo>
                  <a:lnTo>
                    <a:pt x="3053" y="298"/>
                  </a:lnTo>
                  <a:lnTo>
                    <a:pt x="3055" y="287"/>
                  </a:lnTo>
                  <a:lnTo>
                    <a:pt x="3056" y="275"/>
                  </a:lnTo>
                  <a:lnTo>
                    <a:pt x="3057" y="263"/>
                  </a:lnTo>
                  <a:lnTo>
                    <a:pt x="3057" y="250"/>
                  </a:lnTo>
                  <a:lnTo>
                    <a:pt x="3057" y="237"/>
                  </a:lnTo>
                  <a:lnTo>
                    <a:pt x="3056" y="225"/>
                  </a:lnTo>
                  <a:lnTo>
                    <a:pt x="3055" y="213"/>
                  </a:lnTo>
                  <a:lnTo>
                    <a:pt x="3052" y="200"/>
                  </a:lnTo>
                  <a:lnTo>
                    <a:pt x="3050" y="188"/>
                  </a:lnTo>
                  <a:lnTo>
                    <a:pt x="3046" y="176"/>
                  </a:lnTo>
                  <a:lnTo>
                    <a:pt x="3042" y="164"/>
                  </a:lnTo>
                  <a:lnTo>
                    <a:pt x="3037" y="152"/>
                  </a:lnTo>
                  <a:lnTo>
                    <a:pt x="3032" y="140"/>
                  </a:lnTo>
                  <a:lnTo>
                    <a:pt x="3026" y="129"/>
                  </a:lnTo>
                  <a:lnTo>
                    <a:pt x="3020" y="118"/>
                  </a:lnTo>
                  <a:lnTo>
                    <a:pt x="3013" y="108"/>
                  </a:lnTo>
                  <a:lnTo>
                    <a:pt x="3005" y="98"/>
                  </a:lnTo>
                  <a:lnTo>
                    <a:pt x="2998" y="88"/>
                  </a:lnTo>
                  <a:lnTo>
                    <a:pt x="2988" y="79"/>
                  </a:lnTo>
                  <a:lnTo>
                    <a:pt x="2980" y="71"/>
                  </a:lnTo>
                  <a:lnTo>
                    <a:pt x="2971" y="61"/>
                  </a:lnTo>
                  <a:lnTo>
                    <a:pt x="2962" y="54"/>
                  </a:lnTo>
                  <a:lnTo>
                    <a:pt x="2952" y="46"/>
                  </a:lnTo>
                  <a:lnTo>
                    <a:pt x="2942" y="40"/>
                  </a:lnTo>
                  <a:lnTo>
                    <a:pt x="2932" y="33"/>
                  </a:lnTo>
                  <a:lnTo>
                    <a:pt x="2921" y="28"/>
                  </a:lnTo>
                  <a:lnTo>
                    <a:pt x="2910" y="22"/>
                  </a:lnTo>
                  <a:lnTo>
                    <a:pt x="2899" y="18"/>
                  </a:lnTo>
                  <a:lnTo>
                    <a:pt x="2888" y="13"/>
                  </a:lnTo>
                  <a:lnTo>
                    <a:pt x="2877" y="10"/>
                  </a:lnTo>
                  <a:lnTo>
                    <a:pt x="2865" y="7"/>
                  </a:lnTo>
                  <a:lnTo>
                    <a:pt x="2853" y="4"/>
                  </a:lnTo>
                  <a:lnTo>
                    <a:pt x="2841" y="2"/>
                  </a:lnTo>
                  <a:lnTo>
                    <a:pt x="2829" y="1"/>
                  </a:lnTo>
                  <a:lnTo>
                    <a:pt x="2816" y="0"/>
                  </a:lnTo>
                  <a:lnTo>
                    <a:pt x="2804" y="0"/>
                  </a:lnTo>
                  <a:lnTo>
                    <a:pt x="2792" y="0"/>
                  </a:lnTo>
                  <a:lnTo>
                    <a:pt x="2780" y="1"/>
                  </a:lnTo>
                  <a:lnTo>
                    <a:pt x="2767" y="3"/>
                  </a:lnTo>
                  <a:lnTo>
                    <a:pt x="2755" y="5"/>
                  </a:lnTo>
                  <a:lnTo>
                    <a:pt x="2743" y="8"/>
                  </a:lnTo>
                  <a:lnTo>
                    <a:pt x="2731" y="11"/>
                  </a:lnTo>
                  <a:lnTo>
                    <a:pt x="2719" y="15"/>
                  </a:lnTo>
                  <a:lnTo>
                    <a:pt x="2707" y="20"/>
                  </a:lnTo>
                  <a:lnTo>
                    <a:pt x="2700" y="25"/>
                  </a:lnTo>
                  <a:lnTo>
                    <a:pt x="2694" y="29"/>
                  </a:lnTo>
                  <a:lnTo>
                    <a:pt x="2584" y="79"/>
                  </a:lnTo>
                  <a:lnTo>
                    <a:pt x="2475" y="130"/>
                  </a:lnTo>
                  <a:lnTo>
                    <a:pt x="2368" y="184"/>
                  </a:lnTo>
                  <a:lnTo>
                    <a:pt x="2262" y="241"/>
                  </a:lnTo>
                  <a:lnTo>
                    <a:pt x="2157" y="300"/>
                  </a:lnTo>
                  <a:lnTo>
                    <a:pt x="2054" y="361"/>
                  </a:lnTo>
                  <a:lnTo>
                    <a:pt x="1951" y="426"/>
                  </a:lnTo>
                  <a:lnTo>
                    <a:pt x="1851" y="492"/>
                  </a:lnTo>
                  <a:lnTo>
                    <a:pt x="1752" y="561"/>
                  </a:lnTo>
                  <a:lnTo>
                    <a:pt x="1655" y="633"/>
                  </a:lnTo>
                  <a:lnTo>
                    <a:pt x="1559" y="707"/>
                  </a:lnTo>
                  <a:lnTo>
                    <a:pt x="1465" y="783"/>
                  </a:lnTo>
                  <a:lnTo>
                    <a:pt x="1373" y="862"/>
                  </a:lnTo>
                  <a:lnTo>
                    <a:pt x="1282" y="943"/>
                  </a:lnTo>
                  <a:lnTo>
                    <a:pt x="1194" y="1026"/>
                  </a:lnTo>
                  <a:lnTo>
                    <a:pt x="1107" y="1112"/>
                  </a:lnTo>
                  <a:lnTo>
                    <a:pt x="1022" y="1199"/>
                  </a:lnTo>
                  <a:lnTo>
                    <a:pt x="939" y="1290"/>
                  </a:lnTo>
                  <a:lnTo>
                    <a:pt x="859" y="1382"/>
                  </a:lnTo>
                  <a:lnTo>
                    <a:pt x="779" y="1477"/>
                  </a:lnTo>
                  <a:lnTo>
                    <a:pt x="703" y="1573"/>
                  </a:lnTo>
                  <a:lnTo>
                    <a:pt x="629" y="1672"/>
                  </a:lnTo>
                  <a:lnTo>
                    <a:pt x="557" y="1773"/>
                  </a:lnTo>
                  <a:lnTo>
                    <a:pt x="487" y="1876"/>
                  </a:lnTo>
                  <a:lnTo>
                    <a:pt x="419" y="1981"/>
                  </a:lnTo>
                  <a:lnTo>
                    <a:pt x="355" y="2088"/>
                  </a:lnTo>
                  <a:lnTo>
                    <a:pt x="293" y="2197"/>
                  </a:lnTo>
                  <a:lnTo>
                    <a:pt x="232" y="2309"/>
                  </a:lnTo>
                  <a:lnTo>
                    <a:pt x="175" y="2422"/>
                  </a:lnTo>
                  <a:lnTo>
                    <a:pt x="120" y="2537"/>
                  </a:lnTo>
                  <a:lnTo>
                    <a:pt x="67" y="2655"/>
                  </a:lnTo>
                  <a:lnTo>
                    <a:pt x="18" y="2773"/>
                  </a:lnTo>
                  <a:lnTo>
                    <a:pt x="14" y="2786"/>
                  </a:lnTo>
                  <a:lnTo>
                    <a:pt x="10" y="2798"/>
                  </a:lnTo>
                  <a:lnTo>
                    <a:pt x="7" y="2811"/>
                  </a:lnTo>
                  <a:lnTo>
                    <a:pt x="4" y="2823"/>
                  </a:lnTo>
                  <a:lnTo>
                    <a:pt x="2" y="2835"/>
                  </a:lnTo>
                  <a:lnTo>
                    <a:pt x="1" y="2847"/>
                  </a:lnTo>
                  <a:lnTo>
                    <a:pt x="0" y="2860"/>
                  </a:lnTo>
                  <a:lnTo>
                    <a:pt x="0" y="2872"/>
                  </a:lnTo>
                  <a:lnTo>
                    <a:pt x="1" y="2884"/>
                  </a:lnTo>
                  <a:lnTo>
                    <a:pt x="2" y="2896"/>
                  </a:lnTo>
                  <a:lnTo>
                    <a:pt x="4" y="2908"/>
                  </a:lnTo>
                  <a:lnTo>
                    <a:pt x="6" y="2920"/>
                  </a:lnTo>
                  <a:lnTo>
                    <a:pt x="9" y="2931"/>
                  </a:lnTo>
                  <a:lnTo>
                    <a:pt x="12" y="2943"/>
                  </a:lnTo>
                  <a:lnTo>
                    <a:pt x="16" y="2955"/>
                  </a:lnTo>
                  <a:lnTo>
                    <a:pt x="21" y="2966"/>
                  </a:lnTo>
                  <a:lnTo>
                    <a:pt x="26" y="2977"/>
                  </a:lnTo>
                  <a:lnTo>
                    <a:pt x="31" y="2988"/>
                  </a:lnTo>
                  <a:lnTo>
                    <a:pt x="37" y="2998"/>
                  </a:lnTo>
                  <a:lnTo>
                    <a:pt x="44" y="3008"/>
                  </a:lnTo>
                  <a:lnTo>
                    <a:pt x="51" y="3018"/>
                  </a:lnTo>
                  <a:lnTo>
                    <a:pt x="58" y="3028"/>
                  </a:lnTo>
                  <a:lnTo>
                    <a:pt x="66" y="3037"/>
                  </a:lnTo>
                  <a:lnTo>
                    <a:pt x="75" y="3045"/>
                  </a:lnTo>
                  <a:lnTo>
                    <a:pt x="83" y="3054"/>
                  </a:lnTo>
                  <a:lnTo>
                    <a:pt x="93" y="3062"/>
                  </a:lnTo>
                  <a:lnTo>
                    <a:pt x="103" y="3069"/>
                  </a:lnTo>
                  <a:lnTo>
                    <a:pt x="114" y="3077"/>
                  </a:lnTo>
                  <a:lnTo>
                    <a:pt x="124" y="3083"/>
                  </a:lnTo>
                  <a:lnTo>
                    <a:pt x="135" y="3089"/>
                  </a:lnTo>
                  <a:lnTo>
                    <a:pt x="147" y="3095"/>
                  </a:lnTo>
                  <a:lnTo>
                    <a:pt x="159" y="3100"/>
                  </a:lnTo>
                  <a:lnTo>
                    <a:pt x="171" y="3105"/>
                  </a:lnTo>
                  <a:lnTo>
                    <a:pt x="183" y="3108"/>
                  </a:lnTo>
                  <a:lnTo>
                    <a:pt x="195" y="3112"/>
                  </a:lnTo>
                  <a:lnTo>
                    <a:pt x="207" y="3114"/>
                  </a:lnTo>
                  <a:lnTo>
                    <a:pt x="219" y="3116"/>
                  </a:lnTo>
                  <a:lnTo>
                    <a:pt x="232" y="3117"/>
                  </a:lnTo>
                  <a:lnTo>
                    <a:pt x="244" y="3119"/>
                  </a:lnTo>
                  <a:lnTo>
                    <a:pt x="256" y="3119"/>
                  </a:lnTo>
                  <a:lnTo>
                    <a:pt x="268" y="3119"/>
                  </a:lnTo>
                  <a:lnTo>
                    <a:pt x="280" y="3116"/>
                  </a:lnTo>
                  <a:lnTo>
                    <a:pt x="293" y="3115"/>
                  </a:lnTo>
                  <a:lnTo>
                    <a:pt x="305" y="3112"/>
                  </a:lnTo>
                  <a:lnTo>
                    <a:pt x="317" y="3110"/>
                  </a:lnTo>
                  <a:lnTo>
                    <a:pt x="328" y="3106"/>
                  </a:lnTo>
                  <a:lnTo>
                    <a:pt x="339" y="3102"/>
                  </a:lnTo>
                  <a:lnTo>
                    <a:pt x="351" y="3098"/>
                  </a:lnTo>
                  <a:lnTo>
                    <a:pt x="361" y="3093"/>
                  </a:lnTo>
                  <a:lnTo>
                    <a:pt x="372" y="3088"/>
                  </a:lnTo>
                  <a:lnTo>
                    <a:pt x="382" y="3082"/>
                  </a:lnTo>
                  <a:lnTo>
                    <a:pt x="393" y="3075"/>
                  </a:lnTo>
                  <a:lnTo>
                    <a:pt x="402" y="3068"/>
                  </a:lnTo>
                  <a:lnTo>
                    <a:pt x="412" y="3061"/>
                  </a:lnTo>
                  <a:lnTo>
                    <a:pt x="421" y="3053"/>
                  </a:lnTo>
                  <a:lnTo>
                    <a:pt x="430" y="3044"/>
                  </a:lnTo>
                  <a:lnTo>
                    <a:pt x="438" y="3035"/>
                  </a:lnTo>
                  <a:lnTo>
                    <a:pt x="446" y="3026"/>
                  </a:lnTo>
                  <a:lnTo>
                    <a:pt x="455" y="3016"/>
                  </a:lnTo>
                  <a:lnTo>
                    <a:pt x="462" y="3006"/>
                  </a:lnTo>
                  <a:lnTo>
                    <a:pt x="469" y="2996"/>
                  </a:lnTo>
                  <a:lnTo>
                    <a:pt x="475" y="2984"/>
                  </a:lnTo>
                  <a:lnTo>
                    <a:pt x="480" y="2973"/>
                  </a:lnTo>
                  <a:lnTo>
                    <a:pt x="486" y="2961"/>
                  </a:lnTo>
                  <a:lnTo>
                    <a:pt x="530" y="2853"/>
                  </a:lnTo>
                  <a:lnTo>
                    <a:pt x="577" y="2746"/>
                  </a:lnTo>
                  <a:lnTo>
                    <a:pt x="627" y="2643"/>
                  </a:lnTo>
                  <a:lnTo>
                    <a:pt x="679" y="2540"/>
                  </a:lnTo>
                  <a:lnTo>
                    <a:pt x="733" y="2439"/>
                  </a:lnTo>
                  <a:lnTo>
                    <a:pt x="790" y="2340"/>
                  </a:lnTo>
                  <a:lnTo>
                    <a:pt x="849" y="2243"/>
                  </a:lnTo>
                  <a:lnTo>
                    <a:pt x="909" y="2148"/>
                  </a:lnTo>
                  <a:lnTo>
                    <a:pt x="973" y="2055"/>
                  </a:lnTo>
                  <a:lnTo>
                    <a:pt x="1038" y="1964"/>
                  </a:lnTo>
                  <a:lnTo>
                    <a:pt x="1104" y="1874"/>
                  </a:lnTo>
                  <a:lnTo>
                    <a:pt x="1174" y="1787"/>
                  </a:lnTo>
                  <a:lnTo>
                    <a:pt x="1245" y="1701"/>
                  </a:lnTo>
                  <a:lnTo>
                    <a:pt x="1319" y="1618"/>
                  </a:lnTo>
                  <a:lnTo>
                    <a:pt x="1393" y="1536"/>
                  </a:lnTo>
                  <a:lnTo>
                    <a:pt x="1470" y="1458"/>
                  </a:lnTo>
                  <a:lnTo>
                    <a:pt x="1548" y="1380"/>
                  </a:lnTo>
                  <a:lnTo>
                    <a:pt x="1628" y="1305"/>
                  </a:lnTo>
                  <a:lnTo>
                    <a:pt x="1710" y="1231"/>
                  </a:lnTo>
                  <a:lnTo>
                    <a:pt x="1793" y="1161"/>
                  </a:lnTo>
                  <a:lnTo>
                    <a:pt x="1879" y="1092"/>
                  </a:lnTo>
                  <a:lnTo>
                    <a:pt x="1965" y="1025"/>
                  </a:lnTo>
                  <a:lnTo>
                    <a:pt x="2053" y="961"/>
                  </a:lnTo>
                  <a:lnTo>
                    <a:pt x="2142" y="898"/>
                  </a:lnTo>
                  <a:lnTo>
                    <a:pt x="2234" y="839"/>
                  </a:lnTo>
                  <a:lnTo>
                    <a:pt x="2326" y="781"/>
                  </a:lnTo>
                  <a:lnTo>
                    <a:pt x="2419" y="725"/>
                  </a:lnTo>
                  <a:lnTo>
                    <a:pt x="2515" y="672"/>
                  </a:lnTo>
                  <a:lnTo>
                    <a:pt x="2610" y="622"/>
                  </a:lnTo>
                  <a:lnTo>
                    <a:pt x="2708" y="572"/>
                  </a:lnTo>
                  <a:lnTo>
                    <a:pt x="2805" y="526"/>
                  </a:lnTo>
                  <a:lnTo>
                    <a:pt x="2905" y="483"/>
                  </a:lnTo>
                  <a:lnTo>
                    <a:pt x="2905" y="4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55" name="iṩ1iḑè">
              <a:extLst>
                <a:ext uri="{FF2B5EF4-FFF2-40B4-BE49-F238E27FC236}">
                  <a16:creationId xmlns:a16="http://schemas.microsoft.com/office/drawing/2014/main" id="{0235680F-E42B-4109-A659-40E02A56327C}"/>
                </a:ext>
              </a:extLst>
            </p:cNvPr>
            <p:cNvSpPr/>
            <p:nvPr/>
          </p:nvSpPr>
          <p:spPr bwMode="auto">
            <a:xfrm>
              <a:off x="5421300" y="920137"/>
              <a:ext cx="464950" cy="466054"/>
            </a:xfrm>
            <a:custGeom>
              <a:avLst/>
              <a:gdLst>
                <a:gd name="T0" fmla="*/ 11438 w 16419"/>
                <a:gd name="T1" fmla="*/ 11992 h 16036"/>
                <a:gd name="T2" fmla="*/ 12051 w 16419"/>
                <a:gd name="T3" fmla="*/ 9611 h 16036"/>
                <a:gd name="T4" fmla="*/ 15080 w 16419"/>
                <a:gd name="T5" fmla="*/ 9931 h 16036"/>
                <a:gd name="T6" fmla="*/ 13248 w 16419"/>
                <a:gd name="T7" fmla="*/ 12967 h 16036"/>
                <a:gd name="T8" fmla="*/ 4590 w 16419"/>
                <a:gd name="T9" fmla="*/ 10655 h 16036"/>
                <a:gd name="T10" fmla="*/ 4429 w 16419"/>
                <a:gd name="T11" fmla="*/ 12231 h 16036"/>
                <a:gd name="T12" fmla="*/ 2147 w 16419"/>
                <a:gd name="T13" fmla="*/ 11712 h 16036"/>
                <a:gd name="T14" fmla="*/ 1073 w 16419"/>
                <a:gd name="T15" fmla="*/ 8277 h 16036"/>
                <a:gd name="T16" fmla="*/ 4139 w 16419"/>
                <a:gd name="T17" fmla="*/ 4183 h 16036"/>
                <a:gd name="T18" fmla="*/ 4533 w 16419"/>
                <a:gd name="T19" fmla="*/ 5582 h 16036"/>
                <a:gd name="T20" fmla="*/ 1073 w 16419"/>
                <a:gd name="T21" fmla="*/ 7759 h 16036"/>
                <a:gd name="T22" fmla="*/ 1997 w 16419"/>
                <a:gd name="T23" fmla="*/ 4578 h 16036"/>
                <a:gd name="T24" fmla="*/ 9313 w 16419"/>
                <a:gd name="T25" fmla="*/ 5095 h 16036"/>
                <a:gd name="T26" fmla="*/ 11066 w 16419"/>
                <a:gd name="T27" fmla="*/ 4695 h 16036"/>
                <a:gd name="T28" fmla="*/ 11565 w 16419"/>
                <a:gd name="T29" fmla="*/ 6759 h 16036"/>
                <a:gd name="T30" fmla="*/ 10152 w 16419"/>
                <a:gd name="T31" fmla="*/ 11598 h 16036"/>
                <a:gd name="T32" fmla="*/ 8474 w 16419"/>
                <a:gd name="T33" fmla="*/ 11394 h 16036"/>
                <a:gd name="T34" fmla="*/ 11313 w 16419"/>
                <a:gd name="T35" fmla="*/ 10543 h 16036"/>
                <a:gd name="T36" fmla="*/ 12142 w 16419"/>
                <a:gd name="T37" fmla="*/ 12889 h 16036"/>
                <a:gd name="T38" fmla="*/ 11354 w 16419"/>
                <a:gd name="T39" fmla="*/ 14282 h 16036"/>
                <a:gd name="T40" fmla="*/ 9710 w 16419"/>
                <a:gd name="T41" fmla="*/ 14564 h 16036"/>
                <a:gd name="T42" fmla="*/ 10935 w 16419"/>
                <a:gd name="T43" fmla="*/ 12871 h 16036"/>
                <a:gd name="T44" fmla="*/ 9524 w 16419"/>
                <a:gd name="T45" fmla="*/ 12005 h 16036"/>
                <a:gd name="T46" fmla="*/ 10393 w 16419"/>
                <a:gd name="T47" fmla="*/ 12757 h 16036"/>
                <a:gd name="T48" fmla="*/ 8904 w 16419"/>
                <a:gd name="T49" fmla="*/ 14636 h 16036"/>
                <a:gd name="T50" fmla="*/ 5284 w 16419"/>
                <a:gd name="T51" fmla="*/ 14382 h 16036"/>
                <a:gd name="T52" fmla="*/ 4071 w 16419"/>
                <a:gd name="T53" fmla="*/ 13005 h 16036"/>
                <a:gd name="T54" fmla="*/ 5783 w 16419"/>
                <a:gd name="T55" fmla="*/ 13367 h 16036"/>
                <a:gd name="T56" fmla="*/ 7945 w 16419"/>
                <a:gd name="T57" fmla="*/ 8277 h 16036"/>
                <a:gd name="T58" fmla="*/ 6342 w 16419"/>
                <a:gd name="T59" fmla="*/ 11582 h 16036"/>
                <a:gd name="T60" fmla="*/ 5136 w 16419"/>
                <a:gd name="T61" fmla="*/ 10650 h 16036"/>
                <a:gd name="T62" fmla="*/ 7945 w 16419"/>
                <a:gd name="T63" fmla="*/ 8277 h 16036"/>
                <a:gd name="T64" fmla="*/ 7024 w 16419"/>
                <a:gd name="T65" fmla="*/ 5084 h 16036"/>
                <a:gd name="T66" fmla="*/ 4843 w 16419"/>
                <a:gd name="T67" fmla="*/ 6857 h 16036"/>
                <a:gd name="T68" fmla="*/ 5321 w 16419"/>
                <a:gd name="T69" fmla="*/ 4784 h 16036"/>
                <a:gd name="T70" fmla="*/ 3667 w 16419"/>
                <a:gd name="T71" fmla="*/ 3305 h 16036"/>
                <a:gd name="T72" fmla="*/ 5215 w 16419"/>
                <a:gd name="T73" fmla="*/ 1684 h 16036"/>
                <a:gd name="T74" fmla="*/ 6448 w 16419"/>
                <a:gd name="T75" fmla="*/ 1771 h 16036"/>
                <a:gd name="T76" fmla="*/ 5148 w 16419"/>
                <a:gd name="T77" fmla="*/ 3833 h 16036"/>
                <a:gd name="T78" fmla="*/ 6569 w 16419"/>
                <a:gd name="T79" fmla="*/ 4486 h 16036"/>
                <a:gd name="T80" fmla="*/ 6014 w 16419"/>
                <a:gd name="T81" fmla="*/ 3301 h 16036"/>
                <a:gd name="T82" fmla="*/ 7732 w 16419"/>
                <a:gd name="T83" fmla="*/ 1205 h 16036"/>
                <a:gd name="T84" fmla="*/ 11565 w 16419"/>
                <a:gd name="T85" fmla="*/ 1859 h 16036"/>
                <a:gd name="T86" fmla="*/ 12421 w 16419"/>
                <a:gd name="T87" fmla="*/ 3513 h 16036"/>
                <a:gd name="T88" fmla="*/ 11123 w 16419"/>
                <a:gd name="T89" fmla="*/ 3527 h 16036"/>
                <a:gd name="T90" fmla="*/ 9758 w 16419"/>
                <a:gd name="T91" fmla="*/ 1525 h 16036"/>
                <a:gd name="T92" fmla="*/ 9852 w 16419"/>
                <a:gd name="T93" fmla="*/ 2463 h 16036"/>
                <a:gd name="T94" fmla="*/ 10437 w 16419"/>
                <a:gd name="T95" fmla="*/ 4348 h 16036"/>
                <a:gd name="T96" fmla="*/ 8786 w 16419"/>
                <a:gd name="T97" fmla="*/ 4626 h 16036"/>
                <a:gd name="T98" fmla="*/ 6848 w 16419"/>
                <a:gd name="T99" fmla="*/ 13930 h 16036"/>
                <a:gd name="T100" fmla="*/ 6020 w 16419"/>
                <a:gd name="T101" fmla="*/ 12187 h 16036"/>
                <a:gd name="T102" fmla="*/ 7521 w 16419"/>
                <a:gd name="T103" fmla="*/ 11934 h 16036"/>
                <a:gd name="T104" fmla="*/ 12063 w 16419"/>
                <a:gd name="T105" fmla="*/ 6494 h 16036"/>
                <a:gd name="T106" fmla="*/ 11695 w 16419"/>
                <a:gd name="T107" fmla="*/ 4461 h 16036"/>
                <a:gd name="T108" fmla="*/ 13078 w 16419"/>
                <a:gd name="T109" fmla="*/ 3710 h 16036"/>
                <a:gd name="T110" fmla="*/ 14700 w 16419"/>
                <a:gd name="T111" fmla="*/ 5106 h 16036"/>
                <a:gd name="T112" fmla="*/ 6960 w 16419"/>
                <a:gd name="T113" fmla="*/ 92 h 16036"/>
                <a:gd name="T114" fmla="*/ 498 w 16419"/>
                <a:gd name="T115" fmla="*/ 5261 h 16036"/>
                <a:gd name="T116" fmla="*/ 2132 w 16419"/>
                <a:gd name="T117" fmla="*/ 13409 h 16036"/>
                <a:gd name="T118" fmla="*/ 10261 w 16419"/>
                <a:gd name="T119" fmla="*/ 15783 h 16036"/>
                <a:gd name="T120" fmla="*/ 16160 w 16419"/>
                <a:gd name="T121" fmla="*/ 10021 h 16036"/>
                <a:gd name="T122" fmla="*/ 13729 w 16419"/>
                <a:gd name="T123" fmla="*/ 2083 h 160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19" h="16036">
                  <a:moveTo>
                    <a:pt x="13248" y="12967"/>
                  </a:moveTo>
                  <a:lnTo>
                    <a:pt x="13139" y="12892"/>
                  </a:lnTo>
                  <a:lnTo>
                    <a:pt x="13030" y="12819"/>
                  </a:lnTo>
                  <a:lnTo>
                    <a:pt x="12919" y="12748"/>
                  </a:lnTo>
                  <a:lnTo>
                    <a:pt x="12807" y="12676"/>
                  </a:lnTo>
                  <a:lnTo>
                    <a:pt x="12693" y="12608"/>
                  </a:lnTo>
                  <a:lnTo>
                    <a:pt x="12579" y="12541"/>
                  </a:lnTo>
                  <a:lnTo>
                    <a:pt x="12463" y="12476"/>
                  </a:lnTo>
                  <a:lnTo>
                    <a:pt x="12347" y="12413"/>
                  </a:lnTo>
                  <a:lnTo>
                    <a:pt x="12229" y="12351"/>
                  </a:lnTo>
                  <a:lnTo>
                    <a:pt x="12110" y="12291"/>
                  </a:lnTo>
                  <a:lnTo>
                    <a:pt x="12051" y="12261"/>
                  </a:lnTo>
                  <a:lnTo>
                    <a:pt x="11990" y="12231"/>
                  </a:lnTo>
                  <a:lnTo>
                    <a:pt x="11930" y="12203"/>
                  </a:lnTo>
                  <a:lnTo>
                    <a:pt x="11869" y="12175"/>
                  </a:lnTo>
                  <a:lnTo>
                    <a:pt x="11808" y="12147"/>
                  </a:lnTo>
                  <a:lnTo>
                    <a:pt x="11747" y="12120"/>
                  </a:lnTo>
                  <a:lnTo>
                    <a:pt x="11686" y="12094"/>
                  </a:lnTo>
                  <a:lnTo>
                    <a:pt x="11625" y="12068"/>
                  </a:lnTo>
                  <a:lnTo>
                    <a:pt x="11562" y="12042"/>
                  </a:lnTo>
                  <a:lnTo>
                    <a:pt x="11499" y="12017"/>
                  </a:lnTo>
                  <a:lnTo>
                    <a:pt x="11438" y="11992"/>
                  </a:lnTo>
                  <a:lnTo>
                    <a:pt x="11374" y="11968"/>
                  </a:lnTo>
                  <a:lnTo>
                    <a:pt x="11419" y="11863"/>
                  </a:lnTo>
                  <a:lnTo>
                    <a:pt x="11463" y="11756"/>
                  </a:lnTo>
                  <a:lnTo>
                    <a:pt x="11505" y="11649"/>
                  </a:lnTo>
                  <a:lnTo>
                    <a:pt x="11546" y="11541"/>
                  </a:lnTo>
                  <a:lnTo>
                    <a:pt x="11585" y="11433"/>
                  </a:lnTo>
                  <a:lnTo>
                    <a:pt x="11624" y="11323"/>
                  </a:lnTo>
                  <a:lnTo>
                    <a:pt x="11661" y="11214"/>
                  </a:lnTo>
                  <a:lnTo>
                    <a:pt x="11696" y="11104"/>
                  </a:lnTo>
                  <a:lnTo>
                    <a:pt x="11731" y="10993"/>
                  </a:lnTo>
                  <a:lnTo>
                    <a:pt x="11765" y="10880"/>
                  </a:lnTo>
                  <a:lnTo>
                    <a:pt x="11798" y="10768"/>
                  </a:lnTo>
                  <a:lnTo>
                    <a:pt x="11829" y="10655"/>
                  </a:lnTo>
                  <a:lnTo>
                    <a:pt x="11859" y="10542"/>
                  </a:lnTo>
                  <a:lnTo>
                    <a:pt x="11887" y="10427"/>
                  </a:lnTo>
                  <a:lnTo>
                    <a:pt x="11914" y="10312"/>
                  </a:lnTo>
                  <a:lnTo>
                    <a:pt x="11941" y="10197"/>
                  </a:lnTo>
                  <a:lnTo>
                    <a:pt x="11965" y="10081"/>
                  </a:lnTo>
                  <a:lnTo>
                    <a:pt x="11988" y="9964"/>
                  </a:lnTo>
                  <a:lnTo>
                    <a:pt x="12010" y="9847"/>
                  </a:lnTo>
                  <a:lnTo>
                    <a:pt x="12031" y="9729"/>
                  </a:lnTo>
                  <a:lnTo>
                    <a:pt x="12051" y="9611"/>
                  </a:lnTo>
                  <a:lnTo>
                    <a:pt x="12068" y="9492"/>
                  </a:lnTo>
                  <a:lnTo>
                    <a:pt x="12084" y="9373"/>
                  </a:lnTo>
                  <a:lnTo>
                    <a:pt x="12100" y="9253"/>
                  </a:lnTo>
                  <a:lnTo>
                    <a:pt x="12113" y="9133"/>
                  </a:lnTo>
                  <a:lnTo>
                    <a:pt x="12126" y="9011"/>
                  </a:lnTo>
                  <a:lnTo>
                    <a:pt x="12137" y="8890"/>
                  </a:lnTo>
                  <a:lnTo>
                    <a:pt x="12147" y="8769"/>
                  </a:lnTo>
                  <a:lnTo>
                    <a:pt x="12155" y="8646"/>
                  </a:lnTo>
                  <a:lnTo>
                    <a:pt x="12161" y="8523"/>
                  </a:lnTo>
                  <a:lnTo>
                    <a:pt x="12166" y="8400"/>
                  </a:lnTo>
                  <a:lnTo>
                    <a:pt x="12171" y="8277"/>
                  </a:lnTo>
                  <a:lnTo>
                    <a:pt x="15347" y="8277"/>
                  </a:lnTo>
                  <a:lnTo>
                    <a:pt x="15337" y="8448"/>
                  </a:lnTo>
                  <a:lnTo>
                    <a:pt x="15325" y="8617"/>
                  </a:lnTo>
                  <a:lnTo>
                    <a:pt x="15309" y="8786"/>
                  </a:lnTo>
                  <a:lnTo>
                    <a:pt x="15287" y="8954"/>
                  </a:lnTo>
                  <a:lnTo>
                    <a:pt x="15262" y="9119"/>
                  </a:lnTo>
                  <a:lnTo>
                    <a:pt x="15234" y="9285"/>
                  </a:lnTo>
                  <a:lnTo>
                    <a:pt x="15201" y="9449"/>
                  </a:lnTo>
                  <a:lnTo>
                    <a:pt x="15164" y="9612"/>
                  </a:lnTo>
                  <a:lnTo>
                    <a:pt x="15124" y="9772"/>
                  </a:lnTo>
                  <a:lnTo>
                    <a:pt x="15080" y="9931"/>
                  </a:lnTo>
                  <a:lnTo>
                    <a:pt x="15032" y="10090"/>
                  </a:lnTo>
                  <a:lnTo>
                    <a:pt x="14980" y="10246"/>
                  </a:lnTo>
                  <a:lnTo>
                    <a:pt x="14925" y="10400"/>
                  </a:lnTo>
                  <a:lnTo>
                    <a:pt x="14866" y="10554"/>
                  </a:lnTo>
                  <a:lnTo>
                    <a:pt x="14804" y="10705"/>
                  </a:lnTo>
                  <a:lnTo>
                    <a:pt x="14738" y="10854"/>
                  </a:lnTo>
                  <a:lnTo>
                    <a:pt x="14668" y="11002"/>
                  </a:lnTo>
                  <a:lnTo>
                    <a:pt x="14596" y="11148"/>
                  </a:lnTo>
                  <a:lnTo>
                    <a:pt x="14521" y="11292"/>
                  </a:lnTo>
                  <a:lnTo>
                    <a:pt x="14441" y="11434"/>
                  </a:lnTo>
                  <a:lnTo>
                    <a:pt x="14358" y="11574"/>
                  </a:lnTo>
                  <a:lnTo>
                    <a:pt x="14272" y="11712"/>
                  </a:lnTo>
                  <a:lnTo>
                    <a:pt x="14183" y="11848"/>
                  </a:lnTo>
                  <a:lnTo>
                    <a:pt x="14092" y="11981"/>
                  </a:lnTo>
                  <a:lnTo>
                    <a:pt x="13996" y="12113"/>
                  </a:lnTo>
                  <a:lnTo>
                    <a:pt x="13898" y="12241"/>
                  </a:lnTo>
                  <a:lnTo>
                    <a:pt x="13797" y="12369"/>
                  </a:lnTo>
                  <a:lnTo>
                    <a:pt x="13693" y="12493"/>
                  </a:lnTo>
                  <a:lnTo>
                    <a:pt x="13586" y="12615"/>
                  </a:lnTo>
                  <a:lnTo>
                    <a:pt x="13476" y="12735"/>
                  </a:lnTo>
                  <a:lnTo>
                    <a:pt x="13364" y="12852"/>
                  </a:lnTo>
                  <a:lnTo>
                    <a:pt x="13248" y="12967"/>
                  </a:lnTo>
                  <a:close/>
                  <a:moveTo>
                    <a:pt x="1073" y="8277"/>
                  </a:moveTo>
                  <a:lnTo>
                    <a:pt x="4248" y="8277"/>
                  </a:lnTo>
                  <a:lnTo>
                    <a:pt x="4253" y="8400"/>
                  </a:lnTo>
                  <a:lnTo>
                    <a:pt x="4258" y="8523"/>
                  </a:lnTo>
                  <a:lnTo>
                    <a:pt x="4265" y="8646"/>
                  </a:lnTo>
                  <a:lnTo>
                    <a:pt x="4273" y="8769"/>
                  </a:lnTo>
                  <a:lnTo>
                    <a:pt x="4282" y="8890"/>
                  </a:lnTo>
                  <a:lnTo>
                    <a:pt x="4294" y="9011"/>
                  </a:lnTo>
                  <a:lnTo>
                    <a:pt x="4306" y="9133"/>
                  </a:lnTo>
                  <a:lnTo>
                    <a:pt x="4319" y="9253"/>
                  </a:lnTo>
                  <a:lnTo>
                    <a:pt x="4335" y="9373"/>
                  </a:lnTo>
                  <a:lnTo>
                    <a:pt x="4351" y="9492"/>
                  </a:lnTo>
                  <a:lnTo>
                    <a:pt x="4370" y="9611"/>
                  </a:lnTo>
                  <a:lnTo>
                    <a:pt x="4388" y="9729"/>
                  </a:lnTo>
                  <a:lnTo>
                    <a:pt x="4410" y="9847"/>
                  </a:lnTo>
                  <a:lnTo>
                    <a:pt x="4431" y="9964"/>
                  </a:lnTo>
                  <a:lnTo>
                    <a:pt x="4455" y="10081"/>
                  </a:lnTo>
                  <a:lnTo>
                    <a:pt x="4479" y="10197"/>
                  </a:lnTo>
                  <a:lnTo>
                    <a:pt x="4505" y="10312"/>
                  </a:lnTo>
                  <a:lnTo>
                    <a:pt x="4533" y="10427"/>
                  </a:lnTo>
                  <a:lnTo>
                    <a:pt x="4560" y="10542"/>
                  </a:lnTo>
                  <a:lnTo>
                    <a:pt x="4590" y="10655"/>
                  </a:lnTo>
                  <a:lnTo>
                    <a:pt x="4622" y="10768"/>
                  </a:lnTo>
                  <a:lnTo>
                    <a:pt x="4654" y="10880"/>
                  </a:lnTo>
                  <a:lnTo>
                    <a:pt x="4688" y="10993"/>
                  </a:lnTo>
                  <a:lnTo>
                    <a:pt x="4723" y="11104"/>
                  </a:lnTo>
                  <a:lnTo>
                    <a:pt x="4758" y="11214"/>
                  </a:lnTo>
                  <a:lnTo>
                    <a:pt x="4795" y="11323"/>
                  </a:lnTo>
                  <a:lnTo>
                    <a:pt x="4834" y="11433"/>
                  </a:lnTo>
                  <a:lnTo>
                    <a:pt x="4874" y="11541"/>
                  </a:lnTo>
                  <a:lnTo>
                    <a:pt x="4915" y="11649"/>
                  </a:lnTo>
                  <a:lnTo>
                    <a:pt x="4958" y="11756"/>
                  </a:lnTo>
                  <a:lnTo>
                    <a:pt x="5001" y="11863"/>
                  </a:lnTo>
                  <a:lnTo>
                    <a:pt x="5045" y="11968"/>
                  </a:lnTo>
                  <a:lnTo>
                    <a:pt x="4982" y="11992"/>
                  </a:lnTo>
                  <a:lnTo>
                    <a:pt x="4920" y="12017"/>
                  </a:lnTo>
                  <a:lnTo>
                    <a:pt x="4857" y="12042"/>
                  </a:lnTo>
                  <a:lnTo>
                    <a:pt x="4795" y="12068"/>
                  </a:lnTo>
                  <a:lnTo>
                    <a:pt x="4734" y="12094"/>
                  </a:lnTo>
                  <a:lnTo>
                    <a:pt x="4672" y="12120"/>
                  </a:lnTo>
                  <a:lnTo>
                    <a:pt x="4611" y="12147"/>
                  </a:lnTo>
                  <a:lnTo>
                    <a:pt x="4550" y="12175"/>
                  </a:lnTo>
                  <a:lnTo>
                    <a:pt x="4490" y="12203"/>
                  </a:lnTo>
                  <a:lnTo>
                    <a:pt x="4429" y="12231"/>
                  </a:lnTo>
                  <a:lnTo>
                    <a:pt x="4370" y="12261"/>
                  </a:lnTo>
                  <a:lnTo>
                    <a:pt x="4309" y="12291"/>
                  </a:lnTo>
                  <a:lnTo>
                    <a:pt x="4191" y="12351"/>
                  </a:lnTo>
                  <a:lnTo>
                    <a:pt x="4073" y="12413"/>
                  </a:lnTo>
                  <a:lnTo>
                    <a:pt x="3956" y="12476"/>
                  </a:lnTo>
                  <a:lnTo>
                    <a:pt x="3841" y="12541"/>
                  </a:lnTo>
                  <a:lnTo>
                    <a:pt x="3726" y="12608"/>
                  </a:lnTo>
                  <a:lnTo>
                    <a:pt x="3613" y="12676"/>
                  </a:lnTo>
                  <a:lnTo>
                    <a:pt x="3501" y="12748"/>
                  </a:lnTo>
                  <a:lnTo>
                    <a:pt x="3389" y="12819"/>
                  </a:lnTo>
                  <a:lnTo>
                    <a:pt x="3280" y="12892"/>
                  </a:lnTo>
                  <a:lnTo>
                    <a:pt x="3171" y="12967"/>
                  </a:lnTo>
                  <a:lnTo>
                    <a:pt x="3056" y="12852"/>
                  </a:lnTo>
                  <a:lnTo>
                    <a:pt x="2943" y="12735"/>
                  </a:lnTo>
                  <a:lnTo>
                    <a:pt x="2833" y="12615"/>
                  </a:lnTo>
                  <a:lnTo>
                    <a:pt x="2727" y="12493"/>
                  </a:lnTo>
                  <a:lnTo>
                    <a:pt x="2623" y="12369"/>
                  </a:lnTo>
                  <a:lnTo>
                    <a:pt x="2521" y="12241"/>
                  </a:lnTo>
                  <a:lnTo>
                    <a:pt x="2423" y="12113"/>
                  </a:lnTo>
                  <a:lnTo>
                    <a:pt x="2328" y="11981"/>
                  </a:lnTo>
                  <a:lnTo>
                    <a:pt x="2236" y="11848"/>
                  </a:lnTo>
                  <a:lnTo>
                    <a:pt x="2147" y="11712"/>
                  </a:lnTo>
                  <a:lnTo>
                    <a:pt x="2062" y="11574"/>
                  </a:lnTo>
                  <a:lnTo>
                    <a:pt x="1978" y="11434"/>
                  </a:lnTo>
                  <a:lnTo>
                    <a:pt x="1899" y="11292"/>
                  </a:lnTo>
                  <a:lnTo>
                    <a:pt x="1824" y="11148"/>
                  </a:lnTo>
                  <a:lnTo>
                    <a:pt x="1751" y="11002"/>
                  </a:lnTo>
                  <a:lnTo>
                    <a:pt x="1682" y="10854"/>
                  </a:lnTo>
                  <a:lnTo>
                    <a:pt x="1615" y="10705"/>
                  </a:lnTo>
                  <a:lnTo>
                    <a:pt x="1554" y="10554"/>
                  </a:lnTo>
                  <a:lnTo>
                    <a:pt x="1494" y="10400"/>
                  </a:lnTo>
                  <a:lnTo>
                    <a:pt x="1440" y="10246"/>
                  </a:lnTo>
                  <a:lnTo>
                    <a:pt x="1387" y="10090"/>
                  </a:lnTo>
                  <a:lnTo>
                    <a:pt x="1340" y="9931"/>
                  </a:lnTo>
                  <a:lnTo>
                    <a:pt x="1296" y="9772"/>
                  </a:lnTo>
                  <a:lnTo>
                    <a:pt x="1255" y="9612"/>
                  </a:lnTo>
                  <a:lnTo>
                    <a:pt x="1219" y="9449"/>
                  </a:lnTo>
                  <a:lnTo>
                    <a:pt x="1186" y="9285"/>
                  </a:lnTo>
                  <a:lnTo>
                    <a:pt x="1158" y="9119"/>
                  </a:lnTo>
                  <a:lnTo>
                    <a:pt x="1132" y="8954"/>
                  </a:lnTo>
                  <a:lnTo>
                    <a:pt x="1111" y="8786"/>
                  </a:lnTo>
                  <a:lnTo>
                    <a:pt x="1095" y="8617"/>
                  </a:lnTo>
                  <a:lnTo>
                    <a:pt x="1082" y="8448"/>
                  </a:lnTo>
                  <a:lnTo>
                    <a:pt x="1073" y="8277"/>
                  </a:lnTo>
                  <a:close/>
                  <a:moveTo>
                    <a:pt x="2878" y="3381"/>
                  </a:moveTo>
                  <a:lnTo>
                    <a:pt x="2935" y="3423"/>
                  </a:lnTo>
                  <a:lnTo>
                    <a:pt x="2992" y="3466"/>
                  </a:lnTo>
                  <a:lnTo>
                    <a:pt x="3050" y="3507"/>
                  </a:lnTo>
                  <a:lnTo>
                    <a:pt x="3107" y="3549"/>
                  </a:lnTo>
                  <a:lnTo>
                    <a:pt x="3165" y="3590"/>
                  </a:lnTo>
                  <a:lnTo>
                    <a:pt x="3223" y="3630"/>
                  </a:lnTo>
                  <a:lnTo>
                    <a:pt x="3282" y="3670"/>
                  </a:lnTo>
                  <a:lnTo>
                    <a:pt x="3341" y="3710"/>
                  </a:lnTo>
                  <a:lnTo>
                    <a:pt x="3401" y="3749"/>
                  </a:lnTo>
                  <a:lnTo>
                    <a:pt x="3460" y="3789"/>
                  </a:lnTo>
                  <a:lnTo>
                    <a:pt x="3521" y="3827"/>
                  </a:lnTo>
                  <a:lnTo>
                    <a:pt x="3581" y="3865"/>
                  </a:lnTo>
                  <a:lnTo>
                    <a:pt x="3642" y="3902"/>
                  </a:lnTo>
                  <a:lnTo>
                    <a:pt x="3702" y="3939"/>
                  </a:lnTo>
                  <a:lnTo>
                    <a:pt x="3764" y="3975"/>
                  </a:lnTo>
                  <a:lnTo>
                    <a:pt x="3826" y="4011"/>
                  </a:lnTo>
                  <a:lnTo>
                    <a:pt x="3887" y="4046"/>
                  </a:lnTo>
                  <a:lnTo>
                    <a:pt x="3950" y="4081"/>
                  </a:lnTo>
                  <a:lnTo>
                    <a:pt x="4012" y="4116"/>
                  </a:lnTo>
                  <a:lnTo>
                    <a:pt x="4076" y="4150"/>
                  </a:lnTo>
                  <a:lnTo>
                    <a:pt x="4139" y="4183"/>
                  </a:lnTo>
                  <a:lnTo>
                    <a:pt x="4202" y="4216"/>
                  </a:lnTo>
                  <a:lnTo>
                    <a:pt x="4267" y="4249"/>
                  </a:lnTo>
                  <a:lnTo>
                    <a:pt x="4331" y="4281"/>
                  </a:lnTo>
                  <a:lnTo>
                    <a:pt x="4395" y="4312"/>
                  </a:lnTo>
                  <a:lnTo>
                    <a:pt x="4461" y="4343"/>
                  </a:lnTo>
                  <a:lnTo>
                    <a:pt x="4525" y="4374"/>
                  </a:lnTo>
                  <a:lnTo>
                    <a:pt x="4591" y="4403"/>
                  </a:lnTo>
                  <a:lnTo>
                    <a:pt x="4657" y="4432"/>
                  </a:lnTo>
                  <a:lnTo>
                    <a:pt x="4724" y="4461"/>
                  </a:lnTo>
                  <a:lnTo>
                    <a:pt x="4789" y="4489"/>
                  </a:lnTo>
                  <a:lnTo>
                    <a:pt x="4856" y="4517"/>
                  </a:lnTo>
                  <a:lnTo>
                    <a:pt x="4822" y="4611"/>
                  </a:lnTo>
                  <a:lnTo>
                    <a:pt x="4789" y="4706"/>
                  </a:lnTo>
                  <a:lnTo>
                    <a:pt x="4756" y="4801"/>
                  </a:lnTo>
                  <a:lnTo>
                    <a:pt x="4726" y="4897"/>
                  </a:lnTo>
                  <a:lnTo>
                    <a:pt x="4695" y="4993"/>
                  </a:lnTo>
                  <a:lnTo>
                    <a:pt x="4665" y="5090"/>
                  </a:lnTo>
                  <a:lnTo>
                    <a:pt x="4637" y="5188"/>
                  </a:lnTo>
                  <a:lnTo>
                    <a:pt x="4610" y="5285"/>
                  </a:lnTo>
                  <a:lnTo>
                    <a:pt x="4583" y="5383"/>
                  </a:lnTo>
                  <a:lnTo>
                    <a:pt x="4557" y="5482"/>
                  </a:lnTo>
                  <a:lnTo>
                    <a:pt x="4533" y="5582"/>
                  </a:lnTo>
                  <a:lnTo>
                    <a:pt x="4509" y="5681"/>
                  </a:lnTo>
                  <a:lnTo>
                    <a:pt x="4486" y="5781"/>
                  </a:lnTo>
                  <a:lnTo>
                    <a:pt x="4465" y="5881"/>
                  </a:lnTo>
                  <a:lnTo>
                    <a:pt x="4444" y="5982"/>
                  </a:lnTo>
                  <a:lnTo>
                    <a:pt x="4425" y="6084"/>
                  </a:lnTo>
                  <a:lnTo>
                    <a:pt x="4406" y="6186"/>
                  </a:lnTo>
                  <a:lnTo>
                    <a:pt x="4388" y="6288"/>
                  </a:lnTo>
                  <a:lnTo>
                    <a:pt x="4372" y="6391"/>
                  </a:lnTo>
                  <a:lnTo>
                    <a:pt x="4356" y="6494"/>
                  </a:lnTo>
                  <a:lnTo>
                    <a:pt x="4342" y="6598"/>
                  </a:lnTo>
                  <a:lnTo>
                    <a:pt x="4328" y="6701"/>
                  </a:lnTo>
                  <a:lnTo>
                    <a:pt x="4315" y="6805"/>
                  </a:lnTo>
                  <a:lnTo>
                    <a:pt x="4304" y="6911"/>
                  </a:lnTo>
                  <a:lnTo>
                    <a:pt x="4294" y="7015"/>
                  </a:lnTo>
                  <a:lnTo>
                    <a:pt x="4284" y="7120"/>
                  </a:lnTo>
                  <a:lnTo>
                    <a:pt x="4275" y="7226"/>
                  </a:lnTo>
                  <a:lnTo>
                    <a:pt x="4268" y="7332"/>
                  </a:lnTo>
                  <a:lnTo>
                    <a:pt x="4262" y="7439"/>
                  </a:lnTo>
                  <a:lnTo>
                    <a:pt x="4257" y="7545"/>
                  </a:lnTo>
                  <a:lnTo>
                    <a:pt x="4253" y="7652"/>
                  </a:lnTo>
                  <a:lnTo>
                    <a:pt x="4248" y="7759"/>
                  </a:lnTo>
                  <a:lnTo>
                    <a:pt x="1073" y="7759"/>
                  </a:lnTo>
                  <a:lnTo>
                    <a:pt x="1081" y="7602"/>
                  </a:lnTo>
                  <a:lnTo>
                    <a:pt x="1092" y="7446"/>
                  </a:lnTo>
                  <a:lnTo>
                    <a:pt x="1107" y="7291"/>
                  </a:lnTo>
                  <a:lnTo>
                    <a:pt x="1125" y="7137"/>
                  </a:lnTo>
                  <a:lnTo>
                    <a:pt x="1146" y="6984"/>
                  </a:lnTo>
                  <a:lnTo>
                    <a:pt x="1171" y="6832"/>
                  </a:lnTo>
                  <a:lnTo>
                    <a:pt x="1200" y="6681"/>
                  </a:lnTo>
                  <a:lnTo>
                    <a:pt x="1231" y="6532"/>
                  </a:lnTo>
                  <a:lnTo>
                    <a:pt x="1265" y="6383"/>
                  </a:lnTo>
                  <a:lnTo>
                    <a:pt x="1304" y="6236"/>
                  </a:lnTo>
                  <a:lnTo>
                    <a:pt x="1345" y="6090"/>
                  </a:lnTo>
                  <a:lnTo>
                    <a:pt x="1389" y="5945"/>
                  </a:lnTo>
                  <a:lnTo>
                    <a:pt x="1437" y="5802"/>
                  </a:lnTo>
                  <a:lnTo>
                    <a:pt x="1487" y="5660"/>
                  </a:lnTo>
                  <a:lnTo>
                    <a:pt x="1540" y="5519"/>
                  </a:lnTo>
                  <a:lnTo>
                    <a:pt x="1597" y="5380"/>
                  </a:lnTo>
                  <a:lnTo>
                    <a:pt x="1656" y="5243"/>
                  </a:lnTo>
                  <a:lnTo>
                    <a:pt x="1719" y="5106"/>
                  </a:lnTo>
                  <a:lnTo>
                    <a:pt x="1785" y="4972"/>
                  </a:lnTo>
                  <a:lnTo>
                    <a:pt x="1852" y="4839"/>
                  </a:lnTo>
                  <a:lnTo>
                    <a:pt x="1923" y="4708"/>
                  </a:lnTo>
                  <a:lnTo>
                    <a:pt x="1997" y="4578"/>
                  </a:lnTo>
                  <a:lnTo>
                    <a:pt x="2074" y="4450"/>
                  </a:lnTo>
                  <a:lnTo>
                    <a:pt x="2153" y="4324"/>
                  </a:lnTo>
                  <a:lnTo>
                    <a:pt x="2234" y="4199"/>
                  </a:lnTo>
                  <a:lnTo>
                    <a:pt x="2319" y="4076"/>
                  </a:lnTo>
                  <a:lnTo>
                    <a:pt x="2405" y="3956"/>
                  </a:lnTo>
                  <a:lnTo>
                    <a:pt x="2496" y="3837"/>
                  </a:lnTo>
                  <a:lnTo>
                    <a:pt x="2587" y="3719"/>
                  </a:lnTo>
                  <a:lnTo>
                    <a:pt x="2681" y="3605"/>
                  </a:lnTo>
                  <a:lnTo>
                    <a:pt x="2779" y="3492"/>
                  </a:lnTo>
                  <a:lnTo>
                    <a:pt x="2878" y="3381"/>
                  </a:lnTo>
                  <a:close/>
                  <a:moveTo>
                    <a:pt x="8474" y="7759"/>
                  </a:moveTo>
                  <a:lnTo>
                    <a:pt x="8474" y="5160"/>
                  </a:lnTo>
                  <a:lnTo>
                    <a:pt x="8559" y="5157"/>
                  </a:lnTo>
                  <a:lnTo>
                    <a:pt x="8644" y="5153"/>
                  </a:lnTo>
                  <a:lnTo>
                    <a:pt x="8728" y="5149"/>
                  </a:lnTo>
                  <a:lnTo>
                    <a:pt x="8812" y="5143"/>
                  </a:lnTo>
                  <a:lnTo>
                    <a:pt x="8896" y="5137"/>
                  </a:lnTo>
                  <a:lnTo>
                    <a:pt x="8980" y="5131"/>
                  </a:lnTo>
                  <a:lnTo>
                    <a:pt x="9063" y="5122"/>
                  </a:lnTo>
                  <a:lnTo>
                    <a:pt x="9146" y="5114"/>
                  </a:lnTo>
                  <a:lnTo>
                    <a:pt x="9230" y="5105"/>
                  </a:lnTo>
                  <a:lnTo>
                    <a:pt x="9313" y="5095"/>
                  </a:lnTo>
                  <a:lnTo>
                    <a:pt x="9395" y="5084"/>
                  </a:lnTo>
                  <a:lnTo>
                    <a:pt x="9477" y="5073"/>
                  </a:lnTo>
                  <a:lnTo>
                    <a:pt x="9559" y="5061"/>
                  </a:lnTo>
                  <a:lnTo>
                    <a:pt x="9641" y="5048"/>
                  </a:lnTo>
                  <a:lnTo>
                    <a:pt x="9723" y="5035"/>
                  </a:lnTo>
                  <a:lnTo>
                    <a:pt x="9804" y="5020"/>
                  </a:lnTo>
                  <a:lnTo>
                    <a:pt x="9885" y="5005"/>
                  </a:lnTo>
                  <a:lnTo>
                    <a:pt x="9965" y="4990"/>
                  </a:lnTo>
                  <a:lnTo>
                    <a:pt x="10046" y="4973"/>
                  </a:lnTo>
                  <a:lnTo>
                    <a:pt x="10126" y="4956"/>
                  </a:lnTo>
                  <a:lnTo>
                    <a:pt x="10206" y="4938"/>
                  </a:lnTo>
                  <a:lnTo>
                    <a:pt x="10287" y="4920"/>
                  </a:lnTo>
                  <a:lnTo>
                    <a:pt x="10366" y="4900"/>
                  </a:lnTo>
                  <a:lnTo>
                    <a:pt x="10445" y="4880"/>
                  </a:lnTo>
                  <a:lnTo>
                    <a:pt x="10524" y="4860"/>
                  </a:lnTo>
                  <a:lnTo>
                    <a:pt x="10602" y="4838"/>
                  </a:lnTo>
                  <a:lnTo>
                    <a:pt x="10681" y="4816"/>
                  </a:lnTo>
                  <a:lnTo>
                    <a:pt x="10759" y="4793"/>
                  </a:lnTo>
                  <a:lnTo>
                    <a:pt x="10836" y="4770"/>
                  </a:lnTo>
                  <a:lnTo>
                    <a:pt x="10914" y="4746"/>
                  </a:lnTo>
                  <a:lnTo>
                    <a:pt x="10990" y="4721"/>
                  </a:lnTo>
                  <a:lnTo>
                    <a:pt x="11066" y="4695"/>
                  </a:lnTo>
                  <a:lnTo>
                    <a:pt x="11099" y="4784"/>
                  </a:lnTo>
                  <a:lnTo>
                    <a:pt x="11130" y="4873"/>
                  </a:lnTo>
                  <a:lnTo>
                    <a:pt x="11161" y="4963"/>
                  </a:lnTo>
                  <a:lnTo>
                    <a:pt x="11191" y="5053"/>
                  </a:lnTo>
                  <a:lnTo>
                    <a:pt x="11219" y="5145"/>
                  </a:lnTo>
                  <a:lnTo>
                    <a:pt x="11247" y="5236"/>
                  </a:lnTo>
                  <a:lnTo>
                    <a:pt x="11274" y="5328"/>
                  </a:lnTo>
                  <a:lnTo>
                    <a:pt x="11299" y="5420"/>
                  </a:lnTo>
                  <a:lnTo>
                    <a:pt x="11325" y="5513"/>
                  </a:lnTo>
                  <a:lnTo>
                    <a:pt x="11349" y="5607"/>
                  </a:lnTo>
                  <a:lnTo>
                    <a:pt x="11372" y="5701"/>
                  </a:lnTo>
                  <a:lnTo>
                    <a:pt x="11395" y="5795"/>
                  </a:lnTo>
                  <a:lnTo>
                    <a:pt x="11415" y="5889"/>
                  </a:lnTo>
                  <a:lnTo>
                    <a:pt x="11436" y="5984"/>
                  </a:lnTo>
                  <a:lnTo>
                    <a:pt x="11455" y="6080"/>
                  </a:lnTo>
                  <a:lnTo>
                    <a:pt x="11474" y="6176"/>
                  </a:lnTo>
                  <a:lnTo>
                    <a:pt x="11491" y="6272"/>
                  </a:lnTo>
                  <a:lnTo>
                    <a:pt x="11509" y="6368"/>
                  </a:lnTo>
                  <a:lnTo>
                    <a:pt x="11524" y="6466"/>
                  </a:lnTo>
                  <a:lnTo>
                    <a:pt x="11538" y="6563"/>
                  </a:lnTo>
                  <a:lnTo>
                    <a:pt x="11553" y="6661"/>
                  </a:lnTo>
                  <a:lnTo>
                    <a:pt x="11565" y="6759"/>
                  </a:lnTo>
                  <a:lnTo>
                    <a:pt x="11577" y="6857"/>
                  </a:lnTo>
                  <a:lnTo>
                    <a:pt x="11589" y="6957"/>
                  </a:lnTo>
                  <a:lnTo>
                    <a:pt x="11598" y="7056"/>
                  </a:lnTo>
                  <a:lnTo>
                    <a:pt x="11607" y="7155"/>
                  </a:lnTo>
                  <a:lnTo>
                    <a:pt x="11615" y="7255"/>
                  </a:lnTo>
                  <a:lnTo>
                    <a:pt x="11623" y="7356"/>
                  </a:lnTo>
                  <a:lnTo>
                    <a:pt x="11629" y="7456"/>
                  </a:lnTo>
                  <a:lnTo>
                    <a:pt x="11634" y="7557"/>
                  </a:lnTo>
                  <a:lnTo>
                    <a:pt x="11638" y="7658"/>
                  </a:lnTo>
                  <a:lnTo>
                    <a:pt x="11641" y="7759"/>
                  </a:lnTo>
                  <a:lnTo>
                    <a:pt x="8474" y="7759"/>
                  </a:lnTo>
                  <a:close/>
                  <a:moveTo>
                    <a:pt x="10879" y="11791"/>
                  </a:moveTo>
                  <a:lnTo>
                    <a:pt x="10807" y="11768"/>
                  </a:lnTo>
                  <a:lnTo>
                    <a:pt x="10735" y="11747"/>
                  </a:lnTo>
                  <a:lnTo>
                    <a:pt x="10663" y="11726"/>
                  </a:lnTo>
                  <a:lnTo>
                    <a:pt x="10590" y="11706"/>
                  </a:lnTo>
                  <a:lnTo>
                    <a:pt x="10518" y="11686"/>
                  </a:lnTo>
                  <a:lnTo>
                    <a:pt x="10446" y="11667"/>
                  </a:lnTo>
                  <a:lnTo>
                    <a:pt x="10373" y="11649"/>
                  </a:lnTo>
                  <a:lnTo>
                    <a:pt x="10299" y="11631"/>
                  </a:lnTo>
                  <a:lnTo>
                    <a:pt x="10226" y="11614"/>
                  </a:lnTo>
                  <a:lnTo>
                    <a:pt x="10152" y="11598"/>
                  </a:lnTo>
                  <a:lnTo>
                    <a:pt x="10078" y="11582"/>
                  </a:lnTo>
                  <a:lnTo>
                    <a:pt x="10003" y="11566"/>
                  </a:lnTo>
                  <a:lnTo>
                    <a:pt x="9929" y="11552"/>
                  </a:lnTo>
                  <a:lnTo>
                    <a:pt x="9854" y="11538"/>
                  </a:lnTo>
                  <a:lnTo>
                    <a:pt x="9780" y="11525"/>
                  </a:lnTo>
                  <a:lnTo>
                    <a:pt x="9704" y="11512"/>
                  </a:lnTo>
                  <a:lnTo>
                    <a:pt x="9629" y="11500"/>
                  </a:lnTo>
                  <a:lnTo>
                    <a:pt x="9553" y="11488"/>
                  </a:lnTo>
                  <a:lnTo>
                    <a:pt x="9477" y="11477"/>
                  </a:lnTo>
                  <a:lnTo>
                    <a:pt x="9401" y="11467"/>
                  </a:lnTo>
                  <a:lnTo>
                    <a:pt x="9325" y="11458"/>
                  </a:lnTo>
                  <a:lnTo>
                    <a:pt x="9249" y="11449"/>
                  </a:lnTo>
                  <a:lnTo>
                    <a:pt x="9172" y="11440"/>
                  </a:lnTo>
                  <a:lnTo>
                    <a:pt x="9095" y="11433"/>
                  </a:lnTo>
                  <a:lnTo>
                    <a:pt x="9018" y="11425"/>
                  </a:lnTo>
                  <a:lnTo>
                    <a:pt x="8941" y="11419"/>
                  </a:lnTo>
                  <a:lnTo>
                    <a:pt x="8864" y="11413"/>
                  </a:lnTo>
                  <a:lnTo>
                    <a:pt x="8786" y="11408"/>
                  </a:lnTo>
                  <a:lnTo>
                    <a:pt x="8708" y="11404"/>
                  </a:lnTo>
                  <a:lnTo>
                    <a:pt x="8630" y="11400"/>
                  </a:lnTo>
                  <a:lnTo>
                    <a:pt x="8552" y="11396"/>
                  </a:lnTo>
                  <a:lnTo>
                    <a:pt x="8474" y="11394"/>
                  </a:lnTo>
                  <a:lnTo>
                    <a:pt x="8474" y="8277"/>
                  </a:lnTo>
                  <a:lnTo>
                    <a:pt x="11641" y="8277"/>
                  </a:lnTo>
                  <a:lnTo>
                    <a:pt x="11637" y="8394"/>
                  </a:lnTo>
                  <a:lnTo>
                    <a:pt x="11632" y="8512"/>
                  </a:lnTo>
                  <a:lnTo>
                    <a:pt x="11626" y="8628"/>
                  </a:lnTo>
                  <a:lnTo>
                    <a:pt x="11617" y="8746"/>
                  </a:lnTo>
                  <a:lnTo>
                    <a:pt x="11608" y="8862"/>
                  </a:lnTo>
                  <a:lnTo>
                    <a:pt x="11598" y="8977"/>
                  </a:lnTo>
                  <a:lnTo>
                    <a:pt x="11586" y="9092"/>
                  </a:lnTo>
                  <a:lnTo>
                    <a:pt x="11572" y="9207"/>
                  </a:lnTo>
                  <a:lnTo>
                    <a:pt x="11558" y="9321"/>
                  </a:lnTo>
                  <a:lnTo>
                    <a:pt x="11542" y="9435"/>
                  </a:lnTo>
                  <a:lnTo>
                    <a:pt x="11525" y="9548"/>
                  </a:lnTo>
                  <a:lnTo>
                    <a:pt x="11506" y="9661"/>
                  </a:lnTo>
                  <a:lnTo>
                    <a:pt x="11486" y="9773"/>
                  </a:lnTo>
                  <a:lnTo>
                    <a:pt x="11466" y="9884"/>
                  </a:lnTo>
                  <a:lnTo>
                    <a:pt x="11443" y="9995"/>
                  </a:lnTo>
                  <a:lnTo>
                    <a:pt x="11419" y="10106"/>
                  </a:lnTo>
                  <a:lnTo>
                    <a:pt x="11395" y="10216"/>
                  </a:lnTo>
                  <a:lnTo>
                    <a:pt x="11368" y="10325"/>
                  </a:lnTo>
                  <a:lnTo>
                    <a:pt x="11341" y="10434"/>
                  </a:lnTo>
                  <a:lnTo>
                    <a:pt x="11313" y="10543"/>
                  </a:lnTo>
                  <a:lnTo>
                    <a:pt x="11283" y="10650"/>
                  </a:lnTo>
                  <a:lnTo>
                    <a:pt x="11252" y="10757"/>
                  </a:lnTo>
                  <a:lnTo>
                    <a:pt x="11220" y="10863"/>
                  </a:lnTo>
                  <a:lnTo>
                    <a:pt x="11186" y="10969"/>
                  </a:lnTo>
                  <a:lnTo>
                    <a:pt x="11152" y="11074"/>
                  </a:lnTo>
                  <a:lnTo>
                    <a:pt x="11117" y="11178"/>
                  </a:lnTo>
                  <a:lnTo>
                    <a:pt x="11080" y="11282"/>
                  </a:lnTo>
                  <a:lnTo>
                    <a:pt x="11042" y="11386"/>
                  </a:lnTo>
                  <a:lnTo>
                    <a:pt x="11003" y="11488"/>
                  </a:lnTo>
                  <a:lnTo>
                    <a:pt x="10962" y="11590"/>
                  </a:lnTo>
                  <a:lnTo>
                    <a:pt x="10921" y="11690"/>
                  </a:lnTo>
                  <a:lnTo>
                    <a:pt x="10879" y="11791"/>
                  </a:lnTo>
                  <a:close/>
                  <a:moveTo>
                    <a:pt x="11162" y="12440"/>
                  </a:moveTo>
                  <a:lnTo>
                    <a:pt x="11275" y="12484"/>
                  </a:lnTo>
                  <a:lnTo>
                    <a:pt x="11387" y="12529"/>
                  </a:lnTo>
                  <a:lnTo>
                    <a:pt x="11497" y="12575"/>
                  </a:lnTo>
                  <a:lnTo>
                    <a:pt x="11606" y="12624"/>
                  </a:lnTo>
                  <a:lnTo>
                    <a:pt x="11715" y="12674"/>
                  </a:lnTo>
                  <a:lnTo>
                    <a:pt x="11824" y="12726"/>
                  </a:lnTo>
                  <a:lnTo>
                    <a:pt x="11930" y="12779"/>
                  </a:lnTo>
                  <a:lnTo>
                    <a:pt x="12036" y="12833"/>
                  </a:lnTo>
                  <a:lnTo>
                    <a:pt x="12142" y="12889"/>
                  </a:lnTo>
                  <a:lnTo>
                    <a:pt x="12245" y="12946"/>
                  </a:lnTo>
                  <a:lnTo>
                    <a:pt x="12349" y="13005"/>
                  </a:lnTo>
                  <a:lnTo>
                    <a:pt x="12451" y="13065"/>
                  </a:lnTo>
                  <a:lnTo>
                    <a:pt x="12552" y="13127"/>
                  </a:lnTo>
                  <a:lnTo>
                    <a:pt x="12653" y="13191"/>
                  </a:lnTo>
                  <a:lnTo>
                    <a:pt x="12751" y="13255"/>
                  </a:lnTo>
                  <a:lnTo>
                    <a:pt x="12850" y="13320"/>
                  </a:lnTo>
                  <a:lnTo>
                    <a:pt x="12759" y="13395"/>
                  </a:lnTo>
                  <a:lnTo>
                    <a:pt x="12666" y="13469"/>
                  </a:lnTo>
                  <a:lnTo>
                    <a:pt x="12573" y="13540"/>
                  </a:lnTo>
                  <a:lnTo>
                    <a:pt x="12477" y="13612"/>
                  </a:lnTo>
                  <a:lnTo>
                    <a:pt x="12381" y="13681"/>
                  </a:lnTo>
                  <a:lnTo>
                    <a:pt x="12283" y="13748"/>
                  </a:lnTo>
                  <a:lnTo>
                    <a:pt x="12185" y="13814"/>
                  </a:lnTo>
                  <a:lnTo>
                    <a:pt x="12084" y="13878"/>
                  </a:lnTo>
                  <a:lnTo>
                    <a:pt x="11984" y="13940"/>
                  </a:lnTo>
                  <a:lnTo>
                    <a:pt x="11881" y="14001"/>
                  </a:lnTo>
                  <a:lnTo>
                    <a:pt x="11779" y="14062"/>
                  </a:lnTo>
                  <a:lnTo>
                    <a:pt x="11674" y="14119"/>
                  </a:lnTo>
                  <a:lnTo>
                    <a:pt x="11568" y="14175"/>
                  </a:lnTo>
                  <a:lnTo>
                    <a:pt x="11461" y="14229"/>
                  </a:lnTo>
                  <a:lnTo>
                    <a:pt x="11354" y="14282"/>
                  </a:lnTo>
                  <a:lnTo>
                    <a:pt x="11245" y="14333"/>
                  </a:lnTo>
                  <a:lnTo>
                    <a:pt x="11136" y="14382"/>
                  </a:lnTo>
                  <a:lnTo>
                    <a:pt x="11025" y="14429"/>
                  </a:lnTo>
                  <a:lnTo>
                    <a:pt x="10914" y="14475"/>
                  </a:lnTo>
                  <a:lnTo>
                    <a:pt x="10802" y="14519"/>
                  </a:lnTo>
                  <a:lnTo>
                    <a:pt x="10688" y="14561"/>
                  </a:lnTo>
                  <a:lnTo>
                    <a:pt x="10573" y="14601"/>
                  </a:lnTo>
                  <a:lnTo>
                    <a:pt x="10458" y="14639"/>
                  </a:lnTo>
                  <a:lnTo>
                    <a:pt x="10342" y="14676"/>
                  </a:lnTo>
                  <a:lnTo>
                    <a:pt x="10225" y="14710"/>
                  </a:lnTo>
                  <a:lnTo>
                    <a:pt x="10107" y="14743"/>
                  </a:lnTo>
                  <a:lnTo>
                    <a:pt x="9989" y="14774"/>
                  </a:lnTo>
                  <a:lnTo>
                    <a:pt x="9869" y="14802"/>
                  </a:lnTo>
                  <a:lnTo>
                    <a:pt x="9749" y="14829"/>
                  </a:lnTo>
                  <a:lnTo>
                    <a:pt x="9628" y="14854"/>
                  </a:lnTo>
                  <a:lnTo>
                    <a:pt x="9507" y="14877"/>
                  </a:lnTo>
                  <a:lnTo>
                    <a:pt x="9383" y="14898"/>
                  </a:lnTo>
                  <a:lnTo>
                    <a:pt x="9450" y="14833"/>
                  </a:lnTo>
                  <a:lnTo>
                    <a:pt x="9516" y="14767"/>
                  </a:lnTo>
                  <a:lnTo>
                    <a:pt x="9582" y="14700"/>
                  </a:lnTo>
                  <a:lnTo>
                    <a:pt x="9645" y="14633"/>
                  </a:lnTo>
                  <a:lnTo>
                    <a:pt x="9710" y="14564"/>
                  </a:lnTo>
                  <a:lnTo>
                    <a:pt x="9772" y="14495"/>
                  </a:lnTo>
                  <a:lnTo>
                    <a:pt x="9835" y="14424"/>
                  </a:lnTo>
                  <a:lnTo>
                    <a:pt x="9897" y="14354"/>
                  </a:lnTo>
                  <a:lnTo>
                    <a:pt x="9958" y="14282"/>
                  </a:lnTo>
                  <a:lnTo>
                    <a:pt x="10019" y="14210"/>
                  </a:lnTo>
                  <a:lnTo>
                    <a:pt x="10078" y="14137"/>
                  </a:lnTo>
                  <a:lnTo>
                    <a:pt x="10138" y="14064"/>
                  </a:lnTo>
                  <a:lnTo>
                    <a:pt x="10195" y="13988"/>
                  </a:lnTo>
                  <a:lnTo>
                    <a:pt x="10254" y="13913"/>
                  </a:lnTo>
                  <a:lnTo>
                    <a:pt x="10310" y="13837"/>
                  </a:lnTo>
                  <a:lnTo>
                    <a:pt x="10367" y="13761"/>
                  </a:lnTo>
                  <a:lnTo>
                    <a:pt x="10422" y="13684"/>
                  </a:lnTo>
                  <a:lnTo>
                    <a:pt x="10476" y="13606"/>
                  </a:lnTo>
                  <a:lnTo>
                    <a:pt x="10531" y="13526"/>
                  </a:lnTo>
                  <a:lnTo>
                    <a:pt x="10584" y="13447"/>
                  </a:lnTo>
                  <a:lnTo>
                    <a:pt x="10636" y="13367"/>
                  </a:lnTo>
                  <a:lnTo>
                    <a:pt x="10688" y="13286"/>
                  </a:lnTo>
                  <a:lnTo>
                    <a:pt x="10739" y="13204"/>
                  </a:lnTo>
                  <a:lnTo>
                    <a:pt x="10789" y="13121"/>
                  </a:lnTo>
                  <a:lnTo>
                    <a:pt x="10839" y="13039"/>
                  </a:lnTo>
                  <a:lnTo>
                    <a:pt x="10888" y="12955"/>
                  </a:lnTo>
                  <a:lnTo>
                    <a:pt x="10935" y="12871"/>
                  </a:lnTo>
                  <a:lnTo>
                    <a:pt x="10982" y="12786"/>
                  </a:lnTo>
                  <a:lnTo>
                    <a:pt x="11028" y="12701"/>
                  </a:lnTo>
                  <a:lnTo>
                    <a:pt x="11074" y="12614"/>
                  </a:lnTo>
                  <a:lnTo>
                    <a:pt x="11119" y="12528"/>
                  </a:lnTo>
                  <a:lnTo>
                    <a:pt x="11162" y="12440"/>
                  </a:lnTo>
                  <a:close/>
                  <a:moveTo>
                    <a:pt x="8474" y="14988"/>
                  </a:moveTo>
                  <a:lnTo>
                    <a:pt x="8474" y="11911"/>
                  </a:lnTo>
                  <a:lnTo>
                    <a:pt x="8545" y="11913"/>
                  </a:lnTo>
                  <a:lnTo>
                    <a:pt x="8616" y="11916"/>
                  </a:lnTo>
                  <a:lnTo>
                    <a:pt x="8687" y="11920"/>
                  </a:lnTo>
                  <a:lnTo>
                    <a:pt x="8757" y="11924"/>
                  </a:lnTo>
                  <a:lnTo>
                    <a:pt x="8828" y="11929"/>
                  </a:lnTo>
                  <a:lnTo>
                    <a:pt x="8899" y="11934"/>
                  </a:lnTo>
                  <a:lnTo>
                    <a:pt x="8969" y="11940"/>
                  </a:lnTo>
                  <a:lnTo>
                    <a:pt x="9039" y="11946"/>
                  </a:lnTo>
                  <a:lnTo>
                    <a:pt x="9108" y="11953"/>
                  </a:lnTo>
                  <a:lnTo>
                    <a:pt x="9178" y="11960"/>
                  </a:lnTo>
                  <a:lnTo>
                    <a:pt x="9248" y="11968"/>
                  </a:lnTo>
                  <a:lnTo>
                    <a:pt x="9317" y="11976"/>
                  </a:lnTo>
                  <a:lnTo>
                    <a:pt x="9387" y="11986"/>
                  </a:lnTo>
                  <a:lnTo>
                    <a:pt x="9455" y="11995"/>
                  </a:lnTo>
                  <a:lnTo>
                    <a:pt x="9524" y="12005"/>
                  </a:lnTo>
                  <a:lnTo>
                    <a:pt x="9593" y="12016"/>
                  </a:lnTo>
                  <a:lnTo>
                    <a:pt x="9661" y="12027"/>
                  </a:lnTo>
                  <a:lnTo>
                    <a:pt x="9729" y="12039"/>
                  </a:lnTo>
                  <a:lnTo>
                    <a:pt x="9797" y="12051"/>
                  </a:lnTo>
                  <a:lnTo>
                    <a:pt x="9865" y="12064"/>
                  </a:lnTo>
                  <a:lnTo>
                    <a:pt x="9932" y="12077"/>
                  </a:lnTo>
                  <a:lnTo>
                    <a:pt x="10000" y="12091"/>
                  </a:lnTo>
                  <a:lnTo>
                    <a:pt x="10067" y="12106"/>
                  </a:lnTo>
                  <a:lnTo>
                    <a:pt x="10134" y="12121"/>
                  </a:lnTo>
                  <a:lnTo>
                    <a:pt x="10200" y="12136"/>
                  </a:lnTo>
                  <a:lnTo>
                    <a:pt x="10267" y="12153"/>
                  </a:lnTo>
                  <a:lnTo>
                    <a:pt x="10334" y="12169"/>
                  </a:lnTo>
                  <a:lnTo>
                    <a:pt x="10399" y="12187"/>
                  </a:lnTo>
                  <a:lnTo>
                    <a:pt x="10465" y="12204"/>
                  </a:lnTo>
                  <a:lnTo>
                    <a:pt x="10531" y="12223"/>
                  </a:lnTo>
                  <a:lnTo>
                    <a:pt x="10596" y="12242"/>
                  </a:lnTo>
                  <a:lnTo>
                    <a:pt x="10661" y="12262"/>
                  </a:lnTo>
                  <a:lnTo>
                    <a:pt x="10610" y="12363"/>
                  </a:lnTo>
                  <a:lnTo>
                    <a:pt x="10557" y="12462"/>
                  </a:lnTo>
                  <a:lnTo>
                    <a:pt x="10504" y="12561"/>
                  </a:lnTo>
                  <a:lnTo>
                    <a:pt x="10450" y="12659"/>
                  </a:lnTo>
                  <a:lnTo>
                    <a:pt x="10393" y="12757"/>
                  </a:lnTo>
                  <a:lnTo>
                    <a:pt x="10337" y="12853"/>
                  </a:lnTo>
                  <a:lnTo>
                    <a:pt x="10279" y="12948"/>
                  </a:lnTo>
                  <a:lnTo>
                    <a:pt x="10220" y="13042"/>
                  </a:lnTo>
                  <a:lnTo>
                    <a:pt x="10159" y="13135"/>
                  </a:lnTo>
                  <a:lnTo>
                    <a:pt x="10099" y="13228"/>
                  </a:lnTo>
                  <a:lnTo>
                    <a:pt x="10036" y="13319"/>
                  </a:lnTo>
                  <a:lnTo>
                    <a:pt x="9972" y="13410"/>
                  </a:lnTo>
                  <a:lnTo>
                    <a:pt x="9909" y="13499"/>
                  </a:lnTo>
                  <a:lnTo>
                    <a:pt x="9843" y="13588"/>
                  </a:lnTo>
                  <a:lnTo>
                    <a:pt x="9776" y="13675"/>
                  </a:lnTo>
                  <a:lnTo>
                    <a:pt x="9710" y="13761"/>
                  </a:lnTo>
                  <a:lnTo>
                    <a:pt x="9641" y="13846"/>
                  </a:lnTo>
                  <a:lnTo>
                    <a:pt x="9571" y="13930"/>
                  </a:lnTo>
                  <a:lnTo>
                    <a:pt x="9501" y="14012"/>
                  </a:lnTo>
                  <a:lnTo>
                    <a:pt x="9430" y="14095"/>
                  </a:lnTo>
                  <a:lnTo>
                    <a:pt x="9358" y="14175"/>
                  </a:lnTo>
                  <a:lnTo>
                    <a:pt x="9284" y="14255"/>
                  </a:lnTo>
                  <a:lnTo>
                    <a:pt x="9210" y="14333"/>
                  </a:lnTo>
                  <a:lnTo>
                    <a:pt x="9135" y="14410"/>
                  </a:lnTo>
                  <a:lnTo>
                    <a:pt x="9059" y="14487"/>
                  </a:lnTo>
                  <a:lnTo>
                    <a:pt x="8982" y="14562"/>
                  </a:lnTo>
                  <a:lnTo>
                    <a:pt x="8904" y="14636"/>
                  </a:lnTo>
                  <a:lnTo>
                    <a:pt x="8825" y="14708"/>
                  </a:lnTo>
                  <a:lnTo>
                    <a:pt x="8746" y="14779"/>
                  </a:lnTo>
                  <a:lnTo>
                    <a:pt x="8666" y="14850"/>
                  </a:lnTo>
                  <a:lnTo>
                    <a:pt x="8584" y="14918"/>
                  </a:lnTo>
                  <a:lnTo>
                    <a:pt x="8502" y="14987"/>
                  </a:lnTo>
                  <a:lnTo>
                    <a:pt x="8474" y="14988"/>
                  </a:lnTo>
                  <a:close/>
                  <a:moveTo>
                    <a:pt x="7036" y="14898"/>
                  </a:moveTo>
                  <a:lnTo>
                    <a:pt x="6913" y="14877"/>
                  </a:lnTo>
                  <a:lnTo>
                    <a:pt x="6791" y="14854"/>
                  </a:lnTo>
                  <a:lnTo>
                    <a:pt x="6670" y="14829"/>
                  </a:lnTo>
                  <a:lnTo>
                    <a:pt x="6550" y="14802"/>
                  </a:lnTo>
                  <a:lnTo>
                    <a:pt x="6431" y="14774"/>
                  </a:lnTo>
                  <a:lnTo>
                    <a:pt x="6312" y="14743"/>
                  </a:lnTo>
                  <a:lnTo>
                    <a:pt x="6194" y="14710"/>
                  </a:lnTo>
                  <a:lnTo>
                    <a:pt x="6077" y="14676"/>
                  </a:lnTo>
                  <a:lnTo>
                    <a:pt x="5961" y="14639"/>
                  </a:lnTo>
                  <a:lnTo>
                    <a:pt x="5846" y="14601"/>
                  </a:lnTo>
                  <a:lnTo>
                    <a:pt x="5731" y="14561"/>
                  </a:lnTo>
                  <a:lnTo>
                    <a:pt x="5618" y="14519"/>
                  </a:lnTo>
                  <a:lnTo>
                    <a:pt x="5505" y="14475"/>
                  </a:lnTo>
                  <a:lnTo>
                    <a:pt x="5395" y="14429"/>
                  </a:lnTo>
                  <a:lnTo>
                    <a:pt x="5284" y="14382"/>
                  </a:lnTo>
                  <a:lnTo>
                    <a:pt x="5174" y="14333"/>
                  </a:lnTo>
                  <a:lnTo>
                    <a:pt x="5065" y="14282"/>
                  </a:lnTo>
                  <a:lnTo>
                    <a:pt x="4958" y="14229"/>
                  </a:lnTo>
                  <a:lnTo>
                    <a:pt x="4851" y="14175"/>
                  </a:lnTo>
                  <a:lnTo>
                    <a:pt x="4746" y="14119"/>
                  </a:lnTo>
                  <a:lnTo>
                    <a:pt x="4641" y="14062"/>
                  </a:lnTo>
                  <a:lnTo>
                    <a:pt x="4538" y="14001"/>
                  </a:lnTo>
                  <a:lnTo>
                    <a:pt x="4436" y="13940"/>
                  </a:lnTo>
                  <a:lnTo>
                    <a:pt x="4335" y="13878"/>
                  </a:lnTo>
                  <a:lnTo>
                    <a:pt x="4235" y="13814"/>
                  </a:lnTo>
                  <a:lnTo>
                    <a:pt x="4137" y="13748"/>
                  </a:lnTo>
                  <a:lnTo>
                    <a:pt x="4038" y="13681"/>
                  </a:lnTo>
                  <a:lnTo>
                    <a:pt x="3943" y="13612"/>
                  </a:lnTo>
                  <a:lnTo>
                    <a:pt x="3847" y="13540"/>
                  </a:lnTo>
                  <a:lnTo>
                    <a:pt x="3753" y="13469"/>
                  </a:lnTo>
                  <a:lnTo>
                    <a:pt x="3660" y="13395"/>
                  </a:lnTo>
                  <a:lnTo>
                    <a:pt x="3569" y="13320"/>
                  </a:lnTo>
                  <a:lnTo>
                    <a:pt x="3668" y="13255"/>
                  </a:lnTo>
                  <a:lnTo>
                    <a:pt x="3767" y="13191"/>
                  </a:lnTo>
                  <a:lnTo>
                    <a:pt x="3867" y="13127"/>
                  </a:lnTo>
                  <a:lnTo>
                    <a:pt x="3968" y="13065"/>
                  </a:lnTo>
                  <a:lnTo>
                    <a:pt x="4071" y="13005"/>
                  </a:lnTo>
                  <a:lnTo>
                    <a:pt x="4174" y="12946"/>
                  </a:lnTo>
                  <a:lnTo>
                    <a:pt x="4278" y="12889"/>
                  </a:lnTo>
                  <a:lnTo>
                    <a:pt x="4383" y="12833"/>
                  </a:lnTo>
                  <a:lnTo>
                    <a:pt x="4489" y="12779"/>
                  </a:lnTo>
                  <a:lnTo>
                    <a:pt x="4596" y="12726"/>
                  </a:lnTo>
                  <a:lnTo>
                    <a:pt x="4704" y="12674"/>
                  </a:lnTo>
                  <a:lnTo>
                    <a:pt x="4813" y="12624"/>
                  </a:lnTo>
                  <a:lnTo>
                    <a:pt x="4923" y="12575"/>
                  </a:lnTo>
                  <a:lnTo>
                    <a:pt x="5033" y="12529"/>
                  </a:lnTo>
                  <a:lnTo>
                    <a:pt x="5144" y="12484"/>
                  </a:lnTo>
                  <a:lnTo>
                    <a:pt x="5257" y="12440"/>
                  </a:lnTo>
                  <a:lnTo>
                    <a:pt x="5301" y="12528"/>
                  </a:lnTo>
                  <a:lnTo>
                    <a:pt x="5345" y="12614"/>
                  </a:lnTo>
                  <a:lnTo>
                    <a:pt x="5391" y="12701"/>
                  </a:lnTo>
                  <a:lnTo>
                    <a:pt x="5437" y="12786"/>
                  </a:lnTo>
                  <a:lnTo>
                    <a:pt x="5484" y="12871"/>
                  </a:lnTo>
                  <a:lnTo>
                    <a:pt x="5532" y="12955"/>
                  </a:lnTo>
                  <a:lnTo>
                    <a:pt x="5580" y="13039"/>
                  </a:lnTo>
                  <a:lnTo>
                    <a:pt x="5630" y="13121"/>
                  </a:lnTo>
                  <a:lnTo>
                    <a:pt x="5680" y="13204"/>
                  </a:lnTo>
                  <a:lnTo>
                    <a:pt x="5731" y="13286"/>
                  </a:lnTo>
                  <a:lnTo>
                    <a:pt x="5783" y="13367"/>
                  </a:lnTo>
                  <a:lnTo>
                    <a:pt x="5835" y="13447"/>
                  </a:lnTo>
                  <a:lnTo>
                    <a:pt x="5888" y="13526"/>
                  </a:lnTo>
                  <a:lnTo>
                    <a:pt x="5943" y="13606"/>
                  </a:lnTo>
                  <a:lnTo>
                    <a:pt x="5997" y="13684"/>
                  </a:lnTo>
                  <a:lnTo>
                    <a:pt x="6052" y="13761"/>
                  </a:lnTo>
                  <a:lnTo>
                    <a:pt x="6109" y="13837"/>
                  </a:lnTo>
                  <a:lnTo>
                    <a:pt x="6166" y="13913"/>
                  </a:lnTo>
                  <a:lnTo>
                    <a:pt x="6224" y="13988"/>
                  </a:lnTo>
                  <a:lnTo>
                    <a:pt x="6282" y="14064"/>
                  </a:lnTo>
                  <a:lnTo>
                    <a:pt x="6341" y="14137"/>
                  </a:lnTo>
                  <a:lnTo>
                    <a:pt x="6400" y="14210"/>
                  </a:lnTo>
                  <a:lnTo>
                    <a:pt x="6461" y="14282"/>
                  </a:lnTo>
                  <a:lnTo>
                    <a:pt x="6522" y="14354"/>
                  </a:lnTo>
                  <a:lnTo>
                    <a:pt x="6584" y="14424"/>
                  </a:lnTo>
                  <a:lnTo>
                    <a:pt x="6647" y="14495"/>
                  </a:lnTo>
                  <a:lnTo>
                    <a:pt x="6710" y="14564"/>
                  </a:lnTo>
                  <a:lnTo>
                    <a:pt x="6774" y="14633"/>
                  </a:lnTo>
                  <a:lnTo>
                    <a:pt x="6839" y="14700"/>
                  </a:lnTo>
                  <a:lnTo>
                    <a:pt x="6903" y="14767"/>
                  </a:lnTo>
                  <a:lnTo>
                    <a:pt x="6969" y="14833"/>
                  </a:lnTo>
                  <a:lnTo>
                    <a:pt x="7036" y="14898"/>
                  </a:lnTo>
                  <a:close/>
                  <a:moveTo>
                    <a:pt x="7945" y="8277"/>
                  </a:moveTo>
                  <a:lnTo>
                    <a:pt x="7945" y="11394"/>
                  </a:lnTo>
                  <a:lnTo>
                    <a:pt x="7867" y="11396"/>
                  </a:lnTo>
                  <a:lnTo>
                    <a:pt x="7789" y="11400"/>
                  </a:lnTo>
                  <a:lnTo>
                    <a:pt x="7711" y="11404"/>
                  </a:lnTo>
                  <a:lnTo>
                    <a:pt x="7633" y="11408"/>
                  </a:lnTo>
                  <a:lnTo>
                    <a:pt x="7555" y="11413"/>
                  </a:lnTo>
                  <a:lnTo>
                    <a:pt x="7478" y="11419"/>
                  </a:lnTo>
                  <a:lnTo>
                    <a:pt x="7401" y="11425"/>
                  </a:lnTo>
                  <a:lnTo>
                    <a:pt x="7324" y="11433"/>
                  </a:lnTo>
                  <a:lnTo>
                    <a:pt x="7247" y="11440"/>
                  </a:lnTo>
                  <a:lnTo>
                    <a:pt x="7170" y="11449"/>
                  </a:lnTo>
                  <a:lnTo>
                    <a:pt x="7094" y="11458"/>
                  </a:lnTo>
                  <a:lnTo>
                    <a:pt x="7018" y="11467"/>
                  </a:lnTo>
                  <a:lnTo>
                    <a:pt x="6942" y="11477"/>
                  </a:lnTo>
                  <a:lnTo>
                    <a:pt x="6866" y="11488"/>
                  </a:lnTo>
                  <a:lnTo>
                    <a:pt x="6790" y="11500"/>
                  </a:lnTo>
                  <a:lnTo>
                    <a:pt x="6715" y="11512"/>
                  </a:lnTo>
                  <a:lnTo>
                    <a:pt x="6640" y="11525"/>
                  </a:lnTo>
                  <a:lnTo>
                    <a:pt x="6565" y="11538"/>
                  </a:lnTo>
                  <a:lnTo>
                    <a:pt x="6491" y="11552"/>
                  </a:lnTo>
                  <a:lnTo>
                    <a:pt x="6416" y="11566"/>
                  </a:lnTo>
                  <a:lnTo>
                    <a:pt x="6342" y="11582"/>
                  </a:lnTo>
                  <a:lnTo>
                    <a:pt x="6268" y="11598"/>
                  </a:lnTo>
                  <a:lnTo>
                    <a:pt x="6194" y="11614"/>
                  </a:lnTo>
                  <a:lnTo>
                    <a:pt x="6120" y="11631"/>
                  </a:lnTo>
                  <a:lnTo>
                    <a:pt x="6047" y="11649"/>
                  </a:lnTo>
                  <a:lnTo>
                    <a:pt x="5973" y="11667"/>
                  </a:lnTo>
                  <a:lnTo>
                    <a:pt x="5901" y="11686"/>
                  </a:lnTo>
                  <a:lnTo>
                    <a:pt x="5829" y="11706"/>
                  </a:lnTo>
                  <a:lnTo>
                    <a:pt x="5756" y="11726"/>
                  </a:lnTo>
                  <a:lnTo>
                    <a:pt x="5684" y="11747"/>
                  </a:lnTo>
                  <a:lnTo>
                    <a:pt x="5612" y="11768"/>
                  </a:lnTo>
                  <a:lnTo>
                    <a:pt x="5540" y="11791"/>
                  </a:lnTo>
                  <a:lnTo>
                    <a:pt x="5498" y="11690"/>
                  </a:lnTo>
                  <a:lnTo>
                    <a:pt x="5457" y="11590"/>
                  </a:lnTo>
                  <a:lnTo>
                    <a:pt x="5417" y="11488"/>
                  </a:lnTo>
                  <a:lnTo>
                    <a:pt x="5377" y="11386"/>
                  </a:lnTo>
                  <a:lnTo>
                    <a:pt x="5339" y="11282"/>
                  </a:lnTo>
                  <a:lnTo>
                    <a:pt x="5303" y="11178"/>
                  </a:lnTo>
                  <a:lnTo>
                    <a:pt x="5267" y="11074"/>
                  </a:lnTo>
                  <a:lnTo>
                    <a:pt x="5233" y="10969"/>
                  </a:lnTo>
                  <a:lnTo>
                    <a:pt x="5200" y="10863"/>
                  </a:lnTo>
                  <a:lnTo>
                    <a:pt x="5167" y="10757"/>
                  </a:lnTo>
                  <a:lnTo>
                    <a:pt x="5136" y="10650"/>
                  </a:lnTo>
                  <a:lnTo>
                    <a:pt x="5106" y="10543"/>
                  </a:lnTo>
                  <a:lnTo>
                    <a:pt x="5079" y="10434"/>
                  </a:lnTo>
                  <a:lnTo>
                    <a:pt x="5051" y="10325"/>
                  </a:lnTo>
                  <a:lnTo>
                    <a:pt x="5025" y="10216"/>
                  </a:lnTo>
                  <a:lnTo>
                    <a:pt x="5000" y="10106"/>
                  </a:lnTo>
                  <a:lnTo>
                    <a:pt x="4976" y="9995"/>
                  </a:lnTo>
                  <a:lnTo>
                    <a:pt x="4954" y="9884"/>
                  </a:lnTo>
                  <a:lnTo>
                    <a:pt x="4933" y="9773"/>
                  </a:lnTo>
                  <a:lnTo>
                    <a:pt x="4913" y="9661"/>
                  </a:lnTo>
                  <a:lnTo>
                    <a:pt x="4895" y="9548"/>
                  </a:lnTo>
                  <a:lnTo>
                    <a:pt x="4877" y="9435"/>
                  </a:lnTo>
                  <a:lnTo>
                    <a:pt x="4861" y="9321"/>
                  </a:lnTo>
                  <a:lnTo>
                    <a:pt x="4847" y="9207"/>
                  </a:lnTo>
                  <a:lnTo>
                    <a:pt x="4833" y="9092"/>
                  </a:lnTo>
                  <a:lnTo>
                    <a:pt x="4822" y="8977"/>
                  </a:lnTo>
                  <a:lnTo>
                    <a:pt x="4811" y="8862"/>
                  </a:lnTo>
                  <a:lnTo>
                    <a:pt x="4802" y="8746"/>
                  </a:lnTo>
                  <a:lnTo>
                    <a:pt x="4794" y="8628"/>
                  </a:lnTo>
                  <a:lnTo>
                    <a:pt x="4787" y="8512"/>
                  </a:lnTo>
                  <a:lnTo>
                    <a:pt x="4782" y="8394"/>
                  </a:lnTo>
                  <a:lnTo>
                    <a:pt x="4779" y="8277"/>
                  </a:lnTo>
                  <a:lnTo>
                    <a:pt x="7945" y="8277"/>
                  </a:lnTo>
                  <a:close/>
                  <a:moveTo>
                    <a:pt x="5353" y="4695"/>
                  </a:moveTo>
                  <a:lnTo>
                    <a:pt x="5430" y="4721"/>
                  </a:lnTo>
                  <a:lnTo>
                    <a:pt x="5507" y="4746"/>
                  </a:lnTo>
                  <a:lnTo>
                    <a:pt x="5583" y="4770"/>
                  </a:lnTo>
                  <a:lnTo>
                    <a:pt x="5661" y="4793"/>
                  </a:lnTo>
                  <a:lnTo>
                    <a:pt x="5739" y="4816"/>
                  </a:lnTo>
                  <a:lnTo>
                    <a:pt x="5817" y="4838"/>
                  </a:lnTo>
                  <a:lnTo>
                    <a:pt x="5896" y="4860"/>
                  </a:lnTo>
                  <a:lnTo>
                    <a:pt x="5974" y="4880"/>
                  </a:lnTo>
                  <a:lnTo>
                    <a:pt x="6053" y="4900"/>
                  </a:lnTo>
                  <a:lnTo>
                    <a:pt x="6134" y="4920"/>
                  </a:lnTo>
                  <a:lnTo>
                    <a:pt x="6213" y="4938"/>
                  </a:lnTo>
                  <a:lnTo>
                    <a:pt x="6293" y="4956"/>
                  </a:lnTo>
                  <a:lnTo>
                    <a:pt x="6373" y="4973"/>
                  </a:lnTo>
                  <a:lnTo>
                    <a:pt x="6454" y="4990"/>
                  </a:lnTo>
                  <a:lnTo>
                    <a:pt x="6535" y="5005"/>
                  </a:lnTo>
                  <a:lnTo>
                    <a:pt x="6615" y="5020"/>
                  </a:lnTo>
                  <a:lnTo>
                    <a:pt x="6697" y="5035"/>
                  </a:lnTo>
                  <a:lnTo>
                    <a:pt x="6778" y="5048"/>
                  </a:lnTo>
                  <a:lnTo>
                    <a:pt x="6860" y="5061"/>
                  </a:lnTo>
                  <a:lnTo>
                    <a:pt x="6942" y="5073"/>
                  </a:lnTo>
                  <a:lnTo>
                    <a:pt x="7024" y="5084"/>
                  </a:lnTo>
                  <a:lnTo>
                    <a:pt x="7106" y="5095"/>
                  </a:lnTo>
                  <a:lnTo>
                    <a:pt x="7189" y="5105"/>
                  </a:lnTo>
                  <a:lnTo>
                    <a:pt x="7273" y="5114"/>
                  </a:lnTo>
                  <a:lnTo>
                    <a:pt x="7356" y="5122"/>
                  </a:lnTo>
                  <a:lnTo>
                    <a:pt x="7439" y="5131"/>
                  </a:lnTo>
                  <a:lnTo>
                    <a:pt x="7523" y="5137"/>
                  </a:lnTo>
                  <a:lnTo>
                    <a:pt x="7607" y="5143"/>
                  </a:lnTo>
                  <a:lnTo>
                    <a:pt x="7691" y="5149"/>
                  </a:lnTo>
                  <a:lnTo>
                    <a:pt x="7775" y="5153"/>
                  </a:lnTo>
                  <a:lnTo>
                    <a:pt x="7860" y="5157"/>
                  </a:lnTo>
                  <a:lnTo>
                    <a:pt x="7945" y="5160"/>
                  </a:lnTo>
                  <a:lnTo>
                    <a:pt x="7945" y="7759"/>
                  </a:lnTo>
                  <a:lnTo>
                    <a:pt x="4779" y="7759"/>
                  </a:lnTo>
                  <a:lnTo>
                    <a:pt x="4782" y="7658"/>
                  </a:lnTo>
                  <a:lnTo>
                    <a:pt x="4786" y="7557"/>
                  </a:lnTo>
                  <a:lnTo>
                    <a:pt x="4791" y="7456"/>
                  </a:lnTo>
                  <a:lnTo>
                    <a:pt x="4797" y="7356"/>
                  </a:lnTo>
                  <a:lnTo>
                    <a:pt x="4805" y="7255"/>
                  </a:lnTo>
                  <a:lnTo>
                    <a:pt x="4812" y="7155"/>
                  </a:lnTo>
                  <a:lnTo>
                    <a:pt x="4821" y="7056"/>
                  </a:lnTo>
                  <a:lnTo>
                    <a:pt x="4831" y="6957"/>
                  </a:lnTo>
                  <a:lnTo>
                    <a:pt x="4843" y="6857"/>
                  </a:lnTo>
                  <a:lnTo>
                    <a:pt x="4854" y="6759"/>
                  </a:lnTo>
                  <a:lnTo>
                    <a:pt x="4867" y="6661"/>
                  </a:lnTo>
                  <a:lnTo>
                    <a:pt x="4881" y="6563"/>
                  </a:lnTo>
                  <a:lnTo>
                    <a:pt x="4896" y="6466"/>
                  </a:lnTo>
                  <a:lnTo>
                    <a:pt x="4911" y="6368"/>
                  </a:lnTo>
                  <a:lnTo>
                    <a:pt x="4928" y="6272"/>
                  </a:lnTo>
                  <a:lnTo>
                    <a:pt x="4945" y="6176"/>
                  </a:lnTo>
                  <a:lnTo>
                    <a:pt x="4964" y="6080"/>
                  </a:lnTo>
                  <a:lnTo>
                    <a:pt x="4983" y="5984"/>
                  </a:lnTo>
                  <a:lnTo>
                    <a:pt x="5004" y="5889"/>
                  </a:lnTo>
                  <a:lnTo>
                    <a:pt x="5025" y="5795"/>
                  </a:lnTo>
                  <a:lnTo>
                    <a:pt x="5048" y="5701"/>
                  </a:lnTo>
                  <a:lnTo>
                    <a:pt x="5070" y="5607"/>
                  </a:lnTo>
                  <a:lnTo>
                    <a:pt x="5095" y="5513"/>
                  </a:lnTo>
                  <a:lnTo>
                    <a:pt x="5120" y="5420"/>
                  </a:lnTo>
                  <a:lnTo>
                    <a:pt x="5145" y="5328"/>
                  </a:lnTo>
                  <a:lnTo>
                    <a:pt x="5172" y="5236"/>
                  </a:lnTo>
                  <a:lnTo>
                    <a:pt x="5201" y="5145"/>
                  </a:lnTo>
                  <a:lnTo>
                    <a:pt x="5228" y="5053"/>
                  </a:lnTo>
                  <a:lnTo>
                    <a:pt x="5258" y="4963"/>
                  </a:lnTo>
                  <a:lnTo>
                    <a:pt x="5289" y="4873"/>
                  </a:lnTo>
                  <a:lnTo>
                    <a:pt x="5321" y="4784"/>
                  </a:lnTo>
                  <a:lnTo>
                    <a:pt x="5353" y="4695"/>
                  </a:lnTo>
                  <a:close/>
                  <a:moveTo>
                    <a:pt x="5056" y="4040"/>
                  </a:moveTo>
                  <a:lnTo>
                    <a:pt x="4994" y="4015"/>
                  </a:lnTo>
                  <a:lnTo>
                    <a:pt x="4934" y="3989"/>
                  </a:lnTo>
                  <a:lnTo>
                    <a:pt x="4873" y="3963"/>
                  </a:lnTo>
                  <a:lnTo>
                    <a:pt x="4813" y="3936"/>
                  </a:lnTo>
                  <a:lnTo>
                    <a:pt x="4753" y="3909"/>
                  </a:lnTo>
                  <a:lnTo>
                    <a:pt x="4693" y="3882"/>
                  </a:lnTo>
                  <a:lnTo>
                    <a:pt x="4633" y="3854"/>
                  </a:lnTo>
                  <a:lnTo>
                    <a:pt x="4575" y="3825"/>
                  </a:lnTo>
                  <a:lnTo>
                    <a:pt x="4515" y="3796"/>
                  </a:lnTo>
                  <a:lnTo>
                    <a:pt x="4457" y="3766"/>
                  </a:lnTo>
                  <a:lnTo>
                    <a:pt x="4398" y="3736"/>
                  </a:lnTo>
                  <a:lnTo>
                    <a:pt x="4341" y="3705"/>
                  </a:lnTo>
                  <a:lnTo>
                    <a:pt x="4282" y="3674"/>
                  </a:lnTo>
                  <a:lnTo>
                    <a:pt x="4225" y="3643"/>
                  </a:lnTo>
                  <a:lnTo>
                    <a:pt x="4168" y="3611"/>
                  </a:lnTo>
                  <a:lnTo>
                    <a:pt x="4111" y="3579"/>
                  </a:lnTo>
                  <a:lnTo>
                    <a:pt x="3998" y="3513"/>
                  </a:lnTo>
                  <a:lnTo>
                    <a:pt x="3886" y="3446"/>
                  </a:lnTo>
                  <a:lnTo>
                    <a:pt x="3776" y="3377"/>
                  </a:lnTo>
                  <a:lnTo>
                    <a:pt x="3667" y="3305"/>
                  </a:lnTo>
                  <a:lnTo>
                    <a:pt x="3559" y="3233"/>
                  </a:lnTo>
                  <a:lnTo>
                    <a:pt x="3451" y="3159"/>
                  </a:lnTo>
                  <a:lnTo>
                    <a:pt x="3345" y="3084"/>
                  </a:lnTo>
                  <a:lnTo>
                    <a:pt x="3241" y="3007"/>
                  </a:lnTo>
                  <a:lnTo>
                    <a:pt x="3337" y="2917"/>
                  </a:lnTo>
                  <a:lnTo>
                    <a:pt x="3436" y="2829"/>
                  </a:lnTo>
                  <a:lnTo>
                    <a:pt x="3535" y="2743"/>
                  </a:lnTo>
                  <a:lnTo>
                    <a:pt x="3637" y="2659"/>
                  </a:lnTo>
                  <a:lnTo>
                    <a:pt x="3740" y="2576"/>
                  </a:lnTo>
                  <a:lnTo>
                    <a:pt x="3845" y="2496"/>
                  </a:lnTo>
                  <a:lnTo>
                    <a:pt x="3951" y="2417"/>
                  </a:lnTo>
                  <a:lnTo>
                    <a:pt x="4059" y="2340"/>
                  </a:lnTo>
                  <a:lnTo>
                    <a:pt x="4168" y="2266"/>
                  </a:lnTo>
                  <a:lnTo>
                    <a:pt x="4279" y="2193"/>
                  </a:lnTo>
                  <a:lnTo>
                    <a:pt x="4391" y="2122"/>
                  </a:lnTo>
                  <a:lnTo>
                    <a:pt x="4505" y="2054"/>
                  </a:lnTo>
                  <a:lnTo>
                    <a:pt x="4620" y="1986"/>
                  </a:lnTo>
                  <a:lnTo>
                    <a:pt x="4736" y="1921"/>
                  </a:lnTo>
                  <a:lnTo>
                    <a:pt x="4854" y="1859"/>
                  </a:lnTo>
                  <a:lnTo>
                    <a:pt x="4973" y="1799"/>
                  </a:lnTo>
                  <a:lnTo>
                    <a:pt x="5093" y="1740"/>
                  </a:lnTo>
                  <a:lnTo>
                    <a:pt x="5215" y="1684"/>
                  </a:lnTo>
                  <a:lnTo>
                    <a:pt x="5338" y="1630"/>
                  </a:lnTo>
                  <a:lnTo>
                    <a:pt x="5461" y="1579"/>
                  </a:lnTo>
                  <a:lnTo>
                    <a:pt x="5587" y="1528"/>
                  </a:lnTo>
                  <a:lnTo>
                    <a:pt x="5714" y="1481"/>
                  </a:lnTo>
                  <a:lnTo>
                    <a:pt x="5841" y="1436"/>
                  </a:lnTo>
                  <a:lnTo>
                    <a:pt x="5969" y="1393"/>
                  </a:lnTo>
                  <a:lnTo>
                    <a:pt x="6100" y="1353"/>
                  </a:lnTo>
                  <a:lnTo>
                    <a:pt x="6230" y="1315"/>
                  </a:lnTo>
                  <a:lnTo>
                    <a:pt x="6362" y="1279"/>
                  </a:lnTo>
                  <a:lnTo>
                    <a:pt x="6495" y="1246"/>
                  </a:lnTo>
                  <a:lnTo>
                    <a:pt x="6628" y="1215"/>
                  </a:lnTo>
                  <a:lnTo>
                    <a:pt x="6764" y="1187"/>
                  </a:lnTo>
                  <a:lnTo>
                    <a:pt x="6899" y="1161"/>
                  </a:lnTo>
                  <a:lnTo>
                    <a:pt x="7036" y="1137"/>
                  </a:lnTo>
                  <a:lnTo>
                    <a:pt x="6960" y="1213"/>
                  </a:lnTo>
                  <a:lnTo>
                    <a:pt x="6884" y="1289"/>
                  </a:lnTo>
                  <a:lnTo>
                    <a:pt x="6809" y="1367"/>
                  </a:lnTo>
                  <a:lnTo>
                    <a:pt x="6735" y="1446"/>
                  </a:lnTo>
                  <a:lnTo>
                    <a:pt x="6662" y="1525"/>
                  </a:lnTo>
                  <a:lnTo>
                    <a:pt x="6589" y="1607"/>
                  </a:lnTo>
                  <a:lnTo>
                    <a:pt x="6518" y="1689"/>
                  </a:lnTo>
                  <a:lnTo>
                    <a:pt x="6448" y="1771"/>
                  </a:lnTo>
                  <a:lnTo>
                    <a:pt x="6379" y="1855"/>
                  </a:lnTo>
                  <a:lnTo>
                    <a:pt x="6310" y="1940"/>
                  </a:lnTo>
                  <a:lnTo>
                    <a:pt x="6242" y="2027"/>
                  </a:lnTo>
                  <a:lnTo>
                    <a:pt x="6176" y="2113"/>
                  </a:lnTo>
                  <a:lnTo>
                    <a:pt x="6110" y="2201"/>
                  </a:lnTo>
                  <a:lnTo>
                    <a:pt x="6045" y="2290"/>
                  </a:lnTo>
                  <a:lnTo>
                    <a:pt x="5982" y="2379"/>
                  </a:lnTo>
                  <a:lnTo>
                    <a:pt x="5919" y="2471"/>
                  </a:lnTo>
                  <a:lnTo>
                    <a:pt x="5857" y="2562"/>
                  </a:lnTo>
                  <a:lnTo>
                    <a:pt x="5797" y="2654"/>
                  </a:lnTo>
                  <a:lnTo>
                    <a:pt x="5736" y="2748"/>
                  </a:lnTo>
                  <a:lnTo>
                    <a:pt x="5678" y="2842"/>
                  </a:lnTo>
                  <a:lnTo>
                    <a:pt x="5620" y="2938"/>
                  </a:lnTo>
                  <a:lnTo>
                    <a:pt x="5564" y="3034"/>
                  </a:lnTo>
                  <a:lnTo>
                    <a:pt x="5508" y="3130"/>
                  </a:lnTo>
                  <a:lnTo>
                    <a:pt x="5453" y="3228"/>
                  </a:lnTo>
                  <a:lnTo>
                    <a:pt x="5400" y="3326"/>
                  </a:lnTo>
                  <a:lnTo>
                    <a:pt x="5347" y="3427"/>
                  </a:lnTo>
                  <a:lnTo>
                    <a:pt x="5296" y="3527"/>
                  </a:lnTo>
                  <a:lnTo>
                    <a:pt x="5246" y="3628"/>
                  </a:lnTo>
                  <a:lnTo>
                    <a:pt x="5197" y="3729"/>
                  </a:lnTo>
                  <a:lnTo>
                    <a:pt x="5148" y="3833"/>
                  </a:lnTo>
                  <a:lnTo>
                    <a:pt x="5102" y="3936"/>
                  </a:lnTo>
                  <a:lnTo>
                    <a:pt x="5056" y="4040"/>
                  </a:lnTo>
                  <a:close/>
                  <a:moveTo>
                    <a:pt x="7945" y="1047"/>
                  </a:moveTo>
                  <a:lnTo>
                    <a:pt x="7945" y="4642"/>
                  </a:lnTo>
                  <a:lnTo>
                    <a:pt x="7867" y="4639"/>
                  </a:lnTo>
                  <a:lnTo>
                    <a:pt x="7789" y="4635"/>
                  </a:lnTo>
                  <a:lnTo>
                    <a:pt x="7711" y="4631"/>
                  </a:lnTo>
                  <a:lnTo>
                    <a:pt x="7633" y="4626"/>
                  </a:lnTo>
                  <a:lnTo>
                    <a:pt x="7556" y="4621"/>
                  </a:lnTo>
                  <a:lnTo>
                    <a:pt x="7478" y="4614"/>
                  </a:lnTo>
                  <a:lnTo>
                    <a:pt x="7401" y="4607"/>
                  </a:lnTo>
                  <a:lnTo>
                    <a:pt x="7325" y="4600"/>
                  </a:lnTo>
                  <a:lnTo>
                    <a:pt x="7248" y="4591"/>
                  </a:lnTo>
                  <a:lnTo>
                    <a:pt x="7172" y="4582"/>
                  </a:lnTo>
                  <a:lnTo>
                    <a:pt x="7095" y="4573"/>
                  </a:lnTo>
                  <a:lnTo>
                    <a:pt x="7020" y="4562"/>
                  </a:lnTo>
                  <a:lnTo>
                    <a:pt x="6944" y="4551"/>
                  </a:lnTo>
                  <a:lnTo>
                    <a:pt x="6868" y="4540"/>
                  </a:lnTo>
                  <a:lnTo>
                    <a:pt x="6793" y="4527"/>
                  </a:lnTo>
                  <a:lnTo>
                    <a:pt x="6718" y="4514"/>
                  </a:lnTo>
                  <a:lnTo>
                    <a:pt x="6644" y="4501"/>
                  </a:lnTo>
                  <a:lnTo>
                    <a:pt x="6569" y="4486"/>
                  </a:lnTo>
                  <a:lnTo>
                    <a:pt x="6495" y="4471"/>
                  </a:lnTo>
                  <a:lnTo>
                    <a:pt x="6421" y="4456"/>
                  </a:lnTo>
                  <a:lnTo>
                    <a:pt x="6347" y="4439"/>
                  </a:lnTo>
                  <a:lnTo>
                    <a:pt x="6273" y="4423"/>
                  </a:lnTo>
                  <a:lnTo>
                    <a:pt x="6200" y="4405"/>
                  </a:lnTo>
                  <a:lnTo>
                    <a:pt x="6127" y="4387"/>
                  </a:lnTo>
                  <a:lnTo>
                    <a:pt x="6055" y="4368"/>
                  </a:lnTo>
                  <a:lnTo>
                    <a:pt x="5982" y="4348"/>
                  </a:lnTo>
                  <a:lnTo>
                    <a:pt x="5910" y="4328"/>
                  </a:lnTo>
                  <a:lnTo>
                    <a:pt x="5838" y="4308"/>
                  </a:lnTo>
                  <a:lnTo>
                    <a:pt x="5766" y="4286"/>
                  </a:lnTo>
                  <a:lnTo>
                    <a:pt x="5694" y="4264"/>
                  </a:lnTo>
                  <a:lnTo>
                    <a:pt x="5624" y="4242"/>
                  </a:lnTo>
                  <a:lnTo>
                    <a:pt x="5553" y="4217"/>
                  </a:lnTo>
                  <a:lnTo>
                    <a:pt x="5605" y="4099"/>
                  </a:lnTo>
                  <a:lnTo>
                    <a:pt x="5658" y="3982"/>
                  </a:lnTo>
                  <a:lnTo>
                    <a:pt x="5714" y="3866"/>
                  </a:lnTo>
                  <a:lnTo>
                    <a:pt x="5771" y="3750"/>
                  </a:lnTo>
                  <a:lnTo>
                    <a:pt x="5830" y="3637"/>
                  </a:lnTo>
                  <a:lnTo>
                    <a:pt x="5889" y="3524"/>
                  </a:lnTo>
                  <a:lnTo>
                    <a:pt x="5951" y="3412"/>
                  </a:lnTo>
                  <a:lnTo>
                    <a:pt x="6014" y="3301"/>
                  </a:lnTo>
                  <a:lnTo>
                    <a:pt x="6078" y="3192"/>
                  </a:lnTo>
                  <a:lnTo>
                    <a:pt x="6144" y="3084"/>
                  </a:lnTo>
                  <a:lnTo>
                    <a:pt x="6212" y="2978"/>
                  </a:lnTo>
                  <a:lnTo>
                    <a:pt x="6279" y="2871"/>
                  </a:lnTo>
                  <a:lnTo>
                    <a:pt x="6349" y="2767"/>
                  </a:lnTo>
                  <a:lnTo>
                    <a:pt x="6421" y="2664"/>
                  </a:lnTo>
                  <a:lnTo>
                    <a:pt x="6494" y="2563"/>
                  </a:lnTo>
                  <a:lnTo>
                    <a:pt x="6568" y="2463"/>
                  </a:lnTo>
                  <a:lnTo>
                    <a:pt x="6643" y="2363"/>
                  </a:lnTo>
                  <a:lnTo>
                    <a:pt x="6718" y="2265"/>
                  </a:lnTo>
                  <a:lnTo>
                    <a:pt x="6796" y="2169"/>
                  </a:lnTo>
                  <a:lnTo>
                    <a:pt x="6875" y="2074"/>
                  </a:lnTo>
                  <a:lnTo>
                    <a:pt x="6955" y="1980"/>
                  </a:lnTo>
                  <a:lnTo>
                    <a:pt x="7038" y="1888"/>
                  </a:lnTo>
                  <a:lnTo>
                    <a:pt x="7121" y="1798"/>
                  </a:lnTo>
                  <a:lnTo>
                    <a:pt x="7204" y="1709"/>
                  </a:lnTo>
                  <a:lnTo>
                    <a:pt x="7289" y="1621"/>
                  </a:lnTo>
                  <a:lnTo>
                    <a:pt x="7375" y="1534"/>
                  </a:lnTo>
                  <a:lnTo>
                    <a:pt x="7463" y="1449"/>
                  </a:lnTo>
                  <a:lnTo>
                    <a:pt x="7552" y="1366"/>
                  </a:lnTo>
                  <a:lnTo>
                    <a:pt x="7642" y="1285"/>
                  </a:lnTo>
                  <a:lnTo>
                    <a:pt x="7732" y="1205"/>
                  </a:lnTo>
                  <a:lnTo>
                    <a:pt x="7825" y="1126"/>
                  </a:lnTo>
                  <a:lnTo>
                    <a:pt x="7918" y="1049"/>
                  </a:lnTo>
                  <a:lnTo>
                    <a:pt x="7931" y="1048"/>
                  </a:lnTo>
                  <a:lnTo>
                    <a:pt x="7945" y="1047"/>
                  </a:lnTo>
                  <a:close/>
                  <a:moveTo>
                    <a:pt x="9383" y="1137"/>
                  </a:moveTo>
                  <a:lnTo>
                    <a:pt x="9520" y="1161"/>
                  </a:lnTo>
                  <a:lnTo>
                    <a:pt x="9656" y="1187"/>
                  </a:lnTo>
                  <a:lnTo>
                    <a:pt x="9791" y="1215"/>
                  </a:lnTo>
                  <a:lnTo>
                    <a:pt x="9924" y="1246"/>
                  </a:lnTo>
                  <a:lnTo>
                    <a:pt x="10058" y="1279"/>
                  </a:lnTo>
                  <a:lnTo>
                    <a:pt x="10189" y="1315"/>
                  </a:lnTo>
                  <a:lnTo>
                    <a:pt x="10320" y="1353"/>
                  </a:lnTo>
                  <a:lnTo>
                    <a:pt x="10450" y="1393"/>
                  </a:lnTo>
                  <a:lnTo>
                    <a:pt x="10578" y="1436"/>
                  </a:lnTo>
                  <a:lnTo>
                    <a:pt x="10706" y="1481"/>
                  </a:lnTo>
                  <a:lnTo>
                    <a:pt x="10832" y="1528"/>
                  </a:lnTo>
                  <a:lnTo>
                    <a:pt x="10958" y="1579"/>
                  </a:lnTo>
                  <a:lnTo>
                    <a:pt x="11082" y="1630"/>
                  </a:lnTo>
                  <a:lnTo>
                    <a:pt x="11205" y="1684"/>
                  </a:lnTo>
                  <a:lnTo>
                    <a:pt x="11326" y="1740"/>
                  </a:lnTo>
                  <a:lnTo>
                    <a:pt x="11446" y="1799"/>
                  </a:lnTo>
                  <a:lnTo>
                    <a:pt x="11565" y="1859"/>
                  </a:lnTo>
                  <a:lnTo>
                    <a:pt x="11683" y="1921"/>
                  </a:lnTo>
                  <a:lnTo>
                    <a:pt x="11799" y="1986"/>
                  </a:lnTo>
                  <a:lnTo>
                    <a:pt x="11914" y="2054"/>
                  </a:lnTo>
                  <a:lnTo>
                    <a:pt x="12028" y="2122"/>
                  </a:lnTo>
                  <a:lnTo>
                    <a:pt x="12140" y="2193"/>
                  </a:lnTo>
                  <a:lnTo>
                    <a:pt x="12251" y="2266"/>
                  </a:lnTo>
                  <a:lnTo>
                    <a:pt x="12360" y="2340"/>
                  </a:lnTo>
                  <a:lnTo>
                    <a:pt x="12468" y="2417"/>
                  </a:lnTo>
                  <a:lnTo>
                    <a:pt x="12574" y="2496"/>
                  </a:lnTo>
                  <a:lnTo>
                    <a:pt x="12679" y="2576"/>
                  </a:lnTo>
                  <a:lnTo>
                    <a:pt x="12782" y="2659"/>
                  </a:lnTo>
                  <a:lnTo>
                    <a:pt x="12884" y="2743"/>
                  </a:lnTo>
                  <a:lnTo>
                    <a:pt x="12983" y="2829"/>
                  </a:lnTo>
                  <a:lnTo>
                    <a:pt x="13082" y="2917"/>
                  </a:lnTo>
                  <a:lnTo>
                    <a:pt x="13178" y="3007"/>
                  </a:lnTo>
                  <a:lnTo>
                    <a:pt x="13074" y="3084"/>
                  </a:lnTo>
                  <a:lnTo>
                    <a:pt x="12968" y="3159"/>
                  </a:lnTo>
                  <a:lnTo>
                    <a:pt x="12861" y="3233"/>
                  </a:lnTo>
                  <a:lnTo>
                    <a:pt x="12752" y="3305"/>
                  </a:lnTo>
                  <a:lnTo>
                    <a:pt x="12644" y="3377"/>
                  </a:lnTo>
                  <a:lnTo>
                    <a:pt x="12533" y="3446"/>
                  </a:lnTo>
                  <a:lnTo>
                    <a:pt x="12421" y="3513"/>
                  </a:lnTo>
                  <a:lnTo>
                    <a:pt x="12308" y="3579"/>
                  </a:lnTo>
                  <a:lnTo>
                    <a:pt x="12252" y="3611"/>
                  </a:lnTo>
                  <a:lnTo>
                    <a:pt x="12194" y="3643"/>
                  </a:lnTo>
                  <a:lnTo>
                    <a:pt x="12137" y="3674"/>
                  </a:lnTo>
                  <a:lnTo>
                    <a:pt x="12078" y="3705"/>
                  </a:lnTo>
                  <a:lnTo>
                    <a:pt x="12021" y="3736"/>
                  </a:lnTo>
                  <a:lnTo>
                    <a:pt x="11962" y="3766"/>
                  </a:lnTo>
                  <a:lnTo>
                    <a:pt x="11904" y="3796"/>
                  </a:lnTo>
                  <a:lnTo>
                    <a:pt x="11844" y="3825"/>
                  </a:lnTo>
                  <a:lnTo>
                    <a:pt x="11786" y="3854"/>
                  </a:lnTo>
                  <a:lnTo>
                    <a:pt x="11726" y="3882"/>
                  </a:lnTo>
                  <a:lnTo>
                    <a:pt x="11667" y="3909"/>
                  </a:lnTo>
                  <a:lnTo>
                    <a:pt x="11606" y="3936"/>
                  </a:lnTo>
                  <a:lnTo>
                    <a:pt x="11546" y="3963"/>
                  </a:lnTo>
                  <a:lnTo>
                    <a:pt x="11485" y="3989"/>
                  </a:lnTo>
                  <a:lnTo>
                    <a:pt x="11425" y="4015"/>
                  </a:lnTo>
                  <a:lnTo>
                    <a:pt x="11363" y="4040"/>
                  </a:lnTo>
                  <a:lnTo>
                    <a:pt x="11317" y="3936"/>
                  </a:lnTo>
                  <a:lnTo>
                    <a:pt x="11271" y="3833"/>
                  </a:lnTo>
                  <a:lnTo>
                    <a:pt x="11222" y="3729"/>
                  </a:lnTo>
                  <a:lnTo>
                    <a:pt x="11173" y="3628"/>
                  </a:lnTo>
                  <a:lnTo>
                    <a:pt x="11123" y="3527"/>
                  </a:lnTo>
                  <a:lnTo>
                    <a:pt x="11072" y="3427"/>
                  </a:lnTo>
                  <a:lnTo>
                    <a:pt x="11019" y="3326"/>
                  </a:lnTo>
                  <a:lnTo>
                    <a:pt x="10966" y="3228"/>
                  </a:lnTo>
                  <a:lnTo>
                    <a:pt x="10911" y="3130"/>
                  </a:lnTo>
                  <a:lnTo>
                    <a:pt x="10855" y="3034"/>
                  </a:lnTo>
                  <a:lnTo>
                    <a:pt x="10799" y="2938"/>
                  </a:lnTo>
                  <a:lnTo>
                    <a:pt x="10741" y="2842"/>
                  </a:lnTo>
                  <a:lnTo>
                    <a:pt x="10683" y="2748"/>
                  </a:lnTo>
                  <a:lnTo>
                    <a:pt x="10623" y="2654"/>
                  </a:lnTo>
                  <a:lnTo>
                    <a:pt x="10562" y="2562"/>
                  </a:lnTo>
                  <a:lnTo>
                    <a:pt x="10500" y="2471"/>
                  </a:lnTo>
                  <a:lnTo>
                    <a:pt x="10437" y="2379"/>
                  </a:lnTo>
                  <a:lnTo>
                    <a:pt x="10374" y="2290"/>
                  </a:lnTo>
                  <a:lnTo>
                    <a:pt x="10309" y="2201"/>
                  </a:lnTo>
                  <a:lnTo>
                    <a:pt x="10243" y="2113"/>
                  </a:lnTo>
                  <a:lnTo>
                    <a:pt x="10177" y="2027"/>
                  </a:lnTo>
                  <a:lnTo>
                    <a:pt x="10109" y="1940"/>
                  </a:lnTo>
                  <a:lnTo>
                    <a:pt x="10041" y="1855"/>
                  </a:lnTo>
                  <a:lnTo>
                    <a:pt x="9971" y="1771"/>
                  </a:lnTo>
                  <a:lnTo>
                    <a:pt x="9901" y="1689"/>
                  </a:lnTo>
                  <a:lnTo>
                    <a:pt x="9830" y="1607"/>
                  </a:lnTo>
                  <a:lnTo>
                    <a:pt x="9758" y="1525"/>
                  </a:lnTo>
                  <a:lnTo>
                    <a:pt x="9685" y="1446"/>
                  </a:lnTo>
                  <a:lnTo>
                    <a:pt x="9610" y="1367"/>
                  </a:lnTo>
                  <a:lnTo>
                    <a:pt x="9536" y="1289"/>
                  </a:lnTo>
                  <a:lnTo>
                    <a:pt x="9460" y="1213"/>
                  </a:lnTo>
                  <a:lnTo>
                    <a:pt x="9383" y="1137"/>
                  </a:lnTo>
                  <a:close/>
                  <a:moveTo>
                    <a:pt x="8502" y="1049"/>
                  </a:moveTo>
                  <a:lnTo>
                    <a:pt x="8595" y="1126"/>
                  </a:lnTo>
                  <a:lnTo>
                    <a:pt x="8687" y="1205"/>
                  </a:lnTo>
                  <a:lnTo>
                    <a:pt x="8778" y="1285"/>
                  </a:lnTo>
                  <a:lnTo>
                    <a:pt x="8867" y="1366"/>
                  </a:lnTo>
                  <a:lnTo>
                    <a:pt x="8957" y="1449"/>
                  </a:lnTo>
                  <a:lnTo>
                    <a:pt x="9044" y="1534"/>
                  </a:lnTo>
                  <a:lnTo>
                    <a:pt x="9130" y="1621"/>
                  </a:lnTo>
                  <a:lnTo>
                    <a:pt x="9215" y="1709"/>
                  </a:lnTo>
                  <a:lnTo>
                    <a:pt x="9299" y="1798"/>
                  </a:lnTo>
                  <a:lnTo>
                    <a:pt x="9382" y="1888"/>
                  </a:lnTo>
                  <a:lnTo>
                    <a:pt x="9464" y="1980"/>
                  </a:lnTo>
                  <a:lnTo>
                    <a:pt x="9544" y="2074"/>
                  </a:lnTo>
                  <a:lnTo>
                    <a:pt x="9623" y="2169"/>
                  </a:lnTo>
                  <a:lnTo>
                    <a:pt x="9701" y="2265"/>
                  </a:lnTo>
                  <a:lnTo>
                    <a:pt x="9778" y="2363"/>
                  </a:lnTo>
                  <a:lnTo>
                    <a:pt x="9852" y="2463"/>
                  </a:lnTo>
                  <a:lnTo>
                    <a:pt x="9926" y="2563"/>
                  </a:lnTo>
                  <a:lnTo>
                    <a:pt x="9999" y="2664"/>
                  </a:lnTo>
                  <a:lnTo>
                    <a:pt x="10070" y="2767"/>
                  </a:lnTo>
                  <a:lnTo>
                    <a:pt x="10140" y="2871"/>
                  </a:lnTo>
                  <a:lnTo>
                    <a:pt x="10209" y="2978"/>
                  </a:lnTo>
                  <a:lnTo>
                    <a:pt x="10275" y="3084"/>
                  </a:lnTo>
                  <a:lnTo>
                    <a:pt x="10341" y="3192"/>
                  </a:lnTo>
                  <a:lnTo>
                    <a:pt x="10406" y="3301"/>
                  </a:lnTo>
                  <a:lnTo>
                    <a:pt x="10468" y="3412"/>
                  </a:lnTo>
                  <a:lnTo>
                    <a:pt x="10530" y="3524"/>
                  </a:lnTo>
                  <a:lnTo>
                    <a:pt x="10589" y="3637"/>
                  </a:lnTo>
                  <a:lnTo>
                    <a:pt x="10648" y="3750"/>
                  </a:lnTo>
                  <a:lnTo>
                    <a:pt x="10705" y="3866"/>
                  </a:lnTo>
                  <a:lnTo>
                    <a:pt x="10761" y="3982"/>
                  </a:lnTo>
                  <a:lnTo>
                    <a:pt x="10815" y="4099"/>
                  </a:lnTo>
                  <a:lnTo>
                    <a:pt x="10867" y="4217"/>
                  </a:lnTo>
                  <a:lnTo>
                    <a:pt x="10797" y="4242"/>
                  </a:lnTo>
                  <a:lnTo>
                    <a:pt x="10725" y="4264"/>
                  </a:lnTo>
                  <a:lnTo>
                    <a:pt x="10654" y="4286"/>
                  </a:lnTo>
                  <a:lnTo>
                    <a:pt x="10582" y="4308"/>
                  </a:lnTo>
                  <a:lnTo>
                    <a:pt x="10510" y="4328"/>
                  </a:lnTo>
                  <a:lnTo>
                    <a:pt x="10437" y="4348"/>
                  </a:lnTo>
                  <a:lnTo>
                    <a:pt x="10366" y="4368"/>
                  </a:lnTo>
                  <a:lnTo>
                    <a:pt x="10293" y="4387"/>
                  </a:lnTo>
                  <a:lnTo>
                    <a:pt x="10219" y="4405"/>
                  </a:lnTo>
                  <a:lnTo>
                    <a:pt x="10146" y="4423"/>
                  </a:lnTo>
                  <a:lnTo>
                    <a:pt x="10072" y="4439"/>
                  </a:lnTo>
                  <a:lnTo>
                    <a:pt x="9998" y="4456"/>
                  </a:lnTo>
                  <a:lnTo>
                    <a:pt x="9924" y="4471"/>
                  </a:lnTo>
                  <a:lnTo>
                    <a:pt x="9850" y="4486"/>
                  </a:lnTo>
                  <a:lnTo>
                    <a:pt x="9775" y="4501"/>
                  </a:lnTo>
                  <a:lnTo>
                    <a:pt x="9701" y="4514"/>
                  </a:lnTo>
                  <a:lnTo>
                    <a:pt x="9626" y="4527"/>
                  </a:lnTo>
                  <a:lnTo>
                    <a:pt x="9551" y="4540"/>
                  </a:lnTo>
                  <a:lnTo>
                    <a:pt x="9475" y="4551"/>
                  </a:lnTo>
                  <a:lnTo>
                    <a:pt x="9400" y="4562"/>
                  </a:lnTo>
                  <a:lnTo>
                    <a:pt x="9324" y="4573"/>
                  </a:lnTo>
                  <a:lnTo>
                    <a:pt x="9247" y="4582"/>
                  </a:lnTo>
                  <a:lnTo>
                    <a:pt x="9171" y="4591"/>
                  </a:lnTo>
                  <a:lnTo>
                    <a:pt x="9094" y="4600"/>
                  </a:lnTo>
                  <a:lnTo>
                    <a:pt x="9018" y="4607"/>
                  </a:lnTo>
                  <a:lnTo>
                    <a:pt x="8940" y="4614"/>
                  </a:lnTo>
                  <a:lnTo>
                    <a:pt x="8863" y="4621"/>
                  </a:lnTo>
                  <a:lnTo>
                    <a:pt x="8786" y="4626"/>
                  </a:lnTo>
                  <a:lnTo>
                    <a:pt x="8708" y="4631"/>
                  </a:lnTo>
                  <a:lnTo>
                    <a:pt x="8630" y="4635"/>
                  </a:lnTo>
                  <a:lnTo>
                    <a:pt x="8552" y="4639"/>
                  </a:lnTo>
                  <a:lnTo>
                    <a:pt x="8474" y="4642"/>
                  </a:lnTo>
                  <a:lnTo>
                    <a:pt x="8474" y="1047"/>
                  </a:lnTo>
                  <a:lnTo>
                    <a:pt x="8489" y="1048"/>
                  </a:lnTo>
                  <a:lnTo>
                    <a:pt x="8502" y="1049"/>
                  </a:lnTo>
                  <a:close/>
                  <a:moveTo>
                    <a:pt x="7917" y="14987"/>
                  </a:moveTo>
                  <a:lnTo>
                    <a:pt x="7835" y="14918"/>
                  </a:lnTo>
                  <a:lnTo>
                    <a:pt x="7754" y="14850"/>
                  </a:lnTo>
                  <a:lnTo>
                    <a:pt x="7673" y="14779"/>
                  </a:lnTo>
                  <a:lnTo>
                    <a:pt x="7594" y="14708"/>
                  </a:lnTo>
                  <a:lnTo>
                    <a:pt x="7515" y="14636"/>
                  </a:lnTo>
                  <a:lnTo>
                    <a:pt x="7437" y="14562"/>
                  </a:lnTo>
                  <a:lnTo>
                    <a:pt x="7360" y="14487"/>
                  </a:lnTo>
                  <a:lnTo>
                    <a:pt x="7284" y="14410"/>
                  </a:lnTo>
                  <a:lnTo>
                    <a:pt x="7209" y="14333"/>
                  </a:lnTo>
                  <a:lnTo>
                    <a:pt x="7135" y="14255"/>
                  </a:lnTo>
                  <a:lnTo>
                    <a:pt x="7061" y="14175"/>
                  </a:lnTo>
                  <a:lnTo>
                    <a:pt x="6989" y="14095"/>
                  </a:lnTo>
                  <a:lnTo>
                    <a:pt x="6919" y="14012"/>
                  </a:lnTo>
                  <a:lnTo>
                    <a:pt x="6848" y="13930"/>
                  </a:lnTo>
                  <a:lnTo>
                    <a:pt x="6778" y="13846"/>
                  </a:lnTo>
                  <a:lnTo>
                    <a:pt x="6710" y="13761"/>
                  </a:lnTo>
                  <a:lnTo>
                    <a:pt x="6643" y="13675"/>
                  </a:lnTo>
                  <a:lnTo>
                    <a:pt x="6576" y="13588"/>
                  </a:lnTo>
                  <a:lnTo>
                    <a:pt x="6511" y="13499"/>
                  </a:lnTo>
                  <a:lnTo>
                    <a:pt x="6447" y="13410"/>
                  </a:lnTo>
                  <a:lnTo>
                    <a:pt x="6383" y="13319"/>
                  </a:lnTo>
                  <a:lnTo>
                    <a:pt x="6321" y="13228"/>
                  </a:lnTo>
                  <a:lnTo>
                    <a:pt x="6260" y="13135"/>
                  </a:lnTo>
                  <a:lnTo>
                    <a:pt x="6199" y="13042"/>
                  </a:lnTo>
                  <a:lnTo>
                    <a:pt x="6141" y="12948"/>
                  </a:lnTo>
                  <a:lnTo>
                    <a:pt x="6082" y="12853"/>
                  </a:lnTo>
                  <a:lnTo>
                    <a:pt x="6026" y="12757"/>
                  </a:lnTo>
                  <a:lnTo>
                    <a:pt x="5969" y="12659"/>
                  </a:lnTo>
                  <a:lnTo>
                    <a:pt x="5915" y="12561"/>
                  </a:lnTo>
                  <a:lnTo>
                    <a:pt x="5862" y="12462"/>
                  </a:lnTo>
                  <a:lnTo>
                    <a:pt x="5809" y="12363"/>
                  </a:lnTo>
                  <a:lnTo>
                    <a:pt x="5758" y="12262"/>
                  </a:lnTo>
                  <a:lnTo>
                    <a:pt x="5823" y="12242"/>
                  </a:lnTo>
                  <a:lnTo>
                    <a:pt x="5888" y="12223"/>
                  </a:lnTo>
                  <a:lnTo>
                    <a:pt x="5954" y="12204"/>
                  </a:lnTo>
                  <a:lnTo>
                    <a:pt x="6020" y="12187"/>
                  </a:lnTo>
                  <a:lnTo>
                    <a:pt x="6086" y="12169"/>
                  </a:lnTo>
                  <a:lnTo>
                    <a:pt x="6152" y="12153"/>
                  </a:lnTo>
                  <a:lnTo>
                    <a:pt x="6219" y="12136"/>
                  </a:lnTo>
                  <a:lnTo>
                    <a:pt x="6285" y="12121"/>
                  </a:lnTo>
                  <a:lnTo>
                    <a:pt x="6352" y="12106"/>
                  </a:lnTo>
                  <a:lnTo>
                    <a:pt x="6420" y="12091"/>
                  </a:lnTo>
                  <a:lnTo>
                    <a:pt x="6487" y="12077"/>
                  </a:lnTo>
                  <a:lnTo>
                    <a:pt x="6554" y="12064"/>
                  </a:lnTo>
                  <a:lnTo>
                    <a:pt x="6622" y="12051"/>
                  </a:lnTo>
                  <a:lnTo>
                    <a:pt x="6691" y="12039"/>
                  </a:lnTo>
                  <a:lnTo>
                    <a:pt x="6758" y="12027"/>
                  </a:lnTo>
                  <a:lnTo>
                    <a:pt x="6827" y="12016"/>
                  </a:lnTo>
                  <a:lnTo>
                    <a:pt x="6895" y="12005"/>
                  </a:lnTo>
                  <a:lnTo>
                    <a:pt x="6964" y="11995"/>
                  </a:lnTo>
                  <a:lnTo>
                    <a:pt x="7033" y="11986"/>
                  </a:lnTo>
                  <a:lnTo>
                    <a:pt x="7102" y="11976"/>
                  </a:lnTo>
                  <a:lnTo>
                    <a:pt x="7171" y="11968"/>
                  </a:lnTo>
                  <a:lnTo>
                    <a:pt x="7241" y="11960"/>
                  </a:lnTo>
                  <a:lnTo>
                    <a:pt x="7311" y="11953"/>
                  </a:lnTo>
                  <a:lnTo>
                    <a:pt x="7380" y="11946"/>
                  </a:lnTo>
                  <a:lnTo>
                    <a:pt x="7450" y="11940"/>
                  </a:lnTo>
                  <a:lnTo>
                    <a:pt x="7521" y="11934"/>
                  </a:lnTo>
                  <a:lnTo>
                    <a:pt x="7591" y="11929"/>
                  </a:lnTo>
                  <a:lnTo>
                    <a:pt x="7662" y="11924"/>
                  </a:lnTo>
                  <a:lnTo>
                    <a:pt x="7732" y="11920"/>
                  </a:lnTo>
                  <a:lnTo>
                    <a:pt x="7803" y="11916"/>
                  </a:lnTo>
                  <a:lnTo>
                    <a:pt x="7874" y="11913"/>
                  </a:lnTo>
                  <a:lnTo>
                    <a:pt x="7945" y="11911"/>
                  </a:lnTo>
                  <a:lnTo>
                    <a:pt x="7945" y="14988"/>
                  </a:lnTo>
                  <a:lnTo>
                    <a:pt x="7917" y="14987"/>
                  </a:lnTo>
                  <a:close/>
                  <a:moveTo>
                    <a:pt x="15347" y="7759"/>
                  </a:moveTo>
                  <a:lnTo>
                    <a:pt x="12171" y="7759"/>
                  </a:lnTo>
                  <a:lnTo>
                    <a:pt x="12168" y="7652"/>
                  </a:lnTo>
                  <a:lnTo>
                    <a:pt x="12163" y="7545"/>
                  </a:lnTo>
                  <a:lnTo>
                    <a:pt x="12157" y="7439"/>
                  </a:lnTo>
                  <a:lnTo>
                    <a:pt x="12151" y="7332"/>
                  </a:lnTo>
                  <a:lnTo>
                    <a:pt x="12144" y="7226"/>
                  </a:lnTo>
                  <a:lnTo>
                    <a:pt x="12136" y="7120"/>
                  </a:lnTo>
                  <a:lnTo>
                    <a:pt x="12126" y="7015"/>
                  </a:lnTo>
                  <a:lnTo>
                    <a:pt x="12115" y="6911"/>
                  </a:lnTo>
                  <a:lnTo>
                    <a:pt x="12104" y="6805"/>
                  </a:lnTo>
                  <a:lnTo>
                    <a:pt x="12092" y="6701"/>
                  </a:lnTo>
                  <a:lnTo>
                    <a:pt x="12078" y="6598"/>
                  </a:lnTo>
                  <a:lnTo>
                    <a:pt x="12063" y="6494"/>
                  </a:lnTo>
                  <a:lnTo>
                    <a:pt x="12047" y="6391"/>
                  </a:lnTo>
                  <a:lnTo>
                    <a:pt x="12031" y="6288"/>
                  </a:lnTo>
                  <a:lnTo>
                    <a:pt x="12014" y="6186"/>
                  </a:lnTo>
                  <a:lnTo>
                    <a:pt x="11995" y="6084"/>
                  </a:lnTo>
                  <a:lnTo>
                    <a:pt x="11976" y="5982"/>
                  </a:lnTo>
                  <a:lnTo>
                    <a:pt x="11954" y="5881"/>
                  </a:lnTo>
                  <a:lnTo>
                    <a:pt x="11933" y="5781"/>
                  </a:lnTo>
                  <a:lnTo>
                    <a:pt x="11910" y="5681"/>
                  </a:lnTo>
                  <a:lnTo>
                    <a:pt x="11886" y="5582"/>
                  </a:lnTo>
                  <a:lnTo>
                    <a:pt x="11862" y="5482"/>
                  </a:lnTo>
                  <a:lnTo>
                    <a:pt x="11836" y="5383"/>
                  </a:lnTo>
                  <a:lnTo>
                    <a:pt x="11810" y="5285"/>
                  </a:lnTo>
                  <a:lnTo>
                    <a:pt x="11783" y="5188"/>
                  </a:lnTo>
                  <a:lnTo>
                    <a:pt x="11754" y="5090"/>
                  </a:lnTo>
                  <a:lnTo>
                    <a:pt x="11724" y="4993"/>
                  </a:lnTo>
                  <a:lnTo>
                    <a:pt x="11694" y="4897"/>
                  </a:lnTo>
                  <a:lnTo>
                    <a:pt x="11663" y="4801"/>
                  </a:lnTo>
                  <a:lnTo>
                    <a:pt x="11630" y="4706"/>
                  </a:lnTo>
                  <a:lnTo>
                    <a:pt x="11597" y="4611"/>
                  </a:lnTo>
                  <a:lnTo>
                    <a:pt x="11563" y="4517"/>
                  </a:lnTo>
                  <a:lnTo>
                    <a:pt x="11630" y="4489"/>
                  </a:lnTo>
                  <a:lnTo>
                    <a:pt x="11695" y="4461"/>
                  </a:lnTo>
                  <a:lnTo>
                    <a:pt x="11762" y="4432"/>
                  </a:lnTo>
                  <a:lnTo>
                    <a:pt x="11828" y="4403"/>
                  </a:lnTo>
                  <a:lnTo>
                    <a:pt x="11894" y="4374"/>
                  </a:lnTo>
                  <a:lnTo>
                    <a:pt x="11959" y="4343"/>
                  </a:lnTo>
                  <a:lnTo>
                    <a:pt x="12024" y="4312"/>
                  </a:lnTo>
                  <a:lnTo>
                    <a:pt x="12088" y="4281"/>
                  </a:lnTo>
                  <a:lnTo>
                    <a:pt x="12153" y="4249"/>
                  </a:lnTo>
                  <a:lnTo>
                    <a:pt x="12217" y="4216"/>
                  </a:lnTo>
                  <a:lnTo>
                    <a:pt x="12280" y="4183"/>
                  </a:lnTo>
                  <a:lnTo>
                    <a:pt x="12344" y="4150"/>
                  </a:lnTo>
                  <a:lnTo>
                    <a:pt x="12407" y="4116"/>
                  </a:lnTo>
                  <a:lnTo>
                    <a:pt x="12469" y="4081"/>
                  </a:lnTo>
                  <a:lnTo>
                    <a:pt x="12532" y="4046"/>
                  </a:lnTo>
                  <a:lnTo>
                    <a:pt x="12593" y="4011"/>
                  </a:lnTo>
                  <a:lnTo>
                    <a:pt x="12655" y="3975"/>
                  </a:lnTo>
                  <a:lnTo>
                    <a:pt x="12717" y="3939"/>
                  </a:lnTo>
                  <a:lnTo>
                    <a:pt x="12778" y="3902"/>
                  </a:lnTo>
                  <a:lnTo>
                    <a:pt x="12839" y="3865"/>
                  </a:lnTo>
                  <a:lnTo>
                    <a:pt x="12899" y="3827"/>
                  </a:lnTo>
                  <a:lnTo>
                    <a:pt x="12959" y="3789"/>
                  </a:lnTo>
                  <a:lnTo>
                    <a:pt x="13019" y="3749"/>
                  </a:lnTo>
                  <a:lnTo>
                    <a:pt x="13078" y="3710"/>
                  </a:lnTo>
                  <a:lnTo>
                    <a:pt x="13137" y="3670"/>
                  </a:lnTo>
                  <a:lnTo>
                    <a:pt x="13196" y="3630"/>
                  </a:lnTo>
                  <a:lnTo>
                    <a:pt x="13254" y="3590"/>
                  </a:lnTo>
                  <a:lnTo>
                    <a:pt x="13313" y="3549"/>
                  </a:lnTo>
                  <a:lnTo>
                    <a:pt x="13370" y="3507"/>
                  </a:lnTo>
                  <a:lnTo>
                    <a:pt x="13428" y="3466"/>
                  </a:lnTo>
                  <a:lnTo>
                    <a:pt x="13485" y="3423"/>
                  </a:lnTo>
                  <a:lnTo>
                    <a:pt x="13542" y="3381"/>
                  </a:lnTo>
                  <a:lnTo>
                    <a:pt x="13641" y="3492"/>
                  </a:lnTo>
                  <a:lnTo>
                    <a:pt x="13738" y="3605"/>
                  </a:lnTo>
                  <a:lnTo>
                    <a:pt x="13832" y="3719"/>
                  </a:lnTo>
                  <a:lnTo>
                    <a:pt x="13924" y="3837"/>
                  </a:lnTo>
                  <a:lnTo>
                    <a:pt x="14014" y="3956"/>
                  </a:lnTo>
                  <a:lnTo>
                    <a:pt x="14101" y="4076"/>
                  </a:lnTo>
                  <a:lnTo>
                    <a:pt x="14185" y="4199"/>
                  </a:lnTo>
                  <a:lnTo>
                    <a:pt x="14266" y="4324"/>
                  </a:lnTo>
                  <a:lnTo>
                    <a:pt x="14346" y="4450"/>
                  </a:lnTo>
                  <a:lnTo>
                    <a:pt x="14422" y="4578"/>
                  </a:lnTo>
                  <a:lnTo>
                    <a:pt x="14496" y="4708"/>
                  </a:lnTo>
                  <a:lnTo>
                    <a:pt x="14567" y="4839"/>
                  </a:lnTo>
                  <a:lnTo>
                    <a:pt x="14634" y="4972"/>
                  </a:lnTo>
                  <a:lnTo>
                    <a:pt x="14700" y="5106"/>
                  </a:lnTo>
                  <a:lnTo>
                    <a:pt x="14763" y="5243"/>
                  </a:lnTo>
                  <a:lnTo>
                    <a:pt x="14822" y="5380"/>
                  </a:lnTo>
                  <a:lnTo>
                    <a:pt x="14879" y="5519"/>
                  </a:lnTo>
                  <a:lnTo>
                    <a:pt x="14932" y="5660"/>
                  </a:lnTo>
                  <a:lnTo>
                    <a:pt x="14982" y="5802"/>
                  </a:lnTo>
                  <a:lnTo>
                    <a:pt x="15031" y="5945"/>
                  </a:lnTo>
                  <a:lnTo>
                    <a:pt x="15075" y="6090"/>
                  </a:lnTo>
                  <a:lnTo>
                    <a:pt x="15116" y="6236"/>
                  </a:lnTo>
                  <a:lnTo>
                    <a:pt x="15154" y="6383"/>
                  </a:lnTo>
                  <a:lnTo>
                    <a:pt x="15189" y="6532"/>
                  </a:lnTo>
                  <a:lnTo>
                    <a:pt x="15220" y="6681"/>
                  </a:lnTo>
                  <a:lnTo>
                    <a:pt x="15248" y="6832"/>
                  </a:lnTo>
                  <a:lnTo>
                    <a:pt x="15273" y="6984"/>
                  </a:lnTo>
                  <a:lnTo>
                    <a:pt x="15294" y="7137"/>
                  </a:lnTo>
                  <a:lnTo>
                    <a:pt x="15313" y="7291"/>
                  </a:lnTo>
                  <a:lnTo>
                    <a:pt x="15327" y="7446"/>
                  </a:lnTo>
                  <a:lnTo>
                    <a:pt x="15338" y="7602"/>
                  </a:lnTo>
                  <a:lnTo>
                    <a:pt x="15347" y="7759"/>
                  </a:lnTo>
                  <a:close/>
                  <a:moveTo>
                    <a:pt x="8210" y="0"/>
                  </a:moveTo>
                  <a:lnTo>
                    <a:pt x="7787" y="10"/>
                  </a:lnTo>
                  <a:lnTo>
                    <a:pt x="7370" y="41"/>
                  </a:lnTo>
                  <a:lnTo>
                    <a:pt x="6960" y="92"/>
                  </a:lnTo>
                  <a:lnTo>
                    <a:pt x="6555" y="162"/>
                  </a:lnTo>
                  <a:lnTo>
                    <a:pt x="6158" y="253"/>
                  </a:lnTo>
                  <a:lnTo>
                    <a:pt x="5768" y="361"/>
                  </a:lnTo>
                  <a:lnTo>
                    <a:pt x="5386" y="486"/>
                  </a:lnTo>
                  <a:lnTo>
                    <a:pt x="5014" y="630"/>
                  </a:lnTo>
                  <a:lnTo>
                    <a:pt x="4651" y="791"/>
                  </a:lnTo>
                  <a:lnTo>
                    <a:pt x="4297" y="967"/>
                  </a:lnTo>
                  <a:lnTo>
                    <a:pt x="3953" y="1161"/>
                  </a:lnTo>
                  <a:lnTo>
                    <a:pt x="3619" y="1369"/>
                  </a:lnTo>
                  <a:lnTo>
                    <a:pt x="3298" y="1593"/>
                  </a:lnTo>
                  <a:lnTo>
                    <a:pt x="2987" y="1831"/>
                  </a:lnTo>
                  <a:lnTo>
                    <a:pt x="2690" y="2083"/>
                  </a:lnTo>
                  <a:lnTo>
                    <a:pt x="2404" y="2348"/>
                  </a:lnTo>
                  <a:lnTo>
                    <a:pt x="2132" y="2627"/>
                  </a:lnTo>
                  <a:lnTo>
                    <a:pt x="1875" y="2918"/>
                  </a:lnTo>
                  <a:lnTo>
                    <a:pt x="1631" y="3220"/>
                  </a:lnTo>
                  <a:lnTo>
                    <a:pt x="1402" y="3535"/>
                  </a:lnTo>
                  <a:lnTo>
                    <a:pt x="1188" y="3861"/>
                  </a:lnTo>
                  <a:lnTo>
                    <a:pt x="991" y="4195"/>
                  </a:lnTo>
                  <a:lnTo>
                    <a:pt x="810" y="4541"/>
                  </a:lnTo>
                  <a:lnTo>
                    <a:pt x="645" y="4897"/>
                  </a:lnTo>
                  <a:lnTo>
                    <a:pt x="498" y="5261"/>
                  </a:lnTo>
                  <a:lnTo>
                    <a:pt x="369" y="5634"/>
                  </a:lnTo>
                  <a:lnTo>
                    <a:pt x="259" y="6014"/>
                  </a:lnTo>
                  <a:lnTo>
                    <a:pt x="167" y="6402"/>
                  </a:lnTo>
                  <a:lnTo>
                    <a:pt x="94" y="6797"/>
                  </a:lnTo>
                  <a:lnTo>
                    <a:pt x="42" y="7198"/>
                  </a:lnTo>
                  <a:lnTo>
                    <a:pt x="10" y="7605"/>
                  </a:lnTo>
                  <a:lnTo>
                    <a:pt x="0" y="8018"/>
                  </a:lnTo>
                  <a:lnTo>
                    <a:pt x="10" y="8431"/>
                  </a:lnTo>
                  <a:lnTo>
                    <a:pt x="42" y="8838"/>
                  </a:lnTo>
                  <a:lnTo>
                    <a:pt x="94" y="9239"/>
                  </a:lnTo>
                  <a:lnTo>
                    <a:pt x="167" y="9634"/>
                  </a:lnTo>
                  <a:lnTo>
                    <a:pt x="259" y="10021"/>
                  </a:lnTo>
                  <a:lnTo>
                    <a:pt x="369" y="10402"/>
                  </a:lnTo>
                  <a:lnTo>
                    <a:pt x="498" y="10774"/>
                  </a:lnTo>
                  <a:lnTo>
                    <a:pt x="645" y="11139"/>
                  </a:lnTo>
                  <a:lnTo>
                    <a:pt x="810" y="11494"/>
                  </a:lnTo>
                  <a:lnTo>
                    <a:pt x="991" y="11840"/>
                  </a:lnTo>
                  <a:lnTo>
                    <a:pt x="1188" y="12175"/>
                  </a:lnTo>
                  <a:lnTo>
                    <a:pt x="1402" y="12501"/>
                  </a:lnTo>
                  <a:lnTo>
                    <a:pt x="1631" y="12815"/>
                  </a:lnTo>
                  <a:lnTo>
                    <a:pt x="1875" y="13118"/>
                  </a:lnTo>
                  <a:lnTo>
                    <a:pt x="2132" y="13409"/>
                  </a:lnTo>
                  <a:lnTo>
                    <a:pt x="2404" y="13688"/>
                  </a:lnTo>
                  <a:lnTo>
                    <a:pt x="2690" y="13953"/>
                  </a:lnTo>
                  <a:lnTo>
                    <a:pt x="2987" y="14205"/>
                  </a:lnTo>
                  <a:lnTo>
                    <a:pt x="3298" y="14443"/>
                  </a:lnTo>
                  <a:lnTo>
                    <a:pt x="3619" y="14667"/>
                  </a:lnTo>
                  <a:lnTo>
                    <a:pt x="3953" y="14875"/>
                  </a:lnTo>
                  <a:lnTo>
                    <a:pt x="4297" y="15068"/>
                  </a:lnTo>
                  <a:lnTo>
                    <a:pt x="4651" y="15245"/>
                  </a:lnTo>
                  <a:lnTo>
                    <a:pt x="5014" y="15406"/>
                  </a:lnTo>
                  <a:lnTo>
                    <a:pt x="5386" y="15550"/>
                  </a:lnTo>
                  <a:lnTo>
                    <a:pt x="5768" y="15675"/>
                  </a:lnTo>
                  <a:lnTo>
                    <a:pt x="6158" y="15783"/>
                  </a:lnTo>
                  <a:lnTo>
                    <a:pt x="6555" y="15873"/>
                  </a:lnTo>
                  <a:lnTo>
                    <a:pt x="6960" y="15944"/>
                  </a:lnTo>
                  <a:lnTo>
                    <a:pt x="7370" y="15995"/>
                  </a:lnTo>
                  <a:lnTo>
                    <a:pt x="7787" y="16026"/>
                  </a:lnTo>
                  <a:lnTo>
                    <a:pt x="8210" y="16036"/>
                  </a:lnTo>
                  <a:lnTo>
                    <a:pt x="8632" y="16026"/>
                  </a:lnTo>
                  <a:lnTo>
                    <a:pt x="9049" y="15995"/>
                  </a:lnTo>
                  <a:lnTo>
                    <a:pt x="9459" y="15944"/>
                  </a:lnTo>
                  <a:lnTo>
                    <a:pt x="9864" y="15873"/>
                  </a:lnTo>
                  <a:lnTo>
                    <a:pt x="10261" y="15783"/>
                  </a:lnTo>
                  <a:lnTo>
                    <a:pt x="10651" y="15675"/>
                  </a:lnTo>
                  <a:lnTo>
                    <a:pt x="11033" y="15550"/>
                  </a:lnTo>
                  <a:lnTo>
                    <a:pt x="11405" y="15406"/>
                  </a:lnTo>
                  <a:lnTo>
                    <a:pt x="11768" y="15245"/>
                  </a:lnTo>
                  <a:lnTo>
                    <a:pt x="12122" y="15068"/>
                  </a:lnTo>
                  <a:lnTo>
                    <a:pt x="12466" y="14875"/>
                  </a:lnTo>
                  <a:lnTo>
                    <a:pt x="12800" y="14667"/>
                  </a:lnTo>
                  <a:lnTo>
                    <a:pt x="13122" y="14443"/>
                  </a:lnTo>
                  <a:lnTo>
                    <a:pt x="13432" y="14205"/>
                  </a:lnTo>
                  <a:lnTo>
                    <a:pt x="13729" y="13953"/>
                  </a:lnTo>
                  <a:lnTo>
                    <a:pt x="14015" y="13688"/>
                  </a:lnTo>
                  <a:lnTo>
                    <a:pt x="14287" y="13409"/>
                  </a:lnTo>
                  <a:lnTo>
                    <a:pt x="14544" y="13118"/>
                  </a:lnTo>
                  <a:lnTo>
                    <a:pt x="14788" y="12815"/>
                  </a:lnTo>
                  <a:lnTo>
                    <a:pt x="15017" y="12501"/>
                  </a:lnTo>
                  <a:lnTo>
                    <a:pt x="15231" y="12175"/>
                  </a:lnTo>
                  <a:lnTo>
                    <a:pt x="15428" y="11840"/>
                  </a:lnTo>
                  <a:lnTo>
                    <a:pt x="15609" y="11494"/>
                  </a:lnTo>
                  <a:lnTo>
                    <a:pt x="15774" y="11139"/>
                  </a:lnTo>
                  <a:lnTo>
                    <a:pt x="15921" y="10774"/>
                  </a:lnTo>
                  <a:lnTo>
                    <a:pt x="16050" y="10402"/>
                  </a:lnTo>
                  <a:lnTo>
                    <a:pt x="16160" y="10021"/>
                  </a:lnTo>
                  <a:lnTo>
                    <a:pt x="16253" y="9634"/>
                  </a:lnTo>
                  <a:lnTo>
                    <a:pt x="16325" y="9239"/>
                  </a:lnTo>
                  <a:lnTo>
                    <a:pt x="16377" y="8838"/>
                  </a:lnTo>
                  <a:lnTo>
                    <a:pt x="16409" y="8431"/>
                  </a:lnTo>
                  <a:lnTo>
                    <a:pt x="16419" y="8018"/>
                  </a:lnTo>
                  <a:lnTo>
                    <a:pt x="16409" y="7605"/>
                  </a:lnTo>
                  <a:lnTo>
                    <a:pt x="16377" y="7198"/>
                  </a:lnTo>
                  <a:lnTo>
                    <a:pt x="16325" y="6797"/>
                  </a:lnTo>
                  <a:lnTo>
                    <a:pt x="16253" y="6402"/>
                  </a:lnTo>
                  <a:lnTo>
                    <a:pt x="16160" y="6014"/>
                  </a:lnTo>
                  <a:lnTo>
                    <a:pt x="16050" y="5634"/>
                  </a:lnTo>
                  <a:lnTo>
                    <a:pt x="15921" y="5261"/>
                  </a:lnTo>
                  <a:lnTo>
                    <a:pt x="15774" y="4897"/>
                  </a:lnTo>
                  <a:lnTo>
                    <a:pt x="15609" y="4541"/>
                  </a:lnTo>
                  <a:lnTo>
                    <a:pt x="15428" y="4195"/>
                  </a:lnTo>
                  <a:lnTo>
                    <a:pt x="15231" y="3861"/>
                  </a:lnTo>
                  <a:lnTo>
                    <a:pt x="15017" y="3535"/>
                  </a:lnTo>
                  <a:lnTo>
                    <a:pt x="14788" y="3220"/>
                  </a:lnTo>
                  <a:lnTo>
                    <a:pt x="14544" y="2918"/>
                  </a:lnTo>
                  <a:lnTo>
                    <a:pt x="14287" y="2627"/>
                  </a:lnTo>
                  <a:lnTo>
                    <a:pt x="14015" y="2348"/>
                  </a:lnTo>
                  <a:lnTo>
                    <a:pt x="13729" y="2083"/>
                  </a:lnTo>
                  <a:lnTo>
                    <a:pt x="13432" y="1831"/>
                  </a:lnTo>
                  <a:lnTo>
                    <a:pt x="13122" y="1593"/>
                  </a:lnTo>
                  <a:lnTo>
                    <a:pt x="12800" y="1369"/>
                  </a:lnTo>
                  <a:lnTo>
                    <a:pt x="12466" y="1161"/>
                  </a:lnTo>
                  <a:lnTo>
                    <a:pt x="12122" y="967"/>
                  </a:lnTo>
                  <a:lnTo>
                    <a:pt x="11768" y="791"/>
                  </a:lnTo>
                  <a:lnTo>
                    <a:pt x="11405" y="630"/>
                  </a:lnTo>
                  <a:lnTo>
                    <a:pt x="11033" y="486"/>
                  </a:lnTo>
                  <a:lnTo>
                    <a:pt x="10651" y="361"/>
                  </a:lnTo>
                  <a:lnTo>
                    <a:pt x="10261" y="253"/>
                  </a:lnTo>
                  <a:lnTo>
                    <a:pt x="9864" y="162"/>
                  </a:lnTo>
                  <a:lnTo>
                    <a:pt x="9459" y="92"/>
                  </a:lnTo>
                  <a:lnTo>
                    <a:pt x="9049" y="41"/>
                  </a:lnTo>
                  <a:lnTo>
                    <a:pt x="8632" y="10"/>
                  </a:lnTo>
                  <a:lnTo>
                    <a:pt x="821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56" name="îṥḻïḋè">
              <a:extLst>
                <a:ext uri="{FF2B5EF4-FFF2-40B4-BE49-F238E27FC236}">
                  <a16:creationId xmlns:a16="http://schemas.microsoft.com/office/drawing/2014/main" id="{08E940C5-DD6C-450E-9831-331763297165}"/>
                </a:ext>
              </a:extLst>
            </p:cNvPr>
            <p:cNvSpPr/>
            <p:nvPr/>
          </p:nvSpPr>
          <p:spPr bwMode="auto">
            <a:xfrm>
              <a:off x="4491279" y="1705663"/>
              <a:ext cx="62274" cy="82779"/>
            </a:xfrm>
            <a:custGeom>
              <a:avLst/>
              <a:gdLst>
                <a:gd name="T0" fmla="*/ 503 w 3018"/>
                <a:gd name="T1" fmla="*/ 504 h 4030"/>
                <a:gd name="T2" fmla="*/ 2515 w 3018"/>
                <a:gd name="T3" fmla="*/ 3526 h 4030"/>
                <a:gd name="T4" fmla="*/ 1386 w 3018"/>
                <a:gd name="T5" fmla="*/ 175 h 4030"/>
                <a:gd name="T6" fmla="*/ 1320 w 3018"/>
                <a:gd name="T7" fmla="*/ 110 h 4030"/>
                <a:gd name="T8" fmla="*/ 1244 w 3018"/>
                <a:gd name="T9" fmla="*/ 60 h 4030"/>
                <a:gd name="T10" fmla="*/ 1159 w 3018"/>
                <a:gd name="T11" fmla="*/ 24 h 4030"/>
                <a:gd name="T12" fmla="*/ 1069 w 3018"/>
                <a:gd name="T13" fmla="*/ 3 h 4030"/>
                <a:gd name="T14" fmla="*/ 503 w 3018"/>
                <a:gd name="T15" fmla="*/ 0 h 4030"/>
                <a:gd name="T16" fmla="*/ 427 w 3018"/>
                <a:gd name="T17" fmla="*/ 6 h 4030"/>
                <a:gd name="T18" fmla="*/ 353 w 3018"/>
                <a:gd name="T19" fmla="*/ 23 h 4030"/>
                <a:gd name="T20" fmla="*/ 285 w 3018"/>
                <a:gd name="T21" fmla="*/ 50 h 4030"/>
                <a:gd name="T22" fmla="*/ 222 w 3018"/>
                <a:gd name="T23" fmla="*/ 86 h 4030"/>
                <a:gd name="T24" fmla="*/ 165 w 3018"/>
                <a:gd name="T25" fmla="*/ 130 h 4030"/>
                <a:gd name="T26" fmla="*/ 115 w 3018"/>
                <a:gd name="T27" fmla="*/ 183 h 4030"/>
                <a:gd name="T28" fmla="*/ 74 w 3018"/>
                <a:gd name="T29" fmla="*/ 242 h 4030"/>
                <a:gd name="T30" fmla="*/ 40 w 3018"/>
                <a:gd name="T31" fmla="*/ 308 h 4030"/>
                <a:gd name="T32" fmla="*/ 16 w 3018"/>
                <a:gd name="T33" fmla="*/ 377 h 4030"/>
                <a:gd name="T34" fmla="*/ 3 w 3018"/>
                <a:gd name="T35" fmla="*/ 452 h 4030"/>
                <a:gd name="T36" fmla="*/ 0 w 3018"/>
                <a:gd name="T37" fmla="*/ 3526 h 4030"/>
                <a:gd name="T38" fmla="*/ 6 w 3018"/>
                <a:gd name="T39" fmla="*/ 3604 h 4030"/>
                <a:gd name="T40" fmla="*/ 23 w 3018"/>
                <a:gd name="T41" fmla="*/ 3676 h 4030"/>
                <a:gd name="T42" fmla="*/ 50 w 3018"/>
                <a:gd name="T43" fmla="*/ 3745 h 4030"/>
                <a:gd name="T44" fmla="*/ 86 w 3018"/>
                <a:gd name="T45" fmla="*/ 3808 h 4030"/>
                <a:gd name="T46" fmla="*/ 131 w 3018"/>
                <a:gd name="T47" fmla="*/ 3866 h 4030"/>
                <a:gd name="T48" fmla="*/ 183 w 3018"/>
                <a:gd name="T49" fmla="*/ 3915 h 4030"/>
                <a:gd name="T50" fmla="*/ 243 w 3018"/>
                <a:gd name="T51" fmla="*/ 3957 h 4030"/>
                <a:gd name="T52" fmla="*/ 307 w 3018"/>
                <a:gd name="T53" fmla="*/ 3991 h 4030"/>
                <a:gd name="T54" fmla="*/ 378 w 3018"/>
                <a:gd name="T55" fmla="*/ 4015 h 4030"/>
                <a:gd name="T56" fmla="*/ 452 w 3018"/>
                <a:gd name="T57" fmla="*/ 4028 h 4030"/>
                <a:gd name="T58" fmla="*/ 2515 w 3018"/>
                <a:gd name="T59" fmla="*/ 4030 h 4030"/>
                <a:gd name="T60" fmla="*/ 2592 w 3018"/>
                <a:gd name="T61" fmla="*/ 4025 h 4030"/>
                <a:gd name="T62" fmla="*/ 2665 w 3018"/>
                <a:gd name="T63" fmla="*/ 4008 h 4030"/>
                <a:gd name="T64" fmla="*/ 2733 w 3018"/>
                <a:gd name="T65" fmla="*/ 3981 h 4030"/>
                <a:gd name="T66" fmla="*/ 2797 w 3018"/>
                <a:gd name="T67" fmla="*/ 3944 h 4030"/>
                <a:gd name="T68" fmla="*/ 2853 w 3018"/>
                <a:gd name="T69" fmla="*/ 3899 h 4030"/>
                <a:gd name="T70" fmla="*/ 2903 w 3018"/>
                <a:gd name="T71" fmla="*/ 3848 h 4030"/>
                <a:gd name="T72" fmla="*/ 2946 w 3018"/>
                <a:gd name="T73" fmla="*/ 3788 h 4030"/>
                <a:gd name="T74" fmla="*/ 2979 w 3018"/>
                <a:gd name="T75" fmla="*/ 3723 h 4030"/>
                <a:gd name="T76" fmla="*/ 3002 w 3018"/>
                <a:gd name="T77" fmla="*/ 3652 h 4030"/>
                <a:gd name="T78" fmla="*/ 3015 w 3018"/>
                <a:gd name="T79" fmla="*/ 3578 h 4030"/>
                <a:gd name="T80" fmla="*/ 3018 w 3018"/>
                <a:gd name="T81" fmla="*/ 2770 h 4030"/>
                <a:gd name="T82" fmla="*/ 3015 w 3018"/>
                <a:gd name="T83" fmla="*/ 2715 h 4030"/>
                <a:gd name="T84" fmla="*/ 3006 w 3018"/>
                <a:gd name="T85" fmla="*/ 2661 h 4030"/>
                <a:gd name="T86" fmla="*/ 2991 w 3018"/>
                <a:gd name="T87" fmla="*/ 2607 h 4030"/>
                <a:gd name="T88" fmla="*/ 2970 w 3018"/>
                <a:gd name="T89" fmla="*/ 2556 h 4030"/>
                <a:gd name="T90" fmla="*/ 2944 w 3018"/>
                <a:gd name="T91" fmla="*/ 2506 h 40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18" h="4030">
                  <a:moveTo>
                    <a:pt x="2515" y="3526"/>
                  </a:moveTo>
                  <a:lnTo>
                    <a:pt x="503" y="3526"/>
                  </a:lnTo>
                  <a:lnTo>
                    <a:pt x="503" y="504"/>
                  </a:lnTo>
                  <a:lnTo>
                    <a:pt x="1006" y="504"/>
                  </a:lnTo>
                  <a:lnTo>
                    <a:pt x="2515" y="2770"/>
                  </a:lnTo>
                  <a:lnTo>
                    <a:pt x="2515" y="3526"/>
                  </a:lnTo>
                  <a:close/>
                  <a:moveTo>
                    <a:pt x="1425" y="224"/>
                  </a:moveTo>
                  <a:lnTo>
                    <a:pt x="1407" y="199"/>
                  </a:lnTo>
                  <a:lnTo>
                    <a:pt x="1386" y="175"/>
                  </a:lnTo>
                  <a:lnTo>
                    <a:pt x="1365" y="152"/>
                  </a:lnTo>
                  <a:lnTo>
                    <a:pt x="1343" y="130"/>
                  </a:lnTo>
                  <a:lnTo>
                    <a:pt x="1320" y="110"/>
                  </a:lnTo>
                  <a:lnTo>
                    <a:pt x="1296" y="92"/>
                  </a:lnTo>
                  <a:lnTo>
                    <a:pt x="1270" y="75"/>
                  </a:lnTo>
                  <a:lnTo>
                    <a:pt x="1244" y="60"/>
                  </a:lnTo>
                  <a:lnTo>
                    <a:pt x="1216" y="46"/>
                  </a:lnTo>
                  <a:lnTo>
                    <a:pt x="1188" y="34"/>
                  </a:lnTo>
                  <a:lnTo>
                    <a:pt x="1159" y="24"/>
                  </a:lnTo>
                  <a:lnTo>
                    <a:pt x="1130" y="16"/>
                  </a:lnTo>
                  <a:lnTo>
                    <a:pt x="1100" y="9"/>
                  </a:lnTo>
                  <a:lnTo>
                    <a:pt x="1069" y="3"/>
                  </a:lnTo>
                  <a:lnTo>
                    <a:pt x="1037" y="1"/>
                  </a:lnTo>
                  <a:lnTo>
                    <a:pt x="1006" y="0"/>
                  </a:lnTo>
                  <a:lnTo>
                    <a:pt x="503" y="0"/>
                  </a:lnTo>
                  <a:lnTo>
                    <a:pt x="477" y="0"/>
                  </a:lnTo>
                  <a:lnTo>
                    <a:pt x="452" y="2"/>
                  </a:lnTo>
                  <a:lnTo>
                    <a:pt x="427" y="6"/>
                  </a:lnTo>
                  <a:lnTo>
                    <a:pt x="402" y="11"/>
                  </a:lnTo>
                  <a:lnTo>
                    <a:pt x="378" y="16"/>
                  </a:lnTo>
                  <a:lnTo>
                    <a:pt x="353" y="23"/>
                  </a:lnTo>
                  <a:lnTo>
                    <a:pt x="330" y="31"/>
                  </a:lnTo>
                  <a:lnTo>
                    <a:pt x="307" y="40"/>
                  </a:lnTo>
                  <a:lnTo>
                    <a:pt x="285" y="50"/>
                  </a:lnTo>
                  <a:lnTo>
                    <a:pt x="264" y="61"/>
                  </a:lnTo>
                  <a:lnTo>
                    <a:pt x="243" y="73"/>
                  </a:lnTo>
                  <a:lnTo>
                    <a:pt x="222" y="86"/>
                  </a:lnTo>
                  <a:lnTo>
                    <a:pt x="203" y="100"/>
                  </a:lnTo>
                  <a:lnTo>
                    <a:pt x="183" y="115"/>
                  </a:lnTo>
                  <a:lnTo>
                    <a:pt x="165" y="130"/>
                  </a:lnTo>
                  <a:lnTo>
                    <a:pt x="148" y="148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100" y="202"/>
                  </a:lnTo>
                  <a:lnTo>
                    <a:pt x="86" y="222"/>
                  </a:lnTo>
                  <a:lnTo>
                    <a:pt x="74" y="242"/>
                  </a:lnTo>
                  <a:lnTo>
                    <a:pt x="61" y="263"/>
                  </a:lnTo>
                  <a:lnTo>
                    <a:pt x="50" y="286"/>
                  </a:lnTo>
                  <a:lnTo>
                    <a:pt x="40" y="308"/>
                  </a:lnTo>
                  <a:lnTo>
                    <a:pt x="31" y="331"/>
                  </a:lnTo>
                  <a:lnTo>
                    <a:pt x="23" y="354"/>
                  </a:lnTo>
                  <a:lnTo>
                    <a:pt x="16" y="377"/>
                  </a:lnTo>
                  <a:lnTo>
                    <a:pt x="10" y="403"/>
                  </a:lnTo>
                  <a:lnTo>
                    <a:pt x="6" y="427"/>
                  </a:lnTo>
                  <a:lnTo>
                    <a:pt x="3" y="452"/>
                  </a:lnTo>
                  <a:lnTo>
                    <a:pt x="1" y="478"/>
                  </a:lnTo>
                  <a:lnTo>
                    <a:pt x="0" y="504"/>
                  </a:lnTo>
                  <a:lnTo>
                    <a:pt x="0" y="3526"/>
                  </a:lnTo>
                  <a:lnTo>
                    <a:pt x="1" y="3552"/>
                  </a:lnTo>
                  <a:lnTo>
                    <a:pt x="3" y="3578"/>
                  </a:lnTo>
                  <a:lnTo>
                    <a:pt x="6" y="3604"/>
                  </a:lnTo>
                  <a:lnTo>
                    <a:pt x="10" y="3628"/>
                  </a:lnTo>
                  <a:lnTo>
                    <a:pt x="16" y="3652"/>
                  </a:lnTo>
                  <a:lnTo>
                    <a:pt x="23" y="3676"/>
                  </a:lnTo>
                  <a:lnTo>
                    <a:pt x="31" y="3699"/>
                  </a:lnTo>
                  <a:lnTo>
                    <a:pt x="40" y="3723"/>
                  </a:lnTo>
                  <a:lnTo>
                    <a:pt x="50" y="3745"/>
                  </a:lnTo>
                  <a:lnTo>
                    <a:pt x="61" y="3767"/>
                  </a:lnTo>
                  <a:lnTo>
                    <a:pt x="74" y="3788"/>
                  </a:lnTo>
                  <a:lnTo>
                    <a:pt x="86" y="3808"/>
                  </a:lnTo>
                  <a:lnTo>
                    <a:pt x="100" y="3828"/>
                  </a:lnTo>
                  <a:lnTo>
                    <a:pt x="115" y="3848"/>
                  </a:lnTo>
                  <a:lnTo>
                    <a:pt x="131" y="3866"/>
                  </a:lnTo>
                  <a:lnTo>
                    <a:pt x="148" y="3883"/>
                  </a:lnTo>
                  <a:lnTo>
                    <a:pt x="165" y="3899"/>
                  </a:lnTo>
                  <a:lnTo>
                    <a:pt x="183" y="3915"/>
                  </a:lnTo>
                  <a:lnTo>
                    <a:pt x="203" y="3930"/>
                  </a:lnTo>
                  <a:lnTo>
                    <a:pt x="222" y="3944"/>
                  </a:lnTo>
                  <a:lnTo>
                    <a:pt x="243" y="3957"/>
                  </a:lnTo>
                  <a:lnTo>
                    <a:pt x="264" y="3969"/>
                  </a:lnTo>
                  <a:lnTo>
                    <a:pt x="285" y="3981"/>
                  </a:lnTo>
                  <a:lnTo>
                    <a:pt x="307" y="3991"/>
                  </a:lnTo>
                  <a:lnTo>
                    <a:pt x="330" y="4000"/>
                  </a:lnTo>
                  <a:lnTo>
                    <a:pt x="353" y="4008"/>
                  </a:lnTo>
                  <a:lnTo>
                    <a:pt x="378" y="4015"/>
                  </a:lnTo>
                  <a:lnTo>
                    <a:pt x="402" y="4020"/>
                  </a:lnTo>
                  <a:lnTo>
                    <a:pt x="427" y="4025"/>
                  </a:lnTo>
                  <a:lnTo>
                    <a:pt x="452" y="4028"/>
                  </a:lnTo>
                  <a:lnTo>
                    <a:pt x="477" y="4030"/>
                  </a:lnTo>
                  <a:lnTo>
                    <a:pt x="503" y="4030"/>
                  </a:lnTo>
                  <a:lnTo>
                    <a:pt x="2515" y="4030"/>
                  </a:lnTo>
                  <a:lnTo>
                    <a:pt x="2541" y="4030"/>
                  </a:lnTo>
                  <a:lnTo>
                    <a:pt x="2566" y="4028"/>
                  </a:lnTo>
                  <a:lnTo>
                    <a:pt x="2592" y="4025"/>
                  </a:lnTo>
                  <a:lnTo>
                    <a:pt x="2617" y="4020"/>
                  </a:lnTo>
                  <a:lnTo>
                    <a:pt x="2641" y="4015"/>
                  </a:lnTo>
                  <a:lnTo>
                    <a:pt x="2665" y="4008"/>
                  </a:lnTo>
                  <a:lnTo>
                    <a:pt x="2688" y="4000"/>
                  </a:lnTo>
                  <a:lnTo>
                    <a:pt x="2711" y="3991"/>
                  </a:lnTo>
                  <a:lnTo>
                    <a:pt x="2733" y="3981"/>
                  </a:lnTo>
                  <a:lnTo>
                    <a:pt x="2756" y="3969"/>
                  </a:lnTo>
                  <a:lnTo>
                    <a:pt x="2777" y="3957"/>
                  </a:lnTo>
                  <a:lnTo>
                    <a:pt x="2797" y="3944"/>
                  </a:lnTo>
                  <a:lnTo>
                    <a:pt x="2816" y="3930"/>
                  </a:lnTo>
                  <a:lnTo>
                    <a:pt x="2835" y="3915"/>
                  </a:lnTo>
                  <a:lnTo>
                    <a:pt x="2853" y="3899"/>
                  </a:lnTo>
                  <a:lnTo>
                    <a:pt x="2871" y="3883"/>
                  </a:lnTo>
                  <a:lnTo>
                    <a:pt x="2887" y="3866"/>
                  </a:lnTo>
                  <a:lnTo>
                    <a:pt x="2903" y="3848"/>
                  </a:lnTo>
                  <a:lnTo>
                    <a:pt x="2919" y="3828"/>
                  </a:lnTo>
                  <a:lnTo>
                    <a:pt x="2933" y="3808"/>
                  </a:lnTo>
                  <a:lnTo>
                    <a:pt x="2946" y="3788"/>
                  </a:lnTo>
                  <a:lnTo>
                    <a:pt x="2958" y="3767"/>
                  </a:lnTo>
                  <a:lnTo>
                    <a:pt x="2969" y="3745"/>
                  </a:lnTo>
                  <a:lnTo>
                    <a:pt x="2979" y="3723"/>
                  </a:lnTo>
                  <a:lnTo>
                    <a:pt x="2988" y="3699"/>
                  </a:lnTo>
                  <a:lnTo>
                    <a:pt x="2996" y="3676"/>
                  </a:lnTo>
                  <a:lnTo>
                    <a:pt x="3002" y="3652"/>
                  </a:lnTo>
                  <a:lnTo>
                    <a:pt x="3008" y="3628"/>
                  </a:lnTo>
                  <a:lnTo>
                    <a:pt x="3012" y="3604"/>
                  </a:lnTo>
                  <a:lnTo>
                    <a:pt x="3015" y="3578"/>
                  </a:lnTo>
                  <a:lnTo>
                    <a:pt x="3017" y="3552"/>
                  </a:lnTo>
                  <a:lnTo>
                    <a:pt x="3018" y="3526"/>
                  </a:lnTo>
                  <a:lnTo>
                    <a:pt x="3018" y="2770"/>
                  </a:lnTo>
                  <a:lnTo>
                    <a:pt x="3018" y="2752"/>
                  </a:lnTo>
                  <a:lnTo>
                    <a:pt x="3017" y="2734"/>
                  </a:lnTo>
                  <a:lnTo>
                    <a:pt x="3015" y="2715"/>
                  </a:lnTo>
                  <a:lnTo>
                    <a:pt x="3013" y="2697"/>
                  </a:lnTo>
                  <a:lnTo>
                    <a:pt x="3010" y="2679"/>
                  </a:lnTo>
                  <a:lnTo>
                    <a:pt x="3006" y="2661"/>
                  </a:lnTo>
                  <a:lnTo>
                    <a:pt x="3002" y="2642"/>
                  </a:lnTo>
                  <a:lnTo>
                    <a:pt x="2997" y="2625"/>
                  </a:lnTo>
                  <a:lnTo>
                    <a:pt x="2991" y="2607"/>
                  </a:lnTo>
                  <a:lnTo>
                    <a:pt x="2985" y="2590"/>
                  </a:lnTo>
                  <a:lnTo>
                    <a:pt x="2978" y="2573"/>
                  </a:lnTo>
                  <a:lnTo>
                    <a:pt x="2970" y="2556"/>
                  </a:lnTo>
                  <a:lnTo>
                    <a:pt x="2962" y="2540"/>
                  </a:lnTo>
                  <a:lnTo>
                    <a:pt x="2953" y="2523"/>
                  </a:lnTo>
                  <a:lnTo>
                    <a:pt x="2944" y="2506"/>
                  </a:lnTo>
                  <a:lnTo>
                    <a:pt x="2934" y="2491"/>
                  </a:lnTo>
                  <a:lnTo>
                    <a:pt x="1425" y="2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57" name="îṩľíḓè">
              <a:extLst>
                <a:ext uri="{FF2B5EF4-FFF2-40B4-BE49-F238E27FC236}">
                  <a16:creationId xmlns:a16="http://schemas.microsoft.com/office/drawing/2014/main" id="{5C606415-8DCF-4A12-A502-AC66B3DC83C4}"/>
                </a:ext>
              </a:extLst>
            </p:cNvPr>
            <p:cNvSpPr/>
            <p:nvPr/>
          </p:nvSpPr>
          <p:spPr bwMode="auto">
            <a:xfrm>
              <a:off x="4264207" y="1622884"/>
              <a:ext cx="330356" cy="268841"/>
            </a:xfrm>
            <a:custGeom>
              <a:avLst/>
              <a:gdLst>
                <a:gd name="T0" fmla="*/ 14958 w 16095"/>
                <a:gd name="T1" fmla="*/ 10414 h 13098"/>
                <a:gd name="T2" fmla="*/ 14612 w 16095"/>
                <a:gd name="T3" fmla="*/ 10578 h 13098"/>
                <a:gd name="T4" fmla="*/ 13430 w 16095"/>
                <a:gd name="T5" fmla="*/ 9605 h 13098"/>
                <a:gd name="T6" fmla="*/ 12244 w 16095"/>
                <a:gd name="T7" fmla="*/ 9076 h 13098"/>
                <a:gd name="T8" fmla="*/ 10967 w 16095"/>
                <a:gd name="T9" fmla="*/ 9402 h 13098"/>
                <a:gd name="T10" fmla="*/ 10179 w 16095"/>
                <a:gd name="T11" fmla="*/ 10419 h 13098"/>
                <a:gd name="T12" fmla="*/ 6951 w 16095"/>
                <a:gd name="T13" fmla="*/ 9661 h 13098"/>
                <a:gd name="T14" fmla="*/ 5791 w 16095"/>
                <a:gd name="T15" fmla="*/ 9085 h 13098"/>
                <a:gd name="T16" fmla="*/ 4497 w 16095"/>
                <a:gd name="T17" fmla="*/ 9359 h 13098"/>
                <a:gd name="T18" fmla="*/ 3670 w 16095"/>
                <a:gd name="T19" fmla="*/ 10341 h 13098"/>
                <a:gd name="T20" fmla="*/ 2737 w 16095"/>
                <a:gd name="T21" fmla="*/ 10493 h 13098"/>
                <a:gd name="T22" fmla="*/ 2526 w 16095"/>
                <a:gd name="T23" fmla="*/ 10177 h 13098"/>
                <a:gd name="T24" fmla="*/ 9773 w 16095"/>
                <a:gd name="T25" fmla="*/ 8381 h 13098"/>
                <a:gd name="T26" fmla="*/ 10495 w 16095"/>
                <a:gd name="T27" fmla="*/ 7502 h 13098"/>
                <a:gd name="T28" fmla="*/ 12812 w 16095"/>
                <a:gd name="T29" fmla="*/ 3586 h 13098"/>
                <a:gd name="T30" fmla="*/ 15062 w 16095"/>
                <a:gd name="T31" fmla="*/ 6889 h 13098"/>
                <a:gd name="T32" fmla="*/ 11820 w 16095"/>
                <a:gd name="T33" fmla="*/ 12058 h 13098"/>
                <a:gd name="T34" fmla="*/ 11211 w 16095"/>
                <a:gd name="T35" fmla="*/ 11606 h 13098"/>
                <a:gd name="T36" fmla="*/ 11098 w 16095"/>
                <a:gd name="T37" fmla="*/ 10831 h 13098"/>
                <a:gd name="T38" fmla="*/ 11550 w 16095"/>
                <a:gd name="T39" fmla="*/ 10221 h 13098"/>
                <a:gd name="T40" fmla="*/ 12323 w 16095"/>
                <a:gd name="T41" fmla="*/ 10107 h 13098"/>
                <a:gd name="T42" fmla="*/ 12931 w 16095"/>
                <a:gd name="T43" fmla="*/ 10561 h 13098"/>
                <a:gd name="T44" fmla="*/ 13046 w 16095"/>
                <a:gd name="T45" fmla="*/ 11335 h 13098"/>
                <a:gd name="T46" fmla="*/ 12593 w 16095"/>
                <a:gd name="T47" fmla="*/ 11944 h 13098"/>
                <a:gd name="T48" fmla="*/ 5330 w 16095"/>
                <a:gd name="T49" fmla="*/ 12070 h 13098"/>
                <a:gd name="T50" fmla="*/ 4699 w 16095"/>
                <a:gd name="T51" fmla="*/ 11646 h 13098"/>
                <a:gd name="T52" fmla="*/ 4548 w 16095"/>
                <a:gd name="T53" fmla="*/ 10880 h 13098"/>
                <a:gd name="T54" fmla="*/ 4970 w 16095"/>
                <a:gd name="T55" fmla="*/ 10247 h 13098"/>
                <a:gd name="T56" fmla="*/ 5736 w 16095"/>
                <a:gd name="T57" fmla="*/ 10096 h 13098"/>
                <a:gd name="T58" fmla="*/ 6368 w 16095"/>
                <a:gd name="T59" fmla="*/ 10520 h 13098"/>
                <a:gd name="T60" fmla="*/ 6518 w 16095"/>
                <a:gd name="T61" fmla="*/ 11286 h 13098"/>
                <a:gd name="T62" fmla="*/ 6095 w 16095"/>
                <a:gd name="T63" fmla="*/ 11918 h 13098"/>
                <a:gd name="T64" fmla="*/ 1432 w 16095"/>
                <a:gd name="T65" fmla="*/ 7551 h 13098"/>
                <a:gd name="T66" fmla="*/ 1106 w 16095"/>
                <a:gd name="T67" fmla="*/ 7355 h 13098"/>
                <a:gd name="T68" fmla="*/ 1009 w 16095"/>
                <a:gd name="T69" fmla="*/ 1460 h 13098"/>
                <a:gd name="T70" fmla="*/ 1189 w 16095"/>
                <a:gd name="T71" fmla="*/ 1122 h 13098"/>
                <a:gd name="T72" fmla="*/ 9080 w 16095"/>
                <a:gd name="T73" fmla="*/ 1008 h 13098"/>
                <a:gd name="T74" fmla="*/ 9426 w 16095"/>
                <a:gd name="T75" fmla="*/ 1172 h 13098"/>
                <a:gd name="T76" fmla="*/ 9556 w 16095"/>
                <a:gd name="T77" fmla="*/ 2519 h 13098"/>
                <a:gd name="T78" fmla="*/ 9442 w 16095"/>
                <a:gd name="T79" fmla="*/ 7374 h 13098"/>
                <a:gd name="T80" fmla="*/ 9105 w 16095"/>
                <a:gd name="T81" fmla="*/ 7554 h 13098"/>
                <a:gd name="T82" fmla="*/ 13480 w 16095"/>
                <a:gd name="T83" fmla="*/ 2820 h 13098"/>
                <a:gd name="T84" fmla="*/ 12808 w 16095"/>
                <a:gd name="T85" fmla="*/ 2537 h 13098"/>
                <a:gd name="T86" fmla="*/ 10413 w 16095"/>
                <a:gd name="T87" fmla="*/ 856 h 13098"/>
                <a:gd name="T88" fmla="*/ 9571 w 16095"/>
                <a:gd name="T89" fmla="*/ 92 h 13098"/>
                <a:gd name="T90" fmla="*/ 922 w 16095"/>
                <a:gd name="T91" fmla="*/ 119 h 13098"/>
                <a:gd name="T92" fmla="*/ 119 w 16095"/>
                <a:gd name="T93" fmla="*/ 924 h 13098"/>
                <a:gd name="T94" fmla="*/ 92 w 16095"/>
                <a:gd name="T95" fmla="*/ 7572 h 13098"/>
                <a:gd name="T96" fmla="*/ 855 w 16095"/>
                <a:gd name="T97" fmla="*/ 8415 h 13098"/>
                <a:gd name="T98" fmla="*/ 1557 w 16095"/>
                <a:gd name="T99" fmla="*/ 10453 h 13098"/>
                <a:gd name="T100" fmla="*/ 2236 w 16095"/>
                <a:gd name="T101" fmla="*/ 11368 h 13098"/>
                <a:gd name="T102" fmla="*/ 3702 w 16095"/>
                <a:gd name="T103" fmla="*/ 11901 h 13098"/>
                <a:gd name="T104" fmla="*/ 4567 w 16095"/>
                <a:gd name="T105" fmla="*/ 12848 h 13098"/>
                <a:gd name="T106" fmla="*/ 5876 w 16095"/>
                <a:gd name="T107" fmla="*/ 13069 h 13098"/>
                <a:gd name="T108" fmla="*/ 7006 w 16095"/>
                <a:gd name="T109" fmla="*/ 12446 h 13098"/>
                <a:gd name="T110" fmla="*/ 10208 w 16095"/>
                <a:gd name="T111" fmla="*/ 11824 h 13098"/>
                <a:gd name="T112" fmla="*/ 11035 w 16095"/>
                <a:gd name="T113" fmla="*/ 12807 h 13098"/>
                <a:gd name="T114" fmla="*/ 12330 w 16095"/>
                <a:gd name="T115" fmla="*/ 13081 h 13098"/>
                <a:gd name="T116" fmla="*/ 13489 w 16095"/>
                <a:gd name="T117" fmla="*/ 12505 h 13098"/>
                <a:gd name="T118" fmla="*/ 14740 w 16095"/>
                <a:gd name="T119" fmla="*/ 11579 h 13098"/>
                <a:gd name="T120" fmla="*/ 15750 w 16095"/>
                <a:gd name="T121" fmla="*/ 11036 h 13098"/>
                <a:gd name="T122" fmla="*/ 16095 w 16095"/>
                <a:gd name="T123" fmla="*/ 7025 h 13098"/>
                <a:gd name="T124" fmla="*/ 16023 w 16095"/>
                <a:gd name="T125" fmla="*/ 6588 h 130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95" h="13098">
                  <a:moveTo>
                    <a:pt x="15089" y="10075"/>
                  </a:moveTo>
                  <a:lnTo>
                    <a:pt x="15088" y="10101"/>
                  </a:lnTo>
                  <a:lnTo>
                    <a:pt x="15087" y="10127"/>
                  </a:lnTo>
                  <a:lnTo>
                    <a:pt x="15083" y="10152"/>
                  </a:lnTo>
                  <a:lnTo>
                    <a:pt x="15079" y="10177"/>
                  </a:lnTo>
                  <a:lnTo>
                    <a:pt x="15073" y="10201"/>
                  </a:lnTo>
                  <a:lnTo>
                    <a:pt x="15067" y="10225"/>
                  </a:lnTo>
                  <a:lnTo>
                    <a:pt x="15059" y="10248"/>
                  </a:lnTo>
                  <a:lnTo>
                    <a:pt x="15050" y="10272"/>
                  </a:lnTo>
                  <a:lnTo>
                    <a:pt x="15040" y="10294"/>
                  </a:lnTo>
                  <a:lnTo>
                    <a:pt x="15029" y="10316"/>
                  </a:lnTo>
                  <a:lnTo>
                    <a:pt x="15017" y="10337"/>
                  </a:lnTo>
                  <a:lnTo>
                    <a:pt x="15004" y="10357"/>
                  </a:lnTo>
                  <a:lnTo>
                    <a:pt x="14989" y="10376"/>
                  </a:lnTo>
                  <a:lnTo>
                    <a:pt x="14974" y="10396"/>
                  </a:lnTo>
                  <a:lnTo>
                    <a:pt x="14958" y="10414"/>
                  </a:lnTo>
                  <a:lnTo>
                    <a:pt x="14942" y="10432"/>
                  </a:lnTo>
                  <a:lnTo>
                    <a:pt x="14924" y="10448"/>
                  </a:lnTo>
                  <a:lnTo>
                    <a:pt x="14906" y="10464"/>
                  </a:lnTo>
                  <a:lnTo>
                    <a:pt x="14887" y="10479"/>
                  </a:lnTo>
                  <a:lnTo>
                    <a:pt x="14868" y="10493"/>
                  </a:lnTo>
                  <a:lnTo>
                    <a:pt x="14848" y="10506"/>
                  </a:lnTo>
                  <a:lnTo>
                    <a:pt x="14827" y="10519"/>
                  </a:lnTo>
                  <a:lnTo>
                    <a:pt x="14804" y="10530"/>
                  </a:lnTo>
                  <a:lnTo>
                    <a:pt x="14782" y="10540"/>
                  </a:lnTo>
                  <a:lnTo>
                    <a:pt x="14759" y="10549"/>
                  </a:lnTo>
                  <a:lnTo>
                    <a:pt x="14736" y="10557"/>
                  </a:lnTo>
                  <a:lnTo>
                    <a:pt x="14712" y="10563"/>
                  </a:lnTo>
                  <a:lnTo>
                    <a:pt x="14688" y="10569"/>
                  </a:lnTo>
                  <a:lnTo>
                    <a:pt x="14663" y="10573"/>
                  </a:lnTo>
                  <a:lnTo>
                    <a:pt x="14637" y="10577"/>
                  </a:lnTo>
                  <a:lnTo>
                    <a:pt x="14612" y="10578"/>
                  </a:lnTo>
                  <a:lnTo>
                    <a:pt x="14586" y="10579"/>
                  </a:lnTo>
                  <a:lnTo>
                    <a:pt x="14012" y="10579"/>
                  </a:lnTo>
                  <a:lnTo>
                    <a:pt x="13989" y="10498"/>
                  </a:lnTo>
                  <a:lnTo>
                    <a:pt x="13962" y="10419"/>
                  </a:lnTo>
                  <a:lnTo>
                    <a:pt x="13934" y="10341"/>
                  </a:lnTo>
                  <a:lnTo>
                    <a:pt x="13902" y="10266"/>
                  </a:lnTo>
                  <a:lnTo>
                    <a:pt x="13867" y="10191"/>
                  </a:lnTo>
                  <a:lnTo>
                    <a:pt x="13829" y="10117"/>
                  </a:lnTo>
                  <a:lnTo>
                    <a:pt x="13788" y="10047"/>
                  </a:lnTo>
                  <a:lnTo>
                    <a:pt x="13745" y="9977"/>
                  </a:lnTo>
                  <a:lnTo>
                    <a:pt x="13699" y="9910"/>
                  </a:lnTo>
                  <a:lnTo>
                    <a:pt x="13650" y="9844"/>
                  </a:lnTo>
                  <a:lnTo>
                    <a:pt x="13598" y="9781"/>
                  </a:lnTo>
                  <a:lnTo>
                    <a:pt x="13545" y="9719"/>
                  </a:lnTo>
                  <a:lnTo>
                    <a:pt x="13489" y="9661"/>
                  </a:lnTo>
                  <a:lnTo>
                    <a:pt x="13430" y="9605"/>
                  </a:lnTo>
                  <a:lnTo>
                    <a:pt x="13370" y="9550"/>
                  </a:lnTo>
                  <a:lnTo>
                    <a:pt x="13308" y="9499"/>
                  </a:lnTo>
                  <a:lnTo>
                    <a:pt x="13242" y="9449"/>
                  </a:lnTo>
                  <a:lnTo>
                    <a:pt x="13176" y="9402"/>
                  </a:lnTo>
                  <a:lnTo>
                    <a:pt x="13107" y="9359"/>
                  </a:lnTo>
                  <a:lnTo>
                    <a:pt x="13036" y="9317"/>
                  </a:lnTo>
                  <a:lnTo>
                    <a:pt x="12964" y="9279"/>
                  </a:lnTo>
                  <a:lnTo>
                    <a:pt x="12890" y="9244"/>
                  </a:lnTo>
                  <a:lnTo>
                    <a:pt x="12815" y="9212"/>
                  </a:lnTo>
                  <a:lnTo>
                    <a:pt x="12737" y="9182"/>
                  </a:lnTo>
                  <a:lnTo>
                    <a:pt x="12658" y="9156"/>
                  </a:lnTo>
                  <a:lnTo>
                    <a:pt x="12578" y="9133"/>
                  </a:lnTo>
                  <a:lnTo>
                    <a:pt x="12497" y="9113"/>
                  </a:lnTo>
                  <a:lnTo>
                    <a:pt x="12413" y="9097"/>
                  </a:lnTo>
                  <a:lnTo>
                    <a:pt x="12330" y="9085"/>
                  </a:lnTo>
                  <a:lnTo>
                    <a:pt x="12244" y="9076"/>
                  </a:lnTo>
                  <a:lnTo>
                    <a:pt x="12159" y="9070"/>
                  </a:lnTo>
                  <a:lnTo>
                    <a:pt x="12071" y="9068"/>
                  </a:lnTo>
                  <a:lnTo>
                    <a:pt x="11984" y="9070"/>
                  </a:lnTo>
                  <a:lnTo>
                    <a:pt x="11898" y="9076"/>
                  </a:lnTo>
                  <a:lnTo>
                    <a:pt x="11813" y="9085"/>
                  </a:lnTo>
                  <a:lnTo>
                    <a:pt x="11729" y="9097"/>
                  </a:lnTo>
                  <a:lnTo>
                    <a:pt x="11646" y="9113"/>
                  </a:lnTo>
                  <a:lnTo>
                    <a:pt x="11564" y="9133"/>
                  </a:lnTo>
                  <a:lnTo>
                    <a:pt x="11484" y="9156"/>
                  </a:lnTo>
                  <a:lnTo>
                    <a:pt x="11405" y="9182"/>
                  </a:lnTo>
                  <a:lnTo>
                    <a:pt x="11328" y="9212"/>
                  </a:lnTo>
                  <a:lnTo>
                    <a:pt x="11252" y="9244"/>
                  </a:lnTo>
                  <a:lnTo>
                    <a:pt x="11178" y="9279"/>
                  </a:lnTo>
                  <a:lnTo>
                    <a:pt x="11106" y="9317"/>
                  </a:lnTo>
                  <a:lnTo>
                    <a:pt x="11035" y="9359"/>
                  </a:lnTo>
                  <a:lnTo>
                    <a:pt x="10967" y="9402"/>
                  </a:lnTo>
                  <a:lnTo>
                    <a:pt x="10899" y="9449"/>
                  </a:lnTo>
                  <a:lnTo>
                    <a:pt x="10835" y="9499"/>
                  </a:lnTo>
                  <a:lnTo>
                    <a:pt x="10772" y="9550"/>
                  </a:lnTo>
                  <a:lnTo>
                    <a:pt x="10711" y="9605"/>
                  </a:lnTo>
                  <a:lnTo>
                    <a:pt x="10653" y="9661"/>
                  </a:lnTo>
                  <a:lnTo>
                    <a:pt x="10597" y="9719"/>
                  </a:lnTo>
                  <a:lnTo>
                    <a:pt x="10543" y="9781"/>
                  </a:lnTo>
                  <a:lnTo>
                    <a:pt x="10492" y="9844"/>
                  </a:lnTo>
                  <a:lnTo>
                    <a:pt x="10444" y="9910"/>
                  </a:lnTo>
                  <a:lnTo>
                    <a:pt x="10397" y="9977"/>
                  </a:lnTo>
                  <a:lnTo>
                    <a:pt x="10354" y="10047"/>
                  </a:lnTo>
                  <a:lnTo>
                    <a:pt x="10313" y="10117"/>
                  </a:lnTo>
                  <a:lnTo>
                    <a:pt x="10275" y="10191"/>
                  </a:lnTo>
                  <a:lnTo>
                    <a:pt x="10240" y="10266"/>
                  </a:lnTo>
                  <a:lnTo>
                    <a:pt x="10208" y="10341"/>
                  </a:lnTo>
                  <a:lnTo>
                    <a:pt x="10179" y="10419"/>
                  </a:lnTo>
                  <a:lnTo>
                    <a:pt x="10153" y="10498"/>
                  </a:lnTo>
                  <a:lnTo>
                    <a:pt x="10131" y="10579"/>
                  </a:lnTo>
                  <a:lnTo>
                    <a:pt x="7473" y="10579"/>
                  </a:lnTo>
                  <a:lnTo>
                    <a:pt x="7450" y="10498"/>
                  </a:lnTo>
                  <a:lnTo>
                    <a:pt x="7425" y="10419"/>
                  </a:lnTo>
                  <a:lnTo>
                    <a:pt x="7396" y="10341"/>
                  </a:lnTo>
                  <a:lnTo>
                    <a:pt x="7363" y="10266"/>
                  </a:lnTo>
                  <a:lnTo>
                    <a:pt x="7328" y="10191"/>
                  </a:lnTo>
                  <a:lnTo>
                    <a:pt x="7290" y="10117"/>
                  </a:lnTo>
                  <a:lnTo>
                    <a:pt x="7250" y="10047"/>
                  </a:lnTo>
                  <a:lnTo>
                    <a:pt x="7207" y="9977"/>
                  </a:lnTo>
                  <a:lnTo>
                    <a:pt x="7160" y="9910"/>
                  </a:lnTo>
                  <a:lnTo>
                    <a:pt x="7112" y="9844"/>
                  </a:lnTo>
                  <a:lnTo>
                    <a:pt x="7061" y="9781"/>
                  </a:lnTo>
                  <a:lnTo>
                    <a:pt x="7006" y="9719"/>
                  </a:lnTo>
                  <a:lnTo>
                    <a:pt x="6951" y="9661"/>
                  </a:lnTo>
                  <a:lnTo>
                    <a:pt x="6892" y="9605"/>
                  </a:lnTo>
                  <a:lnTo>
                    <a:pt x="6831" y="9550"/>
                  </a:lnTo>
                  <a:lnTo>
                    <a:pt x="6769" y="9499"/>
                  </a:lnTo>
                  <a:lnTo>
                    <a:pt x="6705" y="9449"/>
                  </a:lnTo>
                  <a:lnTo>
                    <a:pt x="6637" y="9402"/>
                  </a:lnTo>
                  <a:lnTo>
                    <a:pt x="6569" y="9359"/>
                  </a:lnTo>
                  <a:lnTo>
                    <a:pt x="6498" y="9317"/>
                  </a:lnTo>
                  <a:lnTo>
                    <a:pt x="6426" y="9279"/>
                  </a:lnTo>
                  <a:lnTo>
                    <a:pt x="6351" y="9244"/>
                  </a:lnTo>
                  <a:lnTo>
                    <a:pt x="6276" y="9212"/>
                  </a:lnTo>
                  <a:lnTo>
                    <a:pt x="6199" y="9182"/>
                  </a:lnTo>
                  <a:lnTo>
                    <a:pt x="6120" y="9156"/>
                  </a:lnTo>
                  <a:lnTo>
                    <a:pt x="6040" y="9133"/>
                  </a:lnTo>
                  <a:lnTo>
                    <a:pt x="5958" y="9113"/>
                  </a:lnTo>
                  <a:lnTo>
                    <a:pt x="5876" y="9097"/>
                  </a:lnTo>
                  <a:lnTo>
                    <a:pt x="5791" y="9085"/>
                  </a:lnTo>
                  <a:lnTo>
                    <a:pt x="5707" y="9076"/>
                  </a:lnTo>
                  <a:lnTo>
                    <a:pt x="5620" y="9070"/>
                  </a:lnTo>
                  <a:lnTo>
                    <a:pt x="5533" y="9068"/>
                  </a:lnTo>
                  <a:lnTo>
                    <a:pt x="5446" y="9070"/>
                  </a:lnTo>
                  <a:lnTo>
                    <a:pt x="5360" y="9076"/>
                  </a:lnTo>
                  <a:lnTo>
                    <a:pt x="5274" y="9085"/>
                  </a:lnTo>
                  <a:lnTo>
                    <a:pt x="5191" y="9097"/>
                  </a:lnTo>
                  <a:lnTo>
                    <a:pt x="5107" y="9113"/>
                  </a:lnTo>
                  <a:lnTo>
                    <a:pt x="5026" y="9133"/>
                  </a:lnTo>
                  <a:lnTo>
                    <a:pt x="4946" y="9156"/>
                  </a:lnTo>
                  <a:lnTo>
                    <a:pt x="4867" y="9182"/>
                  </a:lnTo>
                  <a:lnTo>
                    <a:pt x="4789" y="9212"/>
                  </a:lnTo>
                  <a:lnTo>
                    <a:pt x="4714" y="9244"/>
                  </a:lnTo>
                  <a:lnTo>
                    <a:pt x="4639" y="9279"/>
                  </a:lnTo>
                  <a:lnTo>
                    <a:pt x="4567" y="9317"/>
                  </a:lnTo>
                  <a:lnTo>
                    <a:pt x="4497" y="9359"/>
                  </a:lnTo>
                  <a:lnTo>
                    <a:pt x="4428" y="9402"/>
                  </a:lnTo>
                  <a:lnTo>
                    <a:pt x="4361" y="9449"/>
                  </a:lnTo>
                  <a:lnTo>
                    <a:pt x="4296" y="9499"/>
                  </a:lnTo>
                  <a:lnTo>
                    <a:pt x="4233" y="9550"/>
                  </a:lnTo>
                  <a:lnTo>
                    <a:pt x="4173" y="9605"/>
                  </a:lnTo>
                  <a:lnTo>
                    <a:pt x="4114" y="9661"/>
                  </a:lnTo>
                  <a:lnTo>
                    <a:pt x="4059" y="9719"/>
                  </a:lnTo>
                  <a:lnTo>
                    <a:pt x="4005" y="9781"/>
                  </a:lnTo>
                  <a:lnTo>
                    <a:pt x="3953" y="9844"/>
                  </a:lnTo>
                  <a:lnTo>
                    <a:pt x="3905" y="9910"/>
                  </a:lnTo>
                  <a:lnTo>
                    <a:pt x="3859" y="9977"/>
                  </a:lnTo>
                  <a:lnTo>
                    <a:pt x="3816" y="10047"/>
                  </a:lnTo>
                  <a:lnTo>
                    <a:pt x="3774" y="10117"/>
                  </a:lnTo>
                  <a:lnTo>
                    <a:pt x="3737" y="10191"/>
                  </a:lnTo>
                  <a:lnTo>
                    <a:pt x="3702" y="10266"/>
                  </a:lnTo>
                  <a:lnTo>
                    <a:pt x="3670" y="10341"/>
                  </a:lnTo>
                  <a:lnTo>
                    <a:pt x="3640" y="10419"/>
                  </a:lnTo>
                  <a:lnTo>
                    <a:pt x="3614" y="10498"/>
                  </a:lnTo>
                  <a:lnTo>
                    <a:pt x="3592" y="10579"/>
                  </a:lnTo>
                  <a:lnTo>
                    <a:pt x="3018" y="10579"/>
                  </a:lnTo>
                  <a:lnTo>
                    <a:pt x="2993" y="10578"/>
                  </a:lnTo>
                  <a:lnTo>
                    <a:pt x="2967" y="10577"/>
                  </a:lnTo>
                  <a:lnTo>
                    <a:pt x="2941" y="10573"/>
                  </a:lnTo>
                  <a:lnTo>
                    <a:pt x="2917" y="10569"/>
                  </a:lnTo>
                  <a:lnTo>
                    <a:pt x="2892" y="10563"/>
                  </a:lnTo>
                  <a:lnTo>
                    <a:pt x="2869" y="10557"/>
                  </a:lnTo>
                  <a:lnTo>
                    <a:pt x="2845" y="10549"/>
                  </a:lnTo>
                  <a:lnTo>
                    <a:pt x="2823" y="10540"/>
                  </a:lnTo>
                  <a:lnTo>
                    <a:pt x="2800" y="10530"/>
                  </a:lnTo>
                  <a:lnTo>
                    <a:pt x="2778" y="10519"/>
                  </a:lnTo>
                  <a:lnTo>
                    <a:pt x="2757" y="10506"/>
                  </a:lnTo>
                  <a:lnTo>
                    <a:pt x="2737" y="10493"/>
                  </a:lnTo>
                  <a:lnTo>
                    <a:pt x="2717" y="10479"/>
                  </a:lnTo>
                  <a:lnTo>
                    <a:pt x="2698" y="10464"/>
                  </a:lnTo>
                  <a:lnTo>
                    <a:pt x="2680" y="10448"/>
                  </a:lnTo>
                  <a:lnTo>
                    <a:pt x="2663" y="10432"/>
                  </a:lnTo>
                  <a:lnTo>
                    <a:pt x="2646" y="10414"/>
                  </a:lnTo>
                  <a:lnTo>
                    <a:pt x="2630" y="10396"/>
                  </a:lnTo>
                  <a:lnTo>
                    <a:pt x="2615" y="10376"/>
                  </a:lnTo>
                  <a:lnTo>
                    <a:pt x="2601" y="10357"/>
                  </a:lnTo>
                  <a:lnTo>
                    <a:pt x="2588" y="10337"/>
                  </a:lnTo>
                  <a:lnTo>
                    <a:pt x="2576" y="10316"/>
                  </a:lnTo>
                  <a:lnTo>
                    <a:pt x="2565" y="10294"/>
                  </a:lnTo>
                  <a:lnTo>
                    <a:pt x="2555" y="10272"/>
                  </a:lnTo>
                  <a:lnTo>
                    <a:pt x="2546" y="10248"/>
                  </a:lnTo>
                  <a:lnTo>
                    <a:pt x="2538" y="10225"/>
                  </a:lnTo>
                  <a:lnTo>
                    <a:pt x="2531" y="10201"/>
                  </a:lnTo>
                  <a:lnTo>
                    <a:pt x="2526" y="10177"/>
                  </a:lnTo>
                  <a:lnTo>
                    <a:pt x="2521" y="10152"/>
                  </a:lnTo>
                  <a:lnTo>
                    <a:pt x="2518" y="10127"/>
                  </a:lnTo>
                  <a:lnTo>
                    <a:pt x="2516" y="10101"/>
                  </a:lnTo>
                  <a:lnTo>
                    <a:pt x="2515" y="10075"/>
                  </a:lnTo>
                  <a:lnTo>
                    <a:pt x="2515" y="8564"/>
                  </a:lnTo>
                  <a:lnTo>
                    <a:pt x="9053" y="8564"/>
                  </a:lnTo>
                  <a:lnTo>
                    <a:pt x="9131" y="8562"/>
                  </a:lnTo>
                  <a:lnTo>
                    <a:pt x="9207" y="8557"/>
                  </a:lnTo>
                  <a:lnTo>
                    <a:pt x="9283" y="8547"/>
                  </a:lnTo>
                  <a:lnTo>
                    <a:pt x="9357" y="8533"/>
                  </a:lnTo>
                  <a:lnTo>
                    <a:pt x="9431" y="8516"/>
                  </a:lnTo>
                  <a:lnTo>
                    <a:pt x="9502" y="8496"/>
                  </a:lnTo>
                  <a:lnTo>
                    <a:pt x="9571" y="8472"/>
                  </a:lnTo>
                  <a:lnTo>
                    <a:pt x="9641" y="8445"/>
                  </a:lnTo>
                  <a:lnTo>
                    <a:pt x="9707" y="8415"/>
                  </a:lnTo>
                  <a:lnTo>
                    <a:pt x="9773" y="8381"/>
                  </a:lnTo>
                  <a:lnTo>
                    <a:pt x="9835" y="8345"/>
                  </a:lnTo>
                  <a:lnTo>
                    <a:pt x="9896" y="8306"/>
                  </a:lnTo>
                  <a:lnTo>
                    <a:pt x="9956" y="8263"/>
                  </a:lnTo>
                  <a:lnTo>
                    <a:pt x="10013" y="8218"/>
                  </a:lnTo>
                  <a:lnTo>
                    <a:pt x="10067" y="8171"/>
                  </a:lnTo>
                  <a:lnTo>
                    <a:pt x="10120" y="8120"/>
                  </a:lnTo>
                  <a:lnTo>
                    <a:pt x="10170" y="8068"/>
                  </a:lnTo>
                  <a:lnTo>
                    <a:pt x="10217" y="8014"/>
                  </a:lnTo>
                  <a:lnTo>
                    <a:pt x="10263" y="7956"/>
                  </a:lnTo>
                  <a:lnTo>
                    <a:pt x="10305" y="7897"/>
                  </a:lnTo>
                  <a:lnTo>
                    <a:pt x="10344" y="7836"/>
                  </a:lnTo>
                  <a:lnTo>
                    <a:pt x="10380" y="7773"/>
                  </a:lnTo>
                  <a:lnTo>
                    <a:pt x="10413" y="7707"/>
                  </a:lnTo>
                  <a:lnTo>
                    <a:pt x="10444" y="7641"/>
                  </a:lnTo>
                  <a:lnTo>
                    <a:pt x="10471" y="7572"/>
                  </a:lnTo>
                  <a:lnTo>
                    <a:pt x="10495" y="7502"/>
                  </a:lnTo>
                  <a:lnTo>
                    <a:pt x="10515" y="7430"/>
                  </a:lnTo>
                  <a:lnTo>
                    <a:pt x="10532" y="7357"/>
                  </a:lnTo>
                  <a:lnTo>
                    <a:pt x="10545" y="7283"/>
                  </a:lnTo>
                  <a:lnTo>
                    <a:pt x="10554" y="7207"/>
                  </a:lnTo>
                  <a:lnTo>
                    <a:pt x="10560" y="7131"/>
                  </a:lnTo>
                  <a:lnTo>
                    <a:pt x="10562" y="7052"/>
                  </a:lnTo>
                  <a:lnTo>
                    <a:pt x="10562" y="3527"/>
                  </a:lnTo>
                  <a:lnTo>
                    <a:pt x="12574" y="3527"/>
                  </a:lnTo>
                  <a:lnTo>
                    <a:pt x="12605" y="3528"/>
                  </a:lnTo>
                  <a:lnTo>
                    <a:pt x="12637" y="3530"/>
                  </a:lnTo>
                  <a:lnTo>
                    <a:pt x="12668" y="3535"/>
                  </a:lnTo>
                  <a:lnTo>
                    <a:pt x="12698" y="3542"/>
                  </a:lnTo>
                  <a:lnTo>
                    <a:pt x="12727" y="3550"/>
                  </a:lnTo>
                  <a:lnTo>
                    <a:pt x="12756" y="3560"/>
                  </a:lnTo>
                  <a:lnTo>
                    <a:pt x="12784" y="3572"/>
                  </a:lnTo>
                  <a:lnTo>
                    <a:pt x="12812" y="3586"/>
                  </a:lnTo>
                  <a:lnTo>
                    <a:pt x="12838" y="3601"/>
                  </a:lnTo>
                  <a:lnTo>
                    <a:pt x="12864" y="3618"/>
                  </a:lnTo>
                  <a:lnTo>
                    <a:pt x="12888" y="3636"/>
                  </a:lnTo>
                  <a:lnTo>
                    <a:pt x="12911" y="3657"/>
                  </a:lnTo>
                  <a:lnTo>
                    <a:pt x="12933" y="3678"/>
                  </a:lnTo>
                  <a:lnTo>
                    <a:pt x="12954" y="3701"/>
                  </a:lnTo>
                  <a:lnTo>
                    <a:pt x="12975" y="3725"/>
                  </a:lnTo>
                  <a:lnTo>
                    <a:pt x="12993" y="3750"/>
                  </a:lnTo>
                  <a:lnTo>
                    <a:pt x="15005" y="6773"/>
                  </a:lnTo>
                  <a:lnTo>
                    <a:pt x="15015" y="6788"/>
                  </a:lnTo>
                  <a:lnTo>
                    <a:pt x="15024" y="6804"/>
                  </a:lnTo>
                  <a:lnTo>
                    <a:pt x="15033" y="6822"/>
                  </a:lnTo>
                  <a:lnTo>
                    <a:pt x="15041" y="6838"/>
                  </a:lnTo>
                  <a:lnTo>
                    <a:pt x="15049" y="6855"/>
                  </a:lnTo>
                  <a:lnTo>
                    <a:pt x="15056" y="6872"/>
                  </a:lnTo>
                  <a:lnTo>
                    <a:pt x="15062" y="6889"/>
                  </a:lnTo>
                  <a:lnTo>
                    <a:pt x="15067" y="6907"/>
                  </a:lnTo>
                  <a:lnTo>
                    <a:pt x="15072" y="6924"/>
                  </a:lnTo>
                  <a:lnTo>
                    <a:pt x="15077" y="6942"/>
                  </a:lnTo>
                  <a:lnTo>
                    <a:pt x="15081" y="6961"/>
                  </a:lnTo>
                  <a:lnTo>
                    <a:pt x="15084" y="6979"/>
                  </a:lnTo>
                  <a:lnTo>
                    <a:pt x="15086" y="6997"/>
                  </a:lnTo>
                  <a:lnTo>
                    <a:pt x="15088" y="7016"/>
                  </a:lnTo>
                  <a:lnTo>
                    <a:pt x="15089" y="7034"/>
                  </a:lnTo>
                  <a:lnTo>
                    <a:pt x="15089" y="7052"/>
                  </a:lnTo>
                  <a:lnTo>
                    <a:pt x="15089" y="10075"/>
                  </a:lnTo>
                  <a:close/>
                  <a:moveTo>
                    <a:pt x="12071" y="12090"/>
                  </a:moveTo>
                  <a:lnTo>
                    <a:pt x="12020" y="12089"/>
                  </a:lnTo>
                  <a:lnTo>
                    <a:pt x="11969" y="12085"/>
                  </a:lnTo>
                  <a:lnTo>
                    <a:pt x="11918" y="12078"/>
                  </a:lnTo>
                  <a:lnTo>
                    <a:pt x="11869" y="12070"/>
                  </a:lnTo>
                  <a:lnTo>
                    <a:pt x="11820" y="12058"/>
                  </a:lnTo>
                  <a:lnTo>
                    <a:pt x="11772" y="12045"/>
                  </a:lnTo>
                  <a:lnTo>
                    <a:pt x="11725" y="12029"/>
                  </a:lnTo>
                  <a:lnTo>
                    <a:pt x="11680" y="12011"/>
                  </a:lnTo>
                  <a:lnTo>
                    <a:pt x="11636" y="11991"/>
                  </a:lnTo>
                  <a:lnTo>
                    <a:pt x="11591" y="11968"/>
                  </a:lnTo>
                  <a:lnTo>
                    <a:pt x="11550" y="11944"/>
                  </a:lnTo>
                  <a:lnTo>
                    <a:pt x="11509" y="11918"/>
                  </a:lnTo>
                  <a:lnTo>
                    <a:pt x="11470" y="11890"/>
                  </a:lnTo>
                  <a:lnTo>
                    <a:pt x="11431" y="11861"/>
                  </a:lnTo>
                  <a:lnTo>
                    <a:pt x="11395" y="11828"/>
                  </a:lnTo>
                  <a:lnTo>
                    <a:pt x="11360" y="11795"/>
                  </a:lnTo>
                  <a:lnTo>
                    <a:pt x="11327" y="11760"/>
                  </a:lnTo>
                  <a:lnTo>
                    <a:pt x="11295" y="11724"/>
                  </a:lnTo>
                  <a:lnTo>
                    <a:pt x="11265" y="11685"/>
                  </a:lnTo>
                  <a:lnTo>
                    <a:pt x="11237" y="11646"/>
                  </a:lnTo>
                  <a:lnTo>
                    <a:pt x="11211" y="11606"/>
                  </a:lnTo>
                  <a:lnTo>
                    <a:pt x="11187" y="11563"/>
                  </a:lnTo>
                  <a:lnTo>
                    <a:pt x="11165" y="11520"/>
                  </a:lnTo>
                  <a:lnTo>
                    <a:pt x="11145" y="11475"/>
                  </a:lnTo>
                  <a:lnTo>
                    <a:pt x="11127" y="11429"/>
                  </a:lnTo>
                  <a:lnTo>
                    <a:pt x="11111" y="11382"/>
                  </a:lnTo>
                  <a:lnTo>
                    <a:pt x="11098" y="11335"/>
                  </a:lnTo>
                  <a:lnTo>
                    <a:pt x="11086" y="11286"/>
                  </a:lnTo>
                  <a:lnTo>
                    <a:pt x="11077" y="11236"/>
                  </a:lnTo>
                  <a:lnTo>
                    <a:pt x="11070" y="11186"/>
                  </a:lnTo>
                  <a:lnTo>
                    <a:pt x="11067" y="11135"/>
                  </a:lnTo>
                  <a:lnTo>
                    <a:pt x="11065" y="11083"/>
                  </a:lnTo>
                  <a:lnTo>
                    <a:pt x="11067" y="11031"/>
                  </a:lnTo>
                  <a:lnTo>
                    <a:pt x="11070" y="10980"/>
                  </a:lnTo>
                  <a:lnTo>
                    <a:pt x="11077" y="10930"/>
                  </a:lnTo>
                  <a:lnTo>
                    <a:pt x="11086" y="10880"/>
                  </a:lnTo>
                  <a:lnTo>
                    <a:pt x="11098" y="10831"/>
                  </a:lnTo>
                  <a:lnTo>
                    <a:pt x="11111" y="10784"/>
                  </a:lnTo>
                  <a:lnTo>
                    <a:pt x="11127" y="10736"/>
                  </a:lnTo>
                  <a:lnTo>
                    <a:pt x="11145" y="10691"/>
                  </a:lnTo>
                  <a:lnTo>
                    <a:pt x="11165" y="10646"/>
                  </a:lnTo>
                  <a:lnTo>
                    <a:pt x="11187" y="10603"/>
                  </a:lnTo>
                  <a:lnTo>
                    <a:pt x="11211" y="10561"/>
                  </a:lnTo>
                  <a:lnTo>
                    <a:pt x="11237" y="10520"/>
                  </a:lnTo>
                  <a:lnTo>
                    <a:pt x="11265" y="10480"/>
                  </a:lnTo>
                  <a:lnTo>
                    <a:pt x="11295" y="10442"/>
                  </a:lnTo>
                  <a:lnTo>
                    <a:pt x="11327" y="10406"/>
                  </a:lnTo>
                  <a:lnTo>
                    <a:pt x="11360" y="10370"/>
                  </a:lnTo>
                  <a:lnTo>
                    <a:pt x="11395" y="10337"/>
                  </a:lnTo>
                  <a:lnTo>
                    <a:pt x="11431" y="10306"/>
                  </a:lnTo>
                  <a:lnTo>
                    <a:pt x="11470" y="10276"/>
                  </a:lnTo>
                  <a:lnTo>
                    <a:pt x="11509" y="10247"/>
                  </a:lnTo>
                  <a:lnTo>
                    <a:pt x="11550" y="10221"/>
                  </a:lnTo>
                  <a:lnTo>
                    <a:pt x="11591" y="10197"/>
                  </a:lnTo>
                  <a:lnTo>
                    <a:pt x="11636" y="10175"/>
                  </a:lnTo>
                  <a:lnTo>
                    <a:pt x="11680" y="10155"/>
                  </a:lnTo>
                  <a:lnTo>
                    <a:pt x="11725" y="10137"/>
                  </a:lnTo>
                  <a:lnTo>
                    <a:pt x="11772" y="10120"/>
                  </a:lnTo>
                  <a:lnTo>
                    <a:pt x="11820" y="10107"/>
                  </a:lnTo>
                  <a:lnTo>
                    <a:pt x="11869" y="10096"/>
                  </a:lnTo>
                  <a:lnTo>
                    <a:pt x="11918" y="10087"/>
                  </a:lnTo>
                  <a:lnTo>
                    <a:pt x="11969" y="10080"/>
                  </a:lnTo>
                  <a:lnTo>
                    <a:pt x="12020" y="10076"/>
                  </a:lnTo>
                  <a:lnTo>
                    <a:pt x="12071" y="10075"/>
                  </a:lnTo>
                  <a:lnTo>
                    <a:pt x="12124" y="10076"/>
                  </a:lnTo>
                  <a:lnTo>
                    <a:pt x="12174" y="10080"/>
                  </a:lnTo>
                  <a:lnTo>
                    <a:pt x="12224" y="10087"/>
                  </a:lnTo>
                  <a:lnTo>
                    <a:pt x="12274" y="10096"/>
                  </a:lnTo>
                  <a:lnTo>
                    <a:pt x="12323" y="10107"/>
                  </a:lnTo>
                  <a:lnTo>
                    <a:pt x="12370" y="10120"/>
                  </a:lnTo>
                  <a:lnTo>
                    <a:pt x="12417" y="10137"/>
                  </a:lnTo>
                  <a:lnTo>
                    <a:pt x="12463" y="10155"/>
                  </a:lnTo>
                  <a:lnTo>
                    <a:pt x="12508" y="10175"/>
                  </a:lnTo>
                  <a:lnTo>
                    <a:pt x="12551" y="10197"/>
                  </a:lnTo>
                  <a:lnTo>
                    <a:pt x="12593" y="10221"/>
                  </a:lnTo>
                  <a:lnTo>
                    <a:pt x="12634" y="10247"/>
                  </a:lnTo>
                  <a:lnTo>
                    <a:pt x="12673" y="10276"/>
                  </a:lnTo>
                  <a:lnTo>
                    <a:pt x="12711" y="10306"/>
                  </a:lnTo>
                  <a:lnTo>
                    <a:pt x="12747" y="10337"/>
                  </a:lnTo>
                  <a:lnTo>
                    <a:pt x="12782" y="10370"/>
                  </a:lnTo>
                  <a:lnTo>
                    <a:pt x="12816" y="10406"/>
                  </a:lnTo>
                  <a:lnTo>
                    <a:pt x="12848" y="10442"/>
                  </a:lnTo>
                  <a:lnTo>
                    <a:pt x="12877" y="10480"/>
                  </a:lnTo>
                  <a:lnTo>
                    <a:pt x="12905" y="10520"/>
                  </a:lnTo>
                  <a:lnTo>
                    <a:pt x="12931" y="10561"/>
                  </a:lnTo>
                  <a:lnTo>
                    <a:pt x="12955" y="10603"/>
                  </a:lnTo>
                  <a:lnTo>
                    <a:pt x="12978" y="10646"/>
                  </a:lnTo>
                  <a:lnTo>
                    <a:pt x="12999" y="10691"/>
                  </a:lnTo>
                  <a:lnTo>
                    <a:pt x="13016" y="10736"/>
                  </a:lnTo>
                  <a:lnTo>
                    <a:pt x="13032" y="10784"/>
                  </a:lnTo>
                  <a:lnTo>
                    <a:pt x="13046" y="10831"/>
                  </a:lnTo>
                  <a:lnTo>
                    <a:pt x="13057" y="10880"/>
                  </a:lnTo>
                  <a:lnTo>
                    <a:pt x="13066" y="10930"/>
                  </a:lnTo>
                  <a:lnTo>
                    <a:pt x="13072" y="10980"/>
                  </a:lnTo>
                  <a:lnTo>
                    <a:pt x="13076" y="11031"/>
                  </a:lnTo>
                  <a:lnTo>
                    <a:pt x="13077" y="11083"/>
                  </a:lnTo>
                  <a:lnTo>
                    <a:pt x="13076" y="11135"/>
                  </a:lnTo>
                  <a:lnTo>
                    <a:pt x="13072" y="11186"/>
                  </a:lnTo>
                  <a:lnTo>
                    <a:pt x="13066" y="11236"/>
                  </a:lnTo>
                  <a:lnTo>
                    <a:pt x="13057" y="11286"/>
                  </a:lnTo>
                  <a:lnTo>
                    <a:pt x="13046" y="11335"/>
                  </a:lnTo>
                  <a:lnTo>
                    <a:pt x="13032" y="11382"/>
                  </a:lnTo>
                  <a:lnTo>
                    <a:pt x="13016" y="11429"/>
                  </a:lnTo>
                  <a:lnTo>
                    <a:pt x="12999" y="11475"/>
                  </a:lnTo>
                  <a:lnTo>
                    <a:pt x="12978" y="11520"/>
                  </a:lnTo>
                  <a:lnTo>
                    <a:pt x="12955" y="11563"/>
                  </a:lnTo>
                  <a:lnTo>
                    <a:pt x="12931" y="11606"/>
                  </a:lnTo>
                  <a:lnTo>
                    <a:pt x="12905" y="11646"/>
                  </a:lnTo>
                  <a:lnTo>
                    <a:pt x="12877" y="11685"/>
                  </a:lnTo>
                  <a:lnTo>
                    <a:pt x="12848" y="11724"/>
                  </a:lnTo>
                  <a:lnTo>
                    <a:pt x="12816" y="11760"/>
                  </a:lnTo>
                  <a:lnTo>
                    <a:pt x="12782" y="11795"/>
                  </a:lnTo>
                  <a:lnTo>
                    <a:pt x="12747" y="11828"/>
                  </a:lnTo>
                  <a:lnTo>
                    <a:pt x="12711" y="11861"/>
                  </a:lnTo>
                  <a:lnTo>
                    <a:pt x="12673" y="11890"/>
                  </a:lnTo>
                  <a:lnTo>
                    <a:pt x="12634" y="11918"/>
                  </a:lnTo>
                  <a:lnTo>
                    <a:pt x="12593" y="11944"/>
                  </a:lnTo>
                  <a:lnTo>
                    <a:pt x="12551" y="11968"/>
                  </a:lnTo>
                  <a:lnTo>
                    <a:pt x="12508" y="11991"/>
                  </a:lnTo>
                  <a:lnTo>
                    <a:pt x="12463" y="12011"/>
                  </a:lnTo>
                  <a:lnTo>
                    <a:pt x="12417" y="12029"/>
                  </a:lnTo>
                  <a:lnTo>
                    <a:pt x="12370" y="12045"/>
                  </a:lnTo>
                  <a:lnTo>
                    <a:pt x="12323" y="12058"/>
                  </a:lnTo>
                  <a:lnTo>
                    <a:pt x="12274" y="12070"/>
                  </a:lnTo>
                  <a:lnTo>
                    <a:pt x="12224" y="12078"/>
                  </a:lnTo>
                  <a:lnTo>
                    <a:pt x="12174" y="12085"/>
                  </a:lnTo>
                  <a:lnTo>
                    <a:pt x="12124" y="12089"/>
                  </a:lnTo>
                  <a:lnTo>
                    <a:pt x="12071" y="12090"/>
                  </a:lnTo>
                  <a:close/>
                  <a:moveTo>
                    <a:pt x="5533" y="12090"/>
                  </a:moveTo>
                  <a:lnTo>
                    <a:pt x="5481" y="12089"/>
                  </a:lnTo>
                  <a:lnTo>
                    <a:pt x="5430" y="12085"/>
                  </a:lnTo>
                  <a:lnTo>
                    <a:pt x="5380" y="12078"/>
                  </a:lnTo>
                  <a:lnTo>
                    <a:pt x="5330" y="12070"/>
                  </a:lnTo>
                  <a:lnTo>
                    <a:pt x="5281" y="12058"/>
                  </a:lnTo>
                  <a:lnTo>
                    <a:pt x="5234" y="12045"/>
                  </a:lnTo>
                  <a:lnTo>
                    <a:pt x="5187" y="12029"/>
                  </a:lnTo>
                  <a:lnTo>
                    <a:pt x="5141" y="12011"/>
                  </a:lnTo>
                  <a:lnTo>
                    <a:pt x="5097" y="11991"/>
                  </a:lnTo>
                  <a:lnTo>
                    <a:pt x="5054" y="11968"/>
                  </a:lnTo>
                  <a:lnTo>
                    <a:pt x="5012" y="11944"/>
                  </a:lnTo>
                  <a:lnTo>
                    <a:pt x="4970" y="11918"/>
                  </a:lnTo>
                  <a:lnTo>
                    <a:pt x="4931" y="11890"/>
                  </a:lnTo>
                  <a:lnTo>
                    <a:pt x="4893" y="11861"/>
                  </a:lnTo>
                  <a:lnTo>
                    <a:pt x="4857" y="11828"/>
                  </a:lnTo>
                  <a:lnTo>
                    <a:pt x="4821" y="11795"/>
                  </a:lnTo>
                  <a:lnTo>
                    <a:pt x="4788" y="11760"/>
                  </a:lnTo>
                  <a:lnTo>
                    <a:pt x="4757" y="11724"/>
                  </a:lnTo>
                  <a:lnTo>
                    <a:pt x="4727" y="11685"/>
                  </a:lnTo>
                  <a:lnTo>
                    <a:pt x="4699" y="11646"/>
                  </a:lnTo>
                  <a:lnTo>
                    <a:pt x="4673" y="11606"/>
                  </a:lnTo>
                  <a:lnTo>
                    <a:pt x="4648" y="11563"/>
                  </a:lnTo>
                  <a:lnTo>
                    <a:pt x="4626" y="11520"/>
                  </a:lnTo>
                  <a:lnTo>
                    <a:pt x="4606" y="11475"/>
                  </a:lnTo>
                  <a:lnTo>
                    <a:pt x="4588" y="11429"/>
                  </a:lnTo>
                  <a:lnTo>
                    <a:pt x="4572" y="11382"/>
                  </a:lnTo>
                  <a:lnTo>
                    <a:pt x="4559" y="11335"/>
                  </a:lnTo>
                  <a:lnTo>
                    <a:pt x="4548" y="11286"/>
                  </a:lnTo>
                  <a:lnTo>
                    <a:pt x="4539" y="11236"/>
                  </a:lnTo>
                  <a:lnTo>
                    <a:pt x="4533" y="11186"/>
                  </a:lnTo>
                  <a:lnTo>
                    <a:pt x="4529" y="11135"/>
                  </a:lnTo>
                  <a:lnTo>
                    <a:pt x="4527" y="11083"/>
                  </a:lnTo>
                  <a:lnTo>
                    <a:pt x="4529" y="11031"/>
                  </a:lnTo>
                  <a:lnTo>
                    <a:pt x="4533" y="10980"/>
                  </a:lnTo>
                  <a:lnTo>
                    <a:pt x="4539" y="10930"/>
                  </a:lnTo>
                  <a:lnTo>
                    <a:pt x="4548" y="10880"/>
                  </a:lnTo>
                  <a:lnTo>
                    <a:pt x="4559" y="10831"/>
                  </a:lnTo>
                  <a:lnTo>
                    <a:pt x="4572" y="10784"/>
                  </a:lnTo>
                  <a:lnTo>
                    <a:pt x="4588" y="10736"/>
                  </a:lnTo>
                  <a:lnTo>
                    <a:pt x="4606" y="10691"/>
                  </a:lnTo>
                  <a:lnTo>
                    <a:pt x="4626" y="10646"/>
                  </a:lnTo>
                  <a:lnTo>
                    <a:pt x="4648" y="10603"/>
                  </a:lnTo>
                  <a:lnTo>
                    <a:pt x="4673" y="10561"/>
                  </a:lnTo>
                  <a:lnTo>
                    <a:pt x="4699" y="10520"/>
                  </a:lnTo>
                  <a:lnTo>
                    <a:pt x="4727" y="10480"/>
                  </a:lnTo>
                  <a:lnTo>
                    <a:pt x="4757" y="10442"/>
                  </a:lnTo>
                  <a:lnTo>
                    <a:pt x="4788" y="10406"/>
                  </a:lnTo>
                  <a:lnTo>
                    <a:pt x="4821" y="10370"/>
                  </a:lnTo>
                  <a:lnTo>
                    <a:pt x="4857" y="10337"/>
                  </a:lnTo>
                  <a:lnTo>
                    <a:pt x="4893" y="10306"/>
                  </a:lnTo>
                  <a:lnTo>
                    <a:pt x="4931" y="10276"/>
                  </a:lnTo>
                  <a:lnTo>
                    <a:pt x="4970" y="10247"/>
                  </a:lnTo>
                  <a:lnTo>
                    <a:pt x="5012" y="10221"/>
                  </a:lnTo>
                  <a:lnTo>
                    <a:pt x="5054" y="10197"/>
                  </a:lnTo>
                  <a:lnTo>
                    <a:pt x="5097" y="10175"/>
                  </a:lnTo>
                  <a:lnTo>
                    <a:pt x="5141" y="10155"/>
                  </a:lnTo>
                  <a:lnTo>
                    <a:pt x="5187" y="10137"/>
                  </a:lnTo>
                  <a:lnTo>
                    <a:pt x="5234" y="10120"/>
                  </a:lnTo>
                  <a:lnTo>
                    <a:pt x="5281" y="10107"/>
                  </a:lnTo>
                  <a:lnTo>
                    <a:pt x="5330" y="10096"/>
                  </a:lnTo>
                  <a:lnTo>
                    <a:pt x="5380" y="10087"/>
                  </a:lnTo>
                  <a:lnTo>
                    <a:pt x="5430" y="10080"/>
                  </a:lnTo>
                  <a:lnTo>
                    <a:pt x="5481" y="10076"/>
                  </a:lnTo>
                  <a:lnTo>
                    <a:pt x="5533" y="10075"/>
                  </a:lnTo>
                  <a:lnTo>
                    <a:pt x="5585" y="10076"/>
                  </a:lnTo>
                  <a:lnTo>
                    <a:pt x="5636" y="10080"/>
                  </a:lnTo>
                  <a:lnTo>
                    <a:pt x="5687" y="10087"/>
                  </a:lnTo>
                  <a:lnTo>
                    <a:pt x="5736" y="10096"/>
                  </a:lnTo>
                  <a:lnTo>
                    <a:pt x="5784" y="10107"/>
                  </a:lnTo>
                  <a:lnTo>
                    <a:pt x="5832" y="10120"/>
                  </a:lnTo>
                  <a:lnTo>
                    <a:pt x="5879" y="10137"/>
                  </a:lnTo>
                  <a:lnTo>
                    <a:pt x="5924" y="10155"/>
                  </a:lnTo>
                  <a:lnTo>
                    <a:pt x="5969" y="10175"/>
                  </a:lnTo>
                  <a:lnTo>
                    <a:pt x="6012" y="10197"/>
                  </a:lnTo>
                  <a:lnTo>
                    <a:pt x="6055" y="10221"/>
                  </a:lnTo>
                  <a:lnTo>
                    <a:pt x="6095" y="10247"/>
                  </a:lnTo>
                  <a:lnTo>
                    <a:pt x="6135" y="10276"/>
                  </a:lnTo>
                  <a:lnTo>
                    <a:pt x="6172" y="10306"/>
                  </a:lnTo>
                  <a:lnTo>
                    <a:pt x="6210" y="10337"/>
                  </a:lnTo>
                  <a:lnTo>
                    <a:pt x="6244" y="10370"/>
                  </a:lnTo>
                  <a:lnTo>
                    <a:pt x="6277" y="10406"/>
                  </a:lnTo>
                  <a:lnTo>
                    <a:pt x="6309" y="10442"/>
                  </a:lnTo>
                  <a:lnTo>
                    <a:pt x="6339" y="10480"/>
                  </a:lnTo>
                  <a:lnTo>
                    <a:pt x="6368" y="10520"/>
                  </a:lnTo>
                  <a:lnTo>
                    <a:pt x="6394" y="10561"/>
                  </a:lnTo>
                  <a:lnTo>
                    <a:pt x="6418" y="10603"/>
                  </a:lnTo>
                  <a:lnTo>
                    <a:pt x="6440" y="10646"/>
                  </a:lnTo>
                  <a:lnTo>
                    <a:pt x="6460" y="10691"/>
                  </a:lnTo>
                  <a:lnTo>
                    <a:pt x="6478" y="10736"/>
                  </a:lnTo>
                  <a:lnTo>
                    <a:pt x="6493" y="10784"/>
                  </a:lnTo>
                  <a:lnTo>
                    <a:pt x="6507" y="10831"/>
                  </a:lnTo>
                  <a:lnTo>
                    <a:pt x="6518" y="10880"/>
                  </a:lnTo>
                  <a:lnTo>
                    <a:pt x="6528" y="10930"/>
                  </a:lnTo>
                  <a:lnTo>
                    <a:pt x="6534" y="10980"/>
                  </a:lnTo>
                  <a:lnTo>
                    <a:pt x="6538" y="11031"/>
                  </a:lnTo>
                  <a:lnTo>
                    <a:pt x="6539" y="11083"/>
                  </a:lnTo>
                  <a:lnTo>
                    <a:pt x="6538" y="11135"/>
                  </a:lnTo>
                  <a:lnTo>
                    <a:pt x="6534" y="11186"/>
                  </a:lnTo>
                  <a:lnTo>
                    <a:pt x="6528" y="11236"/>
                  </a:lnTo>
                  <a:lnTo>
                    <a:pt x="6518" y="11286"/>
                  </a:lnTo>
                  <a:lnTo>
                    <a:pt x="6507" y="11335"/>
                  </a:lnTo>
                  <a:lnTo>
                    <a:pt x="6493" y="11382"/>
                  </a:lnTo>
                  <a:lnTo>
                    <a:pt x="6478" y="11429"/>
                  </a:lnTo>
                  <a:lnTo>
                    <a:pt x="6460" y="11475"/>
                  </a:lnTo>
                  <a:lnTo>
                    <a:pt x="6440" y="11520"/>
                  </a:lnTo>
                  <a:lnTo>
                    <a:pt x="6418" y="11563"/>
                  </a:lnTo>
                  <a:lnTo>
                    <a:pt x="6394" y="11606"/>
                  </a:lnTo>
                  <a:lnTo>
                    <a:pt x="6368" y="11646"/>
                  </a:lnTo>
                  <a:lnTo>
                    <a:pt x="6339" y="11685"/>
                  </a:lnTo>
                  <a:lnTo>
                    <a:pt x="6309" y="11724"/>
                  </a:lnTo>
                  <a:lnTo>
                    <a:pt x="6277" y="11760"/>
                  </a:lnTo>
                  <a:lnTo>
                    <a:pt x="6244" y="11795"/>
                  </a:lnTo>
                  <a:lnTo>
                    <a:pt x="6210" y="11828"/>
                  </a:lnTo>
                  <a:lnTo>
                    <a:pt x="6172" y="11861"/>
                  </a:lnTo>
                  <a:lnTo>
                    <a:pt x="6135" y="11890"/>
                  </a:lnTo>
                  <a:lnTo>
                    <a:pt x="6095" y="11918"/>
                  </a:lnTo>
                  <a:lnTo>
                    <a:pt x="6055" y="11944"/>
                  </a:lnTo>
                  <a:lnTo>
                    <a:pt x="6012" y="11968"/>
                  </a:lnTo>
                  <a:lnTo>
                    <a:pt x="5969" y="11991"/>
                  </a:lnTo>
                  <a:lnTo>
                    <a:pt x="5924" y="12011"/>
                  </a:lnTo>
                  <a:lnTo>
                    <a:pt x="5879" y="12029"/>
                  </a:lnTo>
                  <a:lnTo>
                    <a:pt x="5832" y="12045"/>
                  </a:lnTo>
                  <a:lnTo>
                    <a:pt x="5784" y="12058"/>
                  </a:lnTo>
                  <a:lnTo>
                    <a:pt x="5736" y="12070"/>
                  </a:lnTo>
                  <a:lnTo>
                    <a:pt x="5687" y="12078"/>
                  </a:lnTo>
                  <a:lnTo>
                    <a:pt x="5636" y="12085"/>
                  </a:lnTo>
                  <a:lnTo>
                    <a:pt x="5585" y="12089"/>
                  </a:lnTo>
                  <a:lnTo>
                    <a:pt x="5533" y="12090"/>
                  </a:lnTo>
                  <a:close/>
                  <a:moveTo>
                    <a:pt x="1509" y="7556"/>
                  </a:moveTo>
                  <a:lnTo>
                    <a:pt x="1483" y="7556"/>
                  </a:lnTo>
                  <a:lnTo>
                    <a:pt x="1458" y="7554"/>
                  </a:lnTo>
                  <a:lnTo>
                    <a:pt x="1432" y="7551"/>
                  </a:lnTo>
                  <a:lnTo>
                    <a:pt x="1407" y="7546"/>
                  </a:lnTo>
                  <a:lnTo>
                    <a:pt x="1383" y="7541"/>
                  </a:lnTo>
                  <a:lnTo>
                    <a:pt x="1359" y="7534"/>
                  </a:lnTo>
                  <a:lnTo>
                    <a:pt x="1336" y="7526"/>
                  </a:lnTo>
                  <a:lnTo>
                    <a:pt x="1313" y="7517"/>
                  </a:lnTo>
                  <a:lnTo>
                    <a:pt x="1291" y="7507"/>
                  </a:lnTo>
                  <a:lnTo>
                    <a:pt x="1269" y="7496"/>
                  </a:lnTo>
                  <a:lnTo>
                    <a:pt x="1248" y="7484"/>
                  </a:lnTo>
                  <a:lnTo>
                    <a:pt x="1228" y="7470"/>
                  </a:lnTo>
                  <a:lnTo>
                    <a:pt x="1208" y="7456"/>
                  </a:lnTo>
                  <a:lnTo>
                    <a:pt x="1189" y="7441"/>
                  </a:lnTo>
                  <a:lnTo>
                    <a:pt x="1171" y="7426"/>
                  </a:lnTo>
                  <a:lnTo>
                    <a:pt x="1154" y="7409"/>
                  </a:lnTo>
                  <a:lnTo>
                    <a:pt x="1137" y="7392"/>
                  </a:lnTo>
                  <a:lnTo>
                    <a:pt x="1121" y="7374"/>
                  </a:lnTo>
                  <a:lnTo>
                    <a:pt x="1106" y="7355"/>
                  </a:lnTo>
                  <a:lnTo>
                    <a:pt x="1091" y="7334"/>
                  </a:lnTo>
                  <a:lnTo>
                    <a:pt x="1078" y="7314"/>
                  </a:lnTo>
                  <a:lnTo>
                    <a:pt x="1066" y="7293"/>
                  </a:lnTo>
                  <a:lnTo>
                    <a:pt x="1055" y="7271"/>
                  </a:lnTo>
                  <a:lnTo>
                    <a:pt x="1045" y="7249"/>
                  </a:lnTo>
                  <a:lnTo>
                    <a:pt x="1036" y="7226"/>
                  </a:lnTo>
                  <a:lnTo>
                    <a:pt x="1029" y="7202"/>
                  </a:lnTo>
                  <a:lnTo>
                    <a:pt x="1022" y="7179"/>
                  </a:lnTo>
                  <a:lnTo>
                    <a:pt x="1016" y="7154"/>
                  </a:lnTo>
                  <a:lnTo>
                    <a:pt x="1012" y="7130"/>
                  </a:lnTo>
                  <a:lnTo>
                    <a:pt x="1009" y="7105"/>
                  </a:lnTo>
                  <a:lnTo>
                    <a:pt x="1007" y="7079"/>
                  </a:lnTo>
                  <a:lnTo>
                    <a:pt x="1006" y="7052"/>
                  </a:lnTo>
                  <a:lnTo>
                    <a:pt x="1006" y="1511"/>
                  </a:lnTo>
                  <a:lnTo>
                    <a:pt x="1007" y="1485"/>
                  </a:lnTo>
                  <a:lnTo>
                    <a:pt x="1009" y="1460"/>
                  </a:lnTo>
                  <a:lnTo>
                    <a:pt x="1012" y="1435"/>
                  </a:lnTo>
                  <a:lnTo>
                    <a:pt x="1016" y="1410"/>
                  </a:lnTo>
                  <a:lnTo>
                    <a:pt x="1022" y="1385"/>
                  </a:lnTo>
                  <a:lnTo>
                    <a:pt x="1029" y="1361"/>
                  </a:lnTo>
                  <a:lnTo>
                    <a:pt x="1036" y="1338"/>
                  </a:lnTo>
                  <a:lnTo>
                    <a:pt x="1045" y="1315"/>
                  </a:lnTo>
                  <a:lnTo>
                    <a:pt x="1055" y="1293"/>
                  </a:lnTo>
                  <a:lnTo>
                    <a:pt x="1066" y="1271"/>
                  </a:lnTo>
                  <a:lnTo>
                    <a:pt x="1078" y="1249"/>
                  </a:lnTo>
                  <a:lnTo>
                    <a:pt x="1091" y="1229"/>
                  </a:lnTo>
                  <a:lnTo>
                    <a:pt x="1106" y="1209"/>
                  </a:lnTo>
                  <a:lnTo>
                    <a:pt x="1121" y="1191"/>
                  </a:lnTo>
                  <a:lnTo>
                    <a:pt x="1137" y="1172"/>
                  </a:lnTo>
                  <a:lnTo>
                    <a:pt x="1154" y="1155"/>
                  </a:lnTo>
                  <a:lnTo>
                    <a:pt x="1171" y="1138"/>
                  </a:lnTo>
                  <a:lnTo>
                    <a:pt x="1189" y="1122"/>
                  </a:lnTo>
                  <a:lnTo>
                    <a:pt x="1208" y="1107"/>
                  </a:lnTo>
                  <a:lnTo>
                    <a:pt x="1228" y="1093"/>
                  </a:lnTo>
                  <a:lnTo>
                    <a:pt x="1248" y="1080"/>
                  </a:lnTo>
                  <a:lnTo>
                    <a:pt x="1269" y="1068"/>
                  </a:lnTo>
                  <a:lnTo>
                    <a:pt x="1291" y="1057"/>
                  </a:lnTo>
                  <a:lnTo>
                    <a:pt x="1313" y="1047"/>
                  </a:lnTo>
                  <a:lnTo>
                    <a:pt x="1336" y="1038"/>
                  </a:lnTo>
                  <a:lnTo>
                    <a:pt x="1359" y="1030"/>
                  </a:lnTo>
                  <a:lnTo>
                    <a:pt x="1383" y="1023"/>
                  </a:lnTo>
                  <a:lnTo>
                    <a:pt x="1407" y="1018"/>
                  </a:lnTo>
                  <a:lnTo>
                    <a:pt x="1432" y="1013"/>
                  </a:lnTo>
                  <a:lnTo>
                    <a:pt x="1458" y="1010"/>
                  </a:lnTo>
                  <a:lnTo>
                    <a:pt x="1483" y="1008"/>
                  </a:lnTo>
                  <a:lnTo>
                    <a:pt x="1509" y="1008"/>
                  </a:lnTo>
                  <a:lnTo>
                    <a:pt x="9053" y="1008"/>
                  </a:lnTo>
                  <a:lnTo>
                    <a:pt x="9080" y="1008"/>
                  </a:lnTo>
                  <a:lnTo>
                    <a:pt x="9105" y="1010"/>
                  </a:lnTo>
                  <a:lnTo>
                    <a:pt x="9131" y="1013"/>
                  </a:lnTo>
                  <a:lnTo>
                    <a:pt x="9155" y="1018"/>
                  </a:lnTo>
                  <a:lnTo>
                    <a:pt x="9179" y="1023"/>
                  </a:lnTo>
                  <a:lnTo>
                    <a:pt x="9203" y="1030"/>
                  </a:lnTo>
                  <a:lnTo>
                    <a:pt x="9226" y="1038"/>
                  </a:lnTo>
                  <a:lnTo>
                    <a:pt x="9250" y="1047"/>
                  </a:lnTo>
                  <a:lnTo>
                    <a:pt x="9272" y="1057"/>
                  </a:lnTo>
                  <a:lnTo>
                    <a:pt x="9294" y="1068"/>
                  </a:lnTo>
                  <a:lnTo>
                    <a:pt x="9315" y="1080"/>
                  </a:lnTo>
                  <a:lnTo>
                    <a:pt x="9335" y="1093"/>
                  </a:lnTo>
                  <a:lnTo>
                    <a:pt x="9355" y="1107"/>
                  </a:lnTo>
                  <a:lnTo>
                    <a:pt x="9373" y="1122"/>
                  </a:lnTo>
                  <a:lnTo>
                    <a:pt x="9392" y="1138"/>
                  </a:lnTo>
                  <a:lnTo>
                    <a:pt x="9410" y="1155"/>
                  </a:lnTo>
                  <a:lnTo>
                    <a:pt x="9426" y="1172"/>
                  </a:lnTo>
                  <a:lnTo>
                    <a:pt x="9442" y="1191"/>
                  </a:lnTo>
                  <a:lnTo>
                    <a:pt x="9457" y="1209"/>
                  </a:lnTo>
                  <a:lnTo>
                    <a:pt x="9471" y="1229"/>
                  </a:lnTo>
                  <a:lnTo>
                    <a:pt x="9484" y="1249"/>
                  </a:lnTo>
                  <a:lnTo>
                    <a:pt x="9496" y="1271"/>
                  </a:lnTo>
                  <a:lnTo>
                    <a:pt x="9507" y="1293"/>
                  </a:lnTo>
                  <a:lnTo>
                    <a:pt x="9517" y="1315"/>
                  </a:lnTo>
                  <a:lnTo>
                    <a:pt x="9526" y="1338"/>
                  </a:lnTo>
                  <a:lnTo>
                    <a:pt x="9534" y="1361"/>
                  </a:lnTo>
                  <a:lnTo>
                    <a:pt x="9541" y="1385"/>
                  </a:lnTo>
                  <a:lnTo>
                    <a:pt x="9546" y="1410"/>
                  </a:lnTo>
                  <a:lnTo>
                    <a:pt x="9550" y="1435"/>
                  </a:lnTo>
                  <a:lnTo>
                    <a:pt x="9554" y="1460"/>
                  </a:lnTo>
                  <a:lnTo>
                    <a:pt x="9556" y="1485"/>
                  </a:lnTo>
                  <a:lnTo>
                    <a:pt x="9556" y="1511"/>
                  </a:lnTo>
                  <a:lnTo>
                    <a:pt x="9556" y="2519"/>
                  </a:lnTo>
                  <a:lnTo>
                    <a:pt x="9556" y="3527"/>
                  </a:lnTo>
                  <a:lnTo>
                    <a:pt x="9556" y="7052"/>
                  </a:lnTo>
                  <a:lnTo>
                    <a:pt x="9556" y="7079"/>
                  </a:lnTo>
                  <a:lnTo>
                    <a:pt x="9554" y="7105"/>
                  </a:lnTo>
                  <a:lnTo>
                    <a:pt x="9550" y="7130"/>
                  </a:lnTo>
                  <a:lnTo>
                    <a:pt x="9546" y="7154"/>
                  </a:lnTo>
                  <a:lnTo>
                    <a:pt x="9541" y="7179"/>
                  </a:lnTo>
                  <a:lnTo>
                    <a:pt x="9534" y="7202"/>
                  </a:lnTo>
                  <a:lnTo>
                    <a:pt x="9526" y="7226"/>
                  </a:lnTo>
                  <a:lnTo>
                    <a:pt x="9517" y="7249"/>
                  </a:lnTo>
                  <a:lnTo>
                    <a:pt x="9507" y="7271"/>
                  </a:lnTo>
                  <a:lnTo>
                    <a:pt x="9496" y="7293"/>
                  </a:lnTo>
                  <a:lnTo>
                    <a:pt x="9484" y="7314"/>
                  </a:lnTo>
                  <a:lnTo>
                    <a:pt x="9471" y="7334"/>
                  </a:lnTo>
                  <a:lnTo>
                    <a:pt x="9457" y="7355"/>
                  </a:lnTo>
                  <a:lnTo>
                    <a:pt x="9442" y="7374"/>
                  </a:lnTo>
                  <a:lnTo>
                    <a:pt x="9426" y="7392"/>
                  </a:lnTo>
                  <a:lnTo>
                    <a:pt x="9410" y="7409"/>
                  </a:lnTo>
                  <a:lnTo>
                    <a:pt x="9392" y="7426"/>
                  </a:lnTo>
                  <a:lnTo>
                    <a:pt x="9373" y="7441"/>
                  </a:lnTo>
                  <a:lnTo>
                    <a:pt x="9355" y="7456"/>
                  </a:lnTo>
                  <a:lnTo>
                    <a:pt x="9335" y="7470"/>
                  </a:lnTo>
                  <a:lnTo>
                    <a:pt x="9315" y="7484"/>
                  </a:lnTo>
                  <a:lnTo>
                    <a:pt x="9294" y="7496"/>
                  </a:lnTo>
                  <a:lnTo>
                    <a:pt x="9272" y="7507"/>
                  </a:lnTo>
                  <a:lnTo>
                    <a:pt x="9250" y="7517"/>
                  </a:lnTo>
                  <a:lnTo>
                    <a:pt x="9226" y="7526"/>
                  </a:lnTo>
                  <a:lnTo>
                    <a:pt x="9203" y="7534"/>
                  </a:lnTo>
                  <a:lnTo>
                    <a:pt x="9179" y="7541"/>
                  </a:lnTo>
                  <a:lnTo>
                    <a:pt x="9155" y="7546"/>
                  </a:lnTo>
                  <a:lnTo>
                    <a:pt x="9131" y="7551"/>
                  </a:lnTo>
                  <a:lnTo>
                    <a:pt x="9105" y="7554"/>
                  </a:lnTo>
                  <a:lnTo>
                    <a:pt x="9080" y="7556"/>
                  </a:lnTo>
                  <a:lnTo>
                    <a:pt x="9053" y="7556"/>
                  </a:lnTo>
                  <a:lnTo>
                    <a:pt x="1509" y="7556"/>
                  </a:lnTo>
                  <a:close/>
                  <a:moveTo>
                    <a:pt x="15842" y="6214"/>
                  </a:moveTo>
                  <a:lnTo>
                    <a:pt x="13830" y="3192"/>
                  </a:lnTo>
                  <a:lnTo>
                    <a:pt x="13802" y="3153"/>
                  </a:lnTo>
                  <a:lnTo>
                    <a:pt x="13774" y="3115"/>
                  </a:lnTo>
                  <a:lnTo>
                    <a:pt x="13746" y="3077"/>
                  </a:lnTo>
                  <a:lnTo>
                    <a:pt x="13716" y="3042"/>
                  </a:lnTo>
                  <a:lnTo>
                    <a:pt x="13685" y="3007"/>
                  </a:lnTo>
                  <a:lnTo>
                    <a:pt x="13653" y="2973"/>
                  </a:lnTo>
                  <a:lnTo>
                    <a:pt x="13619" y="2940"/>
                  </a:lnTo>
                  <a:lnTo>
                    <a:pt x="13586" y="2909"/>
                  </a:lnTo>
                  <a:lnTo>
                    <a:pt x="13551" y="2878"/>
                  </a:lnTo>
                  <a:lnTo>
                    <a:pt x="13516" y="2849"/>
                  </a:lnTo>
                  <a:lnTo>
                    <a:pt x="13480" y="2820"/>
                  </a:lnTo>
                  <a:lnTo>
                    <a:pt x="13442" y="2793"/>
                  </a:lnTo>
                  <a:lnTo>
                    <a:pt x="13404" y="2768"/>
                  </a:lnTo>
                  <a:lnTo>
                    <a:pt x="13366" y="2743"/>
                  </a:lnTo>
                  <a:lnTo>
                    <a:pt x="13326" y="2720"/>
                  </a:lnTo>
                  <a:lnTo>
                    <a:pt x="13286" y="2697"/>
                  </a:lnTo>
                  <a:lnTo>
                    <a:pt x="13245" y="2676"/>
                  </a:lnTo>
                  <a:lnTo>
                    <a:pt x="13204" y="2656"/>
                  </a:lnTo>
                  <a:lnTo>
                    <a:pt x="13162" y="2638"/>
                  </a:lnTo>
                  <a:lnTo>
                    <a:pt x="13119" y="2621"/>
                  </a:lnTo>
                  <a:lnTo>
                    <a:pt x="13076" y="2605"/>
                  </a:lnTo>
                  <a:lnTo>
                    <a:pt x="13033" y="2590"/>
                  </a:lnTo>
                  <a:lnTo>
                    <a:pt x="12989" y="2576"/>
                  </a:lnTo>
                  <a:lnTo>
                    <a:pt x="12944" y="2564"/>
                  </a:lnTo>
                  <a:lnTo>
                    <a:pt x="12899" y="2554"/>
                  </a:lnTo>
                  <a:lnTo>
                    <a:pt x="12854" y="2544"/>
                  </a:lnTo>
                  <a:lnTo>
                    <a:pt x="12808" y="2537"/>
                  </a:lnTo>
                  <a:lnTo>
                    <a:pt x="12761" y="2530"/>
                  </a:lnTo>
                  <a:lnTo>
                    <a:pt x="12715" y="2525"/>
                  </a:lnTo>
                  <a:lnTo>
                    <a:pt x="12669" y="2522"/>
                  </a:lnTo>
                  <a:lnTo>
                    <a:pt x="12621" y="2519"/>
                  </a:lnTo>
                  <a:lnTo>
                    <a:pt x="12574" y="2519"/>
                  </a:lnTo>
                  <a:lnTo>
                    <a:pt x="10562" y="2519"/>
                  </a:lnTo>
                  <a:lnTo>
                    <a:pt x="10562" y="1511"/>
                  </a:lnTo>
                  <a:lnTo>
                    <a:pt x="10560" y="1434"/>
                  </a:lnTo>
                  <a:lnTo>
                    <a:pt x="10554" y="1357"/>
                  </a:lnTo>
                  <a:lnTo>
                    <a:pt x="10545" y="1282"/>
                  </a:lnTo>
                  <a:lnTo>
                    <a:pt x="10532" y="1207"/>
                  </a:lnTo>
                  <a:lnTo>
                    <a:pt x="10515" y="1134"/>
                  </a:lnTo>
                  <a:lnTo>
                    <a:pt x="10495" y="1062"/>
                  </a:lnTo>
                  <a:lnTo>
                    <a:pt x="10471" y="993"/>
                  </a:lnTo>
                  <a:lnTo>
                    <a:pt x="10444" y="924"/>
                  </a:lnTo>
                  <a:lnTo>
                    <a:pt x="10413" y="856"/>
                  </a:lnTo>
                  <a:lnTo>
                    <a:pt x="10380" y="791"/>
                  </a:lnTo>
                  <a:lnTo>
                    <a:pt x="10344" y="729"/>
                  </a:lnTo>
                  <a:lnTo>
                    <a:pt x="10305" y="667"/>
                  </a:lnTo>
                  <a:lnTo>
                    <a:pt x="10263" y="608"/>
                  </a:lnTo>
                  <a:lnTo>
                    <a:pt x="10217" y="550"/>
                  </a:lnTo>
                  <a:lnTo>
                    <a:pt x="10170" y="496"/>
                  </a:lnTo>
                  <a:lnTo>
                    <a:pt x="10120" y="443"/>
                  </a:lnTo>
                  <a:lnTo>
                    <a:pt x="10067" y="393"/>
                  </a:lnTo>
                  <a:lnTo>
                    <a:pt x="10013" y="346"/>
                  </a:lnTo>
                  <a:lnTo>
                    <a:pt x="9956" y="300"/>
                  </a:lnTo>
                  <a:lnTo>
                    <a:pt x="9896" y="258"/>
                  </a:lnTo>
                  <a:lnTo>
                    <a:pt x="9835" y="219"/>
                  </a:lnTo>
                  <a:lnTo>
                    <a:pt x="9773" y="182"/>
                  </a:lnTo>
                  <a:lnTo>
                    <a:pt x="9707" y="149"/>
                  </a:lnTo>
                  <a:lnTo>
                    <a:pt x="9641" y="119"/>
                  </a:lnTo>
                  <a:lnTo>
                    <a:pt x="9571" y="92"/>
                  </a:lnTo>
                  <a:lnTo>
                    <a:pt x="9502" y="69"/>
                  </a:lnTo>
                  <a:lnTo>
                    <a:pt x="9431" y="47"/>
                  </a:lnTo>
                  <a:lnTo>
                    <a:pt x="9357" y="31"/>
                  </a:lnTo>
                  <a:lnTo>
                    <a:pt x="9283" y="17"/>
                  </a:lnTo>
                  <a:lnTo>
                    <a:pt x="9207" y="8"/>
                  </a:lnTo>
                  <a:lnTo>
                    <a:pt x="9131" y="2"/>
                  </a:lnTo>
                  <a:lnTo>
                    <a:pt x="9053" y="0"/>
                  </a:lnTo>
                  <a:lnTo>
                    <a:pt x="1509" y="0"/>
                  </a:lnTo>
                  <a:lnTo>
                    <a:pt x="1431" y="2"/>
                  </a:lnTo>
                  <a:lnTo>
                    <a:pt x="1355" y="8"/>
                  </a:lnTo>
                  <a:lnTo>
                    <a:pt x="1280" y="17"/>
                  </a:lnTo>
                  <a:lnTo>
                    <a:pt x="1205" y="31"/>
                  </a:lnTo>
                  <a:lnTo>
                    <a:pt x="1133" y="47"/>
                  </a:lnTo>
                  <a:lnTo>
                    <a:pt x="1060" y="69"/>
                  </a:lnTo>
                  <a:lnTo>
                    <a:pt x="991" y="92"/>
                  </a:lnTo>
                  <a:lnTo>
                    <a:pt x="922" y="119"/>
                  </a:lnTo>
                  <a:lnTo>
                    <a:pt x="855" y="149"/>
                  </a:lnTo>
                  <a:lnTo>
                    <a:pt x="791" y="182"/>
                  </a:lnTo>
                  <a:lnTo>
                    <a:pt x="727" y="219"/>
                  </a:lnTo>
                  <a:lnTo>
                    <a:pt x="666" y="258"/>
                  </a:lnTo>
                  <a:lnTo>
                    <a:pt x="607" y="300"/>
                  </a:lnTo>
                  <a:lnTo>
                    <a:pt x="549" y="346"/>
                  </a:lnTo>
                  <a:lnTo>
                    <a:pt x="495" y="393"/>
                  </a:lnTo>
                  <a:lnTo>
                    <a:pt x="443" y="443"/>
                  </a:lnTo>
                  <a:lnTo>
                    <a:pt x="392" y="496"/>
                  </a:lnTo>
                  <a:lnTo>
                    <a:pt x="345" y="550"/>
                  </a:lnTo>
                  <a:lnTo>
                    <a:pt x="300" y="608"/>
                  </a:lnTo>
                  <a:lnTo>
                    <a:pt x="259" y="667"/>
                  </a:lnTo>
                  <a:lnTo>
                    <a:pt x="218" y="729"/>
                  </a:lnTo>
                  <a:lnTo>
                    <a:pt x="182" y="791"/>
                  </a:lnTo>
                  <a:lnTo>
                    <a:pt x="149" y="856"/>
                  </a:lnTo>
                  <a:lnTo>
                    <a:pt x="119" y="924"/>
                  </a:lnTo>
                  <a:lnTo>
                    <a:pt x="92" y="993"/>
                  </a:lnTo>
                  <a:lnTo>
                    <a:pt x="68" y="1062"/>
                  </a:lnTo>
                  <a:lnTo>
                    <a:pt x="47" y="1134"/>
                  </a:lnTo>
                  <a:lnTo>
                    <a:pt x="31" y="1207"/>
                  </a:lnTo>
                  <a:lnTo>
                    <a:pt x="17" y="1282"/>
                  </a:lnTo>
                  <a:lnTo>
                    <a:pt x="8" y="1357"/>
                  </a:lnTo>
                  <a:lnTo>
                    <a:pt x="2" y="1434"/>
                  </a:lnTo>
                  <a:lnTo>
                    <a:pt x="0" y="1511"/>
                  </a:lnTo>
                  <a:lnTo>
                    <a:pt x="0" y="7052"/>
                  </a:lnTo>
                  <a:lnTo>
                    <a:pt x="2" y="7131"/>
                  </a:lnTo>
                  <a:lnTo>
                    <a:pt x="8" y="7207"/>
                  </a:lnTo>
                  <a:lnTo>
                    <a:pt x="17" y="7283"/>
                  </a:lnTo>
                  <a:lnTo>
                    <a:pt x="31" y="7357"/>
                  </a:lnTo>
                  <a:lnTo>
                    <a:pt x="47" y="7430"/>
                  </a:lnTo>
                  <a:lnTo>
                    <a:pt x="68" y="7502"/>
                  </a:lnTo>
                  <a:lnTo>
                    <a:pt x="92" y="7572"/>
                  </a:lnTo>
                  <a:lnTo>
                    <a:pt x="119" y="7641"/>
                  </a:lnTo>
                  <a:lnTo>
                    <a:pt x="149" y="7707"/>
                  </a:lnTo>
                  <a:lnTo>
                    <a:pt x="182" y="7773"/>
                  </a:lnTo>
                  <a:lnTo>
                    <a:pt x="218" y="7836"/>
                  </a:lnTo>
                  <a:lnTo>
                    <a:pt x="259" y="7897"/>
                  </a:lnTo>
                  <a:lnTo>
                    <a:pt x="300" y="7956"/>
                  </a:lnTo>
                  <a:lnTo>
                    <a:pt x="345" y="8014"/>
                  </a:lnTo>
                  <a:lnTo>
                    <a:pt x="392" y="8068"/>
                  </a:lnTo>
                  <a:lnTo>
                    <a:pt x="443" y="8120"/>
                  </a:lnTo>
                  <a:lnTo>
                    <a:pt x="495" y="8171"/>
                  </a:lnTo>
                  <a:lnTo>
                    <a:pt x="549" y="8218"/>
                  </a:lnTo>
                  <a:lnTo>
                    <a:pt x="607" y="8263"/>
                  </a:lnTo>
                  <a:lnTo>
                    <a:pt x="666" y="8306"/>
                  </a:lnTo>
                  <a:lnTo>
                    <a:pt x="727" y="8345"/>
                  </a:lnTo>
                  <a:lnTo>
                    <a:pt x="791" y="8381"/>
                  </a:lnTo>
                  <a:lnTo>
                    <a:pt x="855" y="8415"/>
                  </a:lnTo>
                  <a:lnTo>
                    <a:pt x="922" y="8445"/>
                  </a:lnTo>
                  <a:lnTo>
                    <a:pt x="991" y="8472"/>
                  </a:lnTo>
                  <a:lnTo>
                    <a:pt x="1060" y="8496"/>
                  </a:lnTo>
                  <a:lnTo>
                    <a:pt x="1133" y="8516"/>
                  </a:lnTo>
                  <a:lnTo>
                    <a:pt x="1205" y="8533"/>
                  </a:lnTo>
                  <a:lnTo>
                    <a:pt x="1280" y="8547"/>
                  </a:lnTo>
                  <a:lnTo>
                    <a:pt x="1355" y="8557"/>
                  </a:lnTo>
                  <a:lnTo>
                    <a:pt x="1431" y="8562"/>
                  </a:lnTo>
                  <a:lnTo>
                    <a:pt x="1509" y="8564"/>
                  </a:lnTo>
                  <a:lnTo>
                    <a:pt x="1509" y="8564"/>
                  </a:lnTo>
                  <a:lnTo>
                    <a:pt x="1509" y="10075"/>
                  </a:lnTo>
                  <a:lnTo>
                    <a:pt x="1511" y="10153"/>
                  </a:lnTo>
                  <a:lnTo>
                    <a:pt x="1517" y="10229"/>
                  </a:lnTo>
                  <a:lnTo>
                    <a:pt x="1527" y="10305"/>
                  </a:lnTo>
                  <a:lnTo>
                    <a:pt x="1540" y="10379"/>
                  </a:lnTo>
                  <a:lnTo>
                    <a:pt x="1557" y="10453"/>
                  </a:lnTo>
                  <a:lnTo>
                    <a:pt x="1577" y="10525"/>
                  </a:lnTo>
                  <a:lnTo>
                    <a:pt x="1601" y="10594"/>
                  </a:lnTo>
                  <a:lnTo>
                    <a:pt x="1629" y="10663"/>
                  </a:lnTo>
                  <a:lnTo>
                    <a:pt x="1659" y="10730"/>
                  </a:lnTo>
                  <a:lnTo>
                    <a:pt x="1692" y="10795"/>
                  </a:lnTo>
                  <a:lnTo>
                    <a:pt x="1728" y="10858"/>
                  </a:lnTo>
                  <a:lnTo>
                    <a:pt x="1767" y="10920"/>
                  </a:lnTo>
                  <a:lnTo>
                    <a:pt x="1810" y="10979"/>
                  </a:lnTo>
                  <a:lnTo>
                    <a:pt x="1854" y="11036"/>
                  </a:lnTo>
                  <a:lnTo>
                    <a:pt x="1901" y="11091"/>
                  </a:lnTo>
                  <a:lnTo>
                    <a:pt x="1952" y="11143"/>
                  </a:lnTo>
                  <a:lnTo>
                    <a:pt x="2004" y="11194"/>
                  </a:lnTo>
                  <a:lnTo>
                    <a:pt x="2059" y="11241"/>
                  </a:lnTo>
                  <a:lnTo>
                    <a:pt x="2115" y="11286"/>
                  </a:lnTo>
                  <a:lnTo>
                    <a:pt x="2175" y="11329"/>
                  </a:lnTo>
                  <a:lnTo>
                    <a:pt x="2236" y="11368"/>
                  </a:lnTo>
                  <a:lnTo>
                    <a:pt x="2300" y="11404"/>
                  </a:lnTo>
                  <a:lnTo>
                    <a:pt x="2365" y="11437"/>
                  </a:lnTo>
                  <a:lnTo>
                    <a:pt x="2431" y="11468"/>
                  </a:lnTo>
                  <a:lnTo>
                    <a:pt x="2500" y="11495"/>
                  </a:lnTo>
                  <a:lnTo>
                    <a:pt x="2570" y="11519"/>
                  </a:lnTo>
                  <a:lnTo>
                    <a:pt x="2642" y="11539"/>
                  </a:lnTo>
                  <a:lnTo>
                    <a:pt x="2714" y="11556"/>
                  </a:lnTo>
                  <a:lnTo>
                    <a:pt x="2788" y="11569"/>
                  </a:lnTo>
                  <a:lnTo>
                    <a:pt x="2864" y="11579"/>
                  </a:lnTo>
                  <a:lnTo>
                    <a:pt x="2940" y="11585"/>
                  </a:lnTo>
                  <a:lnTo>
                    <a:pt x="3018" y="11587"/>
                  </a:lnTo>
                  <a:lnTo>
                    <a:pt x="3592" y="11587"/>
                  </a:lnTo>
                  <a:lnTo>
                    <a:pt x="3614" y="11667"/>
                  </a:lnTo>
                  <a:lnTo>
                    <a:pt x="3640" y="11747"/>
                  </a:lnTo>
                  <a:lnTo>
                    <a:pt x="3670" y="11824"/>
                  </a:lnTo>
                  <a:lnTo>
                    <a:pt x="3702" y="11901"/>
                  </a:lnTo>
                  <a:lnTo>
                    <a:pt x="3737" y="11976"/>
                  </a:lnTo>
                  <a:lnTo>
                    <a:pt x="3774" y="12048"/>
                  </a:lnTo>
                  <a:lnTo>
                    <a:pt x="3816" y="12120"/>
                  </a:lnTo>
                  <a:lnTo>
                    <a:pt x="3859" y="12188"/>
                  </a:lnTo>
                  <a:lnTo>
                    <a:pt x="3905" y="12256"/>
                  </a:lnTo>
                  <a:lnTo>
                    <a:pt x="3953" y="12321"/>
                  </a:lnTo>
                  <a:lnTo>
                    <a:pt x="4005" y="12385"/>
                  </a:lnTo>
                  <a:lnTo>
                    <a:pt x="4059" y="12446"/>
                  </a:lnTo>
                  <a:lnTo>
                    <a:pt x="4114" y="12505"/>
                  </a:lnTo>
                  <a:lnTo>
                    <a:pt x="4173" y="12561"/>
                  </a:lnTo>
                  <a:lnTo>
                    <a:pt x="4233" y="12615"/>
                  </a:lnTo>
                  <a:lnTo>
                    <a:pt x="4296" y="12668"/>
                  </a:lnTo>
                  <a:lnTo>
                    <a:pt x="4361" y="12717"/>
                  </a:lnTo>
                  <a:lnTo>
                    <a:pt x="4428" y="12763"/>
                  </a:lnTo>
                  <a:lnTo>
                    <a:pt x="4497" y="12807"/>
                  </a:lnTo>
                  <a:lnTo>
                    <a:pt x="4567" y="12848"/>
                  </a:lnTo>
                  <a:lnTo>
                    <a:pt x="4639" y="12886"/>
                  </a:lnTo>
                  <a:lnTo>
                    <a:pt x="4714" y="12922"/>
                  </a:lnTo>
                  <a:lnTo>
                    <a:pt x="4789" y="12955"/>
                  </a:lnTo>
                  <a:lnTo>
                    <a:pt x="4867" y="12984"/>
                  </a:lnTo>
                  <a:lnTo>
                    <a:pt x="4946" y="13010"/>
                  </a:lnTo>
                  <a:lnTo>
                    <a:pt x="5026" y="13033"/>
                  </a:lnTo>
                  <a:lnTo>
                    <a:pt x="5107" y="13053"/>
                  </a:lnTo>
                  <a:lnTo>
                    <a:pt x="5191" y="13069"/>
                  </a:lnTo>
                  <a:lnTo>
                    <a:pt x="5274" y="13081"/>
                  </a:lnTo>
                  <a:lnTo>
                    <a:pt x="5360" y="13091"/>
                  </a:lnTo>
                  <a:lnTo>
                    <a:pt x="5446" y="13096"/>
                  </a:lnTo>
                  <a:lnTo>
                    <a:pt x="5533" y="13098"/>
                  </a:lnTo>
                  <a:lnTo>
                    <a:pt x="5620" y="13096"/>
                  </a:lnTo>
                  <a:lnTo>
                    <a:pt x="5707" y="13091"/>
                  </a:lnTo>
                  <a:lnTo>
                    <a:pt x="5791" y="13081"/>
                  </a:lnTo>
                  <a:lnTo>
                    <a:pt x="5876" y="13069"/>
                  </a:lnTo>
                  <a:lnTo>
                    <a:pt x="5958" y="13053"/>
                  </a:lnTo>
                  <a:lnTo>
                    <a:pt x="6040" y="13033"/>
                  </a:lnTo>
                  <a:lnTo>
                    <a:pt x="6120" y="13010"/>
                  </a:lnTo>
                  <a:lnTo>
                    <a:pt x="6199" y="12984"/>
                  </a:lnTo>
                  <a:lnTo>
                    <a:pt x="6276" y="12955"/>
                  </a:lnTo>
                  <a:lnTo>
                    <a:pt x="6351" y="12922"/>
                  </a:lnTo>
                  <a:lnTo>
                    <a:pt x="6426" y="12886"/>
                  </a:lnTo>
                  <a:lnTo>
                    <a:pt x="6498" y="12848"/>
                  </a:lnTo>
                  <a:lnTo>
                    <a:pt x="6569" y="12807"/>
                  </a:lnTo>
                  <a:lnTo>
                    <a:pt x="6637" y="12763"/>
                  </a:lnTo>
                  <a:lnTo>
                    <a:pt x="6705" y="12717"/>
                  </a:lnTo>
                  <a:lnTo>
                    <a:pt x="6769" y="12668"/>
                  </a:lnTo>
                  <a:lnTo>
                    <a:pt x="6831" y="12615"/>
                  </a:lnTo>
                  <a:lnTo>
                    <a:pt x="6892" y="12561"/>
                  </a:lnTo>
                  <a:lnTo>
                    <a:pt x="6951" y="12505"/>
                  </a:lnTo>
                  <a:lnTo>
                    <a:pt x="7006" y="12446"/>
                  </a:lnTo>
                  <a:lnTo>
                    <a:pt x="7061" y="12385"/>
                  </a:lnTo>
                  <a:lnTo>
                    <a:pt x="7112" y="12321"/>
                  </a:lnTo>
                  <a:lnTo>
                    <a:pt x="7160" y="12256"/>
                  </a:lnTo>
                  <a:lnTo>
                    <a:pt x="7207" y="12188"/>
                  </a:lnTo>
                  <a:lnTo>
                    <a:pt x="7250" y="12120"/>
                  </a:lnTo>
                  <a:lnTo>
                    <a:pt x="7290" y="12048"/>
                  </a:lnTo>
                  <a:lnTo>
                    <a:pt x="7328" y="11976"/>
                  </a:lnTo>
                  <a:lnTo>
                    <a:pt x="7363" y="11901"/>
                  </a:lnTo>
                  <a:lnTo>
                    <a:pt x="7396" y="11824"/>
                  </a:lnTo>
                  <a:lnTo>
                    <a:pt x="7425" y="11747"/>
                  </a:lnTo>
                  <a:lnTo>
                    <a:pt x="7450" y="11667"/>
                  </a:lnTo>
                  <a:lnTo>
                    <a:pt x="7473" y="11587"/>
                  </a:lnTo>
                  <a:lnTo>
                    <a:pt x="10131" y="11587"/>
                  </a:lnTo>
                  <a:lnTo>
                    <a:pt x="10153" y="11667"/>
                  </a:lnTo>
                  <a:lnTo>
                    <a:pt x="10179" y="11747"/>
                  </a:lnTo>
                  <a:lnTo>
                    <a:pt x="10208" y="11824"/>
                  </a:lnTo>
                  <a:lnTo>
                    <a:pt x="10240" y="11901"/>
                  </a:lnTo>
                  <a:lnTo>
                    <a:pt x="10275" y="11976"/>
                  </a:lnTo>
                  <a:lnTo>
                    <a:pt x="10313" y="12048"/>
                  </a:lnTo>
                  <a:lnTo>
                    <a:pt x="10354" y="12120"/>
                  </a:lnTo>
                  <a:lnTo>
                    <a:pt x="10397" y="12188"/>
                  </a:lnTo>
                  <a:lnTo>
                    <a:pt x="10444" y="12256"/>
                  </a:lnTo>
                  <a:lnTo>
                    <a:pt x="10492" y="12321"/>
                  </a:lnTo>
                  <a:lnTo>
                    <a:pt x="10543" y="12385"/>
                  </a:lnTo>
                  <a:lnTo>
                    <a:pt x="10597" y="12446"/>
                  </a:lnTo>
                  <a:lnTo>
                    <a:pt x="10653" y="12505"/>
                  </a:lnTo>
                  <a:lnTo>
                    <a:pt x="10711" y="12561"/>
                  </a:lnTo>
                  <a:lnTo>
                    <a:pt x="10772" y="12615"/>
                  </a:lnTo>
                  <a:lnTo>
                    <a:pt x="10835" y="12668"/>
                  </a:lnTo>
                  <a:lnTo>
                    <a:pt x="10899" y="12717"/>
                  </a:lnTo>
                  <a:lnTo>
                    <a:pt x="10967" y="12763"/>
                  </a:lnTo>
                  <a:lnTo>
                    <a:pt x="11035" y="12807"/>
                  </a:lnTo>
                  <a:lnTo>
                    <a:pt x="11106" y="12848"/>
                  </a:lnTo>
                  <a:lnTo>
                    <a:pt x="11178" y="12886"/>
                  </a:lnTo>
                  <a:lnTo>
                    <a:pt x="11252" y="12922"/>
                  </a:lnTo>
                  <a:lnTo>
                    <a:pt x="11328" y="12955"/>
                  </a:lnTo>
                  <a:lnTo>
                    <a:pt x="11405" y="12984"/>
                  </a:lnTo>
                  <a:lnTo>
                    <a:pt x="11484" y="13010"/>
                  </a:lnTo>
                  <a:lnTo>
                    <a:pt x="11564" y="13033"/>
                  </a:lnTo>
                  <a:lnTo>
                    <a:pt x="11646" y="13053"/>
                  </a:lnTo>
                  <a:lnTo>
                    <a:pt x="11729" y="13069"/>
                  </a:lnTo>
                  <a:lnTo>
                    <a:pt x="11813" y="13081"/>
                  </a:lnTo>
                  <a:lnTo>
                    <a:pt x="11898" y="13091"/>
                  </a:lnTo>
                  <a:lnTo>
                    <a:pt x="11984" y="13096"/>
                  </a:lnTo>
                  <a:lnTo>
                    <a:pt x="12071" y="13098"/>
                  </a:lnTo>
                  <a:lnTo>
                    <a:pt x="12159" y="13096"/>
                  </a:lnTo>
                  <a:lnTo>
                    <a:pt x="12244" y="13091"/>
                  </a:lnTo>
                  <a:lnTo>
                    <a:pt x="12330" y="13081"/>
                  </a:lnTo>
                  <a:lnTo>
                    <a:pt x="12413" y="13069"/>
                  </a:lnTo>
                  <a:lnTo>
                    <a:pt x="12497" y="13053"/>
                  </a:lnTo>
                  <a:lnTo>
                    <a:pt x="12578" y="13033"/>
                  </a:lnTo>
                  <a:lnTo>
                    <a:pt x="12658" y="13010"/>
                  </a:lnTo>
                  <a:lnTo>
                    <a:pt x="12737" y="12984"/>
                  </a:lnTo>
                  <a:lnTo>
                    <a:pt x="12815" y="12955"/>
                  </a:lnTo>
                  <a:lnTo>
                    <a:pt x="12890" y="12922"/>
                  </a:lnTo>
                  <a:lnTo>
                    <a:pt x="12964" y="12886"/>
                  </a:lnTo>
                  <a:lnTo>
                    <a:pt x="13036" y="12848"/>
                  </a:lnTo>
                  <a:lnTo>
                    <a:pt x="13107" y="12807"/>
                  </a:lnTo>
                  <a:lnTo>
                    <a:pt x="13176" y="12763"/>
                  </a:lnTo>
                  <a:lnTo>
                    <a:pt x="13242" y="12717"/>
                  </a:lnTo>
                  <a:lnTo>
                    <a:pt x="13308" y="12668"/>
                  </a:lnTo>
                  <a:lnTo>
                    <a:pt x="13370" y="12615"/>
                  </a:lnTo>
                  <a:lnTo>
                    <a:pt x="13430" y="12561"/>
                  </a:lnTo>
                  <a:lnTo>
                    <a:pt x="13489" y="12505"/>
                  </a:lnTo>
                  <a:lnTo>
                    <a:pt x="13545" y="12446"/>
                  </a:lnTo>
                  <a:lnTo>
                    <a:pt x="13598" y="12385"/>
                  </a:lnTo>
                  <a:lnTo>
                    <a:pt x="13650" y="12321"/>
                  </a:lnTo>
                  <a:lnTo>
                    <a:pt x="13699" y="12256"/>
                  </a:lnTo>
                  <a:lnTo>
                    <a:pt x="13745" y="12188"/>
                  </a:lnTo>
                  <a:lnTo>
                    <a:pt x="13788" y="12120"/>
                  </a:lnTo>
                  <a:lnTo>
                    <a:pt x="13829" y="12048"/>
                  </a:lnTo>
                  <a:lnTo>
                    <a:pt x="13867" y="11976"/>
                  </a:lnTo>
                  <a:lnTo>
                    <a:pt x="13902" y="11901"/>
                  </a:lnTo>
                  <a:lnTo>
                    <a:pt x="13934" y="11824"/>
                  </a:lnTo>
                  <a:lnTo>
                    <a:pt x="13962" y="11747"/>
                  </a:lnTo>
                  <a:lnTo>
                    <a:pt x="13989" y="11667"/>
                  </a:lnTo>
                  <a:lnTo>
                    <a:pt x="14012" y="11587"/>
                  </a:lnTo>
                  <a:lnTo>
                    <a:pt x="14586" y="11587"/>
                  </a:lnTo>
                  <a:lnTo>
                    <a:pt x="14664" y="11585"/>
                  </a:lnTo>
                  <a:lnTo>
                    <a:pt x="14740" y="11579"/>
                  </a:lnTo>
                  <a:lnTo>
                    <a:pt x="14815" y="11569"/>
                  </a:lnTo>
                  <a:lnTo>
                    <a:pt x="14890" y="11556"/>
                  </a:lnTo>
                  <a:lnTo>
                    <a:pt x="14962" y="11539"/>
                  </a:lnTo>
                  <a:lnTo>
                    <a:pt x="15035" y="11519"/>
                  </a:lnTo>
                  <a:lnTo>
                    <a:pt x="15104" y="11495"/>
                  </a:lnTo>
                  <a:lnTo>
                    <a:pt x="15173" y="11468"/>
                  </a:lnTo>
                  <a:lnTo>
                    <a:pt x="15240" y="11437"/>
                  </a:lnTo>
                  <a:lnTo>
                    <a:pt x="15304" y="11404"/>
                  </a:lnTo>
                  <a:lnTo>
                    <a:pt x="15368" y="11368"/>
                  </a:lnTo>
                  <a:lnTo>
                    <a:pt x="15429" y="11329"/>
                  </a:lnTo>
                  <a:lnTo>
                    <a:pt x="15488" y="11286"/>
                  </a:lnTo>
                  <a:lnTo>
                    <a:pt x="15546" y="11241"/>
                  </a:lnTo>
                  <a:lnTo>
                    <a:pt x="15600" y="11194"/>
                  </a:lnTo>
                  <a:lnTo>
                    <a:pt x="15652" y="11143"/>
                  </a:lnTo>
                  <a:lnTo>
                    <a:pt x="15703" y="11091"/>
                  </a:lnTo>
                  <a:lnTo>
                    <a:pt x="15750" y="11036"/>
                  </a:lnTo>
                  <a:lnTo>
                    <a:pt x="15795" y="10979"/>
                  </a:lnTo>
                  <a:lnTo>
                    <a:pt x="15836" y="10920"/>
                  </a:lnTo>
                  <a:lnTo>
                    <a:pt x="15877" y="10858"/>
                  </a:lnTo>
                  <a:lnTo>
                    <a:pt x="15913" y="10795"/>
                  </a:lnTo>
                  <a:lnTo>
                    <a:pt x="15946" y="10730"/>
                  </a:lnTo>
                  <a:lnTo>
                    <a:pt x="15976" y="10663"/>
                  </a:lnTo>
                  <a:lnTo>
                    <a:pt x="16003" y="10594"/>
                  </a:lnTo>
                  <a:lnTo>
                    <a:pt x="16027" y="10525"/>
                  </a:lnTo>
                  <a:lnTo>
                    <a:pt x="16048" y="10453"/>
                  </a:lnTo>
                  <a:lnTo>
                    <a:pt x="16064" y="10379"/>
                  </a:lnTo>
                  <a:lnTo>
                    <a:pt x="16078" y="10305"/>
                  </a:lnTo>
                  <a:lnTo>
                    <a:pt x="16087" y="10229"/>
                  </a:lnTo>
                  <a:lnTo>
                    <a:pt x="16093" y="10153"/>
                  </a:lnTo>
                  <a:lnTo>
                    <a:pt x="16095" y="10075"/>
                  </a:lnTo>
                  <a:lnTo>
                    <a:pt x="16095" y="7052"/>
                  </a:lnTo>
                  <a:lnTo>
                    <a:pt x="16095" y="7025"/>
                  </a:lnTo>
                  <a:lnTo>
                    <a:pt x="16094" y="6997"/>
                  </a:lnTo>
                  <a:lnTo>
                    <a:pt x="16093" y="6969"/>
                  </a:lnTo>
                  <a:lnTo>
                    <a:pt x="16091" y="6941"/>
                  </a:lnTo>
                  <a:lnTo>
                    <a:pt x="16089" y="6913"/>
                  </a:lnTo>
                  <a:lnTo>
                    <a:pt x="16086" y="6885"/>
                  </a:lnTo>
                  <a:lnTo>
                    <a:pt x="16083" y="6858"/>
                  </a:lnTo>
                  <a:lnTo>
                    <a:pt x="16079" y="6831"/>
                  </a:lnTo>
                  <a:lnTo>
                    <a:pt x="16075" y="6803"/>
                  </a:lnTo>
                  <a:lnTo>
                    <a:pt x="16070" y="6776"/>
                  </a:lnTo>
                  <a:lnTo>
                    <a:pt x="16065" y="6749"/>
                  </a:lnTo>
                  <a:lnTo>
                    <a:pt x="16059" y="6722"/>
                  </a:lnTo>
                  <a:lnTo>
                    <a:pt x="16053" y="6695"/>
                  </a:lnTo>
                  <a:lnTo>
                    <a:pt x="16046" y="6667"/>
                  </a:lnTo>
                  <a:lnTo>
                    <a:pt x="16039" y="6641"/>
                  </a:lnTo>
                  <a:lnTo>
                    <a:pt x="16031" y="6615"/>
                  </a:lnTo>
                  <a:lnTo>
                    <a:pt x="16023" y="6588"/>
                  </a:lnTo>
                  <a:lnTo>
                    <a:pt x="16014" y="6562"/>
                  </a:lnTo>
                  <a:lnTo>
                    <a:pt x="16004" y="6536"/>
                  </a:lnTo>
                  <a:lnTo>
                    <a:pt x="15994" y="6510"/>
                  </a:lnTo>
                  <a:lnTo>
                    <a:pt x="15984" y="6484"/>
                  </a:lnTo>
                  <a:lnTo>
                    <a:pt x="15974" y="6459"/>
                  </a:lnTo>
                  <a:lnTo>
                    <a:pt x="15963" y="6434"/>
                  </a:lnTo>
                  <a:lnTo>
                    <a:pt x="15951" y="6408"/>
                  </a:lnTo>
                  <a:lnTo>
                    <a:pt x="15939" y="6383"/>
                  </a:lnTo>
                  <a:lnTo>
                    <a:pt x="15927" y="6358"/>
                  </a:lnTo>
                  <a:lnTo>
                    <a:pt x="15914" y="6334"/>
                  </a:lnTo>
                  <a:lnTo>
                    <a:pt x="15900" y="6310"/>
                  </a:lnTo>
                  <a:lnTo>
                    <a:pt x="15886" y="6286"/>
                  </a:lnTo>
                  <a:lnTo>
                    <a:pt x="15872" y="6261"/>
                  </a:lnTo>
                  <a:lnTo>
                    <a:pt x="15857" y="6238"/>
                  </a:lnTo>
                  <a:lnTo>
                    <a:pt x="15842" y="6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7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58" name="ïşḻiḓê">
              <a:extLst>
                <a:ext uri="{FF2B5EF4-FFF2-40B4-BE49-F238E27FC236}">
                  <a16:creationId xmlns:a16="http://schemas.microsoft.com/office/drawing/2014/main" id="{6D5921E8-5134-438F-9169-0269A00F23BA}"/>
                </a:ext>
              </a:extLst>
            </p:cNvPr>
            <p:cNvSpPr/>
            <p:nvPr/>
          </p:nvSpPr>
          <p:spPr bwMode="auto">
            <a:xfrm>
              <a:off x="4097976" y="538416"/>
              <a:ext cx="558350" cy="556940"/>
            </a:xfrm>
            <a:custGeom>
              <a:avLst/>
              <a:gdLst>
                <a:gd name="T0" fmla="*/ 12770 w 14656"/>
                <a:gd name="T1" fmla="*/ 6106 h 14620"/>
                <a:gd name="T2" fmla="*/ 12640 w 14656"/>
                <a:gd name="T3" fmla="*/ 6115 h 14620"/>
                <a:gd name="T4" fmla="*/ 12519 w 14656"/>
                <a:gd name="T5" fmla="*/ 6055 h 14620"/>
                <a:gd name="T6" fmla="*/ 9966 w 14656"/>
                <a:gd name="T7" fmla="*/ 5994 h 14620"/>
                <a:gd name="T8" fmla="*/ 8414 w 14656"/>
                <a:gd name="T9" fmla="*/ 5281 h 14620"/>
                <a:gd name="T10" fmla="*/ 6782 w 14656"/>
                <a:gd name="T11" fmla="*/ 4968 h 14620"/>
                <a:gd name="T12" fmla="*/ 5698 w 14656"/>
                <a:gd name="T13" fmla="*/ 4822 h 14620"/>
                <a:gd name="T14" fmla="*/ 8599 w 14656"/>
                <a:gd name="T15" fmla="*/ 2123 h 14620"/>
                <a:gd name="T16" fmla="*/ 8551 w 14656"/>
                <a:gd name="T17" fmla="*/ 1998 h 14620"/>
                <a:gd name="T18" fmla="*/ 8574 w 14656"/>
                <a:gd name="T19" fmla="*/ 1868 h 14620"/>
                <a:gd name="T20" fmla="*/ 9364 w 14656"/>
                <a:gd name="T21" fmla="*/ 1057 h 14620"/>
                <a:gd name="T22" fmla="*/ 9489 w 14656"/>
                <a:gd name="T23" fmla="*/ 1010 h 14620"/>
                <a:gd name="T24" fmla="*/ 9619 w 14656"/>
                <a:gd name="T25" fmla="*/ 1032 h 14620"/>
                <a:gd name="T26" fmla="*/ 13601 w 14656"/>
                <a:gd name="T27" fmla="*/ 5006 h 14620"/>
                <a:gd name="T28" fmla="*/ 13650 w 14656"/>
                <a:gd name="T29" fmla="*/ 5131 h 14620"/>
                <a:gd name="T30" fmla="*/ 13627 w 14656"/>
                <a:gd name="T31" fmla="*/ 5261 h 14620"/>
                <a:gd name="T32" fmla="*/ 8336 w 14656"/>
                <a:gd name="T33" fmla="*/ 13377 h 14620"/>
                <a:gd name="T34" fmla="*/ 8074 w 14656"/>
                <a:gd name="T35" fmla="*/ 13585 h 14620"/>
                <a:gd name="T36" fmla="*/ 7781 w 14656"/>
                <a:gd name="T37" fmla="*/ 13595 h 14620"/>
                <a:gd name="T38" fmla="*/ 7556 w 14656"/>
                <a:gd name="T39" fmla="*/ 13465 h 14620"/>
                <a:gd name="T40" fmla="*/ 1014 w 14656"/>
                <a:gd name="T41" fmla="*/ 6852 h 14620"/>
                <a:gd name="T42" fmla="*/ 1065 w 14656"/>
                <a:gd name="T43" fmla="*/ 6524 h 14620"/>
                <a:gd name="T44" fmla="*/ 1308 w 14656"/>
                <a:gd name="T45" fmla="*/ 6300 h 14620"/>
                <a:gd name="T46" fmla="*/ 6805 w 14656"/>
                <a:gd name="T47" fmla="*/ 5480 h 14620"/>
                <a:gd name="T48" fmla="*/ 8979 w 14656"/>
                <a:gd name="T49" fmla="*/ 6023 h 14620"/>
                <a:gd name="T50" fmla="*/ 10402 w 14656"/>
                <a:gd name="T51" fmla="*/ 369 h 14620"/>
                <a:gd name="T52" fmla="*/ 10132 w 14656"/>
                <a:gd name="T53" fmla="*/ 163 h 14620"/>
                <a:gd name="T54" fmla="*/ 9820 w 14656"/>
                <a:gd name="T55" fmla="*/ 38 h 14620"/>
                <a:gd name="T56" fmla="*/ 9482 w 14656"/>
                <a:gd name="T57" fmla="*/ 0 h 14620"/>
                <a:gd name="T58" fmla="*/ 9147 w 14656"/>
                <a:gd name="T59" fmla="*/ 55 h 14620"/>
                <a:gd name="T60" fmla="*/ 8841 w 14656"/>
                <a:gd name="T61" fmla="*/ 195 h 14620"/>
                <a:gd name="T62" fmla="*/ 7892 w 14656"/>
                <a:gd name="T63" fmla="*/ 1104 h 14620"/>
                <a:gd name="T64" fmla="*/ 7692 w 14656"/>
                <a:gd name="T65" fmla="*/ 1380 h 14620"/>
                <a:gd name="T66" fmla="*/ 7576 w 14656"/>
                <a:gd name="T67" fmla="*/ 1695 h 14620"/>
                <a:gd name="T68" fmla="*/ 7548 w 14656"/>
                <a:gd name="T69" fmla="*/ 2062 h 14620"/>
                <a:gd name="T70" fmla="*/ 7669 w 14656"/>
                <a:gd name="T71" fmla="*/ 2522 h 14620"/>
                <a:gd name="T72" fmla="*/ 623 w 14656"/>
                <a:gd name="T73" fmla="*/ 5539 h 14620"/>
                <a:gd name="T74" fmla="*/ 274 w 14656"/>
                <a:gd name="T75" fmla="*/ 5894 h 14620"/>
                <a:gd name="T76" fmla="*/ 58 w 14656"/>
                <a:gd name="T77" fmla="*/ 6345 h 14620"/>
                <a:gd name="T78" fmla="*/ 3 w 14656"/>
                <a:gd name="T79" fmla="*/ 6850 h 14620"/>
                <a:gd name="T80" fmla="*/ 114 w 14656"/>
                <a:gd name="T81" fmla="*/ 7337 h 14620"/>
                <a:gd name="T82" fmla="*/ 382 w 14656"/>
                <a:gd name="T83" fmla="*/ 7767 h 14620"/>
                <a:gd name="T84" fmla="*/ 7067 w 14656"/>
                <a:gd name="T85" fmla="*/ 14362 h 14620"/>
                <a:gd name="T86" fmla="*/ 7416 w 14656"/>
                <a:gd name="T87" fmla="*/ 14537 h 14620"/>
                <a:gd name="T88" fmla="*/ 7800 w 14656"/>
                <a:gd name="T89" fmla="*/ 14616 h 14620"/>
                <a:gd name="T90" fmla="*/ 8103 w 14656"/>
                <a:gd name="T91" fmla="*/ 14608 h 14620"/>
                <a:gd name="T92" fmla="*/ 8574 w 14656"/>
                <a:gd name="T93" fmla="*/ 14467 h 14620"/>
                <a:gd name="T94" fmla="*/ 8985 w 14656"/>
                <a:gd name="T95" fmla="*/ 14171 h 14620"/>
                <a:gd name="T96" fmla="*/ 9276 w 14656"/>
                <a:gd name="T97" fmla="*/ 13754 h 14620"/>
                <a:gd name="T98" fmla="*/ 12327 w 14656"/>
                <a:gd name="T99" fmla="*/ 7076 h 14620"/>
                <a:gd name="T100" fmla="*/ 12781 w 14656"/>
                <a:gd name="T101" fmla="*/ 7126 h 14620"/>
                <a:gd name="T102" fmla="*/ 13112 w 14656"/>
                <a:gd name="T103" fmla="*/ 7056 h 14620"/>
                <a:gd name="T104" fmla="*/ 13410 w 14656"/>
                <a:gd name="T105" fmla="*/ 6900 h 14620"/>
                <a:gd name="T106" fmla="*/ 14350 w 14656"/>
                <a:gd name="T107" fmla="*/ 5980 h 14620"/>
                <a:gd name="T108" fmla="*/ 14535 w 14656"/>
                <a:gd name="T109" fmla="*/ 5696 h 14620"/>
                <a:gd name="T110" fmla="*/ 14637 w 14656"/>
                <a:gd name="T111" fmla="*/ 5373 h 14620"/>
                <a:gd name="T112" fmla="*/ 14649 w 14656"/>
                <a:gd name="T113" fmla="*/ 5030 h 14620"/>
                <a:gd name="T114" fmla="*/ 14572 w 14656"/>
                <a:gd name="T115" fmla="*/ 4701 h 14620"/>
                <a:gd name="T116" fmla="*/ 14410 w 14656"/>
                <a:gd name="T117" fmla="*/ 4405 h 14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656" h="14620">
                  <a:moveTo>
                    <a:pt x="13576" y="5334"/>
                  </a:moveTo>
                  <a:lnTo>
                    <a:pt x="12866" y="6046"/>
                  </a:lnTo>
                  <a:lnTo>
                    <a:pt x="12856" y="6055"/>
                  </a:lnTo>
                  <a:lnTo>
                    <a:pt x="12847" y="6064"/>
                  </a:lnTo>
                  <a:lnTo>
                    <a:pt x="12837" y="6071"/>
                  </a:lnTo>
                  <a:lnTo>
                    <a:pt x="12826" y="6079"/>
                  </a:lnTo>
                  <a:lnTo>
                    <a:pt x="12816" y="6085"/>
                  </a:lnTo>
                  <a:lnTo>
                    <a:pt x="12805" y="6091"/>
                  </a:lnTo>
                  <a:lnTo>
                    <a:pt x="12794" y="6097"/>
                  </a:lnTo>
                  <a:lnTo>
                    <a:pt x="12782" y="6102"/>
                  </a:lnTo>
                  <a:lnTo>
                    <a:pt x="12770" y="6106"/>
                  </a:lnTo>
                  <a:lnTo>
                    <a:pt x="12759" y="6110"/>
                  </a:lnTo>
                  <a:lnTo>
                    <a:pt x="12747" y="6113"/>
                  </a:lnTo>
                  <a:lnTo>
                    <a:pt x="12735" y="6115"/>
                  </a:lnTo>
                  <a:lnTo>
                    <a:pt x="12723" y="6117"/>
                  </a:lnTo>
                  <a:lnTo>
                    <a:pt x="12712" y="6119"/>
                  </a:lnTo>
                  <a:lnTo>
                    <a:pt x="12700" y="6120"/>
                  </a:lnTo>
                  <a:lnTo>
                    <a:pt x="12688" y="6120"/>
                  </a:lnTo>
                  <a:lnTo>
                    <a:pt x="12676" y="6120"/>
                  </a:lnTo>
                  <a:lnTo>
                    <a:pt x="12664" y="6119"/>
                  </a:lnTo>
                  <a:lnTo>
                    <a:pt x="12652" y="6117"/>
                  </a:lnTo>
                  <a:lnTo>
                    <a:pt x="12640" y="6115"/>
                  </a:lnTo>
                  <a:lnTo>
                    <a:pt x="12628" y="6113"/>
                  </a:lnTo>
                  <a:lnTo>
                    <a:pt x="12615" y="6110"/>
                  </a:lnTo>
                  <a:lnTo>
                    <a:pt x="12604" y="6106"/>
                  </a:lnTo>
                  <a:lnTo>
                    <a:pt x="12593" y="6102"/>
                  </a:lnTo>
                  <a:lnTo>
                    <a:pt x="12581" y="6097"/>
                  </a:lnTo>
                  <a:lnTo>
                    <a:pt x="12571" y="6091"/>
                  </a:lnTo>
                  <a:lnTo>
                    <a:pt x="12560" y="6085"/>
                  </a:lnTo>
                  <a:lnTo>
                    <a:pt x="12549" y="6079"/>
                  </a:lnTo>
                  <a:lnTo>
                    <a:pt x="12539" y="6071"/>
                  </a:lnTo>
                  <a:lnTo>
                    <a:pt x="12529" y="6064"/>
                  </a:lnTo>
                  <a:lnTo>
                    <a:pt x="12519" y="6055"/>
                  </a:lnTo>
                  <a:lnTo>
                    <a:pt x="12510" y="6046"/>
                  </a:lnTo>
                  <a:lnTo>
                    <a:pt x="11621" y="5156"/>
                  </a:lnTo>
                  <a:lnTo>
                    <a:pt x="10900" y="6965"/>
                  </a:lnTo>
                  <a:lnTo>
                    <a:pt x="10961" y="6813"/>
                  </a:lnTo>
                  <a:lnTo>
                    <a:pt x="10819" y="6674"/>
                  </a:lnTo>
                  <a:lnTo>
                    <a:pt x="10677" y="6544"/>
                  </a:lnTo>
                  <a:lnTo>
                    <a:pt x="10534" y="6420"/>
                  </a:lnTo>
                  <a:lnTo>
                    <a:pt x="10392" y="6304"/>
                  </a:lnTo>
                  <a:lnTo>
                    <a:pt x="10251" y="6194"/>
                  </a:lnTo>
                  <a:lnTo>
                    <a:pt x="10108" y="6091"/>
                  </a:lnTo>
                  <a:lnTo>
                    <a:pt x="9966" y="5994"/>
                  </a:lnTo>
                  <a:lnTo>
                    <a:pt x="9823" y="5905"/>
                  </a:lnTo>
                  <a:lnTo>
                    <a:pt x="9681" y="5820"/>
                  </a:lnTo>
                  <a:lnTo>
                    <a:pt x="9539" y="5740"/>
                  </a:lnTo>
                  <a:lnTo>
                    <a:pt x="9397" y="5667"/>
                  </a:lnTo>
                  <a:lnTo>
                    <a:pt x="9257" y="5598"/>
                  </a:lnTo>
                  <a:lnTo>
                    <a:pt x="9115" y="5535"/>
                  </a:lnTo>
                  <a:lnTo>
                    <a:pt x="8974" y="5475"/>
                  </a:lnTo>
                  <a:lnTo>
                    <a:pt x="8833" y="5421"/>
                  </a:lnTo>
                  <a:lnTo>
                    <a:pt x="8693" y="5370"/>
                  </a:lnTo>
                  <a:lnTo>
                    <a:pt x="8553" y="5324"/>
                  </a:lnTo>
                  <a:lnTo>
                    <a:pt x="8414" y="5281"/>
                  </a:lnTo>
                  <a:lnTo>
                    <a:pt x="8275" y="5241"/>
                  </a:lnTo>
                  <a:lnTo>
                    <a:pt x="8136" y="5205"/>
                  </a:lnTo>
                  <a:lnTo>
                    <a:pt x="7997" y="5172"/>
                  </a:lnTo>
                  <a:lnTo>
                    <a:pt x="7860" y="5141"/>
                  </a:lnTo>
                  <a:lnTo>
                    <a:pt x="7723" y="5113"/>
                  </a:lnTo>
                  <a:lnTo>
                    <a:pt x="7587" y="5088"/>
                  </a:lnTo>
                  <a:lnTo>
                    <a:pt x="7451" y="5065"/>
                  </a:lnTo>
                  <a:lnTo>
                    <a:pt x="7315" y="5043"/>
                  </a:lnTo>
                  <a:lnTo>
                    <a:pt x="7180" y="5022"/>
                  </a:lnTo>
                  <a:lnTo>
                    <a:pt x="7047" y="5003"/>
                  </a:lnTo>
                  <a:lnTo>
                    <a:pt x="6782" y="4968"/>
                  </a:lnTo>
                  <a:lnTo>
                    <a:pt x="6519" y="4936"/>
                  </a:lnTo>
                  <a:lnTo>
                    <a:pt x="6436" y="4926"/>
                  </a:lnTo>
                  <a:lnTo>
                    <a:pt x="6354" y="4915"/>
                  </a:lnTo>
                  <a:lnTo>
                    <a:pt x="6270" y="4905"/>
                  </a:lnTo>
                  <a:lnTo>
                    <a:pt x="6188" y="4893"/>
                  </a:lnTo>
                  <a:lnTo>
                    <a:pt x="6105" y="4882"/>
                  </a:lnTo>
                  <a:lnTo>
                    <a:pt x="6024" y="4871"/>
                  </a:lnTo>
                  <a:lnTo>
                    <a:pt x="5942" y="4859"/>
                  </a:lnTo>
                  <a:lnTo>
                    <a:pt x="5861" y="4847"/>
                  </a:lnTo>
                  <a:lnTo>
                    <a:pt x="5779" y="4835"/>
                  </a:lnTo>
                  <a:lnTo>
                    <a:pt x="5698" y="4822"/>
                  </a:lnTo>
                  <a:lnTo>
                    <a:pt x="5617" y="4809"/>
                  </a:lnTo>
                  <a:lnTo>
                    <a:pt x="5537" y="4795"/>
                  </a:lnTo>
                  <a:lnTo>
                    <a:pt x="5456" y="4779"/>
                  </a:lnTo>
                  <a:lnTo>
                    <a:pt x="5376" y="4764"/>
                  </a:lnTo>
                  <a:lnTo>
                    <a:pt x="5296" y="4748"/>
                  </a:lnTo>
                  <a:lnTo>
                    <a:pt x="5216" y="4731"/>
                  </a:lnTo>
                  <a:lnTo>
                    <a:pt x="9487" y="3017"/>
                  </a:lnTo>
                  <a:lnTo>
                    <a:pt x="8624" y="2152"/>
                  </a:lnTo>
                  <a:lnTo>
                    <a:pt x="8615" y="2143"/>
                  </a:lnTo>
                  <a:lnTo>
                    <a:pt x="8607" y="2133"/>
                  </a:lnTo>
                  <a:lnTo>
                    <a:pt x="8599" y="2123"/>
                  </a:lnTo>
                  <a:lnTo>
                    <a:pt x="8592" y="2113"/>
                  </a:lnTo>
                  <a:lnTo>
                    <a:pt x="8586" y="2102"/>
                  </a:lnTo>
                  <a:lnTo>
                    <a:pt x="8580" y="2091"/>
                  </a:lnTo>
                  <a:lnTo>
                    <a:pt x="8574" y="2080"/>
                  </a:lnTo>
                  <a:lnTo>
                    <a:pt x="8569" y="2068"/>
                  </a:lnTo>
                  <a:lnTo>
                    <a:pt x="8565" y="2057"/>
                  </a:lnTo>
                  <a:lnTo>
                    <a:pt x="8561" y="2046"/>
                  </a:lnTo>
                  <a:lnTo>
                    <a:pt x="8558" y="2034"/>
                  </a:lnTo>
                  <a:lnTo>
                    <a:pt x="8555" y="2022"/>
                  </a:lnTo>
                  <a:lnTo>
                    <a:pt x="8553" y="2010"/>
                  </a:lnTo>
                  <a:lnTo>
                    <a:pt x="8551" y="1998"/>
                  </a:lnTo>
                  <a:lnTo>
                    <a:pt x="8550" y="1986"/>
                  </a:lnTo>
                  <a:lnTo>
                    <a:pt x="8550" y="1974"/>
                  </a:lnTo>
                  <a:lnTo>
                    <a:pt x="8550" y="1961"/>
                  </a:lnTo>
                  <a:lnTo>
                    <a:pt x="8551" y="1949"/>
                  </a:lnTo>
                  <a:lnTo>
                    <a:pt x="8553" y="1938"/>
                  </a:lnTo>
                  <a:lnTo>
                    <a:pt x="8555" y="1926"/>
                  </a:lnTo>
                  <a:lnTo>
                    <a:pt x="8558" y="1914"/>
                  </a:lnTo>
                  <a:lnTo>
                    <a:pt x="8562" y="1902"/>
                  </a:lnTo>
                  <a:lnTo>
                    <a:pt x="8565" y="1891"/>
                  </a:lnTo>
                  <a:lnTo>
                    <a:pt x="8570" y="1879"/>
                  </a:lnTo>
                  <a:lnTo>
                    <a:pt x="8574" y="1868"/>
                  </a:lnTo>
                  <a:lnTo>
                    <a:pt x="8580" y="1857"/>
                  </a:lnTo>
                  <a:lnTo>
                    <a:pt x="8586" y="1845"/>
                  </a:lnTo>
                  <a:lnTo>
                    <a:pt x="8593" y="1835"/>
                  </a:lnTo>
                  <a:lnTo>
                    <a:pt x="8600" y="1825"/>
                  </a:lnTo>
                  <a:lnTo>
                    <a:pt x="8608" y="1815"/>
                  </a:lnTo>
                  <a:lnTo>
                    <a:pt x="8616" y="1805"/>
                  </a:lnTo>
                  <a:lnTo>
                    <a:pt x="8625" y="1796"/>
                  </a:lnTo>
                  <a:lnTo>
                    <a:pt x="9335" y="1082"/>
                  </a:lnTo>
                  <a:lnTo>
                    <a:pt x="9344" y="1073"/>
                  </a:lnTo>
                  <a:lnTo>
                    <a:pt x="9354" y="1065"/>
                  </a:lnTo>
                  <a:lnTo>
                    <a:pt x="9364" y="1057"/>
                  </a:lnTo>
                  <a:lnTo>
                    <a:pt x="9374" y="1050"/>
                  </a:lnTo>
                  <a:lnTo>
                    <a:pt x="9385" y="1043"/>
                  </a:lnTo>
                  <a:lnTo>
                    <a:pt x="9396" y="1037"/>
                  </a:lnTo>
                  <a:lnTo>
                    <a:pt x="9408" y="1032"/>
                  </a:lnTo>
                  <a:lnTo>
                    <a:pt x="9419" y="1027"/>
                  </a:lnTo>
                  <a:lnTo>
                    <a:pt x="9430" y="1023"/>
                  </a:lnTo>
                  <a:lnTo>
                    <a:pt x="9442" y="1019"/>
                  </a:lnTo>
                  <a:lnTo>
                    <a:pt x="9454" y="1016"/>
                  </a:lnTo>
                  <a:lnTo>
                    <a:pt x="9465" y="1013"/>
                  </a:lnTo>
                  <a:lnTo>
                    <a:pt x="9477" y="1011"/>
                  </a:lnTo>
                  <a:lnTo>
                    <a:pt x="9489" y="1010"/>
                  </a:lnTo>
                  <a:lnTo>
                    <a:pt x="9501" y="1009"/>
                  </a:lnTo>
                  <a:lnTo>
                    <a:pt x="9513" y="1009"/>
                  </a:lnTo>
                  <a:lnTo>
                    <a:pt x="9525" y="1009"/>
                  </a:lnTo>
                  <a:lnTo>
                    <a:pt x="9537" y="1010"/>
                  </a:lnTo>
                  <a:lnTo>
                    <a:pt x="9549" y="1011"/>
                  </a:lnTo>
                  <a:lnTo>
                    <a:pt x="9561" y="1013"/>
                  </a:lnTo>
                  <a:lnTo>
                    <a:pt x="9574" y="1016"/>
                  </a:lnTo>
                  <a:lnTo>
                    <a:pt x="9585" y="1019"/>
                  </a:lnTo>
                  <a:lnTo>
                    <a:pt x="9597" y="1023"/>
                  </a:lnTo>
                  <a:lnTo>
                    <a:pt x="9608" y="1027"/>
                  </a:lnTo>
                  <a:lnTo>
                    <a:pt x="9619" y="1032"/>
                  </a:lnTo>
                  <a:lnTo>
                    <a:pt x="9630" y="1037"/>
                  </a:lnTo>
                  <a:lnTo>
                    <a:pt x="9641" y="1043"/>
                  </a:lnTo>
                  <a:lnTo>
                    <a:pt x="9651" y="1050"/>
                  </a:lnTo>
                  <a:lnTo>
                    <a:pt x="9662" y="1057"/>
                  </a:lnTo>
                  <a:lnTo>
                    <a:pt x="9672" y="1065"/>
                  </a:lnTo>
                  <a:lnTo>
                    <a:pt x="9681" y="1073"/>
                  </a:lnTo>
                  <a:lnTo>
                    <a:pt x="9691" y="1082"/>
                  </a:lnTo>
                  <a:lnTo>
                    <a:pt x="13576" y="4978"/>
                  </a:lnTo>
                  <a:lnTo>
                    <a:pt x="13585" y="4987"/>
                  </a:lnTo>
                  <a:lnTo>
                    <a:pt x="13593" y="4996"/>
                  </a:lnTo>
                  <a:lnTo>
                    <a:pt x="13601" y="5006"/>
                  </a:lnTo>
                  <a:lnTo>
                    <a:pt x="13608" y="5017"/>
                  </a:lnTo>
                  <a:lnTo>
                    <a:pt x="13615" y="5028"/>
                  </a:lnTo>
                  <a:lnTo>
                    <a:pt x="13621" y="5039"/>
                  </a:lnTo>
                  <a:lnTo>
                    <a:pt x="13627" y="5050"/>
                  </a:lnTo>
                  <a:lnTo>
                    <a:pt x="13631" y="5061"/>
                  </a:lnTo>
                  <a:lnTo>
                    <a:pt x="13636" y="5073"/>
                  </a:lnTo>
                  <a:lnTo>
                    <a:pt x="13641" y="5084"/>
                  </a:lnTo>
                  <a:lnTo>
                    <a:pt x="13644" y="5096"/>
                  </a:lnTo>
                  <a:lnTo>
                    <a:pt x="13646" y="5107"/>
                  </a:lnTo>
                  <a:lnTo>
                    <a:pt x="13648" y="5119"/>
                  </a:lnTo>
                  <a:lnTo>
                    <a:pt x="13650" y="5131"/>
                  </a:lnTo>
                  <a:lnTo>
                    <a:pt x="13651" y="5143"/>
                  </a:lnTo>
                  <a:lnTo>
                    <a:pt x="13651" y="5156"/>
                  </a:lnTo>
                  <a:lnTo>
                    <a:pt x="13651" y="5168"/>
                  </a:lnTo>
                  <a:lnTo>
                    <a:pt x="13650" y="5180"/>
                  </a:lnTo>
                  <a:lnTo>
                    <a:pt x="13648" y="5192"/>
                  </a:lnTo>
                  <a:lnTo>
                    <a:pt x="13646" y="5204"/>
                  </a:lnTo>
                  <a:lnTo>
                    <a:pt x="13644" y="5216"/>
                  </a:lnTo>
                  <a:lnTo>
                    <a:pt x="13641" y="5227"/>
                  </a:lnTo>
                  <a:lnTo>
                    <a:pt x="13636" y="5239"/>
                  </a:lnTo>
                  <a:lnTo>
                    <a:pt x="13631" y="5250"/>
                  </a:lnTo>
                  <a:lnTo>
                    <a:pt x="13627" y="5261"/>
                  </a:lnTo>
                  <a:lnTo>
                    <a:pt x="13621" y="5273"/>
                  </a:lnTo>
                  <a:lnTo>
                    <a:pt x="13615" y="5284"/>
                  </a:lnTo>
                  <a:lnTo>
                    <a:pt x="13608" y="5295"/>
                  </a:lnTo>
                  <a:lnTo>
                    <a:pt x="13601" y="5305"/>
                  </a:lnTo>
                  <a:lnTo>
                    <a:pt x="13593" y="5315"/>
                  </a:lnTo>
                  <a:lnTo>
                    <a:pt x="13585" y="5325"/>
                  </a:lnTo>
                  <a:lnTo>
                    <a:pt x="13576" y="5334"/>
                  </a:lnTo>
                  <a:close/>
                  <a:moveTo>
                    <a:pt x="8378" y="13292"/>
                  </a:moveTo>
                  <a:lnTo>
                    <a:pt x="8366" y="13321"/>
                  </a:lnTo>
                  <a:lnTo>
                    <a:pt x="8352" y="13350"/>
                  </a:lnTo>
                  <a:lnTo>
                    <a:pt x="8336" y="13377"/>
                  </a:lnTo>
                  <a:lnTo>
                    <a:pt x="8318" y="13403"/>
                  </a:lnTo>
                  <a:lnTo>
                    <a:pt x="8300" y="13427"/>
                  </a:lnTo>
                  <a:lnTo>
                    <a:pt x="8280" y="13450"/>
                  </a:lnTo>
                  <a:lnTo>
                    <a:pt x="8258" y="13473"/>
                  </a:lnTo>
                  <a:lnTo>
                    <a:pt x="8235" y="13494"/>
                  </a:lnTo>
                  <a:lnTo>
                    <a:pt x="8210" y="13513"/>
                  </a:lnTo>
                  <a:lnTo>
                    <a:pt x="8185" y="13530"/>
                  </a:lnTo>
                  <a:lnTo>
                    <a:pt x="8159" y="13546"/>
                  </a:lnTo>
                  <a:lnTo>
                    <a:pt x="8132" y="13560"/>
                  </a:lnTo>
                  <a:lnTo>
                    <a:pt x="8104" y="13573"/>
                  </a:lnTo>
                  <a:lnTo>
                    <a:pt x="8074" y="13585"/>
                  </a:lnTo>
                  <a:lnTo>
                    <a:pt x="8044" y="13594"/>
                  </a:lnTo>
                  <a:lnTo>
                    <a:pt x="8013" y="13601"/>
                  </a:lnTo>
                  <a:lnTo>
                    <a:pt x="7985" y="13607"/>
                  </a:lnTo>
                  <a:lnTo>
                    <a:pt x="7956" y="13610"/>
                  </a:lnTo>
                  <a:lnTo>
                    <a:pt x="7927" y="13612"/>
                  </a:lnTo>
                  <a:lnTo>
                    <a:pt x="7899" y="13612"/>
                  </a:lnTo>
                  <a:lnTo>
                    <a:pt x="7874" y="13611"/>
                  </a:lnTo>
                  <a:lnTo>
                    <a:pt x="7850" y="13609"/>
                  </a:lnTo>
                  <a:lnTo>
                    <a:pt x="7827" y="13605"/>
                  </a:lnTo>
                  <a:lnTo>
                    <a:pt x="7804" y="13601"/>
                  </a:lnTo>
                  <a:lnTo>
                    <a:pt x="7781" y="13595"/>
                  </a:lnTo>
                  <a:lnTo>
                    <a:pt x="7758" y="13589"/>
                  </a:lnTo>
                  <a:lnTo>
                    <a:pt x="7736" y="13580"/>
                  </a:lnTo>
                  <a:lnTo>
                    <a:pt x="7714" y="13571"/>
                  </a:lnTo>
                  <a:lnTo>
                    <a:pt x="7691" y="13562"/>
                  </a:lnTo>
                  <a:lnTo>
                    <a:pt x="7670" y="13551"/>
                  </a:lnTo>
                  <a:lnTo>
                    <a:pt x="7650" y="13539"/>
                  </a:lnTo>
                  <a:lnTo>
                    <a:pt x="7630" y="13526"/>
                  </a:lnTo>
                  <a:lnTo>
                    <a:pt x="7610" y="13512"/>
                  </a:lnTo>
                  <a:lnTo>
                    <a:pt x="7591" y="13497"/>
                  </a:lnTo>
                  <a:lnTo>
                    <a:pt x="7573" y="13482"/>
                  </a:lnTo>
                  <a:lnTo>
                    <a:pt x="7556" y="13465"/>
                  </a:lnTo>
                  <a:lnTo>
                    <a:pt x="1154" y="7119"/>
                  </a:lnTo>
                  <a:lnTo>
                    <a:pt x="1133" y="7096"/>
                  </a:lnTo>
                  <a:lnTo>
                    <a:pt x="1113" y="7072"/>
                  </a:lnTo>
                  <a:lnTo>
                    <a:pt x="1094" y="7048"/>
                  </a:lnTo>
                  <a:lnTo>
                    <a:pt x="1078" y="7022"/>
                  </a:lnTo>
                  <a:lnTo>
                    <a:pt x="1063" y="6996"/>
                  </a:lnTo>
                  <a:lnTo>
                    <a:pt x="1050" y="6967"/>
                  </a:lnTo>
                  <a:lnTo>
                    <a:pt x="1038" y="6940"/>
                  </a:lnTo>
                  <a:lnTo>
                    <a:pt x="1029" y="6911"/>
                  </a:lnTo>
                  <a:lnTo>
                    <a:pt x="1021" y="6882"/>
                  </a:lnTo>
                  <a:lnTo>
                    <a:pt x="1014" y="6852"/>
                  </a:lnTo>
                  <a:lnTo>
                    <a:pt x="1010" y="6822"/>
                  </a:lnTo>
                  <a:lnTo>
                    <a:pt x="1007" y="6792"/>
                  </a:lnTo>
                  <a:lnTo>
                    <a:pt x="1006" y="6761"/>
                  </a:lnTo>
                  <a:lnTo>
                    <a:pt x="1007" y="6730"/>
                  </a:lnTo>
                  <a:lnTo>
                    <a:pt x="1010" y="6699"/>
                  </a:lnTo>
                  <a:lnTo>
                    <a:pt x="1015" y="6668"/>
                  </a:lnTo>
                  <a:lnTo>
                    <a:pt x="1022" y="6638"/>
                  </a:lnTo>
                  <a:lnTo>
                    <a:pt x="1030" y="6608"/>
                  </a:lnTo>
                  <a:lnTo>
                    <a:pt x="1040" y="6579"/>
                  </a:lnTo>
                  <a:lnTo>
                    <a:pt x="1052" y="6551"/>
                  </a:lnTo>
                  <a:lnTo>
                    <a:pt x="1065" y="6524"/>
                  </a:lnTo>
                  <a:lnTo>
                    <a:pt x="1080" y="6498"/>
                  </a:lnTo>
                  <a:lnTo>
                    <a:pt x="1097" y="6472"/>
                  </a:lnTo>
                  <a:lnTo>
                    <a:pt x="1116" y="6448"/>
                  </a:lnTo>
                  <a:lnTo>
                    <a:pt x="1136" y="6425"/>
                  </a:lnTo>
                  <a:lnTo>
                    <a:pt x="1156" y="6403"/>
                  </a:lnTo>
                  <a:lnTo>
                    <a:pt x="1179" y="6383"/>
                  </a:lnTo>
                  <a:lnTo>
                    <a:pt x="1202" y="6363"/>
                  </a:lnTo>
                  <a:lnTo>
                    <a:pt x="1227" y="6345"/>
                  </a:lnTo>
                  <a:lnTo>
                    <a:pt x="1252" y="6329"/>
                  </a:lnTo>
                  <a:lnTo>
                    <a:pt x="1280" y="6314"/>
                  </a:lnTo>
                  <a:lnTo>
                    <a:pt x="1308" y="6300"/>
                  </a:lnTo>
                  <a:lnTo>
                    <a:pt x="4434" y="5046"/>
                  </a:lnTo>
                  <a:lnTo>
                    <a:pt x="4632" y="5107"/>
                  </a:lnTo>
                  <a:lnTo>
                    <a:pt x="4830" y="5162"/>
                  </a:lnTo>
                  <a:lnTo>
                    <a:pt x="5027" y="5210"/>
                  </a:lnTo>
                  <a:lnTo>
                    <a:pt x="5225" y="5252"/>
                  </a:lnTo>
                  <a:lnTo>
                    <a:pt x="5422" y="5290"/>
                  </a:lnTo>
                  <a:lnTo>
                    <a:pt x="5620" y="5323"/>
                  </a:lnTo>
                  <a:lnTo>
                    <a:pt x="5817" y="5353"/>
                  </a:lnTo>
                  <a:lnTo>
                    <a:pt x="6016" y="5380"/>
                  </a:lnTo>
                  <a:lnTo>
                    <a:pt x="6410" y="5431"/>
                  </a:lnTo>
                  <a:lnTo>
                    <a:pt x="6805" y="5480"/>
                  </a:lnTo>
                  <a:lnTo>
                    <a:pt x="7003" y="5507"/>
                  </a:lnTo>
                  <a:lnTo>
                    <a:pt x="7201" y="5536"/>
                  </a:lnTo>
                  <a:lnTo>
                    <a:pt x="7398" y="5568"/>
                  </a:lnTo>
                  <a:lnTo>
                    <a:pt x="7596" y="5603"/>
                  </a:lnTo>
                  <a:lnTo>
                    <a:pt x="7793" y="5643"/>
                  </a:lnTo>
                  <a:lnTo>
                    <a:pt x="7991" y="5688"/>
                  </a:lnTo>
                  <a:lnTo>
                    <a:pt x="8188" y="5739"/>
                  </a:lnTo>
                  <a:lnTo>
                    <a:pt x="8385" y="5798"/>
                  </a:lnTo>
                  <a:lnTo>
                    <a:pt x="8584" y="5864"/>
                  </a:lnTo>
                  <a:lnTo>
                    <a:pt x="8781" y="5939"/>
                  </a:lnTo>
                  <a:lnTo>
                    <a:pt x="8979" y="6023"/>
                  </a:lnTo>
                  <a:lnTo>
                    <a:pt x="9176" y="6116"/>
                  </a:lnTo>
                  <a:lnTo>
                    <a:pt x="9373" y="6221"/>
                  </a:lnTo>
                  <a:lnTo>
                    <a:pt x="9571" y="6337"/>
                  </a:lnTo>
                  <a:lnTo>
                    <a:pt x="9769" y="6466"/>
                  </a:lnTo>
                  <a:lnTo>
                    <a:pt x="9967" y="6608"/>
                  </a:lnTo>
                  <a:lnTo>
                    <a:pt x="10164" y="6765"/>
                  </a:lnTo>
                  <a:lnTo>
                    <a:pt x="10361" y="6935"/>
                  </a:lnTo>
                  <a:lnTo>
                    <a:pt x="10559" y="7122"/>
                  </a:lnTo>
                  <a:lnTo>
                    <a:pt x="10756" y="7324"/>
                  </a:lnTo>
                  <a:lnTo>
                    <a:pt x="8378" y="13292"/>
                  </a:lnTo>
                  <a:close/>
                  <a:moveTo>
                    <a:pt x="10402" y="369"/>
                  </a:moveTo>
                  <a:lnTo>
                    <a:pt x="10379" y="347"/>
                  </a:lnTo>
                  <a:lnTo>
                    <a:pt x="10356" y="326"/>
                  </a:lnTo>
                  <a:lnTo>
                    <a:pt x="10333" y="305"/>
                  </a:lnTo>
                  <a:lnTo>
                    <a:pt x="10310" y="286"/>
                  </a:lnTo>
                  <a:lnTo>
                    <a:pt x="10286" y="266"/>
                  </a:lnTo>
                  <a:lnTo>
                    <a:pt x="10261" y="247"/>
                  </a:lnTo>
                  <a:lnTo>
                    <a:pt x="10235" y="229"/>
                  </a:lnTo>
                  <a:lnTo>
                    <a:pt x="10210" y="211"/>
                  </a:lnTo>
                  <a:lnTo>
                    <a:pt x="10184" y="195"/>
                  </a:lnTo>
                  <a:lnTo>
                    <a:pt x="10158" y="179"/>
                  </a:lnTo>
                  <a:lnTo>
                    <a:pt x="10132" y="163"/>
                  </a:lnTo>
                  <a:lnTo>
                    <a:pt x="10105" y="148"/>
                  </a:lnTo>
                  <a:lnTo>
                    <a:pt x="10077" y="133"/>
                  </a:lnTo>
                  <a:lnTo>
                    <a:pt x="10050" y="120"/>
                  </a:lnTo>
                  <a:lnTo>
                    <a:pt x="10022" y="108"/>
                  </a:lnTo>
                  <a:lnTo>
                    <a:pt x="9994" y="96"/>
                  </a:lnTo>
                  <a:lnTo>
                    <a:pt x="9966" y="84"/>
                  </a:lnTo>
                  <a:lnTo>
                    <a:pt x="9938" y="74"/>
                  </a:lnTo>
                  <a:lnTo>
                    <a:pt x="9908" y="64"/>
                  </a:lnTo>
                  <a:lnTo>
                    <a:pt x="9879" y="55"/>
                  </a:lnTo>
                  <a:lnTo>
                    <a:pt x="9850" y="46"/>
                  </a:lnTo>
                  <a:lnTo>
                    <a:pt x="9820" y="38"/>
                  </a:lnTo>
                  <a:lnTo>
                    <a:pt x="9791" y="31"/>
                  </a:lnTo>
                  <a:lnTo>
                    <a:pt x="9761" y="25"/>
                  </a:lnTo>
                  <a:lnTo>
                    <a:pt x="9730" y="19"/>
                  </a:lnTo>
                  <a:lnTo>
                    <a:pt x="9699" y="14"/>
                  </a:lnTo>
                  <a:lnTo>
                    <a:pt x="9669" y="9"/>
                  </a:lnTo>
                  <a:lnTo>
                    <a:pt x="9638" y="6"/>
                  </a:lnTo>
                  <a:lnTo>
                    <a:pt x="9607" y="3"/>
                  </a:lnTo>
                  <a:lnTo>
                    <a:pt x="9577" y="2"/>
                  </a:lnTo>
                  <a:lnTo>
                    <a:pt x="9544" y="0"/>
                  </a:lnTo>
                  <a:lnTo>
                    <a:pt x="9513" y="0"/>
                  </a:lnTo>
                  <a:lnTo>
                    <a:pt x="9482" y="0"/>
                  </a:lnTo>
                  <a:lnTo>
                    <a:pt x="9451" y="2"/>
                  </a:lnTo>
                  <a:lnTo>
                    <a:pt x="9420" y="3"/>
                  </a:lnTo>
                  <a:lnTo>
                    <a:pt x="9388" y="6"/>
                  </a:lnTo>
                  <a:lnTo>
                    <a:pt x="9357" y="9"/>
                  </a:lnTo>
                  <a:lnTo>
                    <a:pt x="9327" y="14"/>
                  </a:lnTo>
                  <a:lnTo>
                    <a:pt x="9297" y="19"/>
                  </a:lnTo>
                  <a:lnTo>
                    <a:pt x="9266" y="25"/>
                  </a:lnTo>
                  <a:lnTo>
                    <a:pt x="9236" y="31"/>
                  </a:lnTo>
                  <a:lnTo>
                    <a:pt x="9206" y="38"/>
                  </a:lnTo>
                  <a:lnTo>
                    <a:pt x="9176" y="46"/>
                  </a:lnTo>
                  <a:lnTo>
                    <a:pt x="9147" y="55"/>
                  </a:lnTo>
                  <a:lnTo>
                    <a:pt x="9118" y="64"/>
                  </a:lnTo>
                  <a:lnTo>
                    <a:pt x="9089" y="74"/>
                  </a:lnTo>
                  <a:lnTo>
                    <a:pt x="9060" y="84"/>
                  </a:lnTo>
                  <a:lnTo>
                    <a:pt x="9031" y="96"/>
                  </a:lnTo>
                  <a:lnTo>
                    <a:pt x="9003" y="108"/>
                  </a:lnTo>
                  <a:lnTo>
                    <a:pt x="8976" y="120"/>
                  </a:lnTo>
                  <a:lnTo>
                    <a:pt x="8948" y="134"/>
                  </a:lnTo>
                  <a:lnTo>
                    <a:pt x="8921" y="149"/>
                  </a:lnTo>
                  <a:lnTo>
                    <a:pt x="8894" y="163"/>
                  </a:lnTo>
                  <a:lnTo>
                    <a:pt x="8867" y="179"/>
                  </a:lnTo>
                  <a:lnTo>
                    <a:pt x="8841" y="195"/>
                  </a:lnTo>
                  <a:lnTo>
                    <a:pt x="8816" y="211"/>
                  </a:lnTo>
                  <a:lnTo>
                    <a:pt x="8790" y="229"/>
                  </a:lnTo>
                  <a:lnTo>
                    <a:pt x="8766" y="247"/>
                  </a:lnTo>
                  <a:lnTo>
                    <a:pt x="8741" y="267"/>
                  </a:lnTo>
                  <a:lnTo>
                    <a:pt x="8716" y="286"/>
                  </a:lnTo>
                  <a:lnTo>
                    <a:pt x="8692" y="306"/>
                  </a:lnTo>
                  <a:lnTo>
                    <a:pt x="8669" y="326"/>
                  </a:lnTo>
                  <a:lnTo>
                    <a:pt x="8646" y="348"/>
                  </a:lnTo>
                  <a:lnTo>
                    <a:pt x="8624" y="369"/>
                  </a:lnTo>
                  <a:lnTo>
                    <a:pt x="7914" y="1081"/>
                  </a:lnTo>
                  <a:lnTo>
                    <a:pt x="7892" y="1104"/>
                  </a:lnTo>
                  <a:lnTo>
                    <a:pt x="7870" y="1128"/>
                  </a:lnTo>
                  <a:lnTo>
                    <a:pt x="7850" y="1151"/>
                  </a:lnTo>
                  <a:lnTo>
                    <a:pt x="7829" y="1174"/>
                  </a:lnTo>
                  <a:lnTo>
                    <a:pt x="7810" y="1199"/>
                  </a:lnTo>
                  <a:lnTo>
                    <a:pt x="7792" y="1223"/>
                  </a:lnTo>
                  <a:lnTo>
                    <a:pt x="7773" y="1249"/>
                  </a:lnTo>
                  <a:lnTo>
                    <a:pt x="7756" y="1274"/>
                  </a:lnTo>
                  <a:lnTo>
                    <a:pt x="7739" y="1300"/>
                  </a:lnTo>
                  <a:lnTo>
                    <a:pt x="7723" y="1326"/>
                  </a:lnTo>
                  <a:lnTo>
                    <a:pt x="7707" y="1352"/>
                  </a:lnTo>
                  <a:lnTo>
                    <a:pt x="7692" y="1380"/>
                  </a:lnTo>
                  <a:lnTo>
                    <a:pt x="7678" y="1407"/>
                  </a:lnTo>
                  <a:lnTo>
                    <a:pt x="7665" y="1434"/>
                  </a:lnTo>
                  <a:lnTo>
                    <a:pt x="7652" y="1462"/>
                  </a:lnTo>
                  <a:lnTo>
                    <a:pt x="7640" y="1491"/>
                  </a:lnTo>
                  <a:lnTo>
                    <a:pt x="7629" y="1519"/>
                  </a:lnTo>
                  <a:lnTo>
                    <a:pt x="7618" y="1547"/>
                  </a:lnTo>
                  <a:lnTo>
                    <a:pt x="7608" y="1576"/>
                  </a:lnTo>
                  <a:lnTo>
                    <a:pt x="7599" y="1606"/>
                  </a:lnTo>
                  <a:lnTo>
                    <a:pt x="7591" y="1636"/>
                  </a:lnTo>
                  <a:lnTo>
                    <a:pt x="7583" y="1665"/>
                  </a:lnTo>
                  <a:lnTo>
                    <a:pt x="7576" y="1695"/>
                  </a:lnTo>
                  <a:lnTo>
                    <a:pt x="7569" y="1725"/>
                  </a:lnTo>
                  <a:lnTo>
                    <a:pt x="7564" y="1756"/>
                  </a:lnTo>
                  <a:lnTo>
                    <a:pt x="7559" y="1786"/>
                  </a:lnTo>
                  <a:lnTo>
                    <a:pt x="7555" y="1817"/>
                  </a:lnTo>
                  <a:lnTo>
                    <a:pt x="7551" y="1848"/>
                  </a:lnTo>
                  <a:lnTo>
                    <a:pt x="7549" y="1879"/>
                  </a:lnTo>
                  <a:lnTo>
                    <a:pt x="7547" y="1911"/>
                  </a:lnTo>
                  <a:lnTo>
                    <a:pt x="7546" y="1942"/>
                  </a:lnTo>
                  <a:lnTo>
                    <a:pt x="7545" y="1974"/>
                  </a:lnTo>
                  <a:lnTo>
                    <a:pt x="7546" y="2018"/>
                  </a:lnTo>
                  <a:lnTo>
                    <a:pt x="7548" y="2062"/>
                  </a:lnTo>
                  <a:lnTo>
                    <a:pt x="7552" y="2106"/>
                  </a:lnTo>
                  <a:lnTo>
                    <a:pt x="7557" y="2150"/>
                  </a:lnTo>
                  <a:lnTo>
                    <a:pt x="7564" y="2192"/>
                  </a:lnTo>
                  <a:lnTo>
                    <a:pt x="7572" y="2236"/>
                  </a:lnTo>
                  <a:lnTo>
                    <a:pt x="7582" y="2278"/>
                  </a:lnTo>
                  <a:lnTo>
                    <a:pt x="7593" y="2319"/>
                  </a:lnTo>
                  <a:lnTo>
                    <a:pt x="7605" y="2361"/>
                  </a:lnTo>
                  <a:lnTo>
                    <a:pt x="7619" y="2402"/>
                  </a:lnTo>
                  <a:lnTo>
                    <a:pt x="7634" y="2442"/>
                  </a:lnTo>
                  <a:lnTo>
                    <a:pt x="7651" y="2483"/>
                  </a:lnTo>
                  <a:lnTo>
                    <a:pt x="7669" y="2522"/>
                  </a:lnTo>
                  <a:lnTo>
                    <a:pt x="7688" y="2560"/>
                  </a:lnTo>
                  <a:lnTo>
                    <a:pt x="7710" y="2599"/>
                  </a:lnTo>
                  <a:lnTo>
                    <a:pt x="7732" y="2635"/>
                  </a:lnTo>
                  <a:lnTo>
                    <a:pt x="902" y="5377"/>
                  </a:lnTo>
                  <a:lnTo>
                    <a:pt x="860" y="5397"/>
                  </a:lnTo>
                  <a:lnTo>
                    <a:pt x="819" y="5418"/>
                  </a:lnTo>
                  <a:lnTo>
                    <a:pt x="778" y="5440"/>
                  </a:lnTo>
                  <a:lnTo>
                    <a:pt x="737" y="5462"/>
                  </a:lnTo>
                  <a:lnTo>
                    <a:pt x="699" y="5486"/>
                  </a:lnTo>
                  <a:lnTo>
                    <a:pt x="660" y="5511"/>
                  </a:lnTo>
                  <a:lnTo>
                    <a:pt x="623" y="5539"/>
                  </a:lnTo>
                  <a:lnTo>
                    <a:pt x="586" y="5566"/>
                  </a:lnTo>
                  <a:lnTo>
                    <a:pt x="550" y="5594"/>
                  </a:lnTo>
                  <a:lnTo>
                    <a:pt x="516" y="5623"/>
                  </a:lnTo>
                  <a:lnTo>
                    <a:pt x="482" y="5655"/>
                  </a:lnTo>
                  <a:lnTo>
                    <a:pt x="450" y="5686"/>
                  </a:lnTo>
                  <a:lnTo>
                    <a:pt x="417" y="5718"/>
                  </a:lnTo>
                  <a:lnTo>
                    <a:pt x="386" y="5751"/>
                  </a:lnTo>
                  <a:lnTo>
                    <a:pt x="357" y="5786"/>
                  </a:lnTo>
                  <a:lnTo>
                    <a:pt x="328" y="5821"/>
                  </a:lnTo>
                  <a:lnTo>
                    <a:pt x="301" y="5857"/>
                  </a:lnTo>
                  <a:lnTo>
                    <a:pt x="274" y="5894"/>
                  </a:lnTo>
                  <a:lnTo>
                    <a:pt x="248" y="5931"/>
                  </a:lnTo>
                  <a:lnTo>
                    <a:pt x="224" y="5969"/>
                  </a:lnTo>
                  <a:lnTo>
                    <a:pt x="200" y="6009"/>
                  </a:lnTo>
                  <a:lnTo>
                    <a:pt x="179" y="6049"/>
                  </a:lnTo>
                  <a:lnTo>
                    <a:pt x="158" y="6089"/>
                  </a:lnTo>
                  <a:lnTo>
                    <a:pt x="138" y="6131"/>
                  </a:lnTo>
                  <a:lnTo>
                    <a:pt x="120" y="6172"/>
                  </a:lnTo>
                  <a:lnTo>
                    <a:pt x="103" y="6214"/>
                  </a:lnTo>
                  <a:lnTo>
                    <a:pt x="87" y="6258"/>
                  </a:lnTo>
                  <a:lnTo>
                    <a:pt x="71" y="6301"/>
                  </a:lnTo>
                  <a:lnTo>
                    <a:pt x="58" y="6345"/>
                  </a:lnTo>
                  <a:lnTo>
                    <a:pt x="46" y="6390"/>
                  </a:lnTo>
                  <a:lnTo>
                    <a:pt x="36" y="6435"/>
                  </a:lnTo>
                  <a:lnTo>
                    <a:pt x="26" y="6481"/>
                  </a:lnTo>
                  <a:lnTo>
                    <a:pt x="18" y="6527"/>
                  </a:lnTo>
                  <a:lnTo>
                    <a:pt x="12" y="6573"/>
                  </a:lnTo>
                  <a:lnTo>
                    <a:pt x="7" y="6620"/>
                  </a:lnTo>
                  <a:lnTo>
                    <a:pt x="3" y="6666"/>
                  </a:lnTo>
                  <a:lnTo>
                    <a:pt x="1" y="6712"/>
                  </a:lnTo>
                  <a:lnTo>
                    <a:pt x="0" y="6759"/>
                  </a:lnTo>
                  <a:lnTo>
                    <a:pt x="1" y="6804"/>
                  </a:lnTo>
                  <a:lnTo>
                    <a:pt x="3" y="6850"/>
                  </a:lnTo>
                  <a:lnTo>
                    <a:pt x="6" y="6896"/>
                  </a:lnTo>
                  <a:lnTo>
                    <a:pt x="11" y="6941"/>
                  </a:lnTo>
                  <a:lnTo>
                    <a:pt x="17" y="6987"/>
                  </a:lnTo>
                  <a:lnTo>
                    <a:pt x="24" y="7032"/>
                  </a:lnTo>
                  <a:lnTo>
                    <a:pt x="33" y="7076"/>
                  </a:lnTo>
                  <a:lnTo>
                    <a:pt x="43" y="7121"/>
                  </a:lnTo>
                  <a:lnTo>
                    <a:pt x="55" y="7165"/>
                  </a:lnTo>
                  <a:lnTo>
                    <a:pt x="67" y="7209"/>
                  </a:lnTo>
                  <a:lnTo>
                    <a:pt x="81" y="7253"/>
                  </a:lnTo>
                  <a:lnTo>
                    <a:pt x="98" y="7295"/>
                  </a:lnTo>
                  <a:lnTo>
                    <a:pt x="114" y="7337"/>
                  </a:lnTo>
                  <a:lnTo>
                    <a:pt x="132" y="7380"/>
                  </a:lnTo>
                  <a:lnTo>
                    <a:pt x="152" y="7421"/>
                  </a:lnTo>
                  <a:lnTo>
                    <a:pt x="172" y="7462"/>
                  </a:lnTo>
                  <a:lnTo>
                    <a:pt x="194" y="7503"/>
                  </a:lnTo>
                  <a:lnTo>
                    <a:pt x="217" y="7542"/>
                  </a:lnTo>
                  <a:lnTo>
                    <a:pt x="241" y="7581"/>
                  </a:lnTo>
                  <a:lnTo>
                    <a:pt x="268" y="7620"/>
                  </a:lnTo>
                  <a:lnTo>
                    <a:pt x="294" y="7658"/>
                  </a:lnTo>
                  <a:lnTo>
                    <a:pt x="322" y="7695"/>
                  </a:lnTo>
                  <a:lnTo>
                    <a:pt x="351" y="7732"/>
                  </a:lnTo>
                  <a:lnTo>
                    <a:pt x="382" y="7767"/>
                  </a:lnTo>
                  <a:lnTo>
                    <a:pt x="413" y="7801"/>
                  </a:lnTo>
                  <a:lnTo>
                    <a:pt x="447" y="7835"/>
                  </a:lnTo>
                  <a:lnTo>
                    <a:pt x="6844" y="14177"/>
                  </a:lnTo>
                  <a:lnTo>
                    <a:pt x="6871" y="14203"/>
                  </a:lnTo>
                  <a:lnTo>
                    <a:pt x="6897" y="14228"/>
                  </a:lnTo>
                  <a:lnTo>
                    <a:pt x="6924" y="14252"/>
                  </a:lnTo>
                  <a:lnTo>
                    <a:pt x="6952" y="14275"/>
                  </a:lnTo>
                  <a:lnTo>
                    <a:pt x="6979" y="14298"/>
                  </a:lnTo>
                  <a:lnTo>
                    <a:pt x="7008" y="14320"/>
                  </a:lnTo>
                  <a:lnTo>
                    <a:pt x="7038" y="14341"/>
                  </a:lnTo>
                  <a:lnTo>
                    <a:pt x="7067" y="14362"/>
                  </a:lnTo>
                  <a:lnTo>
                    <a:pt x="7097" y="14381"/>
                  </a:lnTo>
                  <a:lnTo>
                    <a:pt x="7127" y="14400"/>
                  </a:lnTo>
                  <a:lnTo>
                    <a:pt x="7157" y="14418"/>
                  </a:lnTo>
                  <a:lnTo>
                    <a:pt x="7188" y="14436"/>
                  </a:lnTo>
                  <a:lnTo>
                    <a:pt x="7221" y="14453"/>
                  </a:lnTo>
                  <a:lnTo>
                    <a:pt x="7252" y="14469"/>
                  </a:lnTo>
                  <a:lnTo>
                    <a:pt x="7284" y="14484"/>
                  </a:lnTo>
                  <a:lnTo>
                    <a:pt x="7316" y="14499"/>
                  </a:lnTo>
                  <a:lnTo>
                    <a:pt x="7349" y="14512"/>
                  </a:lnTo>
                  <a:lnTo>
                    <a:pt x="7383" y="14525"/>
                  </a:lnTo>
                  <a:lnTo>
                    <a:pt x="7416" y="14537"/>
                  </a:lnTo>
                  <a:lnTo>
                    <a:pt x="7450" y="14548"/>
                  </a:lnTo>
                  <a:lnTo>
                    <a:pt x="7484" y="14558"/>
                  </a:lnTo>
                  <a:lnTo>
                    <a:pt x="7518" y="14569"/>
                  </a:lnTo>
                  <a:lnTo>
                    <a:pt x="7553" y="14578"/>
                  </a:lnTo>
                  <a:lnTo>
                    <a:pt x="7588" y="14586"/>
                  </a:lnTo>
                  <a:lnTo>
                    <a:pt x="7623" y="14593"/>
                  </a:lnTo>
                  <a:lnTo>
                    <a:pt x="7657" y="14599"/>
                  </a:lnTo>
                  <a:lnTo>
                    <a:pt x="7693" y="14605"/>
                  </a:lnTo>
                  <a:lnTo>
                    <a:pt x="7729" y="14609"/>
                  </a:lnTo>
                  <a:lnTo>
                    <a:pt x="7765" y="14613"/>
                  </a:lnTo>
                  <a:lnTo>
                    <a:pt x="7800" y="14616"/>
                  </a:lnTo>
                  <a:lnTo>
                    <a:pt x="7836" y="14618"/>
                  </a:lnTo>
                  <a:lnTo>
                    <a:pt x="7872" y="14619"/>
                  </a:lnTo>
                  <a:lnTo>
                    <a:pt x="7882" y="14620"/>
                  </a:lnTo>
                  <a:lnTo>
                    <a:pt x="7892" y="14620"/>
                  </a:lnTo>
                  <a:lnTo>
                    <a:pt x="7903" y="14620"/>
                  </a:lnTo>
                  <a:lnTo>
                    <a:pt x="7911" y="14620"/>
                  </a:lnTo>
                  <a:lnTo>
                    <a:pt x="7949" y="14619"/>
                  </a:lnTo>
                  <a:lnTo>
                    <a:pt x="7987" y="14618"/>
                  </a:lnTo>
                  <a:lnTo>
                    <a:pt x="8025" y="14616"/>
                  </a:lnTo>
                  <a:lnTo>
                    <a:pt x="8065" y="14612"/>
                  </a:lnTo>
                  <a:lnTo>
                    <a:pt x="8103" y="14608"/>
                  </a:lnTo>
                  <a:lnTo>
                    <a:pt x="8141" y="14602"/>
                  </a:lnTo>
                  <a:lnTo>
                    <a:pt x="8179" y="14596"/>
                  </a:lnTo>
                  <a:lnTo>
                    <a:pt x="8219" y="14589"/>
                  </a:lnTo>
                  <a:lnTo>
                    <a:pt x="8265" y="14578"/>
                  </a:lnTo>
                  <a:lnTo>
                    <a:pt x="8311" y="14566"/>
                  </a:lnTo>
                  <a:lnTo>
                    <a:pt x="8356" y="14552"/>
                  </a:lnTo>
                  <a:lnTo>
                    <a:pt x="8401" y="14538"/>
                  </a:lnTo>
                  <a:lnTo>
                    <a:pt x="8445" y="14522"/>
                  </a:lnTo>
                  <a:lnTo>
                    <a:pt x="8489" y="14505"/>
                  </a:lnTo>
                  <a:lnTo>
                    <a:pt x="8531" y="14487"/>
                  </a:lnTo>
                  <a:lnTo>
                    <a:pt x="8574" y="14467"/>
                  </a:lnTo>
                  <a:lnTo>
                    <a:pt x="8616" y="14446"/>
                  </a:lnTo>
                  <a:lnTo>
                    <a:pt x="8656" y="14423"/>
                  </a:lnTo>
                  <a:lnTo>
                    <a:pt x="8696" y="14400"/>
                  </a:lnTo>
                  <a:lnTo>
                    <a:pt x="8736" y="14375"/>
                  </a:lnTo>
                  <a:lnTo>
                    <a:pt x="8774" y="14350"/>
                  </a:lnTo>
                  <a:lnTo>
                    <a:pt x="8811" y="14323"/>
                  </a:lnTo>
                  <a:lnTo>
                    <a:pt x="8847" y="14294"/>
                  </a:lnTo>
                  <a:lnTo>
                    <a:pt x="8883" y="14265"/>
                  </a:lnTo>
                  <a:lnTo>
                    <a:pt x="8918" y="14235"/>
                  </a:lnTo>
                  <a:lnTo>
                    <a:pt x="8952" y="14204"/>
                  </a:lnTo>
                  <a:lnTo>
                    <a:pt x="8985" y="14171"/>
                  </a:lnTo>
                  <a:lnTo>
                    <a:pt x="9017" y="14138"/>
                  </a:lnTo>
                  <a:lnTo>
                    <a:pt x="9047" y="14104"/>
                  </a:lnTo>
                  <a:lnTo>
                    <a:pt x="9078" y="14068"/>
                  </a:lnTo>
                  <a:lnTo>
                    <a:pt x="9106" y="14032"/>
                  </a:lnTo>
                  <a:lnTo>
                    <a:pt x="9134" y="13995"/>
                  </a:lnTo>
                  <a:lnTo>
                    <a:pt x="9160" y="13957"/>
                  </a:lnTo>
                  <a:lnTo>
                    <a:pt x="9186" y="13918"/>
                  </a:lnTo>
                  <a:lnTo>
                    <a:pt x="9210" y="13878"/>
                  </a:lnTo>
                  <a:lnTo>
                    <a:pt x="9232" y="13838"/>
                  </a:lnTo>
                  <a:lnTo>
                    <a:pt x="9255" y="13796"/>
                  </a:lnTo>
                  <a:lnTo>
                    <a:pt x="9276" y="13754"/>
                  </a:lnTo>
                  <a:lnTo>
                    <a:pt x="9295" y="13711"/>
                  </a:lnTo>
                  <a:lnTo>
                    <a:pt x="9313" y="13666"/>
                  </a:lnTo>
                  <a:lnTo>
                    <a:pt x="12000" y="6923"/>
                  </a:lnTo>
                  <a:lnTo>
                    <a:pt x="12038" y="6948"/>
                  </a:lnTo>
                  <a:lnTo>
                    <a:pt x="12077" y="6970"/>
                  </a:lnTo>
                  <a:lnTo>
                    <a:pt x="12118" y="6993"/>
                  </a:lnTo>
                  <a:lnTo>
                    <a:pt x="12158" y="7012"/>
                  </a:lnTo>
                  <a:lnTo>
                    <a:pt x="12199" y="7031"/>
                  </a:lnTo>
                  <a:lnTo>
                    <a:pt x="12241" y="7047"/>
                  </a:lnTo>
                  <a:lnTo>
                    <a:pt x="12284" y="7063"/>
                  </a:lnTo>
                  <a:lnTo>
                    <a:pt x="12327" y="7076"/>
                  </a:lnTo>
                  <a:lnTo>
                    <a:pt x="12370" y="7088"/>
                  </a:lnTo>
                  <a:lnTo>
                    <a:pt x="12414" y="7099"/>
                  </a:lnTo>
                  <a:lnTo>
                    <a:pt x="12459" y="7109"/>
                  </a:lnTo>
                  <a:lnTo>
                    <a:pt x="12504" y="7116"/>
                  </a:lnTo>
                  <a:lnTo>
                    <a:pt x="12549" y="7122"/>
                  </a:lnTo>
                  <a:lnTo>
                    <a:pt x="12595" y="7126"/>
                  </a:lnTo>
                  <a:lnTo>
                    <a:pt x="12642" y="7129"/>
                  </a:lnTo>
                  <a:lnTo>
                    <a:pt x="12688" y="7130"/>
                  </a:lnTo>
                  <a:lnTo>
                    <a:pt x="12719" y="7129"/>
                  </a:lnTo>
                  <a:lnTo>
                    <a:pt x="12750" y="7128"/>
                  </a:lnTo>
                  <a:lnTo>
                    <a:pt x="12781" y="7126"/>
                  </a:lnTo>
                  <a:lnTo>
                    <a:pt x="12813" y="7123"/>
                  </a:lnTo>
                  <a:lnTo>
                    <a:pt x="12844" y="7120"/>
                  </a:lnTo>
                  <a:lnTo>
                    <a:pt x="12874" y="7116"/>
                  </a:lnTo>
                  <a:lnTo>
                    <a:pt x="12905" y="7111"/>
                  </a:lnTo>
                  <a:lnTo>
                    <a:pt x="12935" y="7105"/>
                  </a:lnTo>
                  <a:lnTo>
                    <a:pt x="12966" y="7098"/>
                  </a:lnTo>
                  <a:lnTo>
                    <a:pt x="12995" y="7091"/>
                  </a:lnTo>
                  <a:lnTo>
                    <a:pt x="13025" y="7083"/>
                  </a:lnTo>
                  <a:lnTo>
                    <a:pt x="13054" y="7075"/>
                  </a:lnTo>
                  <a:lnTo>
                    <a:pt x="13083" y="7066"/>
                  </a:lnTo>
                  <a:lnTo>
                    <a:pt x="13112" y="7056"/>
                  </a:lnTo>
                  <a:lnTo>
                    <a:pt x="13141" y="7045"/>
                  </a:lnTo>
                  <a:lnTo>
                    <a:pt x="13170" y="7034"/>
                  </a:lnTo>
                  <a:lnTo>
                    <a:pt x="13198" y="7022"/>
                  </a:lnTo>
                  <a:lnTo>
                    <a:pt x="13225" y="7009"/>
                  </a:lnTo>
                  <a:lnTo>
                    <a:pt x="13253" y="6996"/>
                  </a:lnTo>
                  <a:lnTo>
                    <a:pt x="13280" y="6981"/>
                  </a:lnTo>
                  <a:lnTo>
                    <a:pt x="13307" y="6966"/>
                  </a:lnTo>
                  <a:lnTo>
                    <a:pt x="13334" y="6950"/>
                  </a:lnTo>
                  <a:lnTo>
                    <a:pt x="13360" y="6934"/>
                  </a:lnTo>
                  <a:lnTo>
                    <a:pt x="13385" y="6918"/>
                  </a:lnTo>
                  <a:lnTo>
                    <a:pt x="13410" y="6900"/>
                  </a:lnTo>
                  <a:lnTo>
                    <a:pt x="13435" y="6882"/>
                  </a:lnTo>
                  <a:lnTo>
                    <a:pt x="13460" y="6863"/>
                  </a:lnTo>
                  <a:lnTo>
                    <a:pt x="13485" y="6843"/>
                  </a:lnTo>
                  <a:lnTo>
                    <a:pt x="13508" y="6823"/>
                  </a:lnTo>
                  <a:lnTo>
                    <a:pt x="13532" y="6803"/>
                  </a:lnTo>
                  <a:lnTo>
                    <a:pt x="13554" y="6781"/>
                  </a:lnTo>
                  <a:lnTo>
                    <a:pt x="13577" y="6759"/>
                  </a:lnTo>
                  <a:lnTo>
                    <a:pt x="14285" y="6050"/>
                  </a:lnTo>
                  <a:lnTo>
                    <a:pt x="14307" y="6028"/>
                  </a:lnTo>
                  <a:lnTo>
                    <a:pt x="14329" y="6005"/>
                  </a:lnTo>
                  <a:lnTo>
                    <a:pt x="14350" y="5980"/>
                  </a:lnTo>
                  <a:lnTo>
                    <a:pt x="14370" y="5957"/>
                  </a:lnTo>
                  <a:lnTo>
                    <a:pt x="14389" y="5932"/>
                  </a:lnTo>
                  <a:lnTo>
                    <a:pt x="14408" y="5908"/>
                  </a:lnTo>
                  <a:lnTo>
                    <a:pt x="14426" y="5883"/>
                  </a:lnTo>
                  <a:lnTo>
                    <a:pt x="14444" y="5857"/>
                  </a:lnTo>
                  <a:lnTo>
                    <a:pt x="14460" y="5831"/>
                  </a:lnTo>
                  <a:lnTo>
                    <a:pt x="14477" y="5805"/>
                  </a:lnTo>
                  <a:lnTo>
                    <a:pt x="14493" y="5778"/>
                  </a:lnTo>
                  <a:lnTo>
                    <a:pt x="14508" y="5751"/>
                  </a:lnTo>
                  <a:lnTo>
                    <a:pt x="14522" y="5724"/>
                  </a:lnTo>
                  <a:lnTo>
                    <a:pt x="14535" y="5696"/>
                  </a:lnTo>
                  <a:lnTo>
                    <a:pt x="14548" y="5668"/>
                  </a:lnTo>
                  <a:lnTo>
                    <a:pt x="14560" y="5640"/>
                  </a:lnTo>
                  <a:lnTo>
                    <a:pt x="14572" y="5611"/>
                  </a:lnTo>
                  <a:lnTo>
                    <a:pt x="14582" y="5583"/>
                  </a:lnTo>
                  <a:lnTo>
                    <a:pt x="14592" y="5554"/>
                  </a:lnTo>
                  <a:lnTo>
                    <a:pt x="14602" y="5525"/>
                  </a:lnTo>
                  <a:lnTo>
                    <a:pt x="14610" y="5494"/>
                  </a:lnTo>
                  <a:lnTo>
                    <a:pt x="14618" y="5465"/>
                  </a:lnTo>
                  <a:lnTo>
                    <a:pt x="14625" y="5435"/>
                  </a:lnTo>
                  <a:lnTo>
                    <a:pt x="14631" y="5405"/>
                  </a:lnTo>
                  <a:lnTo>
                    <a:pt x="14637" y="5373"/>
                  </a:lnTo>
                  <a:lnTo>
                    <a:pt x="14642" y="5343"/>
                  </a:lnTo>
                  <a:lnTo>
                    <a:pt x="14646" y="5312"/>
                  </a:lnTo>
                  <a:lnTo>
                    <a:pt x="14649" y="5282"/>
                  </a:lnTo>
                  <a:lnTo>
                    <a:pt x="14652" y="5250"/>
                  </a:lnTo>
                  <a:lnTo>
                    <a:pt x="14654" y="5219"/>
                  </a:lnTo>
                  <a:lnTo>
                    <a:pt x="14656" y="5187"/>
                  </a:lnTo>
                  <a:lnTo>
                    <a:pt x="14656" y="5156"/>
                  </a:lnTo>
                  <a:lnTo>
                    <a:pt x="14656" y="5124"/>
                  </a:lnTo>
                  <a:lnTo>
                    <a:pt x="14654" y="5092"/>
                  </a:lnTo>
                  <a:lnTo>
                    <a:pt x="14652" y="5061"/>
                  </a:lnTo>
                  <a:lnTo>
                    <a:pt x="14649" y="5030"/>
                  </a:lnTo>
                  <a:lnTo>
                    <a:pt x="14646" y="4999"/>
                  </a:lnTo>
                  <a:lnTo>
                    <a:pt x="14642" y="4968"/>
                  </a:lnTo>
                  <a:lnTo>
                    <a:pt x="14637" y="4938"/>
                  </a:lnTo>
                  <a:lnTo>
                    <a:pt x="14631" y="4908"/>
                  </a:lnTo>
                  <a:lnTo>
                    <a:pt x="14625" y="4877"/>
                  </a:lnTo>
                  <a:lnTo>
                    <a:pt x="14618" y="4847"/>
                  </a:lnTo>
                  <a:lnTo>
                    <a:pt x="14610" y="4817"/>
                  </a:lnTo>
                  <a:lnTo>
                    <a:pt x="14602" y="4788"/>
                  </a:lnTo>
                  <a:lnTo>
                    <a:pt x="14592" y="4758"/>
                  </a:lnTo>
                  <a:lnTo>
                    <a:pt x="14583" y="4729"/>
                  </a:lnTo>
                  <a:lnTo>
                    <a:pt x="14572" y="4701"/>
                  </a:lnTo>
                  <a:lnTo>
                    <a:pt x="14561" y="4672"/>
                  </a:lnTo>
                  <a:lnTo>
                    <a:pt x="14549" y="4643"/>
                  </a:lnTo>
                  <a:lnTo>
                    <a:pt x="14536" y="4616"/>
                  </a:lnTo>
                  <a:lnTo>
                    <a:pt x="14523" y="4589"/>
                  </a:lnTo>
                  <a:lnTo>
                    <a:pt x="14509" y="4562"/>
                  </a:lnTo>
                  <a:lnTo>
                    <a:pt x="14494" y="4534"/>
                  </a:lnTo>
                  <a:lnTo>
                    <a:pt x="14478" y="4508"/>
                  </a:lnTo>
                  <a:lnTo>
                    <a:pt x="14462" y="4482"/>
                  </a:lnTo>
                  <a:lnTo>
                    <a:pt x="14445" y="4456"/>
                  </a:lnTo>
                  <a:lnTo>
                    <a:pt x="14428" y="4431"/>
                  </a:lnTo>
                  <a:lnTo>
                    <a:pt x="14410" y="4405"/>
                  </a:lnTo>
                  <a:lnTo>
                    <a:pt x="14391" y="4381"/>
                  </a:lnTo>
                  <a:lnTo>
                    <a:pt x="14372" y="4357"/>
                  </a:lnTo>
                  <a:lnTo>
                    <a:pt x="14352" y="4333"/>
                  </a:lnTo>
                  <a:lnTo>
                    <a:pt x="14331" y="4310"/>
                  </a:lnTo>
                  <a:lnTo>
                    <a:pt x="14309" y="4287"/>
                  </a:lnTo>
                  <a:lnTo>
                    <a:pt x="14288" y="4265"/>
                  </a:lnTo>
                  <a:lnTo>
                    <a:pt x="10402" y="3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59" name="îšḻïḑè">
              <a:extLst>
                <a:ext uri="{FF2B5EF4-FFF2-40B4-BE49-F238E27FC236}">
                  <a16:creationId xmlns:a16="http://schemas.microsoft.com/office/drawing/2014/main" id="{55D881C8-03A9-4CDD-8D8A-529DBBA2B0E6}"/>
                </a:ext>
              </a:extLst>
            </p:cNvPr>
            <p:cNvSpPr/>
            <p:nvPr/>
          </p:nvSpPr>
          <p:spPr bwMode="auto">
            <a:xfrm>
              <a:off x="4365871" y="787981"/>
              <a:ext cx="95878" cy="95878"/>
            </a:xfrm>
            <a:custGeom>
              <a:avLst/>
              <a:gdLst>
                <a:gd name="T0" fmla="*/ 1409 w 2514"/>
                <a:gd name="T1" fmla="*/ 519 h 2521"/>
                <a:gd name="T2" fmla="*/ 1584 w 2514"/>
                <a:gd name="T3" fmla="*/ 579 h 2521"/>
                <a:gd name="T4" fmla="*/ 1737 w 2514"/>
                <a:gd name="T5" fmla="*/ 677 h 2521"/>
                <a:gd name="T6" fmla="*/ 1862 w 2514"/>
                <a:gd name="T7" fmla="*/ 808 h 2521"/>
                <a:gd name="T8" fmla="*/ 1952 w 2514"/>
                <a:gd name="T9" fmla="*/ 966 h 2521"/>
                <a:gd name="T10" fmla="*/ 2002 w 2514"/>
                <a:gd name="T11" fmla="*/ 1145 h 2521"/>
                <a:gd name="T12" fmla="*/ 2007 w 2514"/>
                <a:gd name="T13" fmla="*/ 1338 h 2521"/>
                <a:gd name="T14" fmla="*/ 1966 w 2514"/>
                <a:gd name="T15" fmla="*/ 1520 h 2521"/>
                <a:gd name="T16" fmla="*/ 1883 w 2514"/>
                <a:gd name="T17" fmla="*/ 1683 h 2521"/>
                <a:gd name="T18" fmla="*/ 1765 w 2514"/>
                <a:gd name="T19" fmla="*/ 1820 h 2521"/>
                <a:gd name="T20" fmla="*/ 1617 w 2514"/>
                <a:gd name="T21" fmla="*/ 1925 h 2521"/>
                <a:gd name="T22" fmla="*/ 1446 w 2514"/>
                <a:gd name="T23" fmla="*/ 1992 h 2521"/>
                <a:gd name="T24" fmla="*/ 1257 w 2514"/>
                <a:gd name="T25" fmla="*/ 2017 h 2521"/>
                <a:gd name="T26" fmla="*/ 1069 w 2514"/>
                <a:gd name="T27" fmla="*/ 1992 h 2521"/>
                <a:gd name="T28" fmla="*/ 897 w 2514"/>
                <a:gd name="T29" fmla="*/ 1925 h 2521"/>
                <a:gd name="T30" fmla="*/ 750 w 2514"/>
                <a:gd name="T31" fmla="*/ 1820 h 2521"/>
                <a:gd name="T32" fmla="*/ 631 w 2514"/>
                <a:gd name="T33" fmla="*/ 1683 h 2521"/>
                <a:gd name="T34" fmla="*/ 549 w 2514"/>
                <a:gd name="T35" fmla="*/ 1520 h 2521"/>
                <a:gd name="T36" fmla="*/ 507 w 2514"/>
                <a:gd name="T37" fmla="*/ 1338 h 2521"/>
                <a:gd name="T38" fmla="*/ 512 w 2514"/>
                <a:gd name="T39" fmla="*/ 1145 h 2521"/>
                <a:gd name="T40" fmla="*/ 562 w 2514"/>
                <a:gd name="T41" fmla="*/ 966 h 2521"/>
                <a:gd name="T42" fmla="*/ 652 w 2514"/>
                <a:gd name="T43" fmla="*/ 808 h 2521"/>
                <a:gd name="T44" fmla="*/ 777 w 2514"/>
                <a:gd name="T45" fmla="*/ 677 h 2521"/>
                <a:gd name="T46" fmla="*/ 930 w 2514"/>
                <a:gd name="T47" fmla="*/ 579 h 2521"/>
                <a:gd name="T48" fmla="*/ 1105 w 2514"/>
                <a:gd name="T49" fmla="*/ 519 h 2521"/>
                <a:gd name="T50" fmla="*/ 1257 w 2514"/>
                <a:gd name="T51" fmla="*/ 2521 h 2521"/>
                <a:gd name="T52" fmla="*/ 1571 w 2514"/>
                <a:gd name="T53" fmla="*/ 2481 h 2521"/>
                <a:gd name="T54" fmla="*/ 1856 w 2514"/>
                <a:gd name="T55" fmla="*/ 2368 h 2521"/>
                <a:gd name="T56" fmla="*/ 2102 w 2514"/>
                <a:gd name="T57" fmla="*/ 2193 h 2521"/>
                <a:gd name="T58" fmla="*/ 2299 w 2514"/>
                <a:gd name="T59" fmla="*/ 1964 h 2521"/>
                <a:gd name="T60" fmla="*/ 2438 w 2514"/>
                <a:gd name="T61" fmla="*/ 1693 h 2521"/>
                <a:gd name="T62" fmla="*/ 2508 w 2514"/>
                <a:gd name="T63" fmla="*/ 1389 h 2521"/>
                <a:gd name="T64" fmla="*/ 2500 w 2514"/>
                <a:gd name="T65" fmla="*/ 1069 h 2521"/>
                <a:gd name="T66" fmla="*/ 2416 w 2514"/>
                <a:gd name="T67" fmla="*/ 770 h 2521"/>
                <a:gd name="T68" fmla="*/ 2264 w 2514"/>
                <a:gd name="T69" fmla="*/ 506 h 2521"/>
                <a:gd name="T70" fmla="*/ 2057 w 2514"/>
                <a:gd name="T71" fmla="*/ 288 h 2521"/>
                <a:gd name="T72" fmla="*/ 1801 w 2514"/>
                <a:gd name="T73" fmla="*/ 124 h 2521"/>
                <a:gd name="T74" fmla="*/ 1510 w 2514"/>
                <a:gd name="T75" fmla="*/ 25 h 2521"/>
                <a:gd name="T76" fmla="*/ 1193 w 2514"/>
                <a:gd name="T77" fmla="*/ 2 h 2521"/>
                <a:gd name="T78" fmla="*/ 884 w 2514"/>
                <a:gd name="T79" fmla="*/ 56 h 2521"/>
                <a:gd name="T80" fmla="*/ 606 w 2514"/>
                <a:gd name="T81" fmla="*/ 182 h 2521"/>
                <a:gd name="T82" fmla="*/ 369 w 2514"/>
                <a:gd name="T83" fmla="*/ 369 h 2521"/>
                <a:gd name="T84" fmla="*/ 182 w 2514"/>
                <a:gd name="T85" fmla="*/ 607 h 2521"/>
                <a:gd name="T86" fmla="*/ 57 w 2514"/>
                <a:gd name="T87" fmla="*/ 886 h 2521"/>
                <a:gd name="T88" fmla="*/ 2 w 2514"/>
                <a:gd name="T89" fmla="*/ 1196 h 2521"/>
                <a:gd name="T90" fmla="*/ 26 w 2514"/>
                <a:gd name="T91" fmla="*/ 1514 h 2521"/>
                <a:gd name="T92" fmla="*/ 124 w 2514"/>
                <a:gd name="T93" fmla="*/ 1806 h 2521"/>
                <a:gd name="T94" fmla="*/ 287 w 2514"/>
                <a:gd name="T95" fmla="*/ 2062 h 2521"/>
                <a:gd name="T96" fmla="*/ 506 w 2514"/>
                <a:gd name="T97" fmla="*/ 2270 h 2521"/>
                <a:gd name="T98" fmla="*/ 768 w 2514"/>
                <a:gd name="T99" fmla="*/ 2422 h 2521"/>
                <a:gd name="T100" fmla="*/ 1066 w 2514"/>
                <a:gd name="T101" fmla="*/ 2507 h 2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14" h="2521">
                  <a:moveTo>
                    <a:pt x="1257" y="504"/>
                  </a:moveTo>
                  <a:lnTo>
                    <a:pt x="1296" y="505"/>
                  </a:lnTo>
                  <a:lnTo>
                    <a:pt x="1334" y="508"/>
                  </a:lnTo>
                  <a:lnTo>
                    <a:pt x="1372" y="513"/>
                  </a:lnTo>
                  <a:lnTo>
                    <a:pt x="1409" y="519"/>
                  </a:lnTo>
                  <a:lnTo>
                    <a:pt x="1446" y="528"/>
                  </a:lnTo>
                  <a:lnTo>
                    <a:pt x="1481" y="538"/>
                  </a:lnTo>
                  <a:lnTo>
                    <a:pt x="1517" y="551"/>
                  </a:lnTo>
                  <a:lnTo>
                    <a:pt x="1551" y="564"/>
                  </a:lnTo>
                  <a:lnTo>
                    <a:pt x="1584" y="579"/>
                  </a:lnTo>
                  <a:lnTo>
                    <a:pt x="1617" y="596"/>
                  </a:lnTo>
                  <a:lnTo>
                    <a:pt x="1648" y="614"/>
                  </a:lnTo>
                  <a:lnTo>
                    <a:pt x="1679" y="633"/>
                  </a:lnTo>
                  <a:lnTo>
                    <a:pt x="1709" y="654"/>
                  </a:lnTo>
                  <a:lnTo>
                    <a:pt x="1737" y="677"/>
                  </a:lnTo>
                  <a:lnTo>
                    <a:pt x="1765" y="701"/>
                  </a:lnTo>
                  <a:lnTo>
                    <a:pt x="1791" y="726"/>
                  </a:lnTo>
                  <a:lnTo>
                    <a:pt x="1815" y="752"/>
                  </a:lnTo>
                  <a:lnTo>
                    <a:pt x="1839" y="779"/>
                  </a:lnTo>
                  <a:lnTo>
                    <a:pt x="1862" y="808"/>
                  </a:lnTo>
                  <a:lnTo>
                    <a:pt x="1883" y="838"/>
                  </a:lnTo>
                  <a:lnTo>
                    <a:pt x="1903" y="868"/>
                  </a:lnTo>
                  <a:lnTo>
                    <a:pt x="1921" y="900"/>
                  </a:lnTo>
                  <a:lnTo>
                    <a:pt x="1937" y="933"/>
                  </a:lnTo>
                  <a:lnTo>
                    <a:pt x="1952" y="966"/>
                  </a:lnTo>
                  <a:lnTo>
                    <a:pt x="1966" y="1000"/>
                  </a:lnTo>
                  <a:lnTo>
                    <a:pt x="1977" y="1035"/>
                  </a:lnTo>
                  <a:lnTo>
                    <a:pt x="1988" y="1072"/>
                  </a:lnTo>
                  <a:lnTo>
                    <a:pt x="1996" y="1108"/>
                  </a:lnTo>
                  <a:lnTo>
                    <a:pt x="2002" y="1145"/>
                  </a:lnTo>
                  <a:lnTo>
                    <a:pt x="2007" y="1183"/>
                  </a:lnTo>
                  <a:lnTo>
                    <a:pt x="2010" y="1221"/>
                  </a:lnTo>
                  <a:lnTo>
                    <a:pt x="2011" y="1260"/>
                  </a:lnTo>
                  <a:lnTo>
                    <a:pt x="2010" y="1300"/>
                  </a:lnTo>
                  <a:lnTo>
                    <a:pt x="2007" y="1338"/>
                  </a:lnTo>
                  <a:lnTo>
                    <a:pt x="2002" y="1375"/>
                  </a:lnTo>
                  <a:lnTo>
                    <a:pt x="1996" y="1413"/>
                  </a:lnTo>
                  <a:lnTo>
                    <a:pt x="1988" y="1449"/>
                  </a:lnTo>
                  <a:lnTo>
                    <a:pt x="1977" y="1485"/>
                  </a:lnTo>
                  <a:lnTo>
                    <a:pt x="1966" y="1520"/>
                  </a:lnTo>
                  <a:lnTo>
                    <a:pt x="1952" y="1555"/>
                  </a:lnTo>
                  <a:lnTo>
                    <a:pt x="1937" y="1588"/>
                  </a:lnTo>
                  <a:lnTo>
                    <a:pt x="1921" y="1620"/>
                  </a:lnTo>
                  <a:lnTo>
                    <a:pt x="1903" y="1653"/>
                  </a:lnTo>
                  <a:lnTo>
                    <a:pt x="1883" y="1683"/>
                  </a:lnTo>
                  <a:lnTo>
                    <a:pt x="1862" y="1713"/>
                  </a:lnTo>
                  <a:lnTo>
                    <a:pt x="1839" y="1741"/>
                  </a:lnTo>
                  <a:lnTo>
                    <a:pt x="1815" y="1768"/>
                  </a:lnTo>
                  <a:lnTo>
                    <a:pt x="1791" y="1795"/>
                  </a:lnTo>
                  <a:lnTo>
                    <a:pt x="1765" y="1820"/>
                  </a:lnTo>
                  <a:lnTo>
                    <a:pt x="1737" y="1844"/>
                  </a:lnTo>
                  <a:lnTo>
                    <a:pt x="1709" y="1866"/>
                  </a:lnTo>
                  <a:lnTo>
                    <a:pt x="1679" y="1887"/>
                  </a:lnTo>
                  <a:lnTo>
                    <a:pt x="1648" y="1907"/>
                  </a:lnTo>
                  <a:lnTo>
                    <a:pt x="1617" y="1925"/>
                  </a:lnTo>
                  <a:lnTo>
                    <a:pt x="1584" y="1942"/>
                  </a:lnTo>
                  <a:lnTo>
                    <a:pt x="1551" y="1957"/>
                  </a:lnTo>
                  <a:lnTo>
                    <a:pt x="1517" y="1970"/>
                  </a:lnTo>
                  <a:lnTo>
                    <a:pt x="1481" y="1982"/>
                  </a:lnTo>
                  <a:lnTo>
                    <a:pt x="1446" y="1992"/>
                  </a:lnTo>
                  <a:lnTo>
                    <a:pt x="1409" y="2001"/>
                  </a:lnTo>
                  <a:lnTo>
                    <a:pt x="1372" y="2007"/>
                  </a:lnTo>
                  <a:lnTo>
                    <a:pt x="1334" y="2012"/>
                  </a:lnTo>
                  <a:lnTo>
                    <a:pt x="1296" y="2015"/>
                  </a:lnTo>
                  <a:lnTo>
                    <a:pt x="1257" y="2017"/>
                  </a:lnTo>
                  <a:lnTo>
                    <a:pt x="1219" y="2015"/>
                  </a:lnTo>
                  <a:lnTo>
                    <a:pt x="1180" y="2012"/>
                  </a:lnTo>
                  <a:lnTo>
                    <a:pt x="1142" y="2007"/>
                  </a:lnTo>
                  <a:lnTo>
                    <a:pt x="1105" y="2001"/>
                  </a:lnTo>
                  <a:lnTo>
                    <a:pt x="1069" y="1992"/>
                  </a:lnTo>
                  <a:lnTo>
                    <a:pt x="1033" y="1982"/>
                  </a:lnTo>
                  <a:lnTo>
                    <a:pt x="997" y="1970"/>
                  </a:lnTo>
                  <a:lnTo>
                    <a:pt x="963" y="1957"/>
                  </a:lnTo>
                  <a:lnTo>
                    <a:pt x="930" y="1942"/>
                  </a:lnTo>
                  <a:lnTo>
                    <a:pt x="897" y="1925"/>
                  </a:lnTo>
                  <a:lnTo>
                    <a:pt x="866" y="1907"/>
                  </a:lnTo>
                  <a:lnTo>
                    <a:pt x="835" y="1887"/>
                  </a:lnTo>
                  <a:lnTo>
                    <a:pt x="805" y="1866"/>
                  </a:lnTo>
                  <a:lnTo>
                    <a:pt x="777" y="1844"/>
                  </a:lnTo>
                  <a:lnTo>
                    <a:pt x="750" y="1820"/>
                  </a:lnTo>
                  <a:lnTo>
                    <a:pt x="724" y="1795"/>
                  </a:lnTo>
                  <a:lnTo>
                    <a:pt x="699" y="1768"/>
                  </a:lnTo>
                  <a:lnTo>
                    <a:pt x="675" y="1741"/>
                  </a:lnTo>
                  <a:lnTo>
                    <a:pt x="652" y="1713"/>
                  </a:lnTo>
                  <a:lnTo>
                    <a:pt x="631" y="1683"/>
                  </a:lnTo>
                  <a:lnTo>
                    <a:pt x="612" y="1653"/>
                  </a:lnTo>
                  <a:lnTo>
                    <a:pt x="594" y="1620"/>
                  </a:lnTo>
                  <a:lnTo>
                    <a:pt x="577" y="1588"/>
                  </a:lnTo>
                  <a:lnTo>
                    <a:pt x="562" y="1555"/>
                  </a:lnTo>
                  <a:lnTo>
                    <a:pt x="549" y="1520"/>
                  </a:lnTo>
                  <a:lnTo>
                    <a:pt x="537" y="1485"/>
                  </a:lnTo>
                  <a:lnTo>
                    <a:pt x="527" y="1449"/>
                  </a:lnTo>
                  <a:lnTo>
                    <a:pt x="518" y="1413"/>
                  </a:lnTo>
                  <a:lnTo>
                    <a:pt x="512" y="1375"/>
                  </a:lnTo>
                  <a:lnTo>
                    <a:pt x="507" y="1338"/>
                  </a:lnTo>
                  <a:lnTo>
                    <a:pt x="504" y="1300"/>
                  </a:lnTo>
                  <a:lnTo>
                    <a:pt x="503" y="1260"/>
                  </a:lnTo>
                  <a:lnTo>
                    <a:pt x="504" y="1221"/>
                  </a:lnTo>
                  <a:lnTo>
                    <a:pt x="507" y="1183"/>
                  </a:lnTo>
                  <a:lnTo>
                    <a:pt x="512" y="1145"/>
                  </a:lnTo>
                  <a:lnTo>
                    <a:pt x="518" y="1108"/>
                  </a:lnTo>
                  <a:lnTo>
                    <a:pt x="527" y="1072"/>
                  </a:lnTo>
                  <a:lnTo>
                    <a:pt x="537" y="1035"/>
                  </a:lnTo>
                  <a:lnTo>
                    <a:pt x="549" y="1000"/>
                  </a:lnTo>
                  <a:lnTo>
                    <a:pt x="562" y="966"/>
                  </a:lnTo>
                  <a:lnTo>
                    <a:pt x="577" y="933"/>
                  </a:lnTo>
                  <a:lnTo>
                    <a:pt x="594" y="900"/>
                  </a:lnTo>
                  <a:lnTo>
                    <a:pt x="612" y="868"/>
                  </a:lnTo>
                  <a:lnTo>
                    <a:pt x="631" y="838"/>
                  </a:lnTo>
                  <a:lnTo>
                    <a:pt x="652" y="808"/>
                  </a:lnTo>
                  <a:lnTo>
                    <a:pt x="675" y="779"/>
                  </a:lnTo>
                  <a:lnTo>
                    <a:pt x="699" y="752"/>
                  </a:lnTo>
                  <a:lnTo>
                    <a:pt x="724" y="726"/>
                  </a:lnTo>
                  <a:lnTo>
                    <a:pt x="750" y="701"/>
                  </a:lnTo>
                  <a:lnTo>
                    <a:pt x="777" y="677"/>
                  </a:lnTo>
                  <a:lnTo>
                    <a:pt x="805" y="654"/>
                  </a:lnTo>
                  <a:lnTo>
                    <a:pt x="835" y="633"/>
                  </a:lnTo>
                  <a:lnTo>
                    <a:pt x="866" y="614"/>
                  </a:lnTo>
                  <a:lnTo>
                    <a:pt x="897" y="596"/>
                  </a:lnTo>
                  <a:lnTo>
                    <a:pt x="930" y="579"/>
                  </a:lnTo>
                  <a:lnTo>
                    <a:pt x="963" y="564"/>
                  </a:lnTo>
                  <a:lnTo>
                    <a:pt x="997" y="551"/>
                  </a:lnTo>
                  <a:lnTo>
                    <a:pt x="1033" y="538"/>
                  </a:lnTo>
                  <a:lnTo>
                    <a:pt x="1069" y="528"/>
                  </a:lnTo>
                  <a:lnTo>
                    <a:pt x="1105" y="519"/>
                  </a:lnTo>
                  <a:lnTo>
                    <a:pt x="1142" y="513"/>
                  </a:lnTo>
                  <a:lnTo>
                    <a:pt x="1180" y="508"/>
                  </a:lnTo>
                  <a:lnTo>
                    <a:pt x="1219" y="505"/>
                  </a:lnTo>
                  <a:lnTo>
                    <a:pt x="1257" y="504"/>
                  </a:lnTo>
                  <a:close/>
                  <a:moveTo>
                    <a:pt x="1257" y="2521"/>
                  </a:moveTo>
                  <a:lnTo>
                    <a:pt x="1321" y="2519"/>
                  </a:lnTo>
                  <a:lnTo>
                    <a:pt x="1386" y="2515"/>
                  </a:lnTo>
                  <a:lnTo>
                    <a:pt x="1448" y="2507"/>
                  </a:lnTo>
                  <a:lnTo>
                    <a:pt x="1510" y="2495"/>
                  </a:lnTo>
                  <a:lnTo>
                    <a:pt x="1571" y="2481"/>
                  </a:lnTo>
                  <a:lnTo>
                    <a:pt x="1630" y="2464"/>
                  </a:lnTo>
                  <a:lnTo>
                    <a:pt x="1689" y="2444"/>
                  </a:lnTo>
                  <a:lnTo>
                    <a:pt x="1746" y="2422"/>
                  </a:lnTo>
                  <a:lnTo>
                    <a:pt x="1801" y="2396"/>
                  </a:lnTo>
                  <a:lnTo>
                    <a:pt x="1856" y="2368"/>
                  </a:lnTo>
                  <a:lnTo>
                    <a:pt x="1909" y="2338"/>
                  </a:lnTo>
                  <a:lnTo>
                    <a:pt x="1959" y="2305"/>
                  </a:lnTo>
                  <a:lnTo>
                    <a:pt x="2008" y="2270"/>
                  </a:lnTo>
                  <a:lnTo>
                    <a:pt x="2057" y="2232"/>
                  </a:lnTo>
                  <a:lnTo>
                    <a:pt x="2102" y="2193"/>
                  </a:lnTo>
                  <a:lnTo>
                    <a:pt x="2145" y="2151"/>
                  </a:lnTo>
                  <a:lnTo>
                    <a:pt x="2187" y="2107"/>
                  </a:lnTo>
                  <a:lnTo>
                    <a:pt x="2227" y="2062"/>
                  </a:lnTo>
                  <a:lnTo>
                    <a:pt x="2264" y="2013"/>
                  </a:lnTo>
                  <a:lnTo>
                    <a:pt x="2299" y="1964"/>
                  </a:lnTo>
                  <a:lnTo>
                    <a:pt x="2332" y="1914"/>
                  </a:lnTo>
                  <a:lnTo>
                    <a:pt x="2363" y="1860"/>
                  </a:lnTo>
                  <a:lnTo>
                    <a:pt x="2391" y="1806"/>
                  </a:lnTo>
                  <a:lnTo>
                    <a:pt x="2416" y="1750"/>
                  </a:lnTo>
                  <a:lnTo>
                    <a:pt x="2438" y="1693"/>
                  </a:lnTo>
                  <a:lnTo>
                    <a:pt x="2458" y="1634"/>
                  </a:lnTo>
                  <a:lnTo>
                    <a:pt x="2475" y="1575"/>
                  </a:lnTo>
                  <a:lnTo>
                    <a:pt x="2489" y="1514"/>
                  </a:lnTo>
                  <a:lnTo>
                    <a:pt x="2500" y="1452"/>
                  </a:lnTo>
                  <a:lnTo>
                    <a:pt x="2508" y="1389"/>
                  </a:lnTo>
                  <a:lnTo>
                    <a:pt x="2512" y="1325"/>
                  </a:lnTo>
                  <a:lnTo>
                    <a:pt x="2514" y="1260"/>
                  </a:lnTo>
                  <a:lnTo>
                    <a:pt x="2512" y="1196"/>
                  </a:lnTo>
                  <a:lnTo>
                    <a:pt x="2508" y="1131"/>
                  </a:lnTo>
                  <a:lnTo>
                    <a:pt x="2500" y="1069"/>
                  </a:lnTo>
                  <a:lnTo>
                    <a:pt x="2489" y="1006"/>
                  </a:lnTo>
                  <a:lnTo>
                    <a:pt x="2475" y="946"/>
                  </a:lnTo>
                  <a:lnTo>
                    <a:pt x="2458" y="886"/>
                  </a:lnTo>
                  <a:lnTo>
                    <a:pt x="2438" y="828"/>
                  </a:lnTo>
                  <a:lnTo>
                    <a:pt x="2416" y="770"/>
                  </a:lnTo>
                  <a:lnTo>
                    <a:pt x="2391" y="714"/>
                  </a:lnTo>
                  <a:lnTo>
                    <a:pt x="2363" y="659"/>
                  </a:lnTo>
                  <a:lnTo>
                    <a:pt x="2332" y="607"/>
                  </a:lnTo>
                  <a:lnTo>
                    <a:pt x="2299" y="556"/>
                  </a:lnTo>
                  <a:lnTo>
                    <a:pt x="2264" y="506"/>
                  </a:lnTo>
                  <a:lnTo>
                    <a:pt x="2227" y="459"/>
                  </a:lnTo>
                  <a:lnTo>
                    <a:pt x="2187" y="413"/>
                  </a:lnTo>
                  <a:lnTo>
                    <a:pt x="2145" y="369"/>
                  </a:lnTo>
                  <a:lnTo>
                    <a:pt x="2102" y="328"/>
                  </a:lnTo>
                  <a:lnTo>
                    <a:pt x="2057" y="288"/>
                  </a:lnTo>
                  <a:lnTo>
                    <a:pt x="2008" y="251"/>
                  </a:lnTo>
                  <a:lnTo>
                    <a:pt x="1959" y="216"/>
                  </a:lnTo>
                  <a:lnTo>
                    <a:pt x="1909" y="182"/>
                  </a:lnTo>
                  <a:lnTo>
                    <a:pt x="1856" y="152"/>
                  </a:lnTo>
                  <a:lnTo>
                    <a:pt x="1801" y="124"/>
                  </a:lnTo>
                  <a:lnTo>
                    <a:pt x="1746" y="99"/>
                  </a:lnTo>
                  <a:lnTo>
                    <a:pt x="1689" y="77"/>
                  </a:lnTo>
                  <a:lnTo>
                    <a:pt x="1630" y="56"/>
                  </a:lnTo>
                  <a:lnTo>
                    <a:pt x="1571" y="39"/>
                  </a:lnTo>
                  <a:lnTo>
                    <a:pt x="1510" y="25"/>
                  </a:lnTo>
                  <a:lnTo>
                    <a:pt x="1448" y="14"/>
                  </a:lnTo>
                  <a:lnTo>
                    <a:pt x="1386" y="6"/>
                  </a:lnTo>
                  <a:lnTo>
                    <a:pt x="1321" y="2"/>
                  </a:lnTo>
                  <a:lnTo>
                    <a:pt x="1257" y="0"/>
                  </a:lnTo>
                  <a:lnTo>
                    <a:pt x="1193" y="2"/>
                  </a:lnTo>
                  <a:lnTo>
                    <a:pt x="1129" y="6"/>
                  </a:lnTo>
                  <a:lnTo>
                    <a:pt x="1066" y="14"/>
                  </a:lnTo>
                  <a:lnTo>
                    <a:pt x="1004" y="25"/>
                  </a:lnTo>
                  <a:lnTo>
                    <a:pt x="943" y="39"/>
                  </a:lnTo>
                  <a:lnTo>
                    <a:pt x="884" y="56"/>
                  </a:lnTo>
                  <a:lnTo>
                    <a:pt x="825" y="77"/>
                  </a:lnTo>
                  <a:lnTo>
                    <a:pt x="768" y="99"/>
                  </a:lnTo>
                  <a:lnTo>
                    <a:pt x="713" y="124"/>
                  </a:lnTo>
                  <a:lnTo>
                    <a:pt x="658" y="152"/>
                  </a:lnTo>
                  <a:lnTo>
                    <a:pt x="606" y="182"/>
                  </a:lnTo>
                  <a:lnTo>
                    <a:pt x="555" y="216"/>
                  </a:lnTo>
                  <a:lnTo>
                    <a:pt x="506" y="251"/>
                  </a:lnTo>
                  <a:lnTo>
                    <a:pt x="458" y="288"/>
                  </a:lnTo>
                  <a:lnTo>
                    <a:pt x="412" y="328"/>
                  </a:lnTo>
                  <a:lnTo>
                    <a:pt x="369" y="369"/>
                  </a:lnTo>
                  <a:lnTo>
                    <a:pt x="326" y="413"/>
                  </a:lnTo>
                  <a:lnTo>
                    <a:pt x="287" y="459"/>
                  </a:lnTo>
                  <a:lnTo>
                    <a:pt x="250" y="506"/>
                  </a:lnTo>
                  <a:lnTo>
                    <a:pt x="215" y="556"/>
                  </a:lnTo>
                  <a:lnTo>
                    <a:pt x="182" y="607"/>
                  </a:lnTo>
                  <a:lnTo>
                    <a:pt x="151" y="659"/>
                  </a:lnTo>
                  <a:lnTo>
                    <a:pt x="124" y="714"/>
                  </a:lnTo>
                  <a:lnTo>
                    <a:pt x="99" y="770"/>
                  </a:lnTo>
                  <a:lnTo>
                    <a:pt x="76" y="828"/>
                  </a:lnTo>
                  <a:lnTo>
                    <a:pt x="57" y="886"/>
                  </a:lnTo>
                  <a:lnTo>
                    <a:pt x="40" y="946"/>
                  </a:lnTo>
                  <a:lnTo>
                    <a:pt x="26" y="1006"/>
                  </a:lnTo>
                  <a:lnTo>
                    <a:pt x="15" y="1069"/>
                  </a:lnTo>
                  <a:lnTo>
                    <a:pt x="7" y="1131"/>
                  </a:lnTo>
                  <a:lnTo>
                    <a:pt x="2" y="1196"/>
                  </a:lnTo>
                  <a:lnTo>
                    <a:pt x="0" y="1260"/>
                  </a:lnTo>
                  <a:lnTo>
                    <a:pt x="2" y="1325"/>
                  </a:lnTo>
                  <a:lnTo>
                    <a:pt x="7" y="1389"/>
                  </a:lnTo>
                  <a:lnTo>
                    <a:pt x="15" y="1452"/>
                  </a:lnTo>
                  <a:lnTo>
                    <a:pt x="26" y="1514"/>
                  </a:lnTo>
                  <a:lnTo>
                    <a:pt x="40" y="1575"/>
                  </a:lnTo>
                  <a:lnTo>
                    <a:pt x="57" y="1634"/>
                  </a:lnTo>
                  <a:lnTo>
                    <a:pt x="76" y="1693"/>
                  </a:lnTo>
                  <a:lnTo>
                    <a:pt x="99" y="1750"/>
                  </a:lnTo>
                  <a:lnTo>
                    <a:pt x="124" y="1806"/>
                  </a:lnTo>
                  <a:lnTo>
                    <a:pt x="151" y="1860"/>
                  </a:lnTo>
                  <a:lnTo>
                    <a:pt x="182" y="1914"/>
                  </a:lnTo>
                  <a:lnTo>
                    <a:pt x="215" y="1964"/>
                  </a:lnTo>
                  <a:lnTo>
                    <a:pt x="250" y="2013"/>
                  </a:lnTo>
                  <a:lnTo>
                    <a:pt x="287" y="2062"/>
                  </a:lnTo>
                  <a:lnTo>
                    <a:pt x="326" y="2107"/>
                  </a:lnTo>
                  <a:lnTo>
                    <a:pt x="369" y="2151"/>
                  </a:lnTo>
                  <a:lnTo>
                    <a:pt x="412" y="2193"/>
                  </a:lnTo>
                  <a:lnTo>
                    <a:pt x="458" y="2232"/>
                  </a:lnTo>
                  <a:lnTo>
                    <a:pt x="506" y="2270"/>
                  </a:lnTo>
                  <a:lnTo>
                    <a:pt x="555" y="2305"/>
                  </a:lnTo>
                  <a:lnTo>
                    <a:pt x="606" y="2338"/>
                  </a:lnTo>
                  <a:lnTo>
                    <a:pt x="658" y="2368"/>
                  </a:lnTo>
                  <a:lnTo>
                    <a:pt x="713" y="2396"/>
                  </a:lnTo>
                  <a:lnTo>
                    <a:pt x="768" y="2422"/>
                  </a:lnTo>
                  <a:lnTo>
                    <a:pt x="825" y="2444"/>
                  </a:lnTo>
                  <a:lnTo>
                    <a:pt x="884" y="2464"/>
                  </a:lnTo>
                  <a:lnTo>
                    <a:pt x="943" y="2481"/>
                  </a:lnTo>
                  <a:lnTo>
                    <a:pt x="1004" y="2495"/>
                  </a:lnTo>
                  <a:lnTo>
                    <a:pt x="1066" y="2507"/>
                  </a:lnTo>
                  <a:lnTo>
                    <a:pt x="1129" y="2515"/>
                  </a:lnTo>
                  <a:lnTo>
                    <a:pt x="1193" y="2519"/>
                  </a:lnTo>
                  <a:lnTo>
                    <a:pt x="1257" y="25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60" name="ïṡ1íďe">
              <a:extLst>
                <a:ext uri="{FF2B5EF4-FFF2-40B4-BE49-F238E27FC236}">
                  <a16:creationId xmlns:a16="http://schemas.microsoft.com/office/drawing/2014/main" id="{AAE310D4-267B-4F67-A970-C4A09A8D1AFC}"/>
                </a:ext>
              </a:extLst>
            </p:cNvPr>
            <p:cNvSpPr/>
            <p:nvPr/>
          </p:nvSpPr>
          <p:spPr bwMode="auto">
            <a:xfrm>
              <a:off x="4615437" y="480607"/>
              <a:ext cx="95878" cy="95878"/>
            </a:xfrm>
            <a:custGeom>
              <a:avLst/>
              <a:gdLst>
                <a:gd name="T0" fmla="*/ 1106 w 2515"/>
                <a:gd name="T1" fmla="*/ 2001 h 2521"/>
                <a:gd name="T2" fmla="*/ 931 w 2515"/>
                <a:gd name="T3" fmla="*/ 1942 h 2521"/>
                <a:gd name="T4" fmla="*/ 778 w 2515"/>
                <a:gd name="T5" fmla="*/ 1844 h 2521"/>
                <a:gd name="T6" fmla="*/ 653 w 2515"/>
                <a:gd name="T7" fmla="*/ 1713 h 2521"/>
                <a:gd name="T8" fmla="*/ 562 w 2515"/>
                <a:gd name="T9" fmla="*/ 1555 h 2521"/>
                <a:gd name="T10" fmla="*/ 512 w 2515"/>
                <a:gd name="T11" fmla="*/ 1375 h 2521"/>
                <a:gd name="T12" fmla="*/ 507 w 2515"/>
                <a:gd name="T13" fmla="*/ 1183 h 2521"/>
                <a:gd name="T14" fmla="*/ 548 w 2515"/>
                <a:gd name="T15" fmla="*/ 1000 h 2521"/>
                <a:gd name="T16" fmla="*/ 632 w 2515"/>
                <a:gd name="T17" fmla="*/ 838 h 2521"/>
                <a:gd name="T18" fmla="*/ 751 w 2515"/>
                <a:gd name="T19" fmla="*/ 701 h 2521"/>
                <a:gd name="T20" fmla="*/ 897 w 2515"/>
                <a:gd name="T21" fmla="*/ 596 h 2521"/>
                <a:gd name="T22" fmla="*/ 1068 w 2515"/>
                <a:gd name="T23" fmla="*/ 528 h 2521"/>
                <a:gd name="T24" fmla="*/ 1258 w 2515"/>
                <a:gd name="T25" fmla="*/ 504 h 2521"/>
                <a:gd name="T26" fmla="*/ 1447 w 2515"/>
                <a:gd name="T27" fmla="*/ 528 h 2521"/>
                <a:gd name="T28" fmla="*/ 1618 w 2515"/>
                <a:gd name="T29" fmla="*/ 596 h 2521"/>
                <a:gd name="T30" fmla="*/ 1765 w 2515"/>
                <a:gd name="T31" fmla="*/ 701 h 2521"/>
                <a:gd name="T32" fmla="*/ 1883 w 2515"/>
                <a:gd name="T33" fmla="*/ 838 h 2521"/>
                <a:gd name="T34" fmla="*/ 1967 w 2515"/>
                <a:gd name="T35" fmla="*/ 1000 h 2521"/>
                <a:gd name="T36" fmla="*/ 2008 w 2515"/>
                <a:gd name="T37" fmla="*/ 1183 h 2521"/>
                <a:gd name="T38" fmla="*/ 2003 w 2515"/>
                <a:gd name="T39" fmla="*/ 1375 h 2521"/>
                <a:gd name="T40" fmla="*/ 1953 w 2515"/>
                <a:gd name="T41" fmla="*/ 1555 h 2521"/>
                <a:gd name="T42" fmla="*/ 1862 w 2515"/>
                <a:gd name="T43" fmla="*/ 1713 h 2521"/>
                <a:gd name="T44" fmla="*/ 1737 w 2515"/>
                <a:gd name="T45" fmla="*/ 1844 h 2521"/>
                <a:gd name="T46" fmla="*/ 1585 w 2515"/>
                <a:gd name="T47" fmla="*/ 1942 h 2521"/>
                <a:gd name="T48" fmla="*/ 1409 w 2515"/>
                <a:gd name="T49" fmla="*/ 2001 h 2521"/>
                <a:gd name="T50" fmla="*/ 1258 w 2515"/>
                <a:gd name="T51" fmla="*/ 0 h 2521"/>
                <a:gd name="T52" fmla="*/ 944 w 2515"/>
                <a:gd name="T53" fmla="*/ 39 h 2521"/>
                <a:gd name="T54" fmla="*/ 659 w 2515"/>
                <a:gd name="T55" fmla="*/ 152 h 2521"/>
                <a:gd name="T56" fmla="*/ 413 w 2515"/>
                <a:gd name="T57" fmla="*/ 328 h 2521"/>
                <a:gd name="T58" fmla="*/ 215 w 2515"/>
                <a:gd name="T59" fmla="*/ 556 h 2521"/>
                <a:gd name="T60" fmla="*/ 77 w 2515"/>
                <a:gd name="T61" fmla="*/ 827 h 2521"/>
                <a:gd name="T62" fmla="*/ 7 w 2515"/>
                <a:gd name="T63" fmla="*/ 1131 h 2521"/>
                <a:gd name="T64" fmla="*/ 14 w 2515"/>
                <a:gd name="T65" fmla="*/ 1452 h 2521"/>
                <a:gd name="T66" fmla="*/ 99 w 2515"/>
                <a:gd name="T67" fmla="*/ 1750 h 2521"/>
                <a:gd name="T68" fmla="*/ 251 w 2515"/>
                <a:gd name="T69" fmla="*/ 2014 h 2521"/>
                <a:gd name="T70" fmla="*/ 458 w 2515"/>
                <a:gd name="T71" fmla="*/ 2232 h 2521"/>
                <a:gd name="T72" fmla="*/ 713 w 2515"/>
                <a:gd name="T73" fmla="*/ 2397 h 2521"/>
                <a:gd name="T74" fmla="*/ 1004 w 2515"/>
                <a:gd name="T75" fmla="*/ 2495 h 2521"/>
                <a:gd name="T76" fmla="*/ 1322 w 2515"/>
                <a:gd name="T77" fmla="*/ 2519 h 2521"/>
                <a:gd name="T78" fmla="*/ 1631 w 2515"/>
                <a:gd name="T79" fmla="*/ 2464 h 2521"/>
                <a:gd name="T80" fmla="*/ 1908 w 2515"/>
                <a:gd name="T81" fmla="*/ 2338 h 2521"/>
                <a:gd name="T82" fmla="*/ 2146 w 2515"/>
                <a:gd name="T83" fmla="*/ 2152 h 2521"/>
                <a:gd name="T84" fmla="*/ 2333 w 2515"/>
                <a:gd name="T85" fmla="*/ 1914 h 2521"/>
                <a:gd name="T86" fmla="*/ 2459 w 2515"/>
                <a:gd name="T87" fmla="*/ 1634 h 2521"/>
                <a:gd name="T88" fmla="*/ 2513 w 2515"/>
                <a:gd name="T89" fmla="*/ 1325 h 2521"/>
                <a:gd name="T90" fmla="*/ 2490 w 2515"/>
                <a:gd name="T91" fmla="*/ 1006 h 2521"/>
                <a:gd name="T92" fmla="*/ 2390 w 2515"/>
                <a:gd name="T93" fmla="*/ 714 h 2521"/>
                <a:gd name="T94" fmla="*/ 2227 w 2515"/>
                <a:gd name="T95" fmla="*/ 459 h 2521"/>
                <a:gd name="T96" fmla="*/ 2009 w 2515"/>
                <a:gd name="T97" fmla="*/ 251 h 2521"/>
                <a:gd name="T98" fmla="*/ 1746 w 2515"/>
                <a:gd name="T99" fmla="*/ 99 h 2521"/>
                <a:gd name="T100" fmla="*/ 1449 w 2515"/>
                <a:gd name="T101" fmla="*/ 14 h 2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15" h="2521">
                  <a:moveTo>
                    <a:pt x="1258" y="2017"/>
                  </a:moveTo>
                  <a:lnTo>
                    <a:pt x="1218" y="2015"/>
                  </a:lnTo>
                  <a:lnTo>
                    <a:pt x="1180" y="2012"/>
                  </a:lnTo>
                  <a:lnTo>
                    <a:pt x="1143" y="2007"/>
                  </a:lnTo>
                  <a:lnTo>
                    <a:pt x="1106" y="2001"/>
                  </a:lnTo>
                  <a:lnTo>
                    <a:pt x="1068" y="1992"/>
                  </a:lnTo>
                  <a:lnTo>
                    <a:pt x="1033" y="1982"/>
                  </a:lnTo>
                  <a:lnTo>
                    <a:pt x="998" y="1970"/>
                  </a:lnTo>
                  <a:lnTo>
                    <a:pt x="964" y="1957"/>
                  </a:lnTo>
                  <a:lnTo>
                    <a:pt x="931" y="1942"/>
                  </a:lnTo>
                  <a:lnTo>
                    <a:pt x="897" y="1925"/>
                  </a:lnTo>
                  <a:lnTo>
                    <a:pt x="866" y="1907"/>
                  </a:lnTo>
                  <a:lnTo>
                    <a:pt x="836" y="1887"/>
                  </a:lnTo>
                  <a:lnTo>
                    <a:pt x="806" y="1866"/>
                  </a:lnTo>
                  <a:lnTo>
                    <a:pt x="778" y="1844"/>
                  </a:lnTo>
                  <a:lnTo>
                    <a:pt x="751" y="1820"/>
                  </a:lnTo>
                  <a:lnTo>
                    <a:pt x="723" y="1795"/>
                  </a:lnTo>
                  <a:lnTo>
                    <a:pt x="699" y="1768"/>
                  </a:lnTo>
                  <a:lnTo>
                    <a:pt x="675" y="1741"/>
                  </a:lnTo>
                  <a:lnTo>
                    <a:pt x="653" y="1713"/>
                  </a:lnTo>
                  <a:lnTo>
                    <a:pt x="632" y="1683"/>
                  </a:lnTo>
                  <a:lnTo>
                    <a:pt x="612" y="1653"/>
                  </a:lnTo>
                  <a:lnTo>
                    <a:pt x="594" y="1620"/>
                  </a:lnTo>
                  <a:lnTo>
                    <a:pt x="578" y="1588"/>
                  </a:lnTo>
                  <a:lnTo>
                    <a:pt x="562" y="1555"/>
                  </a:lnTo>
                  <a:lnTo>
                    <a:pt x="548" y="1520"/>
                  </a:lnTo>
                  <a:lnTo>
                    <a:pt x="537" y="1485"/>
                  </a:lnTo>
                  <a:lnTo>
                    <a:pt x="527" y="1449"/>
                  </a:lnTo>
                  <a:lnTo>
                    <a:pt x="518" y="1413"/>
                  </a:lnTo>
                  <a:lnTo>
                    <a:pt x="512" y="1375"/>
                  </a:lnTo>
                  <a:lnTo>
                    <a:pt x="507" y="1338"/>
                  </a:lnTo>
                  <a:lnTo>
                    <a:pt x="504" y="1299"/>
                  </a:lnTo>
                  <a:lnTo>
                    <a:pt x="503" y="1260"/>
                  </a:lnTo>
                  <a:lnTo>
                    <a:pt x="504" y="1221"/>
                  </a:lnTo>
                  <a:lnTo>
                    <a:pt x="507" y="1183"/>
                  </a:lnTo>
                  <a:lnTo>
                    <a:pt x="512" y="1145"/>
                  </a:lnTo>
                  <a:lnTo>
                    <a:pt x="518" y="1108"/>
                  </a:lnTo>
                  <a:lnTo>
                    <a:pt x="527" y="1072"/>
                  </a:lnTo>
                  <a:lnTo>
                    <a:pt x="537" y="1035"/>
                  </a:lnTo>
                  <a:lnTo>
                    <a:pt x="548" y="1000"/>
                  </a:lnTo>
                  <a:lnTo>
                    <a:pt x="562" y="966"/>
                  </a:lnTo>
                  <a:lnTo>
                    <a:pt x="578" y="933"/>
                  </a:lnTo>
                  <a:lnTo>
                    <a:pt x="594" y="900"/>
                  </a:lnTo>
                  <a:lnTo>
                    <a:pt x="612" y="868"/>
                  </a:lnTo>
                  <a:lnTo>
                    <a:pt x="632" y="838"/>
                  </a:lnTo>
                  <a:lnTo>
                    <a:pt x="653" y="808"/>
                  </a:lnTo>
                  <a:lnTo>
                    <a:pt x="675" y="779"/>
                  </a:lnTo>
                  <a:lnTo>
                    <a:pt x="699" y="752"/>
                  </a:lnTo>
                  <a:lnTo>
                    <a:pt x="723" y="726"/>
                  </a:lnTo>
                  <a:lnTo>
                    <a:pt x="751" y="701"/>
                  </a:lnTo>
                  <a:lnTo>
                    <a:pt x="778" y="677"/>
                  </a:lnTo>
                  <a:lnTo>
                    <a:pt x="806" y="654"/>
                  </a:lnTo>
                  <a:lnTo>
                    <a:pt x="836" y="633"/>
                  </a:lnTo>
                  <a:lnTo>
                    <a:pt x="866" y="614"/>
                  </a:lnTo>
                  <a:lnTo>
                    <a:pt x="897" y="596"/>
                  </a:lnTo>
                  <a:lnTo>
                    <a:pt x="931" y="579"/>
                  </a:lnTo>
                  <a:lnTo>
                    <a:pt x="964" y="564"/>
                  </a:lnTo>
                  <a:lnTo>
                    <a:pt x="998" y="549"/>
                  </a:lnTo>
                  <a:lnTo>
                    <a:pt x="1033" y="538"/>
                  </a:lnTo>
                  <a:lnTo>
                    <a:pt x="1068" y="528"/>
                  </a:lnTo>
                  <a:lnTo>
                    <a:pt x="1106" y="519"/>
                  </a:lnTo>
                  <a:lnTo>
                    <a:pt x="1143" y="513"/>
                  </a:lnTo>
                  <a:lnTo>
                    <a:pt x="1180" y="508"/>
                  </a:lnTo>
                  <a:lnTo>
                    <a:pt x="1218" y="505"/>
                  </a:lnTo>
                  <a:lnTo>
                    <a:pt x="1258" y="504"/>
                  </a:lnTo>
                  <a:lnTo>
                    <a:pt x="1297" y="505"/>
                  </a:lnTo>
                  <a:lnTo>
                    <a:pt x="1335" y="508"/>
                  </a:lnTo>
                  <a:lnTo>
                    <a:pt x="1372" y="513"/>
                  </a:lnTo>
                  <a:lnTo>
                    <a:pt x="1409" y="519"/>
                  </a:lnTo>
                  <a:lnTo>
                    <a:pt x="1447" y="528"/>
                  </a:lnTo>
                  <a:lnTo>
                    <a:pt x="1482" y="538"/>
                  </a:lnTo>
                  <a:lnTo>
                    <a:pt x="1517" y="549"/>
                  </a:lnTo>
                  <a:lnTo>
                    <a:pt x="1551" y="564"/>
                  </a:lnTo>
                  <a:lnTo>
                    <a:pt x="1585" y="579"/>
                  </a:lnTo>
                  <a:lnTo>
                    <a:pt x="1618" y="596"/>
                  </a:lnTo>
                  <a:lnTo>
                    <a:pt x="1649" y="614"/>
                  </a:lnTo>
                  <a:lnTo>
                    <a:pt x="1679" y="633"/>
                  </a:lnTo>
                  <a:lnTo>
                    <a:pt x="1709" y="654"/>
                  </a:lnTo>
                  <a:lnTo>
                    <a:pt x="1737" y="677"/>
                  </a:lnTo>
                  <a:lnTo>
                    <a:pt x="1765" y="701"/>
                  </a:lnTo>
                  <a:lnTo>
                    <a:pt x="1791" y="726"/>
                  </a:lnTo>
                  <a:lnTo>
                    <a:pt x="1816" y="752"/>
                  </a:lnTo>
                  <a:lnTo>
                    <a:pt x="1840" y="779"/>
                  </a:lnTo>
                  <a:lnTo>
                    <a:pt x="1862" y="808"/>
                  </a:lnTo>
                  <a:lnTo>
                    <a:pt x="1883" y="838"/>
                  </a:lnTo>
                  <a:lnTo>
                    <a:pt x="1902" y="868"/>
                  </a:lnTo>
                  <a:lnTo>
                    <a:pt x="1920" y="900"/>
                  </a:lnTo>
                  <a:lnTo>
                    <a:pt x="1938" y="933"/>
                  </a:lnTo>
                  <a:lnTo>
                    <a:pt x="1953" y="966"/>
                  </a:lnTo>
                  <a:lnTo>
                    <a:pt x="1967" y="1000"/>
                  </a:lnTo>
                  <a:lnTo>
                    <a:pt x="1978" y="1035"/>
                  </a:lnTo>
                  <a:lnTo>
                    <a:pt x="1988" y="1072"/>
                  </a:lnTo>
                  <a:lnTo>
                    <a:pt x="1997" y="1108"/>
                  </a:lnTo>
                  <a:lnTo>
                    <a:pt x="2003" y="1145"/>
                  </a:lnTo>
                  <a:lnTo>
                    <a:pt x="2008" y="1183"/>
                  </a:lnTo>
                  <a:lnTo>
                    <a:pt x="2011" y="1221"/>
                  </a:lnTo>
                  <a:lnTo>
                    <a:pt x="2012" y="1260"/>
                  </a:lnTo>
                  <a:lnTo>
                    <a:pt x="2011" y="1299"/>
                  </a:lnTo>
                  <a:lnTo>
                    <a:pt x="2008" y="1338"/>
                  </a:lnTo>
                  <a:lnTo>
                    <a:pt x="2003" y="1375"/>
                  </a:lnTo>
                  <a:lnTo>
                    <a:pt x="1997" y="1413"/>
                  </a:lnTo>
                  <a:lnTo>
                    <a:pt x="1988" y="1449"/>
                  </a:lnTo>
                  <a:lnTo>
                    <a:pt x="1978" y="1485"/>
                  </a:lnTo>
                  <a:lnTo>
                    <a:pt x="1967" y="1520"/>
                  </a:lnTo>
                  <a:lnTo>
                    <a:pt x="1953" y="1555"/>
                  </a:lnTo>
                  <a:lnTo>
                    <a:pt x="1938" y="1588"/>
                  </a:lnTo>
                  <a:lnTo>
                    <a:pt x="1920" y="1620"/>
                  </a:lnTo>
                  <a:lnTo>
                    <a:pt x="1902" y="1653"/>
                  </a:lnTo>
                  <a:lnTo>
                    <a:pt x="1883" y="1683"/>
                  </a:lnTo>
                  <a:lnTo>
                    <a:pt x="1862" y="1713"/>
                  </a:lnTo>
                  <a:lnTo>
                    <a:pt x="1840" y="1741"/>
                  </a:lnTo>
                  <a:lnTo>
                    <a:pt x="1816" y="1768"/>
                  </a:lnTo>
                  <a:lnTo>
                    <a:pt x="1791" y="1795"/>
                  </a:lnTo>
                  <a:lnTo>
                    <a:pt x="1765" y="1820"/>
                  </a:lnTo>
                  <a:lnTo>
                    <a:pt x="1737" y="1844"/>
                  </a:lnTo>
                  <a:lnTo>
                    <a:pt x="1709" y="1866"/>
                  </a:lnTo>
                  <a:lnTo>
                    <a:pt x="1679" y="1887"/>
                  </a:lnTo>
                  <a:lnTo>
                    <a:pt x="1649" y="1907"/>
                  </a:lnTo>
                  <a:lnTo>
                    <a:pt x="1618" y="1925"/>
                  </a:lnTo>
                  <a:lnTo>
                    <a:pt x="1585" y="1942"/>
                  </a:lnTo>
                  <a:lnTo>
                    <a:pt x="1551" y="1957"/>
                  </a:lnTo>
                  <a:lnTo>
                    <a:pt x="1517" y="1970"/>
                  </a:lnTo>
                  <a:lnTo>
                    <a:pt x="1482" y="1982"/>
                  </a:lnTo>
                  <a:lnTo>
                    <a:pt x="1447" y="1992"/>
                  </a:lnTo>
                  <a:lnTo>
                    <a:pt x="1409" y="2001"/>
                  </a:lnTo>
                  <a:lnTo>
                    <a:pt x="1372" y="2007"/>
                  </a:lnTo>
                  <a:lnTo>
                    <a:pt x="1335" y="2012"/>
                  </a:lnTo>
                  <a:lnTo>
                    <a:pt x="1297" y="2015"/>
                  </a:lnTo>
                  <a:lnTo>
                    <a:pt x="1258" y="2017"/>
                  </a:lnTo>
                  <a:close/>
                  <a:moveTo>
                    <a:pt x="1258" y="0"/>
                  </a:moveTo>
                  <a:lnTo>
                    <a:pt x="1193" y="2"/>
                  </a:lnTo>
                  <a:lnTo>
                    <a:pt x="1129" y="6"/>
                  </a:lnTo>
                  <a:lnTo>
                    <a:pt x="1066" y="14"/>
                  </a:lnTo>
                  <a:lnTo>
                    <a:pt x="1004" y="25"/>
                  </a:lnTo>
                  <a:lnTo>
                    <a:pt x="944" y="39"/>
                  </a:lnTo>
                  <a:lnTo>
                    <a:pt x="884" y="56"/>
                  </a:lnTo>
                  <a:lnTo>
                    <a:pt x="826" y="77"/>
                  </a:lnTo>
                  <a:lnTo>
                    <a:pt x="769" y="99"/>
                  </a:lnTo>
                  <a:lnTo>
                    <a:pt x="713" y="124"/>
                  </a:lnTo>
                  <a:lnTo>
                    <a:pt x="659" y="152"/>
                  </a:lnTo>
                  <a:lnTo>
                    <a:pt x="606" y="182"/>
                  </a:lnTo>
                  <a:lnTo>
                    <a:pt x="555" y="216"/>
                  </a:lnTo>
                  <a:lnTo>
                    <a:pt x="506" y="251"/>
                  </a:lnTo>
                  <a:lnTo>
                    <a:pt x="458" y="288"/>
                  </a:lnTo>
                  <a:lnTo>
                    <a:pt x="413" y="328"/>
                  </a:lnTo>
                  <a:lnTo>
                    <a:pt x="369" y="369"/>
                  </a:lnTo>
                  <a:lnTo>
                    <a:pt x="327" y="413"/>
                  </a:lnTo>
                  <a:lnTo>
                    <a:pt x="288" y="459"/>
                  </a:lnTo>
                  <a:lnTo>
                    <a:pt x="251" y="506"/>
                  </a:lnTo>
                  <a:lnTo>
                    <a:pt x="215" y="556"/>
                  </a:lnTo>
                  <a:lnTo>
                    <a:pt x="182" y="607"/>
                  </a:lnTo>
                  <a:lnTo>
                    <a:pt x="152" y="659"/>
                  </a:lnTo>
                  <a:lnTo>
                    <a:pt x="124" y="714"/>
                  </a:lnTo>
                  <a:lnTo>
                    <a:pt x="99" y="770"/>
                  </a:lnTo>
                  <a:lnTo>
                    <a:pt x="77" y="827"/>
                  </a:lnTo>
                  <a:lnTo>
                    <a:pt x="56" y="886"/>
                  </a:lnTo>
                  <a:lnTo>
                    <a:pt x="39" y="946"/>
                  </a:lnTo>
                  <a:lnTo>
                    <a:pt x="25" y="1006"/>
                  </a:lnTo>
                  <a:lnTo>
                    <a:pt x="14" y="1069"/>
                  </a:lnTo>
                  <a:lnTo>
                    <a:pt x="7" y="1131"/>
                  </a:lnTo>
                  <a:lnTo>
                    <a:pt x="2" y="1196"/>
                  </a:lnTo>
                  <a:lnTo>
                    <a:pt x="0" y="1260"/>
                  </a:lnTo>
                  <a:lnTo>
                    <a:pt x="2" y="1325"/>
                  </a:lnTo>
                  <a:lnTo>
                    <a:pt x="7" y="1389"/>
                  </a:lnTo>
                  <a:lnTo>
                    <a:pt x="14" y="1452"/>
                  </a:lnTo>
                  <a:lnTo>
                    <a:pt x="25" y="1514"/>
                  </a:lnTo>
                  <a:lnTo>
                    <a:pt x="39" y="1575"/>
                  </a:lnTo>
                  <a:lnTo>
                    <a:pt x="56" y="1634"/>
                  </a:lnTo>
                  <a:lnTo>
                    <a:pt x="77" y="1693"/>
                  </a:lnTo>
                  <a:lnTo>
                    <a:pt x="99" y="1750"/>
                  </a:lnTo>
                  <a:lnTo>
                    <a:pt x="124" y="1806"/>
                  </a:lnTo>
                  <a:lnTo>
                    <a:pt x="152" y="1860"/>
                  </a:lnTo>
                  <a:lnTo>
                    <a:pt x="182" y="1914"/>
                  </a:lnTo>
                  <a:lnTo>
                    <a:pt x="215" y="1964"/>
                  </a:lnTo>
                  <a:lnTo>
                    <a:pt x="251" y="2014"/>
                  </a:lnTo>
                  <a:lnTo>
                    <a:pt x="288" y="2062"/>
                  </a:lnTo>
                  <a:lnTo>
                    <a:pt x="327" y="2107"/>
                  </a:lnTo>
                  <a:lnTo>
                    <a:pt x="369" y="2152"/>
                  </a:lnTo>
                  <a:lnTo>
                    <a:pt x="413" y="2193"/>
                  </a:lnTo>
                  <a:lnTo>
                    <a:pt x="458" y="2232"/>
                  </a:lnTo>
                  <a:lnTo>
                    <a:pt x="506" y="2270"/>
                  </a:lnTo>
                  <a:lnTo>
                    <a:pt x="555" y="2305"/>
                  </a:lnTo>
                  <a:lnTo>
                    <a:pt x="606" y="2338"/>
                  </a:lnTo>
                  <a:lnTo>
                    <a:pt x="659" y="2368"/>
                  </a:lnTo>
                  <a:lnTo>
                    <a:pt x="713" y="2397"/>
                  </a:lnTo>
                  <a:lnTo>
                    <a:pt x="769" y="2422"/>
                  </a:lnTo>
                  <a:lnTo>
                    <a:pt x="826" y="2444"/>
                  </a:lnTo>
                  <a:lnTo>
                    <a:pt x="884" y="2464"/>
                  </a:lnTo>
                  <a:lnTo>
                    <a:pt x="944" y="2481"/>
                  </a:lnTo>
                  <a:lnTo>
                    <a:pt x="1004" y="2495"/>
                  </a:lnTo>
                  <a:lnTo>
                    <a:pt x="1066" y="2507"/>
                  </a:lnTo>
                  <a:lnTo>
                    <a:pt x="1129" y="2515"/>
                  </a:lnTo>
                  <a:lnTo>
                    <a:pt x="1193" y="2519"/>
                  </a:lnTo>
                  <a:lnTo>
                    <a:pt x="1258" y="2521"/>
                  </a:lnTo>
                  <a:lnTo>
                    <a:pt x="1322" y="2519"/>
                  </a:lnTo>
                  <a:lnTo>
                    <a:pt x="1385" y="2515"/>
                  </a:lnTo>
                  <a:lnTo>
                    <a:pt x="1449" y="2507"/>
                  </a:lnTo>
                  <a:lnTo>
                    <a:pt x="1510" y="2495"/>
                  </a:lnTo>
                  <a:lnTo>
                    <a:pt x="1571" y="2481"/>
                  </a:lnTo>
                  <a:lnTo>
                    <a:pt x="1631" y="2464"/>
                  </a:lnTo>
                  <a:lnTo>
                    <a:pt x="1689" y="2444"/>
                  </a:lnTo>
                  <a:lnTo>
                    <a:pt x="1746" y="2422"/>
                  </a:lnTo>
                  <a:lnTo>
                    <a:pt x="1802" y="2397"/>
                  </a:lnTo>
                  <a:lnTo>
                    <a:pt x="1856" y="2368"/>
                  </a:lnTo>
                  <a:lnTo>
                    <a:pt x="1908" y="2338"/>
                  </a:lnTo>
                  <a:lnTo>
                    <a:pt x="1960" y="2305"/>
                  </a:lnTo>
                  <a:lnTo>
                    <a:pt x="2009" y="2270"/>
                  </a:lnTo>
                  <a:lnTo>
                    <a:pt x="2056" y="2232"/>
                  </a:lnTo>
                  <a:lnTo>
                    <a:pt x="2103" y="2193"/>
                  </a:lnTo>
                  <a:lnTo>
                    <a:pt x="2146" y="2152"/>
                  </a:lnTo>
                  <a:lnTo>
                    <a:pt x="2188" y="2107"/>
                  </a:lnTo>
                  <a:lnTo>
                    <a:pt x="2227" y="2062"/>
                  </a:lnTo>
                  <a:lnTo>
                    <a:pt x="2265" y="2014"/>
                  </a:lnTo>
                  <a:lnTo>
                    <a:pt x="2300" y="1964"/>
                  </a:lnTo>
                  <a:lnTo>
                    <a:pt x="2333" y="1914"/>
                  </a:lnTo>
                  <a:lnTo>
                    <a:pt x="2363" y="1860"/>
                  </a:lnTo>
                  <a:lnTo>
                    <a:pt x="2390" y="1806"/>
                  </a:lnTo>
                  <a:lnTo>
                    <a:pt x="2416" y="1750"/>
                  </a:lnTo>
                  <a:lnTo>
                    <a:pt x="2439" y="1693"/>
                  </a:lnTo>
                  <a:lnTo>
                    <a:pt x="2459" y="1634"/>
                  </a:lnTo>
                  <a:lnTo>
                    <a:pt x="2476" y="1575"/>
                  </a:lnTo>
                  <a:lnTo>
                    <a:pt x="2490" y="1514"/>
                  </a:lnTo>
                  <a:lnTo>
                    <a:pt x="2501" y="1452"/>
                  </a:lnTo>
                  <a:lnTo>
                    <a:pt x="2508" y="1389"/>
                  </a:lnTo>
                  <a:lnTo>
                    <a:pt x="2513" y="1325"/>
                  </a:lnTo>
                  <a:lnTo>
                    <a:pt x="2515" y="1260"/>
                  </a:lnTo>
                  <a:lnTo>
                    <a:pt x="2513" y="1196"/>
                  </a:lnTo>
                  <a:lnTo>
                    <a:pt x="2508" y="1131"/>
                  </a:lnTo>
                  <a:lnTo>
                    <a:pt x="2501" y="1069"/>
                  </a:lnTo>
                  <a:lnTo>
                    <a:pt x="2490" y="1006"/>
                  </a:lnTo>
                  <a:lnTo>
                    <a:pt x="2476" y="946"/>
                  </a:lnTo>
                  <a:lnTo>
                    <a:pt x="2459" y="886"/>
                  </a:lnTo>
                  <a:lnTo>
                    <a:pt x="2439" y="827"/>
                  </a:lnTo>
                  <a:lnTo>
                    <a:pt x="2416" y="770"/>
                  </a:lnTo>
                  <a:lnTo>
                    <a:pt x="2390" y="714"/>
                  </a:lnTo>
                  <a:lnTo>
                    <a:pt x="2363" y="659"/>
                  </a:lnTo>
                  <a:lnTo>
                    <a:pt x="2333" y="607"/>
                  </a:lnTo>
                  <a:lnTo>
                    <a:pt x="2300" y="556"/>
                  </a:lnTo>
                  <a:lnTo>
                    <a:pt x="2265" y="506"/>
                  </a:lnTo>
                  <a:lnTo>
                    <a:pt x="2227" y="459"/>
                  </a:lnTo>
                  <a:lnTo>
                    <a:pt x="2188" y="413"/>
                  </a:lnTo>
                  <a:lnTo>
                    <a:pt x="2146" y="369"/>
                  </a:lnTo>
                  <a:lnTo>
                    <a:pt x="2103" y="328"/>
                  </a:lnTo>
                  <a:lnTo>
                    <a:pt x="2056" y="288"/>
                  </a:lnTo>
                  <a:lnTo>
                    <a:pt x="2009" y="251"/>
                  </a:lnTo>
                  <a:lnTo>
                    <a:pt x="1960" y="216"/>
                  </a:lnTo>
                  <a:lnTo>
                    <a:pt x="1908" y="182"/>
                  </a:lnTo>
                  <a:lnTo>
                    <a:pt x="1856" y="152"/>
                  </a:lnTo>
                  <a:lnTo>
                    <a:pt x="1802" y="124"/>
                  </a:lnTo>
                  <a:lnTo>
                    <a:pt x="1746" y="99"/>
                  </a:lnTo>
                  <a:lnTo>
                    <a:pt x="1689" y="77"/>
                  </a:lnTo>
                  <a:lnTo>
                    <a:pt x="1631" y="56"/>
                  </a:lnTo>
                  <a:lnTo>
                    <a:pt x="1571" y="39"/>
                  </a:lnTo>
                  <a:lnTo>
                    <a:pt x="1510" y="25"/>
                  </a:lnTo>
                  <a:lnTo>
                    <a:pt x="1449" y="14"/>
                  </a:lnTo>
                  <a:lnTo>
                    <a:pt x="1385" y="6"/>
                  </a:lnTo>
                  <a:lnTo>
                    <a:pt x="1322" y="2"/>
                  </a:lnTo>
                  <a:lnTo>
                    <a:pt x="125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61" name="ïśḻîde">
              <a:extLst>
                <a:ext uri="{FF2B5EF4-FFF2-40B4-BE49-F238E27FC236}">
                  <a16:creationId xmlns:a16="http://schemas.microsoft.com/office/drawing/2014/main" id="{2E313231-9FA8-4658-8F0F-67ECFAAEBE71}"/>
                </a:ext>
              </a:extLst>
            </p:cNvPr>
            <p:cNvSpPr/>
            <p:nvPr/>
          </p:nvSpPr>
          <p:spPr bwMode="auto">
            <a:xfrm>
              <a:off x="4251664" y="768241"/>
              <a:ext cx="76139" cy="77549"/>
            </a:xfrm>
            <a:custGeom>
              <a:avLst/>
              <a:gdLst>
                <a:gd name="T0" fmla="*/ 1107 w 2012"/>
                <a:gd name="T1" fmla="*/ 514 h 2016"/>
                <a:gd name="T2" fmla="*/ 1224 w 2012"/>
                <a:gd name="T3" fmla="*/ 553 h 2016"/>
                <a:gd name="T4" fmla="*/ 1326 w 2012"/>
                <a:gd name="T5" fmla="*/ 619 h 2016"/>
                <a:gd name="T6" fmla="*/ 1409 w 2012"/>
                <a:gd name="T7" fmla="*/ 707 h 2016"/>
                <a:gd name="T8" fmla="*/ 1469 w 2012"/>
                <a:gd name="T9" fmla="*/ 812 h 2016"/>
                <a:gd name="T10" fmla="*/ 1503 w 2012"/>
                <a:gd name="T11" fmla="*/ 931 h 2016"/>
                <a:gd name="T12" fmla="*/ 1507 w 2012"/>
                <a:gd name="T13" fmla="*/ 1060 h 2016"/>
                <a:gd name="T14" fmla="*/ 1478 w 2012"/>
                <a:gd name="T15" fmla="*/ 1182 h 2016"/>
                <a:gd name="T16" fmla="*/ 1423 w 2012"/>
                <a:gd name="T17" fmla="*/ 1290 h 2016"/>
                <a:gd name="T18" fmla="*/ 1344 w 2012"/>
                <a:gd name="T19" fmla="*/ 1381 h 2016"/>
                <a:gd name="T20" fmla="*/ 1245 w 2012"/>
                <a:gd name="T21" fmla="*/ 1452 h 2016"/>
                <a:gd name="T22" fmla="*/ 1131 w 2012"/>
                <a:gd name="T23" fmla="*/ 1496 h 2016"/>
                <a:gd name="T24" fmla="*/ 1006 w 2012"/>
                <a:gd name="T25" fmla="*/ 1512 h 2016"/>
                <a:gd name="T26" fmla="*/ 880 w 2012"/>
                <a:gd name="T27" fmla="*/ 1496 h 2016"/>
                <a:gd name="T28" fmla="*/ 766 w 2012"/>
                <a:gd name="T29" fmla="*/ 1452 h 2016"/>
                <a:gd name="T30" fmla="*/ 668 w 2012"/>
                <a:gd name="T31" fmla="*/ 1381 h 2016"/>
                <a:gd name="T32" fmla="*/ 589 w 2012"/>
                <a:gd name="T33" fmla="*/ 1290 h 2016"/>
                <a:gd name="T34" fmla="*/ 534 w 2012"/>
                <a:gd name="T35" fmla="*/ 1182 h 2016"/>
                <a:gd name="T36" fmla="*/ 506 w 2012"/>
                <a:gd name="T37" fmla="*/ 1060 h 2016"/>
                <a:gd name="T38" fmla="*/ 509 w 2012"/>
                <a:gd name="T39" fmla="*/ 931 h 2016"/>
                <a:gd name="T40" fmla="*/ 543 w 2012"/>
                <a:gd name="T41" fmla="*/ 812 h 2016"/>
                <a:gd name="T42" fmla="*/ 603 w 2012"/>
                <a:gd name="T43" fmla="*/ 707 h 2016"/>
                <a:gd name="T44" fmla="*/ 686 w 2012"/>
                <a:gd name="T45" fmla="*/ 619 h 2016"/>
                <a:gd name="T46" fmla="*/ 787 w 2012"/>
                <a:gd name="T47" fmla="*/ 553 h 2016"/>
                <a:gd name="T48" fmla="*/ 904 w 2012"/>
                <a:gd name="T49" fmla="*/ 514 h 2016"/>
                <a:gd name="T50" fmla="*/ 0 w 2012"/>
                <a:gd name="T51" fmla="*/ 1008 h 2016"/>
                <a:gd name="T52" fmla="*/ 32 w 2012"/>
                <a:gd name="T53" fmla="*/ 1260 h 2016"/>
                <a:gd name="T54" fmla="*/ 121 w 2012"/>
                <a:gd name="T55" fmla="*/ 1488 h 2016"/>
                <a:gd name="T56" fmla="*/ 261 w 2012"/>
                <a:gd name="T57" fmla="*/ 1686 h 2016"/>
                <a:gd name="T58" fmla="*/ 443 w 2012"/>
                <a:gd name="T59" fmla="*/ 1844 h 2016"/>
                <a:gd name="T60" fmla="*/ 661 w 2012"/>
                <a:gd name="T61" fmla="*/ 1955 h 2016"/>
                <a:gd name="T62" fmla="*/ 903 w 2012"/>
                <a:gd name="T63" fmla="*/ 2011 h 2016"/>
                <a:gd name="T64" fmla="*/ 1159 w 2012"/>
                <a:gd name="T65" fmla="*/ 2004 h 2016"/>
                <a:gd name="T66" fmla="*/ 1397 w 2012"/>
                <a:gd name="T67" fmla="*/ 1937 h 2016"/>
                <a:gd name="T68" fmla="*/ 1607 w 2012"/>
                <a:gd name="T69" fmla="*/ 1816 h 2016"/>
                <a:gd name="T70" fmla="*/ 1782 w 2012"/>
                <a:gd name="T71" fmla="*/ 1649 h 2016"/>
                <a:gd name="T72" fmla="*/ 1912 w 2012"/>
                <a:gd name="T73" fmla="*/ 1445 h 2016"/>
                <a:gd name="T74" fmla="*/ 1992 w 2012"/>
                <a:gd name="T75" fmla="*/ 1211 h 2016"/>
                <a:gd name="T76" fmla="*/ 2011 w 2012"/>
                <a:gd name="T77" fmla="*/ 957 h 2016"/>
                <a:gd name="T78" fmla="*/ 1966 w 2012"/>
                <a:gd name="T79" fmla="*/ 709 h 2016"/>
                <a:gd name="T80" fmla="*/ 1866 w 2012"/>
                <a:gd name="T81" fmla="*/ 486 h 2016"/>
                <a:gd name="T82" fmla="*/ 1717 w 2012"/>
                <a:gd name="T83" fmla="*/ 295 h 2016"/>
                <a:gd name="T84" fmla="*/ 1527 w 2012"/>
                <a:gd name="T85" fmla="*/ 146 h 2016"/>
                <a:gd name="T86" fmla="*/ 1304 w 2012"/>
                <a:gd name="T87" fmla="*/ 45 h 2016"/>
                <a:gd name="T88" fmla="*/ 1057 w 2012"/>
                <a:gd name="T89" fmla="*/ 1 h 2016"/>
                <a:gd name="T90" fmla="*/ 803 w 2012"/>
                <a:gd name="T91" fmla="*/ 20 h 2016"/>
                <a:gd name="T92" fmla="*/ 570 w 2012"/>
                <a:gd name="T93" fmla="*/ 100 h 2016"/>
                <a:gd name="T94" fmla="*/ 366 w 2012"/>
                <a:gd name="T95" fmla="*/ 231 h 2016"/>
                <a:gd name="T96" fmla="*/ 200 w 2012"/>
                <a:gd name="T97" fmla="*/ 405 h 2016"/>
                <a:gd name="T98" fmla="*/ 79 w 2012"/>
                <a:gd name="T99" fmla="*/ 616 h 2016"/>
                <a:gd name="T100" fmla="*/ 12 w 2012"/>
                <a:gd name="T101" fmla="*/ 855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012" h="2016">
                  <a:moveTo>
                    <a:pt x="1006" y="504"/>
                  </a:moveTo>
                  <a:lnTo>
                    <a:pt x="1032" y="505"/>
                  </a:lnTo>
                  <a:lnTo>
                    <a:pt x="1057" y="507"/>
                  </a:lnTo>
                  <a:lnTo>
                    <a:pt x="1082" y="510"/>
                  </a:lnTo>
                  <a:lnTo>
                    <a:pt x="1107" y="514"/>
                  </a:lnTo>
                  <a:lnTo>
                    <a:pt x="1131" y="520"/>
                  </a:lnTo>
                  <a:lnTo>
                    <a:pt x="1156" y="526"/>
                  </a:lnTo>
                  <a:lnTo>
                    <a:pt x="1179" y="534"/>
                  </a:lnTo>
                  <a:lnTo>
                    <a:pt x="1202" y="543"/>
                  </a:lnTo>
                  <a:lnTo>
                    <a:pt x="1224" y="553"/>
                  </a:lnTo>
                  <a:lnTo>
                    <a:pt x="1245" y="564"/>
                  </a:lnTo>
                  <a:lnTo>
                    <a:pt x="1266" y="577"/>
                  </a:lnTo>
                  <a:lnTo>
                    <a:pt x="1287" y="590"/>
                  </a:lnTo>
                  <a:lnTo>
                    <a:pt x="1306" y="604"/>
                  </a:lnTo>
                  <a:lnTo>
                    <a:pt x="1326" y="619"/>
                  </a:lnTo>
                  <a:lnTo>
                    <a:pt x="1344" y="635"/>
                  </a:lnTo>
                  <a:lnTo>
                    <a:pt x="1362" y="651"/>
                  </a:lnTo>
                  <a:lnTo>
                    <a:pt x="1378" y="669"/>
                  </a:lnTo>
                  <a:lnTo>
                    <a:pt x="1394" y="688"/>
                  </a:lnTo>
                  <a:lnTo>
                    <a:pt x="1409" y="707"/>
                  </a:lnTo>
                  <a:lnTo>
                    <a:pt x="1423" y="726"/>
                  </a:lnTo>
                  <a:lnTo>
                    <a:pt x="1436" y="747"/>
                  </a:lnTo>
                  <a:lnTo>
                    <a:pt x="1448" y="768"/>
                  </a:lnTo>
                  <a:lnTo>
                    <a:pt x="1459" y="789"/>
                  </a:lnTo>
                  <a:lnTo>
                    <a:pt x="1469" y="812"/>
                  </a:lnTo>
                  <a:lnTo>
                    <a:pt x="1478" y="835"/>
                  </a:lnTo>
                  <a:lnTo>
                    <a:pt x="1487" y="858"/>
                  </a:lnTo>
                  <a:lnTo>
                    <a:pt x="1493" y="882"/>
                  </a:lnTo>
                  <a:lnTo>
                    <a:pt x="1499" y="906"/>
                  </a:lnTo>
                  <a:lnTo>
                    <a:pt x="1503" y="931"/>
                  </a:lnTo>
                  <a:lnTo>
                    <a:pt x="1507" y="957"/>
                  </a:lnTo>
                  <a:lnTo>
                    <a:pt x="1508" y="982"/>
                  </a:lnTo>
                  <a:lnTo>
                    <a:pt x="1509" y="1008"/>
                  </a:lnTo>
                  <a:lnTo>
                    <a:pt x="1508" y="1034"/>
                  </a:lnTo>
                  <a:lnTo>
                    <a:pt x="1507" y="1060"/>
                  </a:lnTo>
                  <a:lnTo>
                    <a:pt x="1503" y="1085"/>
                  </a:lnTo>
                  <a:lnTo>
                    <a:pt x="1499" y="1110"/>
                  </a:lnTo>
                  <a:lnTo>
                    <a:pt x="1493" y="1134"/>
                  </a:lnTo>
                  <a:lnTo>
                    <a:pt x="1487" y="1158"/>
                  </a:lnTo>
                  <a:lnTo>
                    <a:pt x="1478" y="1182"/>
                  </a:lnTo>
                  <a:lnTo>
                    <a:pt x="1469" y="1205"/>
                  </a:lnTo>
                  <a:lnTo>
                    <a:pt x="1459" y="1227"/>
                  </a:lnTo>
                  <a:lnTo>
                    <a:pt x="1448" y="1248"/>
                  </a:lnTo>
                  <a:lnTo>
                    <a:pt x="1436" y="1269"/>
                  </a:lnTo>
                  <a:lnTo>
                    <a:pt x="1423" y="1290"/>
                  </a:lnTo>
                  <a:lnTo>
                    <a:pt x="1409" y="1310"/>
                  </a:lnTo>
                  <a:lnTo>
                    <a:pt x="1394" y="1329"/>
                  </a:lnTo>
                  <a:lnTo>
                    <a:pt x="1378" y="1347"/>
                  </a:lnTo>
                  <a:lnTo>
                    <a:pt x="1362" y="1365"/>
                  </a:lnTo>
                  <a:lnTo>
                    <a:pt x="1344" y="1381"/>
                  </a:lnTo>
                  <a:lnTo>
                    <a:pt x="1326" y="1397"/>
                  </a:lnTo>
                  <a:lnTo>
                    <a:pt x="1306" y="1412"/>
                  </a:lnTo>
                  <a:lnTo>
                    <a:pt x="1287" y="1427"/>
                  </a:lnTo>
                  <a:lnTo>
                    <a:pt x="1266" y="1440"/>
                  </a:lnTo>
                  <a:lnTo>
                    <a:pt x="1245" y="1452"/>
                  </a:lnTo>
                  <a:lnTo>
                    <a:pt x="1224" y="1463"/>
                  </a:lnTo>
                  <a:lnTo>
                    <a:pt x="1202" y="1473"/>
                  </a:lnTo>
                  <a:lnTo>
                    <a:pt x="1179" y="1482"/>
                  </a:lnTo>
                  <a:lnTo>
                    <a:pt x="1156" y="1490"/>
                  </a:lnTo>
                  <a:lnTo>
                    <a:pt x="1131" y="1496"/>
                  </a:lnTo>
                  <a:lnTo>
                    <a:pt x="1107" y="1502"/>
                  </a:lnTo>
                  <a:lnTo>
                    <a:pt x="1082" y="1506"/>
                  </a:lnTo>
                  <a:lnTo>
                    <a:pt x="1057" y="1509"/>
                  </a:lnTo>
                  <a:lnTo>
                    <a:pt x="1032" y="1511"/>
                  </a:lnTo>
                  <a:lnTo>
                    <a:pt x="1006" y="1512"/>
                  </a:lnTo>
                  <a:lnTo>
                    <a:pt x="980" y="1511"/>
                  </a:lnTo>
                  <a:lnTo>
                    <a:pt x="954" y="1509"/>
                  </a:lnTo>
                  <a:lnTo>
                    <a:pt x="929" y="1506"/>
                  </a:lnTo>
                  <a:lnTo>
                    <a:pt x="904" y="1502"/>
                  </a:lnTo>
                  <a:lnTo>
                    <a:pt x="880" y="1496"/>
                  </a:lnTo>
                  <a:lnTo>
                    <a:pt x="856" y="1490"/>
                  </a:lnTo>
                  <a:lnTo>
                    <a:pt x="833" y="1482"/>
                  </a:lnTo>
                  <a:lnTo>
                    <a:pt x="811" y="1473"/>
                  </a:lnTo>
                  <a:lnTo>
                    <a:pt x="787" y="1463"/>
                  </a:lnTo>
                  <a:lnTo>
                    <a:pt x="766" y="1452"/>
                  </a:lnTo>
                  <a:lnTo>
                    <a:pt x="745" y="1440"/>
                  </a:lnTo>
                  <a:lnTo>
                    <a:pt x="725" y="1427"/>
                  </a:lnTo>
                  <a:lnTo>
                    <a:pt x="705" y="1412"/>
                  </a:lnTo>
                  <a:lnTo>
                    <a:pt x="686" y="1397"/>
                  </a:lnTo>
                  <a:lnTo>
                    <a:pt x="668" y="1381"/>
                  </a:lnTo>
                  <a:lnTo>
                    <a:pt x="651" y="1365"/>
                  </a:lnTo>
                  <a:lnTo>
                    <a:pt x="633" y="1347"/>
                  </a:lnTo>
                  <a:lnTo>
                    <a:pt x="617" y="1329"/>
                  </a:lnTo>
                  <a:lnTo>
                    <a:pt x="603" y="1310"/>
                  </a:lnTo>
                  <a:lnTo>
                    <a:pt x="589" y="1290"/>
                  </a:lnTo>
                  <a:lnTo>
                    <a:pt x="576" y="1269"/>
                  </a:lnTo>
                  <a:lnTo>
                    <a:pt x="564" y="1248"/>
                  </a:lnTo>
                  <a:lnTo>
                    <a:pt x="553" y="1227"/>
                  </a:lnTo>
                  <a:lnTo>
                    <a:pt x="543" y="1205"/>
                  </a:lnTo>
                  <a:lnTo>
                    <a:pt x="534" y="1182"/>
                  </a:lnTo>
                  <a:lnTo>
                    <a:pt x="526" y="1158"/>
                  </a:lnTo>
                  <a:lnTo>
                    <a:pt x="519" y="1134"/>
                  </a:lnTo>
                  <a:lnTo>
                    <a:pt x="513" y="1110"/>
                  </a:lnTo>
                  <a:lnTo>
                    <a:pt x="509" y="1085"/>
                  </a:lnTo>
                  <a:lnTo>
                    <a:pt x="506" y="1060"/>
                  </a:lnTo>
                  <a:lnTo>
                    <a:pt x="504" y="1034"/>
                  </a:lnTo>
                  <a:lnTo>
                    <a:pt x="503" y="1008"/>
                  </a:lnTo>
                  <a:lnTo>
                    <a:pt x="504" y="982"/>
                  </a:lnTo>
                  <a:lnTo>
                    <a:pt x="506" y="957"/>
                  </a:lnTo>
                  <a:lnTo>
                    <a:pt x="509" y="931"/>
                  </a:lnTo>
                  <a:lnTo>
                    <a:pt x="513" y="906"/>
                  </a:lnTo>
                  <a:lnTo>
                    <a:pt x="519" y="882"/>
                  </a:lnTo>
                  <a:lnTo>
                    <a:pt x="526" y="858"/>
                  </a:lnTo>
                  <a:lnTo>
                    <a:pt x="534" y="835"/>
                  </a:lnTo>
                  <a:lnTo>
                    <a:pt x="543" y="812"/>
                  </a:lnTo>
                  <a:lnTo>
                    <a:pt x="553" y="789"/>
                  </a:lnTo>
                  <a:lnTo>
                    <a:pt x="564" y="768"/>
                  </a:lnTo>
                  <a:lnTo>
                    <a:pt x="576" y="747"/>
                  </a:lnTo>
                  <a:lnTo>
                    <a:pt x="589" y="726"/>
                  </a:lnTo>
                  <a:lnTo>
                    <a:pt x="603" y="707"/>
                  </a:lnTo>
                  <a:lnTo>
                    <a:pt x="617" y="688"/>
                  </a:lnTo>
                  <a:lnTo>
                    <a:pt x="633" y="669"/>
                  </a:lnTo>
                  <a:lnTo>
                    <a:pt x="651" y="651"/>
                  </a:lnTo>
                  <a:lnTo>
                    <a:pt x="668" y="635"/>
                  </a:lnTo>
                  <a:lnTo>
                    <a:pt x="686" y="619"/>
                  </a:lnTo>
                  <a:lnTo>
                    <a:pt x="705" y="604"/>
                  </a:lnTo>
                  <a:lnTo>
                    <a:pt x="725" y="590"/>
                  </a:lnTo>
                  <a:lnTo>
                    <a:pt x="745" y="577"/>
                  </a:lnTo>
                  <a:lnTo>
                    <a:pt x="766" y="564"/>
                  </a:lnTo>
                  <a:lnTo>
                    <a:pt x="787" y="553"/>
                  </a:lnTo>
                  <a:lnTo>
                    <a:pt x="811" y="543"/>
                  </a:lnTo>
                  <a:lnTo>
                    <a:pt x="833" y="534"/>
                  </a:lnTo>
                  <a:lnTo>
                    <a:pt x="856" y="526"/>
                  </a:lnTo>
                  <a:lnTo>
                    <a:pt x="880" y="520"/>
                  </a:lnTo>
                  <a:lnTo>
                    <a:pt x="904" y="514"/>
                  </a:lnTo>
                  <a:lnTo>
                    <a:pt x="929" y="510"/>
                  </a:lnTo>
                  <a:lnTo>
                    <a:pt x="954" y="507"/>
                  </a:lnTo>
                  <a:lnTo>
                    <a:pt x="980" y="505"/>
                  </a:lnTo>
                  <a:lnTo>
                    <a:pt x="1006" y="504"/>
                  </a:lnTo>
                  <a:close/>
                  <a:moveTo>
                    <a:pt x="0" y="1008"/>
                  </a:moveTo>
                  <a:lnTo>
                    <a:pt x="2" y="1060"/>
                  </a:lnTo>
                  <a:lnTo>
                    <a:pt x="5" y="1111"/>
                  </a:lnTo>
                  <a:lnTo>
                    <a:pt x="12" y="1161"/>
                  </a:lnTo>
                  <a:lnTo>
                    <a:pt x="21" y="1211"/>
                  </a:lnTo>
                  <a:lnTo>
                    <a:pt x="32" y="1260"/>
                  </a:lnTo>
                  <a:lnTo>
                    <a:pt x="45" y="1308"/>
                  </a:lnTo>
                  <a:lnTo>
                    <a:pt x="61" y="1355"/>
                  </a:lnTo>
                  <a:lnTo>
                    <a:pt x="79" y="1400"/>
                  </a:lnTo>
                  <a:lnTo>
                    <a:pt x="99" y="1445"/>
                  </a:lnTo>
                  <a:lnTo>
                    <a:pt x="121" y="1488"/>
                  </a:lnTo>
                  <a:lnTo>
                    <a:pt x="146" y="1530"/>
                  </a:lnTo>
                  <a:lnTo>
                    <a:pt x="172" y="1572"/>
                  </a:lnTo>
                  <a:lnTo>
                    <a:pt x="200" y="1611"/>
                  </a:lnTo>
                  <a:lnTo>
                    <a:pt x="230" y="1649"/>
                  </a:lnTo>
                  <a:lnTo>
                    <a:pt x="261" y="1686"/>
                  </a:lnTo>
                  <a:lnTo>
                    <a:pt x="294" y="1721"/>
                  </a:lnTo>
                  <a:lnTo>
                    <a:pt x="330" y="1754"/>
                  </a:lnTo>
                  <a:lnTo>
                    <a:pt x="366" y="1785"/>
                  </a:lnTo>
                  <a:lnTo>
                    <a:pt x="404" y="1816"/>
                  </a:lnTo>
                  <a:lnTo>
                    <a:pt x="443" y="1844"/>
                  </a:lnTo>
                  <a:lnTo>
                    <a:pt x="485" y="1870"/>
                  </a:lnTo>
                  <a:lnTo>
                    <a:pt x="527" y="1894"/>
                  </a:lnTo>
                  <a:lnTo>
                    <a:pt x="570" y="1917"/>
                  </a:lnTo>
                  <a:lnTo>
                    <a:pt x="614" y="1937"/>
                  </a:lnTo>
                  <a:lnTo>
                    <a:pt x="661" y="1955"/>
                  </a:lnTo>
                  <a:lnTo>
                    <a:pt x="707" y="1971"/>
                  </a:lnTo>
                  <a:lnTo>
                    <a:pt x="754" y="1984"/>
                  </a:lnTo>
                  <a:lnTo>
                    <a:pt x="803" y="1995"/>
                  </a:lnTo>
                  <a:lnTo>
                    <a:pt x="853" y="2004"/>
                  </a:lnTo>
                  <a:lnTo>
                    <a:pt x="903" y="2011"/>
                  </a:lnTo>
                  <a:lnTo>
                    <a:pt x="954" y="2015"/>
                  </a:lnTo>
                  <a:lnTo>
                    <a:pt x="1006" y="2016"/>
                  </a:lnTo>
                  <a:lnTo>
                    <a:pt x="1057" y="2015"/>
                  </a:lnTo>
                  <a:lnTo>
                    <a:pt x="1108" y="2011"/>
                  </a:lnTo>
                  <a:lnTo>
                    <a:pt x="1159" y="2004"/>
                  </a:lnTo>
                  <a:lnTo>
                    <a:pt x="1208" y="1995"/>
                  </a:lnTo>
                  <a:lnTo>
                    <a:pt x="1257" y="1984"/>
                  </a:lnTo>
                  <a:lnTo>
                    <a:pt x="1304" y="1971"/>
                  </a:lnTo>
                  <a:lnTo>
                    <a:pt x="1352" y="1955"/>
                  </a:lnTo>
                  <a:lnTo>
                    <a:pt x="1397" y="1937"/>
                  </a:lnTo>
                  <a:lnTo>
                    <a:pt x="1441" y="1917"/>
                  </a:lnTo>
                  <a:lnTo>
                    <a:pt x="1485" y="1894"/>
                  </a:lnTo>
                  <a:lnTo>
                    <a:pt x="1527" y="1870"/>
                  </a:lnTo>
                  <a:lnTo>
                    <a:pt x="1568" y="1844"/>
                  </a:lnTo>
                  <a:lnTo>
                    <a:pt x="1607" y="1816"/>
                  </a:lnTo>
                  <a:lnTo>
                    <a:pt x="1645" y="1785"/>
                  </a:lnTo>
                  <a:lnTo>
                    <a:pt x="1682" y="1754"/>
                  </a:lnTo>
                  <a:lnTo>
                    <a:pt x="1717" y="1721"/>
                  </a:lnTo>
                  <a:lnTo>
                    <a:pt x="1750" y="1686"/>
                  </a:lnTo>
                  <a:lnTo>
                    <a:pt x="1782" y="1649"/>
                  </a:lnTo>
                  <a:lnTo>
                    <a:pt x="1811" y="1611"/>
                  </a:lnTo>
                  <a:lnTo>
                    <a:pt x="1840" y="1572"/>
                  </a:lnTo>
                  <a:lnTo>
                    <a:pt x="1866" y="1530"/>
                  </a:lnTo>
                  <a:lnTo>
                    <a:pt x="1890" y="1488"/>
                  </a:lnTo>
                  <a:lnTo>
                    <a:pt x="1912" y="1445"/>
                  </a:lnTo>
                  <a:lnTo>
                    <a:pt x="1932" y="1400"/>
                  </a:lnTo>
                  <a:lnTo>
                    <a:pt x="1950" y="1355"/>
                  </a:lnTo>
                  <a:lnTo>
                    <a:pt x="1966" y="1308"/>
                  </a:lnTo>
                  <a:lnTo>
                    <a:pt x="1980" y="1260"/>
                  </a:lnTo>
                  <a:lnTo>
                    <a:pt x="1992" y="1211"/>
                  </a:lnTo>
                  <a:lnTo>
                    <a:pt x="2001" y="1161"/>
                  </a:lnTo>
                  <a:lnTo>
                    <a:pt x="2007" y="1111"/>
                  </a:lnTo>
                  <a:lnTo>
                    <a:pt x="2011" y="1060"/>
                  </a:lnTo>
                  <a:lnTo>
                    <a:pt x="2012" y="1008"/>
                  </a:lnTo>
                  <a:lnTo>
                    <a:pt x="2011" y="957"/>
                  </a:lnTo>
                  <a:lnTo>
                    <a:pt x="2007" y="905"/>
                  </a:lnTo>
                  <a:lnTo>
                    <a:pt x="2001" y="855"/>
                  </a:lnTo>
                  <a:lnTo>
                    <a:pt x="1992" y="805"/>
                  </a:lnTo>
                  <a:lnTo>
                    <a:pt x="1980" y="756"/>
                  </a:lnTo>
                  <a:lnTo>
                    <a:pt x="1966" y="709"/>
                  </a:lnTo>
                  <a:lnTo>
                    <a:pt x="1950" y="661"/>
                  </a:lnTo>
                  <a:lnTo>
                    <a:pt x="1932" y="616"/>
                  </a:lnTo>
                  <a:lnTo>
                    <a:pt x="1912" y="572"/>
                  </a:lnTo>
                  <a:lnTo>
                    <a:pt x="1890" y="528"/>
                  </a:lnTo>
                  <a:lnTo>
                    <a:pt x="1866" y="486"/>
                  </a:lnTo>
                  <a:lnTo>
                    <a:pt x="1840" y="445"/>
                  </a:lnTo>
                  <a:lnTo>
                    <a:pt x="1811" y="405"/>
                  </a:lnTo>
                  <a:lnTo>
                    <a:pt x="1782" y="367"/>
                  </a:lnTo>
                  <a:lnTo>
                    <a:pt x="1750" y="331"/>
                  </a:lnTo>
                  <a:lnTo>
                    <a:pt x="1717" y="295"/>
                  </a:lnTo>
                  <a:lnTo>
                    <a:pt x="1682" y="262"/>
                  </a:lnTo>
                  <a:lnTo>
                    <a:pt x="1645" y="231"/>
                  </a:lnTo>
                  <a:lnTo>
                    <a:pt x="1607" y="201"/>
                  </a:lnTo>
                  <a:lnTo>
                    <a:pt x="1568" y="172"/>
                  </a:lnTo>
                  <a:lnTo>
                    <a:pt x="1527" y="146"/>
                  </a:lnTo>
                  <a:lnTo>
                    <a:pt x="1485" y="122"/>
                  </a:lnTo>
                  <a:lnTo>
                    <a:pt x="1441" y="100"/>
                  </a:lnTo>
                  <a:lnTo>
                    <a:pt x="1397" y="80"/>
                  </a:lnTo>
                  <a:lnTo>
                    <a:pt x="1352" y="61"/>
                  </a:lnTo>
                  <a:lnTo>
                    <a:pt x="1304" y="45"/>
                  </a:lnTo>
                  <a:lnTo>
                    <a:pt x="1257" y="31"/>
                  </a:lnTo>
                  <a:lnTo>
                    <a:pt x="1208" y="20"/>
                  </a:lnTo>
                  <a:lnTo>
                    <a:pt x="1159" y="11"/>
                  </a:lnTo>
                  <a:lnTo>
                    <a:pt x="1108" y="5"/>
                  </a:lnTo>
                  <a:lnTo>
                    <a:pt x="1057" y="1"/>
                  </a:lnTo>
                  <a:lnTo>
                    <a:pt x="1006" y="0"/>
                  </a:lnTo>
                  <a:lnTo>
                    <a:pt x="954" y="1"/>
                  </a:lnTo>
                  <a:lnTo>
                    <a:pt x="903" y="5"/>
                  </a:lnTo>
                  <a:lnTo>
                    <a:pt x="853" y="11"/>
                  </a:lnTo>
                  <a:lnTo>
                    <a:pt x="803" y="20"/>
                  </a:lnTo>
                  <a:lnTo>
                    <a:pt x="754" y="31"/>
                  </a:lnTo>
                  <a:lnTo>
                    <a:pt x="707" y="45"/>
                  </a:lnTo>
                  <a:lnTo>
                    <a:pt x="661" y="61"/>
                  </a:lnTo>
                  <a:lnTo>
                    <a:pt x="614" y="80"/>
                  </a:lnTo>
                  <a:lnTo>
                    <a:pt x="570" y="100"/>
                  </a:lnTo>
                  <a:lnTo>
                    <a:pt x="527" y="122"/>
                  </a:lnTo>
                  <a:lnTo>
                    <a:pt x="485" y="146"/>
                  </a:lnTo>
                  <a:lnTo>
                    <a:pt x="443" y="172"/>
                  </a:lnTo>
                  <a:lnTo>
                    <a:pt x="404" y="201"/>
                  </a:lnTo>
                  <a:lnTo>
                    <a:pt x="366" y="231"/>
                  </a:lnTo>
                  <a:lnTo>
                    <a:pt x="330" y="262"/>
                  </a:lnTo>
                  <a:lnTo>
                    <a:pt x="294" y="295"/>
                  </a:lnTo>
                  <a:lnTo>
                    <a:pt x="261" y="331"/>
                  </a:lnTo>
                  <a:lnTo>
                    <a:pt x="230" y="367"/>
                  </a:lnTo>
                  <a:lnTo>
                    <a:pt x="200" y="405"/>
                  </a:lnTo>
                  <a:lnTo>
                    <a:pt x="172" y="445"/>
                  </a:lnTo>
                  <a:lnTo>
                    <a:pt x="146" y="486"/>
                  </a:lnTo>
                  <a:lnTo>
                    <a:pt x="121" y="528"/>
                  </a:lnTo>
                  <a:lnTo>
                    <a:pt x="99" y="572"/>
                  </a:lnTo>
                  <a:lnTo>
                    <a:pt x="79" y="616"/>
                  </a:lnTo>
                  <a:lnTo>
                    <a:pt x="61" y="661"/>
                  </a:lnTo>
                  <a:lnTo>
                    <a:pt x="45" y="709"/>
                  </a:lnTo>
                  <a:lnTo>
                    <a:pt x="32" y="756"/>
                  </a:lnTo>
                  <a:lnTo>
                    <a:pt x="21" y="805"/>
                  </a:lnTo>
                  <a:lnTo>
                    <a:pt x="12" y="855"/>
                  </a:lnTo>
                  <a:lnTo>
                    <a:pt x="5" y="905"/>
                  </a:lnTo>
                  <a:lnTo>
                    <a:pt x="2" y="957"/>
                  </a:lnTo>
                  <a:lnTo>
                    <a:pt x="0" y="10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62" name="íṥļiḍé">
              <a:extLst>
                <a:ext uri="{FF2B5EF4-FFF2-40B4-BE49-F238E27FC236}">
                  <a16:creationId xmlns:a16="http://schemas.microsoft.com/office/drawing/2014/main" id="{51B307E8-A992-4EBE-AFCC-93B57929C394}"/>
                </a:ext>
              </a:extLst>
            </p:cNvPr>
            <p:cNvSpPr/>
            <p:nvPr/>
          </p:nvSpPr>
          <p:spPr bwMode="auto">
            <a:xfrm>
              <a:off x="4327802" y="903599"/>
              <a:ext cx="38070" cy="38070"/>
            </a:xfrm>
            <a:custGeom>
              <a:avLst/>
              <a:gdLst>
                <a:gd name="T0" fmla="*/ 554 w 1006"/>
                <a:gd name="T1" fmla="*/ 1005 h 1008"/>
                <a:gd name="T2" fmla="*/ 628 w 1006"/>
                <a:gd name="T3" fmla="*/ 992 h 1008"/>
                <a:gd name="T4" fmla="*/ 699 w 1006"/>
                <a:gd name="T5" fmla="*/ 969 h 1008"/>
                <a:gd name="T6" fmla="*/ 763 w 1006"/>
                <a:gd name="T7" fmla="*/ 935 h 1008"/>
                <a:gd name="T8" fmla="*/ 822 w 1006"/>
                <a:gd name="T9" fmla="*/ 893 h 1008"/>
                <a:gd name="T10" fmla="*/ 875 w 1006"/>
                <a:gd name="T11" fmla="*/ 843 h 1008"/>
                <a:gd name="T12" fmla="*/ 920 w 1006"/>
                <a:gd name="T13" fmla="*/ 786 h 1008"/>
                <a:gd name="T14" fmla="*/ 956 w 1006"/>
                <a:gd name="T15" fmla="*/ 723 h 1008"/>
                <a:gd name="T16" fmla="*/ 983 w 1006"/>
                <a:gd name="T17" fmla="*/ 654 h 1008"/>
                <a:gd name="T18" fmla="*/ 1000 w 1006"/>
                <a:gd name="T19" fmla="*/ 581 h 1008"/>
                <a:gd name="T20" fmla="*/ 1006 w 1006"/>
                <a:gd name="T21" fmla="*/ 504 h 1008"/>
                <a:gd name="T22" fmla="*/ 1000 w 1006"/>
                <a:gd name="T23" fmla="*/ 427 h 1008"/>
                <a:gd name="T24" fmla="*/ 983 w 1006"/>
                <a:gd name="T25" fmla="*/ 354 h 1008"/>
                <a:gd name="T26" fmla="*/ 956 w 1006"/>
                <a:gd name="T27" fmla="*/ 285 h 1008"/>
                <a:gd name="T28" fmla="*/ 920 w 1006"/>
                <a:gd name="T29" fmla="*/ 222 h 1008"/>
                <a:gd name="T30" fmla="*/ 875 w 1006"/>
                <a:gd name="T31" fmla="*/ 165 h 1008"/>
                <a:gd name="T32" fmla="*/ 822 w 1006"/>
                <a:gd name="T33" fmla="*/ 115 h 1008"/>
                <a:gd name="T34" fmla="*/ 763 w 1006"/>
                <a:gd name="T35" fmla="*/ 72 h 1008"/>
                <a:gd name="T36" fmla="*/ 699 w 1006"/>
                <a:gd name="T37" fmla="*/ 39 h 1008"/>
                <a:gd name="T38" fmla="*/ 628 w 1006"/>
                <a:gd name="T39" fmla="*/ 16 h 1008"/>
                <a:gd name="T40" fmla="*/ 554 w 1006"/>
                <a:gd name="T41" fmla="*/ 3 h 1008"/>
                <a:gd name="T42" fmla="*/ 476 w 1006"/>
                <a:gd name="T43" fmla="*/ 1 h 1008"/>
                <a:gd name="T44" fmla="*/ 401 w 1006"/>
                <a:gd name="T45" fmla="*/ 10 h 1008"/>
                <a:gd name="T46" fmla="*/ 330 w 1006"/>
                <a:gd name="T47" fmla="*/ 30 h 1008"/>
                <a:gd name="T48" fmla="*/ 263 w 1006"/>
                <a:gd name="T49" fmla="*/ 60 h 1008"/>
                <a:gd name="T50" fmla="*/ 202 w 1006"/>
                <a:gd name="T51" fmla="*/ 100 h 1008"/>
                <a:gd name="T52" fmla="*/ 147 w 1006"/>
                <a:gd name="T53" fmla="*/ 147 h 1008"/>
                <a:gd name="T54" fmla="*/ 99 w 1006"/>
                <a:gd name="T55" fmla="*/ 202 h 1008"/>
                <a:gd name="T56" fmla="*/ 61 w 1006"/>
                <a:gd name="T57" fmla="*/ 264 h 1008"/>
                <a:gd name="T58" fmla="*/ 30 w 1006"/>
                <a:gd name="T59" fmla="*/ 330 h 1008"/>
                <a:gd name="T60" fmla="*/ 10 w 1006"/>
                <a:gd name="T61" fmla="*/ 402 h 1008"/>
                <a:gd name="T62" fmla="*/ 1 w 1006"/>
                <a:gd name="T63" fmla="*/ 478 h 1008"/>
                <a:gd name="T64" fmla="*/ 3 w 1006"/>
                <a:gd name="T65" fmla="*/ 555 h 1008"/>
                <a:gd name="T66" fmla="*/ 16 w 1006"/>
                <a:gd name="T67" fmla="*/ 630 h 1008"/>
                <a:gd name="T68" fmla="*/ 39 w 1006"/>
                <a:gd name="T69" fmla="*/ 700 h 1008"/>
                <a:gd name="T70" fmla="*/ 73 w 1006"/>
                <a:gd name="T71" fmla="*/ 765 h 1008"/>
                <a:gd name="T72" fmla="*/ 114 w 1006"/>
                <a:gd name="T73" fmla="*/ 824 h 1008"/>
                <a:gd name="T74" fmla="*/ 165 w 1006"/>
                <a:gd name="T75" fmla="*/ 877 h 1008"/>
                <a:gd name="T76" fmla="*/ 222 w 1006"/>
                <a:gd name="T77" fmla="*/ 922 h 1008"/>
                <a:gd name="T78" fmla="*/ 284 w 1006"/>
                <a:gd name="T79" fmla="*/ 959 h 1008"/>
                <a:gd name="T80" fmla="*/ 353 w 1006"/>
                <a:gd name="T81" fmla="*/ 985 h 1008"/>
                <a:gd name="T82" fmla="*/ 426 w 1006"/>
                <a:gd name="T83" fmla="*/ 1002 h 1008"/>
                <a:gd name="T84" fmla="*/ 503 w 1006"/>
                <a:gd name="T85" fmla="*/ 1008 h 1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1008">
                  <a:moveTo>
                    <a:pt x="503" y="1008"/>
                  </a:moveTo>
                  <a:lnTo>
                    <a:pt x="529" y="1007"/>
                  </a:lnTo>
                  <a:lnTo>
                    <a:pt x="554" y="1005"/>
                  </a:lnTo>
                  <a:lnTo>
                    <a:pt x="579" y="1002"/>
                  </a:lnTo>
                  <a:lnTo>
                    <a:pt x="604" y="998"/>
                  </a:lnTo>
                  <a:lnTo>
                    <a:pt x="628" y="992"/>
                  </a:lnTo>
                  <a:lnTo>
                    <a:pt x="652" y="985"/>
                  </a:lnTo>
                  <a:lnTo>
                    <a:pt x="676" y="978"/>
                  </a:lnTo>
                  <a:lnTo>
                    <a:pt x="699" y="969"/>
                  </a:lnTo>
                  <a:lnTo>
                    <a:pt x="721" y="959"/>
                  </a:lnTo>
                  <a:lnTo>
                    <a:pt x="742" y="948"/>
                  </a:lnTo>
                  <a:lnTo>
                    <a:pt x="763" y="935"/>
                  </a:lnTo>
                  <a:lnTo>
                    <a:pt x="784" y="922"/>
                  </a:lnTo>
                  <a:lnTo>
                    <a:pt x="803" y="908"/>
                  </a:lnTo>
                  <a:lnTo>
                    <a:pt x="822" y="893"/>
                  </a:lnTo>
                  <a:lnTo>
                    <a:pt x="841" y="877"/>
                  </a:lnTo>
                  <a:lnTo>
                    <a:pt x="859" y="861"/>
                  </a:lnTo>
                  <a:lnTo>
                    <a:pt x="875" y="843"/>
                  </a:lnTo>
                  <a:lnTo>
                    <a:pt x="891" y="824"/>
                  </a:lnTo>
                  <a:lnTo>
                    <a:pt x="906" y="805"/>
                  </a:lnTo>
                  <a:lnTo>
                    <a:pt x="920" y="786"/>
                  </a:lnTo>
                  <a:lnTo>
                    <a:pt x="933" y="765"/>
                  </a:lnTo>
                  <a:lnTo>
                    <a:pt x="945" y="744"/>
                  </a:lnTo>
                  <a:lnTo>
                    <a:pt x="956" y="723"/>
                  </a:lnTo>
                  <a:lnTo>
                    <a:pt x="966" y="700"/>
                  </a:lnTo>
                  <a:lnTo>
                    <a:pt x="975" y="677"/>
                  </a:lnTo>
                  <a:lnTo>
                    <a:pt x="983" y="654"/>
                  </a:lnTo>
                  <a:lnTo>
                    <a:pt x="989" y="630"/>
                  </a:lnTo>
                  <a:lnTo>
                    <a:pt x="996" y="606"/>
                  </a:lnTo>
                  <a:lnTo>
                    <a:pt x="1000" y="581"/>
                  </a:lnTo>
                  <a:lnTo>
                    <a:pt x="1004" y="555"/>
                  </a:lnTo>
                  <a:lnTo>
                    <a:pt x="1006" y="530"/>
                  </a:lnTo>
                  <a:lnTo>
                    <a:pt x="1006" y="504"/>
                  </a:lnTo>
                  <a:lnTo>
                    <a:pt x="1006" y="478"/>
                  </a:lnTo>
                  <a:lnTo>
                    <a:pt x="1004" y="452"/>
                  </a:lnTo>
                  <a:lnTo>
                    <a:pt x="1000" y="427"/>
                  </a:lnTo>
                  <a:lnTo>
                    <a:pt x="996" y="402"/>
                  </a:lnTo>
                  <a:lnTo>
                    <a:pt x="989" y="378"/>
                  </a:lnTo>
                  <a:lnTo>
                    <a:pt x="983" y="354"/>
                  </a:lnTo>
                  <a:lnTo>
                    <a:pt x="975" y="330"/>
                  </a:lnTo>
                  <a:lnTo>
                    <a:pt x="966" y="307"/>
                  </a:lnTo>
                  <a:lnTo>
                    <a:pt x="956" y="285"/>
                  </a:lnTo>
                  <a:lnTo>
                    <a:pt x="945" y="264"/>
                  </a:lnTo>
                  <a:lnTo>
                    <a:pt x="933" y="243"/>
                  </a:lnTo>
                  <a:lnTo>
                    <a:pt x="920" y="222"/>
                  </a:lnTo>
                  <a:lnTo>
                    <a:pt x="906" y="202"/>
                  </a:lnTo>
                  <a:lnTo>
                    <a:pt x="891" y="183"/>
                  </a:lnTo>
                  <a:lnTo>
                    <a:pt x="875" y="165"/>
                  </a:lnTo>
                  <a:lnTo>
                    <a:pt x="859" y="147"/>
                  </a:lnTo>
                  <a:lnTo>
                    <a:pt x="841" y="131"/>
                  </a:lnTo>
                  <a:lnTo>
                    <a:pt x="822" y="115"/>
                  </a:lnTo>
                  <a:lnTo>
                    <a:pt x="803" y="100"/>
                  </a:lnTo>
                  <a:lnTo>
                    <a:pt x="784" y="85"/>
                  </a:lnTo>
                  <a:lnTo>
                    <a:pt x="763" y="72"/>
                  </a:lnTo>
                  <a:lnTo>
                    <a:pt x="742" y="60"/>
                  </a:lnTo>
                  <a:lnTo>
                    <a:pt x="721" y="49"/>
                  </a:lnTo>
                  <a:lnTo>
                    <a:pt x="699" y="39"/>
                  </a:lnTo>
                  <a:lnTo>
                    <a:pt x="676" y="30"/>
                  </a:lnTo>
                  <a:lnTo>
                    <a:pt x="652" y="22"/>
                  </a:lnTo>
                  <a:lnTo>
                    <a:pt x="628" y="16"/>
                  </a:lnTo>
                  <a:lnTo>
                    <a:pt x="604" y="10"/>
                  </a:lnTo>
                  <a:lnTo>
                    <a:pt x="579" y="6"/>
                  </a:lnTo>
                  <a:lnTo>
                    <a:pt x="554" y="3"/>
                  </a:lnTo>
                  <a:lnTo>
                    <a:pt x="529" y="1"/>
                  </a:lnTo>
                  <a:lnTo>
                    <a:pt x="503" y="0"/>
                  </a:lnTo>
                  <a:lnTo>
                    <a:pt x="476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4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2" y="85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0" y="165"/>
                  </a:lnTo>
                  <a:lnTo>
                    <a:pt x="114" y="183"/>
                  </a:lnTo>
                  <a:lnTo>
                    <a:pt x="99" y="202"/>
                  </a:lnTo>
                  <a:lnTo>
                    <a:pt x="86" y="222"/>
                  </a:lnTo>
                  <a:lnTo>
                    <a:pt x="73" y="243"/>
                  </a:lnTo>
                  <a:lnTo>
                    <a:pt x="61" y="264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3" y="354"/>
                  </a:lnTo>
                  <a:lnTo>
                    <a:pt x="16" y="378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2"/>
                  </a:lnTo>
                  <a:lnTo>
                    <a:pt x="1" y="478"/>
                  </a:lnTo>
                  <a:lnTo>
                    <a:pt x="0" y="504"/>
                  </a:lnTo>
                  <a:lnTo>
                    <a:pt x="1" y="530"/>
                  </a:lnTo>
                  <a:lnTo>
                    <a:pt x="3" y="555"/>
                  </a:lnTo>
                  <a:lnTo>
                    <a:pt x="6" y="581"/>
                  </a:lnTo>
                  <a:lnTo>
                    <a:pt x="10" y="606"/>
                  </a:lnTo>
                  <a:lnTo>
                    <a:pt x="16" y="630"/>
                  </a:lnTo>
                  <a:lnTo>
                    <a:pt x="23" y="654"/>
                  </a:lnTo>
                  <a:lnTo>
                    <a:pt x="30" y="677"/>
                  </a:lnTo>
                  <a:lnTo>
                    <a:pt x="39" y="700"/>
                  </a:lnTo>
                  <a:lnTo>
                    <a:pt x="49" y="723"/>
                  </a:lnTo>
                  <a:lnTo>
                    <a:pt x="61" y="744"/>
                  </a:lnTo>
                  <a:lnTo>
                    <a:pt x="73" y="765"/>
                  </a:lnTo>
                  <a:lnTo>
                    <a:pt x="86" y="786"/>
                  </a:lnTo>
                  <a:lnTo>
                    <a:pt x="99" y="805"/>
                  </a:lnTo>
                  <a:lnTo>
                    <a:pt x="114" y="824"/>
                  </a:lnTo>
                  <a:lnTo>
                    <a:pt x="130" y="843"/>
                  </a:lnTo>
                  <a:lnTo>
                    <a:pt x="147" y="861"/>
                  </a:lnTo>
                  <a:lnTo>
                    <a:pt x="165" y="877"/>
                  </a:lnTo>
                  <a:lnTo>
                    <a:pt x="183" y="893"/>
                  </a:lnTo>
                  <a:lnTo>
                    <a:pt x="202" y="908"/>
                  </a:lnTo>
                  <a:lnTo>
                    <a:pt x="222" y="922"/>
                  </a:lnTo>
                  <a:lnTo>
                    <a:pt x="242" y="935"/>
                  </a:lnTo>
                  <a:lnTo>
                    <a:pt x="263" y="948"/>
                  </a:lnTo>
                  <a:lnTo>
                    <a:pt x="284" y="959"/>
                  </a:lnTo>
                  <a:lnTo>
                    <a:pt x="307" y="969"/>
                  </a:lnTo>
                  <a:lnTo>
                    <a:pt x="330" y="978"/>
                  </a:lnTo>
                  <a:lnTo>
                    <a:pt x="353" y="985"/>
                  </a:lnTo>
                  <a:lnTo>
                    <a:pt x="377" y="992"/>
                  </a:lnTo>
                  <a:lnTo>
                    <a:pt x="401" y="998"/>
                  </a:lnTo>
                  <a:lnTo>
                    <a:pt x="426" y="1002"/>
                  </a:lnTo>
                  <a:lnTo>
                    <a:pt x="451" y="1005"/>
                  </a:lnTo>
                  <a:lnTo>
                    <a:pt x="476" y="1007"/>
                  </a:lnTo>
                  <a:lnTo>
                    <a:pt x="503" y="10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63" name="ïŝļiďe">
              <a:extLst>
                <a:ext uri="{FF2B5EF4-FFF2-40B4-BE49-F238E27FC236}">
                  <a16:creationId xmlns:a16="http://schemas.microsoft.com/office/drawing/2014/main" id="{087B3740-D44C-4155-96E8-651F3E22CAA3}"/>
                </a:ext>
              </a:extLst>
            </p:cNvPr>
            <p:cNvSpPr/>
            <p:nvPr/>
          </p:nvSpPr>
          <p:spPr bwMode="auto">
            <a:xfrm>
              <a:off x="4635176" y="614555"/>
              <a:ext cx="38070" cy="39479"/>
            </a:xfrm>
            <a:custGeom>
              <a:avLst/>
              <a:gdLst>
                <a:gd name="T0" fmla="*/ 452 w 1006"/>
                <a:gd name="T1" fmla="*/ 3 h 1008"/>
                <a:gd name="T2" fmla="*/ 377 w 1006"/>
                <a:gd name="T3" fmla="*/ 16 h 1008"/>
                <a:gd name="T4" fmla="*/ 307 w 1006"/>
                <a:gd name="T5" fmla="*/ 39 h 1008"/>
                <a:gd name="T6" fmla="*/ 243 w 1006"/>
                <a:gd name="T7" fmla="*/ 72 h 1008"/>
                <a:gd name="T8" fmla="*/ 183 w 1006"/>
                <a:gd name="T9" fmla="*/ 115 h 1008"/>
                <a:gd name="T10" fmla="*/ 131 w 1006"/>
                <a:gd name="T11" fmla="*/ 165 h 1008"/>
                <a:gd name="T12" fmla="*/ 86 w 1006"/>
                <a:gd name="T13" fmla="*/ 222 h 1008"/>
                <a:gd name="T14" fmla="*/ 49 w 1006"/>
                <a:gd name="T15" fmla="*/ 285 h 1008"/>
                <a:gd name="T16" fmla="*/ 22 w 1006"/>
                <a:gd name="T17" fmla="*/ 354 h 1008"/>
                <a:gd name="T18" fmla="*/ 6 w 1006"/>
                <a:gd name="T19" fmla="*/ 427 h 1008"/>
                <a:gd name="T20" fmla="*/ 0 w 1006"/>
                <a:gd name="T21" fmla="*/ 504 h 1008"/>
                <a:gd name="T22" fmla="*/ 6 w 1006"/>
                <a:gd name="T23" fmla="*/ 581 h 1008"/>
                <a:gd name="T24" fmla="*/ 22 w 1006"/>
                <a:gd name="T25" fmla="*/ 654 h 1008"/>
                <a:gd name="T26" fmla="*/ 49 w 1006"/>
                <a:gd name="T27" fmla="*/ 723 h 1008"/>
                <a:gd name="T28" fmla="*/ 86 w 1006"/>
                <a:gd name="T29" fmla="*/ 786 h 1008"/>
                <a:gd name="T30" fmla="*/ 131 w 1006"/>
                <a:gd name="T31" fmla="*/ 843 h 1008"/>
                <a:gd name="T32" fmla="*/ 183 w 1006"/>
                <a:gd name="T33" fmla="*/ 893 h 1008"/>
                <a:gd name="T34" fmla="*/ 243 w 1006"/>
                <a:gd name="T35" fmla="*/ 936 h 1008"/>
                <a:gd name="T36" fmla="*/ 307 w 1006"/>
                <a:gd name="T37" fmla="*/ 969 h 1008"/>
                <a:gd name="T38" fmla="*/ 377 w 1006"/>
                <a:gd name="T39" fmla="*/ 992 h 1008"/>
                <a:gd name="T40" fmla="*/ 452 w 1006"/>
                <a:gd name="T41" fmla="*/ 1005 h 1008"/>
                <a:gd name="T42" fmla="*/ 529 w 1006"/>
                <a:gd name="T43" fmla="*/ 1007 h 1008"/>
                <a:gd name="T44" fmla="*/ 605 w 1006"/>
                <a:gd name="T45" fmla="*/ 998 h 1008"/>
                <a:gd name="T46" fmla="*/ 676 w 1006"/>
                <a:gd name="T47" fmla="*/ 978 h 1008"/>
                <a:gd name="T48" fmla="*/ 743 w 1006"/>
                <a:gd name="T49" fmla="*/ 948 h 1008"/>
                <a:gd name="T50" fmla="*/ 804 w 1006"/>
                <a:gd name="T51" fmla="*/ 908 h 1008"/>
                <a:gd name="T52" fmla="*/ 858 w 1006"/>
                <a:gd name="T53" fmla="*/ 861 h 1008"/>
                <a:gd name="T54" fmla="*/ 906 w 1006"/>
                <a:gd name="T55" fmla="*/ 805 h 1008"/>
                <a:gd name="T56" fmla="*/ 946 w 1006"/>
                <a:gd name="T57" fmla="*/ 744 h 1008"/>
                <a:gd name="T58" fmla="*/ 976 w 1006"/>
                <a:gd name="T59" fmla="*/ 677 h 1008"/>
                <a:gd name="T60" fmla="*/ 996 w 1006"/>
                <a:gd name="T61" fmla="*/ 606 h 1008"/>
                <a:gd name="T62" fmla="*/ 1005 w 1006"/>
                <a:gd name="T63" fmla="*/ 530 h 1008"/>
                <a:gd name="T64" fmla="*/ 1003 w 1006"/>
                <a:gd name="T65" fmla="*/ 453 h 1008"/>
                <a:gd name="T66" fmla="*/ 990 w 1006"/>
                <a:gd name="T67" fmla="*/ 378 h 1008"/>
                <a:gd name="T68" fmla="*/ 967 w 1006"/>
                <a:gd name="T69" fmla="*/ 307 h 1008"/>
                <a:gd name="T70" fmla="*/ 934 w 1006"/>
                <a:gd name="T71" fmla="*/ 243 h 1008"/>
                <a:gd name="T72" fmla="*/ 891 w 1006"/>
                <a:gd name="T73" fmla="*/ 183 h 1008"/>
                <a:gd name="T74" fmla="*/ 841 w 1006"/>
                <a:gd name="T75" fmla="*/ 131 h 1008"/>
                <a:gd name="T76" fmla="*/ 784 w 1006"/>
                <a:gd name="T77" fmla="*/ 86 h 1008"/>
                <a:gd name="T78" fmla="*/ 721 w 1006"/>
                <a:gd name="T79" fmla="*/ 49 h 1008"/>
                <a:gd name="T80" fmla="*/ 653 w 1006"/>
                <a:gd name="T81" fmla="*/ 22 h 1008"/>
                <a:gd name="T82" fmla="*/ 580 w 1006"/>
                <a:gd name="T83" fmla="*/ 6 h 1008"/>
                <a:gd name="T84" fmla="*/ 503 w 1006"/>
                <a:gd name="T85" fmla="*/ 0 h 1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1008">
                  <a:moveTo>
                    <a:pt x="503" y="0"/>
                  </a:moveTo>
                  <a:lnTo>
                    <a:pt x="477" y="1"/>
                  </a:lnTo>
                  <a:lnTo>
                    <a:pt x="452" y="3"/>
                  </a:lnTo>
                  <a:lnTo>
                    <a:pt x="427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4" y="60"/>
                  </a:lnTo>
                  <a:lnTo>
                    <a:pt x="243" y="72"/>
                  </a:lnTo>
                  <a:lnTo>
                    <a:pt x="221" y="86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100" y="203"/>
                  </a:lnTo>
                  <a:lnTo>
                    <a:pt x="86" y="222"/>
                  </a:lnTo>
                  <a:lnTo>
                    <a:pt x="73" y="243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1"/>
                  </a:lnTo>
                  <a:lnTo>
                    <a:pt x="22" y="354"/>
                  </a:lnTo>
                  <a:lnTo>
                    <a:pt x="16" y="378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3"/>
                  </a:lnTo>
                  <a:lnTo>
                    <a:pt x="1" y="478"/>
                  </a:lnTo>
                  <a:lnTo>
                    <a:pt x="0" y="504"/>
                  </a:lnTo>
                  <a:lnTo>
                    <a:pt x="1" y="530"/>
                  </a:lnTo>
                  <a:lnTo>
                    <a:pt x="3" y="555"/>
                  </a:lnTo>
                  <a:lnTo>
                    <a:pt x="6" y="581"/>
                  </a:lnTo>
                  <a:lnTo>
                    <a:pt x="10" y="606"/>
                  </a:lnTo>
                  <a:lnTo>
                    <a:pt x="16" y="630"/>
                  </a:lnTo>
                  <a:lnTo>
                    <a:pt x="22" y="654"/>
                  </a:lnTo>
                  <a:lnTo>
                    <a:pt x="30" y="677"/>
                  </a:lnTo>
                  <a:lnTo>
                    <a:pt x="39" y="701"/>
                  </a:lnTo>
                  <a:lnTo>
                    <a:pt x="49" y="723"/>
                  </a:lnTo>
                  <a:lnTo>
                    <a:pt x="60" y="744"/>
                  </a:lnTo>
                  <a:lnTo>
                    <a:pt x="73" y="765"/>
                  </a:lnTo>
                  <a:lnTo>
                    <a:pt x="86" y="786"/>
                  </a:lnTo>
                  <a:lnTo>
                    <a:pt x="100" y="805"/>
                  </a:lnTo>
                  <a:lnTo>
                    <a:pt x="115" y="825"/>
                  </a:lnTo>
                  <a:lnTo>
                    <a:pt x="131" y="843"/>
                  </a:lnTo>
                  <a:lnTo>
                    <a:pt x="147" y="861"/>
                  </a:lnTo>
                  <a:lnTo>
                    <a:pt x="165" y="877"/>
                  </a:lnTo>
                  <a:lnTo>
                    <a:pt x="183" y="893"/>
                  </a:lnTo>
                  <a:lnTo>
                    <a:pt x="202" y="908"/>
                  </a:lnTo>
                  <a:lnTo>
                    <a:pt x="221" y="922"/>
                  </a:lnTo>
                  <a:lnTo>
                    <a:pt x="243" y="936"/>
                  </a:lnTo>
                  <a:lnTo>
                    <a:pt x="264" y="948"/>
                  </a:lnTo>
                  <a:lnTo>
                    <a:pt x="285" y="959"/>
                  </a:lnTo>
                  <a:lnTo>
                    <a:pt x="307" y="969"/>
                  </a:lnTo>
                  <a:lnTo>
                    <a:pt x="330" y="978"/>
                  </a:lnTo>
                  <a:lnTo>
                    <a:pt x="353" y="986"/>
                  </a:lnTo>
                  <a:lnTo>
                    <a:pt x="377" y="992"/>
                  </a:lnTo>
                  <a:lnTo>
                    <a:pt x="401" y="998"/>
                  </a:lnTo>
                  <a:lnTo>
                    <a:pt x="427" y="1002"/>
                  </a:lnTo>
                  <a:lnTo>
                    <a:pt x="452" y="1005"/>
                  </a:lnTo>
                  <a:lnTo>
                    <a:pt x="477" y="1007"/>
                  </a:lnTo>
                  <a:lnTo>
                    <a:pt x="503" y="1008"/>
                  </a:lnTo>
                  <a:lnTo>
                    <a:pt x="529" y="1007"/>
                  </a:lnTo>
                  <a:lnTo>
                    <a:pt x="554" y="1005"/>
                  </a:lnTo>
                  <a:lnTo>
                    <a:pt x="580" y="1002"/>
                  </a:lnTo>
                  <a:lnTo>
                    <a:pt x="605" y="998"/>
                  </a:lnTo>
                  <a:lnTo>
                    <a:pt x="629" y="992"/>
                  </a:lnTo>
                  <a:lnTo>
                    <a:pt x="653" y="986"/>
                  </a:lnTo>
                  <a:lnTo>
                    <a:pt x="676" y="978"/>
                  </a:lnTo>
                  <a:lnTo>
                    <a:pt x="699" y="969"/>
                  </a:lnTo>
                  <a:lnTo>
                    <a:pt x="721" y="959"/>
                  </a:lnTo>
                  <a:lnTo>
                    <a:pt x="743" y="948"/>
                  </a:lnTo>
                  <a:lnTo>
                    <a:pt x="764" y="936"/>
                  </a:lnTo>
                  <a:lnTo>
                    <a:pt x="784" y="922"/>
                  </a:lnTo>
                  <a:lnTo>
                    <a:pt x="804" y="908"/>
                  </a:lnTo>
                  <a:lnTo>
                    <a:pt x="823" y="893"/>
                  </a:lnTo>
                  <a:lnTo>
                    <a:pt x="841" y="877"/>
                  </a:lnTo>
                  <a:lnTo>
                    <a:pt x="858" y="861"/>
                  </a:lnTo>
                  <a:lnTo>
                    <a:pt x="875" y="843"/>
                  </a:lnTo>
                  <a:lnTo>
                    <a:pt x="891" y="825"/>
                  </a:lnTo>
                  <a:lnTo>
                    <a:pt x="906" y="805"/>
                  </a:lnTo>
                  <a:lnTo>
                    <a:pt x="921" y="786"/>
                  </a:lnTo>
                  <a:lnTo>
                    <a:pt x="934" y="765"/>
                  </a:lnTo>
                  <a:lnTo>
                    <a:pt x="946" y="744"/>
                  </a:lnTo>
                  <a:lnTo>
                    <a:pt x="957" y="723"/>
                  </a:lnTo>
                  <a:lnTo>
                    <a:pt x="967" y="701"/>
                  </a:lnTo>
                  <a:lnTo>
                    <a:pt x="976" y="677"/>
                  </a:lnTo>
                  <a:lnTo>
                    <a:pt x="983" y="654"/>
                  </a:lnTo>
                  <a:lnTo>
                    <a:pt x="990" y="630"/>
                  </a:lnTo>
                  <a:lnTo>
                    <a:pt x="996" y="606"/>
                  </a:lnTo>
                  <a:lnTo>
                    <a:pt x="1000" y="581"/>
                  </a:lnTo>
                  <a:lnTo>
                    <a:pt x="1003" y="555"/>
                  </a:lnTo>
                  <a:lnTo>
                    <a:pt x="1005" y="530"/>
                  </a:lnTo>
                  <a:lnTo>
                    <a:pt x="1006" y="504"/>
                  </a:lnTo>
                  <a:lnTo>
                    <a:pt x="1005" y="478"/>
                  </a:lnTo>
                  <a:lnTo>
                    <a:pt x="1003" y="453"/>
                  </a:lnTo>
                  <a:lnTo>
                    <a:pt x="1000" y="427"/>
                  </a:lnTo>
                  <a:lnTo>
                    <a:pt x="996" y="402"/>
                  </a:lnTo>
                  <a:lnTo>
                    <a:pt x="990" y="378"/>
                  </a:lnTo>
                  <a:lnTo>
                    <a:pt x="983" y="354"/>
                  </a:lnTo>
                  <a:lnTo>
                    <a:pt x="976" y="331"/>
                  </a:lnTo>
                  <a:lnTo>
                    <a:pt x="967" y="307"/>
                  </a:lnTo>
                  <a:lnTo>
                    <a:pt x="957" y="285"/>
                  </a:lnTo>
                  <a:lnTo>
                    <a:pt x="946" y="263"/>
                  </a:lnTo>
                  <a:lnTo>
                    <a:pt x="934" y="243"/>
                  </a:lnTo>
                  <a:lnTo>
                    <a:pt x="921" y="222"/>
                  </a:lnTo>
                  <a:lnTo>
                    <a:pt x="906" y="203"/>
                  </a:lnTo>
                  <a:lnTo>
                    <a:pt x="891" y="183"/>
                  </a:lnTo>
                  <a:lnTo>
                    <a:pt x="875" y="165"/>
                  </a:lnTo>
                  <a:lnTo>
                    <a:pt x="858" y="147"/>
                  </a:lnTo>
                  <a:lnTo>
                    <a:pt x="841" y="131"/>
                  </a:lnTo>
                  <a:lnTo>
                    <a:pt x="823" y="115"/>
                  </a:lnTo>
                  <a:lnTo>
                    <a:pt x="804" y="100"/>
                  </a:lnTo>
                  <a:lnTo>
                    <a:pt x="784" y="86"/>
                  </a:lnTo>
                  <a:lnTo>
                    <a:pt x="764" y="72"/>
                  </a:lnTo>
                  <a:lnTo>
                    <a:pt x="743" y="60"/>
                  </a:lnTo>
                  <a:lnTo>
                    <a:pt x="721" y="49"/>
                  </a:lnTo>
                  <a:lnTo>
                    <a:pt x="699" y="39"/>
                  </a:lnTo>
                  <a:lnTo>
                    <a:pt x="676" y="30"/>
                  </a:lnTo>
                  <a:lnTo>
                    <a:pt x="653" y="22"/>
                  </a:lnTo>
                  <a:lnTo>
                    <a:pt x="629" y="16"/>
                  </a:lnTo>
                  <a:lnTo>
                    <a:pt x="605" y="10"/>
                  </a:lnTo>
                  <a:lnTo>
                    <a:pt x="580" y="6"/>
                  </a:lnTo>
                  <a:lnTo>
                    <a:pt x="554" y="3"/>
                  </a:lnTo>
                  <a:lnTo>
                    <a:pt x="529" y="1"/>
                  </a:lnTo>
                  <a:lnTo>
                    <a:pt x="50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64" name="íşḷiḑé">
              <a:extLst>
                <a:ext uri="{FF2B5EF4-FFF2-40B4-BE49-F238E27FC236}">
                  <a16:creationId xmlns:a16="http://schemas.microsoft.com/office/drawing/2014/main" id="{F483B394-90B8-40E9-AF75-548D4AE0AC00}"/>
                </a:ext>
              </a:extLst>
            </p:cNvPr>
            <p:cNvSpPr/>
            <p:nvPr/>
          </p:nvSpPr>
          <p:spPr bwMode="auto">
            <a:xfrm>
              <a:off x="1717176" y="1164261"/>
              <a:ext cx="404561" cy="303888"/>
            </a:xfrm>
            <a:custGeom>
              <a:avLst/>
              <a:gdLst>
                <a:gd name="T0" fmla="*/ 3355 w 16058"/>
                <a:gd name="T1" fmla="*/ 1202 h 12062"/>
                <a:gd name="T2" fmla="*/ 12900 w 16058"/>
                <a:gd name="T3" fmla="*/ 3520 h 12062"/>
                <a:gd name="T4" fmla="*/ 6375 w 16058"/>
                <a:gd name="T5" fmla="*/ 9292 h 12062"/>
                <a:gd name="T6" fmla="*/ 7499 w 16058"/>
                <a:gd name="T7" fmla="*/ 10191 h 12062"/>
                <a:gd name="T8" fmla="*/ 3867 w 16058"/>
                <a:gd name="T9" fmla="*/ 3520 h 12062"/>
                <a:gd name="T10" fmla="*/ 4867 w 16058"/>
                <a:gd name="T11" fmla="*/ 1808 h 12062"/>
                <a:gd name="T12" fmla="*/ 10392 w 16058"/>
                <a:gd name="T13" fmla="*/ 1006 h 12062"/>
                <a:gd name="T14" fmla="*/ 11161 w 16058"/>
                <a:gd name="T15" fmla="*/ 2489 h 12062"/>
                <a:gd name="T16" fmla="*/ 8559 w 16058"/>
                <a:gd name="T17" fmla="*/ 10191 h 12062"/>
                <a:gd name="T18" fmla="*/ 9279 w 16058"/>
                <a:gd name="T19" fmla="*/ 4022 h 12062"/>
                <a:gd name="T20" fmla="*/ 6524 w 16058"/>
                <a:gd name="T21" fmla="*/ 3192 h 12062"/>
                <a:gd name="T22" fmla="*/ 8421 w 16058"/>
                <a:gd name="T23" fmla="*/ 2263 h 12062"/>
                <a:gd name="T24" fmla="*/ 15764 w 16058"/>
                <a:gd name="T25" fmla="*/ 2849 h 12062"/>
                <a:gd name="T26" fmla="*/ 13141 w 16058"/>
                <a:gd name="T27" fmla="*/ 228 h 12062"/>
                <a:gd name="T28" fmla="*/ 13041 w 16058"/>
                <a:gd name="T29" fmla="*/ 156 h 12062"/>
                <a:gd name="T30" fmla="*/ 12934 w 16058"/>
                <a:gd name="T31" fmla="*/ 97 h 12062"/>
                <a:gd name="T32" fmla="*/ 12820 w 16058"/>
                <a:gd name="T33" fmla="*/ 51 h 12062"/>
                <a:gd name="T34" fmla="*/ 12702 w 16058"/>
                <a:gd name="T35" fmla="*/ 19 h 12062"/>
                <a:gd name="T36" fmla="*/ 12579 w 16058"/>
                <a:gd name="T37" fmla="*/ 3 h 12062"/>
                <a:gd name="T38" fmla="*/ 3529 w 16058"/>
                <a:gd name="T39" fmla="*/ 0 h 12062"/>
                <a:gd name="T40" fmla="*/ 3405 w 16058"/>
                <a:gd name="T41" fmla="*/ 11 h 12062"/>
                <a:gd name="T42" fmla="*/ 3285 w 16058"/>
                <a:gd name="T43" fmla="*/ 36 h 12062"/>
                <a:gd name="T44" fmla="*/ 3169 w 16058"/>
                <a:gd name="T45" fmla="*/ 76 h 12062"/>
                <a:gd name="T46" fmla="*/ 3059 w 16058"/>
                <a:gd name="T47" fmla="*/ 131 h 12062"/>
                <a:gd name="T48" fmla="*/ 2957 w 16058"/>
                <a:gd name="T49" fmla="*/ 197 h 12062"/>
                <a:gd name="T50" fmla="*/ 2861 w 16058"/>
                <a:gd name="T51" fmla="*/ 278 h 12062"/>
                <a:gd name="T52" fmla="*/ 242 w 16058"/>
                <a:gd name="T53" fmla="*/ 2906 h 12062"/>
                <a:gd name="T54" fmla="*/ 166 w 16058"/>
                <a:gd name="T55" fmla="*/ 3008 h 12062"/>
                <a:gd name="T56" fmla="*/ 103 w 16058"/>
                <a:gd name="T57" fmla="*/ 3116 h 12062"/>
                <a:gd name="T58" fmla="*/ 56 w 16058"/>
                <a:gd name="T59" fmla="*/ 3231 h 12062"/>
                <a:gd name="T60" fmla="*/ 23 w 16058"/>
                <a:gd name="T61" fmla="*/ 3349 h 12062"/>
                <a:gd name="T62" fmla="*/ 5 w 16058"/>
                <a:gd name="T63" fmla="*/ 3469 h 12062"/>
                <a:gd name="T64" fmla="*/ 1 w 16058"/>
                <a:gd name="T65" fmla="*/ 3611 h 12062"/>
                <a:gd name="T66" fmla="*/ 37 w 16058"/>
                <a:gd name="T67" fmla="*/ 3830 h 12062"/>
                <a:gd name="T68" fmla="*/ 90 w 16058"/>
                <a:gd name="T69" fmla="*/ 3978 h 12062"/>
                <a:gd name="T70" fmla="*/ 144 w 16058"/>
                <a:gd name="T71" fmla="*/ 4079 h 12062"/>
                <a:gd name="T72" fmla="*/ 209 w 16058"/>
                <a:gd name="T73" fmla="*/ 4174 h 12062"/>
                <a:gd name="T74" fmla="*/ 7297 w 16058"/>
                <a:gd name="T75" fmla="*/ 11744 h 12062"/>
                <a:gd name="T76" fmla="*/ 7395 w 16058"/>
                <a:gd name="T77" fmla="*/ 11836 h 12062"/>
                <a:gd name="T78" fmla="*/ 7502 w 16058"/>
                <a:gd name="T79" fmla="*/ 11912 h 12062"/>
                <a:gd name="T80" fmla="*/ 7618 w 16058"/>
                <a:gd name="T81" fmla="*/ 11974 h 12062"/>
                <a:gd name="T82" fmla="*/ 7741 w 16058"/>
                <a:gd name="T83" fmla="*/ 12020 h 12062"/>
                <a:gd name="T84" fmla="*/ 7869 w 16058"/>
                <a:gd name="T85" fmla="*/ 12049 h 12062"/>
                <a:gd name="T86" fmla="*/ 8002 w 16058"/>
                <a:gd name="T87" fmla="*/ 12062 h 12062"/>
                <a:gd name="T88" fmla="*/ 8135 w 16058"/>
                <a:gd name="T89" fmla="*/ 12056 h 12062"/>
                <a:gd name="T90" fmla="*/ 8266 w 16058"/>
                <a:gd name="T91" fmla="*/ 12034 h 12062"/>
                <a:gd name="T92" fmla="*/ 8392 w 16058"/>
                <a:gd name="T93" fmla="*/ 11994 h 12062"/>
                <a:gd name="T94" fmla="*/ 8511 w 16058"/>
                <a:gd name="T95" fmla="*/ 11938 h 12062"/>
                <a:gd name="T96" fmla="*/ 8622 w 16058"/>
                <a:gd name="T97" fmla="*/ 11868 h 12062"/>
                <a:gd name="T98" fmla="*/ 8724 w 16058"/>
                <a:gd name="T99" fmla="*/ 11782 h 12062"/>
                <a:gd name="T100" fmla="*/ 15821 w 16058"/>
                <a:gd name="T101" fmla="*/ 4210 h 12062"/>
                <a:gd name="T102" fmla="*/ 15892 w 16058"/>
                <a:gd name="T103" fmla="*/ 4115 h 12062"/>
                <a:gd name="T104" fmla="*/ 15951 w 16058"/>
                <a:gd name="T105" fmla="*/ 4014 h 12062"/>
                <a:gd name="T106" fmla="*/ 15997 w 16058"/>
                <a:gd name="T107" fmla="*/ 3908 h 12062"/>
                <a:gd name="T108" fmla="*/ 16030 w 16058"/>
                <a:gd name="T109" fmla="*/ 3799 h 12062"/>
                <a:gd name="T110" fmla="*/ 16050 w 16058"/>
                <a:gd name="T111" fmla="*/ 3686 h 12062"/>
                <a:gd name="T112" fmla="*/ 16058 w 16058"/>
                <a:gd name="T113" fmla="*/ 3574 h 12062"/>
                <a:gd name="T114" fmla="*/ 16053 w 16058"/>
                <a:gd name="T115" fmla="*/ 3456 h 12062"/>
                <a:gd name="T116" fmla="*/ 16034 w 16058"/>
                <a:gd name="T117" fmla="*/ 3338 h 12062"/>
                <a:gd name="T118" fmla="*/ 16000 w 16058"/>
                <a:gd name="T119" fmla="*/ 3222 h 12062"/>
                <a:gd name="T120" fmla="*/ 15953 w 16058"/>
                <a:gd name="T121" fmla="*/ 3111 h 12062"/>
                <a:gd name="T122" fmla="*/ 15891 w 16058"/>
                <a:gd name="T123" fmla="*/ 3005 h 12062"/>
                <a:gd name="T124" fmla="*/ 15816 w 16058"/>
                <a:gd name="T125" fmla="*/ 2905 h 1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58" h="12062">
                  <a:moveTo>
                    <a:pt x="3355" y="1202"/>
                  </a:moveTo>
                  <a:lnTo>
                    <a:pt x="4509" y="2165"/>
                  </a:lnTo>
                  <a:lnTo>
                    <a:pt x="3157" y="3520"/>
                  </a:lnTo>
                  <a:lnTo>
                    <a:pt x="1007" y="3520"/>
                  </a:lnTo>
                  <a:lnTo>
                    <a:pt x="3355" y="1202"/>
                  </a:lnTo>
                  <a:close/>
                  <a:moveTo>
                    <a:pt x="12900" y="3520"/>
                  </a:moveTo>
                  <a:lnTo>
                    <a:pt x="11549" y="2165"/>
                  </a:lnTo>
                  <a:lnTo>
                    <a:pt x="12702" y="1203"/>
                  </a:lnTo>
                  <a:lnTo>
                    <a:pt x="15013" y="3520"/>
                  </a:lnTo>
                  <a:lnTo>
                    <a:pt x="12900" y="3520"/>
                  </a:lnTo>
                  <a:close/>
                  <a:moveTo>
                    <a:pt x="12837" y="4022"/>
                  </a:moveTo>
                  <a:lnTo>
                    <a:pt x="14621" y="4022"/>
                  </a:lnTo>
                  <a:lnTo>
                    <a:pt x="9682" y="9292"/>
                  </a:lnTo>
                  <a:lnTo>
                    <a:pt x="12837" y="4022"/>
                  </a:lnTo>
                  <a:close/>
                  <a:moveTo>
                    <a:pt x="6375" y="9292"/>
                  </a:moveTo>
                  <a:lnTo>
                    <a:pt x="1438" y="4022"/>
                  </a:lnTo>
                  <a:lnTo>
                    <a:pt x="3221" y="4022"/>
                  </a:lnTo>
                  <a:lnTo>
                    <a:pt x="6375" y="9292"/>
                  </a:lnTo>
                  <a:close/>
                  <a:moveTo>
                    <a:pt x="6268" y="4022"/>
                  </a:moveTo>
                  <a:lnTo>
                    <a:pt x="7499" y="10191"/>
                  </a:lnTo>
                  <a:lnTo>
                    <a:pt x="3806" y="4022"/>
                  </a:lnTo>
                  <a:lnTo>
                    <a:pt x="6268" y="4022"/>
                  </a:lnTo>
                  <a:close/>
                  <a:moveTo>
                    <a:pt x="4897" y="2489"/>
                  </a:moveTo>
                  <a:lnTo>
                    <a:pt x="6132" y="3520"/>
                  </a:lnTo>
                  <a:lnTo>
                    <a:pt x="3867" y="3520"/>
                  </a:lnTo>
                  <a:lnTo>
                    <a:pt x="4897" y="2489"/>
                  </a:lnTo>
                  <a:close/>
                  <a:moveTo>
                    <a:pt x="4867" y="1808"/>
                  </a:moveTo>
                  <a:lnTo>
                    <a:pt x="3905" y="1006"/>
                  </a:lnTo>
                  <a:lnTo>
                    <a:pt x="5666" y="1006"/>
                  </a:lnTo>
                  <a:lnTo>
                    <a:pt x="4867" y="1808"/>
                  </a:lnTo>
                  <a:close/>
                  <a:moveTo>
                    <a:pt x="8029" y="1936"/>
                  </a:moveTo>
                  <a:lnTo>
                    <a:pt x="6915" y="1006"/>
                  </a:lnTo>
                  <a:lnTo>
                    <a:pt x="9143" y="1006"/>
                  </a:lnTo>
                  <a:lnTo>
                    <a:pt x="8029" y="1936"/>
                  </a:lnTo>
                  <a:close/>
                  <a:moveTo>
                    <a:pt x="10392" y="1006"/>
                  </a:moveTo>
                  <a:lnTo>
                    <a:pt x="12154" y="1006"/>
                  </a:lnTo>
                  <a:lnTo>
                    <a:pt x="11192" y="1808"/>
                  </a:lnTo>
                  <a:lnTo>
                    <a:pt x="10392" y="1006"/>
                  </a:lnTo>
                  <a:close/>
                  <a:moveTo>
                    <a:pt x="9926" y="3520"/>
                  </a:moveTo>
                  <a:lnTo>
                    <a:pt x="11161" y="2489"/>
                  </a:lnTo>
                  <a:lnTo>
                    <a:pt x="12190" y="3520"/>
                  </a:lnTo>
                  <a:lnTo>
                    <a:pt x="9926" y="3520"/>
                  </a:lnTo>
                  <a:close/>
                  <a:moveTo>
                    <a:pt x="9790" y="4022"/>
                  </a:moveTo>
                  <a:lnTo>
                    <a:pt x="12252" y="4022"/>
                  </a:lnTo>
                  <a:lnTo>
                    <a:pt x="8559" y="10191"/>
                  </a:lnTo>
                  <a:lnTo>
                    <a:pt x="9790" y="4022"/>
                  </a:lnTo>
                  <a:close/>
                  <a:moveTo>
                    <a:pt x="9279" y="4022"/>
                  </a:moveTo>
                  <a:lnTo>
                    <a:pt x="8029" y="10283"/>
                  </a:lnTo>
                  <a:lnTo>
                    <a:pt x="6779" y="4022"/>
                  </a:lnTo>
                  <a:lnTo>
                    <a:pt x="9279" y="4022"/>
                  </a:lnTo>
                  <a:close/>
                  <a:moveTo>
                    <a:pt x="6524" y="3192"/>
                  </a:moveTo>
                  <a:lnTo>
                    <a:pt x="5253" y="2132"/>
                  </a:lnTo>
                  <a:lnTo>
                    <a:pt x="6266" y="1117"/>
                  </a:lnTo>
                  <a:lnTo>
                    <a:pt x="7637" y="2263"/>
                  </a:lnTo>
                  <a:lnTo>
                    <a:pt x="6524" y="3192"/>
                  </a:lnTo>
                  <a:close/>
                  <a:moveTo>
                    <a:pt x="8421" y="2263"/>
                  </a:moveTo>
                  <a:lnTo>
                    <a:pt x="9792" y="1117"/>
                  </a:lnTo>
                  <a:lnTo>
                    <a:pt x="10806" y="2132"/>
                  </a:lnTo>
                  <a:lnTo>
                    <a:pt x="9534" y="3192"/>
                  </a:lnTo>
                  <a:lnTo>
                    <a:pt x="8421" y="2263"/>
                  </a:lnTo>
                  <a:close/>
                  <a:moveTo>
                    <a:pt x="9143" y="3520"/>
                  </a:moveTo>
                  <a:lnTo>
                    <a:pt x="6915" y="3520"/>
                  </a:lnTo>
                  <a:lnTo>
                    <a:pt x="8029" y="2589"/>
                  </a:lnTo>
                  <a:lnTo>
                    <a:pt x="9143" y="3520"/>
                  </a:lnTo>
                  <a:close/>
                  <a:moveTo>
                    <a:pt x="15764" y="2849"/>
                  </a:moveTo>
                  <a:lnTo>
                    <a:pt x="13215" y="295"/>
                  </a:lnTo>
                  <a:lnTo>
                    <a:pt x="13197" y="278"/>
                  </a:lnTo>
                  <a:lnTo>
                    <a:pt x="13179" y="260"/>
                  </a:lnTo>
                  <a:lnTo>
                    <a:pt x="13160" y="243"/>
                  </a:lnTo>
                  <a:lnTo>
                    <a:pt x="13141" y="228"/>
                  </a:lnTo>
                  <a:lnTo>
                    <a:pt x="13121" y="212"/>
                  </a:lnTo>
                  <a:lnTo>
                    <a:pt x="13102" y="197"/>
                  </a:lnTo>
                  <a:lnTo>
                    <a:pt x="13082" y="183"/>
                  </a:lnTo>
                  <a:lnTo>
                    <a:pt x="13062" y="169"/>
                  </a:lnTo>
                  <a:lnTo>
                    <a:pt x="13041" y="156"/>
                  </a:lnTo>
                  <a:lnTo>
                    <a:pt x="13020" y="143"/>
                  </a:lnTo>
                  <a:lnTo>
                    <a:pt x="12999" y="131"/>
                  </a:lnTo>
                  <a:lnTo>
                    <a:pt x="12978" y="119"/>
                  </a:lnTo>
                  <a:lnTo>
                    <a:pt x="12956" y="108"/>
                  </a:lnTo>
                  <a:lnTo>
                    <a:pt x="12934" y="97"/>
                  </a:lnTo>
                  <a:lnTo>
                    <a:pt x="12912" y="86"/>
                  </a:lnTo>
                  <a:lnTo>
                    <a:pt x="12890" y="76"/>
                  </a:lnTo>
                  <a:lnTo>
                    <a:pt x="12866" y="67"/>
                  </a:lnTo>
                  <a:lnTo>
                    <a:pt x="12843" y="59"/>
                  </a:lnTo>
                  <a:lnTo>
                    <a:pt x="12820" y="51"/>
                  </a:lnTo>
                  <a:lnTo>
                    <a:pt x="12797" y="43"/>
                  </a:lnTo>
                  <a:lnTo>
                    <a:pt x="12773" y="36"/>
                  </a:lnTo>
                  <a:lnTo>
                    <a:pt x="12750" y="30"/>
                  </a:lnTo>
                  <a:lnTo>
                    <a:pt x="12726" y="25"/>
                  </a:lnTo>
                  <a:lnTo>
                    <a:pt x="12702" y="19"/>
                  </a:lnTo>
                  <a:lnTo>
                    <a:pt x="12678" y="15"/>
                  </a:lnTo>
                  <a:lnTo>
                    <a:pt x="12654" y="11"/>
                  </a:lnTo>
                  <a:lnTo>
                    <a:pt x="12629" y="8"/>
                  </a:lnTo>
                  <a:lnTo>
                    <a:pt x="12605" y="5"/>
                  </a:lnTo>
                  <a:lnTo>
                    <a:pt x="12579" y="3"/>
                  </a:lnTo>
                  <a:lnTo>
                    <a:pt x="12555" y="1"/>
                  </a:lnTo>
                  <a:lnTo>
                    <a:pt x="12530" y="0"/>
                  </a:lnTo>
                  <a:lnTo>
                    <a:pt x="12505" y="0"/>
                  </a:lnTo>
                  <a:lnTo>
                    <a:pt x="3554" y="0"/>
                  </a:lnTo>
                  <a:lnTo>
                    <a:pt x="3529" y="0"/>
                  </a:lnTo>
                  <a:lnTo>
                    <a:pt x="3504" y="1"/>
                  </a:lnTo>
                  <a:lnTo>
                    <a:pt x="3480" y="3"/>
                  </a:lnTo>
                  <a:lnTo>
                    <a:pt x="3454" y="5"/>
                  </a:lnTo>
                  <a:lnTo>
                    <a:pt x="3430" y="8"/>
                  </a:lnTo>
                  <a:lnTo>
                    <a:pt x="3405" y="11"/>
                  </a:lnTo>
                  <a:lnTo>
                    <a:pt x="3381" y="15"/>
                  </a:lnTo>
                  <a:lnTo>
                    <a:pt x="3357" y="19"/>
                  </a:lnTo>
                  <a:lnTo>
                    <a:pt x="3333" y="25"/>
                  </a:lnTo>
                  <a:lnTo>
                    <a:pt x="3309" y="30"/>
                  </a:lnTo>
                  <a:lnTo>
                    <a:pt x="3285" y="36"/>
                  </a:lnTo>
                  <a:lnTo>
                    <a:pt x="3262" y="43"/>
                  </a:lnTo>
                  <a:lnTo>
                    <a:pt x="3239" y="51"/>
                  </a:lnTo>
                  <a:lnTo>
                    <a:pt x="3216" y="59"/>
                  </a:lnTo>
                  <a:lnTo>
                    <a:pt x="3193" y="67"/>
                  </a:lnTo>
                  <a:lnTo>
                    <a:pt x="3169" y="76"/>
                  </a:lnTo>
                  <a:lnTo>
                    <a:pt x="3147" y="86"/>
                  </a:lnTo>
                  <a:lnTo>
                    <a:pt x="3124" y="97"/>
                  </a:lnTo>
                  <a:lnTo>
                    <a:pt x="3103" y="108"/>
                  </a:lnTo>
                  <a:lnTo>
                    <a:pt x="3081" y="119"/>
                  </a:lnTo>
                  <a:lnTo>
                    <a:pt x="3059" y="131"/>
                  </a:lnTo>
                  <a:lnTo>
                    <a:pt x="3038" y="143"/>
                  </a:lnTo>
                  <a:lnTo>
                    <a:pt x="3017" y="156"/>
                  </a:lnTo>
                  <a:lnTo>
                    <a:pt x="2997" y="169"/>
                  </a:lnTo>
                  <a:lnTo>
                    <a:pt x="2977" y="183"/>
                  </a:lnTo>
                  <a:lnTo>
                    <a:pt x="2957" y="197"/>
                  </a:lnTo>
                  <a:lnTo>
                    <a:pt x="2937" y="212"/>
                  </a:lnTo>
                  <a:lnTo>
                    <a:pt x="2918" y="228"/>
                  </a:lnTo>
                  <a:lnTo>
                    <a:pt x="2898" y="243"/>
                  </a:lnTo>
                  <a:lnTo>
                    <a:pt x="2880" y="260"/>
                  </a:lnTo>
                  <a:lnTo>
                    <a:pt x="2861" y="278"/>
                  </a:lnTo>
                  <a:lnTo>
                    <a:pt x="2844" y="295"/>
                  </a:lnTo>
                  <a:lnTo>
                    <a:pt x="295" y="2849"/>
                  </a:lnTo>
                  <a:lnTo>
                    <a:pt x="277" y="2868"/>
                  </a:lnTo>
                  <a:lnTo>
                    <a:pt x="259" y="2887"/>
                  </a:lnTo>
                  <a:lnTo>
                    <a:pt x="242" y="2906"/>
                  </a:lnTo>
                  <a:lnTo>
                    <a:pt x="226" y="2926"/>
                  </a:lnTo>
                  <a:lnTo>
                    <a:pt x="210" y="2946"/>
                  </a:lnTo>
                  <a:lnTo>
                    <a:pt x="195" y="2966"/>
                  </a:lnTo>
                  <a:lnTo>
                    <a:pt x="180" y="2987"/>
                  </a:lnTo>
                  <a:lnTo>
                    <a:pt x="166" y="3008"/>
                  </a:lnTo>
                  <a:lnTo>
                    <a:pt x="152" y="3029"/>
                  </a:lnTo>
                  <a:lnTo>
                    <a:pt x="140" y="3051"/>
                  </a:lnTo>
                  <a:lnTo>
                    <a:pt x="126" y="3072"/>
                  </a:lnTo>
                  <a:lnTo>
                    <a:pt x="114" y="3094"/>
                  </a:lnTo>
                  <a:lnTo>
                    <a:pt x="103" y="3116"/>
                  </a:lnTo>
                  <a:lnTo>
                    <a:pt x="93" y="3139"/>
                  </a:lnTo>
                  <a:lnTo>
                    <a:pt x="83" y="3162"/>
                  </a:lnTo>
                  <a:lnTo>
                    <a:pt x="73" y="3185"/>
                  </a:lnTo>
                  <a:lnTo>
                    <a:pt x="64" y="3208"/>
                  </a:lnTo>
                  <a:lnTo>
                    <a:pt x="56" y="3231"/>
                  </a:lnTo>
                  <a:lnTo>
                    <a:pt x="48" y="3254"/>
                  </a:lnTo>
                  <a:lnTo>
                    <a:pt x="41" y="3277"/>
                  </a:lnTo>
                  <a:lnTo>
                    <a:pt x="34" y="3301"/>
                  </a:lnTo>
                  <a:lnTo>
                    <a:pt x="28" y="3324"/>
                  </a:lnTo>
                  <a:lnTo>
                    <a:pt x="23" y="3349"/>
                  </a:lnTo>
                  <a:lnTo>
                    <a:pt x="18" y="3373"/>
                  </a:lnTo>
                  <a:lnTo>
                    <a:pt x="14" y="3397"/>
                  </a:lnTo>
                  <a:lnTo>
                    <a:pt x="10" y="3421"/>
                  </a:lnTo>
                  <a:lnTo>
                    <a:pt x="7" y="3445"/>
                  </a:lnTo>
                  <a:lnTo>
                    <a:pt x="5" y="3469"/>
                  </a:lnTo>
                  <a:lnTo>
                    <a:pt x="3" y="3493"/>
                  </a:lnTo>
                  <a:lnTo>
                    <a:pt x="1" y="3518"/>
                  </a:lnTo>
                  <a:lnTo>
                    <a:pt x="0" y="3543"/>
                  </a:lnTo>
                  <a:lnTo>
                    <a:pt x="0" y="3567"/>
                  </a:lnTo>
                  <a:lnTo>
                    <a:pt x="1" y="3611"/>
                  </a:lnTo>
                  <a:lnTo>
                    <a:pt x="5" y="3655"/>
                  </a:lnTo>
                  <a:lnTo>
                    <a:pt x="10" y="3700"/>
                  </a:lnTo>
                  <a:lnTo>
                    <a:pt x="17" y="3743"/>
                  </a:lnTo>
                  <a:lnTo>
                    <a:pt x="26" y="3787"/>
                  </a:lnTo>
                  <a:lnTo>
                    <a:pt x="37" y="3830"/>
                  </a:lnTo>
                  <a:lnTo>
                    <a:pt x="49" y="3874"/>
                  </a:lnTo>
                  <a:lnTo>
                    <a:pt x="64" y="3916"/>
                  </a:lnTo>
                  <a:lnTo>
                    <a:pt x="72" y="3936"/>
                  </a:lnTo>
                  <a:lnTo>
                    <a:pt x="81" y="3957"/>
                  </a:lnTo>
                  <a:lnTo>
                    <a:pt x="90" y="3978"/>
                  </a:lnTo>
                  <a:lnTo>
                    <a:pt x="100" y="3998"/>
                  </a:lnTo>
                  <a:lnTo>
                    <a:pt x="110" y="4018"/>
                  </a:lnTo>
                  <a:lnTo>
                    <a:pt x="120" y="4039"/>
                  </a:lnTo>
                  <a:lnTo>
                    <a:pt x="132" y="4059"/>
                  </a:lnTo>
                  <a:lnTo>
                    <a:pt x="144" y="4079"/>
                  </a:lnTo>
                  <a:lnTo>
                    <a:pt x="156" y="4099"/>
                  </a:lnTo>
                  <a:lnTo>
                    <a:pt x="169" y="4118"/>
                  </a:lnTo>
                  <a:lnTo>
                    <a:pt x="182" y="4137"/>
                  </a:lnTo>
                  <a:lnTo>
                    <a:pt x="195" y="4156"/>
                  </a:lnTo>
                  <a:lnTo>
                    <a:pt x="209" y="4174"/>
                  </a:lnTo>
                  <a:lnTo>
                    <a:pt x="224" y="4193"/>
                  </a:lnTo>
                  <a:lnTo>
                    <a:pt x="239" y="4211"/>
                  </a:lnTo>
                  <a:lnTo>
                    <a:pt x="254" y="4228"/>
                  </a:lnTo>
                  <a:lnTo>
                    <a:pt x="7278" y="11724"/>
                  </a:lnTo>
                  <a:lnTo>
                    <a:pt x="7297" y="11744"/>
                  </a:lnTo>
                  <a:lnTo>
                    <a:pt x="7315" y="11763"/>
                  </a:lnTo>
                  <a:lnTo>
                    <a:pt x="7334" y="11782"/>
                  </a:lnTo>
                  <a:lnTo>
                    <a:pt x="7354" y="11801"/>
                  </a:lnTo>
                  <a:lnTo>
                    <a:pt x="7374" y="11819"/>
                  </a:lnTo>
                  <a:lnTo>
                    <a:pt x="7395" y="11836"/>
                  </a:lnTo>
                  <a:lnTo>
                    <a:pt x="7415" y="11852"/>
                  </a:lnTo>
                  <a:lnTo>
                    <a:pt x="7436" y="11868"/>
                  </a:lnTo>
                  <a:lnTo>
                    <a:pt x="7458" y="11883"/>
                  </a:lnTo>
                  <a:lnTo>
                    <a:pt x="7480" y="11898"/>
                  </a:lnTo>
                  <a:lnTo>
                    <a:pt x="7502" y="11912"/>
                  </a:lnTo>
                  <a:lnTo>
                    <a:pt x="7524" y="11925"/>
                  </a:lnTo>
                  <a:lnTo>
                    <a:pt x="7547" y="11938"/>
                  </a:lnTo>
                  <a:lnTo>
                    <a:pt x="7570" y="11950"/>
                  </a:lnTo>
                  <a:lnTo>
                    <a:pt x="7594" y="11962"/>
                  </a:lnTo>
                  <a:lnTo>
                    <a:pt x="7618" y="11974"/>
                  </a:lnTo>
                  <a:lnTo>
                    <a:pt x="7642" y="11985"/>
                  </a:lnTo>
                  <a:lnTo>
                    <a:pt x="7667" y="11994"/>
                  </a:lnTo>
                  <a:lnTo>
                    <a:pt x="7691" y="12004"/>
                  </a:lnTo>
                  <a:lnTo>
                    <a:pt x="7716" y="12012"/>
                  </a:lnTo>
                  <a:lnTo>
                    <a:pt x="7741" y="12020"/>
                  </a:lnTo>
                  <a:lnTo>
                    <a:pt x="7766" y="12027"/>
                  </a:lnTo>
                  <a:lnTo>
                    <a:pt x="7792" y="12034"/>
                  </a:lnTo>
                  <a:lnTo>
                    <a:pt x="7817" y="12040"/>
                  </a:lnTo>
                  <a:lnTo>
                    <a:pt x="7843" y="12045"/>
                  </a:lnTo>
                  <a:lnTo>
                    <a:pt x="7869" y="12049"/>
                  </a:lnTo>
                  <a:lnTo>
                    <a:pt x="7896" y="12053"/>
                  </a:lnTo>
                  <a:lnTo>
                    <a:pt x="7923" y="12056"/>
                  </a:lnTo>
                  <a:lnTo>
                    <a:pt x="7949" y="12059"/>
                  </a:lnTo>
                  <a:lnTo>
                    <a:pt x="7976" y="12061"/>
                  </a:lnTo>
                  <a:lnTo>
                    <a:pt x="8002" y="12062"/>
                  </a:lnTo>
                  <a:lnTo>
                    <a:pt x="8029" y="12062"/>
                  </a:lnTo>
                  <a:lnTo>
                    <a:pt x="8056" y="12062"/>
                  </a:lnTo>
                  <a:lnTo>
                    <a:pt x="8082" y="12061"/>
                  </a:lnTo>
                  <a:lnTo>
                    <a:pt x="8109" y="12059"/>
                  </a:lnTo>
                  <a:lnTo>
                    <a:pt x="8135" y="12056"/>
                  </a:lnTo>
                  <a:lnTo>
                    <a:pt x="8162" y="12053"/>
                  </a:lnTo>
                  <a:lnTo>
                    <a:pt x="8189" y="12049"/>
                  </a:lnTo>
                  <a:lnTo>
                    <a:pt x="8215" y="12045"/>
                  </a:lnTo>
                  <a:lnTo>
                    <a:pt x="8241" y="12040"/>
                  </a:lnTo>
                  <a:lnTo>
                    <a:pt x="8266" y="12034"/>
                  </a:lnTo>
                  <a:lnTo>
                    <a:pt x="8292" y="12027"/>
                  </a:lnTo>
                  <a:lnTo>
                    <a:pt x="8317" y="12020"/>
                  </a:lnTo>
                  <a:lnTo>
                    <a:pt x="8342" y="12012"/>
                  </a:lnTo>
                  <a:lnTo>
                    <a:pt x="8367" y="12004"/>
                  </a:lnTo>
                  <a:lnTo>
                    <a:pt x="8392" y="11994"/>
                  </a:lnTo>
                  <a:lnTo>
                    <a:pt x="8416" y="11985"/>
                  </a:lnTo>
                  <a:lnTo>
                    <a:pt x="8440" y="11974"/>
                  </a:lnTo>
                  <a:lnTo>
                    <a:pt x="8465" y="11962"/>
                  </a:lnTo>
                  <a:lnTo>
                    <a:pt x="8488" y="11950"/>
                  </a:lnTo>
                  <a:lnTo>
                    <a:pt x="8511" y="11938"/>
                  </a:lnTo>
                  <a:lnTo>
                    <a:pt x="8534" y="11925"/>
                  </a:lnTo>
                  <a:lnTo>
                    <a:pt x="8557" y="11912"/>
                  </a:lnTo>
                  <a:lnTo>
                    <a:pt x="8579" y="11898"/>
                  </a:lnTo>
                  <a:lnTo>
                    <a:pt x="8601" y="11883"/>
                  </a:lnTo>
                  <a:lnTo>
                    <a:pt x="8622" y="11868"/>
                  </a:lnTo>
                  <a:lnTo>
                    <a:pt x="8643" y="11852"/>
                  </a:lnTo>
                  <a:lnTo>
                    <a:pt x="8664" y="11836"/>
                  </a:lnTo>
                  <a:lnTo>
                    <a:pt x="8684" y="11819"/>
                  </a:lnTo>
                  <a:lnTo>
                    <a:pt x="8704" y="11801"/>
                  </a:lnTo>
                  <a:lnTo>
                    <a:pt x="8724" y="11782"/>
                  </a:lnTo>
                  <a:lnTo>
                    <a:pt x="8743" y="11763"/>
                  </a:lnTo>
                  <a:lnTo>
                    <a:pt x="8762" y="11744"/>
                  </a:lnTo>
                  <a:lnTo>
                    <a:pt x="8780" y="11724"/>
                  </a:lnTo>
                  <a:lnTo>
                    <a:pt x="15805" y="4228"/>
                  </a:lnTo>
                  <a:lnTo>
                    <a:pt x="15821" y="4210"/>
                  </a:lnTo>
                  <a:lnTo>
                    <a:pt x="15836" y="4192"/>
                  </a:lnTo>
                  <a:lnTo>
                    <a:pt x="15851" y="4173"/>
                  </a:lnTo>
                  <a:lnTo>
                    <a:pt x="15865" y="4154"/>
                  </a:lnTo>
                  <a:lnTo>
                    <a:pt x="15878" y="4135"/>
                  </a:lnTo>
                  <a:lnTo>
                    <a:pt x="15892" y="4115"/>
                  </a:lnTo>
                  <a:lnTo>
                    <a:pt x="15904" y="4096"/>
                  </a:lnTo>
                  <a:lnTo>
                    <a:pt x="15917" y="4076"/>
                  </a:lnTo>
                  <a:lnTo>
                    <a:pt x="15929" y="4056"/>
                  </a:lnTo>
                  <a:lnTo>
                    <a:pt x="15940" y="4034"/>
                  </a:lnTo>
                  <a:lnTo>
                    <a:pt x="15951" y="4014"/>
                  </a:lnTo>
                  <a:lnTo>
                    <a:pt x="15961" y="3993"/>
                  </a:lnTo>
                  <a:lnTo>
                    <a:pt x="15971" y="3972"/>
                  </a:lnTo>
                  <a:lnTo>
                    <a:pt x="15980" y="3951"/>
                  </a:lnTo>
                  <a:lnTo>
                    <a:pt x="15989" y="3930"/>
                  </a:lnTo>
                  <a:lnTo>
                    <a:pt x="15997" y="3908"/>
                  </a:lnTo>
                  <a:lnTo>
                    <a:pt x="16004" y="3887"/>
                  </a:lnTo>
                  <a:lnTo>
                    <a:pt x="16011" y="3864"/>
                  </a:lnTo>
                  <a:lnTo>
                    <a:pt x="16018" y="3842"/>
                  </a:lnTo>
                  <a:lnTo>
                    <a:pt x="16024" y="3820"/>
                  </a:lnTo>
                  <a:lnTo>
                    <a:pt x="16030" y="3799"/>
                  </a:lnTo>
                  <a:lnTo>
                    <a:pt x="16035" y="3776"/>
                  </a:lnTo>
                  <a:lnTo>
                    <a:pt x="16039" y="3754"/>
                  </a:lnTo>
                  <a:lnTo>
                    <a:pt x="16044" y="3732"/>
                  </a:lnTo>
                  <a:lnTo>
                    <a:pt x="16047" y="3710"/>
                  </a:lnTo>
                  <a:lnTo>
                    <a:pt x="16050" y="3686"/>
                  </a:lnTo>
                  <a:lnTo>
                    <a:pt x="16053" y="3664"/>
                  </a:lnTo>
                  <a:lnTo>
                    <a:pt x="16055" y="3642"/>
                  </a:lnTo>
                  <a:lnTo>
                    <a:pt x="16056" y="3619"/>
                  </a:lnTo>
                  <a:lnTo>
                    <a:pt x="16057" y="3597"/>
                  </a:lnTo>
                  <a:lnTo>
                    <a:pt x="16058" y="3574"/>
                  </a:lnTo>
                  <a:lnTo>
                    <a:pt x="16058" y="3552"/>
                  </a:lnTo>
                  <a:lnTo>
                    <a:pt x="16057" y="3528"/>
                  </a:lnTo>
                  <a:lnTo>
                    <a:pt x="16056" y="3503"/>
                  </a:lnTo>
                  <a:lnTo>
                    <a:pt x="16055" y="3479"/>
                  </a:lnTo>
                  <a:lnTo>
                    <a:pt x="16053" y="3456"/>
                  </a:lnTo>
                  <a:lnTo>
                    <a:pt x="16050" y="3432"/>
                  </a:lnTo>
                  <a:lnTo>
                    <a:pt x="16047" y="3408"/>
                  </a:lnTo>
                  <a:lnTo>
                    <a:pt x="16043" y="3385"/>
                  </a:lnTo>
                  <a:lnTo>
                    <a:pt x="16039" y="3362"/>
                  </a:lnTo>
                  <a:lnTo>
                    <a:pt x="16034" y="3338"/>
                  </a:lnTo>
                  <a:lnTo>
                    <a:pt x="16028" y="3314"/>
                  </a:lnTo>
                  <a:lnTo>
                    <a:pt x="16022" y="3291"/>
                  </a:lnTo>
                  <a:lnTo>
                    <a:pt x="16015" y="3268"/>
                  </a:lnTo>
                  <a:lnTo>
                    <a:pt x="16008" y="3245"/>
                  </a:lnTo>
                  <a:lnTo>
                    <a:pt x="16000" y="3222"/>
                  </a:lnTo>
                  <a:lnTo>
                    <a:pt x="15992" y="3200"/>
                  </a:lnTo>
                  <a:lnTo>
                    <a:pt x="15983" y="3178"/>
                  </a:lnTo>
                  <a:lnTo>
                    <a:pt x="15974" y="3155"/>
                  </a:lnTo>
                  <a:lnTo>
                    <a:pt x="15964" y="3132"/>
                  </a:lnTo>
                  <a:lnTo>
                    <a:pt x="15953" y="3111"/>
                  </a:lnTo>
                  <a:lnTo>
                    <a:pt x="15942" y="3089"/>
                  </a:lnTo>
                  <a:lnTo>
                    <a:pt x="15930" y="3068"/>
                  </a:lnTo>
                  <a:lnTo>
                    <a:pt x="15917" y="3047"/>
                  </a:lnTo>
                  <a:lnTo>
                    <a:pt x="15904" y="3026"/>
                  </a:lnTo>
                  <a:lnTo>
                    <a:pt x="15891" y="3005"/>
                  </a:lnTo>
                  <a:lnTo>
                    <a:pt x="15877" y="2985"/>
                  </a:lnTo>
                  <a:lnTo>
                    <a:pt x="15863" y="2964"/>
                  </a:lnTo>
                  <a:lnTo>
                    <a:pt x="15848" y="2944"/>
                  </a:lnTo>
                  <a:lnTo>
                    <a:pt x="15832" y="2924"/>
                  </a:lnTo>
                  <a:lnTo>
                    <a:pt x="15816" y="2905"/>
                  </a:lnTo>
                  <a:lnTo>
                    <a:pt x="15799" y="2886"/>
                  </a:lnTo>
                  <a:lnTo>
                    <a:pt x="15782" y="2868"/>
                  </a:lnTo>
                  <a:lnTo>
                    <a:pt x="15764" y="284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65" name="íṣḻîdê">
              <a:extLst>
                <a:ext uri="{FF2B5EF4-FFF2-40B4-BE49-F238E27FC236}">
                  <a16:creationId xmlns:a16="http://schemas.microsoft.com/office/drawing/2014/main" id="{5F337193-5E7A-4971-A33B-4F2E496F9461}"/>
                </a:ext>
              </a:extLst>
            </p:cNvPr>
            <p:cNvSpPr/>
            <p:nvPr/>
          </p:nvSpPr>
          <p:spPr bwMode="auto">
            <a:xfrm>
              <a:off x="1395669" y="1400908"/>
              <a:ext cx="195352" cy="158005"/>
            </a:xfrm>
            <a:custGeom>
              <a:avLst/>
              <a:gdLst>
                <a:gd name="T0" fmla="*/ 7283 w 10058"/>
                <a:gd name="T1" fmla="*/ 7525 h 8158"/>
                <a:gd name="T2" fmla="*/ 5279 w 10058"/>
                <a:gd name="T3" fmla="*/ 7654 h 8158"/>
                <a:gd name="T4" fmla="*/ 3276 w 10058"/>
                <a:gd name="T5" fmla="*/ 7576 h 8158"/>
                <a:gd name="T6" fmla="*/ 1272 w 10058"/>
                <a:gd name="T7" fmla="*/ 7293 h 8158"/>
                <a:gd name="T8" fmla="*/ 666 w 10058"/>
                <a:gd name="T9" fmla="*/ 5859 h 8158"/>
                <a:gd name="T10" fmla="*/ 503 w 10058"/>
                <a:gd name="T11" fmla="*/ 4276 h 8158"/>
                <a:gd name="T12" fmla="*/ 600 w 10058"/>
                <a:gd name="T13" fmla="*/ 2694 h 8158"/>
                <a:gd name="T14" fmla="*/ 959 w 10058"/>
                <a:gd name="T15" fmla="*/ 1111 h 8158"/>
                <a:gd name="T16" fmla="*/ 2775 w 10058"/>
                <a:gd name="T17" fmla="*/ 632 h 8158"/>
                <a:gd name="T18" fmla="*/ 4779 w 10058"/>
                <a:gd name="T19" fmla="*/ 504 h 8158"/>
                <a:gd name="T20" fmla="*/ 6782 w 10058"/>
                <a:gd name="T21" fmla="*/ 581 h 8158"/>
                <a:gd name="T22" fmla="*/ 8786 w 10058"/>
                <a:gd name="T23" fmla="*/ 864 h 8158"/>
                <a:gd name="T24" fmla="*/ 9392 w 10058"/>
                <a:gd name="T25" fmla="*/ 2298 h 8158"/>
                <a:gd name="T26" fmla="*/ 9555 w 10058"/>
                <a:gd name="T27" fmla="*/ 3881 h 8158"/>
                <a:gd name="T28" fmla="*/ 9458 w 10058"/>
                <a:gd name="T29" fmla="*/ 5463 h 8158"/>
                <a:gd name="T30" fmla="*/ 9099 w 10058"/>
                <a:gd name="T31" fmla="*/ 7045 h 8158"/>
                <a:gd name="T32" fmla="*/ 8369 w 10058"/>
                <a:gd name="T33" fmla="*/ 278 h 8158"/>
                <a:gd name="T34" fmla="*/ 7341 w 10058"/>
                <a:gd name="T35" fmla="*/ 133 h 8158"/>
                <a:gd name="T36" fmla="*/ 6311 w 10058"/>
                <a:gd name="T37" fmla="*/ 41 h 8158"/>
                <a:gd name="T38" fmla="*/ 5285 w 10058"/>
                <a:gd name="T39" fmla="*/ 1 h 8158"/>
                <a:gd name="T40" fmla="*/ 4260 w 10058"/>
                <a:gd name="T41" fmla="*/ 14 h 8158"/>
                <a:gd name="T42" fmla="*/ 3232 w 10058"/>
                <a:gd name="T43" fmla="*/ 80 h 8158"/>
                <a:gd name="T44" fmla="*/ 2203 w 10058"/>
                <a:gd name="T45" fmla="*/ 199 h 8158"/>
                <a:gd name="T46" fmla="*/ 1177 w 10058"/>
                <a:gd name="T47" fmla="*/ 370 h 8158"/>
                <a:gd name="T48" fmla="*/ 826 w 10058"/>
                <a:gd name="T49" fmla="*/ 451 h 8158"/>
                <a:gd name="T50" fmla="*/ 713 w 10058"/>
                <a:gd name="T51" fmla="*/ 518 h 8158"/>
                <a:gd name="T52" fmla="*/ 621 w 10058"/>
                <a:gd name="T53" fmla="*/ 610 h 8158"/>
                <a:gd name="T54" fmla="*/ 555 w 10058"/>
                <a:gd name="T55" fmla="*/ 725 h 8158"/>
                <a:gd name="T56" fmla="*/ 212 w 10058"/>
                <a:gd name="T57" fmla="*/ 2000 h 8158"/>
                <a:gd name="T58" fmla="*/ 9 w 10058"/>
                <a:gd name="T59" fmla="*/ 3663 h 8158"/>
                <a:gd name="T60" fmla="*/ 76 w 10058"/>
                <a:gd name="T61" fmla="*/ 5327 h 8158"/>
                <a:gd name="T62" fmla="*/ 416 w 10058"/>
                <a:gd name="T63" fmla="*/ 6987 h 8158"/>
                <a:gd name="T64" fmla="*/ 584 w 10058"/>
                <a:gd name="T65" fmla="*/ 7492 h 8158"/>
                <a:gd name="T66" fmla="*/ 664 w 10058"/>
                <a:gd name="T67" fmla="*/ 7596 h 8158"/>
                <a:gd name="T68" fmla="*/ 766 w 10058"/>
                <a:gd name="T69" fmla="*/ 7676 h 8158"/>
                <a:gd name="T70" fmla="*/ 888 w 10058"/>
                <a:gd name="T71" fmla="*/ 7728 h 8158"/>
                <a:gd name="T72" fmla="*/ 1689 w 10058"/>
                <a:gd name="T73" fmla="*/ 7879 h 8158"/>
                <a:gd name="T74" fmla="*/ 2717 w 10058"/>
                <a:gd name="T75" fmla="*/ 8024 h 8158"/>
                <a:gd name="T76" fmla="*/ 3746 w 10058"/>
                <a:gd name="T77" fmla="*/ 8117 h 8158"/>
                <a:gd name="T78" fmla="*/ 4773 w 10058"/>
                <a:gd name="T79" fmla="*/ 8156 h 8158"/>
                <a:gd name="T80" fmla="*/ 5798 w 10058"/>
                <a:gd name="T81" fmla="*/ 8143 h 8158"/>
                <a:gd name="T82" fmla="*/ 6826 w 10058"/>
                <a:gd name="T83" fmla="*/ 8076 h 8158"/>
                <a:gd name="T84" fmla="*/ 7855 w 10058"/>
                <a:gd name="T85" fmla="*/ 7958 h 8158"/>
                <a:gd name="T86" fmla="*/ 8881 w 10058"/>
                <a:gd name="T87" fmla="*/ 7787 h 8158"/>
                <a:gd name="T88" fmla="*/ 9232 w 10058"/>
                <a:gd name="T89" fmla="*/ 7706 h 8158"/>
                <a:gd name="T90" fmla="*/ 9345 w 10058"/>
                <a:gd name="T91" fmla="*/ 7640 h 8158"/>
                <a:gd name="T92" fmla="*/ 9438 w 10058"/>
                <a:gd name="T93" fmla="*/ 7547 h 8158"/>
                <a:gd name="T94" fmla="*/ 9502 w 10058"/>
                <a:gd name="T95" fmla="*/ 7431 h 8158"/>
                <a:gd name="T96" fmla="*/ 9846 w 10058"/>
                <a:gd name="T97" fmla="*/ 6158 h 8158"/>
                <a:gd name="T98" fmla="*/ 10050 w 10058"/>
                <a:gd name="T99" fmla="*/ 4495 h 8158"/>
                <a:gd name="T100" fmla="*/ 9982 w 10058"/>
                <a:gd name="T101" fmla="*/ 2831 h 8158"/>
                <a:gd name="T102" fmla="*/ 9642 w 10058"/>
                <a:gd name="T103" fmla="*/ 1170 h 8158"/>
                <a:gd name="T104" fmla="*/ 9474 w 10058"/>
                <a:gd name="T105" fmla="*/ 665 h 8158"/>
                <a:gd name="T106" fmla="*/ 9394 w 10058"/>
                <a:gd name="T107" fmla="*/ 561 h 8158"/>
                <a:gd name="T108" fmla="*/ 9292 w 10058"/>
                <a:gd name="T109" fmla="*/ 480 h 8158"/>
                <a:gd name="T110" fmla="*/ 9170 w 10058"/>
                <a:gd name="T111" fmla="*/ 429 h 8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058" h="8158">
                  <a:moveTo>
                    <a:pt x="9036" y="7243"/>
                  </a:moveTo>
                  <a:lnTo>
                    <a:pt x="8786" y="7293"/>
                  </a:lnTo>
                  <a:lnTo>
                    <a:pt x="8535" y="7340"/>
                  </a:lnTo>
                  <a:lnTo>
                    <a:pt x="8285" y="7383"/>
                  </a:lnTo>
                  <a:lnTo>
                    <a:pt x="8034" y="7423"/>
                  </a:lnTo>
                  <a:lnTo>
                    <a:pt x="7784" y="7461"/>
                  </a:lnTo>
                  <a:lnTo>
                    <a:pt x="7533" y="7494"/>
                  </a:lnTo>
                  <a:lnTo>
                    <a:pt x="7283" y="7525"/>
                  </a:lnTo>
                  <a:lnTo>
                    <a:pt x="7032" y="7552"/>
                  </a:lnTo>
                  <a:lnTo>
                    <a:pt x="6782" y="7576"/>
                  </a:lnTo>
                  <a:lnTo>
                    <a:pt x="6531" y="7597"/>
                  </a:lnTo>
                  <a:lnTo>
                    <a:pt x="6281" y="7615"/>
                  </a:lnTo>
                  <a:lnTo>
                    <a:pt x="6030" y="7630"/>
                  </a:lnTo>
                  <a:lnTo>
                    <a:pt x="5780" y="7641"/>
                  </a:lnTo>
                  <a:lnTo>
                    <a:pt x="5530" y="7649"/>
                  </a:lnTo>
                  <a:lnTo>
                    <a:pt x="5279" y="7654"/>
                  </a:lnTo>
                  <a:lnTo>
                    <a:pt x="5029" y="7655"/>
                  </a:lnTo>
                  <a:lnTo>
                    <a:pt x="4779" y="7654"/>
                  </a:lnTo>
                  <a:lnTo>
                    <a:pt x="4529" y="7649"/>
                  </a:lnTo>
                  <a:lnTo>
                    <a:pt x="4278" y="7641"/>
                  </a:lnTo>
                  <a:lnTo>
                    <a:pt x="4028" y="7630"/>
                  </a:lnTo>
                  <a:lnTo>
                    <a:pt x="3777" y="7615"/>
                  </a:lnTo>
                  <a:lnTo>
                    <a:pt x="3527" y="7597"/>
                  </a:lnTo>
                  <a:lnTo>
                    <a:pt x="3276" y="7576"/>
                  </a:lnTo>
                  <a:lnTo>
                    <a:pt x="3026" y="7552"/>
                  </a:lnTo>
                  <a:lnTo>
                    <a:pt x="2775" y="7525"/>
                  </a:lnTo>
                  <a:lnTo>
                    <a:pt x="2525" y="7494"/>
                  </a:lnTo>
                  <a:lnTo>
                    <a:pt x="2274" y="7461"/>
                  </a:lnTo>
                  <a:lnTo>
                    <a:pt x="2024" y="7423"/>
                  </a:lnTo>
                  <a:lnTo>
                    <a:pt x="1773" y="7383"/>
                  </a:lnTo>
                  <a:lnTo>
                    <a:pt x="1523" y="7340"/>
                  </a:lnTo>
                  <a:lnTo>
                    <a:pt x="1272" y="7293"/>
                  </a:lnTo>
                  <a:lnTo>
                    <a:pt x="1022" y="7243"/>
                  </a:lnTo>
                  <a:lnTo>
                    <a:pt x="959" y="7045"/>
                  </a:lnTo>
                  <a:lnTo>
                    <a:pt x="900" y="6848"/>
                  </a:lnTo>
                  <a:lnTo>
                    <a:pt x="845" y="6650"/>
                  </a:lnTo>
                  <a:lnTo>
                    <a:pt x="795" y="6451"/>
                  </a:lnTo>
                  <a:lnTo>
                    <a:pt x="747" y="6254"/>
                  </a:lnTo>
                  <a:lnTo>
                    <a:pt x="705" y="6056"/>
                  </a:lnTo>
                  <a:lnTo>
                    <a:pt x="666" y="5859"/>
                  </a:lnTo>
                  <a:lnTo>
                    <a:pt x="632" y="5661"/>
                  </a:lnTo>
                  <a:lnTo>
                    <a:pt x="600" y="5463"/>
                  </a:lnTo>
                  <a:lnTo>
                    <a:pt x="574" y="5265"/>
                  </a:lnTo>
                  <a:lnTo>
                    <a:pt x="552" y="5067"/>
                  </a:lnTo>
                  <a:lnTo>
                    <a:pt x="534" y="4870"/>
                  </a:lnTo>
                  <a:lnTo>
                    <a:pt x="519" y="4672"/>
                  </a:lnTo>
                  <a:lnTo>
                    <a:pt x="509" y="4474"/>
                  </a:lnTo>
                  <a:lnTo>
                    <a:pt x="503" y="4276"/>
                  </a:lnTo>
                  <a:lnTo>
                    <a:pt x="501" y="4078"/>
                  </a:lnTo>
                  <a:lnTo>
                    <a:pt x="503" y="3881"/>
                  </a:lnTo>
                  <a:lnTo>
                    <a:pt x="509" y="3683"/>
                  </a:lnTo>
                  <a:lnTo>
                    <a:pt x="519" y="3486"/>
                  </a:lnTo>
                  <a:lnTo>
                    <a:pt x="534" y="3287"/>
                  </a:lnTo>
                  <a:lnTo>
                    <a:pt x="552" y="3089"/>
                  </a:lnTo>
                  <a:lnTo>
                    <a:pt x="574" y="2892"/>
                  </a:lnTo>
                  <a:lnTo>
                    <a:pt x="600" y="2694"/>
                  </a:lnTo>
                  <a:lnTo>
                    <a:pt x="632" y="2497"/>
                  </a:lnTo>
                  <a:lnTo>
                    <a:pt x="666" y="2298"/>
                  </a:lnTo>
                  <a:lnTo>
                    <a:pt x="705" y="2100"/>
                  </a:lnTo>
                  <a:lnTo>
                    <a:pt x="747" y="1903"/>
                  </a:lnTo>
                  <a:lnTo>
                    <a:pt x="795" y="1705"/>
                  </a:lnTo>
                  <a:lnTo>
                    <a:pt x="845" y="1508"/>
                  </a:lnTo>
                  <a:lnTo>
                    <a:pt x="900" y="1309"/>
                  </a:lnTo>
                  <a:lnTo>
                    <a:pt x="959" y="1111"/>
                  </a:lnTo>
                  <a:lnTo>
                    <a:pt x="1022" y="914"/>
                  </a:lnTo>
                  <a:lnTo>
                    <a:pt x="1272" y="864"/>
                  </a:lnTo>
                  <a:lnTo>
                    <a:pt x="1523" y="817"/>
                  </a:lnTo>
                  <a:lnTo>
                    <a:pt x="1773" y="774"/>
                  </a:lnTo>
                  <a:lnTo>
                    <a:pt x="2024" y="734"/>
                  </a:lnTo>
                  <a:lnTo>
                    <a:pt x="2274" y="697"/>
                  </a:lnTo>
                  <a:lnTo>
                    <a:pt x="2525" y="663"/>
                  </a:lnTo>
                  <a:lnTo>
                    <a:pt x="2775" y="632"/>
                  </a:lnTo>
                  <a:lnTo>
                    <a:pt x="3026" y="605"/>
                  </a:lnTo>
                  <a:lnTo>
                    <a:pt x="3276" y="581"/>
                  </a:lnTo>
                  <a:lnTo>
                    <a:pt x="3527" y="560"/>
                  </a:lnTo>
                  <a:lnTo>
                    <a:pt x="3777" y="543"/>
                  </a:lnTo>
                  <a:lnTo>
                    <a:pt x="4028" y="528"/>
                  </a:lnTo>
                  <a:lnTo>
                    <a:pt x="4278" y="517"/>
                  </a:lnTo>
                  <a:lnTo>
                    <a:pt x="4529" y="509"/>
                  </a:lnTo>
                  <a:lnTo>
                    <a:pt x="4779" y="504"/>
                  </a:lnTo>
                  <a:lnTo>
                    <a:pt x="5029" y="503"/>
                  </a:lnTo>
                  <a:lnTo>
                    <a:pt x="5279" y="504"/>
                  </a:lnTo>
                  <a:lnTo>
                    <a:pt x="5530" y="509"/>
                  </a:lnTo>
                  <a:lnTo>
                    <a:pt x="5780" y="517"/>
                  </a:lnTo>
                  <a:lnTo>
                    <a:pt x="6030" y="528"/>
                  </a:lnTo>
                  <a:lnTo>
                    <a:pt x="6281" y="543"/>
                  </a:lnTo>
                  <a:lnTo>
                    <a:pt x="6531" y="560"/>
                  </a:lnTo>
                  <a:lnTo>
                    <a:pt x="6782" y="581"/>
                  </a:lnTo>
                  <a:lnTo>
                    <a:pt x="7032" y="605"/>
                  </a:lnTo>
                  <a:lnTo>
                    <a:pt x="7283" y="632"/>
                  </a:lnTo>
                  <a:lnTo>
                    <a:pt x="7533" y="663"/>
                  </a:lnTo>
                  <a:lnTo>
                    <a:pt x="7784" y="697"/>
                  </a:lnTo>
                  <a:lnTo>
                    <a:pt x="8034" y="734"/>
                  </a:lnTo>
                  <a:lnTo>
                    <a:pt x="8285" y="774"/>
                  </a:lnTo>
                  <a:lnTo>
                    <a:pt x="8535" y="817"/>
                  </a:lnTo>
                  <a:lnTo>
                    <a:pt x="8786" y="864"/>
                  </a:lnTo>
                  <a:lnTo>
                    <a:pt x="9036" y="914"/>
                  </a:lnTo>
                  <a:lnTo>
                    <a:pt x="9099" y="1111"/>
                  </a:lnTo>
                  <a:lnTo>
                    <a:pt x="9158" y="1309"/>
                  </a:lnTo>
                  <a:lnTo>
                    <a:pt x="9213" y="1508"/>
                  </a:lnTo>
                  <a:lnTo>
                    <a:pt x="9264" y="1705"/>
                  </a:lnTo>
                  <a:lnTo>
                    <a:pt x="9311" y="1903"/>
                  </a:lnTo>
                  <a:lnTo>
                    <a:pt x="9353" y="2100"/>
                  </a:lnTo>
                  <a:lnTo>
                    <a:pt x="9392" y="2298"/>
                  </a:lnTo>
                  <a:lnTo>
                    <a:pt x="9427" y="2497"/>
                  </a:lnTo>
                  <a:lnTo>
                    <a:pt x="9458" y="2694"/>
                  </a:lnTo>
                  <a:lnTo>
                    <a:pt x="9484" y="2892"/>
                  </a:lnTo>
                  <a:lnTo>
                    <a:pt x="9506" y="3089"/>
                  </a:lnTo>
                  <a:lnTo>
                    <a:pt x="9524" y="3287"/>
                  </a:lnTo>
                  <a:lnTo>
                    <a:pt x="9539" y="3486"/>
                  </a:lnTo>
                  <a:lnTo>
                    <a:pt x="9549" y="3683"/>
                  </a:lnTo>
                  <a:lnTo>
                    <a:pt x="9555" y="3881"/>
                  </a:lnTo>
                  <a:lnTo>
                    <a:pt x="9557" y="4078"/>
                  </a:lnTo>
                  <a:lnTo>
                    <a:pt x="9555" y="4276"/>
                  </a:lnTo>
                  <a:lnTo>
                    <a:pt x="9549" y="4474"/>
                  </a:lnTo>
                  <a:lnTo>
                    <a:pt x="9539" y="4672"/>
                  </a:lnTo>
                  <a:lnTo>
                    <a:pt x="9524" y="4870"/>
                  </a:lnTo>
                  <a:lnTo>
                    <a:pt x="9506" y="5067"/>
                  </a:lnTo>
                  <a:lnTo>
                    <a:pt x="9484" y="5265"/>
                  </a:lnTo>
                  <a:lnTo>
                    <a:pt x="9458" y="5463"/>
                  </a:lnTo>
                  <a:lnTo>
                    <a:pt x="9427" y="5661"/>
                  </a:lnTo>
                  <a:lnTo>
                    <a:pt x="9392" y="5859"/>
                  </a:lnTo>
                  <a:lnTo>
                    <a:pt x="9353" y="6056"/>
                  </a:lnTo>
                  <a:lnTo>
                    <a:pt x="9311" y="6254"/>
                  </a:lnTo>
                  <a:lnTo>
                    <a:pt x="9264" y="6451"/>
                  </a:lnTo>
                  <a:lnTo>
                    <a:pt x="9213" y="6650"/>
                  </a:lnTo>
                  <a:lnTo>
                    <a:pt x="9158" y="6848"/>
                  </a:lnTo>
                  <a:lnTo>
                    <a:pt x="9099" y="7045"/>
                  </a:lnTo>
                  <a:lnTo>
                    <a:pt x="9036" y="7243"/>
                  </a:lnTo>
                  <a:close/>
                  <a:moveTo>
                    <a:pt x="9137" y="421"/>
                  </a:moveTo>
                  <a:lnTo>
                    <a:pt x="9009" y="395"/>
                  </a:lnTo>
                  <a:lnTo>
                    <a:pt x="8881" y="370"/>
                  </a:lnTo>
                  <a:lnTo>
                    <a:pt x="8754" y="346"/>
                  </a:lnTo>
                  <a:lnTo>
                    <a:pt x="8625" y="322"/>
                  </a:lnTo>
                  <a:lnTo>
                    <a:pt x="8497" y="299"/>
                  </a:lnTo>
                  <a:lnTo>
                    <a:pt x="8369" y="278"/>
                  </a:lnTo>
                  <a:lnTo>
                    <a:pt x="8241" y="257"/>
                  </a:lnTo>
                  <a:lnTo>
                    <a:pt x="8112" y="237"/>
                  </a:lnTo>
                  <a:lnTo>
                    <a:pt x="7984" y="218"/>
                  </a:lnTo>
                  <a:lnTo>
                    <a:pt x="7855" y="199"/>
                  </a:lnTo>
                  <a:lnTo>
                    <a:pt x="7726" y="182"/>
                  </a:lnTo>
                  <a:lnTo>
                    <a:pt x="7598" y="165"/>
                  </a:lnTo>
                  <a:lnTo>
                    <a:pt x="7469" y="148"/>
                  </a:lnTo>
                  <a:lnTo>
                    <a:pt x="7341" y="133"/>
                  </a:lnTo>
                  <a:lnTo>
                    <a:pt x="7212" y="118"/>
                  </a:lnTo>
                  <a:lnTo>
                    <a:pt x="7084" y="105"/>
                  </a:lnTo>
                  <a:lnTo>
                    <a:pt x="6955" y="92"/>
                  </a:lnTo>
                  <a:lnTo>
                    <a:pt x="6826" y="80"/>
                  </a:lnTo>
                  <a:lnTo>
                    <a:pt x="6697" y="69"/>
                  </a:lnTo>
                  <a:lnTo>
                    <a:pt x="6569" y="59"/>
                  </a:lnTo>
                  <a:lnTo>
                    <a:pt x="6440" y="49"/>
                  </a:lnTo>
                  <a:lnTo>
                    <a:pt x="6311" y="41"/>
                  </a:lnTo>
                  <a:lnTo>
                    <a:pt x="6183" y="33"/>
                  </a:lnTo>
                  <a:lnTo>
                    <a:pt x="6055" y="26"/>
                  </a:lnTo>
                  <a:lnTo>
                    <a:pt x="5926" y="20"/>
                  </a:lnTo>
                  <a:lnTo>
                    <a:pt x="5798" y="14"/>
                  </a:lnTo>
                  <a:lnTo>
                    <a:pt x="5669" y="10"/>
                  </a:lnTo>
                  <a:lnTo>
                    <a:pt x="5542" y="6"/>
                  </a:lnTo>
                  <a:lnTo>
                    <a:pt x="5413" y="3"/>
                  </a:lnTo>
                  <a:lnTo>
                    <a:pt x="5285" y="1"/>
                  </a:lnTo>
                  <a:lnTo>
                    <a:pt x="5157" y="0"/>
                  </a:lnTo>
                  <a:lnTo>
                    <a:pt x="5029" y="0"/>
                  </a:lnTo>
                  <a:lnTo>
                    <a:pt x="4901" y="0"/>
                  </a:lnTo>
                  <a:lnTo>
                    <a:pt x="4773" y="1"/>
                  </a:lnTo>
                  <a:lnTo>
                    <a:pt x="4645" y="3"/>
                  </a:lnTo>
                  <a:lnTo>
                    <a:pt x="4517" y="6"/>
                  </a:lnTo>
                  <a:lnTo>
                    <a:pt x="4389" y="10"/>
                  </a:lnTo>
                  <a:lnTo>
                    <a:pt x="4260" y="14"/>
                  </a:lnTo>
                  <a:lnTo>
                    <a:pt x="4132" y="20"/>
                  </a:lnTo>
                  <a:lnTo>
                    <a:pt x="4004" y="26"/>
                  </a:lnTo>
                  <a:lnTo>
                    <a:pt x="3875" y="33"/>
                  </a:lnTo>
                  <a:lnTo>
                    <a:pt x="3746" y="41"/>
                  </a:lnTo>
                  <a:lnTo>
                    <a:pt x="3618" y="49"/>
                  </a:lnTo>
                  <a:lnTo>
                    <a:pt x="3489" y="59"/>
                  </a:lnTo>
                  <a:lnTo>
                    <a:pt x="3361" y="69"/>
                  </a:lnTo>
                  <a:lnTo>
                    <a:pt x="3232" y="80"/>
                  </a:lnTo>
                  <a:lnTo>
                    <a:pt x="3103" y="92"/>
                  </a:lnTo>
                  <a:lnTo>
                    <a:pt x="2974" y="105"/>
                  </a:lnTo>
                  <a:lnTo>
                    <a:pt x="2846" y="118"/>
                  </a:lnTo>
                  <a:lnTo>
                    <a:pt x="2717" y="133"/>
                  </a:lnTo>
                  <a:lnTo>
                    <a:pt x="2589" y="148"/>
                  </a:lnTo>
                  <a:lnTo>
                    <a:pt x="2460" y="165"/>
                  </a:lnTo>
                  <a:lnTo>
                    <a:pt x="2332" y="182"/>
                  </a:lnTo>
                  <a:lnTo>
                    <a:pt x="2203" y="199"/>
                  </a:lnTo>
                  <a:lnTo>
                    <a:pt x="2074" y="218"/>
                  </a:lnTo>
                  <a:lnTo>
                    <a:pt x="1946" y="237"/>
                  </a:lnTo>
                  <a:lnTo>
                    <a:pt x="1818" y="257"/>
                  </a:lnTo>
                  <a:lnTo>
                    <a:pt x="1689" y="278"/>
                  </a:lnTo>
                  <a:lnTo>
                    <a:pt x="1561" y="299"/>
                  </a:lnTo>
                  <a:lnTo>
                    <a:pt x="1433" y="322"/>
                  </a:lnTo>
                  <a:lnTo>
                    <a:pt x="1305" y="346"/>
                  </a:lnTo>
                  <a:lnTo>
                    <a:pt x="1177" y="370"/>
                  </a:lnTo>
                  <a:lnTo>
                    <a:pt x="1049" y="395"/>
                  </a:lnTo>
                  <a:lnTo>
                    <a:pt x="921" y="421"/>
                  </a:lnTo>
                  <a:lnTo>
                    <a:pt x="904" y="424"/>
                  </a:lnTo>
                  <a:lnTo>
                    <a:pt x="888" y="429"/>
                  </a:lnTo>
                  <a:lnTo>
                    <a:pt x="872" y="433"/>
                  </a:lnTo>
                  <a:lnTo>
                    <a:pt x="857" y="439"/>
                  </a:lnTo>
                  <a:lnTo>
                    <a:pt x="841" y="444"/>
                  </a:lnTo>
                  <a:lnTo>
                    <a:pt x="826" y="451"/>
                  </a:lnTo>
                  <a:lnTo>
                    <a:pt x="811" y="457"/>
                  </a:lnTo>
                  <a:lnTo>
                    <a:pt x="796" y="464"/>
                  </a:lnTo>
                  <a:lnTo>
                    <a:pt x="781" y="472"/>
                  </a:lnTo>
                  <a:lnTo>
                    <a:pt x="766" y="480"/>
                  </a:lnTo>
                  <a:lnTo>
                    <a:pt x="753" y="489"/>
                  </a:lnTo>
                  <a:lnTo>
                    <a:pt x="739" y="499"/>
                  </a:lnTo>
                  <a:lnTo>
                    <a:pt x="726" y="508"/>
                  </a:lnTo>
                  <a:lnTo>
                    <a:pt x="713" y="518"/>
                  </a:lnTo>
                  <a:lnTo>
                    <a:pt x="700" y="528"/>
                  </a:lnTo>
                  <a:lnTo>
                    <a:pt x="688" y="538"/>
                  </a:lnTo>
                  <a:lnTo>
                    <a:pt x="676" y="549"/>
                  </a:lnTo>
                  <a:lnTo>
                    <a:pt x="664" y="561"/>
                  </a:lnTo>
                  <a:lnTo>
                    <a:pt x="653" y="573"/>
                  </a:lnTo>
                  <a:lnTo>
                    <a:pt x="642" y="585"/>
                  </a:lnTo>
                  <a:lnTo>
                    <a:pt x="632" y="597"/>
                  </a:lnTo>
                  <a:lnTo>
                    <a:pt x="621" y="610"/>
                  </a:lnTo>
                  <a:lnTo>
                    <a:pt x="611" y="623"/>
                  </a:lnTo>
                  <a:lnTo>
                    <a:pt x="602" y="637"/>
                  </a:lnTo>
                  <a:lnTo>
                    <a:pt x="593" y="650"/>
                  </a:lnTo>
                  <a:lnTo>
                    <a:pt x="584" y="665"/>
                  </a:lnTo>
                  <a:lnTo>
                    <a:pt x="576" y="680"/>
                  </a:lnTo>
                  <a:lnTo>
                    <a:pt x="569" y="695"/>
                  </a:lnTo>
                  <a:lnTo>
                    <a:pt x="562" y="710"/>
                  </a:lnTo>
                  <a:lnTo>
                    <a:pt x="555" y="725"/>
                  </a:lnTo>
                  <a:lnTo>
                    <a:pt x="549" y="740"/>
                  </a:lnTo>
                  <a:lnTo>
                    <a:pt x="544" y="756"/>
                  </a:lnTo>
                  <a:lnTo>
                    <a:pt x="478" y="963"/>
                  </a:lnTo>
                  <a:lnTo>
                    <a:pt x="416" y="1170"/>
                  </a:lnTo>
                  <a:lnTo>
                    <a:pt x="359" y="1377"/>
                  </a:lnTo>
                  <a:lnTo>
                    <a:pt x="306" y="1584"/>
                  </a:lnTo>
                  <a:lnTo>
                    <a:pt x="257" y="1791"/>
                  </a:lnTo>
                  <a:lnTo>
                    <a:pt x="212" y="2000"/>
                  </a:lnTo>
                  <a:lnTo>
                    <a:pt x="172" y="2207"/>
                  </a:lnTo>
                  <a:lnTo>
                    <a:pt x="136" y="2414"/>
                  </a:lnTo>
                  <a:lnTo>
                    <a:pt x="104" y="2622"/>
                  </a:lnTo>
                  <a:lnTo>
                    <a:pt x="76" y="2831"/>
                  </a:lnTo>
                  <a:lnTo>
                    <a:pt x="53" y="3038"/>
                  </a:lnTo>
                  <a:lnTo>
                    <a:pt x="34" y="3246"/>
                  </a:lnTo>
                  <a:lnTo>
                    <a:pt x="19" y="3454"/>
                  </a:lnTo>
                  <a:lnTo>
                    <a:pt x="9" y="3663"/>
                  </a:lnTo>
                  <a:lnTo>
                    <a:pt x="2" y="3870"/>
                  </a:lnTo>
                  <a:lnTo>
                    <a:pt x="0" y="4078"/>
                  </a:lnTo>
                  <a:lnTo>
                    <a:pt x="2" y="4286"/>
                  </a:lnTo>
                  <a:lnTo>
                    <a:pt x="9" y="4495"/>
                  </a:lnTo>
                  <a:lnTo>
                    <a:pt x="19" y="4703"/>
                  </a:lnTo>
                  <a:lnTo>
                    <a:pt x="34" y="4910"/>
                  </a:lnTo>
                  <a:lnTo>
                    <a:pt x="53" y="5118"/>
                  </a:lnTo>
                  <a:lnTo>
                    <a:pt x="76" y="5327"/>
                  </a:lnTo>
                  <a:lnTo>
                    <a:pt x="104" y="5534"/>
                  </a:lnTo>
                  <a:lnTo>
                    <a:pt x="136" y="5742"/>
                  </a:lnTo>
                  <a:lnTo>
                    <a:pt x="172" y="5949"/>
                  </a:lnTo>
                  <a:lnTo>
                    <a:pt x="212" y="6158"/>
                  </a:lnTo>
                  <a:lnTo>
                    <a:pt x="257" y="6365"/>
                  </a:lnTo>
                  <a:lnTo>
                    <a:pt x="306" y="6572"/>
                  </a:lnTo>
                  <a:lnTo>
                    <a:pt x="359" y="6779"/>
                  </a:lnTo>
                  <a:lnTo>
                    <a:pt x="416" y="6987"/>
                  </a:lnTo>
                  <a:lnTo>
                    <a:pt x="478" y="7193"/>
                  </a:lnTo>
                  <a:lnTo>
                    <a:pt x="544" y="7400"/>
                  </a:lnTo>
                  <a:lnTo>
                    <a:pt x="549" y="7416"/>
                  </a:lnTo>
                  <a:lnTo>
                    <a:pt x="555" y="7431"/>
                  </a:lnTo>
                  <a:lnTo>
                    <a:pt x="562" y="7448"/>
                  </a:lnTo>
                  <a:lnTo>
                    <a:pt x="569" y="7463"/>
                  </a:lnTo>
                  <a:lnTo>
                    <a:pt x="576" y="7477"/>
                  </a:lnTo>
                  <a:lnTo>
                    <a:pt x="584" y="7492"/>
                  </a:lnTo>
                  <a:lnTo>
                    <a:pt x="593" y="7506"/>
                  </a:lnTo>
                  <a:lnTo>
                    <a:pt x="602" y="7520"/>
                  </a:lnTo>
                  <a:lnTo>
                    <a:pt x="611" y="7533"/>
                  </a:lnTo>
                  <a:lnTo>
                    <a:pt x="621" y="7547"/>
                  </a:lnTo>
                  <a:lnTo>
                    <a:pt x="632" y="7559"/>
                  </a:lnTo>
                  <a:lnTo>
                    <a:pt x="642" y="7572"/>
                  </a:lnTo>
                  <a:lnTo>
                    <a:pt x="653" y="7584"/>
                  </a:lnTo>
                  <a:lnTo>
                    <a:pt x="664" y="7596"/>
                  </a:lnTo>
                  <a:lnTo>
                    <a:pt x="676" y="7607"/>
                  </a:lnTo>
                  <a:lnTo>
                    <a:pt x="688" y="7619"/>
                  </a:lnTo>
                  <a:lnTo>
                    <a:pt x="700" y="7630"/>
                  </a:lnTo>
                  <a:lnTo>
                    <a:pt x="713" y="7640"/>
                  </a:lnTo>
                  <a:lnTo>
                    <a:pt x="726" y="7650"/>
                  </a:lnTo>
                  <a:lnTo>
                    <a:pt x="739" y="7659"/>
                  </a:lnTo>
                  <a:lnTo>
                    <a:pt x="753" y="7668"/>
                  </a:lnTo>
                  <a:lnTo>
                    <a:pt x="766" y="7676"/>
                  </a:lnTo>
                  <a:lnTo>
                    <a:pt x="781" y="7684"/>
                  </a:lnTo>
                  <a:lnTo>
                    <a:pt x="796" y="7692"/>
                  </a:lnTo>
                  <a:lnTo>
                    <a:pt x="811" y="7699"/>
                  </a:lnTo>
                  <a:lnTo>
                    <a:pt x="826" y="7706"/>
                  </a:lnTo>
                  <a:lnTo>
                    <a:pt x="841" y="7712"/>
                  </a:lnTo>
                  <a:lnTo>
                    <a:pt x="857" y="7718"/>
                  </a:lnTo>
                  <a:lnTo>
                    <a:pt x="872" y="7723"/>
                  </a:lnTo>
                  <a:lnTo>
                    <a:pt x="888" y="7728"/>
                  </a:lnTo>
                  <a:lnTo>
                    <a:pt x="904" y="7732"/>
                  </a:lnTo>
                  <a:lnTo>
                    <a:pt x="921" y="7735"/>
                  </a:lnTo>
                  <a:lnTo>
                    <a:pt x="1049" y="7761"/>
                  </a:lnTo>
                  <a:lnTo>
                    <a:pt x="1177" y="7787"/>
                  </a:lnTo>
                  <a:lnTo>
                    <a:pt x="1305" y="7811"/>
                  </a:lnTo>
                  <a:lnTo>
                    <a:pt x="1433" y="7834"/>
                  </a:lnTo>
                  <a:lnTo>
                    <a:pt x="1561" y="7857"/>
                  </a:lnTo>
                  <a:lnTo>
                    <a:pt x="1689" y="7879"/>
                  </a:lnTo>
                  <a:lnTo>
                    <a:pt x="1818" y="7900"/>
                  </a:lnTo>
                  <a:lnTo>
                    <a:pt x="1946" y="7920"/>
                  </a:lnTo>
                  <a:lnTo>
                    <a:pt x="2074" y="7939"/>
                  </a:lnTo>
                  <a:lnTo>
                    <a:pt x="2203" y="7958"/>
                  </a:lnTo>
                  <a:lnTo>
                    <a:pt x="2332" y="7976"/>
                  </a:lnTo>
                  <a:lnTo>
                    <a:pt x="2460" y="7993"/>
                  </a:lnTo>
                  <a:lnTo>
                    <a:pt x="2589" y="8009"/>
                  </a:lnTo>
                  <a:lnTo>
                    <a:pt x="2717" y="8024"/>
                  </a:lnTo>
                  <a:lnTo>
                    <a:pt x="2846" y="8038"/>
                  </a:lnTo>
                  <a:lnTo>
                    <a:pt x="2974" y="8052"/>
                  </a:lnTo>
                  <a:lnTo>
                    <a:pt x="3103" y="8064"/>
                  </a:lnTo>
                  <a:lnTo>
                    <a:pt x="3232" y="8076"/>
                  </a:lnTo>
                  <a:lnTo>
                    <a:pt x="3361" y="8088"/>
                  </a:lnTo>
                  <a:lnTo>
                    <a:pt x="3489" y="8098"/>
                  </a:lnTo>
                  <a:lnTo>
                    <a:pt x="3618" y="8107"/>
                  </a:lnTo>
                  <a:lnTo>
                    <a:pt x="3746" y="8117"/>
                  </a:lnTo>
                  <a:lnTo>
                    <a:pt x="3875" y="8125"/>
                  </a:lnTo>
                  <a:lnTo>
                    <a:pt x="4004" y="8132"/>
                  </a:lnTo>
                  <a:lnTo>
                    <a:pt x="4132" y="8138"/>
                  </a:lnTo>
                  <a:lnTo>
                    <a:pt x="4260" y="8143"/>
                  </a:lnTo>
                  <a:lnTo>
                    <a:pt x="4389" y="8148"/>
                  </a:lnTo>
                  <a:lnTo>
                    <a:pt x="4517" y="8152"/>
                  </a:lnTo>
                  <a:lnTo>
                    <a:pt x="4645" y="8154"/>
                  </a:lnTo>
                  <a:lnTo>
                    <a:pt x="4773" y="8156"/>
                  </a:lnTo>
                  <a:lnTo>
                    <a:pt x="4901" y="8158"/>
                  </a:lnTo>
                  <a:lnTo>
                    <a:pt x="5029" y="8158"/>
                  </a:lnTo>
                  <a:lnTo>
                    <a:pt x="5157" y="8158"/>
                  </a:lnTo>
                  <a:lnTo>
                    <a:pt x="5285" y="8156"/>
                  </a:lnTo>
                  <a:lnTo>
                    <a:pt x="5413" y="8154"/>
                  </a:lnTo>
                  <a:lnTo>
                    <a:pt x="5542" y="8152"/>
                  </a:lnTo>
                  <a:lnTo>
                    <a:pt x="5669" y="8148"/>
                  </a:lnTo>
                  <a:lnTo>
                    <a:pt x="5798" y="8143"/>
                  </a:lnTo>
                  <a:lnTo>
                    <a:pt x="5926" y="8138"/>
                  </a:lnTo>
                  <a:lnTo>
                    <a:pt x="6055" y="8132"/>
                  </a:lnTo>
                  <a:lnTo>
                    <a:pt x="6183" y="8125"/>
                  </a:lnTo>
                  <a:lnTo>
                    <a:pt x="6311" y="8117"/>
                  </a:lnTo>
                  <a:lnTo>
                    <a:pt x="6440" y="8107"/>
                  </a:lnTo>
                  <a:lnTo>
                    <a:pt x="6569" y="8098"/>
                  </a:lnTo>
                  <a:lnTo>
                    <a:pt x="6697" y="8088"/>
                  </a:lnTo>
                  <a:lnTo>
                    <a:pt x="6826" y="8076"/>
                  </a:lnTo>
                  <a:lnTo>
                    <a:pt x="6955" y="8064"/>
                  </a:lnTo>
                  <a:lnTo>
                    <a:pt x="7084" y="8052"/>
                  </a:lnTo>
                  <a:lnTo>
                    <a:pt x="7212" y="8038"/>
                  </a:lnTo>
                  <a:lnTo>
                    <a:pt x="7341" y="8024"/>
                  </a:lnTo>
                  <a:lnTo>
                    <a:pt x="7469" y="8009"/>
                  </a:lnTo>
                  <a:lnTo>
                    <a:pt x="7598" y="7993"/>
                  </a:lnTo>
                  <a:lnTo>
                    <a:pt x="7726" y="7976"/>
                  </a:lnTo>
                  <a:lnTo>
                    <a:pt x="7855" y="7958"/>
                  </a:lnTo>
                  <a:lnTo>
                    <a:pt x="7984" y="7939"/>
                  </a:lnTo>
                  <a:lnTo>
                    <a:pt x="8112" y="7920"/>
                  </a:lnTo>
                  <a:lnTo>
                    <a:pt x="8241" y="7900"/>
                  </a:lnTo>
                  <a:lnTo>
                    <a:pt x="8369" y="7879"/>
                  </a:lnTo>
                  <a:lnTo>
                    <a:pt x="8497" y="7857"/>
                  </a:lnTo>
                  <a:lnTo>
                    <a:pt x="8625" y="7834"/>
                  </a:lnTo>
                  <a:lnTo>
                    <a:pt x="8754" y="7811"/>
                  </a:lnTo>
                  <a:lnTo>
                    <a:pt x="8881" y="7787"/>
                  </a:lnTo>
                  <a:lnTo>
                    <a:pt x="9009" y="7761"/>
                  </a:lnTo>
                  <a:lnTo>
                    <a:pt x="9137" y="7735"/>
                  </a:lnTo>
                  <a:lnTo>
                    <a:pt x="9154" y="7732"/>
                  </a:lnTo>
                  <a:lnTo>
                    <a:pt x="9170" y="7728"/>
                  </a:lnTo>
                  <a:lnTo>
                    <a:pt x="9186" y="7723"/>
                  </a:lnTo>
                  <a:lnTo>
                    <a:pt x="9201" y="7718"/>
                  </a:lnTo>
                  <a:lnTo>
                    <a:pt x="9217" y="7712"/>
                  </a:lnTo>
                  <a:lnTo>
                    <a:pt x="9232" y="7706"/>
                  </a:lnTo>
                  <a:lnTo>
                    <a:pt x="9247" y="7699"/>
                  </a:lnTo>
                  <a:lnTo>
                    <a:pt x="9263" y="7692"/>
                  </a:lnTo>
                  <a:lnTo>
                    <a:pt x="9277" y="7684"/>
                  </a:lnTo>
                  <a:lnTo>
                    <a:pt x="9292" y="7676"/>
                  </a:lnTo>
                  <a:lnTo>
                    <a:pt x="9306" y="7668"/>
                  </a:lnTo>
                  <a:lnTo>
                    <a:pt x="9319" y="7659"/>
                  </a:lnTo>
                  <a:lnTo>
                    <a:pt x="9333" y="7650"/>
                  </a:lnTo>
                  <a:lnTo>
                    <a:pt x="9345" y="7640"/>
                  </a:lnTo>
                  <a:lnTo>
                    <a:pt x="9358" y="7630"/>
                  </a:lnTo>
                  <a:lnTo>
                    <a:pt x="9370" y="7619"/>
                  </a:lnTo>
                  <a:lnTo>
                    <a:pt x="9382" y="7607"/>
                  </a:lnTo>
                  <a:lnTo>
                    <a:pt x="9394" y="7596"/>
                  </a:lnTo>
                  <a:lnTo>
                    <a:pt x="9405" y="7584"/>
                  </a:lnTo>
                  <a:lnTo>
                    <a:pt x="9416" y="7572"/>
                  </a:lnTo>
                  <a:lnTo>
                    <a:pt x="9427" y="7559"/>
                  </a:lnTo>
                  <a:lnTo>
                    <a:pt x="9438" y="7547"/>
                  </a:lnTo>
                  <a:lnTo>
                    <a:pt x="9447" y="7533"/>
                  </a:lnTo>
                  <a:lnTo>
                    <a:pt x="9456" y="7520"/>
                  </a:lnTo>
                  <a:lnTo>
                    <a:pt x="9465" y="7506"/>
                  </a:lnTo>
                  <a:lnTo>
                    <a:pt x="9474" y="7492"/>
                  </a:lnTo>
                  <a:lnTo>
                    <a:pt x="9482" y="7477"/>
                  </a:lnTo>
                  <a:lnTo>
                    <a:pt x="9489" y="7463"/>
                  </a:lnTo>
                  <a:lnTo>
                    <a:pt x="9496" y="7448"/>
                  </a:lnTo>
                  <a:lnTo>
                    <a:pt x="9502" y="7431"/>
                  </a:lnTo>
                  <a:lnTo>
                    <a:pt x="9508" y="7416"/>
                  </a:lnTo>
                  <a:lnTo>
                    <a:pt x="9514" y="7400"/>
                  </a:lnTo>
                  <a:lnTo>
                    <a:pt x="9580" y="7193"/>
                  </a:lnTo>
                  <a:lnTo>
                    <a:pt x="9642" y="6987"/>
                  </a:lnTo>
                  <a:lnTo>
                    <a:pt x="9699" y="6779"/>
                  </a:lnTo>
                  <a:lnTo>
                    <a:pt x="9752" y="6572"/>
                  </a:lnTo>
                  <a:lnTo>
                    <a:pt x="9801" y="6365"/>
                  </a:lnTo>
                  <a:lnTo>
                    <a:pt x="9846" y="6158"/>
                  </a:lnTo>
                  <a:lnTo>
                    <a:pt x="9886" y="5949"/>
                  </a:lnTo>
                  <a:lnTo>
                    <a:pt x="9922" y="5742"/>
                  </a:lnTo>
                  <a:lnTo>
                    <a:pt x="9955" y="5534"/>
                  </a:lnTo>
                  <a:lnTo>
                    <a:pt x="9982" y="5327"/>
                  </a:lnTo>
                  <a:lnTo>
                    <a:pt x="10005" y="5118"/>
                  </a:lnTo>
                  <a:lnTo>
                    <a:pt x="10024" y="4910"/>
                  </a:lnTo>
                  <a:lnTo>
                    <a:pt x="10039" y="4703"/>
                  </a:lnTo>
                  <a:lnTo>
                    <a:pt x="10050" y="4495"/>
                  </a:lnTo>
                  <a:lnTo>
                    <a:pt x="10056" y="4286"/>
                  </a:lnTo>
                  <a:lnTo>
                    <a:pt x="10058" y="4078"/>
                  </a:lnTo>
                  <a:lnTo>
                    <a:pt x="10056" y="3870"/>
                  </a:lnTo>
                  <a:lnTo>
                    <a:pt x="10050" y="3663"/>
                  </a:lnTo>
                  <a:lnTo>
                    <a:pt x="10039" y="3454"/>
                  </a:lnTo>
                  <a:lnTo>
                    <a:pt x="10024" y="3246"/>
                  </a:lnTo>
                  <a:lnTo>
                    <a:pt x="10005" y="3038"/>
                  </a:lnTo>
                  <a:lnTo>
                    <a:pt x="9982" y="2831"/>
                  </a:lnTo>
                  <a:lnTo>
                    <a:pt x="9955" y="2622"/>
                  </a:lnTo>
                  <a:lnTo>
                    <a:pt x="9922" y="2414"/>
                  </a:lnTo>
                  <a:lnTo>
                    <a:pt x="9886" y="2207"/>
                  </a:lnTo>
                  <a:lnTo>
                    <a:pt x="9846" y="2000"/>
                  </a:lnTo>
                  <a:lnTo>
                    <a:pt x="9801" y="1791"/>
                  </a:lnTo>
                  <a:lnTo>
                    <a:pt x="9752" y="1584"/>
                  </a:lnTo>
                  <a:lnTo>
                    <a:pt x="9699" y="1377"/>
                  </a:lnTo>
                  <a:lnTo>
                    <a:pt x="9642" y="1170"/>
                  </a:lnTo>
                  <a:lnTo>
                    <a:pt x="9580" y="963"/>
                  </a:lnTo>
                  <a:lnTo>
                    <a:pt x="9514" y="756"/>
                  </a:lnTo>
                  <a:lnTo>
                    <a:pt x="9508" y="740"/>
                  </a:lnTo>
                  <a:lnTo>
                    <a:pt x="9502" y="725"/>
                  </a:lnTo>
                  <a:lnTo>
                    <a:pt x="9496" y="710"/>
                  </a:lnTo>
                  <a:lnTo>
                    <a:pt x="9489" y="695"/>
                  </a:lnTo>
                  <a:lnTo>
                    <a:pt x="9482" y="680"/>
                  </a:lnTo>
                  <a:lnTo>
                    <a:pt x="9474" y="665"/>
                  </a:lnTo>
                  <a:lnTo>
                    <a:pt x="9465" y="650"/>
                  </a:lnTo>
                  <a:lnTo>
                    <a:pt x="9456" y="637"/>
                  </a:lnTo>
                  <a:lnTo>
                    <a:pt x="9447" y="623"/>
                  </a:lnTo>
                  <a:lnTo>
                    <a:pt x="9438" y="610"/>
                  </a:lnTo>
                  <a:lnTo>
                    <a:pt x="9427" y="597"/>
                  </a:lnTo>
                  <a:lnTo>
                    <a:pt x="9416" y="585"/>
                  </a:lnTo>
                  <a:lnTo>
                    <a:pt x="9405" y="573"/>
                  </a:lnTo>
                  <a:lnTo>
                    <a:pt x="9394" y="561"/>
                  </a:lnTo>
                  <a:lnTo>
                    <a:pt x="9382" y="549"/>
                  </a:lnTo>
                  <a:lnTo>
                    <a:pt x="9370" y="538"/>
                  </a:lnTo>
                  <a:lnTo>
                    <a:pt x="9358" y="528"/>
                  </a:lnTo>
                  <a:lnTo>
                    <a:pt x="9345" y="518"/>
                  </a:lnTo>
                  <a:lnTo>
                    <a:pt x="9333" y="508"/>
                  </a:lnTo>
                  <a:lnTo>
                    <a:pt x="9319" y="499"/>
                  </a:lnTo>
                  <a:lnTo>
                    <a:pt x="9306" y="489"/>
                  </a:lnTo>
                  <a:lnTo>
                    <a:pt x="9292" y="480"/>
                  </a:lnTo>
                  <a:lnTo>
                    <a:pt x="9277" y="472"/>
                  </a:lnTo>
                  <a:lnTo>
                    <a:pt x="9263" y="464"/>
                  </a:lnTo>
                  <a:lnTo>
                    <a:pt x="9247" y="457"/>
                  </a:lnTo>
                  <a:lnTo>
                    <a:pt x="9232" y="451"/>
                  </a:lnTo>
                  <a:lnTo>
                    <a:pt x="9217" y="444"/>
                  </a:lnTo>
                  <a:lnTo>
                    <a:pt x="9201" y="439"/>
                  </a:lnTo>
                  <a:lnTo>
                    <a:pt x="9186" y="433"/>
                  </a:lnTo>
                  <a:lnTo>
                    <a:pt x="9170" y="429"/>
                  </a:lnTo>
                  <a:lnTo>
                    <a:pt x="9154" y="424"/>
                  </a:lnTo>
                  <a:lnTo>
                    <a:pt x="9137" y="4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66" name="isľíḑè">
              <a:extLst>
                <a:ext uri="{FF2B5EF4-FFF2-40B4-BE49-F238E27FC236}">
                  <a16:creationId xmlns:a16="http://schemas.microsoft.com/office/drawing/2014/main" id="{6FA2817A-4670-44FC-BA26-03A2225004A6}"/>
                </a:ext>
              </a:extLst>
            </p:cNvPr>
            <p:cNvSpPr/>
            <p:nvPr/>
          </p:nvSpPr>
          <p:spPr bwMode="auto">
            <a:xfrm>
              <a:off x="1356886" y="1363561"/>
              <a:ext cx="312419" cy="244190"/>
            </a:xfrm>
            <a:custGeom>
              <a:avLst/>
              <a:gdLst>
                <a:gd name="T0" fmla="*/ 11699 w 16095"/>
                <a:gd name="T1" fmla="*/ 10946 h 12580"/>
                <a:gd name="T2" fmla="*/ 8453 w 16095"/>
                <a:gd name="T3" fmla="*/ 11069 h 12580"/>
                <a:gd name="T4" fmla="*/ 5208 w 16095"/>
                <a:gd name="T5" fmla="*/ 10995 h 12580"/>
                <a:gd name="T6" fmla="*/ 1962 w 16095"/>
                <a:gd name="T7" fmla="*/ 10724 h 12580"/>
                <a:gd name="T8" fmla="*/ 1178 w 16095"/>
                <a:gd name="T9" fmla="*/ 8647 h 12580"/>
                <a:gd name="T10" fmla="*/ 1006 w 16095"/>
                <a:gd name="T11" fmla="*/ 6328 h 12580"/>
                <a:gd name="T12" fmla="*/ 1110 w 16095"/>
                <a:gd name="T13" fmla="*/ 4009 h 12580"/>
                <a:gd name="T14" fmla="*/ 1489 w 16095"/>
                <a:gd name="T15" fmla="*/ 1690 h 12580"/>
                <a:gd name="T16" fmla="*/ 4396 w 16095"/>
                <a:gd name="T17" fmla="*/ 1131 h 12580"/>
                <a:gd name="T18" fmla="*/ 7642 w 16095"/>
                <a:gd name="T19" fmla="*/ 1008 h 12580"/>
                <a:gd name="T20" fmla="*/ 10887 w 16095"/>
                <a:gd name="T21" fmla="*/ 1082 h 12580"/>
                <a:gd name="T22" fmla="*/ 14133 w 16095"/>
                <a:gd name="T23" fmla="*/ 1353 h 12580"/>
                <a:gd name="T24" fmla="*/ 14916 w 16095"/>
                <a:gd name="T25" fmla="*/ 3430 h 12580"/>
                <a:gd name="T26" fmla="*/ 15089 w 16095"/>
                <a:gd name="T27" fmla="*/ 5749 h 12580"/>
                <a:gd name="T28" fmla="*/ 14985 w 16095"/>
                <a:gd name="T29" fmla="*/ 8068 h 12580"/>
                <a:gd name="T30" fmla="*/ 14606 w 16095"/>
                <a:gd name="T31" fmla="*/ 10387 h 12580"/>
                <a:gd name="T32" fmla="*/ 15438 w 16095"/>
                <a:gd name="T33" fmla="*/ 950 h 12580"/>
                <a:gd name="T34" fmla="*/ 15263 w 16095"/>
                <a:gd name="T35" fmla="*/ 702 h 12580"/>
                <a:gd name="T36" fmla="*/ 15025 w 16095"/>
                <a:gd name="T37" fmla="*/ 519 h 12580"/>
                <a:gd name="T38" fmla="*/ 14738 w 16095"/>
                <a:gd name="T39" fmla="*/ 415 h 12580"/>
                <a:gd name="T40" fmla="*/ 13423 w 16095"/>
                <a:gd name="T41" fmla="*/ 266 h 12580"/>
                <a:gd name="T42" fmla="*/ 11768 w 16095"/>
                <a:gd name="T43" fmla="*/ 128 h 12580"/>
                <a:gd name="T44" fmla="*/ 10112 w 16095"/>
                <a:gd name="T45" fmla="*/ 39 h 12580"/>
                <a:gd name="T46" fmla="*/ 8459 w 16095"/>
                <a:gd name="T47" fmla="*/ 2 h 12580"/>
                <a:gd name="T48" fmla="*/ 6810 w 16095"/>
                <a:gd name="T49" fmla="*/ 14 h 12580"/>
                <a:gd name="T50" fmla="*/ 5154 w 16095"/>
                <a:gd name="T51" fmla="*/ 77 h 12580"/>
                <a:gd name="T52" fmla="*/ 3498 w 16095"/>
                <a:gd name="T53" fmla="*/ 190 h 12580"/>
                <a:gd name="T54" fmla="*/ 1846 w 16095"/>
                <a:gd name="T55" fmla="*/ 353 h 12580"/>
                <a:gd name="T56" fmla="*/ 1208 w 16095"/>
                <a:gd name="T57" fmla="*/ 456 h 12580"/>
                <a:gd name="T58" fmla="*/ 944 w 16095"/>
                <a:gd name="T59" fmla="*/ 602 h 12580"/>
                <a:gd name="T60" fmla="*/ 734 w 16095"/>
                <a:gd name="T61" fmla="*/ 819 h 12580"/>
                <a:gd name="T62" fmla="*/ 599 w 16095"/>
                <a:gd name="T63" fmla="*/ 1093 h 12580"/>
                <a:gd name="T64" fmla="*/ 225 w 16095"/>
                <a:gd name="T65" fmla="*/ 2990 h 12580"/>
                <a:gd name="T66" fmla="*/ 9 w 16095"/>
                <a:gd name="T67" fmla="*/ 5428 h 12580"/>
                <a:gd name="T68" fmla="*/ 81 w 16095"/>
                <a:gd name="T69" fmla="*/ 7869 h 12580"/>
                <a:gd name="T70" fmla="*/ 442 w 16095"/>
                <a:gd name="T71" fmla="*/ 10303 h 12580"/>
                <a:gd name="T72" fmla="*/ 657 w 16095"/>
                <a:gd name="T73" fmla="*/ 11128 h 12580"/>
                <a:gd name="T74" fmla="*/ 831 w 16095"/>
                <a:gd name="T75" fmla="*/ 11375 h 12580"/>
                <a:gd name="T76" fmla="*/ 1070 w 16095"/>
                <a:gd name="T77" fmla="*/ 11558 h 12580"/>
                <a:gd name="T78" fmla="*/ 1357 w 16095"/>
                <a:gd name="T79" fmla="*/ 11662 h 12580"/>
                <a:gd name="T80" fmla="*/ 2627 w 16095"/>
                <a:gd name="T81" fmla="*/ 11805 h 12580"/>
                <a:gd name="T82" fmla="*/ 4221 w 16095"/>
                <a:gd name="T83" fmla="*/ 11939 h 12580"/>
                <a:gd name="T84" fmla="*/ 4540 w 16095"/>
                <a:gd name="T85" fmla="*/ 12035 h 12580"/>
                <a:gd name="T86" fmla="*/ 4544 w 16095"/>
                <a:gd name="T87" fmla="*/ 12128 h 12580"/>
                <a:gd name="T88" fmla="*/ 4950 w 16095"/>
                <a:gd name="T89" fmla="*/ 12316 h 12580"/>
                <a:gd name="T90" fmla="*/ 5807 w 16095"/>
                <a:gd name="T91" fmla="*/ 12465 h 12580"/>
                <a:gd name="T92" fmla="*/ 7000 w 16095"/>
                <a:gd name="T93" fmla="*/ 12558 h 12580"/>
                <a:gd name="T94" fmla="*/ 8408 w 16095"/>
                <a:gd name="T95" fmla="*/ 12577 h 12580"/>
                <a:gd name="T96" fmla="*/ 9726 w 16095"/>
                <a:gd name="T97" fmla="*/ 12520 h 12580"/>
                <a:gd name="T98" fmla="*/ 10766 w 16095"/>
                <a:gd name="T99" fmla="*/ 12397 h 12580"/>
                <a:gd name="T100" fmla="*/ 11411 w 16095"/>
                <a:gd name="T101" fmla="*/ 12227 h 12580"/>
                <a:gd name="T102" fmla="*/ 11568 w 16095"/>
                <a:gd name="T103" fmla="*/ 12063 h 12580"/>
                <a:gd name="T104" fmla="*/ 11514 w 16095"/>
                <a:gd name="T105" fmla="*/ 11992 h 12580"/>
                <a:gd name="T106" fmla="*/ 12672 w 16095"/>
                <a:gd name="T107" fmla="*/ 11878 h 12580"/>
                <a:gd name="T108" fmla="*/ 14263 w 16095"/>
                <a:gd name="T109" fmla="*/ 11722 h 12580"/>
                <a:gd name="T110" fmla="*/ 14886 w 16095"/>
                <a:gd name="T111" fmla="*/ 11621 h 12580"/>
                <a:gd name="T112" fmla="*/ 15150 w 16095"/>
                <a:gd name="T113" fmla="*/ 11475 h 12580"/>
                <a:gd name="T114" fmla="*/ 15360 w 16095"/>
                <a:gd name="T115" fmla="*/ 11258 h 12580"/>
                <a:gd name="T116" fmla="*/ 15496 w 16095"/>
                <a:gd name="T117" fmla="*/ 10985 h 12580"/>
                <a:gd name="T118" fmla="*/ 15870 w 16095"/>
                <a:gd name="T119" fmla="*/ 9087 h 12580"/>
                <a:gd name="T120" fmla="*/ 16086 w 16095"/>
                <a:gd name="T121" fmla="*/ 6649 h 12580"/>
                <a:gd name="T122" fmla="*/ 16014 w 16095"/>
                <a:gd name="T123" fmla="*/ 4208 h 12580"/>
                <a:gd name="T124" fmla="*/ 15652 w 16095"/>
                <a:gd name="T125" fmla="*/ 1775 h 12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95" h="12580">
                  <a:moveTo>
                    <a:pt x="14539" y="10677"/>
                  </a:moveTo>
                  <a:lnTo>
                    <a:pt x="14133" y="10724"/>
                  </a:lnTo>
                  <a:lnTo>
                    <a:pt x="13728" y="10769"/>
                  </a:lnTo>
                  <a:lnTo>
                    <a:pt x="13322" y="10810"/>
                  </a:lnTo>
                  <a:lnTo>
                    <a:pt x="12916" y="10849"/>
                  </a:lnTo>
                  <a:lnTo>
                    <a:pt x="12510" y="10884"/>
                  </a:lnTo>
                  <a:lnTo>
                    <a:pt x="12104" y="10917"/>
                  </a:lnTo>
                  <a:lnTo>
                    <a:pt x="11699" y="10946"/>
                  </a:lnTo>
                  <a:lnTo>
                    <a:pt x="11293" y="10972"/>
                  </a:lnTo>
                  <a:lnTo>
                    <a:pt x="10887" y="10995"/>
                  </a:lnTo>
                  <a:lnTo>
                    <a:pt x="10482" y="11015"/>
                  </a:lnTo>
                  <a:lnTo>
                    <a:pt x="10075" y="11032"/>
                  </a:lnTo>
                  <a:lnTo>
                    <a:pt x="9670" y="11046"/>
                  </a:lnTo>
                  <a:lnTo>
                    <a:pt x="9265" y="11057"/>
                  </a:lnTo>
                  <a:lnTo>
                    <a:pt x="8858" y="11064"/>
                  </a:lnTo>
                  <a:lnTo>
                    <a:pt x="8453" y="11069"/>
                  </a:lnTo>
                  <a:lnTo>
                    <a:pt x="8048" y="11071"/>
                  </a:lnTo>
                  <a:lnTo>
                    <a:pt x="7642" y="11069"/>
                  </a:lnTo>
                  <a:lnTo>
                    <a:pt x="7236" y="11064"/>
                  </a:lnTo>
                  <a:lnTo>
                    <a:pt x="6830" y="11057"/>
                  </a:lnTo>
                  <a:lnTo>
                    <a:pt x="6424" y="11046"/>
                  </a:lnTo>
                  <a:lnTo>
                    <a:pt x="6019" y="11032"/>
                  </a:lnTo>
                  <a:lnTo>
                    <a:pt x="5613" y="11015"/>
                  </a:lnTo>
                  <a:lnTo>
                    <a:pt x="5208" y="10995"/>
                  </a:lnTo>
                  <a:lnTo>
                    <a:pt x="4801" y="10972"/>
                  </a:lnTo>
                  <a:lnTo>
                    <a:pt x="4396" y="10946"/>
                  </a:lnTo>
                  <a:lnTo>
                    <a:pt x="3990" y="10917"/>
                  </a:lnTo>
                  <a:lnTo>
                    <a:pt x="3584" y="10884"/>
                  </a:lnTo>
                  <a:lnTo>
                    <a:pt x="3179" y="10849"/>
                  </a:lnTo>
                  <a:lnTo>
                    <a:pt x="2772" y="10810"/>
                  </a:lnTo>
                  <a:lnTo>
                    <a:pt x="2367" y="10769"/>
                  </a:lnTo>
                  <a:lnTo>
                    <a:pt x="1962" y="10724"/>
                  </a:lnTo>
                  <a:lnTo>
                    <a:pt x="1555" y="10677"/>
                  </a:lnTo>
                  <a:lnTo>
                    <a:pt x="1489" y="10387"/>
                  </a:lnTo>
                  <a:lnTo>
                    <a:pt x="1426" y="10097"/>
                  </a:lnTo>
                  <a:lnTo>
                    <a:pt x="1368" y="9807"/>
                  </a:lnTo>
                  <a:lnTo>
                    <a:pt x="1314" y="9516"/>
                  </a:lnTo>
                  <a:lnTo>
                    <a:pt x="1264" y="9227"/>
                  </a:lnTo>
                  <a:lnTo>
                    <a:pt x="1219" y="8937"/>
                  </a:lnTo>
                  <a:lnTo>
                    <a:pt x="1178" y="8647"/>
                  </a:lnTo>
                  <a:lnTo>
                    <a:pt x="1142" y="8357"/>
                  </a:lnTo>
                  <a:lnTo>
                    <a:pt x="1110" y="8068"/>
                  </a:lnTo>
                  <a:lnTo>
                    <a:pt x="1081" y="7778"/>
                  </a:lnTo>
                  <a:lnTo>
                    <a:pt x="1057" y="7488"/>
                  </a:lnTo>
                  <a:lnTo>
                    <a:pt x="1038" y="7197"/>
                  </a:lnTo>
                  <a:lnTo>
                    <a:pt x="1023" y="6908"/>
                  </a:lnTo>
                  <a:lnTo>
                    <a:pt x="1012" y="6618"/>
                  </a:lnTo>
                  <a:lnTo>
                    <a:pt x="1006" y="6328"/>
                  </a:lnTo>
                  <a:lnTo>
                    <a:pt x="1004" y="6038"/>
                  </a:lnTo>
                  <a:lnTo>
                    <a:pt x="1006" y="5749"/>
                  </a:lnTo>
                  <a:lnTo>
                    <a:pt x="1012" y="5459"/>
                  </a:lnTo>
                  <a:lnTo>
                    <a:pt x="1023" y="5169"/>
                  </a:lnTo>
                  <a:lnTo>
                    <a:pt x="1038" y="4878"/>
                  </a:lnTo>
                  <a:lnTo>
                    <a:pt x="1057" y="4589"/>
                  </a:lnTo>
                  <a:lnTo>
                    <a:pt x="1081" y="4299"/>
                  </a:lnTo>
                  <a:lnTo>
                    <a:pt x="1110" y="4009"/>
                  </a:lnTo>
                  <a:lnTo>
                    <a:pt x="1142" y="3719"/>
                  </a:lnTo>
                  <a:lnTo>
                    <a:pt x="1178" y="3430"/>
                  </a:lnTo>
                  <a:lnTo>
                    <a:pt x="1219" y="3140"/>
                  </a:lnTo>
                  <a:lnTo>
                    <a:pt x="1264" y="2850"/>
                  </a:lnTo>
                  <a:lnTo>
                    <a:pt x="1314" y="2560"/>
                  </a:lnTo>
                  <a:lnTo>
                    <a:pt x="1368" y="2270"/>
                  </a:lnTo>
                  <a:lnTo>
                    <a:pt x="1426" y="1980"/>
                  </a:lnTo>
                  <a:lnTo>
                    <a:pt x="1489" y="1690"/>
                  </a:lnTo>
                  <a:lnTo>
                    <a:pt x="1555" y="1400"/>
                  </a:lnTo>
                  <a:lnTo>
                    <a:pt x="1962" y="1353"/>
                  </a:lnTo>
                  <a:lnTo>
                    <a:pt x="2367" y="1308"/>
                  </a:lnTo>
                  <a:lnTo>
                    <a:pt x="2772" y="1267"/>
                  </a:lnTo>
                  <a:lnTo>
                    <a:pt x="3179" y="1228"/>
                  </a:lnTo>
                  <a:lnTo>
                    <a:pt x="3584" y="1192"/>
                  </a:lnTo>
                  <a:lnTo>
                    <a:pt x="3990" y="1160"/>
                  </a:lnTo>
                  <a:lnTo>
                    <a:pt x="4396" y="1131"/>
                  </a:lnTo>
                  <a:lnTo>
                    <a:pt x="4801" y="1105"/>
                  </a:lnTo>
                  <a:lnTo>
                    <a:pt x="5208" y="1082"/>
                  </a:lnTo>
                  <a:lnTo>
                    <a:pt x="5613" y="1061"/>
                  </a:lnTo>
                  <a:lnTo>
                    <a:pt x="6019" y="1045"/>
                  </a:lnTo>
                  <a:lnTo>
                    <a:pt x="6424" y="1031"/>
                  </a:lnTo>
                  <a:lnTo>
                    <a:pt x="6830" y="1020"/>
                  </a:lnTo>
                  <a:lnTo>
                    <a:pt x="7236" y="1013"/>
                  </a:lnTo>
                  <a:lnTo>
                    <a:pt x="7642" y="1008"/>
                  </a:lnTo>
                  <a:lnTo>
                    <a:pt x="8048" y="1006"/>
                  </a:lnTo>
                  <a:lnTo>
                    <a:pt x="8453" y="1008"/>
                  </a:lnTo>
                  <a:lnTo>
                    <a:pt x="8858" y="1013"/>
                  </a:lnTo>
                  <a:lnTo>
                    <a:pt x="9265" y="1020"/>
                  </a:lnTo>
                  <a:lnTo>
                    <a:pt x="9670" y="1031"/>
                  </a:lnTo>
                  <a:lnTo>
                    <a:pt x="10075" y="1045"/>
                  </a:lnTo>
                  <a:lnTo>
                    <a:pt x="10482" y="1061"/>
                  </a:lnTo>
                  <a:lnTo>
                    <a:pt x="10887" y="1082"/>
                  </a:lnTo>
                  <a:lnTo>
                    <a:pt x="11293" y="1105"/>
                  </a:lnTo>
                  <a:lnTo>
                    <a:pt x="11699" y="1131"/>
                  </a:lnTo>
                  <a:lnTo>
                    <a:pt x="12104" y="1160"/>
                  </a:lnTo>
                  <a:lnTo>
                    <a:pt x="12510" y="1192"/>
                  </a:lnTo>
                  <a:lnTo>
                    <a:pt x="12916" y="1228"/>
                  </a:lnTo>
                  <a:lnTo>
                    <a:pt x="13322" y="1267"/>
                  </a:lnTo>
                  <a:lnTo>
                    <a:pt x="13728" y="1308"/>
                  </a:lnTo>
                  <a:lnTo>
                    <a:pt x="14133" y="1353"/>
                  </a:lnTo>
                  <a:lnTo>
                    <a:pt x="14539" y="1400"/>
                  </a:lnTo>
                  <a:lnTo>
                    <a:pt x="14606" y="1690"/>
                  </a:lnTo>
                  <a:lnTo>
                    <a:pt x="14669" y="1980"/>
                  </a:lnTo>
                  <a:lnTo>
                    <a:pt x="14727" y="2270"/>
                  </a:lnTo>
                  <a:lnTo>
                    <a:pt x="14780" y="2560"/>
                  </a:lnTo>
                  <a:lnTo>
                    <a:pt x="14831" y="2850"/>
                  </a:lnTo>
                  <a:lnTo>
                    <a:pt x="14876" y="3140"/>
                  </a:lnTo>
                  <a:lnTo>
                    <a:pt x="14916" y="3430"/>
                  </a:lnTo>
                  <a:lnTo>
                    <a:pt x="14953" y="3719"/>
                  </a:lnTo>
                  <a:lnTo>
                    <a:pt x="14985" y="4009"/>
                  </a:lnTo>
                  <a:lnTo>
                    <a:pt x="15014" y="4299"/>
                  </a:lnTo>
                  <a:lnTo>
                    <a:pt x="15037" y="4589"/>
                  </a:lnTo>
                  <a:lnTo>
                    <a:pt x="15057" y="4878"/>
                  </a:lnTo>
                  <a:lnTo>
                    <a:pt x="15072" y="5169"/>
                  </a:lnTo>
                  <a:lnTo>
                    <a:pt x="15082" y="5459"/>
                  </a:lnTo>
                  <a:lnTo>
                    <a:pt x="15089" y="5749"/>
                  </a:lnTo>
                  <a:lnTo>
                    <a:pt x="15091" y="6038"/>
                  </a:lnTo>
                  <a:lnTo>
                    <a:pt x="15089" y="6328"/>
                  </a:lnTo>
                  <a:lnTo>
                    <a:pt x="15082" y="6618"/>
                  </a:lnTo>
                  <a:lnTo>
                    <a:pt x="15072" y="6908"/>
                  </a:lnTo>
                  <a:lnTo>
                    <a:pt x="15057" y="7197"/>
                  </a:lnTo>
                  <a:lnTo>
                    <a:pt x="15037" y="7488"/>
                  </a:lnTo>
                  <a:lnTo>
                    <a:pt x="15014" y="7778"/>
                  </a:lnTo>
                  <a:lnTo>
                    <a:pt x="14985" y="8068"/>
                  </a:lnTo>
                  <a:lnTo>
                    <a:pt x="14953" y="8357"/>
                  </a:lnTo>
                  <a:lnTo>
                    <a:pt x="14916" y="8647"/>
                  </a:lnTo>
                  <a:lnTo>
                    <a:pt x="14876" y="8937"/>
                  </a:lnTo>
                  <a:lnTo>
                    <a:pt x="14831" y="9227"/>
                  </a:lnTo>
                  <a:lnTo>
                    <a:pt x="14780" y="9516"/>
                  </a:lnTo>
                  <a:lnTo>
                    <a:pt x="14727" y="9807"/>
                  </a:lnTo>
                  <a:lnTo>
                    <a:pt x="14669" y="10097"/>
                  </a:lnTo>
                  <a:lnTo>
                    <a:pt x="14606" y="10387"/>
                  </a:lnTo>
                  <a:lnTo>
                    <a:pt x="14539" y="10677"/>
                  </a:lnTo>
                  <a:close/>
                  <a:moveTo>
                    <a:pt x="15518" y="1168"/>
                  </a:moveTo>
                  <a:lnTo>
                    <a:pt x="15508" y="1130"/>
                  </a:lnTo>
                  <a:lnTo>
                    <a:pt x="15496" y="1093"/>
                  </a:lnTo>
                  <a:lnTo>
                    <a:pt x="15483" y="1055"/>
                  </a:lnTo>
                  <a:lnTo>
                    <a:pt x="15470" y="1019"/>
                  </a:lnTo>
                  <a:lnTo>
                    <a:pt x="15454" y="984"/>
                  </a:lnTo>
                  <a:lnTo>
                    <a:pt x="15438" y="950"/>
                  </a:lnTo>
                  <a:lnTo>
                    <a:pt x="15420" y="916"/>
                  </a:lnTo>
                  <a:lnTo>
                    <a:pt x="15401" y="882"/>
                  </a:lnTo>
                  <a:lnTo>
                    <a:pt x="15381" y="850"/>
                  </a:lnTo>
                  <a:lnTo>
                    <a:pt x="15360" y="819"/>
                  </a:lnTo>
                  <a:lnTo>
                    <a:pt x="15338" y="789"/>
                  </a:lnTo>
                  <a:lnTo>
                    <a:pt x="15313" y="759"/>
                  </a:lnTo>
                  <a:lnTo>
                    <a:pt x="15289" y="730"/>
                  </a:lnTo>
                  <a:lnTo>
                    <a:pt x="15263" y="702"/>
                  </a:lnTo>
                  <a:lnTo>
                    <a:pt x="15237" y="676"/>
                  </a:lnTo>
                  <a:lnTo>
                    <a:pt x="15209" y="650"/>
                  </a:lnTo>
                  <a:lnTo>
                    <a:pt x="15181" y="626"/>
                  </a:lnTo>
                  <a:lnTo>
                    <a:pt x="15150" y="602"/>
                  </a:lnTo>
                  <a:lnTo>
                    <a:pt x="15120" y="580"/>
                  </a:lnTo>
                  <a:lnTo>
                    <a:pt x="15089" y="558"/>
                  </a:lnTo>
                  <a:lnTo>
                    <a:pt x="15057" y="538"/>
                  </a:lnTo>
                  <a:lnTo>
                    <a:pt x="15025" y="519"/>
                  </a:lnTo>
                  <a:lnTo>
                    <a:pt x="14990" y="502"/>
                  </a:lnTo>
                  <a:lnTo>
                    <a:pt x="14956" y="485"/>
                  </a:lnTo>
                  <a:lnTo>
                    <a:pt x="14922" y="470"/>
                  </a:lnTo>
                  <a:lnTo>
                    <a:pt x="14886" y="456"/>
                  </a:lnTo>
                  <a:lnTo>
                    <a:pt x="14850" y="444"/>
                  </a:lnTo>
                  <a:lnTo>
                    <a:pt x="14813" y="433"/>
                  </a:lnTo>
                  <a:lnTo>
                    <a:pt x="14775" y="423"/>
                  </a:lnTo>
                  <a:lnTo>
                    <a:pt x="14738" y="415"/>
                  </a:lnTo>
                  <a:lnTo>
                    <a:pt x="14699" y="407"/>
                  </a:lnTo>
                  <a:lnTo>
                    <a:pt x="14661" y="401"/>
                  </a:lnTo>
                  <a:lnTo>
                    <a:pt x="14454" y="377"/>
                  </a:lnTo>
                  <a:lnTo>
                    <a:pt x="14248" y="353"/>
                  </a:lnTo>
                  <a:lnTo>
                    <a:pt x="14043" y="330"/>
                  </a:lnTo>
                  <a:lnTo>
                    <a:pt x="13837" y="308"/>
                  </a:lnTo>
                  <a:lnTo>
                    <a:pt x="13629" y="287"/>
                  </a:lnTo>
                  <a:lnTo>
                    <a:pt x="13423" y="266"/>
                  </a:lnTo>
                  <a:lnTo>
                    <a:pt x="13217" y="245"/>
                  </a:lnTo>
                  <a:lnTo>
                    <a:pt x="13010" y="226"/>
                  </a:lnTo>
                  <a:lnTo>
                    <a:pt x="12804" y="208"/>
                  </a:lnTo>
                  <a:lnTo>
                    <a:pt x="12596" y="190"/>
                  </a:lnTo>
                  <a:lnTo>
                    <a:pt x="12389" y="174"/>
                  </a:lnTo>
                  <a:lnTo>
                    <a:pt x="12183" y="158"/>
                  </a:lnTo>
                  <a:lnTo>
                    <a:pt x="11976" y="142"/>
                  </a:lnTo>
                  <a:lnTo>
                    <a:pt x="11768" y="128"/>
                  </a:lnTo>
                  <a:lnTo>
                    <a:pt x="11561" y="114"/>
                  </a:lnTo>
                  <a:lnTo>
                    <a:pt x="11354" y="101"/>
                  </a:lnTo>
                  <a:lnTo>
                    <a:pt x="11147" y="89"/>
                  </a:lnTo>
                  <a:lnTo>
                    <a:pt x="10940" y="77"/>
                  </a:lnTo>
                  <a:lnTo>
                    <a:pt x="10732" y="66"/>
                  </a:lnTo>
                  <a:lnTo>
                    <a:pt x="10526" y="57"/>
                  </a:lnTo>
                  <a:lnTo>
                    <a:pt x="10319" y="48"/>
                  </a:lnTo>
                  <a:lnTo>
                    <a:pt x="10112" y="39"/>
                  </a:lnTo>
                  <a:lnTo>
                    <a:pt x="9904" y="32"/>
                  </a:lnTo>
                  <a:lnTo>
                    <a:pt x="9698" y="25"/>
                  </a:lnTo>
                  <a:lnTo>
                    <a:pt x="9491" y="19"/>
                  </a:lnTo>
                  <a:lnTo>
                    <a:pt x="9285" y="14"/>
                  </a:lnTo>
                  <a:lnTo>
                    <a:pt x="9078" y="10"/>
                  </a:lnTo>
                  <a:lnTo>
                    <a:pt x="8871" y="6"/>
                  </a:lnTo>
                  <a:lnTo>
                    <a:pt x="8665" y="4"/>
                  </a:lnTo>
                  <a:lnTo>
                    <a:pt x="8459" y="2"/>
                  </a:lnTo>
                  <a:lnTo>
                    <a:pt x="8254" y="0"/>
                  </a:lnTo>
                  <a:lnTo>
                    <a:pt x="8048" y="0"/>
                  </a:lnTo>
                  <a:lnTo>
                    <a:pt x="7841" y="0"/>
                  </a:lnTo>
                  <a:lnTo>
                    <a:pt x="7636" y="2"/>
                  </a:lnTo>
                  <a:lnTo>
                    <a:pt x="7430" y="4"/>
                  </a:lnTo>
                  <a:lnTo>
                    <a:pt x="7224" y="6"/>
                  </a:lnTo>
                  <a:lnTo>
                    <a:pt x="7016" y="10"/>
                  </a:lnTo>
                  <a:lnTo>
                    <a:pt x="6810" y="14"/>
                  </a:lnTo>
                  <a:lnTo>
                    <a:pt x="6604" y="19"/>
                  </a:lnTo>
                  <a:lnTo>
                    <a:pt x="6397" y="25"/>
                  </a:lnTo>
                  <a:lnTo>
                    <a:pt x="6190" y="32"/>
                  </a:lnTo>
                  <a:lnTo>
                    <a:pt x="5983" y="39"/>
                  </a:lnTo>
                  <a:lnTo>
                    <a:pt x="5776" y="48"/>
                  </a:lnTo>
                  <a:lnTo>
                    <a:pt x="5569" y="57"/>
                  </a:lnTo>
                  <a:lnTo>
                    <a:pt x="5362" y="66"/>
                  </a:lnTo>
                  <a:lnTo>
                    <a:pt x="5154" y="77"/>
                  </a:lnTo>
                  <a:lnTo>
                    <a:pt x="4948" y="89"/>
                  </a:lnTo>
                  <a:lnTo>
                    <a:pt x="4741" y="101"/>
                  </a:lnTo>
                  <a:lnTo>
                    <a:pt x="4534" y="114"/>
                  </a:lnTo>
                  <a:lnTo>
                    <a:pt x="4327" y="128"/>
                  </a:lnTo>
                  <a:lnTo>
                    <a:pt x="4119" y="142"/>
                  </a:lnTo>
                  <a:lnTo>
                    <a:pt x="3912" y="158"/>
                  </a:lnTo>
                  <a:lnTo>
                    <a:pt x="3705" y="174"/>
                  </a:lnTo>
                  <a:lnTo>
                    <a:pt x="3498" y="190"/>
                  </a:lnTo>
                  <a:lnTo>
                    <a:pt x="3291" y="208"/>
                  </a:lnTo>
                  <a:lnTo>
                    <a:pt x="3084" y="226"/>
                  </a:lnTo>
                  <a:lnTo>
                    <a:pt x="2878" y="245"/>
                  </a:lnTo>
                  <a:lnTo>
                    <a:pt x="2671" y="266"/>
                  </a:lnTo>
                  <a:lnTo>
                    <a:pt x="2465" y="287"/>
                  </a:lnTo>
                  <a:lnTo>
                    <a:pt x="2258" y="308"/>
                  </a:lnTo>
                  <a:lnTo>
                    <a:pt x="2052" y="330"/>
                  </a:lnTo>
                  <a:lnTo>
                    <a:pt x="1846" y="353"/>
                  </a:lnTo>
                  <a:lnTo>
                    <a:pt x="1640" y="377"/>
                  </a:lnTo>
                  <a:lnTo>
                    <a:pt x="1434" y="401"/>
                  </a:lnTo>
                  <a:lnTo>
                    <a:pt x="1395" y="407"/>
                  </a:lnTo>
                  <a:lnTo>
                    <a:pt x="1357" y="415"/>
                  </a:lnTo>
                  <a:lnTo>
                    <a:pt x="1319" y="423"/>
                  </a:lnTo>
                  <a:lnTo>
                    <a:pt x="1282" y="433"/>
                  </a:lnTo>
                  <a:lnTo>
                    <a:pt x="1244" y="444"/>
                  </a:lnTo>
                  <a:lnTo>
                    <a:pt x="1208" y="456"/>
                  </a:lnTo>
                  <a:lnTo>
                    <a:pt x="1173" y="470"/>
                  </a:lnTo>
                  <a:lnTo>
                    <a:pt x="1138" y="485"/>
                  </a:lnTo>
                  <a:lnTo>
                    <a:pt x="1104" y="502"/>
                  </a:lnTo>
                  <a:lnTo>
                    <a:pt x="1070" y="519"/>
                  </a:lnTo>
                  <a:lnTo>
                    <a:pt x="1037" y="538"/>
                  </a:lnTo>
                  <a:lnTo>
                    <a:pt x="1005" y="558"/>
                  </a:lnTo>
                  <a:lnTo>
                    <a:pt x="974" y="580"/>
                  </a:lnTo>
                  <a:lnTo>
                    <a:pt x="944" y="602"/>
                  </a:lnTo>
                  <a:lnTo>
                    <a:pt x="914" y="626"/>
                  </a:lnTo>
                  <a:lnTo>
                    <a:pt x="885" y="650"/>
                  </a:lnTo>
                  <a:lnTo>
                    <a:pt x="858" y="676"/>
                  </a:lnTo>
                  <a:lnTo>
                    <a:pt x="831" y="702"/>
                  </a:lnTo>
                  <a:lnTo>
                    <a:pt x="806" y="730"/>
                  </a:lnTo>
                  <a:lnTo>
                    <a:pt x="781" y="759"/>
                  </a:lnTo>
                  <a:lnTo>
                    <a:pt x="757" y="789"/>
                  </a:lnTo>
                  <a:lnTo>
                    <a:pt x="734" y="819"/>
                  </a:lnTo>
                  <a:lnTo>
                    <a:pt x="713" y="850"/>
                  </a:lnTo>
                  <a:lnTo>
                    <a:pt x="693" y="882"/>
                  </a:lnTo>
                  <a:lnTo>
                    <a:pt x="674" y="916"/>
                  </a:lnTo>
                  <a:lnTo>
                    <a:pt x="657" y="950"/>
                  </a:lnTo>
                  <a:lnTo>
                    <a:pt x="640" y="984"/>
                  </a:lnTo>
                  <a:lnTo>
                    <a:pt x="625" y="1019"/>
                  </a:lnTo>
                  <a:lnTo>
                    <a:pt x="611" y="1055"/>
                  </a:lnTo>
                  <a:lnTo>
                    <a:pt x="599" y="1093"/>
                  </a:lnTo>
                  <a:lnTo>
                    <a:pt x="586" y="1130"/>
                  </a:lnTo>
                  <a:lnTo>
                    <a:pt x="577" y="1168"/>
                  </a:lnTo>
                  <a:lnTo>
                    <a:pt x="507" y="1471"/>
                  </a:lnTo>
                  <a:lnTo>
                    <a:pt x="442" y="1775"/>
                  </a:lnTo>
                  <a:lnTo>
                    <a:pt x="381" y="2078"/>
                  </a:lnTo>
                  <a:lnTo>
                    <a:pt x="325" y="2381"/>
                  </a:lnTo>
                  <a:lnTo>
                    <a:pt x="273" y="2686"/>
                  </a:lnTo>
                  <a:lnTo>
                    <a:pt x="225" y="2990"/>
                  </a:lnTo>
                  <a:lnTo>
                    <a:pt x="183" y="3294"/>
                  </a:lnTo>
                  <a:lnTo>
                    <a:pt x="145" y="3599"/>
                  </a:lnTo>
                  <a:lnTo>
                    <a:pt x="111" y="3904"/>
                  </a:lnTo>
                  <a:lnTo>
                    <a:pt x="81" y="4208"/>
                  </a:lnTo>
                  <a:lnTo>
                    <a:pt x="56" y="4513"/>
                  </a:lnTo>
                  <a:lnTo>
                    <a:pt x="36" y="4818"/>
                  </a:lnTo>
                  <a:lnTo>
                    <a:pt x="20" y="5123"/>
                  </a:lnTo>
                  <a:lnTo>
                    <a:pt x="9" y="5428"/>
                  </a:lnTo>
                  <a:lnTo>
                    <a:pt x="2" y="5734"/>
                  </a:lnTo>
                  <a:lnTo>
                    <a:pt x="0" y="6038"/>
                  </a:lnTo>
                  <a:lnTo>
                    <a:pt x="2" y="6343"/>
                  </a:lnTo>
                  <a:lnTo>
                    <a:pt x="9" y="6649"/>
                  </a:lnTo>
                  <a:lnTo>
                    <a:pt x="20" y="6954"/>
                  </a:lnTo>
                  <a:lnTo>
                    <a:pt x="36" y="7259"/>
                  </a:lnTo>
                  <a:lnTo>
                    <a:pt x="56" y="7564"/>
                  </a:lnTo>
                  <a:lnTo>
                    <a:pt x="81" y="7869"/>
                  </a:lnTo>
                  <a:lnTo>
                    <a:pt x="111" y="8173"/>
                  </a:lnTo>
                  <a:lnTo>
                    <a:pt x="145" y="8478"/>
                  </a:lnTo>
                  <a:lnTo>
                    <a:pt x="183" y="8783"/>
                  </a:lnTo>
                  <a:lnTo>
                    <a:pt x="225" y="9087"/>
                  </a:lnTo>
                  <a:lnTo>
                    <a:pt x="273" y="9392"/>
                  </a:lnTo>
                  <a:lnTo>
                    <a:pt x="325" y="9696"/>
                  </a:lnTo>
                  <a:lnTo>
                    <a:pt x="381" y="9999"/>
                  </a:lnTo>
                  <a:lnTo>
                    <a:pt x="442" y="10303"/>
                  </a:lnTo>
                  <a:lnTo>
                    <a:pt x="507" y="10606"/>
                  </a:lnTo>
                  <a:lnTo>
                    <a:pt x="577" y="10910"/>
                  </a:lnTo>
                  <a:lnTo>
                    <a:pt x="586" y="10947"/>
                  </a:lnTo>
                  <a:lnTo>
                    <a:pt x="599" y="10985"/>
                  </a:lnTo>
                  <a:lnTo>
                    <a:pt x="611" y="11022"/>
                  </a:lnTo>
                  <a:lnTo>
                    <a:pt x="625" y="11058"/>
                  </a:lnTo>
                  <a:lnTo>
                    <a:pt x="640" y="11093"/>
                  </a:lnTo>
                  <a:lnTo>
                    <a:pt x="657" y="11128"/>
                  </a:lnTo>
                  <a:lnTo>
                    <a:pt x="674" y="11161"/>
                  </a:lnTo>
                  <a:lnTo>
                    <a:pt x="693" y="11195"/>
                  </a:lnTo>
                  <a:lnTo>
                    <a:pt x="713" y="11227"/>
                  </a:lnTo>
                  <a:lnTo>
                    <a:pt x="734" y="11258"/>
                  </a:lnTo>
                  <a:lnTo>
                    <a:pt x="757" y="11289"/>
                  </a:lnTo>
                  <a:lnTo>
                    <a:pt x="781" y="11318"/>
                  </a:lnTo>
                  <a:lnTo>
                    <a:pt x="806" y="11348"/>
                  </a:lnTo>
                  <a:lnTo>
                    <a:pt x="831" y="11375"/>
                  </a:lnTo>
                  <a:lnTo>
                    <a:pt x="858" y="11402"/>
                  </a:lnTo>
                  <a:lnTo>
                    <a:pt x="885" y="11427"/>
                  </a:lnTo>
                  <a:lnTo>
                    <a:pt x="914" y="11451"/>
                  </a:lnTo>
                  <a:lnTo>
                    <a:pt x="944" y="11475"/>
                  </a:lnTo>
                  <a:lnTo>
                    <a:pt x="974" y="11497"/>
                  </a:lnTo>
                  <a:lnTo>
                    <a:pt x="1005" y="11519"/>
                  </a:lnTo>
                  <a:lnTo>
                    <a:pt x="1037" y="11539"/>
                  </a:lnTo>
                  <a:lnTo>
                    <a:pt x="1070" y="11558"/>
                  </a:lnTo>
                  <a:lnTo>
                    <a:pt x="1104" y="11576"/>
                  </a:lnTo>
                  <a:lnTo>
                    <a:pt x="1138" y="11592"/>
                  </a:lnTo>
                  <a:lnTo>
                    <a:pt x="1173" y="11607"/>
                  </a:lnTo>
                  <a:lnTo>
                    <a:pt x="1208" y="11621"/>
                  </a:lnTo>
                  <a:lnTo>
                    <a:pt x="1244" y="11633"/>
                  </a:lnTo>
                  <a:lnTo>
                    <a:pt x="1282" y="11644"/>
                  </a:lnTo>
                  <a:lnTo>
                    <a:pt x="1319" y="11654"/>
                  </a:lnTo>
                  <a:lnTo>
                    <a:pt x="1357" y="11662"/>
                  </a:lnTo>
                  <a:lnTo>
                    <a:pt x="1395" y="11669"/>
                  </a:lnTo>
                  <a:lnTo>
                    <a:pt x="1434" y="11676"/>
                  </a:lnTo>
                  <a:lnTo>
                    <a:pt x="1633" y="11699"/>
                  </a:lnTo>
                  <a:lnTo>
                    <a:pt x="1831" y="11722"/>
                  </a:lnTo>
                  <a:lnTo>
                    <a:pt x="2030" y="11744"/>
                  </a:lnTo>
                  <a:lnTo>
                    <a:pt x="2228" y="11765"/>
                  </a:lnTo>
                  <a:lnTo>
                    <a:pt x="2427" y="11786"/>
                  </a:lnTo>
                  <a:lnTo>
                    <a:pt x="2627" y="11805"/>
                  </a:lnTo>
                  <a:lnTo>
                    <a:pt x="2826" y="11824"/>
                  </a:lnTo>
                  <a:lnTo>
                    <a:pt x="3025" y="11844"/>
                  </a:lnTo>
                  <a:lnTo>
                    <a:pt x="3224" y="11861"/>
                  </a:lnTo>
                  <a:lnTo>
                    <a:pt x="3423" y="11878"/>
                  </a:lnTo>
                  <a:lnTo>
                    <a:pt x="3622" y="11894"/>
                  </a:lnTo>
                  <a:lnTo>
                    <a:pt x="3822" y="11910"/>
                  </a:lnTo>
                  <a:lnTo>
                    <a:pt x="4021" y="11924"/>
                  </a:lnTo>
                  <a:lnTo>
                    <a:pt x="4221" y="11939"/>
                  </a:lnTo>
                  <a:lnTo>
                    <a:pt x="4420" y="11952"/>
                  </a:lnTo>
                  <a:lnTo>
                    <a:pt x="4619" y="11965"/>
                  </a:lnTo>
                  <a:lnTo>
                    <a:pt x="4599" y="11978"/>
                  </a:lnTo>
                  <a:lnTo>
                    <a:pt x="4581" y="11992"/>
                  </a:lnTo>
                  <a:lnTo>
                    <a:pt x="4565" y="12007"/>
                  </a:lnTo>
                  <a:lnTo>
                    <a:pt x="4551" y="12021"/>
                  </a:lnTo>
                  <a:lnTo>
                    <a:pt x="4546" y="12028"/>
                  </a:lnTo>
                  <a:lnTo>
                    <a:pt x="4540" y="12035"/>
                  </a:lnTo>
                  <a:lnTo>
                    <a:pt x="4536" y="12042"/>
                  </a:lnTo>
                  <a:lnTo>
                    <a:pt x="4533" y="12049"/>
                  </a:lnTo>
                  <a:lnTo>
                    <a:pt x="4530" y="12056"/>
                  </a:lnTo>
                  <a:lnTo>
                    <a:pt x="4528" y="12063"/>
                  </a:lnTo>
                  <a:lnTo>
                    <a:pt x="4526" y="12070"/>
                  </a:lnTo>
                  <a:lnTo>
                    <a:pt x="4526" y="12077"/>
                  </a:lnTo>
                  <a:lnTo>
                    <a:pt x="4531" y="12103"/>
                  </a:lnTo>
                  <a:lnTo>
                    <a:pt x="4544" y="12128"/>
                  </a:lnTo>
                  <a:lnTo>
                    <a:pt x="4566" y="12153"/>
                  </a:lnTo>
                  <a:lnTo>
                    <a:pt x="4597" y="12179"/>
                  </a:lnTo>
                  <a:lnTo>
                    <a:pt x="4636" y="12203"/>
                  </a:lnTo>
                  <a:lnTo>
                    <a:pt x="4684" y="12227"/>
                  </a:lnTo>
                  <a:lnTo>
                    <a:pt x="4739" y="12250"/>
                  </a:lnTo>
                  <a:lnTo>
                    <a:pt x="4802" y="12273"/>
                  </a:lnTo>
                  <a:lnTo>
                    <a:pt x="4873" y="12295"/>
                  </a:lnTo>
                  <a:lnTo>
                    <a:pt x="4950" y="12316"/>
                  </a:lnTo>
                  <a:lnTo>
                    <a:pt x="5036" y="12338"/>
                  </a:lnTo>
                  <a:lnTo>
                    <a:pt x="5127" y="12359"/>
                  </a:lnTo>
                  <a:lnTo>
                    <a:pt x="5225" y="12378"/>
                  </a:lnTo>
                  <a:lnTo>
                    <a:pt x="5329" y="12397"/>
                  </a:lnTo>
                  <a:lnTo>
                    <a:pt x="5440" y="12415"/>
                  </a:lnTo>
                  <a:lnTo>
                    <a:pt x="5557" y="12433"/>
                  </a:lnTo>
                  <a:lnTo>
                    <a:pt x="5680" y="12449"/>
                  </a:lnTo>
                  <a:lnTo>
                    <a:pt x="5807" y="12465"/>
                  </a:lnTo>
                  <a:lnTo>
                    <a:pt x="5940" y="12480"/>
                  </a:lnTo>
                  <a:lnTo>
                    <a:pt x="6078" y="12494"/>
                  </a:lnTo>
                  <a:lnTo>
                    <a:pt x="6221" y="12508"/>
                  </a:lnTo>
                  <a:lnTo>
                    <a:pt x="6369" y="12520"/>
                  </a:lnTo>
                  <a:lnTo>
                    <a:pt x="6520" y="12531"/>
                  </a:lnTo>
                  <a:lnTo>
                    <a:pt x="6676" y="12541"/>
                  </a:lnTo>
                  <a:lnTo>
                    <a:pt x="6836" y="12550"/>
                  </a:lnTo>
                  <a:lnTo>
                    <a:pt x="7000" y="12558"/>
                  </a:lnTo>
                  <a:lnTo>
                    <a:pt x="7167" y="12564"/>
                  </a:lnTo>
                  <a:lnTo>
                    <a:pt x="7337" y="12570"/>
                  </a:lnTo>
                  <a:lnTo>
                    <a:pt x="7511" y="12574"/>
                  </a:lnTo>
                  <a:lnTo>
                    <a:pt x="7687" y="12577"/>
                  </a:lnTo>
                  <a:lnTo>
                    <a:pt x="7866" y="12579"/>
                  </a:lnTo>
                  <a:lnTo>
                    <a:pt x="8048" y="12580"/>
                  </a:lnTo>
                  <a:lnTo>
                    <a:pt x="8229" y="12579"/>
                  </a:lnTo>
                  <a:lnTo>
                    <a:pt x="8408" y="12577"/>
                  </a:lnTo>
                  <a:lnTo>
                    <a:pt x="8584" y="12574"/>
                  </a:lnTo>
                  <a:lnTo>
                    <a:pt x="8758" y="12570"/>
                  </a:lnTo>
                  <a:lnTo>
                    <a:pt x="8928" y="12564"/>
                  </a:lnTo>
                  <a:lnTo>
                    <a:pt x="9095" y="12558"/>
                  </a:lnTo>
                  <a:lnTo>
                    <a:pt x="9259" y="12550"/>
                  </a:lnTo>
                  <a:lnTo>
                    <a:pt x="9419" y="12541"/>
                  </a:lnTo>
                  <a:lnTo>
                    <a:pt x="9575" y="12531"/>
                  </a:lnTo>
                  <a:lnTo>
                    <a:pt x="9726" y="12520"/>
                  </a:lnTo>
                  <a:lnTo>
                    <a:pt x="9874" y="12508"/>
                  </a:lnTo>
                  <a:lnTo>
                    <a:pt x="10017" y="12494"/>
                  </a:lnTo>
                  <a:lnTo>
                    <a:pt x="10155" y="12480"/>
                  </a:lnTo>
                  <a:lnTo>
                    <a:pt x="10288" y="12465"/>
                  </a:lnTo>
                  <a:lnTo>
                    <a:pt x="10415" y="12449"/>
                  </a:lnTo>
                  <a:lnTo>
                    <a:pt x="10538" y="12433"/>
                  </a:lnTo>
                  <a:lnTo>
                    <a:pt x="10655" y="12415"/>
                  </a:lnTo>
                  <a:lnTo>
                    <a:pt x="10766" y="12397"/>
                  </a:lnTo>
                  <a:lnTo>
                    <a:pt x="10870" y="12378"/>
                  </a:lnTo>
                  <a:lnTo>
                    <a:pt x="10968" y="12359"/>
                  </a:lnTo>
                  <a:lnTo>
                    <a:pt x="11059" y="12338"/>
                  </a:lnTo>
                  <a:lnTo>
                    <a:pt x="11145" y="12316"/>
                  </a:lnTo>
                  <a:lnTo>
                    <a:pt x="11222" y="12295"/>
                  </a:lnTo>
                  <a:lnTo>
                    <a:pt x="11293" y="12273"/>
                  </a:lnTo>
                  <a:lnTo>
                    <a:pt x="11356" y="12250"/>
                  </a:lnTo>
                  <a:lnTo>
                    <a:pt x="11411" y="12227"/>
                  </a:lnTo>
                  <a:lnTo>
                    <a:pt x="11459" y="12203"/>
                  </a:lnTo>
                  <a:lnTo>
                    <a:pt x="11498" y="12179"/>
                  </a:lnTo>
                  <a:lnTo>
                    <a:pt x="11529" y="12153"/>
                  </a:lnTo>
                  <a:lnTo>
                    <a:pt x="11551" y="12128"/>
                  </a:lnTo>
                  <a:lnTo>
                    <a:pt x="11565" y="12103"/>
                  </a:lnTo>
                  <a:lnTo>
                    <a:pt x="11569" y="12077"/>
                  </a:lnTo>
                  <a:lnTo>
                    <a:pt x="11569" y="12070"/>
                  </a:lnTo>
                  <a:lnTo>
                    <a:pt x="11568" y="12063"/>
                  </a:lnTo>
                  <a:lnTo>
                    <a:pt x="11565" y="12056"/>
                  </a:lnTo>
                  <a:lnTo>
                    <a:pt x="11563" y="12049"/>
                  </a:lnTo>
                  <a:lnTo>
                    <a:pt x="11559" y="12042"/>
                  </a:lnTo>
                  <a:lnTo>
                    <a:pt x="11554" y="12035"/>
                  </a:lnTo>
                  <a:lnTo>
                    <a:pt x="11549" y="12028"/>
                  </a:lnTo>
                  <a:lnTo>
                    <a:pt x="11544" y="12021"/>
                  </a:lnTo>
                  <a:lnTo>
                    <a:pt x="11530" y="12007"/>
                  </a:lnTo>
                  <a:lnTo>
                    <a:pt x="11514" y="11992"/>
                  </a:lnTo>
                  <a:lnTo>
                    <a:pt x="11496" y="11978"/>
                  </a:lnTo>
                  <a:lnTo>
                    <a:pt x="11475" y="11965"/>
                  </a:lnTo>
                  <a:lnTo>
                    <a:pt x="11674" y="11952"/>
                  </a:lnTo>
                  <a:lnTo>
                    <a:pt x="11874" y="11939"/>
                  </a:lnTo>
                  <a:lnTo>
                    <a:pt x="12073" y="11924"/>
                  </a:lnTo>
                  <a:lnTo>
                    <a:pt x="12272" y="11910"/>
                  </a:lnTo>
                  <a:lnTo>
                    <a:pt x="12473" y="11894"/>
                  </a:lnTo>
                  <a:lnTo>
                    <a:pt x="12672" y="11878"/>
                  </a:lnTo>
                  <a:lnTo>
                    <a:pt x="12871" y="11861"/>
                  </a:lnTo>
                  <a:lnTo>
                    <a:pt x="13070" y="11844"/>
                  </a:lnTo>
                  <a:lnTo>
                    <a:pt x="13269" y="11824"/>
                  </a:lnTo>
                  <a:lnTo>
                    <a:pt x="13468" y="11805"/>
                  </a:lnTo>
                  <a:lnTo>
                    <a:pt x="13668" y="11786"/>
                  </a:lnTo>
                  <a:lnTo>
                    <a:pt x="13867" y="11765"/>
                  </a:lnTo>
                  <a:lnTo>
                    <a:pt x="14065" y="11744"/>
                  </a:lnTo>
                  <a:lnTo>
                    <a:pt x="14263" y="11722"/>
                  </a:lnTo>
                  <a:lnTo>
                    <a:pt x="14462" y="11699"/>
                  </a:lnTo>
                  <a:lnTo>
                    <a:pt x="14661" y="11676"/>
                  </a:lnTo>
                  <a:lnTo>
                    <a:pt x="14699" y="11669"/>
                  </a:lnTo>
                  <a:lnTo>
                    <a:pt x="14738" y="11662"/>
                  </a:lnTo>
                  <a:lnTo>
                    <a:pt x="14775" y="11654"/>
                  </a:lnTo>
                  <a:lnTo>
                    <a:pt x="14813" y="11644"/>
                  </a:lnTo>
                  <a:lnTo>
                    <a:pt x="14850" y="11633"/>
                  </a:lnTo>
                  <a:lnTo>
                    <a:pt x="14886" y="11621"/>
                  </a:lnTo>
                  <a:lnTo>
                    <a:pt x="14922" y="11607"/>
                  </a:lnTo>
                  <a:lnTo>
                    <a:pt x="14956" y="11592"/>
                  </a:lnTo>
                  <a:lnTo>
                    <a:pt x="14990" y="11576"/>
                  </a:lnTo>
                  <a:lnTo>
                    <a:pt x="15025" y="11558"/>
                  </a:lnTo>
                  <a:lnTo>
                    <a:pt x="15057" y="11539"/>
                  </a:lnTo>
                  <a:lnTo>
                    <a:pt x="15089" y="11519"/>
                  </a:lnTo>
                  <a:lnTo>
                    <a:pt x="15120" y="11497"/>
                  </a:lnTo>
                  <a:lnTo>
                    <a:pt x="15150" y="11475"/>
                  </a:lnTo>
                  <a:lnTo>
                    <a:pt x="15181" y="11451"/>
                  </a:lnTo>
                  <a:lnTo>
                    <a:pt x="15209" y="11427"/>
                  </a:lnTo>
                  <a:lnTo>
                    <a:pt x="15237" y="11402"/>
                  </a:lnTo>
                  <a:lnTo>
                    <a:pt x="15263" y="11375"/>
                  </a:lnTo>
                  <a:lnTo>
                    <a:pt x="15289" y="11348"/>
                  </a:lnTo>
                  <a:lnTo>
                    <a:pt x="15313" y="11318"/>
                  </a:lnTo>
                  <a:lnTo>
                    <a:pt x="15338" y="11289"/>
                  </a:lnTo>
                  <a:lnTo>
                    <a:pt x="15360" y="11258"/>
                  </a:lnTo>
                  <a:lnTo>
                    <a:pt x="15381" y="11227"/>
                  </a:lnTo>
                  <a:lnTo>
                    <a:pt x="15401" y="11195"/>
                  </a:lnTo>
                  <a:lnTo>
                    <a:pt x="15420" y="11161"/>
                  </a:lnTo>
                  <a:lnTo>
                    <a:pt x="15438" y="11128"/>
                  </a:lnTo>
                  <a:lnTo>
                    <a:pt x="15454" y="11093"/>
                  </a:lnTo>
                  <a:lnTo>
                    <a:pt x="15470" y="11058"/>
                  </a:lnTo>
                  <a:lnTo>
                    <a:pt x="15483" y="11022"/>
                  </a:lnTo>
                  <a:lnTo>
                    <a:pt x="15496" y="10985"/>
                  </a:lnTo>
                  <a:lnTo>
                    <a:pt x="15508" y="10947"/>
                  </a:lnTo>
                  <a:lnTo>
                    <a:pt x="15518" y="10910"/>
                  </a:lnTo>
                  <a:lnTo>
                    <a:pt x="15587" y="10606"/>
                  </a:lnTo>
                  <a:lnTo>
                    <a:pt x="15652" y="10303"/>
                  </a:lnTo>
                  <a:lnTo>
                    <a:pt x="15714" y="9999"/>
                  </a:lnTo>
                  <a:lnTo>
                    <a:pt x="15770" y="9696"/>
                  </a:lnTo>
                  <a:lnTo>
                    <a:pt x="15822" y="9392"/>
                  </a:lnTo>
                  <a:lnTo>
                    <a:pt x="15870" y="9087"/>
                  </a:lnTo>
                  <a:lnTo>
                    <a:pt x="15912" y="8783"/>
                  </a:lnTo>
                  <a:lnTo>
                    <a:pt x="15950" y="8478"/>
                  </a:lnTo>
                  <a:lnTo>
                    <a:pt x="15984" y="8173"/>
                  </a:lnTo>
                  <a:lnTo>
                    <a:pt x="16014" y="7869"/>
                  </a:lnTo>
                  <a:lnTo>
                    <a:pt x="16039" y="7564"/>
                  </a:lnTo>
                  <a:lnTo>
                    <a:pt x="16059" y="7259"/>
                  </a:lnTo>
                  <a:lnTo>
                    <a:pt x="16075" y="6954"/>
                  </a:lnTo>
                  <a:lnTo>
                    <a:pt x="16086" y="6649"/>
                  </a:lnTo>
                  <a:lnTo>
                    <a:pt x="16093" y="6343"/>
                  </a:lnTo>
                  <a:lnTo>
                    <a:pt x="16095" y="6038"/>
                  </a:lnTo>
                  <a:lnTo>
                    <a:pt x="16093" y="5734"/>
                  </a:lnTo>
                  <a:lnTo>
                    <a:pt x="16086" y="5428"/>
                  </a:lnTo>
                  <a:lnTo>
                    <a:pt x="16075" y="5123"/>
                  </a:lnTo>
                  <a:lnTo>
                    <a:pt x="16059" y="4818"/>
                  </a:lnTo>
                  <a:lnTo>
                    <a:pt x="16039" y="4513"/>
                  </a:lnTo>
                  <a:lnTo>
                    <a:pt x="16014" y="4208"/>
                  </a:lnTo>
                  <a:lnTo>
                    <a:pt x="15984" y="3904"/>
                  </a:lnTo>
                  <a:lnTo>
                    <a:pt x="15950" y="3599"/>
                  </a:lnTo>
                  <a:lnTo>
                    <a:pt x="15912" y="3294"/>
                  </a:lnTo>
                  <a:lnTo>
                    <a:pt x="15870" y="2990"/>
                  </a:lnTo>
                  <a:lnTo>
                    <a:pt x="15822" y="2686"/>
                  </a:lnTo>
                  <a:lnTo>
                    <a:pt x="15770" y="2381"/>
                  </a:lnTo>
                  <a:lnTo>
                    <a:pt x="15714" y="2078"/>
                  </a:lnTo>
                  <a:lnTo>
                    <a:pt x="15652" y="1775"/>
                  </a:lnTo>
                  <a:lnTo>
                    <a:pt x="15587" y="1471"/>
                  </a:lnTo>
                  <a:lnTo>
                    <a:pt x="15518" y="1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67" name="íśḻîḓe">
              <a:extLst>
                <a:ext uri="{FF2B5EF4-FFF2-40B4-BE49-F238E27FC236}">
                  <a16:creationId xmlns:a16="http://schemas.microsoft.com/office/drawing/2014/main" id="{59412C0A-BA32-45F9-A74A-48D57361D9EA}"/>
                </a:ext>
              </a:extLst>
            </p:cNvPr>
            <p:cNvSpPr/>
            <p:nvPr/>
          </p:nvSpPr>
          <p:spPr bwMode="auto">
            <a:xfrm>
              <a:off x="1601076" y="1412399"/>
              <a:ext cx="29446" cy="29447"/>
            </a:xfrm>
            <a:custGeom>
              <a:avLst/>
              <a:gdLst>
                <a:gd name="T0" fmla="*/ 806 w 1510"/>
                <a:gd name="T1" fmla="*/ 508 h 1509"/>
                <a:gd name="T2" fmla="*/ 864 w 1510"/>
                <a:gd name="T3" fmla="*/ 528 h 1509"/>
                <a:gd name="T4" fmla="*/ 915 w 1510"/>
                <a:gd name="T5" fmla="*/ 561 h 1509"/>
                <a:gd name="T6" fmla="*/ 957 w 1510"/>
                <a:gd name="T7" fmla="*/ 605 h 1509"/>
                <a:gd name="T8" fmla="*/ 987 w 1510"/>
                <a:gd name="T9" fmla="*/ 657 h 1509"/>
                <a:gd name="T10" fmla="*/ 1004 w 1510"/>
                <a:gd name="T11" fmla="*/ 717 h 1509"/>
                <a:gd name="T12" fmla="*/ 1005 w 1510"/>
                <a:gd name="T13" fmla="*/ 781 h 1509"/>
                <a:gd name="T14" fmla="*/ 991 w 1510"/>
                <a:gd name="T15" fmla="*/ 841 h 1509"/>
                <a:gd name="T16" fmla="*/ 964 w 1510"/>
                <a:gd name="T17" fmla="*/ 896 h 1509"/>
                <a:gd name="T18" fmla="*/ 924 w 1510"/>
                <a:gd name="T19" fmla="*/ 941 h 1509"/>
                <a:gd name="T20" fmla="*/ 875 w 1510"/>
                <a:gd name="T21" fmla="*/ 976 h 1509"/>
                <a:gd name="T22" fmla="*/ 818 w 1510"/>
                <a:gd name="T23" fmla="*/ 998 h 1509"/>
                <a:gd name="T24" fmla="*/ 756 w 1510"/>
                <a:gd name="T25" fmla="*/ 1006 h 1509"/>
                <a:gd name="T26" fmla="*/ 692 w 1510"/>
                <a:gd name="T27" fmla="*/ 998 h 1509"/>
                <a:gd name="T28" fmla="*/ 636 w 1510"/>
                <a:gd name="T29" fmla="*/ 976 h 1509"/>
                <a:gd name="T30" fmla="*/ 587 w 1510"/>
                <a:gd name="T31" fmla="*/ 941 h 1509"/>
                <a:gd name="T32" fmla="*/ 546 w 1510"/>
                <a:gd name="T33" fmla="*/ 896 h 1509"/>
                <a:gd name="T34" fmla="*/ 519 w 1510"/>
                <a:gd name="T35" fmla="*/ 841 h 1509"/>
                <a:gd name="T36" fmla="*/ 505 w 1510"/>
                <a:gd name="T37" fmla="*/ 781 h 1509"/>
                <a:gd name="T38" fmla="*/ 506 w 1510"/>
                <a:gd name="T39" fmla="*/ 717 h 1509"/>
                <a:gd name="T40" fmla="*/ 523 w 1510"/>
                <a:gd name="T41" fmla="*/ 657 h 1509"/>
                <a:gd name="T42" fmla="*/ 553 w 1510"/>
                <a:gd name="T43" fmla="*/ 605 h 1509"/>
                <a:gd name="T44" fmla="*/ 596 w 1510"/>
                <a:gd name="T45" fmla="*/ 561 h 1509"/>
                <a:gd name="T46" fmla="*/ 646 w 1510"/>
                <a:gd name="T47" fmla="*/ 528 h 1509"/>
                <a:gd name="T48" fmla="*/ 704 w 1510"/>
                <a:gd name="T49" fmla="*/ 508 h 1509"/>
                <a:gd name="T50" fmla="*/ 756 w 1510"/>
                <a:gd name="T51" fmla="*/ 1509 h 1509"/>
                <a:gd name="T52" fmla="*/ 944 w 1510"/>
                <a:gd name="T53" fmla="*/ 1486 h 1509"/>
                <a:gd name="T54" fmla="*/ 1115 w 1510"/>
                <a:gd name="T55" fmla="*/ 1419 h 1509"/>
                <a:gd name="T56" fmla="*/ 1263 w 1510"/>
                <a:gd name="T57" fmla="*/ 1313 h 1509"/>
                <a:gd name="T58" fmla="*/ 1381 w 1510"/>
                <a:gd name="T59" fmla="*/ 1177 h 1509"/>
                <a:gd name="T60" fmla="*/ 1464 w 1510"/>
                <a:gd name="T61" fmla="*/ 1014 h 1509"/>
                <a:gd name="T62" fmla="*/ 1506 w 1510"/>
                <a:gd name="T63" fmla="*/ 832 h 1509"/>
                <a:gd name="T64" fmla="*/ 1501 w 1510"/>
                <a:gd name="T65" fmla="*/ 640 h 1509"/>
                <a:gd name="T66" fmla="*/ 1451 w 1510"/>
                <a:gd name="T67" fmla="*/ 461 h 1509"/>
                <a:gd name="T68" fmla="*/ 1360 w 1510"/>
                <a:gd name="T69" fmla="*/ 303 h 1509"/>
                <a:gd name="T70" fmla="*/ 1236 w 1510"/>
                <a:gd name="T71" fmla="*/ 172 h 1509"/>
                <a:gd name="T72" fmla="*/ 1083 w 1510"/>
                <a:gd name="T73" fmla="*/ 75 h 1509"/>
                <a:gd name="T74" fmla="*/ 908 w 1510"/>
                <a:gd name="T75" fmla="*/ 15 h 1509"/>
                <a:gd name="T76" fmla="*/ 716 w 1510"/>
                <a:gd name="T77" fmla="*/ 1 h 1509"/>
                <a:gd name="T78" fmla="*/ 531 w 1510"/>
                <a:gd name="T79" fmla="*/ 34 h 1509"/>
                <a:gd name="T80" fmla="*/ 364 w 1510"/>
                <a:gd name="T81" fmla="*/ 110 h 1509"/>
                <a:gd name="T82" fmla="*/ 222 w 1510"/>
                <a:gd name="T83" fmla="*/ 222 h 1509"/>
                <a:gd name="T84" fmla="*/ 110 w 1510"/>
                <a:gd name="T85" fmla="*/ 363 h 1509"/>
                <a:gd name="T86" fmla="*/ 34 w 1510"/>
                <a:gd name="T87" fmla="*/ 530 h 1509"/>
                <a:gd name="T88" fmla="*/ 1 w 1510"/>
                <a:gd name="T89" fmla="*/ 717 h 1509"/>
                <a:gd name="T90" fmla="*/ 16 w 1510"/>
                <a:gd name="T91" fmla="*/ 907 h 1509"/>
                <a:gd name="T92" fmla="*/ 75 w 1510"/>
                <a:gd name="T93" fmla="*/ 1082 h 1509"/>
                <a:gd name="T94" fmla="*/ 173 w 1510"/>
                <a:gd name="T95" fmla="*/ 1235 h 1509"/>
                <a:gd name="T96" fmla="*/ 304 w 1510"/>
                <a:gd name="T97" fmla="*/ 1359 h 1509"/>
                <a:gd name="T98" fmla="*/ 462 w 1510"/>
                <a:gd name="T99" fmla="*/ 1450 h 1509"/>
                <a:gd name="T100" fmla="*/ 640 w 1510"/>
                <a:gd name="T101" fmla="*/ 1501 h 1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10" h="1509">
                  <a:moveTo>
                    <a:pt x="756" y="503"/>
                  </a:moveTo>
                  <a:lnTo>
                    <a:pt x="769" y="503"/>
                  </a:lnTo>
                  <a:lnTo>
                    <a:pt x="781" y="504"/>
                  </a:lnTo>
                  <a:lnTo>
                    <a:pt x="794" y="506"/>
                  </a:lnTo>
                  <a:lnTo>
                    <a:pt x="806" y="508"/>
                  </a:lnTo>
                  <a:lnTo>
                    <a:pt x="818" y="511"/>
                  </a:lnTo>
                  <a:lnTo>
                    <a:pt x="830" y="514"/>
                  </a:lnTo>
                  <a:lnTo>
                    <a:pt x="841" y="518"/>
                  </a:lnTo>
                  <a:lnTo>
                    <a:pt x="853" y="523"/>
                  </a:lnTo>
                  <a:lnTo>
                    <a:pt x="864" y="528"/>
                  </a:lnTo>
                  <a:lnTo>
                    <a:pt x="875" y="533"/>
                  </a:lnTo>
                  <a:lnTo>
                    <a:pt x="885" y="539"/>
                  </a:lnTo>
                  <a:lnTo>
                    <a:pt x="896" y="547"/>
                  </a:lnTo>
                  <a:lnTo>
                    <a:pt x="906" y="554"/>
                  </a:lnTo>
                  <a:lnTo>
                    <a:pt x="915" y="561"/>
                  </a:lnTo>
                  <a:lnTo>
                    <a:pt x="924" y="569"/>
                  </a:lnTo>
                  <a:lnTo>
                    <a:pt x="933" y="578"/>
                  </a:lnTo>
                  <a:lnTo>
                    <a:pt x="941" y="586"/>
                  </a:lnTo>
                  <a:lnTo>
                    <a:pt x="949" y="595"/>
                  </a:lnTo>
                  <a:lnTo>
                    <a:pt x="957" y="605"/>
                  </a:lnTo>
                  <a:lnTo>
                    <a:pt x="964" y="615"/>
                  </a:lnTo>
                  <a:lnTo>
                    <a:pt x="970" y="625"/>
                  </a:lnTo>
                  <a:lnTo>
                    <a:pt x="976" y="635"/>
                  </a:lnTo>
                  <a:lnTo>
                    <a:pt x="982" y="646"/>
                  </a:lnTo>
                  <a:lnTo>
                    <a:pt x="987" y="657"/>
                  </a:lnTo>
                  <a:lnTo>
                    <a:pt x="991" y="668"/>
                  </a:lnTo>
                  <a:lnTo>
                    <a:pt x="995" y="680"/>
                  </a:lnTo>
                  <a:lnTo>
                    <a:pt x="999" y="692"/>
                  </a:lnTo>
                  <a:lnTo>
                    <a:pt x="1001" y="704"/>
                  </a:lnTo>
                  <a:lnTo>
                    <a:pt x="1004" y="717"/>
                  </a:lnTo>
                  <a:lnTo>
                    <a:pt x="1005" y="730"/>
                  </a:lnTo>
                  <a:lnTo>
                    <a:pt x="1006" y="742"/>
                  </a:lnTo>
                  <a:lnTo>
                    <a:pt x="1007" y="755"/>
                  </a:lnTo>
                  <a:lnTo>
                    <a:pt x="1006" y="768"/>
                  </a:lnTo>
                  <a:lnTo>
                    <a:pt x="1005" y="781"/>
                  </a:lnTo>
                  <a:lnTo>
                    <a:pt x="1004" y="793"/>
                  </a:lnTo>
                  <a:lnTo>
                    <a:pt x="1001" y="805"/>
                  </a:lnTo>
                  <a:lnTo>
                    <a:pt x="999" y="818"/>
                  </a:lnTo>
                  <a:lnTo>
                    <a:pt x="995" y="829"/>
                  </a:lnTo>
                  <a:lnTo>
                    <a:pt x="991" y="841"/>
                  </a:lnTo>
                  <a:lnTo>
                    <a:pt x="987" y="852"/>
                  </a:lnTo>
                  <a:lnTo>
                    <a:pt x="982" y="863"/>
                  </a:lnTo>
                  <a:lnTo>
                    <a:pt x="976" y="874"/>
                  </a:lnTo>
                  <a:lnTo>
                    <a:pt x="970" y="886"/>
                  </a:lnTo>
                  <a:lnTo>
                    <a:pt x="964" y="896"/>
                  </a:lnTo>
                  <a:lnTo>
                    <a:pt x="957" y="906"/>
                  </a:lnTo>
                  <a:lnTo>
                    <a:pt x="949" y="915"/>
                  </a:lnTo>
                  <a:lnTo>
                    <a:pt x="941" y="924"/>
                  </a:lnTo>
                  <a:lnTo>
                    <a:pt x="933" y="933"/>
                  </a:lnTo>
                  <a:lnTo>
                    <a:pt x="924" y="941"/>
                  </a:lnTo>
                  <a:lnTo>
                    <a:pt x="915" y="949"/>
                  </a:lnTo>
                  <a:lnTo>
                    <a:pt x="906" y="956"/>
                  </a:lnTo>
                  <a:lnTo>
                    <a:pt x="896" y="963"/>
                  </a:lnTo>
                  <a:lnTo>
                    <a:pt x="885" y="970"/>
                  </a:lnTo>
                  <a:lnTo>
                    <a:pt x="875" y="976"/>
                  </a:lnTo>
                  <a:lnTo>
                    <a:pt x="864" y="981"/>
                  </a:lnTo>
                  <a:lnTo>
                    <a:pt x="853" y="987"/>
                  </a:lnTo>
                  <a:lnTo>
                    <a:pt x="841" y="991"/>
                  </a:lnTo>
                  <a:lnTo>
                    <a:pt x="830" y="995"/>
                  </a:lnTo>
                  <a:lnTo>
                    <a:pt x="818" y="998"/>
                  </a:lnTo>
                  <a:lnTo>
                    <a:pt x="806" y="1001"/>
                  </a:lnTo>
                  <a:lnTo>
                    <a:pt x="794" y="1003"/>
                  </a:lnTo>
                  <a:lnTo>
                    <a:pt x="781" y="1005"/>
                  </a:lnTo>
                  <a:lnTo>
                    <a:pt x="769" y="1006"/>
                  </a:lnTo>
                  <a:lnTo>
                    <a:pt x="756" y="1006"/>
                  </a:lnTo>
                  <a:lnTo>
                    <a:pt x="743" y="1006"/>
                  </a:lnTo>
                  <a:lnTo>
                    <a:pt x="730" y="1005"/>
                  </a:lnTo>
                  <a:lnTo>
                    <a:pt x="717" y="1003"/>
                  </a:lnTo>
                  <a:lnTo>
                    <a:pt x="704" y="1001"/>
                  </a:lnTo>
                  <a:lnTo>
                    <a:pt x="692" y="998"/>
                  </a:lnTo>
                  <a:lnTo>
                    <a:pt x="680" y="995"/>
                  </a:lnTo>
                  <a:lnTo>
                    <a:pt x="669" y="991"/>
                  </a:lnTo>
                  <a:lnTo>
                    <a:pt x="657" y="987"/>
                  </a:lnTo>
                  <a:lnTo>
                    <a:pt x="646" y="981"/>
                  </a:lnTo>
                  <a:lnTo>
                    <a:pt x="636" y="976"/>
                  </a:lnTo>
                  <a:lnTo>
                    <a:pt x="625" y="970"/>
                  </a:lnTo>
                  <a:lnTo>
                    <a:pt x="615" y="963"/>
                  </a:lnTo>
                  <a:lnTo>
                    <a:pt x="605" y="956"/>
                  </a:lnTo>
                  <a:lnTo>
                    <a:pt x="596" y="949"/>
                  </a:lnTo>
                  <a:lnTo>
                    <a:pt x="587" y="941"/>
                  </a:lnTo>
                  <a:lnTo>
                    <a:pt x="578" y="933"/>
                  </a:lnTo>
                  <a:lnTo>
                    <a:pt x="570" y="924"/>
                  </a:lnTo>
                  <a:lnTo>
                    <a:pt x="562" y="915"/>
                  </a:lnTo>
                  <a:lnTo>
                    <a:pt x="553" y="906"/>
                  </a:lnTo>
                  <a:lnTo>
                    <a:pt x="546" y="896"/>
                  </a:lnTo>
                  <a:lnTo>
                    <a:pt x="540" y="886"/>
                  </a:lnTo>
                  <a:lnTo>
                    <a:pt x="534" y="874"/>
                  </a:lnTo>
                  <a:lnTo>
                    <a:pt x="528" y="863"/>
                  </a:lnTo>
                  <a:lnTo>
                    <a:pt x="523" y="852"/>
                  </a:lnTo>
                  <a:lnTo>
                    <a:pt x="519" y="841"/>
                  </a:lnTo>
                  <a:lnTo>
                    <a:pt x="515" y="829"/>
                  </a:lnTo>
                  <a:lnTo>
                    <a:pt x="511" y="818"/>
                  </a:lnTo>
                  <a:lnTo>
                    <a:pt x="509" y="805"/>
                  </a:lnTo>
                  <a:lnTo>
                    <a:pt x="506" y="793"/>
                  </a:lnTo>
                  <a:lnTo>
                    <a:pt x="505" y="781"/>
                  </a:lnTo>
                  <a:lnTo>
                    <a:pt x="504" y="768"/>
                  </a:lnTo>
                  <a:lnTo>
                    <a:pt x="503" y="755"/>
                  </a:lnTo>
                  <a:lnTo>
                    <a:pt x="504" y="742"/>
                  </a:lnTo>
                  <a:lnTo>
                    <a:pt x="505" y="730"/>
                  </a:lnTo>
                  <a:lnTo>
                    <a:pt x="506" y="717"/>
                  </a:lnTo>
                  <a:lnTo>
                    <a:pt x="509" y="704"/>
                  </a:lnTo>
                  <a:lnTo>
                    <a:pt x="511" y="692"/>
                  </a:lnTo>
                  <a:lnTo>
                    <a:pt x="515" y="680"/>
                  </a:lnTo>
                  <a:lnTo>
                    <a:pt x="519" y="668"/>
                  </a:lnTo>
                  <a:lnTo>
                    <a:pt x="523" y="657"/>
                  </a:lnTo>
                  <a:lnTo>
                    <a:pt x="528" y="646"/>
                  </a:lnTo>
                  <a:lnTo>
                    <a:pt x="534" y="635"/>
                  </a:lnTo>
                  <a:lnTo>
                    <a:pt x="540" y="625"/>
                  </a:lnTo>
                  <a:lnTo>
                    <a:pt x="546" y="615"/>
                  </a:lnTo>
                  <a:lnTo>
                    <a:pt x="553" y="605"/>
                  </a:lnTo>
                  <a:lnTo>
                    <a:pt x="562" y="595"/>
                  </a:lnTo>
                  <a:lnTo>
                    <a:pt x="570" y="586"/>
                  </a:lnTo>
                  <a:lnTo>
                    <a:pt x="578" y="578"/>
                  </a:lnTo>
                  <a:lnTo>
                    <a:pt x="587" y="569"/>
                  </a:lnTo>
                  <a:lnTo>
                    <a:pt x="596" y="561"/>
                  </a:lnTo>
                  <a:lnTo>
                    <a:pt x="605" y="554"/>
                  </a:lnTo>
                  <a:lnTo>
                    <a:pt x="615" y="547"/>
                  </a:lnTo>
                  <a:lnTo>
                    <a:pt x="625" y="539"/>
                  </a:lnTo>
                  <a:lnTo>
                    <a:pt x="636" y="533"/>
                  </a:lnTo>
                  <a:lnTo>
                    <a:pt x="646" y="528"/>
                  </a:lnTo>
                  <a:lnTo>
                    <a:pt x="657" y="523"/>
                  </a:lnTo>
                  <a:lnTo>
                    <a:pt x="669" y="518"/>
                  </a:lnTo>
                  <a:lnTo>
                    <a:pt x="680" y="514"/>
                  </a:lnTo>
                  <a:lnTo>
                    <a:pt x="692" y="511"/>
                  </a:lnTo>
                  <a:lnTo>
                    <a:pt x="704" y="508"/>
                  </a:lnTo>
                  <a:lnTo>
                    <a:pt x="717" y="506"/>
                  </a:lnTo>
                  <a:lnTo>
                    <a:pt x="730" y="504"/>
                  </a:lnTo>
                  <a:lnTo>
                    <a:pt x="743" y="503"/>
                  </a:lnTo>
                  <a:lnTo>
                    <a:pt x="756" y="503"/>
                  </a:lnTo>
                  <a:close/>
                  <a:moveTo>
                    <a:pt x="756" y="1509"/>
                  </a:moveTo>
                  <a:lnTo>
                    <a:pt x="794" y="1508"/>
                  </a:lnTo>
                  <a:lnTo>
                    <a:pt x="832" y="1506"/>
                  </a:lnTo>
                  <a:lnTo>
                    <a:pt x="870" y="1501"/>
                  </a:lnTo>
                  <a:lnTo>
                    <a:pt x="908" y="1494"/>
                  </a:lnTo>
                  <a:lnTo>
                    <a:pt x="944" y="1486"/>
                  </a:lnTo>
                  <a:lnTo>
                    <a:pt x="980" y="1476"/>
                  </a:lnTo>
                  <a:lnTo>
                    <a:pt x="1014" y="1464"/>
                  </a:lnTo>
                  <a:lnTo>
                    <a:pt x="1049" y="1450"/>
                  </a:lnTo>
                  <a:lnTo>
                    <a:pt x="1083" y="1435"/>
                  </a:lnTo>
                  <a:lnTo>
                    <a:pt x="1115" y="1419"/>
                  </a:lnTo>
                  <a:lnTo>
                    <a:pt x="1147" y="1401"/>
                  </a:lnTo>
                  <a:lnTo>
                    <a:pt x="1177" y="1381"/>
                  </a:lnTo>
                  <a:lnTo>
                    <a:pt x="1206" y="1359"/>
                  </a:lnTo>
                  <a:lnTo>
                    <a:pt x="1236" y="1337"/>
                  </a:lnTo>
                  <a:lnTo>
                    <a:pt x="1263" y="1313"/>
                  </a:lnTo>
                  <a:lnTo>
                    <a:pt x="1289" y="1289"/>
                  </a:lnTo>
                  <a:lnTo>
                    <a:pt x="1314" y="1263"/>
                  </a:lnTo>
                  <a:lnTo>
                    <a:pt x="1337" y="1235"/>
                  </a:lnTo>
                  <a:lnTo>
                    <a:pt x="1360" y="1206"/>
                  </a:lnTo>
                  <a:lnTo>
                    <a:pt x="1381" y="1177"/>
                  </a:lnTo>
                  <a:lnTo>
                    <a:pt x="1400" y="1146"/>
                  </a:lnTo>
                  <a:lnTo>
                    <a:pt x="1419" y="1115"/>
                  </a:lnTo>
                  <a:lnTo>
                    <a:pt x="1436" y="1082"/>
                  </a:lnTo>
                  <a:lnTo>
                    <a:pt x="1451" y="1049"/>
                  </a:lnTo>
                  <a:lnTo>
                    <a:pt x="1464" y="1014"/>
                  </a:lnTo>
                  <a:lnTo>
                    <a:pt x="1476" y="979"/>
                  </a:lnTo>
                  <a:lnTo>
                    <a:pt x="1486" y="944"/>
                  </a:lnTo>
                  <a:lnTo>
                    <a:pt x="1494" y="907"/>
                  </a:lnTo>
                  <a:lnTo>
                    <a:pt x="1501" y="869"/>
                  </a:lnTo>
                  <a:lnTo>
                    <a:pt x="1506" y="832"/>
                  </a:lnTo>
                  <a:lnTo>
                    <a:pt x="1509" y="794"/>
                  </a:lnTo>
                  <a:lnTo>
                    <a:pt x="1510" y="755"/>
                  </a:lnTo>
                  <a:lnTo>
                    <a:pt x="1509" y="717"/>
                  </a:lnTo>
                  <a:lnTo>
                    <a:pt x="1506" y="678"/>
                  </a:lnTo>
                  <a:lnTo>
                    <a:pt x="1501" y="640"/>
                  </a:lnTo>
                  <a:lnTo>
                    <a:pt x="1494" y="603"/>
                  </a:lnTo>
                  <a:lnTo>
                    <a:pt x="1486" y="567"/>
                  </a:lnTo>
                  <a:lnTo>
                    <a:pt x="1476" y="530"/>
                  </a:lnTo>
                  <a:lnTo>
                    <a:pt x="1464" y="495"/>
                  </a:lnTo>
                  <a:lnTo>
                    <a:pt x="1451" y="461"/>
                  </a:lnTo>
                  <a:lnTo>
                    <a:pt x="1436" y="428"/>
                  </a:lnTo>
                  <a:lnTo>
                    <a:pt x="1419" y="396"/>
                  </a:lnTo>
                  <a:lnTo>
                    <a:pt x="1400" y="363"/>
                  </a:lnTo>
                  <a:lnTo>
                    <a:pt x="1381" y="333"/>
                  </a:lnTo>
                  <a:lnTo>
                    <a:pt x="1360" y="303"/>
                  </a:lnTo>
                  <a:lnTo>
                    <a:pt x="1337" y="275"/>
                  </a:lnTo>
                  <a:lnTo>
                    <a:pt x="1314" y="248"/>
                  </a:lnTo>
                  <a:lnTo>
                    <a:pt x="1289" y="222"/>
                  </a:lnTo>
                  <a:lnTo>
                    <a:pt x="1263" y="196"/>
                  </a:lnTo>
                  <a:lnTo>
                    <a:pt x="1236" y="172"/>
                  </a:lnTo>
                  <a:lnTo>
                    <a:pt x="1206" y="150"/>
                  </a:lnTo>
                  <a:lnTo>
                    <a:pt x="1177" y="129"/>
                  </a:lnTo>
                  <a:lnTo>
                    <a:pt x="1147" y="110"/>
                  </a:lnTo>
                  <a:lnTo>
                    <a:pt x="1115" y="92"/>
                  </a:lnTo>
                  <a:lnTo>
                    <a:pt x="1083" y="75"/>
                  </a:lnTo>
                  <a:lnTo>
                    <a:pt x="1049" y="60"/>
                  </a:lnTo>
                  <a:lnTo>
                    <a:pt x="1014" y="46"/>
                  </a:lnTo>
                  <a:lnTo>
                    <a:pt x="980" y="34"/>
                  </a:lnTo>
                  <a:lnTo>
                    <a:pt x="944" y="24"/>
                  </a:lnTo>
                  <a:lnTo>
                    <a:pt x="908" y="15"/>
                  </a:lnTo>
                  <a:lnTo>
                    <a:pt x="870" y="9"/>
                  </a:lnTo>
                  <a:lnTo>
                    <a:pt x="832" y="4"/>
                  </a:lnTo>
                  <a:lnTo>
                    <a:pt x="794" y="1"/>
                  </a:lnTo>
                  <a:lnTo>
                    <a:pt x="756" y="0"/>
                  </a:lnTo>
                  <a:lnTo>
                    <a:pt x="716" y="1"/>
                  </a:lnTo>
                  <a:lnTo>
                    <a:pt x="678" y="4"/>
                  </a:lnTo>
                  <a:lnTo>
                    <a:pt x="640" y="9"/>
                  </a:lnTo>
                  <a:lnTo>
                    <a:pt x="604" y="15"/>
                  </a:lnTo>
                  <a:lnTo>
                    <a:pt x="567" y="24"/>
                  </a:lnTo>
                  <a:lnTo>
                    <a:pt x="531" y="34"/>
                  </a:lnTo>
                  <a:lnTo>
                    <a:pt x="496" y="46"/>
                  </a:lnTo>
                  <a:lnTo>
                    <a:pt x="462" y="60"/>
                  </a:lnTo>
                  <a:lnTo>
                    <a:pt x="428" y="75"/>
                  </a:lnTo>
                  <a:lnTo>
                    <a:pt x="396" y="92"/>
                  </a:lnTo>
                  <a:lnTo>
                    <a:pt x="364" y="110"/>
                  </a:lnTo>
                  <a:lnTo>
                    <a:pt x="333" y="129"/>
                  </a:lnTo>
                  <a:lnTo>
                    <a:pt x="304" y="150"/>
                  </a:lnTo>
                  <a:lnTo>
                    <a:pt x="276" y="172"/>
                  </a:lnTo>
                  <a:lnTo>
                    <a:pt x="248" y="196"/>
                  </a:lnTo>
                  <a:lnTo>
                    <a:pt x="222" y="222"/>
                  </a:lnTo>
                  <a:lnTo>
                    <a:pt x="196" y="248"/>
                  </a:lnTo>
                  <a:lnTo>
                    <a:pt x="173" y="275"/>
                  </a:lnTo>
                  <a:lnTo>
                    <a:pt x="150" y="303"/>
                  </a:lnTo>
                  <a:lnTo>
                    <a:pt x="130" y="333"/>
                  </a:lnTo>
                  <a:lnTo>
                    <a:pt x="110" y="363"/>
                  </a:lnTo>
                  <a:lnTo>
                    <a:pt x="92" y="396"/>
                  </a:lnTo>
                  <a:lnTo>
                    <a:pt x="75" y="428"/>
                  </a:lnTo>
                  <a:lnTo>
                    <a:pt x="60" y="461"/>
                  </a:lnTo>
                  <a:lnTo>
                    <a:pt x="46" y="495"/>
                  </a:lnTo>
                  <a:lnTo>
                    <a:pt x="34" y="530"/>
                  </a:lnTo>
                  <a:lnTo>
                    <a:pt x="24" y="567"/>
                  </a:lnTo>
                  <a:lnTo>
                    <a:pt x="16" y="603"/>
                  </a:lnTo>
                  <a:lnTo>
                    <a:pt x="9" y="640"/>
                  </a:lnTo>
                  <a:lnTo>
                    <a:pt x="4" y="678"/>
                  </a:lnTo>
                  <a:lnTo>
                    <a:pt x="1" y="717"/>
                  </a:lnTo>
                  <a:lnTo>
                    <a:pt x="0" y="755"/>
                  </a:lnTo>
                  <a:lnTo>
                    <a:pt x="1" y="794"/>
                  </a:lnTo>
                  <a:lnTo>
                    <a:pt x="4" y="832"/>
                  </a:lnTo>
                  <a:lnTo>
                    <a:pt x="9" y="869"/>
                  </a:lnTo>
                  <a:lnTo>
                    <a:pt x="16" y="907"/>
                  </a:lnTo>
                  <a:lnTo>
                    <a:pt x="24" y="944"/>
                  </a:lnTo>
                  <a:lnTo>
                    <a:pt x="34" y="979"/>
                  </a:lnTo>
                  <a:lnTo>
                    <a:pt x="46" y="1014"/>
                  </a:lnTo>
                  <a:lnTo>
                    <a:pt x="60" y="1049"/>
                  </a:lnTo>
                  <a:lnTo>
                    <a:pt x="75" y="1082"/>
                  </a:lnTo>
                  <a:lnTo>
                    <a:pt x="92" y="1115"/>
                  </a:lnTo>
                  <a:lnTo>
                    <a:pt x="110" y="1146"/>
                  </a:lnTo>
                  <a:lnTo>
                    <a:pt x="130" y="1177"/>
                  </a:lnTo>
                  <a:lnTo>
                    <a:pt x="150" y="1206"/>
                  </a:lnTo>
                  <a:lnTo>
                    <a:pt x="173" y="1235"/>
                  </a:lnTo>
                  <a:lnTo>
                    <a:pt x="196" y="1263"/>
                  </a:lnTo>
                  <a:lnTo>
                    <a:pt x="222" y="1289"/>
                  </a:lnTo>
                  <a:lnTo>
                    <a:pt x="248" y="1313"/>
                  </a:lnTo>
                  <a:lnTo>
                    <a:pt x="276" y="1337"/>
                  </a:lnTo>
                  <a:lnTo>
                    <a:pt x="304" y="1359"/>
                  </a:lnTo>
                  <a:lnTo>
                    <a:pt x="333" y="1381"/>
                  </a:lnTo>
                  <a:lnTo>
                    <a:pt x="364" y="1401"/>
                  </a:lnTo>
                  <a:lnTo>
                    <a:pt x="396" y="1419"/>
                  </a:lnTo>
                  <a:lnTo>
                    <a:pt x="428" y="1435"/>
                  </a:lnTo>
                  <a:lnTo>
                    <a:pt x="462" y="1450"/>
                  </a:lnTo>
                  <a:lnTo>
                    <a:pt x="496" y="1464"/>
                  </a:lnTo>
                  <a:lnTo>
                    <a:pt x="531" y="1476"/>
                  </a:lnTo>
                  <a:lnTo>
                    <a:pt x="567" y="1486"/>
                  </a:lnTo>
                  <a:lnTo>
                    <a:pt x="604" y="1494"/>
                  </a:lnTo>
                  <a:lnTo>
                    <a:pt x="640" y="1501"/>
                  </a:lnTo>
                  <a:lnTo>
                    <a:pt x="678" y="1506"/>
                  </a:lnTo>
                  <a:lnTo>
                    <a:pt x="716" y="1508"/>
                  </a:lnTo>
                  <a:lnTo>
                    <a:pt x="756" y="15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68" name="íṥľíḋê">
              <a:extLst>
                <a:ext uri="{FF2B5EF4-FFF2-40B4-BE49-F238E27FC236}">
                  <a16:creationId xmlns:a16="http://schemas.microsoft.com/office/drawing/2014/main" id="{A9353315-C764-415D-A83D-1D8A1B0D98C6}"/>
                </a:ext>
              </a:extLst>
            </p:cNvPr>
            <p:cNvSpPr/>
            <p:nvPr/>
          </p:nvSpPr>
          <p:spPr bwMode="auto">
            <a:xfrm>
              <a:off x="1591021" y="1539522"/>
              <a:ext cx="39501" cy="9337"/>
            </a:xfrm>
            <a:custGeom>
              <a:avLst/>
              <a:gdLst>
                <a:gd name="T0" fmla="*/ 239 w 2013"/>
                <a:gd name="T1" fmla="*/ 0 h 503"/>
                <a:gd name="T2" fmla="*/ 201 w 2013"/>
                <a:gd name="T3" fmla="*/ 5 h 503"/>
                <a:gd name="T4" fmla="*/ 165 w 2013"/>
                <a:gd name="T5" fmla="*/ 15 h 503"/>
                <a:gd name="T6" fmla="*/ 132 w 2013"/>
                <a:gd name="T7" fmla="*/ 30 h 503"/>
                <a:gd name="T8" fmla="*/ 102 w 2013"/>
                <a:gd name="T9" fmla="*/ 50 h 503"/>
                <a:gd name="T10" fmla="*/ 74 w 2013"/>
                <a:gd name="T11" fmla="*/ 73 h 503"/>
                <a:gd name="T12" fmla="*/ 51 w 2013"/>
                <a:gd name="T13" fmla="*/ 100 h 503"/>
                <a:gd name="T14" fmla="*/ 30 w 2013"/>
                <a:gd name="T15" fmla="*/ 132 h 503"/>
                <a:gd name="T16" fmla="*/ 15 w 2013"/>
                <a:gd name="T17" fmla="*/ 165 h 503"/>
                <a:gd name="T18" fmla="*/ 5 w 2013"/>
                <a:gd name="T19" fmla="*/ 201 h 503"/>
                <a:gd name="T20" fmla="*/ 0 w 2013"/>
                <a:gd name="T21" fmla="*/ 238 h 503"/>
                <a:gd name="T22" fmla="*/ 1 w 2013"/>
                <a:gd name="T23" fmla="*/ 277 h 503"/>
                <a:gd name="T24" fmla="*/ 8 w 2013"/>
                <a:gd name="T25" fmla="*/ 315 h 503"/>
                <a:gd name="T26" fmla="*/ 20 w 2013"/>
                <a:gd name="T27" fmla="*/ 349 h 503"/>
                <a:gd name="T28" fmla="*/ 36 w 2013"/>
                <a:gd name="T29" fmla="*/ 382 h 503"/>
                <a:gd name="T30" fmla="*/ 58 w 2013"/>
                <a:gd name="T31" fmla="*/ 411 h 503"/>
                <a:gd name="T32" fmla="*/ 83 w 2013"/>
                <a:gd name="T33" fmla="*/ 437 h 503"/>
                <a:gd name="T34" fmla="*/ 111 w 2013"/>
                <a:gd name="T35" fmla="*/ 459 h 503"/>
                <a:gd name="T36" fmla="*/ 143 w 2013"/>
                <a:gd name="T37" fmla="*/ 478 h 503"/>
                <a:gd name="T38" fmla="*/ 177 w 2013"/>
                <a:gd name="T39" fmla="*/ 492 h 503"/>
                <a:gd name="T40" fmla="*/ 214 w 2013"/>
                <a:gd name="T41" fmla="*/ 500 h 503"/>
                <a:gd name="T42" fmla="*/ 252 w 2013"/>
                <a:gd name="T43" fmla="*/ 503 h 503"/>
                <a:gd name="T44" fmla="*/ 1787 w 2013"/>
                <a:gd name="T45" fmla="*/ 502 h 503"/>
                <a:gd name="T46" fmla="*/ 1824 w 2013"/>
                <a:gd name="T47" fmla="*/ 495 h 503"/>
                <a:gd name="T48" fmla="*/ 1859 w 2013"/>
                <a:gd name="T49" fmla="*/ 483 h 503"/>
                <a:gd name="T50" fmla="*/ 1891 w 2013"/>
                <a:gd name="T51" fmla="*/ 467 h 503"/>
                <a:gd name="T52" fmla="*/ 1922 w 2013"/>
                <a:gd name="T53" fmla="*/ 445 h 503"/>
                <a:gd name="T54" fmla="*/ 1948 w 2013"/>
                <a:gd name="T55" fmla="*/ 420 h 503"/>
                <a:gd name="T56" fmla="*/ 1970 w 2013"/>
                <a:gd name="T57" fmla="*/ 392 h 503"/>
                <a:gd name="T58" fmla="*/ 1988 w 2013"/>
                <a:gd name="T59" fmla="*/ 360 h 503"/>
                <a:gd name="T60" fmla="*/ 2001 w 2013"/>
                <a:gd name="T61" fmla="*/ 326 h 503"/>
                <a:gd name="T62" fmla="*/ 2010 w 2013"/>
                <a:gd name="T63" fmla="*/ 289 h 503"/>
                <a:gd name="T64" fmla="*/ 2013 w 2013"/>
                <a:gd name="T65" fmla="*/ 251 h 503"/>
                <a:gd name="T66" fmla="*/ 2010 w 2013"/>
                <a:gd name="T67" fmla="*/ 213 h 503"/>
                <a:gd name="T68" fmla="*/ 2001 w 2013"/>
                <a:gd name="T69" fmla="*/ 177 h 503"/>
                <a:gd name="T70" fmla="*/ 1988 w 2013"/>
                <a:gd name="T71" fmla="*/ 143 h 503"/>
                <a:gd name="T72" fmla="*/ 1970 w 2013"/>
                <a:gd name="T73" fmla="*/ 110 h 503"/>
                <a:gd name="T74" fmla="*/ 1948 w 2013"/>
                <a:gd name="T75" fmla="*/ 82 h 503"/>
                <a:gd name="T76" fmla="*/ 1922 w 2013"/>
                <a:gd name="T77" fmla="*/ 57 h 503"/>
                <a:gd name="T78" fmla="*/ 1891 w 2013"/>
                <a:gd name="T79" fmla="*/ 36 h 503"/>
                <a:gd name="T80" fmla="*/ 1859 w 2013"/>
                <a:gd name="T81" fmla="*/ 20 h 503"/>
                <a:gd name="T82" fmla="*/ 1824 w 2013"/>
                <a:gd name="T83" fmla="*/ 8 h 503"/>
                <a:gd name="T84" fmla="*/ 1787 w 2013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13" h="503">
                  <a:moveTo>
                    <a:pt x="1762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1" y="43"/>
                  </a:lnTo>
                  <a:lnTo>
                    <a:pt x="102" y="50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4" y="73"/>
                  </a:lnTo>
                  <a:lnTo>
                    <a:pt x="66" y="82"/>
                  </a:lnTo>
                  <a:lnTo>
                    <a:pt x="58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6" y="120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6"/>
                  </a:lnTo>
                  <a:lnTo>
                    <a:pt x="0" y="238"/>
                  </a:lnTo>
                  <a:lnTo>
                    <a:pt x="0" y="251"/>
                  </a:lnTo>
                  <a:lnTo>
                    <a:pt x="0" y="264"/>
                  </a:lnTo>
                  <a:lnTo>
                    <a:pt x="1" y="277"/>
                  </a:lnTo>
                  <a:lnTo>
                    <a:pt x="3" y="289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4" y="392"/>
                  </a:lnTo>
                  <a:lnTo>
                    <a:pt x="51" y="402"/>
                  </a:lnTo>
                  <a:lnTo>
                    <a:pt x="58" y="411"/>
                  </a:lnTo>
                  <a:lnTo>
                    <a:pt x="66" y="420"/>
                  </a:lnTo>
                  <a:lnTo>
                    <a:pt x="74" y="429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3"/>
                  </a:lnTo>
                  <a:lnTo>
                    <a:pt x="111" y="459"/>
                  </a:lnTo>
                  <a:lnTo>
                    <a:pt x="122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1762" y="503"/>
                  </a:lnTo>
                  <a:lnTo>
                    <a:pt x="1775" y="503"/>
                  </a:lnTo>
                  <a:lnTo>
                    <a:pt x="1787" y="502"/>
                  </a:lnTo>
                  <a:lnTo>
                    <a:pt x="1800" y="500"/>
                  </a:lnTo>
                  <a:lnTo>
                    <a:pt x="1812" y="498"/>
                  </a:lnTo>
                  <a:lnTo>
                    <a:pt x="1824" y="495"/>
                  </a:lnTo>
                  <a:lnTo>
                    <a:pt x="1836" y="492"/>
                  </a:lnTo>
                  <a:lnTo>
                    <a:pt x="1848" y="488"/>
                  </a:lnTo>
                  <a:lnTo>
                    <a:pt x="1859" y="483"/>
                  </a:lnTo>
                  <a:lnTo>
                    <a:pt x="1870" y="478"/>
                  </a:lnTo>
                  <a:lnTo>
                    <a:pt x="1881" y="473"/>
                  </a:lnTo>
                  <a:lnTo>
                    <a:pt x="1891" y="467"/>
                  </a:lnTo>
                  <a:lnTo>
                    <a:pt x="1902" y="459"/>
                  </a:lnTo>
                  <a:lnTo>
                    <a:pt x="1912" y="453"/>
                  </a:lnTo>
                  <a:lnTo>
                    <a:pt x="1922" y="445"/>
                  </a:lnTo>
                  <a:lnTo>
                    <a:pt x="1931" y="437"/>
                  </a:lnTo>
                  <a:lnTo>
                    <a:pt x="1939" y="429"/>
                  </a:lnTo>
                  <a:lnTo>
                    <a:pt x="1948" y="420"/>
                  </a:lnTo>
                  <a:lnTo>
                    <a:pt x="1956" y="411"/>
                  </a:lnTo>
                  <a:lnTo>
                    <a:pt x="1963" y="402"/>
                  </a:lnTo>
                  <a:lnTo>
                    <a:pt x="1970" y="392"/>
                  </a:lnTo>
                  <a:lnTo>
                    <a:pt x="1977" y="382"/>
                  </a:lnTo>
                  <a:lnTo>
                    <a:pt x="1983" y="371"/>
                  </a:lnTo>
                  <a:lnTo>
                    <a:pt x="1988" y="360"/>
                  </a:lnTo>
                  <a:lnTo>
                    <a:pt x="1993" y="349"/>
                  </a:lnTo>
                  <a:lnTo>
                    <a:pt x="1998" y="338"/>
                  </a:lnTo>
                  <a:lnTo>
                    <a:pt x="2001" y="326"/>
                  </a:lnTo>
                  <a:lnTo>
                    <a:pt x="2005" y="315"/>
                  </a:lnTo>
                  <a:lnTo>
                    <a:pt x="2008" y="303"/>
                  </a:lnTo>
                  <a:lnTo>
                    <a:pt x="2010" y="289"/>
                  </a:lnTo>
                  <a:lnTo>
                    <a:pt x="2011" y="277"/>
                  </a:lnTo>
                  <a:lnTo>
                    <a:pt x="2012" y="264"/>
                  </a:lnTo>
                  <a:lnTo>
                    <a:pt x="2013" y="251"/>
                  </a:lnTo>
                  <a:lnTo>
                    <a:pt x="2012" y="238"/>
                  </a:lnTo>
                  <a:lnTo>
                    <a:pt x="2011" y="226"/>
                  </a:lnTo>
                  <a:lnTo>
                    <a:pt x="2010" y="213"/>
                  </a:lnTo>
                  <a:lnTo>
                    <a:pt x="2008" y="201"/>
                  </a:lnTo>
                  <a:lnTo>
                    <a:pt x="2005" y="189"/>
                  </a:lnTo>
                  <a:lnTo>
                    <a:pt x="2001" y="177"/>
                  </a:lnTo>
                  <a:lnTo>
                    <a:pt x="1998" y="165"/>
                  </a:lnTo>
                  <a:lnTo>
                    <a:pt x="1993" y="154"/>
                  </a:lnTo>
                  <a:lnTo>
                    <a:pt x="1988" y="143"/>
                  </a:lnTo>
                  <a:lnTo>
                    <a:pt x="1983" y="132"/>
                  </a:lnTo>
                  <a:lnTo>
                    <a:pt x="1977" y="120"/>
                  </a:lnTo>
                  <a:lnTo>
                    <a:pt x="1970" y="110"/>
                  </a:lnTo>
                  <a:lnTo>
                    <a:pt x="1963" y="100"/>
                  </a:lnTo>
                  <a:lnTo>
                    <a:pt x="1956" y="91"/>
                  </a:lnTo>
                  <a:lnTo>
                    <a:pt x="1948" y="82"/>
                  </a:lnTo>
                  <a:lnTo>
                    <a:pt x="1939" y="73"/>
                  </a:lnTo>
                  <a:lnTo>
                    <a:pt x="1931" y="65"/>
                  </a:lnTo>
                  <a:lnTo>
                    <a:pt x="1922" y="57"/>
                  </a:lnTo>
                  <a:lnTo>
                    <a:pt x="1912" y="50"/>
                  </a:lnTo>
                  <a:lnTo>
                    <a:pt x="1902" y="43"/>
                  </a:lnTo>
                  <a:lnTo>
                    <a:pt x="1891" y="36"/>
                  </a:lnTo>
                  <a:lnTo>
                    <a:pt x="1881" y="30"/>
                  </a:lnTo>
                  <a:lnTo>
                    <a:pt x="1870" y="25"/>
                  </a:lnTo>
                  <a:lnTo>
                    <a:pt x="1859" y="20"/>
                  </a:lnTo>
                  <a:lnTo>
                    <a:pt x="1848" y="15"/>
                  </a:lnTo>
                  <a:lnTo>
                    <a:pt x="1836" y="11"/>
                  </a:lnTo>
                  <a:lnTo>
                    <a:pt x="1824" y="8"/>
                  </a:lnTo>
                  <a:lnTo>
                    <a:pt x="1812" y="5"/>
                  </a:lnTo>
                  <a:lnTo>
                    <a:pt x="1800" y="3"/>
                  </a:lnTo>
                  <a:lnTo>
                    <a:pt x="1787" y="1"/>
                  </a:lnTo>
                  <a:lnTo>
                    <a:pt x="1775" y="0"/>
                  </a:lnTo>
                  <a:lnTo>
                    <a:pt x="17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69" name="îŝľide">
              <a:extLst>
                <a:ext uri="{FF2B5EF4-FFF2-40B4-BE49-F238E27FC236}">
                  <a16:creationId xmlns:a16="http://schemas.microsoft.com/office/drawing/2014/main" id="{D9E64DB2-3844-4CE2-8D97-C3A8E4DDBA90}"/>
                </a:ext>
              </a:extLst>
            </p:cNvPr>
            <p:cNvSpPr/>
            <p:nvPr/>
          </p:nvSpPr>
          <p:spPr bwMode="auto">
            <a:xfrm>
              <a:off x="1601076" y="1510075"/>
              <a:ext cx="38783" cy="10055"/>
            </a:xfrm>
            <a:custGeom>
              <a:avLst/>
              <a:gdLst>
                <a:gd name="T0" fmla="*/ 240 w 2013"/>
                <a:gd name="T1" fmla="*/ 0 h 503"/>
                <a:gd name="T2" fmla="*/ 201 w 2013"/>
                <a:gd name="T3" fmla="*/ 5 h 503"/>
                <a:gd name="T4" fmla="*/ 165 w 2013"/>
                <a:gd name="T5" fmla="*/ 15 h 503"/>
                <a:gd name="T6" fmla="*/ 132 w 2013"/>
                <a:gd name="T7" fmla="*/ 30 h 503"/>
                <a:gd name="T8" fmla="*/ 102 w 2013"/>
                <a:gd name="T9" fmla="*/ 49 h 503"/>
                <a:gd name="T10" fmla="*/ 75 w 2013"/>
                <a:gd name="T11" fmla="*/ 73 h 503"/>
                <a:gd name="T12" fmla="*/ 51 w 2013"/>
                <a:gd name="T13" fmla="*/ 100 h 503"/>
                <a:gd name="T14" fmla="*/ 31 w 2013"/>
                <a:gd name="T15" fmla="*/ 130 h 503"/>
                <a:gd name="T16" fmla="*/ 16 w 2013"/>
                <a:gd name="T17" fmla="*/ 165 h 503"/>
                <a:gd name="T18" fmla="*/ 5 w 2013"/>
                <a:gd name="T19" fmla="*/ 200 h 503"/>
                <a:gd name="T20" fmla="*/ 1 w 2013"/>
                <a:gd name="T21" fmla="*/ 238 h 503"/>
                <a:gd name="T22" fmla="*/ 2 w 2013"/>
                <a:gd name="T23" fmla="*/ 276 h 503"/>
                <a:gd name="T24" fmla="*/ 8 w 2013"/>
                <a:gd name="T25" fmla="*/ 314 h 503"/>
                <a:gd name="T26" fmla="*/ 20 w 2013"/>
                <a:gd name="T27" fmla="*/ 349 h 503"/>
                <a:gd name="T28" fmla="*/ 37 w 2013"/>
                <a:gd name="T29" fmla="*/ 381 h 503"/>
                <a:gd name="T30" fmla="*/ 58 w 2013"/>
                <a:gd name="T31" fmla="*/ 411 h 503"/>
                <a:gd name="T32" fmla="*/ 83 w 2013"/>
                <a:gd name="T33" fmla="*/ 437 h 503"/>
                <a:gd name="T34" fmla="*/ 112 w 2013"/>
                <a:gd name="T35" fmla="*/ 459 h 503"/>
                <a:gd name="T36" fmla="*/ 143 w 2013"/>
                <a:gd name="T37" fmla="*/ 477 h 503"/>
                <a:gd name="T38" fmla="*/ 177 w 2013"/>
                <a:gd name="T39" fmla="*/ 491 h 503"/>
                <a:gd name="T40" fmla="*/ 213 w 2013"/>
                <a:gd name="T41" fmla="*/ 500 h 503"/>
                <a:gd name="T42" fmla="*/ 252 w 2013"/>
                <a:gd name="T43" fmla="*/ 503 h 503"/>
                <a:gd name="T44" fmla="*/ 1787 w 2013"/>
                <a:gd name="T45" fmla="*/ 501 h 503"/>
                <a:gd name="T46" fmla="*/ 1824 w 2013"/>
                <a:gd name="T47" fmla="*/ 495 h 503"/>
                <a:gd name="T48" fmla="*/ 1859 w 2013"/>
                <a:gd name="T49" fmla="*/ 483 h 503"/>
                <a:gd name="T50" fmla="*/ 1892 w 2013"/>
                <a:gd name="T51" fmla="*/ 465 h 503"/>
                <a:gd name="T52" fmla="*/ 1922 w 2013"/>
                <a:gd name="T53" fmla="*/ 445 h 503"/>
                <a:gd name="T54" fmla="*/ 1948 w 2013"/>
                <a:gd name="T55" fmla="*/ 420 h 503"/>
                <a:gd name="T56" fmla="*/ 1970 w 2013"/>
                <a:gd name="T57" fmla="*/ 391 h 503"/>
                <a:gd name="T58" fmla="*/ 1988 w 2013"/>
                <a:gd name="T59" fmla="*/ 360 h 503"/>
                <a:gd name="T60" fmla="*/ 2002 w 2013"/>
                <a:gd name="T61" fmla="*/ 326 h 503"/>
                <a:gd name="T62" fmla="*/ 2010 w 2013"/>
                <a:gd name="T63" fmla="*/ 289 h 503"/>
                <a:gd name="T64" fmla="*/ 2013 w 2013"/>
                <a:gd name="T65" fmla="*/ 251 h 503"/>
                <a:gd name="T66" fmla="*/ 2010 w 2013"/>
                <a:gd name="T67" fmla="*/ 213 h 503"/>
                <a:gd name="T68" fmla="*/ 2002 w 2013"/>
                <a:gd name="T69" fmla="*/ 176 h 503"/>
                <a:gd name="T70" fmla="*/ 1988 w 2013"/>
                <a:gd name="T71" fmla="*/ 141 h 503"/>
                <a:gd name="T72" fmla="*/ 1970 w 2013"/>
                <a:gd name="T73" fmla="*/ 110 h 503"/>
                <a:gd name="T74" fmla="*/ 1948 w 2013"/>
                <a:gd name="T75" fmla="*/ 82 h 503"/>
                <a:gd name="T76" fmla="*/ 1922 w 2013"/>
                <a:gd name="T77" fmla="*/ 57 h 503"/>
                <a:gd name="T78" fmla="*/ 1892 w 2013"/>
                <a:gd name="T79" fmla="*/ 36 h 503"/>
                <a:gd name="T80" fmla="*/ 1859 w 2013"/>
                <a:gd name="T81" fmla="*/ 19 h 503"/>
                <a:gd name="T82" fmla="*/ 1824 w 2013"/>
                <a:gd name="T83" fmla="*/ 7 h 503"/>
                <a:gd name="T84" fmla="*/ 1787 w 2013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13" h="503">
                  <a:moveTo>
                    <a:pt x="1762" y="0"/>
                  </a:move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3" y="2"/>
                  </a:lnTo>
                  <a:lnTo>
                    <a:pt x="201" y="5"/>
                  </a:lnTo>
                  <a:lnTo>
                    <a:pt x="189" y="7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8" y="91"/>
                  </a:lnTo>
                  <a:lnTo>
                    <a:pt x="51" y="100"/>
                  </a:lnTo>
                  <a:lnTo>
                    <a:pt x="43" y="110"/>
                  </a:lnTo>
                  <a:lnTo>
                    <a:pt x="37" y="120"/>
                  </a:lnTo>
                  <a:lnTo>
                    <a:pt x="31" y="130"/>
                  </a:lnTo>
                  <a:lnTo>
                    <a:pt x="25" y="141"/>
                  </a:lnTo>
                  <a:lnTo>
                    <a:pt x="20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5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5" y="301"/>
                  </a:lnTo>
                  <a:lnTo>
                    <a:pt x="8" y="314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1" y="371"/>
                  </a:lnTo>
                  <a:lnTo>
                    <a:pt x="37" y="381"/>
                  </a:lnTo>
                  <a:lnTo>
                    <a:pt x="43" y="391"/>
                  </a:lnTo>
                  <a:lnTo>
                    <a:pt x="51" y="401"/>
                  </a:lnTo>
                  <a:lnTo>
                    <a:pt x="58" y="411"/>
                  </a:lnTo>
                  <a:lnTo>
                    <a:pt x="66" y="420"/>
                  </a:lnTo>
                  <a:lnTo>
                    <a:pt x="75" y="428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2"/>
                  </a:lnTo>
                  <a:lnTo>
                    <a:pt x="112" y="459"/>
                  </a:lnTo>
                  <a:lnTo>
                    <a:pt x="122" y="465"/>
                  </a:lnTo>
                  <a:lnTo>
                    <a:pt x="132" y="471"/>
                  </a:lnTo>
                  <a:lnTo>
                    <a:pt x="143" y="477"/>
                  </a:lnTo>
                  <a:lnTo>
                    <a:pt x="154" y="483"/>
                  </a:lnTo>
                  <a:lnTo>
                    <a:pt x="165" y="487"/>
                  </a:lnTo>
                  <a:lnTo>
                    <a:pt x="177" y="491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7" y="501"/>
                  </a:lnTo>
                  <a:lnTo>
                    <a:pt x="240" y="502"/>
                  </a:lnTo>
                  <a:lnTo>
                    <a:pt x="252" y="503"/>
                  </a:lnTo>
                  <a:lnTo>
                    <a:pt x="1762" y="503"/>
                  </a:lnTo>
                  <a:lnTo>
                    <a:pt x="1775" y="502"/>
                  </a:lnTo>
                  <a:lnTo>
                    <a:pt x="1787" y="501"/>
                  </a:lnTo>
                  <a:lnTo>
                    <a:pt x="1800" y="500"/>
                  </a:lnTo>
                  <a:lnTo>
                    <a:pt x="1812" y="498"/>
                  </a:lnTo>
                  <a:lnTo>
                    <a:pt x="1824" y="495"/>
                  </a:lnTo>
                  <a:lnTo>
                    <a:pt x="1836" y="491"/>
                  </a:lnTo>
                  <a:lnTo>
                    <a:pt x="1848" y="487"/>
                  </a:lnTo>
                  <a:lnTo>
                    <a:pt x="1859" y="483"/>
                  </a:lnTo>
                  <a:lnTo>
                    <a:pt x="1870" y="477"/>
                  </a:lnTo>
                  <a:lnTo>
                    <a:pt x="1881" y="471"/>
                  </a:lnTo>
                  <a:lnTo>
                    <a:pt x="1892" y="465"/>
                  </a:lnTo>
                  <a:lnTo>
                    <a:pt x="1902" y="459"/>
                  </a:lnTo>
                  <a:lnTo>
                    <a:pt x="1912" y="452"/>
                  </a:lnTo>
                  <a:lnTo>
                    <a:pt x="1922" y="445"/>
                  </a:lnTo>
                  <a:lnTo>
                    <a:pt x="1931" y="437"/>
                  </a:lnTo>
                  <a:lnTo>
                    <a:pt x="1940" y="428"/>
                  </a:lnTo>
                  <a:lnTo>
                    <a:pt x="1948" y="420"/>
                  </a:lnTo>
                  <a:lnTo>
                    <a:pt x="1956" y="411"/>
                  </a:lnTo>
                  <a:lnTo>
                    <a:pt x="1963" y="401"/>
                  </a:lnTo>
                  <a:lnTo>
                    <a:pt x="1970" y="391"/>
                  </a:lnTo>
                  <a:lnTo>
                    <a:pt x="1977" y="381"/>
                  </a:lnTo>
                  <a:lnTo>
                    <a:pt x="1983" y="371"/>
                  </a:lnTo>
                  <a:lnTo>
                    <a:pt x="1988" y="360"/>
                  </a:lnTo>
                  <a:lnTo>
                    <a:pt x="1993" y="349"/>
                  </a:lnTo>
                  <a:lnTo>
                    <a:pt x="1998" y="338"/>
                  </a:lnTo>
                  <a:lnTo>
                    <a:pt x="2002" y="326"/>
                  </a:lnTo>
                  <a:lnTo>
                    <a:pt x="2005" y="314"/>
                  </a:lnTo>
                  <a:lnTo>
                    <a:pt x="2008" y="301"/>
                  </a:lnTo>
                  <a:lnTo>
                    <a:pt x="2010" y="289"/>
                  </a:lnTo>
                  <a:lnTo>
                    <a:pt x="2012" y="276"/>
                  </a:lnTo>
                  <a:lnTo>
                    <a:pt x="2013" y="264"/>
                  </a:lnTo>
                  <a:lnTo>
                    <a:pt x="2013" y="251"/>
                  </a:lnTo>
                  <a:lnTo>
                    <a:pt x="2013" y="238"/>
                  </a:lnTo>
                  <a:lnTo>
                    <a:pt x="2012" y="225"/>
                  </a:lnTo>
                  <a:lnTo>
                    <a:pt x="2010" y="213"/>
                  </a:lnTo>
                  <a:lnTo>
                    <a:pt x="2008" y="200"/>
                  </a:lnTo>
                  <a:lnTo>
                    <a:pt x="2005" y="188"/>
                  </a:lnTo>
                  <a:lnTo>
                    <a:pt x="2002" y="176"/>
                  </a:lnTo>
                  <a:lnTo>
                    <a:pt x="1998" y="165"/>
                  </a:lnTo>
                  <a:lnTo>
                    <a:pt x="1993" y="153"/>
                  </a:lnTo>
                  <a:lnTo>
                    <a:pt x="1988" y="141"/>
                  </a:lnTo>
                  <a:lnTo>
                    <a:pt x="1983" y="130"/>
                  </a:lnTo>
                  <a:lnTo>
                    <a:pt x="1977" y="120"/>
                  </a:lnTo>
                  <a:lnTo>
                    <a:pt x="1970" y="110"/>
                  </a:lnTo>
                  <a:lnTo>
                    <a:pt x="1963" y="100"/>
                  </a:lnTo>
                  <a:lnTo>
                    <a:pt x="1956" y="91"/>
                  </a:lnTo>
                  <a:lnTo>
                    <a:pt x="1948" y="82"/>
                  </a:lnTo>
                  <a:lnTo>
                    <a:pt x="1940" y="73"/>
                  </a:lnTo>
                  <a:lnTo>
                    <a:pt x="1931" y="65"/>
                  </a:lnTo>
                  <a:lnTo>
                    <a:pt x="1922" y="57"/>
                  </a:lnTo>
                  <a:lnTo>
                    <a:pt x="1912" y="49"/>
                  </a:lnTo>
                  <a:lnTo>
                    <a:pt x="1902" y="42"/>
                  </a:lnTo>
                  <a:lnTo>
                    <a:pt x="1892" y="36"/>
                  </a:lnTo>
                  <a:lnTo>
                    <a:pt x="1881" y="30"/>
                  </a:lnTo>
                  <a:lnTo>
                    <a:pt x="1870" y="24"/>
                  </a:lnTo>
                  <a:lnTo>
                    <a:pt x="1859" y="19"/>
                  </a:lnTo>
                  <a:lnTo>
                    <a:pt x="1848" y="15"/>
                  </a:lnTo>
                  <a:lnTo>
                    <a:pt x="1836" y="11"/>
                  </a:lnTo>
                  <a:lnTo>
                    <a:pt x="1824" y="7"/>
                  </a:lnTo>
                  <a:lnTo>
                    <a:pt x="1812" y="5"/>
                  </a:lnTo>
                  <a:lnTo>
                    <a:pt x="1800" y="2"/>
                  </a:lnTo>
                  <a:lnTo>
                    <a:pt x="1787" y="1"/>
                  </a:lnTo>
                  <a:lnTo>
                    <a:pt x="1775" y="0"/>
                  </a:lnTo>
                  <a:lnTo>
                    <a:pt x="17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70" name="íṥļíḋè">
              <a:extLst>
                <a:ext uri="{FF2B5EF4-FFF2-40B4-BE49-F238E27FC236}">
                  <a16:creationId xmlns:a16="http://schemas.microsoft.com/office/drawing/2014/main" id="{AE94B1AC-B250-4FD9-8EB1-4489A51DA852}"/>
                </a:ext>
              </a:extLst>
            </p:cNvPr>
            <p:cNvSpPr/>
            <p:nvPr/>
          </p:nvSpPr>
          <p:spPr bwMode="auto">
            <a:xfrm>
              <a:off x="1601076" y="1480629"/>
              <a:ext cx="38783" cy="10055"/>
            </a:xfrm>
            <a:custGeom>
              <a:avLst/>
              <a:gdLst>
                <a:gd name="T0" fmla="*/ 240 w 2013"/>
                <a:gd name="T1" fmla="*/ 0 h 504"/>
                <a:gd name="T2" fmla="*/ 201 w 2013"/>
                <a:gd name="T3" fmla="*/ 6 h 504"/>
                <a:gd name="T4" fmla="*/ 165 w 2013"/>
                <a:gd name="T5" fmla="*/ 16 h 504"/>
                <a:gd name="T6" fmla="*/ 132 w 2013"/>
                <a:gd name="T7" fmla="*/ 31 h 504"/>
                <a:gd name="T8" fmla="*/ 102 w 2013"/>
                <a:gd name="T9" fmla="*/ 51 h 504"/>
                <a:gd name="T10" fmla="*/ 75 w 2013"/>
                <a:gd name="T11" fmla="*/ 74 h 504"/>
                <a:gd name="T12" fmla="*/ 51 w 2013"/>
                <a:gd name="T13" fmla="*/ 102 h 504"/>
                <a:gd name="T14" fmla="*/ 31 w 2013"/>
                <a:gd name="T15" fmla="*/ 132 h 504"/>
                <a:gd name="T16" fmla="*/ 16 w 2013"/>
                <a:gd name="T17" fmla="*/ 165 h 504"/>
                <a:gd name="T18" fmla="*/ 5 w 2013"/>
                <a:gd name="T19" fmla="*/ 202 h 504"/>
                <a:gd name="T20" fmla="*/ 1 w 2013"/>
                <a:gd name="T21" fmla="*/ 239 h 504"/>
                <a:gd name="T22" fmla="*/ 2 w 2013"/>
                <a:gd name="T23" fmla="*/ 278 h 504"/>
                <a:gd name="T24" fmla="*/ 8 w 2013"/>
                <a:gd name="T25" fmla="*/ 315 h 504"/>
                <a:gd name="T26" fmla="*/ 20 w 2013"/>
                <a:gd name="T27" fmla="*/ 350 h 504"/>
                <a:gd name="T28" fmla="*/ 37 w 2013"/>
                <a:gd name="T29" fmla="*/ 383 h 504"/>
                <a:gd name="T30" fmla="*/ 58 w 2013"/>
                <a:gd name="T31" fmla="*/ 412 h 504"/>
                <a:gd name="T32" fmla="*/ 83 w 2013"/>
                <a:gd name="T33" fmla="*/ 438 h 504"/>
                <a:gd name="T34" fmla="*/ 112 w 2013"/>
                <a:gd name="T35" fmla="*/ 460 h 504"/>
                <a:gd name="T36" fmla="*/ 143 w 2013"/>
                <a:gd name="T37" fmla="*/ 479 h 504"/>
                <a:gd name="T38" fmla="*/ 177 w 2013"/>
                <a:gd name="T39" fmla="*/ 492 h 504"/>
                <a:gd name="T40" fmla="*/ 213 w 2013"/>
                <a:gd name="T41" fmla="*/ 501 h 504"/>
                <a:gd name="T42" fmla="*/ 252 w 2013"/>
                <a:gd name="T43" fmla="*/ 504 h 504"/>
                <a:gd name="T44" fmla="*/ 1787 w 2013"/>
                <a:gd name="T45" fmla="*/ 503 h 504"/>
                <a:gd name="T46" fmla="*/ 1824 w 2013"/>
                <a:gd name="T47" fmla="*/ 495 h 504"/>
                <a:gd name="T48" fmla="*/ 1859 w 2013"/>
                <a:gd name="T49" fmla="*/ 484 h 504"/>
                <a:gd name="T50" fmla="*/ 1892 w 2013"/>
                <a:gd name="T51" fmla="*/ 467 h 504"/>
                <a:gd name="T52" fmla="*/ 1922 w 2013"/>
                <a:gd name="T53" fmla="*/ 446 h 504"/>
                <a:gd name="T54" fmla="*/ 1948 w 2013"/>
                <a:gd name="T55" fmla="*/ 421 h 504"/>
                <a:gd name="T56" fmla="*/ 1970 w 2013"/>
                <a:gd name="T57" fmla="*/ 393 h 504"/>
                <a:gd name="T58" fmla="*/ 1988 w 2013"/>
                <a:gd name="T59" fmla="*/ 362 h 504"/>
                <a:gd name="T60" fmla="*/ 2002 w 2013"/>
                <a:gd name="T61" fmla="*/ 326 h 504"/>
                <a:gd name="T62" fmla="*/ 2010 w 2013"/>
                <a:gd name="T63" fmla="*/ 290 h 504"/>
                <a:gd name="T64" fmla="*/ 2013 w 2013"/>
                <a:gd name="T65" fmla="*/ 252 h 504"/>
                <a:gd name="T66" fmla="*/ 2010 w 2013"/>
                <a:gd name="T67" fmla="*/ 214 h 504"/>
                <a:gd name="T68" fmla="*/ 2002 w 2013"/>
                <a:gd name="T69" fmla="*/ 178 h 504"/>
                <a:gd name="T70" fmla="*/ 1988 w 2013"/>
                <a:gd name="T71" fmla="*/ 143 h 504"/>
                <a:gd name="T72" fmla="*/ 1970 w 2013"/>
                <a:gd name="T73" fmla="*/ 111 h 504"/>
                <a:gd name="T74" fmla="*/ 1948 w 2013"/>
                <a:gd name="T75" fmla="*/ 83 h 504"/>
                <a:gd name="T76" fmla="*/ 1922 w 2013"/>
                <a:gd name="T77" fmla="*/ 58 h 504"/>
                <a:gd name="T78" fmla="*/ 1892 w 2013"/>
                <a:gd name="T79" fmla="*/ 37 h 504"/>
                <a:gd name="T80" fmla="*/ 1859 w 2013"/>
                <a:gd name="T81" fmla="*/ 21 h 504"/>
                <a:gd name="T82" fmla="*/ 1824 w 2013"/>
                <a:gd name="T83" fmla="*/ 9 h 504"/>
                <a:gd name="T84" fmla="*/ 1787 w 2013"/>
                <a:gd name="T85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13" h="504">
                  <a:moveTo>
                    <a:pt x="1762" y="0"/>
                  </a:move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3" y="3"/>
                  </a:lnTo>
                  <a:lnTo>
                    <a:pt x="201" y="6"/>
                  </a:lnTo>
                  <a:lnTo>
                    <a:pt x="189" y="9"/>
                  </a:lnTo>
                  <a:lnTo>
                    <a:pt x="177" y="12"/>
                  </a:lnTo>
                  <a:lnTo>
                    <a:pt x="165" y="16"/>
                  </a:lnTo>
                  <a:lnTo>
                    <a:pt x="154" y="21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2" y="37"/>
                  </a:lnTo>
                  <a:lnTo>
                    <a:pt x="112" y="44"/>
                  </a:lnTo>
                  <a:lnTo>
                    <a:pt x="102" y="51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5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3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6" y="165"/>
                  </a:lnTo>
                  <a:lnTo>
                    <a:pt x="12" y="178"/>
                  </a:lnTo>
                  <a:lnTo>
                    <a:pt x="8" y="190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2" y="227"/>
                  </a:lnTo>
                  <a:lnTo>
                    <a:pt x="1" y="239"/>
                  </a:lnTo>
                  <a:lnTo>
                    <a:pt x="0" y="252"/>
                  </a:lnTo>
                  <a:lnTo>
                    <a:pt x="1" y="265"/>
                  </a:lnTo>
                  <a:lnTo>
                    <a:pt x="2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2" y="326"/>
                  </a:lnTo>
                  <a:lnTo>
                    <a:pt x="16" y="339"/>
                  </a:lnTo>
                  <a:lnTo>
                    <a:pt x="20" y="350"/>
                  </a:lnTo>
                  <a:lnTo>
                    <a:pt x="25" y="362"/>
                  </a:lnTo>
                  <a:lnTo>
                    <a:pt x="31" y="372"/>
                  </a:lnTo>
                  <a:lnTo>
                    <a:pt x="37" y="383"/>
                  </a:lnTo>
                  <a:lnTo>
                    <a:pt x="43" y="393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5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4"/>
                  </a:lnTo>
                  <a:lnTo>
                    <a:pt x="112" y="460"/>
                  </a:lnTo>
                  <a:lnTo>
                    <a:pt x="122" y="467"/>
                  </a:lnTo>
                  <a:lnTo>
                    <a:pt x="132" y="473"/>
                  </a:lnTo>
                  <a:lnTo>
                    <a:pt x="143" y="479"/>
                  </a:lnTo>
                  <a:lnTo>
                    <a:pt x="154" y="484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1"/>
                  </a:lnTo>
                  <a:lnTo>
                    <a:pt x="227" y="503"/>
                  </a:lnTo>
                  <a:lnTo>
                    <a:pt x="240" y="504"/>
                  </a:lnTo>
                  <a:lnTo>
                    <a:pt x="252" y="504"/>
                  </a:lnTo>
                  <a:lnTo>
                    <a:pt x="1762" y="504"/>
                  </a:lnTo>
                  <a:lnTo>
                    <a:pt x="1775" y="504"/>
                  </a:lnTo>
                  <a:lnTo>
                    <a:pt x="1787" y="503"/>
                  </a:lnTo>
                  <a:lnTo>
                    <a:pt x="1800" y="501"/>
                  </a:lnTo>
                  <a:lnTo>
                    <a:pt x="1812" y="498"/>
                  </a:lnTo>
                  <a:lnTo>
                    <a:pt x="1824" y="495"/>
                  </a:lnTo>
                  <a:lnTo>
                    <a:pt x="1836" y="492"/>
                  </a:lnTo>
                  <a:lnTo>
                    <a:pt x="1848" y="488"/>
                  </a:lnTo>
                  <a:lnTo>
                    <a:pt x="1859" y="484"/>
                  </a:lnTo>
                  <a:lnTo>
                    <a:pt x="1870" y="479"/>
                  </a:lnTo>
                  <a:lnTo>
                    <a:pt x="1881" y="473"/>
                  </a:lnTo>
                  <a:lnTo>
                    <a:pt x="1892" y="467"/>
                  </a:lnTo>
                  <a:lnTo>
                    <a:pt x="1902" y="460"/>
                  </a:lnTo>
                  <a:lnTo>
                    <a:pt x="1912" y="454"/>
                  </a:lnTo>
                  <a:lnTo>
                    <a:pt x="1922" y="446"/>
                  </a:lnTo>
                  <a:lnTo>
                    <a:pt x="1931" y="438"/>
                  </a:lnTo>
                  <a:lnTo>
                    <a:pt x="1940" y="430"/>
                  </a:lnTo>
                  <a:lnTo>
                    <a:pt x="1948" y="421"/>
                  </a:lnTo>
                  <a:lnTo>
                    <a:pt x="1956" y="412"/>
                  </a:lnTo>
                  <a:lnTo>
                    <a:pt x="1963" y="403"/>
                  </a:lnTo>
                  <a:lnTo>
                    <a:pt x="1970" y="393"/>
                  </a:lnTo>
                  <a:lnTo>
                    <a:pt x="1977" y="383"/>
                  </a:lnTo>
                  <a:lnTo>
                    <a:pt x="1983" y="372"/>
                  </a:lnTo>
                  <a:lnTo>
                    <a:pt x="1988" y="362"/>
                  </a:lnTo>
                  <a:lnTo>
                    <a:pt x="1993" y="350"/>
                  </a:lnTo>
                  <a:lnTo>
                    <a:pt x="1998" y="339"/>
                  </a:lnTo>
                  <a:lnTo>
                    <a:pt x="2002" y="326"/>
                  </a:lnTo>
                  <a:lnTo>
                    <a:pt x="2005" y="315"/>
                  </a:lnTo>
                  <a:lnTo>
                    <a:pt x="2008" y="303"/>
                  </a:lnTo>
                  <a:lnTo>
                    <a:pt x="2010" y="290"/>
                  </a:lnTo>
                  <a:lnTo>
                    <a:pt x="2012" y="278"/>
                  </a:lnTo>
                  <a:lnTo>
                    <a:pt x="2013" y="265"/>
                  </a:lnTo>
                  <a:lnTo>
                    <a:pt x="2013" y="252"/>
                  </a:lnTo>
                  <a:lnTo>
                    <a:pt x="2013" y="239"/>
                  </a:lnTo>
                  <a:lnTo>
                    <a:pt x="2012" y="227"/>
                  </a:lnTo>
                  <a:lnTo>
                    <a:pt x="2010" y="214"/>
                  </a:lnTo>
                  <a:lnTo>
                    <a:pt x="2008" y="202"/>
                  </a:lnTo>
                  <a:lnTo>
                    <a:pt x="2005" y="190"/>
                  </a:lnTo>
                  <a:lnTo>
                    <a:pt x="2002" y="178"/>
                  </a:lnTo>
                  <a:lnTo>
                    <a:pt x="1998" y="165"/>
                  </a:lnTo>
                  <a:lnTo>
                    <a:pt x="1993" y="154"/>
                  </a:lnTo>
                  <a:lnTo>
                    <a:pt x="1988" y="143"/>
                  </a:lnTo>
                  <a:lnTo>
                    <a:pt x="1983" y="132"/>
                  </a:lnTo>
                  <a:lnTo>
                    <a:pt x="1977" y="122"/>
                  </a:lnTo>
                  <a:lnTo>
                    <a:pt x="1970" y="111"/>
                  </a:lnTo>
                  <a:lnTo>
                    <a:pt x="1963" y="102"/>
                  </a:lnTo>
                  <a:lnTo>
                    <a:pt x="1956" y="92"/>
                  </a:lnTo>
                  <a:lnTo>
                    <a:pt x="1948" y="83"/>
                  </a:lnTo>
                  <a:lnTo>
                    <a:pt x="1940" y="74"/>
                  </a:lnTo>
                  <a:lnTo>
                    <a:pt x="1931" y="66"/>
                  </a:lnTo>
                  <a:lnTo>
                    <a:pt x="1922" y="58"/>
                  </a:lnTo>
                  <a:lnTo>
                    <a:pt x="1912" y="51"/>
                  </a:lnTo>
                  <a:lnTo>
                    <a:pt x="1902" y="44"/>
                  </a:lnTo>
                  <a:lnTo>
                    <a:pt x="1892" y="37"/>
                  </a:lnTo>
                  <a:lnTo>
                    <a:pt x="1881" y="31"/>
                  </a:lnTo>
                  <a:lnTo>
                    <a:pt x="1870" y="26"/>
                  </a:lnTo>
                  <a:lnTo>
                    <a:pt x="1859" y="21"/>
                  </a:lnTo>
                  <a:lnTo>
                    <a:pt x="1848" y="16"/>
                  </a:lnTo>
                  <a:lnTo>
                    <a:pt x="1836" y="12"/>
                  </a:lnTo>
                  <a:lnTo>
                    <a:pt x="1824" y="9"/>
                  </a:lnTo>
                  <a:lnTo>
                    <a:pt x="1812" y="6"/>
                  </a:lnTo>
                  <a:lnTo>
                    <a:pt x="1800" y="3"/>
                  </a:lnTo>
                  <a:lnTo>
                    <a:pt x="1787" y="1"/>
                  </a:lnTo>
                  <a:lnTo>
                    <a:pt x="1775" y="0"/>
                  </a:lnTo>
                  <a:lnTo>
                    <a:pt x="17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71" name="íŝľîḓè">
              <a:extLst>
                <a:ext uri="{FF2B5EF4-FFF2-40B4-BE49-F238E27FC236}">
                  <a16:creationId xmlns:a16="http://schemas.microsoft.com/office/drawing/2014/main" id="{7444978E-2EE7-4D42-A2D1-F7C2CCAFF2B2}"/>
                </a:ext>
              </a:extLst>
            </p:cNvPr>
            <p:cNvSpPr/>
            <p:nvPr/>
          </p:nvSpPr>
          <p:spPr bwMode="auto">
            <a:xfrm>
              <a:off x="1435170" y="1439691"/>
              <a:ext cx="58174" cy="40938"/>
            </a:xfrm>
            <a:custGeom>
              <a:avLst/>
              <a:gdLst>
                <a:gd name="T0" fmla="*/ 420 w 3005"/>
                <a:gd name="T1" fmla="*/ 185 h 2110"/>
                <a:gd name="T2" fmla="*/ 370 w 3005"/>
                <a:gd name="T3" fmla="*/ 200 h 2110"/>
                <a:gd name="T4" fmla="*/ 323 w 3005"/>
                <a:gd name="T5" fmla="*/ 224 h 2110"/>
                <a:gd name="T6" fmla="*/ 257 w 3005"/>
                <a:gd name="T7" fmla="*/ 273 h 2110"/>
                <a:gd name="T8" fmla="*/ 205 w 3005"/>
                <a:gd name="T9" fmla="*/ 336 h 2110"/>
                <a:gd name="T10" fmla="*/ 178 w 3005"/>
                <a:gd name="T11" fmla="*/ 383 h 2110"/>
                <a:gd name="T12" fmla="*/ 160 w 3005"/>
                <a:gd name="T13" fmla="*/ 432 h 2110"/>
                <a:gd name="T14" fmla="*/ 0 w 3005"/>
                <a:gd name="T15" fmla="*/ 1872 h 2110"/>
                <a:gd name="T16" fmla="*/ 5 w 3005"/>
                <a:gd name="T17" fmla="*/ 1922 h 2110"/>
                <a:gd name="T18" fmla="*/ 20 w 3005"/>
                <a:gd name="T19" fmla="*/ 1968 h 2110"/>
                <a:gd name="T20" fmla="*/ 43 w 3005"/>
                <a:gd name="T21" fmla="*/ 2009 h 2110"/>
                <a:gd name="T22" fmla="*/ 74 w 3005"/>
                <a:gd name="T23" fmla="*/ 2045 h 2110"/>
                <a:gd name="T24" fmla="*/ 111 w 3005"/>
                <a:gd name="T25" fmla="*/ 2074 h 2110"/>
                <a:gd name="T26" fmla="*/ 154 w 3005"/>
                <a:gd name="T27" fmla="*/ 2095 h 2110"/>
                <a:gd name="T28" fmla="*/ 201 w 3005"/>
                <a:gd name="T29" fmla="*/ 2107 h 2110"/>
                <a:gd name="T30" fmla="*/ 251 w 3005"/>
                <a:gd name="T31" fmla="*/ 2110 h 2110"/>
                <a:gd name="T32" fmla="*/ 302 w 3005"/>
                <a:gd name="T33" fmla="*/ 2102 h 2110"/>
                <a:gd name="T34" fmla="*/ 348 w 3005"/>
                <a:gd name="T35" fmla="*/ 2085 h 2110"/>
                <a:gd name="T36" fmla="*/ 390 w 3005"/>
                <a:gd name="T37" fmla="*/ 2060 h 2110"/>
                <a:gd name="T38" fmla="*/ 427 w 3005"/>
                <a:gd name="T39" fmla="*/ 2028 h 2110"/>
                <a:gd name="T40" fmla="*/ 458 w 3005"/>
                <a:gd name="T41" fmla="*/ 1989 h 2110"/>
                <a:gd name="T42" fmla="*/ 481 w 3005"/>
                <a:gd name="T43" fmla="*/ 1945 h 2110"/>
                <a:gd name="T44" fmla="*/ 495 w 3005"/>
                <a:gd name="T45" fmla="*/ 1897 h 2110"/>
                <a:gd name="T46" fmla="*/ 583 w 3005"/>
                <a:gd name="T47" fmla="*/ 906 h 2110"/>
                <a:gd name="T48" fmla="*/ 595 w 3005"/>
                <a:gd name="T49" fmla="*/ 855 h 2110"/>
                <a:gd name="T50" fmla="*/ 616 w 3005"/>
                <a:gd name="T51" fmla="*/ 807 h 2110"/>
                <a:gd name="T52" fmla="*/ 646 w 3005"/>
                <a:gd name="T53" fmla="*/ 762 h 2110"/>
                <a:gd name="T54" fmla="*/ 681 w 3005"/>
                <a:gd name="T55" fmla="*/ 722 h 2110"/>
                <a:gd name="T56" fmla="*/ 722 w 3005"/>
                <a:gd name="T57" fmla="*/ 688 h 2110"/>
                <a:gd name="T58" fmla="*/ 767 w 3005"/>
                <a:gd name="T59" fmla="*/ 661 h 2110"/>
                <a:gd name="T60" fmla="*/ 817 w 3005"/>
                <a:gd name="T61" fmla="*/ 642 h 2110"/>
                <a:gd name="T62" fmla="*/ 867 w 3005"/>
                <a:gd name="T63" fmla="*/ 632 h 2110"/>
                <a:gd name="T64" fmla="*/ 2791 w 3005"/>
                <a:gd name="T65" fmla="*/ 498 h 2110"/>
                <a:gd name="T66" fmla="*/ 2840 w 3005"/>
                <a:gd name="T67" fmla="*/ 484 h 2110"/>
                <a:gd name="T68" fmla="*/ 2884 w 3005"/>
                <a:gd name="T69" fmla="*/ 461 h 2110"/>
                <a:gd name="T70" fmla="*/ 2922 w 3005"/>
                <a:gd name="T71" fmla="*/ 430 h 2110"/>
                <a:gd name="T72" fmla="*/ 2955 w 3005"/>
                <a:gd name="T73" fmla="*/ 393 h 2110"/>
                <a:gd name="T74" fmla="*/ 2980 w 3005"/>
                <a:gd name="T75" fmla="*/ 351 h 2110"/>
                <a:gd name="T76" fmla="*/ 2998 w 3005"/>
                <a:gd name="T77" fmla="*/ 305 h 2110"/>
                <a:gd name="T78" fmla="*/ 3005 w 3005"/>
                <a:gd name="T79" fmla="*/ 254 h 2110"/>
                <a:gd name="T80" fmla="*/ 3003 w 3005"/>
                <a:gd name="T81" fmla="*/ 203 h 2110"/>
                <a:gd name="T82" fmla="*/ 2989 w 3005"/>
                <a:gd name="T83" fmla="*/ 156 h 2110"/>
                <a:gd name="T84" fmla="*/ 2968 w 3005"/>
                <a:gd name="T85" fmla="*/ 112 h 2110"/>
                <a:gd name="T86" fmla="*/ 2939 w 3005"/>
                <a:gd name="T87" fmla="*/ 74 h 2110"/>
                <a:gd name="T88" fmla="*/ 2904 w 3005"/>
                <a:gd name="T89" fmla="*/ 44 h 2110"/>
                <a:gd name="T90" fmla="*/ 2863 w 3005"/>
                <a:gd name="T91" fmla="*/ 20 h 2110"/>
                <a:gd name="T92" fmla="*/ 2816 w 3005"/>
                <a:gd name="T93" fmla="*/ 5 h 2110"/>
                <a:gd name="T94" fmla="*/ 2766 w 3005"/>
                <a:gd name="T95" fmla="*/ 0 h 2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005" h="2110">
                  <a:moveTo>
                    <a:pt x="2753" y="0"/>
                  </a:moveTo>
                  <a:lnTo>
                    <a:pt x="446" y="180"/>
                  </a:lnTo>
                  <a:lnTo>
                    <a:pt x="433" y="182"/>
                  </a:lnTo>
                  <a:lnTo>
                    <a:pt x="420" y="185"/>
                  </a:lnTo>
                  <a:lnTo>
                    <a:pt x="408" y="188"/>
                  </a:lnTo>
                  <a:lnTo>
                    <a:pt x="395" y="191"/>
                  </a:lnTo>
                  <a:lnTo>
                    <a:pt x="383" y="195"/>
                  </a:lnTo>
                  <a:lnTo>
                    <a:pt x="370" y="200"/>
                  </a:lnTo>
                  <a:lnTo>
                    <a:pt x="358" y="205"/>
                  </a:lnTo>
                  <a:lnTo>
                    <a:pt x="346" y="211"/>
                  </a:lnTo>
                  <a:lnTo>
                    <a:pt x="334" y="217"/>
                  </a:lnTo>
                  <a:lnTo>
                    <a:pt x="323" y="224"/>
                  </a:lnTo>
                  <a:lnTo>
                    <a:pt x="311" y="231"/>
                  </a:lnTo>
                  <a:lnTo>
                    <a:pt x="300" y="239"/>
                  </a:lnTo>
                  <a:lnTo>
                    <a:pt x="277" y="255"/>
                  </a:lnTo>
                  <a:lnTo>
                    <a:pt x="257" y="273"/>
                  </a:lnTo>
                  <a:lnTo>
                    <a:pt x="238" y="294"/>
                  </a:lnTo>
                  <a:lnTo>
                    <a:pt x="220" y="314"/>
                  </a:lnTo>
                  <a:lnTo>
                    <a:pt x="212" y="325"/>
                  </a:lnTo>
                  <a:lnTo>
                    <a:pt x="205" y="336"/>
                  </a:lnTo>
                  <a:lnTo>
                    <a:pt x="197" y="347"/>
                  </a:lnTo>
                  <a:lnTo>
                    <a:pt x="190" y="359"/>
                  </a:lnTo>
                  <a:lnTo>
                    <a:pt x="184" y="371"/>
                  </a:lnTo>
                  <a:lnTo>
                    <a:pt x="178" y="383"/>
                  </a:lnTo>
                  <a:lnTo>
                    <a:pt x="173" y="395"/>
                  </a:lnTo>
                  <a:lnTo>
                    <a:pt x="168" y="407"/>
                  </a:lnTo>
                  <a:lnTo>
                    <a:pt x="164" y="419"/>
                  </a:lnTo>
                  <a:lnTo>
                    <a:pt x="160" y="432"/>
                  </a:lnTo>
                  <a:lnTo>
                    <a:pt x="157" y="444"/>
                  </a:lnTo>
                  <a:lnTo>
                    <a:pt x="155" y="457"/>
                  </a:lnTo>
                  <a:lnTo>
                    <a:pt x="1" y="1859"/>
                  </a:lnTo>
                  <a:lnTo>
                    <a:pt x="0" y="1872"/>
                  </a:lnTo>
                  <a:lnTo>
                    <a:pt x="1" y="1885"/>
                  </a:lnTo>
                  <a:lnTo>
                    <a:pt x="2" y="1897"/>
                  </a:lnTo>
                  <a:lnTo>
                    <a:pt x="3" y="1910"/>
                  </a:lnTo>
                  <a:lnTo>
                    <a:pt x="5" y="1922"/>
                  </a:lnTo>
                  <a:lnTo>
                    <a:pt x="8" y="1933"/>
                  </a:lnTo>
                  <a:lnTo>
                    <a:pt x="12" y="1945"/>
                  </a:lnTo>
                  <a:lnTo>
                    <a:pt x="16" y="1957"/>
                  </a:lnTo>
                  <a:lnTo>
                    <a:pt x="20" y="1968"/>
                  </a:lnTo>
                  <a:lnTo>
                    <a:pt x="25" y="1979"/>
                  </a:lnTo>
                  <a:lnTo>
                    <a:pt x="31" y="1990"/>
                  </a:lnTo>
                  <a:lnTo>
                    <a:pt x="37" y="2000"/>
                  </a:lnTo>
                  <a:lnTo>
                    <a:pt x="43" y="2009"/>
                  </a:lnTo>
                  <a:lnTo>
                    <a:pt x="50" y="2019"/>
                  </a:lnTo>
                  <a:lnTo>
                    <a:pt x="57" y="2028"/>
                  </a:lnTo>
                  <a:lnTo>
                    <a:pt x="65" y="2037"/>
                  </a:lnTo>
                  <a:lnTo>
                    <a:pt x="74" y="2045"/>
                  </a:lnTo>
                  <a:lnTo>
                    <a:pt x="82" y="2053"/>
                  </a:lnTo>
                  <a:lnTo>
                    <a:pt x="91" y="2060"/>
                  </a:lnTo>
                  <a:lnTo>
                    <a:pt x="101" y="2067"/>
                  </a:lnTo>
                  <a:lnTo>
                    <a:pt x="111" y="2074"/>
                  </a:lnTo>
                  <a:lnTo>
                    <a:pt x="122" y="2080"/>
                  </a:lnTo>
                  <a:lnTo>
                    <a:pt x="132" y="2085"/>
                  </a:lnTo>
                  <a:lnTo>
                    <a:pt x="143" y="2090"/>
                  </a:lnTo>
                  <a:lnTo>
                    <a:pt x="154" y="2095"/>
                  </a:lnTo>
                  <a:lnTo>
                    <a:pt x="165" y="2099"/>
                  </a:lnTo>
                  <a:lnTo>
                    <a:pt x="177" y="2102"/>
                  </a:lnTo>
                  <a:lnTo>
                    <a:pt x="189" y="2105"/>
                  </a:lnTo>
                  <a:lnTo>
                    <a:pt x="201" y="2107"/>
                  </a:lnTo>
                  <a:lnTo>
                    <a:pt x="213" y="2109"/>
                  </a:lnTo>
                  <a:lnTo>
                    <a:pt x="226" y="2110"/>
                  </a:lnTo>
                  <a:lnTo>
                    <a:pt x="239" y="2110"/>
                  </a:lnTo>
                  <a:lnTo>
                    <a:pt x="251" y="2110"/>
                  </a:lnTo>
                  <a:lnTo>
                    <a:pt x="264" y="2109"/>
                  </a:lnTo>
                  <a:lnTo>
                    <a:pt x="276" y="2107"/>
                  </a:lnTo>
                  <a:lnTo>
                    <a:pt x="290" y="2105"/>
                  </a:lnTo>
                  <a:lnTo>
                    <a:pt x="302" y="2102"/>
                  </a:lnTo>
                  <a:lnTo>
                    <a:pt x="314" y="2099"/>
                  </a:lnTo>
                  <a:lnTo>
                    <a:pt x="325" y="2095"/>
                  </a:lnTo>
                  <a:lnTo>
                    <a:pt x="337" y="2090"/>
                  </a:lnTo>
                  <a:lnTo>
                    <a:pt x="348" y="2085"/>
                  </a:lnTo>
                  <a:lnTo>
                    <a:pt x="359" y="2080"/>
                  </a:lnTo>
                  <a:lnTo>
                    <a:pt x="370" y="2074"/>
                  </a:lnTo>
                  <a:lnTo>
                    <a:pt x="380" y="2067"/>
                  </a:lnTo>
                  <a:lnTo>
                    <a:pt x="390" y="2060"/>
                  </a:lnTo>
                  <a:lnTo>
                    <a:pt x="400" y="2053"/>
                  </a:lnTo>
                  <a:lnTo>
                    <a:pt x="409" y="2045"/>
                  </a:lnTo>
                  <a:lnTo>
                    <a:pt x="418" y="2037"/>
                  </a:lnTo>
                  <a:lnTo>
                    <a:pt x="427" y="2028"/>
                  </a:lnTo>
                  <a:lnTo>
                    <a:pt x="435" y="2019"/>
                  </a:lnTo>
                  <a:lnTo>
                    <a:pt x="443" y="2009"/>
                  </a:lnTo>
                  <a:lnTo>
                    <a:pt x="450" y="2000"/>
                  </a:lnTo>
                  <a:lnTo>
                    <a:pt x="458" y="1989"/>
                  </a:lnTo>
                  <a:lnTo>
                    <a:pt x="465" y="1979"/>
                  </a:lnTo>
                  <a:lnTo>
                    <a:pt x="471" y="1968"/>
                  </a:lnTo>
                  <a:lnTo>
                    <a:pt x="476" y="1957"/>
                  </a:lnTo>
                  <a:lnTo>
                    <a:pt x="481" y="1945"/>
                  </a:lnTo>
                  <a:lnTo>
                    <a:pt x="485" y="1933"/>
                  </a:lnTo>
                  <a:lnTo>
                    <a:pt x="489" y="1921"/>
                  </a:lnTo>
                  <a:lnTo>
                    <a:pt x="493" y="1909"/>
                  </a:lnTo>
                  <a:lnTo>
                    <a:pt x="495" y="1897"/>
                  </a:lnTo>
                  <a:lnTo>
                    <a:pt x="497" y="1884"/>
                  </a:lnTo>
                  <a:lnTo>
                    <a:pt x="499" y="1872"/>
                  </a:lnTo>
                  <a:lnTo>
                    <a:pt x="500" y="1859"/>
                  </a:lnTo>
                  <a:lnTo>
                    <a:pt x="583" y="906"/>
                  </a:lnTo>
                  <a:lnTo>
                    <a:pt x="585" y="893"/>
                  </a:lnTo>
                  <a:lnTo>
                    <a:pt x="588" y="880"/>
                  </a:lnTo>
                  <a:lnTo>
                    <a:pt x="591" y="868"/>
                  </a:lnTo>
                  <a:lnTo>
                    <a:pt x="595" y="855"/>
                  </a:lnTo>
                  <a:lnTo>
                    <a:pt x="600" y="843"/>
                  </a:lnTo>
                  <a:lnTo>
                    <a:pt x="605" y="831"/>
                  </a:lnTo>
                  <a:lnTo>
                    <a:pt x="610" y="819"/>
                  </a:lnTo>
                  <a:lnTo>
                    <a:pt x="616" y="807"/>
                  </a:lnTo>
                  <a:lnTo>
                    <a:pt x="622" y="796"/>
                  </a:lnTo>
                  <a:lnTo>
                    <a:pt x="630" y="784"/>
                  </a:lnTo>
                  <a:lnTo>
                    <a:pt x="638" y="773"/>
                  </a:lnTo>
                  <a:lnTo>
                    <a:pt x="646" y="762"/>
                  </a:lnTo>
                  <a:lnTo>
                    <a:pt x="654" y="751"/>
                  </a:lnTo>
                  <a:lnTo>
                    <a:pt x="663" y="741"/>
                  </a:lnTo>
                  <a:lnTo>
                    <a:pt x="672" y="731"/>
                  </a:lnTo>
                  <a:lnTo>
                    <a:pt x="681" y="722"/>
                  </a:lnTo>
                  <a:lnTo>
                    <a:pt x="691" y="713"/>
                  </a:lnTo>
                  <a:lnTo>
                    <a:pt x="701" y="704"/>
                  </a:lnTo>
                  <a:lnTo>
                    <a:pt x="711" y="696"/>
                  </a:lnTo>
                  <a:lnTo>
                    <a:pt x="722" y="688"/>
                  </a:lnTo>
                  <a:lnTo>
                    <a:pt x="733" y="680"/>
                  </a:lnTo>
                  <a:lnTo>
                    <a:pt x="744" y="673"/>
                  </a:lnTo>
                  <a:lnTo>
                    <a:pt x="756" y="667"/>
                  </a:lnTo>
                  <a:lnTo>
                    <a:pt x="767" y="661"/>
                  </a:lnTo>
                  <a:lnTo>
                    <a:pt x="779" y="655"/>
                  </a:lnTo>
                  <a:lnTo>
                    <a:pt x="791" y="650"/>
                  </a:lnTo>
                  <a:lnTo>
                    <a:pt x="804" y="646"/>
                  </a:lnTo>
                  <a:lnTo>
                    <a:pt x="817" y="642"/>
                  </a:lnTo>
                  <a:lnTo>
                    <a:pt x="829" y="638"/>
                  </a:lnTo>
                  <a:lnTo>
                    <a:pt x="842" y="635"/>
                  </a:lnTo>
                  <a:lnTo>
                    <a:pt x="855" y="633"/>
                  </a:lnTo>
                  <a:lnTo>
                    <a:pt x="867" y="632"/>
                  </a:lnTo>
                  <a:lnTo>
                    <a:pt x="2753" y="502"/>
                  </a:lnTo>
                  <a:lnTo>
                    <a:pt x="2766" y="501"/>
                  </a:lnTo>
                  <a:lnTo>
                    <a:pt x="2779" y="500"/>
                  </a:lnTo>
                  <a:lnTo>
                    <a:pt x="2791" y="498"/>
                  </a:lnTo>
                  <a:lnTo>
                    <a:pt x="2804" y="495"/>
                  </a:lnTo>
                  <a:lnTo>
                    <a:pt x="2816" y="492"/>
                  </a:lnTo>
                  <a:lnTo>
                    <a:pt x="2829" y="488"/>
                  </a:lnTo>
                  <a:lnTo>
                    <a:pt x="2840" y="484"/>
                  </a:lnTo>
                  <a:lnTo>
                    <a:pt x="2851" y="479"/>
                  </a:lnTo>
                  <a:lnTo>
                    <a:pt x="2863" y="473"/>
                  </a:lnTo>
                  <a:lnTo>
                    <a:pt x="2873" y="467"/>
                  </a:lnTo>
                  <a:lnTo>
                    <a:pt x="2884" y="461"/>
                  </a:lnTo>
                  <a:lnTo>
                    <a:pt x="2894" y="453"/>
                  </a:lnTo>
                  <a:lnTo>
                    <a:pt x="2904" y="446"/>
                  </a:lnTo>
                  <a:lnTo>
                    <a:pt x="2913" y="438"/>
                  </a:lnTo>
                  <a:lnTo>
                    <a:pt x="2922" y="430"/>
                  </a:lnTo>
                  <a:lnTo>
                    <a:pt x="2931" y="421"/>
                  </a:lnTo>
                  <a:lnTo>
                    <a:pt x="2939" y="412"/>
                  </a:lnTo>
                  <a:lnTo>
                    <a:pt x="2947" y="403"/>
                  </a:lnTo>
                  <a:lnTo>
                    <a:pt x="2955" y="393"/>
                  </a:lnTo>
                  <a:lnTo>
                    <a:pt x="2962" y="383"/>
                  </a:lnTo>
                  <a:lnTo>
                    <a:pt x="2968" y="373"/>
                  </a:lnTo>
                  <a:lnTo>
                    <a:pt x="2974" y="362"/>
                  </a:lnTo>
                  <a:lnTo>
                    <a:pt x="2980" y="351"/>
                  </a:lnTo>
                  <a:lnTo>
                    <a:pt x="2985" y="340"/>
                  </a:lnTo>
                  <a:lnTo>
                    <a:pt x="2989" y="328"/>
                  </a:lnTo>
                  <a:lnTo>
                    <a:pt x="2993" y="317"/>
                  </a:lnTo>
                  <a:lnTo>
                    <a:pt x="2998" y="305"/>
                  </a:lnTo>
                  <a:lnTo>
                    <a:pt x="3000" y="291"/>
                  </a:lnTo>
                  <a:lnTo>
                    <a:pt x="3003" y="279"/>
                  </a:lnTo>
                  <a:lnTo>
                    <a:pt x="3004" y="267"/>
                  </a:lnTo>
                  <a:lnTo>
                    <a:pt x="3005" y="254"/>
                  </a:lnTo>
                  <a:lnTo>
                    <a:pt x="3005" y="241"/>
                  </a:lnTo>
                  <a:lnTo>
                    <a:pt x="3005" y="228"/>
                  </a:lnTo>
                  <a:lnTo>
                    <a:pt x="3004" y="215"/>
                  </a:lnTo>
                  <a:lnTo>
                    <a:pt x="3003" y="203"/>
                  </a:lnTo>
                  <a:lnTo>
                    <a:pt x="3000" y="191"/>
                  </a:lnTo>
                  <a:lnTo>
                    <a:pt x="2998" y="179"/>
                  </a:lnTo>
                  <a:lnTo>
                    <a:pt x="2993" y="167"/>
                  </a:lnTo>
                  <a:lnTo>
                    <a:pt x="2989" y="156"/>
                  </a:lnTo>
                  <a:lnTo>
                    <a:pt x="2985" y="145"/>
                  </a:lnTo>
                  <a:lnTo>
                    <a:pt x="2980" y="134"/>
                  </a:lnTo>
                  <a:lnTo>
                    <a:pt x="2974" y="122"/>
                  </a:lnTo>
                  <a:lnTo>
                    <a:pt x="2968" y="112"/>
                  </a:lnTo>
                  <a:lnTo>
                    <a:pt x="2962" y="102"/>
                  </a:lnTo>
                  <a:lnTo>
                    <a:pt x="2955" y="92"/>
                  </a:lnTo>
                  <a:lnTo>
                    <a:pt x="2947" y="83"/>
                  </a:lnTo>
                  <a:lnTo>
                    <a:pt x="2939" y="74"/>
                  </a:lnTo>
                  <a:lnTo>
                    <a:pt x="2931" y="66"/>
                  </a:lnTo>
                  <a:lnTo>
                    <a:pt x="2922" y="58"/>
                  </a:lnTo>
                  <a:lnTo>
                    <a:pt x="2913" y="51"/>
                  </a:lnTo>
                  <a:lnTo>
                    <a:pt x="2904" y="44"/>
                  </a:lnTo>
                  <a:lnTo>
                    <a:pt x="2894" y="37"/>
                  </a:lnTo>
                  <a:lnTo>
                    <a:pt x="2884" y="31"/>
                  </a:lnTo>
                  <a:lnTo>
                    <a:pt x="2873" y="25"/>
                  </a:lnTo>
                  <a:lnTo>
                    <a:pt x="2863" y="20"/>
                  </a:lnTo>
                  <a:lnTo>
                    <a:pt x="2851" y="16"/>
                  </a:lnTo>
                  <a:lnTo>
                    <a:pt x="2840" y="12"/>
                  </a:lnTo>
                  <a:lnTo>
                    <a:pt x="2829" y="8"/>
                  </a:lnTo>
                  <a:lnTo>
                    <a:pt x="2816" y="5"/>
                  </a:lnTo>
                  <a:lnTo>
                    <a:pt x="2804" y="3"/>
                  </a:lnTo>
                  <a:lnTo>
                    <a:pt x="2791" y="1"/>
                  </a:lnTo>
                  <a:lnTo>
                    <a:pt x="2779" y="0"/>
                  </a:lnTo>
                  <a:lnTo>
                    <a:pt x="2766" y="0"/>
                  </a:lnTo>
                  <a:lnTo>
                    <a:pt x="275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72" name="iṩ1iḓé">
              <a:extLst>
                <a:ext uri="{FF2B5EF4-FFF2-40B4-BE49-F238E27FC236}">
                  <a16:creationId xmlns:a16="http://schemas.microsoft.com/office/drawing/2014/main" id="{07AC56FA-7BA9-4D9A-8633-9FCA411D243F}"/>
                </a:ext>
              </a:extLst>
            </p:cNvPr>
            <p:cNvSpPr/>
            <p:nvPr/>
          </p:nvSpPr>
          <p:spPr bwMode="auto">
            <a:xfrm>
              <a:off x="1650029" y="1484568"/>
              <a:ext cx="287159" cy="287159"/>
            </a:xfrm>
            <a:custGeom>
              <a:avLst/>
              <a:gdLst>
                <a:gd name="T0" fmla="*/ 8083 w 16058"/>
                <a:gd name="T1" fmla="*/ 10645 h 16058"/>
                <a:gd name="T2" fmla="*/ 6322 w 16058"/>
                <a:gd name="T3" fmla="*/ 9396 h 16058"/>
                <a:gd name="T4" fmla="*/ 5244 w 16058"/>
                <a:gd name="T5" fmla="*/ 7514 h 16058"/>
                <a:gd name="T6" fmla="*/ 5076 w 16058"/>
                <a:gd name="T7" fmla="*/ 5258 h 16058"/>
                <a:gd name="T8" fmla="*/ 5875 w 16058"/>
                <a:gd name="T9" fmla="*/ 3217 h 16058"/>
                <a:gd name="T10" fmla="*/ 7435 w 16058"/>
                <a:gd name="T11" fmla="*/ 1730 h 16058"/>
                <a:gd name="T12" fmla="*/ 9523 w 16058"/>
                <a:gd name="T13" fmla="*/ 1030 h 16058"/>
                <a:gd name="T14" fmla="*/ 11761 w 16058"/>
                <a:gd name="T15" fmla="*/ 1308 h 16058"/>
                <a:gd name="T16" fmla="*/ 13584 w 16058"/>
                <a:gd name="T17" fmla="*/ 2474 h 16058"/>
                <a:gd name="T18" fmla="*/ 14750 w 16058"/>
                <a:gd name="T19" fmla="*/ 4297 h 16058"/>
                <a:gd name="T20" fmla="*/ 15028 w 16058"/>
                <a:gd name="T21" fmla="*/ 6535 h 16058"/>
                <a:gd name="T22" fmla="*/ 14328 w 16058"/>
                <a:gd name="T23" fmla="*/ 8624 h 16058"/>
                <a:gd name="T24" fmla="*/ 12841 w 16058"/>
                <a:gd name="T25" fmla="*/ 10183 h 16058"/>
                <a:gd name="T26" fmla="*/ 10800 w 16058"/>
                <a:gd name="T27" fmla="*/ 10982 h 16058"/>
                <a:gd name="T28" fmla="*/ 2326 w 16058"/>
                <a:gd name="T29" fmla="*/ 14973 h 16058"/>
                <a:gd name="T30" fmla="*/ 2162 w 16058"/>
                <a:gd name="T31" fmla="*/ 15080 h 16058"/>
                <a:gd name="T32" fmla="*/ 1975 w 16058"/>
                <a:gd name="T33" fmla="*/ 15148 h 16058"/>
                <a:gd name="T34" fmla="*/ 1771 w 16058"/>
                <a:gd name="T35" fmla="*/ 15172 h 16058"/>
                <a:gd name="T36" fmla="*/ 1387 w 16058"/>
                <a:gd name="T37" fmla="*/ 15084 h 16058"/>
                <a:gd name="T38" fmla="*/ 1088 w 16058"/>
                <a:gd name="T39" fmla="*/ 14850 h 16058"/>
                <a:gd name="T40" fmla="*/ 913 w 16058"/>
                <a:gd name="T41" fmla="*/ 14508 h 16058"/>
                <a:gd name="T42" fmla="*/ 890 w 16058"/>
                <a:gd name="T43" fmla="*/ 14194 h 16058"/>
                <a:gd name="T44" fmla="*/ 935 w 16058"/>
                <a:gd name="T45" fmla="*/ 13998 h 16058"/>
                <a:gd name="T46" fmla="*/ 1021 w 16058"/>
                <a:gd name="T47" fmla="*/ 13820 h 16058"/>
                <a:gd name="T48" fmla="*/ 1142 w 16058"/>
                <a:gd name="T49" fmla="*/ 13667 h 16058"/>
                <a:gd name="T50" fmla="*/ 5408 w 16058"/>
                <a:gd name="T51" fmla="*/ 9863 h 16058"/>
                <a:gd name="T52" fmla="*/ 5742 w 16058"/>
                <a:gd name="T53" fmla="*/ 10234 h 16058"/>
                <a:gd name="T54" fmla="*/ 6106 w 16058"/>
                <a:gd name="T55" fmla="*/ 10575 h 16058"/>
                <a:gd name="T56" fmla="*/ 2407 w 16058"/>
                <a:gd name="T57" fmla="*/ 14900 h 16058"/>
                <a:gd name="T58" fmla="*/ 7693 w 16058"/>
                <a:gd name="T59" fmla="*/ 474 h 16058"/>
                <a:gd name="T60" fmla="*/ 5579 w 16058"/>
                <a:gd name="T61" fmla="*/ 1973 h 16058"/>
                <a:gd name="T62" fmla="*/ 4285 w 16058"/>
                <a:gd name="T63" fmla="*/ 4231 h 16058"/>
                <a:gd name="T64" fmla="*/ 4022 w 16058"/>
                <a:gd name="T65" fmla="*/ 6306 h 16058"/>
                <a:gd name="T66" fmla="*/ 4119 w 16058"/>
                <a:gd name="T67" fmla="*/ 7138 h 16058"/>
                <a:gd name="T68" fmla="*/ 4326 w 16058"/>
                <a:gd name="T69" fmla="*/ 7930 h 16058"/>
                <a:gd name="T70" fmla="*/ 4634 w 16058"/>
                <a:gd name="T71" fmla="*/ 8676 h 16058"/>
                <a:gd name="T72" fmla="*/ 386 w 16058"/>
                <a:gd name="T73" fmla="*/ 13185 h 16058"/>
                <a:gd name="T74" fmla="*/ 179 w 16058"/>
                <a:gd name="T75" fmla="*/ 13512 h 16058"/>
                <a:gd name="T76" fmla="*/ 46 w 16058"/>
                <a:gd name="T77" fmla="*/ 13883 h 16058"/>
                <a:gd name="T78" fmla="*/ 0 w 16058"/>
                <a:gd name="T79" fmla="*/ 14287 h 16058"/>
                <a:gd name="T80" fmla="*/ 175 w 16058"/>
                <a:gd name="T81" fmla="*/ 15054 h 16058"/>
                <a:gd name="T82" fmla="*/ 644 w 16058"/>
                <a:gd name="T83" fmla="*/ 15654 h 16058"/>
                <a:gd name="T84" fmla="*/ 1329 w 16058"/>
                <a:gd name="T85" fmla="*/ 16002 h 16058"/>
                <a:gd name="T86" fmla="*/ 1954 w 16058"/>
                <a:gd name="T87" fmla="*/ 16049 h 16058"/>
                <a:gd name="T88" fmla="*/ 2344 w 16058"/>
                <a:gd name="T89" fmla="*/ 15963 h 16058"/>
                <a:gd name="T90" fmla="*/ 2698 w 16058"/>
                <a:gd name="T91" fmla="*/ 15795 h 16058"/>
                <a:gd name="T92" fmla="*/ 3003 w 16058"/>
                <a:gd name="T93" fmla="*/ 15557 h 16058"/>
                <a:gd name="T94" fmla="*/ 7703 w 16058"/>
                <a:gd name="T95" fmla="*/ 11572 h 16058"/>
                <a:gd name="T96" fmla="*/ 8472 w 16058"/>
                <a:gd name="T97" fmla="*/ 11837 h 16058"/>
                <a:gd name="T98" fmla="*/ 9285 w 16058"/>
                <a:gd name="T99" fmla="*/ 11996 h 16058"/>
                <a:gd name="T100" fmla="*/ 10346 w 16058"/>
                <a:gd name="T101" fmla="*/ 12035 h 16058"/>
                <a:gd name="T102" fmla="*/ 12907 w 16058"/>
                <a:gd name="T103" fmla="*/ 11317 h 16058"/>
                <a:gd name="T104" fmla="*/ 14862 w 16058"/>
                <a:gd name="T105" fmla="*/ 9625 h 16058"/>
                <a:gd name="T106" fmla="*/ 15936 w 16058"/>
                <a:gd name="T107" fmla="*/ 7235 h 16058"/>
                <a:gd name="T108" fmla="*/ 15868 w 16058"/>
                <a:gd name="T109" fmla="*/ 4517 h 16058"/>
                <a:gd name="T110" fmla="*/ 14683 w 16058"/>
                <a:gd name="T111" fmla="*/ 2191 h 16058"/>
                <a:gd name="T112" fmla="*/ 12647 w 16058"/>
                <a:gd name="T113" fmla="*/ 594 h 16058"/>
                <a:gd name="T114" fmla="*/ 10036 w 16058"/>
                <a:gd name="T115" fmla="*/ 0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058" h="16058">
                  <a:moveTo>
                    <a:pt x="10036" y="11040"/>
                  </a:moveTo>
                  <a:lnTo>
                    <a:pt x="9778" y="11034"/>
                  </a:lnTo>
                  <a:lnTo>
                    <a:pt x="9523" y="11014"/>
                  </a:lnTo>
                  <a:lnTo>
                    <a:pt x="9272" y="10982"/>
                  </a:lnTo>
                  <a:lnTo>
                    <a:pt x="9025" y="10938"/>
                  </a:lnTo>
                  <a:lnTo>
                    <a:pt x="8783" y="10882"/>
                  </a:lnTo>
                  <a:lnTo>
                    <a:pt x="8544" y="10814"/>
                  </a:lnTo>
                  <a:lnTo>
                    <a:pt x="8311" y="10736"/>
                  </a:lnTo>
                  <a:lnTo>
                    <a:pt x="8083" y="10645"/>
                  </a:lnTo>
                  <a:lnTo>
                    <a:pt x="7860" y="10545"/>
                  </a:lnTo>
                  <a:lnTo>
                    <a:pt x="7645" y="10434"/>
                  </a:lnTo>
                  <a:lnTo>
                    <a:pt x="7435" y="10313"/>
                  </a:lnTo>
                  <a:lnTo>
                    <a:pt x="7231" y="10183"/>
                  </a:lnTo>
                  <a:lnTo>
                    <a:pt x="7034" y="10043"/>
                  </a:lnTo>
                  <a:lnTo>
                    <a:pt x="6845" y="9894"/>
                  </a:lnTo>
                  <a:lnTo>
                    <a:pt x="6662" y="9736"/>
                  </a:lnTo>
                  <a:lnTo>
                    <a:pt x="6488" y="9570"/>
                  </a:lnTo>
                  <a:lnTo>
                    <a:pt x="6322" y="9396"/>
                  </a:lnTo>
                  <a:lnTo>
                    <a:pt x="6164" y="9213"/>
                  </a:lnTo>
                  <a:lnTo>
                    <a:pt x="6015" y="9024"/>
                  </a:lnTo>
                  <a:lnTo>
                    <a:pt x="5875" y="8827"/>
                  </a:lnTo>
                  <a:lnTo>
                    <a:pt x="5745" y="8624"/>
                  </a:lnTo>
                  <a:lnTo>
                    <a:pt x="5624" y="8413"/>
                  </a:lnTo>
                  <a:lnTo>
                    <a:pt x="5513" y="8198"/>
                  </a:lnTo>
                  <a:lnTo>
                    <a:pt x="5413" y="7975"/>
                  </a:lnTo>
                  <a:lnTo>
                    <a:pt x="5322" y="7747"/>
                  </a:lnTo>
                  <a:lnTo>
                    <a:pt x="5244" y="7514"/>
                  </a:lnTo>
                  <a:lnTo>
                    <a:pt x="5176" y="7275"/>
                  </a:lnTo>
                  <a:lnTo>
                    <a:pt x="5120" y="7033"/>
                  </a:lnTo>
                  <a:lnTo>
                    <a:pt x="5076" y="6786"/>
                  </a:lnTo>
                  <a:lnTo>
                    <a:pt x="5044" y="6535"/>
                  </a:lnTo>
                  <a:lnTo>
                    <a:pt x="5025" y="6280"/>
                  </a:lnTo>
                  <a:lnTo>
                    <a:pt x="5018" y="6022"/>
                  </a:lnTo>
                  <a:lnTo>
                    <a:pt x="5025" y="5764"/>
                  </a:lnTo>
                  <a:lnTo>
                    <a:pt x="5044" y="5509"/>
                  </a:lnTo>
                  <a:lnTo>
                    <a:pt x="5076" y="5258"/>
                  </a:lnTo>
                  <a:lnTo>
                    <a:pt x="5120" y="5011"/>
                  </a:lnTo>
                  <a:lnTo>
                    <a:pt x="5176" y="4768"/>
                  </a:lnTo>
                  <a:lnTo>
                    <a:pt x="5244" y="4529"/>
                  </a:lnTo>
                  <a:lnTo>
                    <a:pt x="5322" y="4297"/>
                  </a:lnTo>
                  <a:lnTo>
                    <a:pt x="5413" y="4069"/>
                  </a:lnTo>
                  <a:lnTo>
                    <a:pt x="5513" y="3846"/>
                  </a:lnTo>
                  <a:lnTo>
                    <a:pt x="5624" y="3630"/>
                  </a:lnTo>
                  <a:lnTo>
                    <a:pt x="5745" y="3420"/>
                  </a:lnTo>
                  <a:lnTo>
                    <a:pt x="5875" y="3217"/>
                  </a:lnTo>
                  <a:lnTo>
                    <a:pt x="6015" y="3020"/>
                  </a:lnTo>
                  <a:lnTo>
                    <a:pt x="6164" y="2830"/>
                  </a:lnTo>
                  <a:lnTo>
                    <a:pt x="6322" y="2648"/>
                  </a:lnTo>
                  <a:lnTo>
                    <a:pt x="6488" y="2474"/>
                  </a:lnTo>
                  <a:lnTo>
                    <a:pt x="6662" y="2307"/>
                  </a:lnTo>
                  <a:lnTo>
                    <a:pt x="6845" y="2150"/>
                  </a:lnTo>
                  <a:lnTo>
                    <a:pt x="7034" y="2000"/>
                  </a:lnTo>
                  <a:lnTo>
                    <a:pt x="7231" y="1861"/>
                  </a:lnTo>
                  <a:lnTo>
                    <a:pt x="7435" y="1730"/>
                  </a:lnTo>
                  <a:lnTo>
                    <a:pt x="7645" y="1610"/>
                  </a:lnTo>
                  <a:lnTo>
                    <a:pt x="7860" y="1498"/>
                  </a:lnTo>
                  <a:lnTo>
                    <a:pt x="8083" y="1398"/>
                  </a:lnTo>
                  <a:lnTo>
                    <a:pt x="8311" y="1308"/>
                  </a:lnTo>
                  <a:lnTo>
                    <a:pt x="8544" y="1229"/>
                  </a:lnTo>
                  <a:lnTo>
                    <a:pt x="8783" y="1161"/>
                  </a:lnTo>
                  <a:lnTo>
                    <a:pt x="9025" y="1106"/>
                  </a:lnTo>
                  <a:lnTo>
                    <a:pt x="9272" y="1062"/>
                  </a:lnTo>
                  <a:lnTo>
                    <a:pt x="9523" y="1030"/>
                  </a:lnTo>
                  <a:lnTo>
                    <a:pt x="9778" y="1010"/>
                  </a:lnTo>
                  <a:lnTo>
                    <a:pt x="10036" y="1004"/>
                  </a:lnTo>
                  <a:lnTo>
                    <a:pt x="10294" y="1010"/>
                  </a:lnTo>
                  <a:lnTo>
                    <a:pt x="10549" y="1030"/>
                  </a:lnTo>
                  <a:lnTo>
                    <a:pt x="10800" y="1062"/>
                  </a:lnTo>
                  <a:lnTo>
                    <a:pt x="11048" y="1106"/>
                  </a:lnTo>
                  <a:lnTo>
                    <a:pt x="11291" y="1161"/>
                  </a:lnTo>
                  <a:lnTo>
                    <a:pt x="11529" y="1229"/>
                  </a:lnTo>
                  <a:lnTo>
                    <a:pt x="11761" y="1308"/>
                  </a:lnTo>
                  <a:lnTo>
                    <a:pt x="11989" y="1398"/>
                  </a:lnTo>
                  <a:lnTo>
                    <a:pt x="12212" y="1498"/>
                  </a:lnTo>
                  <a:lnTo>
                    <a:pt x="12428" y="1610"/>
                  </a:lnTo>
                  <a:lnTo>
                    <a:pt x="12639" y="1730"/>
                  </a:lnTo>
                  <a:lnTo>
                    <a:pt x="12841" y="1861"/>
                  </a:lnTo>
                  <a:lnTo>
                    <a:pt x="13038" y="2000"/>
                  </a:lnTo>
                  <a:lnTo>
                    <a:pt x="13228" y="2150"/>
                  </a:lnTo>
                  <a:lnTo>
                    <a:pt x="13410" y="2307"/>
                  </a:lnTo>
                  <a:lnTo>
                    <a:pt x="13584" y="2474"/>
                  </a:lnTo>
                  <a:lnTo>
                    <a:pt x="13751" y="2648"/>
                  </a:lnTo>
                  <a:lnTo>
                    <a:pt x="13908" y="2830"/>
                  </a:lnTo>
                  <a:lnTo>
                    <a:pt x="14058" y="3020"/>
                  </a:lnTo>
                  <a:lnTo>
                    <a:pt x="14197" y="3217"/>
                  </a:lnTo>
                  <a:lnTo>
                    <a:pt x="14328" y="3420"/>
                  </a:lnTo>
                  <a:lnTo>
                    <a:pt x="14448" y="3630"/>
                  </a:lnTo>
                  <a:lnTo>
                    <a:pt x="14560" y="3846"/>
                  </a:lnTo>
                  <a:lnTo>
                    <a:pt x="14660" y="4069"/>
                  </a:lnTo>
                  <a:lnTo>
                    <a:pt x="14750" y="4297"/>
                  </a:lnTo>
                  <a:lnTo>
                    <a:pt x="14829" y="4529"/>
                  </a:lnTo>
                  <a:lnTo>
                    <a:pt x="14897" y="4768"/>
                  </a:lnTo>
                  <a:lnTo>
                    <a:pt x="14952" y="5011"/>
                  </a:lnTo>
                  <a:lnTo>
                    <a:pt x="14996" y="5258"/>
                  </a:lnTo>
                  <a:lnTo>
                    <a:pt x="15028" y="5509"/>
                  </a:lnTo>
                  <a:lnTo>
                    <a:pt x="15048" y="5764"/>
                  </a:lnTo>
                  <a:lnTo>
                    <a:pt x="15054" y="6022"/>
                  </a:lnTo>
                  <a:lnTo>
                    <a:pt x="15048" y="6280"/>
                  </a:lnTo>
                  <a:lnTo>
                    <a:pt x="15028" y="6535"/>
                  </a:lnTo>
                  <a:lnTo>
                    <a:pt x="14996" y="6786"/>
                  </a:lnTo>
                  <a:lnTo>
                    <a:pt x="14952" y="7033"/>
                  </a:lnTo>
                  <a:lnTo>
                    <a:pt x="14897" y="7275"/>
                  </a:lnTo>
                  <a:lnTo>
                    <a:pt x="14829" y="7514"/>
                  </a:lnTo>
                  <a:lnTo>
                    <a:pt x="14750" y="7747"/>
                  </a:lnTo>
                  <a:lnTo>
                    <a:pt x="14660" y="7975"/>
                  </a:lnTo>
                  <a:lnTo>
                    <a:pt x="14560" y="8198"/>
                  </a:lnTo>
                  <a:lnTo>
                    <a:pt x="14448" y="8413"/>
                  </a:lnTo>
                  <a:lnTo>
                    <a:pt x="14328" y="8624"/>
                  </a:lnTo>
                  <a:lnTo>
                    <a:pt x="14197" y="8827"/>
                  </a:lnTo>
                  <a:lnTo>
                    <a:pt x="14058" y="9024"/>
                  </a:lnTo>
                  <a:lnTo>
                    <a:pt x="13908" y="9213"/>
                  </a:lnTo>
                  <a:lnTo>
                    <a:pt x="13751" y="9396"/>
                  </a:lnTo>
                  <a:lnTo>
                    <a:pt x="13584" y="9570"/>
                  </a:lnTo>
                  <a:lnTo>
                    <a:pt x="13410" y="9736"/>
                  </a:lnTo>
                  <a:lnTo>
                    <a:pt x="13228" y="9894"/>
                  </a:lnTo>
                  <a:lnTo>
                    <a:pt x="13038" y="10043"/>
                  </a:lnTo>
                  <a:lnTo>
                    <a:pt x="12841" y="10183"/>
                  </a:lnTo>
                  <a:lnTo>
                    <a:pt x="12639" y="10313"/>
                  </a:lnTo>
                  <a:lnTo>
                    <a:pt x="12428" y="10434"/>
                  </a:lnTo>
                  <a:lnTo>
                    <a:pt x="12212" y="10545"/>
                  </a:lnTo>
                  <a:lnTo>
                    <a:pt x="11989" y="10645"/>
                  </a:lnTo>
                  <a:lnTo>
                    <a:pt x="11761" y="10736"/>
                  </a:lnTo>
                  <a:lnTo>
                    <a:pt x="11529" y="10814"/>
                  </a:lnTo>
                  <a:lnTo>
                    <a:pt x="11291" y="10882"/>
                  </a:lnTo>
                  <a:lnTo>
                    <a:pt x="11048" y="10938"/>
                  </a:lnTo>
                  <a:lnTo>
                    <a:pt x="10800" y="10982"/>
                  </a:lnTo>
                  <a:lnTo>
                    <a:pt x="10549" y="11014"/>
                  </a:lnTo>
                  <a:lnTo>
                    <a:pt x="10294" y="11034"/>
                  </a:lnTo>
                  <a:lnTo>
                    <a:pt x="10036" y="11040"/>
                  </a:lnTo>
                  <a:close/>
                  <a:moveTo>
                    <a:pt x="2407" y="14900"/>
                  </a:moveTo>
                  <a:lnTo>
                    <a:pt x="2391" y="14915"/>
                  </a:lnTo>
                  <a:lnTo>
                    <a:pt x="2376" y="14930"/>
                  </a:lnTo>
                  <a:lnTo>
                    <a:pt x="2360" y="14945"/>
                  </a:lnTo>
                  <a:lnTo>
                    <a:pt x="2342" y="14959"/>
                  </a:lnTo>
                  <a:lnTo>
                    <a:pt x="2326" y="14973"/>
                  </a:lnTo>
                  <a:lnTo>
                    <a:pt x="2309" y="14987"/>
                  </a:lnTo>
                  <a:lnTo>
                    <a:pt x="2291" y="15000"/>
                  </a:lnTo>
                  <a:lnTo>
                    <a:pt x="2274" y="15013"/>
                  </a:lnTo>
                  <a:lnTo>
                    <a:pt x="2256" y="15025"/>
                  </a:lnTo>
                  <a:lnTo>
                    <a:pt x="2238" y="15037"/>
                  </a:lnTo>
                  <a:lnTo>
                    <a:pt x="2219" y="15048"/>
                  </a:lnTo>
                  <a:lnTo>
                    <a:pt x="2200" y="15059"/>
                  </a:lnTo>
                  <a:lnTo>
                    <a:pt x="2181" y="15069"/>
                  </a:lnTo>
                  <a:lnTo>
                    <a:pt x="2162" y="15080"/>
                  </a:lnTo>
                  <a:lnTo>
                    <a:pt x="2142" y="15090"/>
                  </a:lnTo>
                  <a:lnTo>
                    <a:pt x="2122" y="15099"/>
                  </a:lnTo>
                  <a:lnTo>
                    <a:pt x="2102" y="15108"/>
                  </a:lnTo>
                  <a:lnTo>
                    <a:pt x="2081" y="15116"/>
                  </a:lnTo>
                  <a:lnTo>
                    <a:pt x="2060" y="15123"/>
                  </a:lnTo>
                  <a:lnTo>
                    <a:pt x="2039" y="15130"/>
                  </a:lnTo>
                  <a:lnTo>
                    <a:pt x="2018" y="15137"/>
                  </a:lnTo>
                  <a:lnTo>
                    <a:pt x="1996" y="15143"/>
                  </a:lnTo>
                  <a:lnTo>
                    <a:pt x="1975" y="15148"/>
                  </a:lnTo>
                  <a:lnTo>
                    <a:pt x="1953" y="15153"/>
                  </a:lnTo>
                  <a:lnTo>
                    <a:pt x="1931" y="15158"/>
                  </a:lnTo>
                  <a:lnTo>
                    <a:pt x="1909" y="15162"/>
                  </a:lnTo>
                  <a:lnTo>
                    <a:pt x="1886" y="15165"/>
                  </a:lnTo>
                  <a:lnTo>
                    <a:pt x="1864" y="15168"/>
                  </a:lnTo>
                  <a:lnTo>
                    <a:pt x="1841" y="15170"/>
                  </a:lnTo>
                  <a:lnTo>
                    <a:pt x="1818" y="15171"/>
                  </a:lnTo>
                  <a:lnTo>
                    <a:pt x="1794" y="15172"/>
                  </a:lnTo>
                  <a:lnTo>
                    <a:pt x="1771" y="15172"/>
                  </a:lnTo>
                  <a:lnTo>
                    <a:pt x="1725" y="15171"/>
                  </a:lnTo>
                  <a:lnTo>
                    <a:pt x="1680" y="15168"/>
                  </a:lnTo>
                  <a:lnTo>
                    <a:pt x="1636" y="15162"/>
                  </a:lnTo>
                  <a:lnTo>
                    <a:pt x="1593" y="15154"/>
                  </a:lnTo>
                  <a:lnTo>
                    <a:pt x="1550" y="15145"/>
                  </a:lnTo>
                  <a:lnTo>
                    <a:pt x="1507" y="15133"/>
                  </a:lnTo>
                  <a:lnTo>
                    <a:pt x="1466" y="15119"/>
                  </a:lnTo>
                  <a:lnTo>
                    <a:pt x="1426" y="15103"/>
                  </a:lnTo>
                  <a:lnTo>
                    <a:pt x="1387" y="15084"/>
                  </a:lnTo>
                  <a:lnTo>
                    <a:pt x="1349" y="15065"/>
                  </a:lnTo>
                  <a:lnTo>
                    <a:pt x="1312" y="15044"/>
                  </a:lnTo>
                  <a:lnTo>
                    <a:pt x="1276" y="15021"/>
                  </a:lnTo>
                  <a:lnTo>
                    <a:pt x="1241" y="14996"/>
                  </a:lnTo>
                  <a:lnTo>
                    <a:pt x="1208" y="14970"/>
                  </a:lnTo>
                  <a:lnTo>
                    <a:pt x="1176" y="14942"/>
                  </a:lnTo>
                  <a:lnTo>
                    <a:pt x="1145" y="14913"/>
                  </a:lnTo>
                  <a:lnTo>
                    <a:pt x="1116" y="14882"/>
                  </a:lnTo>
                  <a:lnTo>
                    <a:pt x="1088" y="14850"/>
                  </a:lnTo>
                  <a:lnTo>
                    <a:pt x="1062" y="14817"/>
                  </a:lnTo>
                  <a:lnTo>
                    <a:pt x="1037" y="14782"/>
                  </a:lnTo>
                  <a:lnTo>
                    <a:pt x="1014" y="14746"/>
                  </a:lnTo>
                  <a:lnTo>
                    <a:pt x="993" y="14709"/>
                  </a:lnTo>
                  <a:lnTo>
                    <a:pt x="974" y="14671"/>
                  </a:lnTo>
                  <a:lnTo>
                    <a:pt x="955" y="14632"/>
                  </a:lnTo>
                  <a:lnTo>
                    <a:pt x="939" y="14592"/>
                  </a:lnTo>
                  <a:lnTo>
                    <a:pt x="925" y="14551"/>
                  </a:lnTo>
                  <a:lnTo>
                    <a:pt x="913" y="14508"/>
                  </a:lnTo>
                  <a:lnTo>
                    <a:pt x="903" y="14465"/>
                  </a:lnTo>
                  <a:lnTo>
                    <a:pt x="896" y="14422"/>
                  </a:lnTo>
                  <a:lnTo>
                    <a:pt x="890" y="14378"/>
                  </a:lnTo>
                  <a:lnTo>
                    <a:pt x="887" y="14333"/>
                  </a:lnTo>
                  <a:lnTo>
                    <a:pt x="886" y="14287"/>
                  </a:lnTo>
                  <a:lnTo>
                    <a:pt x="886" y="14264"/>
                  </a:lnTo>
                  <a:lnTo>
                    <a:pt x="887" y="14240"/>
                  </a:lnTo>
                  <a:lnTo>
                    <a:pt x="888" y="14217"/>
                  </a:lnTo>
                  <a:lnTo>
                    <a:pt x="890" y="14194"/>
                  </a:lnTo>
                  <a:lnTo>
                    <a:pt x="893" y="14172"/>
                  </a:lnTo>
                  <a:lnTo>
                    <a:pt x="896" y="14149"/>
                  </a:lnTo>
                  <a:lnTo>
                    <a:pt x="900" y="14127"/>
                  </a:lnTo>
                  <a:lnTo>
                    <a:pt x="905" y="14105"/>
                  </a:lnTo>
                  <a:lnTo>
                    <a:pt x="910" y="14083"/>
                  </a:lnTo>
                  <a:lnTo>
                    <a:pt x="915" y="14062"/>
                  </a:lnTo>
                  <a:lnTo>
                    <a:pt x="921" y="14040"/>
                  </a:lnTo>
                  <a:lnTo>
                    <a:pt x="928" y="14019"/>
                  </a:lnTo>
                  <a:lnTo>
                    <a:pt x="935" y="13998"/>
                  </a:lnTo>
                  <a:lnTo>
                    <a:pt x="942" y="13977"/>
                  </a:lnTo>
                  <a:lnTo>
                    <a:pt x="950" y="13956"/>
                  </a:lnTo>
                  <a:lnTo>
                    <a:pt x="959" y="13936"/>
                  </a:lnTo>
                  <a:lnTo>
                    <a:pt x="968" y="13916"/>
                  </a:lnTo>
                  <a:lnTo>
                    <a:pt x="978" y="13896"/>
                  </a:lnTo>
                  <a:lnTo>
                    <a:pt x="988" y="13877"/>
                  </a:lnTo>
                  <a:lnTo>
                    <a:pt x="999" y="13858"/>
                  </a:lnTo>
                  <a:lnTo>
                    <a:pt x="1010" y="13839"/>
                  </a:lnTo>
                  <a:lnTo>
                    <a:pt x="1021" y="13820"/>
                  </a:lnTo>
                  <a:lnTo>
                    <a:pt x="1033" y="13802"/>
                  </a:lnTo>
                  <a:lnTo>
                    <a:pt x="1045" y="13784"/>
                  </a:lnTo>
                  <a:lnTo>
                    <a:pt x="1058" y="13767"/>
                  </a:lnTo>
                  <a:lnTo>
                    <a:pt x="1071" y="13749"/>
                  </a:lnTo>
                  <a:lnTo>
                    <a:pt x="1085" y="13732"/>
                  </a:lnTo>
                  <a:lnTo>
                    <a:pt x="1099" y="13716"/>
                  </a:lnTo>
                  <a:lnTo>
                    <a:pt x="1113" y="13698"/>
                  </a:lnTo>
                  <a:lnTo>
                    <a:pt x="1127" y="13682"/>
                  </a:lnTo>
                  <a:lnTo>
                    <a:pt x="1142" y="13667"/>
                  </a:lnTo>
                  <a:lnTo>
                    <a:pt x="1158" y="13651"/>
                  </a:lnTo>
                  <a:lnTo>
                    <a:pt x="1154" y="13647"/>
                  </a:lnTo>
                  <a:lnTo>
                    <a:pt x="5202" y="9601"/>
                  </a:lnTo>
                  <a:lnTo>
                    <a:pt x="5235" y="9645"/>
                  </a:lnTo>
                  <a:lnTo>
                    <a:pt x="5268" y="9689"/>
                  </a:lnTo>
                  <a:lnTo>
                    <a:pt x="5302" y="9733"/>
                  </a:lnTo>
                  <a:lnTo>
                    <a:pt x="5337" y="9776"/>
                  </a:lnTo>
                  <a:lnTo>
                    <a:pt x="5372" y="9819"/>
                  </a:lnTo>
                  <a:lnTo>
                    <a:pt x="5408" y="9863"/>
                  </a:lnTo>
                  <a:lnTo>
                    <a:pt x="5443" y="9906"/>
                  </a:lnTo>
                  <a:lnTo>
                    <a:pt x="5479" y="9948"/>
                  </a:lnTo>
                  <a:lnTo>
                    <a:pt x="5516" y="9989"/>
                  </a:lnTo>
                  <a:lnTo>
                    <a:pt x="5552" y="10031"/>
                  </a:lnTo>
                  <a:lnTo>
                    <a:pt x="5589" y="10072"/>
                  </a:lnTo>
                  <a:lnTo>
                    <a:pt x="5627" y="10114"/>
                  </a:lnTo>
                  <a:lnTo>
                    <a:pt x="5665" y="10154"/>
                  </a:lnTo>
                  <a:lnTo>
                    <a:pt x="5704" y="10194"/>
                  </a:lnTo>
                  <a:lnTo>
                    <a:pt x="5742" y="10234"/>
                  </a:lnTo>
                  <a:lnTo>
                    <a:pt x="5781" y="10273"/>
                  </a:lnTo>
                  <a:lnTo>
                    <a:pt x="5820" y="10312"/>
                  </a:lnTo>
                  <a:lnTo>
                    <a:pt x="5860" y="10350"/>
                  </a:lnTo>
                  <a:lnTo>
                    <a:pt x="5900" y="10390"/>
                  </a:lnTo>
                  <a:lnTo>
                    <a:pt x="5940" y="10427"/>
                  </a:lnTo>
                  <a:lnTo>
                    <a:pt x="5982" y="10465"/>
                  </a:lnTo>
                  <a:lnTo>
                    <a:pt x="6023" y="10502"/>
                  </a:lnTo>
                  <a:lnTo>
                    <a:pt x="6064" y="10539"/>
                  </a:lnTo>
                  <a:lnTo>
                    <a:pt x="6106" y="10575"/>
                  </a:lnTo>
                  <a:lnTo>
                    <a:pt x="6148" y="10611"/>
                  </a:lnTo>
                  <a:lnTo>
                    <a:pt x="6190" y="10647"/>
                  </a:lnTo>
                  <a:lnTo>
                    <a:pt x="6234" y="10683"/>
                  </a:lnTo>
                  <a:lnTo>
                    <a:pt x="6277" y="10718"/>
                  </a:lnTo>
                  <a:lnTo>
                    <a:pt x="6320" y="10752"/>
                  </a:lnTo>
                  <a:lnTo>
                    <a:pt x="6364" y="10786"/>
                  </a:lnTo>
                  <a:lnTo>
                    <a:pt x="6408" y="10820"/>
                  </a:lnTo>
                  <a:lnTo>
                    <a:pt x="6453" y="10854"/>
                  </a:lnTo>
                  <a:lnTo>
                    <a:pt x="2407" y="14900"/>
                  </a:lnTo>
                  <a:close/>
                  <a:moveTo>
                    <a:pt x="10036" y="0"/>
                  </a:moveTo>
                  <a:lnTo>
                    <a:pt x="9726" y="8"/>
                  </a:lnTo>
                  <a:lnTo>
                    <a:pt x="9421" y="31"/>
                  </a:lnTo>
                  <a:lnTo>
                    <a:pt x="9119" y="69"/>
                  </a:lnTo>
                  <a:lnTo>
                    <a:pt x="8823" y="122"/>
                  </a:lnTo>
                  <a:lnTo>
                    <a:pt x="8532" y="190"/>
                  </a:lnTo>
                  <a:lnTo>
                    <a:pt x="8246" y="271"/>
                  </a:lnTo>
                  <a:lnTo>
                    <a:pt x="7966" y="365"/>
                  </a:lnTo>
                  <a:lnTo>
                    <a:pt x="7693" y="474"/>
                  </a:lnTo>
                  <a:lnTo>
                    <a:pt x="7426" y="594"/>
                  </a:lnTo>
                  <a:lnTo>
                    <a:pt x="7166" y="727"/>
                  </a:lnTo>
                  <a:lnTo>
                    <a:pt x="6914" y="872"/>
                  </a:lnTo>
                  <a:lnTo>
                    <a:pt x="6669" y="1029"/>
                  </a:lnTo>
                  <a:lnTo>
                    <a:pt x="6433" y="1196"/>
                  </a:lnTo>
                  <a:lnTo>
                    <a:pt x="6206" y="1375"/>
                  </a:lnTo>
                  <a:lnTo>
                    <a:pt x="5988" y="1565"/>
                  </a:lnTo>
                  <a:lnTo>
                    <a:pt x="5778" y="1763"/>
                  </a:lnTo>
                  <a:lnTo>
                    <a:pt x="5579" y="1973"/>
                  </a:lnTo>
                  <a:lnTo>
                    <a:pt x="5389" y="2191"/>
                  </a:lnTo>
                  <a:lnTo>
                    <a:pt x="5211" y="2419"/>
                  </a:lnTo>
                  <a:lnTo>
                    <a:pt x="5043" y="2655"/>
                  </a:lnTo>
                  <a:lnTo>
                    <a:pt x="4887" y="2899"/>
                  </a:lnTo>
                  <a:lnTo>
                    <a:pt x="4741" y="3151"/>
                  </a:lnTo>
                  <a:lnTo>
                    <a:pt x="4609" y="3411"/>
                  </a:lnTo>
                  <a:lnTo>
                    <a:pt x="4488" y="3678"/>
                  </a:lnTo>
                  <a:lnTo>
                    <a:pt x="4380" y="3951"/>
                  </a:lnTo>
                  <a:lnTo>
                    <a:pt x="4285" y="4231"/>
                  </a:lnTo>
                  <a:lnTo>
                    <a:pt x="4204" y="4517"/>
                  </a:lnTo>
                  <a:lnTo>
                    <a:pt x="4137" y="4808"/>
                  </a:lnTo>
                  <a:lnTo>
                    <a:pt x="4084" y="5104"/>
                  </a:lnTo>
                  <a:lnTo>
                    <a:pt x="4046" y="5407"/>
                  </a:lnTo>
                  <a:lnTo>
                    <a:pt x="4023" y="5712"/>
                  </a:lnTo>
                  <a:lnTo>
                    <a:pt x="4015" y="6022"/>
                  </a:lnTo>
                  <a:lnTo>
                    <a:pt x="4016" y="6117"/>
                  </a:lnTo>
                  <a:lnTo>
                    <a:pt x="4018" y="6211"/>
                  </a:lnTo>
                  <a:lnTo>
                    <a:pt x="4022" y="6306"/>
                  </a:lnTo>
                  <a:lnTo>
                    <a:pt x="4027" y="6400"/>
                  </a:lnTo>
                  <a:lnTo>
                    <a:pt x="4033" y="6493"/>
                  </a:lnTo>
                  <a:lnTo>
                    <a:pt x="4041" y="6587"/>
                  </a:lnTo>
                  <a:lnTo>
                    <a:pt x="4051" y="6680"/>
                  </a:lnTo>
                  <a:lnTo>
                    <a:pt x="4062" y="6772"/>
                  </a:lnTo>
                  <a:lnTo>
                    <a:pt x="4074" y="6864"/>
                  </a:lnTo>
                  <a:lnTo>
                    <a:pt x="4087" y="6956"/>
                  </a:lnTo>
                  <a:lnTo>
                    <a:pt x="4102" y="7046"/>
                  </a:lnTo>
                  <a:lnTo>
                    <a:pt x="4119" y="7138"/>
                  </a:lnTo>
                  <a:lnTo>
                    <a:pt x="4136" y="7227"/>
                  </a:lnTo>
                  <a:lnTo>
                    <a:pt x="4155" y="7317"/>
                  </a:lnTo>
                  <a:lnTo>
                    <a:pt x="4176" y="7406"/>
                  </a:lnTo>
                  <a:lnTo>
                    <a:pt x="4197" y="7495"/>
                  </a:lnTo>
                  <a:lnTo>
                    <a:pt x="4220" y="7583"/>
                  </a:lnTo>
                  <a:lnTo>
                    <a:pt x="4244" y="7671"/>
                  </a:lnTo>
                  <a:lnTo>
                    <a:pt x="4270" y="7758"/>
                  </a:lnTo>
                  <a:lnTo>
                    <a:pt x="4298" y="7844"/>
                  </a:lnTo>
                  <a:lnTo>
                    <a:pt x="4326" y="7930"/>
                  </a:lnTo>
                  <a:lnTo>
                    <a:pt x="4355" y="8015"/>
                  </a:lnTo>
                  <a:lnTo>
                    <a:pt x="4386" y="8100"/>
                  </a:lnTo>
                  <a:lnTo>
                    <a:pt x="4417" y="8185"/>
                  </a:lnTo>
                  <a:lnTo>
                    <a:pt x="4450" y="8268"/>
                  </a:lnTo>
                  <a:lnTo>
                    <a:pt x="4484" y="8351"/>
                  </a:lnTo>
                  <a:lnTo>
                    <a:pt x="4520" y="8433"/>
                  </a:lnTo>
                  <a:lnTo>
                    <a:pt x="4556" y="8515"/>
                  </a:lnTo>
                  <a:lnTo>
                    <a:pt x="4595" y="8596"/>
                  </a:lnTo>
                  <a:lnTo>
                    <a:pt x="4634" y="8676"/>
                  </a:lnTo>
                  <a:lnTo>
                    <a:pt x="4673" y="8757"/>
                  </a:lnTo>
                  <a:lnTo>
                    <a:pt x="4715" y="8835"/>
                  </a:lnTo>
                  <a:lnTo>
                    <a:pt x="528" y="13021"/>
                  </a:lnTo>
                  <a:lnTo>
                    <a:pt x="531" y="13025"/>
                  </a:lnTo>
                  <a:lnTo>
                    <a:pt x="501" y="13055"/>
                  </a:lnTo>
                  <a:lnTo>
                    <a:pt x="471" y="13086"/>
                  </a:lnTo>
                  <a:lnTo>
                    <a:pt x="443" y="13118"/>
                  </a:lnTo>
                  <a:lnTo>
                    <a:pt x="414" y="13152"/>
                  </a:lnTo>
                  <a:lnTo>
                    <a:pt x="386" y="13185"/>
                  </a:lnTo>
                  <a:lnTo>
                    <a:pt x="360" y="13219"/>
                  </a:lnTo>
                  <a:lnTo>
                    <a:pt x="335" y="13253"/>
                  </a:lnTo>
                  <a:lnTo>
                    <a:pt x="310" y="13288"/>
                  </a:lnTo>
                  <a:lnTo>
                    <a:pt x="286" y="13324"/>
                  </a:lnTo>
                  <a:lnTo>
                    <a:pt x="263" y="13360"/>
                  </a:lnTo>
                  <a:lnTo>
                    <a:pt x="241" y="13397"/>
                  </a:lnTo>
                  <a:lnTo>
                    <a:pt x="219" y="13436"/>
                  </a:lnTo>
                  <a:lnTo>
                    <a:pt x="199" y="13474"/>
                  </a:lnTo>
                  <a:lnTo>
                    <a:pt x="179" y="13512"/>
                  </a:lnTo>
                  <a:lnTo>
                    <a:pt x="161" y="13551"/>
                  </a:lnTo>
                  <a:lnTo>
                    <a:pt x="143" y="13591"/>
                  </a:lnTo>
                  <a:lnTo>
                    <a:pt x="126" y="13631"/>
                  </a:lnTo>
                  <a:lnTo>
                    <a:pt x="110" y="13672"/>
                  </a:lnTo>
                  <a:lnTo>
                    <a:pt x="95" y="13714"/>
                  </a:lnTo>
                  <a:lnTo>
                    <a:pt x="81" y="13755"/>
                  </a:lnTo>
                  <a:lnTo>
                    <a:pt x="69" y="13797"/>
                  </a:lnTo>
                  <a:lnTo>
                    <a:pt x="57" y="13840"/>
                  </a:lnTo>
                  <a:lnTo>
                    <a:pt x="46" y="13883"/>
                  </a:lnTo>
                  <a:lnTo>
                    <a:pt x="37" y="13926"/>
                  </a:lnTo>
                  <a:lnTo>
                    <a:pt x="28" y="13970"/>
                  </a:lnTo>
                  <a:lnTo>
                    <a:pt x="21" y="14015"/>
                  </a:lnTo>
                  <a:lnTo>
                    <a:pt x="15" y="14059"/>
                  </a:lnTo>
                  <a:lnTo>
                    <a:pt x="9" y="14104"/>
                  </a:lnTo>
                  <a:lnTo>
                    <a:pt x="5" y="14149"/>
                  </a:lnTo>
                  <a:lnTo>
                    <a:pt x="2" y="14195"/>
                  </a:lnTo>
                  <a:lnTo>
                    <a:pt x="1" y="14240"/>
                  </a:lnTo>
                  <a:lnTo>
                    <a:pt x="0" y="14287"/>
                  </a:lnTo>
                  <a:lnTo>
                    <a:pt x="2" y="14378"/>
                  </a:lnTo>
                  <a:lnTo>
                    <a:pt x="9" y="14468"/>
                  </a:lnTo>
                  <a:lnTo>
                    <a:pt x="20" y="14557"/>
                  </a:lnTo>
                  <a:lnTo>
                    <a:pt x="36" y="14644"/>
                  </a:lnTo>
                  <a:lnTo>
                    <a:pt x="56" y="14729"/>
                  </a:lnTo>
                  <a:lnTo>
                    <a:pt x="79" y="14814"/>
                  </a:lnTo>
                  <a:lnTo>
                    <a:pt x="107" y="14896"/>
                  </a:lnTo>
                  <a:lnTo>
                    <a:pt x="140" y="14976"/>
                  </a:lnTo>
                  <a:lnTo>
                    <a:pt x="175" y="15054"/>
                  </a:lnTo>
                  <a:lnTo>
                    <a:pt x="214" y="15132"/>
                  </a:lnTo>
                  <a:lnTo>
                    <a:pt x="256" y="15205"/>
                  </a:lnTo>
                  <a:lnTo>
                    <a:pt x="302" y="15277"/>
                  </a:lnTo>
                  <a:lnTo>
                    <a:pt x="352" y="15346"/>
                  </a:lnTo>
                  <a:lnTo>
                    <a:pt x="404" y="15414"/>
                  </a:lnTo>
                  <a:lnTo>
                    <a:pt x="460" y="15478"/>
                  </a:lnTo>
                  <a:lnTo>
                    <a:pt x="519" y="15539"/>
                  </a:lnTo>
                  <a:lnTo>
                    <a:pt x="580" y="15598"/>
                  </a:lnTo>
                  <a:lnTo>
                    <a:pt x="644" y="15654"/>
                  </a:lnTo>
                  <a:lnTo>
                    <a:pt x="712" y="15706"/>
                  </a:lnTo>
                  <a:lnTo>
                    <a:pt x="781" y="15756"/>
                  </a:lnTo>
                  <a:lnTo>
                    <a:pt x="853" y="15801"/>
                  </a:lnTo>
                  <a:lnTo>
                    <a:pt x="926" y="15844"/>
                  </a:lnTo>
                  <a:lnTo>
                    <a:pt x="1004" y="15883"/>
                  </a:lnTo>
                  <a:lnTo>
                    <a:pt x="1082" y="15918"/>
                  </a:lnTo>
                  <a:lnTo>
                    <a:pt x="1162" y="15951"/>
                  </a:lnTo>
                  <a:lnTo>
                    <a:pt x="1244" y="15979"/>
                  </a:lnTo>
                  <a:lnTo>
                    <a:pt x="1329" y="16002"/>
                  </a:lnTo>
                  <a:lnTo>
                    <a:pt x="1414" y="16022"/>
                  </a:lnTo>
                  <a:lnTo>
                    <a:pt x="1501" y="16038"/>
                  </a:lnTo>
                  <a:lnTo>
                    <a:pt x="1590" y="16049"/>
                  </a:lnTo>
                  <a:lnTo>
                    <a:pt x="1680" y="16056"/>
                  </a:lnTo>
                  <a:lnTo>
                    <a:pt x="1771" y="16058"/>
                  </a:lnTo>
                  <a:lnTo>
                    <a:pt x="1818" y="16057"/>
                  </a:lnTo>
                  <a:lnTo>
                    <a:pt x="1863" y="16056"/>
                  </a:lnTo>
                  <a:lnTo>
                    <a:pt x="1909" y="16053"/>
                  </a:lnTo>
                  <a:lnTo>
                    <a:pt x="1954" y="16049"/>
                  </a:lnTo>
                  <a:lnTo>
                    <a:pt x="1999" y="16043"/>
                  </a:lnTo>
                  <a:lnTo>
                    <a:pt x="2043" y="16037"/>
                  </a:lnTo>
                  <a:lnTo>
                    <a:pt x="2088" y="16030"/>
                  </a:lnTo>
                  <a:lnTo>
                    <a:pt x="2132" y="16021"/>
                  </a:lnTo>
                  <a:lnTo>
                    <a:pt x="2175" y="16012"/>
                  </a:lnTo>
                  <a:lnTo>
                    <a:pt x="2218" y="16001"/>
                  </a:lnTo>
                  <a:lnTo>
                    <a:pt x="2261" y="15989"/>
                  </a:lnTo>
                  <a:lnTo>
                    <a:pt x="2302" y="15977"/>
                  </a:lnTo>
                  <a:lnTo>
                    <a:pt x="2344" y="15963"/>
                  </a:lnTo>
                  <a:lnTo>
                    <a:pt x="2386" y="15948"/>
                  </a:lnTo>
                  <a:lnTo>
                    <a:pt x="2427" y="15932"/>
                  </a:lnTo>
                  <a:lnTo>
                    <a:pt x="2467" y="15915"/>
                  </a:lnTo>
                  <a:lnTo>
                    <a:pt x="2507" y="15897"/>
                  </a:lnTo>
                  <a:lnTo>
                    <a:pt x="2546" y="15878"/>
                  </a:lnTo>
                  <a:lnTo>
                    <a:pt x="2584" y="15859"/>
                  </a:lnTo>
                  <a:lnTo>
                    <a:pt x="2622" y="15839"/>
                  </a:lnTo>
                  <a:lnTo>
                    <a:pt x="2661" y="15817"/>
                  </a:lnTo>
                  <a:lnTo>
                    <a:pt x="2698" y="15795"/>
                  </a:lnTo>
                  <a:lnTo>
                    <a:pt x="2734" y="15772"/>
                  </a:lnTo>
                  <a:lnTo>
                    <a:pt x="2770" y="15748"/>
                  </a:lnTo>
                  <a:lnTo>
                    <a:pt x="2805" y="15723"/>
                  </a:lnTo>
                  <a:lnTo>
                    <a:pt x="2839" y="15698"/>
                  </a:lnTo>
                  <a:lnTo>
                    <a:pt x="2873" y="15671"/>
                  </a:lnTo>
                  <a:lnTo>
                    <a:pt x="2906" y="15644"/>
                  </a:lnTo>
                  <a:lnTo>
                    <a:pt x="2940" y="15615"/>
                  </a:lnTo>
                  <a:lnTo>
                    <a:pt x="2971" y="15587"/>
                  </a:lnTo>
                  <a:lnTo>
                    <a:pt x="3003" y="15557"/>
                  </a:lnTo>
                  <a:lnTo>
                    <a:pt x="3033" y="15527"/>
                  </a:lnTo>
                  <a:lnTo>
                    <a:pt x="3032" y="15526"/>
                  </a:lnTo>
                  <a:lnTo>
                    <a:pt x="7217" y="11342"/>
                  </a:lnTo>
                  <a:lnTo>
                    <a:pt x="7296" y="11383"/>
                  </a:lnTo>
                  <a:lnTo>
                    <a:pt x="7377" y="11423"/>
                  </a:lnTo>
                  <a:lnTo>
                    <a:pt x="7457" y="11462"/>
                  </a:lnTo>
                  <a:lnTo>
                    <a:pt x="7538" y="11500"/>
                  </a:lnTo>
                  <a:lnTo>
                    <a:pt x="7621" y="11537"/>
                  </a:lnTo>
                  <a:lnTo>
                    <a:pt x="7703" y="11572"/>
                  </a:lnTo>
                  <a:lnTo>
                    <a:pt x="7786" y="11606"/>
                  </a:lnTo>
                  <a:lnTo>
                    <a:pt x="7869" y="11640"/>
                  </a:lnTo>
                  <a:lnTo>
                    <a:pt x="7954" y="11671"/>
                  </a:lnTo>
                  <a:lnTo>
                    <a:pt x="8039" y="11702"/>
                  </a:lnTo>
                  <a:lnTo>
                    <a:pt x="8124" y="11731"/>
                  </a:lnTo>
                  <a:lnTo>
                    <a:pt x="8211" y="11759"/>
                  </a:lnTo>
                  <a:lnTo>
                    <a:pt x="8297" y="11787"/>
                  </a:lnTo>
                  <a:lnTo>
                    <a:pt x="8384" y="11813"/>
                  </a:lnTo>
                  <a:lnTo>
                    <a:pt x="8472" y="11837"/>
                  </a:lnTo>
                  <a:lnTo>
                    <a:pt x="8560" y="11860"/>
                  </a:lnTo>
                  <a:lnTo>
                    <a:pt x="8649" y="11882"/>
                  </a:lnTo>
                  <a:lnTo>
                    <a:pt x="8739" y="11902"/>
                  </a:lnTo>
                  <a:lnTo>
                    <a:pt x="8828" y="11921"/>
                  </a:lnTo>
                  <a:lnTo>
                    <a:pt x="8918" y="11939"/>
                  </a:lnTo>
                  <a:lnTo>
                    <a:pt x="9010" y="11955"/>
                  </a:lnTo>
                  <a:lnTo>
                    <a:pt x="9100" y="11970"/>
                  </a:lnTo>
                  <a:lnTo>
                    <a:pt x="9192" y="11984"/>
                  </a:lnTo>
                  <a:lnTo>
                    <a:pt x="9285" y="11996"/>
                  </a:lnTo>
                  <a:lnTo>
                    <a:pt x="9377" y="12007"/>
                  </a:lnTo>
                  <a:lnTo>
                    <a:pt x="9470" y="12016"/>
                  </a:lnTo>
                  <a:lnTo>
                    <a:pt x="9564" y="12024"/>
                  </a:lnTo>
                  <a:lnTo>
                    <a:pt x="9657" y="12031"/>
                  </a:lnTo>
                  <a:lnTo>
                    <a:pt x="9751" y="12036"/>
                  </a:lnTo>
                  <a:lnTo>
                    <a:pt x="9846" y="12040"/>
                  </a:lnTo>
                  <a:lnTo>
                    <a:pt x="9941" y="12042"/>
                  </a:lnTo>
                  <a:lnTo>
                    <a:pt x="10036" y="12044"/>
                  </a:lnTo>
                  <a:lnTo>
                    <a:pt x="10346" y="12035"/>
                  </a:lnTo>
                  <a:lnTo>
                    <a:pt x="10651" y="12012"/>
                  </a:lnTo>
                  <a:lnTo>
                    <a:pt x="10954" y="11974"/>
                  </a:lnTo>
                  <a:lnTo>
                    <a:pt x="11250" y="11921"/>
                  </a:lnTo>
                  <a:lnTo>
                    <a:pt x="11541" y="11854"/>
                  </a:lnTo>
                  <a:lnTo>
                    <a:pt x="11827" y="11773"/>
                  </a:lnTo>
                  <a:lnTo>
                    <a:pt x="12107" y="11678"/>
                  </a:lnTo>
                  <a:lnTo>
                    <a:pt x="12380" y="11570"/>
                  </a:lnTo>
                  <a:lnTo>
                    <a:pt x="12647" y="11449"/>
                  </a:lnTo>
                  <a:lnTo>
                    <a:pt x="12907" y="11317"/>
                  </a:lnTo>
                  <a:lnTo>
                    <a:pt x="13159" y="11171"/>
                  </a:lnTo>
                  <a:lnTo>
                    <a:pt x="13403" y="11015"/>
                  </a:lnTo>
                  <a:lnTo>
                    <a:pt x="13639" y="10847"/>
                  </a:lnTo>
                  <a:lnTo>
                    <a:pt x="13866" y="10669"/>
                  </a:lnTo>
                  <a:lnTo>
                    <a:pt x="14085" y="10479"/>
                  </a:lnTo>
                  <a:lnTo>
                    <a:pt x="14295" y="10280"/>
                  </a:lnTo>
                  <a:lnTo>
                    <a:pt x="14493" y="10070"/>
                  </a:lnTo>
                  <a:lnTo>
                    <a:pt x="14683" y="9852"/>
                  </a:lnTo>
                  <a:lnTo>
                    <a:pt x="14862" y="9625"/>
                  </a:lnTo>
                  <a:lnTo>
                    <a:pt x="15029" y="9389"/>
                  </a:lnTo>
                  <a:lnTo>
                    <a:pt x="15186" y="9144"/>
                  </a:lnTo>
                  <a:lnTo>
                    <a:pt x="15331" y="8892"/>
                  </a:lnTo>
                  <a:lnTo>
                    <a:pt x="15464" y="8632"/>
                  </a:lnTo>
                  <a:lnTo>
                    <a:pt x="15584" y="8365"/>
                  </a:lnTo>
                  <a:lnTo>
                    <a:pt x="15693" y="8092"/>
                  </a:lnTo>
                  <a:lnTo>
                    <a:pt x="15787" y="7812"/>
                  </a:lnTo>
                  <a:lnTo>
                    <a:pt x="15868" y="7526"/>
                  </a:lnTo>
                  <a:lnTo>
                    <a:pt x="15936" y="7235"/>
                  </a:lnTo>
                  <a:lnTo>
                    <a:pt x="15989" y="6939"/>
                  </a:lnTo>
                  <a:lnTo>
                    <a:pt x="16027" y="6638"/>
                  </a:lnTo>
                  <a:lnTo>
                    <a:pt x="16050" y="6332"/>
                  </a:lnTo>
                  <a:lnTo>
                    <a:pt x="16058" y="6022"/>
                  </a:lnTo>
                  <a:lnTo>
                    <a:pt x="16050" y="5712"/>
                  </a:lnTo>
                  <a:lnTo>
                    <a:pt x="16027" y="5407"/>
                  </a:lnTo>
                  <a:lnTo>
                    <a:pt x="15989" y="5104"/>
                  </a:lnTo>
                  <a:lnTo>
                    <a:pt x="15936" y="4808"/>
                  </a:lnTo>
                  <a:lnTo>
                    <a:pt x="15868" y="4517"/>
                  </a:lnTo>
                  <a:lnTo>
                    <a:pt x="15787" y="4231"/>
                  </a:lnTo>
                  <a:lnTo>
                    <a:pt x="15693" y="3951"/>
                  </a:lnTo>
                  <a:lnTo>
                    <a:pt x="15584" y="3678"/>
                  </a:lnTo>
                  <a:lnTo>
                    <a:pt x="15464" y="3411"/>
                  </a:lnTo>
                  <a:lnTo>
                    <a:pt x="15331" y="3151"/>
                  </a:lnTo>
                  <a:lnTo>
                    <a:pt x="15186" y="2899"/>
                  </a:lnTo>
                  <a:lnTo>
                    <a:pt x="15029" y="2655"/>
                  </a:lnTo>
                  <a:lnTo>
                    <a:pt x="14862" y="2419"/>
                  </a:lnTo>
                  <a:lnTo>
                    <a:pt x="14683" y="2191"/>
                  </a:lnTo>
                  <a:lnTo>
                    <a:pt x="14493" y="1973"/>
                  </a:lnTo>
                  <a:lnTo>
                    <a:pt x="14295" y="1763"/>
                  </a:lnTo>
                  <a:lnTo>
                    <a:pt x="14085" y="1565"/>
                  </a:lnTo>
                  <a:lnTo>
                    <a:pt x="13866" y="1375"/>
                  </a:lnTo>
                  <a:lnTo>
                    <a:pt x="13639" y="1196"/>
                  </a:lnTo>
                  <a:lnTo>
                    <a:pt x="13403" y="1029"/>
                  </a:lnTo>
                  <a:lnTo>
                    <a:pt x="13159" y="872"/>
                  </a:lnTo>
                  <a:lnTo>
                    <a:pt x="12907" y="727"/>
                  </a:lnTo>
                  <a:lnTo>
                    <a:pt x="12647" y="594"/>
                  </a:lnTo>
                  <a:lnTo>
                    <a:pt x="12380" y="474"/>
                  </a:lnTo>
                  <a:lnTo>
                    <a:pt x="12107" y="365"/>
                  </a:lnTo>
                  <a:lnTo>
                    <a:pt x="11827" y="271"/>
                  </a:lnTo>
                  <a:lnTo>
                    <a:pt x="11541" y="190"/>
                  </a:lnTo>
                  <a:lnTo>
                    <a:pt x="11250" y="122"/>
                  </a:lnTo>
                  <a:lnTo>
                    <a:pt x="10954" y="69"/>
                  </a:lnTo>
                  <a:lnTo>
                    <a:pt x="10651" y="31"/>
                  </a:lnTo>
                  <a:lnTo>
                    <a:pt x="10346" y="8"/>
                  </a:lnTo>
                  <a:lnTo>
                    <a:pt x="100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73" name="iš1îďe">
              <a:extLst>
                <a:ext uri="{FF2B5EF4-FFF2-40B4-BE49-F238E27FC236}">
                  <a16:creationId xmlns:a16="http://schemas.microsoft.com/office/drawing/2014/main" id="{CCF6A313-4860-4C98-B69C-C1CB1BDE4111}"/>
                </a:ext>
              </a:extLst>
            </p:cNvPr>
            <p:cNvSpPr/>
            <p:nvPr/>
          </p:nvSpPr>
          <p:spPr bwMode="auto">
            <a:xfrm>
              <a:off x="1766481" y="1529561"/>
              <a:ext cx="67489" cy="67489"/>
            </a:xfrm>
            <a:custGeom>
              <a:avLst/>
              <a:gdLst>
                <a:gd name="T0" fmla="*/ 2977 w 3763"/>
                <a:gd name="T1" fmla="*/ 40 h 3764"/>
                <a:gd name="T2" fmla="*/ 2305 w 3763"/>
                <a:gd name="T3" fmla="*/ 213 h 3764"/>
                <a:gd name="T4" fmla="*/ 1691 w 3763"/>
                <a:gd name="T5" fmla="*/ 509 h 3764"/>
                <a:gd name="T6" fmla="*/ 1151 w 3763"/>
                <a:gd name="T7" fmla="*/ 912 h 3764"/>
                <a:gd name="T8" fmla="*/ 697 w 3763"/>
                <a:gd name="T9" fmla="*/ 1411 h 3764"/>
                <a:gd name="T10" fmla="*/ 346 w 3763"/>
                <a:gd name="T11" fmla="*/ 1990 h 3764"/>
                <a:gd name="T12" fmla="*/ 110 w 3763"/>
                <a:gd name="T13" fmla="*/ 2635 h 3764"/>
                <a:gd name="T14" fmla="*/ 5 w 3763"/>
                <a:gd name="T15" fmla="*/ 3332 h 3764"/>
                <a:gd name="T16" fmla="*/ 3 w 3763"/>
                <a:gd name="T17" fmla="*/ 3551 h 3764"/>
                <a:gd name="T18" fmla="*/ 15 w 3763"/>
                <a:gd name="T19" fmla="*/ 3599 h 3764"/>
                <a:gd name="T20" fmla="*/ 36 w 3763"/>
                <a:gd name="T21" fmla="*/ 3643 h 3764"/>
                <a:gd name="T22" fmla="*/ 65 w 3763"/>
                <a:gd name="T23" fmla="*/ 3681 h 3764"/>
                <a:gd name="T24" fmla="*/ 100 w 3763"/>
                <a:gd name="T25" fmla="*/ 3713 h 3764"/>
                <a:gd name="T26" fmla="*/ 142 w 3763"/>
                <a:gd name="T27" fmla="*/ 3739 h 3764"/>
                <a:gd name="T28" fmla="*/ 188 w 3763"/>
                <a:gd name="T29" fmla="*/ 3756 h 3764"/>
                <a:gd name="T30" fmla="*/ 237 w 3763"/>
                <a:gd name="T31" fmla="*/ 3764 h 3764"/>
                <a:gd name="T32" fmla="*/ 289 w 3763"/>
                <a:gd name="T33" fmla="*/ 3761 h 3764"/>
                <a:gd name="T34" fmla="*/ 337 w 3763"/>
                <a:gd name="T35" fmla="*/ 3749 h 3764"/>
                <a:gd name="T36" fmla="*/ 381 w 3763"/>
                <a:gd name="T37" fmla="*/ 3728 h 3764"/>
                <a:gd name="T38" fmla="*/ 419 w 3763"/>
                <a:gd name="T39" fmla="*/ 3698 h 3764"/>
                <a:gd name="T40" fmla="*/ 451 w 3763"/>
                <a:gd name="T41" fmla="*/ 3663 h 3764"/>
                <a:gd name="T42" fmla="*/ 476 w 3763"/>
                <a:gd name="T43" fmla="*/ 3621 h 3764"/>
                <a:gd name="T44" fmla="*/ 493 w 3763"/>
                <a:gd name="T45" fmla="*/ 3576 h 3764"/>
                <a:gd name="T46" fmla="*/ 501 w 3763"/>
                <a:gd name="T47" fmla="*/ 3526 h 3764"/>
                <a:gd name="T48" fmla="*/ 537 w 3763"/>
                <a:gd name="T49" fmla="*/ 3054 h 3764"/>
                <a:gd name="T50" fmla="*/ 684 w 3763"/>
                <a:gd name="T51" fmla="*/ 2478 h 3764"/>
                <a:gd name="T52" fmla="*/ 937 w 3763"/>
                <a:gd name="T53" fmla="*/ 1952 h 3764"/>
                <a:gd name="T54" fmla="*/ 1283 w 3763"/>
                <a:gd name="T55" fmla="*/ 1488 h 3764"/>
                <a:gd name="T56" fmla="*/ 1711 w 3763"/>
                <a:gd name="T57" fmla="*/ 1100 h 3764"/>
                <a:gd name="T58" fmla="*/ 2208 w 3763"/>
                <a:gd name="T59" fmla="*/ 799 h 3764"/>
                <a:gd name="T60" fmla="*/ 2760 w 3763"/>
                <a:gd name="T61" fmla="*/ 596 h 3764"/>
                <a:gd name="T62" fmla="*/ 3358 w 3763"/>
                <a:gd name="T63" fmla="*/ 506 h 3764"/>
                <a:gd name="T64" fmla="*/ 3550 w 3763"/>
                <a:gd name="T65" fmla="*/ 499 h 3764"/>
                <a:gd name="T66" fmla="*/ 3599 w 3763"/>
                <a:gd name="T67" fmla="*/ 487 h 3764"/>
                <a:gd name="T68" fmla="*/ 3643 w 3763"/>
                <a:gd name="T69" fmla="*/ 466 h 3764"/>
                <a:gd name="T70" fmla="*/ 3681 w 3763"/>
                <a:gd name="T71" fmla="*/ 437 h 3764"/>
                <a:gd name="T72" fmla="*/ 3713 w 3763"/>
                <a:gd name="T73" fmla="*/ 402 h 3764"/>
                <a:gd name="T74" fmla="*/ 3738 w 3763"/>
                <a:gd name="T75" fmla="*/ 359 h 3764"/>
                <a:gd name="T76" fmla="*/ 3755 w 3763"/>
                <a:gd name="T77" fmla="*/ 313 h 3764"/>
                <a:gd name="T78" fmla="*/ 3763 w 3763"/>
                <a:gd name="T79" fmla="*/ 264 h 3764"/>
                <a:gd name="T80" fmla="*/ 3760 w 3763"/>
                <a:gd name="T81" fmla="*/ 213 h 3764"/>
                <a:gd name="T82" fmla="*/ 3748 w 3763"/>
                <a:gd name="T83" fmla="*/ 165 h 3764"/>
                <a:gd name="T84" fmla="*/ 3727 w 3763"/>
                <a:gd name="T85" fmla="*/ 120 h 3764"/>
                <a:gd name="T86" fmla="*/ 3698 w 3763"/>
                <a:gd name="T87" fmla="*/ 82 h 3764"/>
                <a:gd name="T88" fmla="*/ 3663 w 3763"/>
                <a:gd name="T89" fmla="*/ 50 h 3764"/>
                <a:gd name="T90" fmla="*/ 3621 w 3763"/>
                <a:gd name="T91" fmla="*/ 25 h 3764"/>
                <a:gd name="T92" fmla="*/ 3574 w 3763"/>
                <a:gd name="T93" fmla="*/ 8 h 3764"/>
                <a:gd name="T94" fmla="*/ 3525 w 3763"/>
                <a:gd name="T95" fmla="*/ 0 h 3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763" h="3764">
                  <a:moveTo>
                    <a:pt x="3512" y="0"/>
                  </a:moveTo>
                  <a:lnTo>
                    <a:pt x="3332" y="5"/>
                  </a:lnTo>
                  <a:lnTo>
                    <a:pt x="3153" y="18"/>
                  </a:lnTo>
                  <a:lnTo>
                    <a:pt x="2977" y="40"/>
                  </a:lnTo>
                  <a:lnTo>
                    <a:pt x="2805" y="71"/>
                  </a:lnTo>
                  <a:lnTo>
                    <a:pt x="2634" y="110"/>
                  </a:lnTo>
                  <a:lnTo>
                    <a:pt x="2467" y="158"/>
                  </a:lnTo>
                  <a:lnTo>
                    <a:pt x="2305" y="213"/>
                  </a:lnTo>
                  <a:lnTo>
                    <a:pt x="2145" y="276"/>
                  </a:lnTo>
                  <a:lnTo>
                    <a:pt x="1990" y="346"/>
                  </a:lnTo>
                  <a:lnTo>
                    <a:pt x="1838" y="424"/>
                  </a:lnTo>
                  <a:lnTo>
                    <a:pt x="1691" y="509"/>
                  </a:lnTo>
                  <a:lnTo>
                    <a:pt x="1548" y="600"/>
                  </a:lnTo>
                  <a:lnTo>
                    <a:pt x="1411" y="698"/>
                  </a:lnTo>
                  <a:lnTo>
                    <a:pt x="1278" y="802"/>
                  </a:lnTo>
                  <a:lnTo>
                    <a:pt x="1151" y="912"/>
                  </a:lnTo>
                  <a:lnTo>
                    <a:pt x="1028" y="1029"/>
                  </a:lnTo>
                  <a:lnTo>
                    <a:pt x="912" y="1151"/>
                  </a:lnTo>
                  <a:lnTo>
                    <a:pt x="801" y="1279"/>
                  </a:lnTo>
                  <a:lnTo>
                    <a:pt x="697" y="1411"/>
                  </a:lnTo>
                  <a:lnTo>
                    <a:pt x="600" y="1549"/>
                  </a:lnTo>
                  <a:lnTo>
                    <a:pt x="508" y="1691"/>
                  </a:lnTo>
                  <a:lnTo>
                    <a:pt x="423" y="1839"/>
                  </a:lnTo>
                  <a:lnTo>
                    <a:pt x="346" y="1990"/>
                  </a:lnTo>
                  <a:lnTo>
                    <a:pt x="276" y="2146"/>
                  </a:lnTo>
                  <a:lnTo>
                    <a:pt x="212" y="2305"/>
                  </a:lnTo>
                  <a:lnTo>
                    <a:pt x="157" y="2468"/>
                  </a:lnTo>
                  <a:lnTo>
                    <a:pt x="110" y="2635"/>
                  </a:lnTo>
                  <a:lnTo>
                    <a:pt x="71" y="2805"/>
                  </a:lnTo>
                  <a:lnTo>
                    <a:pt x="40" y="2978"/>
                  </a:lnTo>
                  <a:lnTo>
                    <a:pt x="18" y="3153"/>
                  </a:lnTo>
                  <a:lnTo>
                    <a:pt x="5" y="3332"/>
                  </a:lnTo>
                  <a:lnTo>
                    <a:pt x="0" y="3513"/>
                  </a:lnTo>
                  <a:lnTo>
                    <a:pt x="0" y="3526"/>
                  </a:lnTo>
                  <a:lnTo>
                    <a:pt x="1" y="3539"/>
                  </a:lnTo>
                  <a:lnTo>
                    <a:pt x="3" y="3551"/>
                  </a:lnTo>
                  <a:lnTo>
                    <a:pt x="5" y="3563"/>
                  </a:lnTo>
                  <a:lnTo>
                    <a:pt x="8" y="3576"/>
                  </a:lnTo>
                  <a:lnTo>
                    <a:pt x="11" y="3587"/>
                  </a:lnTo>
                  <a:lnTo>
                    <a:pt x="15" y="3599"/>
                  </a:lnTo>
                  <a:lnTo>
                    <a:pt x="20" y="3610"/>
                  </a:lnTo>
                  <a:lnTo>
                    <a:pt x="25" y="3621"/>
                  </a:lnTo>
                  <a:lnTo>
                    <a:pt x="30" y="3632"/>
                  </a:lnTo>
                  <a:lnTo>
                    <a:pt x="36" y="3643"/>
                  </a:lnTo>
                  <a:lnTo>
                    <a:pt x="43" y="3653"/>
                  </a:lnTo>
                  <a:lnTo>
                    <a:pt x="50" y="3663"/>
                  </a:lnTo>
                  <a:lnTo>
                    <a:pt x="57" y="3672"/>
                  </a:lnTo>
                  <a:lnTo>
                    <a:pt x="65" y="3681"/>
                  </a:lnTo>
                  <a:lnTo>
                    <a:pt x="73" y="3690"/>
                  </a:lnTo>
                  <a:lnTo>
                    <a:pt x="82" y="3698"/>
                  </a:lnTo>
                  <a:lnTo>
                    <a:pt x="91" y="3706"/>
                  </a:lnTo>
                  <a:lnTo>
                    <a:pt x="100" y="3713"/>
                  </a:lnTo>
                  <a:lnTo>
                    <a:pt x="110" y="3721"/>
                  </a:lnTo>
                  <a:lnTo>
                    <a:pt x="120" y="3728"/>
                  </a:lnTo>
                  <a:lnTo>
                    <a:pt x="131" y="3734"/>
                  </a:lnTo>
                  <a:lnTo>
                    <a:pt x="142" y="3739"/>
                  </a:lnTo>
                  <a:lnTo>
                    <a:pt x="153" y="3744"/>
                  </a:lnTo>
                  <a:lnTo>
                    <a:pt x="164" y="3749"/>
                  </a:lnTo>
                  <a:lnTo>
                    <a:pt x="176" y="3753"/>
                  </a:lnTo>
                  <a:lnTo>
                    <a:pt x="188" y="3756"/>
                  </a:lnTo>
                  <a:lnTo>
                    <a:pt x="200" y="3759"/>
                  </a:lnTo>
                  <a:lnTo>
                    <a:pt x="212" y="3761"/>
                  </a:lnTo>
                  <a:lnTo>
                    <a:pt x="224" y="3763"/>
                  </a:lnTo>
                  <a:lnTo>
                    <a:pt x="237" y="3764"/>
                  </a:lnTo>
                  <a:lnTo>
                    <a:pt x="250" y="3764"/>
                  </a:lnTo>
                  <a:lnTo>
                    <a:pt x="264" y="3764"/>
                  </a:lnTo>
                  <a:lnTo>
                    <a:pt x="276" y="3763"/>
                  </a:lnTo>
                  <a:lnTo>
                    <a:pt x="289" y="3761"/>
                  </a:lnTo>
                  <a:lnTo>
                    <a:pt x="301" y="3759"/>
                  </a:lnTo>
                  <a:lnTo>
                    <a:pt x="313" y="3756"/>
                  </a:lnTo>
                  <a:lnTo>
                    <a:pt x="325" y="3753"/>
                  </a:lnTo>
                  <a:lnTo>
                    <a:pt x="337" y="3749"/>
                  </a:lnTo>
                  <a:lnTo>
                    <a:pt x="348" y="3744"/>
                  </a:lnTo>
                  <a:lnTo>
                    <a:pt x="359" y="3739"/>
                  </a:lnTo>
                  <a:lnTo>
                    <a:pt x="370" y="3734"/>
                  </a:lnTo>
                  <a:lnTo>
                    <a:pt x="381" y="3728"/>
                  </a:lnTo>
                  <a:lnTo>
                    <a:pt x="391" y="3721"/>
                  </a:lnTo>
                  <a:lnTo>
                    <a:pt x="401" y="3713"/>
                  </a:lnTo>
                  <a:lnTo>
                    <a:pt x="410" y="3706"/>
                  </a:lnTo>
                  <a:lnTo>
                    <a:pt x="419" y="3698"/>
                  </a:lnTo>
                  <a:lnTo>
                    <a:pt x="428" y="3690"/>
                  </a:lnTo>
                  <a:lnTo>
                    <a:pt x="436" y="3681"/>
                  </a:lnTo>
                  <a:lnTo>
                    <a:pt x="444" y="3672"/>
                  </a:lnTo>
                  <a:lnTo>
                    <a:pt x="451" y="3663"/>
                  </a:lnTo>
                  <a:lnTo>
                    <a:pt x="458" y="3653"/>
                  </a:lnTo>
                  <a:lnTo>
                    <a:pt x="465" y="3643"/>
                  </a:lnTo>
                  <a:lnTo>
                    <a:pt x="471" y="3632"/>
                  </a:lnTo>
                  <a:lnTo>
                    <a:pt x="476" y="3621"/>
                  </a:lnTo>
                  <a:lnTo>
                    <a:pt x="481" y="3610"/>
                  </a:lnTo>
                  <a:lnTo>
                    <a:pt x="486" y="3599"/>
                  </a:lnTo>
                  <a:lnTo>
                    <a:pt x="490" y="3587"/>
                  </a:lnTo>
                  <a:lnTo>
                    <a:pt x="493" y="3576"/>
                  </a:lnTo>
                  <a:lnTo>
                    <a:pt x="496" y="3563"/>
                  </a:lnTo>
                  <a:lnTo>
                    <a:pt x="498" y="3551"/>
                  </a:lnTo>
                  <a:lnTo>
                    <a:pt x="500" y="3539"/>
                  </a:lnTo>
                  <a:lnTo>
                    <a:pt x="501" y="3526"/>
                  </a:lnTo>
                  <a:lnTo>
                    <a:pt x="501" y="3513"/>
                  </a:lnTo>
                  <a:lnTo>
                    <a:pt x="505" y="3358"/>
                  </a:lnTo>
                  <a:lnTo>
                    <a:pt x="517" y="3205"/>
                  </a:lnTo>
                  <a:lnTo>
                    <a:pt x="537" y="3054"/>
                  </a:lnTo>
                  <a:lnTo>
                    <a:pt x="563" y="2907"/>
                  </a:lnTo>
                  <a:lnTo>
                    <a:pt x="596" y="2760"/>
                  </a:lnTo>
                  <a:lnTo>
                    <a:pt x="637" y="2618"/>
                  </a:lnTo>
                  <a:lnTo>
                    <a:pt x="684" y="2478"/>
                  </a:lnTo>
                  <a:lnTo>
                    <a:pt x="738" y="2341"/>
                  </a:lnTo>
                  <a:lnTo>
                    <a:pt x="798" y="2208"/>
                  </a:lnTo>
                  <a:lnTo>
                    <a:pt x="865" y="2078"/>
                  </a:lnTo>
                  <a:lnTo>
                    <a:pt x="937" y="1952"/>
                  </a:lnTo>
                  <a:lnTo>
                    <a:pt x="1015" y="1830"/>
                  </a:lnTo>
                  <a:lnTo>
                    <a:pt x="1100" y="1711"/>
                  </a:lnTo>
                  <a:lnTo>
                    <a:pt x="1189" y="1598"/>
                  </a:lnTo>
                  <a:lnTo>
                    <a:pt x="1283" y="1488"/>
                  </a:lnTo>
                  <a:lnTo>
                    <a:pt x="1384" y="1384"/>
                  </a:lnTo>
                  <a:lnTo>
                    <a:pt x="1488" y="1285"/>
                  </a:lnTo>
                  <a:lnTo>
                    <a:pt x="1597" y="1189"/>
                  </a:lnTo>
                  <a:lnTo>
                    <a:pt x="1711" y="1100"/>
                  </a:lnTo>
                  <a:lnTo>
                    <a:pt x="1829" y="1017"/>
                  </a:lnTo>
                  <a:lnTo>
                    <a:pt x="1952" y="937"/>
                  </a:lnTo>
                  <a:lnTo>
                    <a:pt x="2077" y="865"/>
                  </a:lnTo>
                  <a:lnTo>
                    <a:pt x="2208" y="799"/>
                  </a:lnTo>
                  <a:lnTo>
                    <a:pt x="2340" y="739"/>
                  </a:lnTo>
                  <a:lnTo>
                    <a:pt x="2478" y="685"/>
                  </a:lnTo>
                  <a:lnTo>
                    <a:pt x="2617" y="637"/>
                  </a:lnTo>
                  <a:lnTo>
                    <a:pt x="2760" y="596"/>
                  </a:lnTo>
                  <a:lnTo>
                    <a:pt x="2906" y="563"/>
                  </a:lnTo>
                  <a:lnTo>
                    <a:pt x="3054" y="537"/>
                  </a:lnTo>
                  <a:lnTo>
                    <a:pt x="3204" y="517"/>
                  </a:lnTo>
                  <a:lnTo>
                    <a:pt x="3358" y="506"/>
                  </a:lnTo>
                  <a:lnTo>
                    <a:pt x="3512" y="502"/>
                  </a:lnTo>
                  <a:lnTo>
                    <a:pt x="3525" y="502"/>
                  </a:lnTo>
                  <a:lnTo>
                    <a:pt x="3538" y="501"/>
                  </a:lnTo>
                  <a:lnTo>
                    <a:pt x="3550" y="499"/>
                  </a:lnTo>
                  <a:lnTo>
                    <a:pt x="3562" y="497"/>
                  </a:lnTo>
                  <a:lnTo>
                    <a:pt x="3574" y="494"/>
                  </a:lnTo>
                  <a:lnTo>
                    <a:pt x="3587" y="491"/>
                  </a:lnTo>
                  <a:lnTo>
                    <a:pt x="3599" y="487"/>
                  </a:lnTo>
                  <a:lnTo>
                    <a:pt x="3610" y="482"/>
                  </a:lnTo>
                  <a:lnTo>
                    <a:pt x="3621" y="477"/>
                  </a:lnTo>
                  <a:lnTo>
                    <a:pt x="3632" y="472"/>
                  </a:lnTo>
                  <a:lnTo>
                    <a:pt x="3643" y="466"/>
                  </a:lnTo>
                  <a:lnTo>
                    <a:pt x="3653" y="459"/>
                  </a:lnTo>
                  <a:lnTo>
                    <a:pt x="3663" y="452"/>
                  </a:lnTo>
                  <a:lnTo>
                    <a:pt x="3672" y="445"/>
                  </a:lnTo>
                  <a:lnTo>
                    <a:pt x="3681" y="437"/>
                  </a:lnTo>
                  <a:lnTo>
                    <a:pt x="3690" y="429"/>
                  </a:lnTo>
                  <a:lnTo>
                    <a:pt x="3698" y="420"/>
                  </a:lnTo>
                  <a:lnTo>
                    <a:pt x="3706" y="411"/>
                  </a:lnTo>
                  <a:lnTo>
                    <a:pt x="3713" y="402"/>
                  </a:lnTo>
                  <a:lnTo>
                    <a:pt x="3720" y="391"/>
                  </a:lnTo>
                  <a:lnTo>
                    <a:pt x="3727" y="381"/>
                  </a:lnTo>
                  <a:lnTo>
                    <a:pt x="3733" y="370"/>
                  </a:lnTo>
                  <a:lnTo>
                    <a:pt x="3738" y="359"/>
                  </a:lnTo>
                  <a:lnTo>
                    <a:pt x="3743" y="348"/>
                  </a:lnTo>
                  <a:lnTo>
                    <a:pt x="3748" y="337"/>
                  </a:lnTo>
                  <a:lnTo>
                    <a:pt x="3752" y="325"/>
                  </a:lnTo>
                  <a:lnTo>
                    <a:pt x="3755" y="313"/>
                  </a:lnTo>
                  <a:lnTo>
                    <a:pt x="3758" y="301"/>
                  </a:lnTo>
                  <a:lnTo>
                    <a:pt x="3760" y="289"/>
                  </a:lnTo>
                  <a:lnTo>
                    <a:pt x="3762" y="276"/>
                  </a:lnTo>
                  <a:lnTo>
                    <a:pt x="3763" y="264"/>
                  </a:lnTo>
                  <a:lnTo>
                    <a:pt x="3763" y="251"/>
                  </a:lnTo>
                  <a:lnTo>
                    <a:pt x="3763" y="238"/>
                  </a:lnTo>
                  <a:lnTo>
                    <a:pt x="3762" y="225"/>
                  </a:lnTo>
                  <a:lnTo>
                    <a:pt x="3760" y="213"/>
                  </a:lnTo>
                  <a:lnTo>
                    <a:pt x="3758" y="201"/>
                  </a:lnTo>
                  <a:lnTo>
                    <a:pt x="3755" y="188"/>
                  </a:lnTo>
                  <a:lnTo>
                    <a:pt x="3752" y="177"/>
                  </a:lnTo>
                  <a:lnTo>
                    <a:pt x="3748" y="165"/>
                  </a:lnTo>
                  <a:lnTo>
                    <a:pt x="3743" y="154"/>
                  </a:lnTo>
                  <a:lnTo>
                    <a:pt x="3738" y="143"/>
                  </a:lnTo>
                  <a:lnTo>
                    <a:pt x="3733" y="132"/>
                  </a:lnTo>
                  <a:lnTo>
                    <a:pt x="3727" y="120"/>
                  </a:lnTo>
                  <a:lnTo>
                    <a:pt x="3720" y="110"/>
                  </a:lnTo>
                  <a:lnTo>
                    <a:pt x="3713" y="100"/>
                  </a:lnTo>
                  <a:lnTo>
                    <a:pt x="3706" y="91"/>
                  </a:lnTo>
                  <a:lnTo>
                    <a:pt x="3698" y="82"/>
                  </a:lnTo>
                  <a:lnTo>
                    <a:pt x="3690" y="73"/>
                  </a:lnTo>
                  <a:lnTo>
                    <a:pt x="3681" y="65"/>
                  </a:lnTo>
                  <a:lnTo>
                    <a:pt x="3672" y="57"/>
                  </a:lnTo>
                  <a:lnTo>
                    <a:pt x="3663" y="50"/>
                  </a:lnTo>
                  <a:lnTo>
                    <a:pt x="3653" y="43"/>
                  </a:lnTo>
                  <a:lnTo>
                    <a:pt x="3643" y="36"/>
                  </a:lnTo>
                  <a:lnTo>
                    <a:pt x="3632" y="30"/>
                  </a:lnTo>
                  <a:lnTo>
                    <a:pt x="3621" y="25"/>
                  </a:lnTo>
                  <a:lnTo>
                    <a:pt x="3610" y="20"/>
                  </a:lnTo>
                  <a:lnTo>
                    <a:pt x="3599" y="15"/>
                  </a:lnTo>
                  <a:lnTo>
                    <a:pt x="3587" y="11"/>
                  </a:lnTo>
                  <a:lnTo>
                    <a:pt x="3574" y="8"/>
                  </a:lnTo>
                  <a:lnTo>
                    <a:pt x="3562" y="5"/>
                  </a:lnTo>
                  <a:lnTo>
                    <a:pt x="3550" y="3"/>
                  </a:lnTo>
                  <a:lnTo>
                    <a:pt x="3538" y="1"/>
                  </a:lnTo>
                  <a:lnTo>
                    <a:pt x="3525" y="0"/>
                  </a:lnTo>
                  <a:lnTo>
                    <a:pt x="35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74" name="íSľiďè">
              <a:extLst>
                <a:ext uri="{FF2B5EF4-FFF2-40B4-BE49-F238E27FC236}">
                  <a16:creationId xmlns:a16="http://schemas.microsoft.com/office/drawing/2014/main" id="{3783BE8F-4799-4E77-B921-BB1452826E47}"/>
                </a:ext>
              </a:extLst>
            </p:cNvPr>
            <p:cNvSpPr/>
            <p:nvPr/>
          </p:nvSpPr>
          <p:spPr bwMode="auto">
            <a:xfrm>
              <a:off x="1813649" y="1712024"/>
              <a:ext cx="404054" cy="361004"/>
            </a:xfrm>
            <a:custGeom>
              <a:avLst/>
              <a:gdLst>
                <a:gd name="T0" fmla="*/ 8326 w 16095"/>
                <a:gd name="T1" fmla="*/ 13008 h 14096"/>
                <a:gd name="T2" fmla="*/ 8191 w 16095"/>
                <a:gd name="T3" fmla="*/ 13069 h 14096"/>
                <a:gd name="T4" fmla="*/ 8048 w 16095"/>
                <a:gd name="T5" fmla="*/ 13090 h 14096"/>
                <a:gd name="T6" fmla="*/ 7903 w 16095"/>
                <a:gd name="T7" fmla="*/ 13069 h 14096"/>
                <a:gd name="T8" fmla="*/ 7768 w 16095"/>
                <a:gd name="T9" fmla="*/ 13008 h 14096"/>
                <a:gd name="T10" fmla="*/ 1995 w 16095"/>
                <a:gd name="T11" fmla="*/ 7293 h 14096"/>
                <a:gd name="T12" fmla="*/ 1368 w 16095"/>
                <a:gd name="T13" fmla="*/ 6355 h 14096"/>
                <a:gd name="T14" fmla="*/ 1055 w 16095"/>
                <a:gd name="T15" fmla="*/ 5309 h 14096"/>
                <a:gd name="T16" fmla="*/ 1055 w 16095"/>
                <a:gd name="T17" fmla="*/ 4226 h 14096"/>
                <a:gd name="T18" fmla="*/ 1368 w 16095"/>
                <a:gd name="T19" fmla="*/ 3179 h 14096"/>
                <a:gd name="T20" fmla="*/ 1995 w 16095"/>
                <a:gd name="T21" fmla="*/ 2241 h 14096"/>
                <a:gd name="T22" fmla="*/ 2857 w 16095"/>
                <a:gd name="T23" fmla="*/ 1536 h 14096"/>
                <a:gd name="T24" fmla="*/ 3845 w 16095"/>
                <a:gd name="T25" fmla="*/ 1126 h 14096"/>
                <a:gd name="T26" fmla="*/ 4896 w 16095"/>
                <a:gd name="T27" fmla="*/ 1005 h 14096"/>
                <a:gd name="T28" fmla="*/ 5943 w 16095"/>
                <a:gd name="T29" fmla="*/ 1178 h 14096"/>
                <a:gd name="T30" fmla="*/ 6922 w 16095"/>
                <a:gd name="T31" fmla="*/ 1644 h 14096"/>
                <a:gd name="T32" fmla="*/ 8873 w 16095"/>
                <a:gd name="T33" fmla="*/ 1866 h 14096"/>
                <a:gd name="T34" fmla="*/ 9814 w 16095"/>
                <a:gd name="T35" fmla="*/ 1301 h 14096"/>
                <a:gd name="T36" fmla="*/ 10846 w 16095"/>
                <a:gd name="T37" fmla="*/ 1030 h 14096"/>
                <a:gd name="T38" fmla="*/ 11903 w 16095"/>
                <a:gd name="T39" fmla="*/ 1053 h 14096"/>
                <a:gd name="T40" fmla="*/ 12919 w 16095"/>
                <a:gd name="T41" fmla="*/ 1367 h 14096"/>
                <a:gd name="T42" fmla="*/ 13830 w 16095"/>
                <a:gd name="T43" fmla="*/ 1971 h 14096"/>
                <a:gd name="T44" fmla="*/ 14553 w 16095"/>
                <a:gd name="T45" fmla="*/ 2850 h 14096"/>
                <a:gd name="T46" fmla="*/ 14970 w 16095"/>
                <a:gd name="T47" fmla="*/ 3868 h 14096"/>
                <a:gd name="T48" fmla="*/ 15074 w 16095"/>
                <a:gd name="T49" fmla="*/ 4948 h 14096"/>
                <a:gd name="T50" fmla="*/ 14866 w 16095"/>
                <a:gd name="T51" fmla="*/ 6015 h 14096"/>
                <a:gd name="T52" fmla="*/ 14344 w 16095"/>
                <a:gd name="T53" fmla="*/ 6997 h 14096"/>
                <a:gd name="T54" fmla="*/ 14329 w 16095"/>
                <a:gd name="T55" fmla="*/ 1071 h 14096"/>
                <a:gd name="T56" fmla="*/ 13143 w 16095"/>
                <a:gd name="T57" fmla="*/ 364 h 14096"/>
                <a:gd name="T58" fmla="*/ 11837 w 16095"/>
                <a:gd name="T59" fmla="*/ 29 h 14096"/>
                <a:gd name="T60" fmla="*/ 10497 w 16095"/>
                <a:gd name="T61" fmla="*/ 65 h 14096"/>
                <a:gd name="T62" fmla="*/ 9205 w 16095"/>
                <a:gd name="T63" fmla="*/ 471 h 14096"/>
                <a:gd name="T64" fmla="*/ 8046 w 16095"/>
                <a:gd name="T65" fmla="*/ 1245 h 14096"/>
                <a:gd name="T66" fmla="*/ 6889 w 16095"/>
                <a:gd name="T67" fmla="*/ 471 h 14096"/>
                <a:gd name="T68" fmla="*/ 5598 w 16095"/>
                <a:gd name="T69" fmla="*/ 65 h 14096"/>
                <a:gd name="T70" fmla="*/ 4258 w 16095"/>
                <a:gd name="T71" fmla="*/ 29 h 14096"/>
                <a:gd name="T72" fmla="*/ 2953 w 16095"/>
                <a:gd name="T73" fmla="*/ 364 h 14096"/>
                <a:gd name="T74" fmla="*/ 1766 w 16095"/>
                <a:gd name="T75" fmla="*/ 1071 h 14096"/>
                <a:gd name="T76" fmla="*/ 794 w 16095"/>
                <a:gd name="T77" fmla="*/ 2140 h 14096"/>
                <a:gd name="T78" fmla="*/ 198 w 16095"/>
                <a:gd name="T79" fmla="*/ 3407 h 14096"/>
                <a:gd name="T80" fmla="*/ 0 w 16095"/>
                <a:gd name="T81" fmla="*/ 4767 h 14096"/>
                <a:gd name="T82" fmla="*/ 198 w 16095"/>
                <a:gd name="T83" fmla="*/ 6127 h 14096"/>
                <a:gd name="T84" fmla="*/ 794 w 16095"/>
                <a:gd name="T85" fmla="*/ 7395 h 14096"/>
                <a:gd name="T86" fmla="*/ 1805 w 16095"/>
                <a:gd name="T87" fmla="*/ 8534 h 14096"/>
                <a:gd name="T88" fmla="*/ 4393 w 16095"/>
                <a:gd name="T89" fmla="*/ 11099 h 14096"/>
                <a:gd name="T90" fmla="*/ 6755 w 16095"/>
                <a:gd name="T91" fmla="*/ 13439 h 14096"/>
                <a:gd name="T92" fmla="*/ 7211 w 16095"/>
                <a:gd name="T93" fmla="*/ 13847 h 14096"/>
                <a:gd name="T94" fmla="*/ 7614 w 16095"/>
                <a:gd name="T95" fmla="*/ 14034 h 14096"/>
                <a:gd name="T96" fmla="*/ 8048 w 16095"/>
                <a:gd name="T97" fmla="*/ 14096 h 14096"/>
                <a:gd name="T98" fmla="*/ 8480 w 16095"/>
                <a:gd name="T99" fmla="*/ 14034 h 14096"/>
                <a:gd name="T100" fmla="*/ 8884 w 16095"/>
                <a:gd name="T101" fmla="*/ 13847 h 14096"/>
                <a:gd name="T102" fmla="*/ 9360 w 16095"/>
                <a:gd name="T103" fmla="*/ 13419 h 14096"/>
                <a:gd name="T104" fmla="*/ 11881 w 16095"/>
                <a:gd name="T105" fmla="*/ 10921 h 14096"/>
                <a:gd name="T106" fmla="*/ 14427 w 16095"/>
                <a:gd name="T107" fmla="*/ 8398 h 14096"/>
                <a:gd name="T108" fmla="*/ 15301 w 16095"/>
                <a:gd name="T109" fmla="*/ 7395 h 14096"/>
                <a:gd name="T110" fmla="*/ 15897 w 16095"/>
                <a:gd name="T111" fmla="*/ 6127 h 14096"/>
                <a:gd name="T112" fmla="*/ 16095 w 16095"/>
                <a:gd name="T113" fmla="*/ 4767 h 14096"/>
                <a:gd name="T114" fmla="*/ 15897 w 16095"/>
                <a:gd name="T115" fmla="*/ 3407 h 14096"/>
                <a:gd name="T116" fmla="*/ 15301 w 16095"/>
                <a:gd name="T117" fmla="*/ 2140 h 14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095" h="14096">
                  <a:moveTo>
                    <a:pt x="13965" y="7434"/>
                  </a:moveTo>
                  <a:lnTo>
                    <a:pt x="8406" y="12943"/>
                  </a:lnTo>
                  <a:lnTo>
                    <a:pt x="8387" y="12960"/>
                  </a:lnTo>
                  <a:lnTo>
                    <a:pt x="8367" y="12977"/>
                  </a:lnTo>
                  <a:lnTo>
                    <a:pt x="8347" y="12992"/>
                  </a:lnTo>
                  <a:lnTo>
                    <a:pt x="8326" y="13008"/>
                  </a:lnTo>
                  <a:lnTo>
                    <a:pt x="8305" y="13021"/>
                  </a:lnTo>
                  <a:lnTo>
                    <a:pt x="8283" y="13033"/>
                  </a:lnTo>
                  <a:lnTo>
                    <a:pt x="8261" y="13044"/>
                  </a:lnTo>
                  <a:lnTo>
                    <a:pt x="8239" y="13053"/>
                  </a:lnTo>
                  <a:lnTo>
                    <a:pt x="8215" y="13062"/>
                  </a:lnTo>
                  <a:lnTo>
                    <a:pt x="8191" y="13069"/>
                  </a:lnTo>
                  <a:lnTo>
                    <a:pt x="8168" y="13076"/>
                  </a:lnTo>
                  <a:lnTo>
                    <a:pt x="8144" y="13081"/>
                  </a:lnTo>
                  <a:lnTo>
                    <a:pt x="8120" y="13085"/>
                  </a:lnTo>
                  <a:lnTo>
                    <a:pt x="8096" y="13088"/>
                  </a:lnTo>
                  <a:lnTo>
                    <a:pt x="8072" y="13089"/>
                  </a:lnTo>
                  <a:lnTo>
                    <a:pt x="8048" y="13090"/>
                  </a:lnTo>
                  <a:lnTo>
                    <a:pt x="8023" y="13089"/>
                  </a:lnTo>
                  <a:lnTo>
                    <a:pt x="7998" y="13088"/>
                  </a:lnTo>
                  <a:lnTo>
                    <a:pt x="7974" y="13085"/>
                  </a:lnTo>
                  <a:lnTo>
                    <a:pt x="7950" y="13081"/>
                  </a:lnTo>
                  <a:lnTo>
                    <a:pt x="7927" y="13076"/>
                  </a:lnTo>
                  <a:lnTo>
                    <a:pt x="7903" y="13069"/>
                  </a:lnTo>
                  <a:lnTo>
                    <a:pt x="7880" y="13062"/>
                  </a:lnTo>
                  <a:lnTo>
                    <a:pt x="7856" y="13053"/>
                  </a:lnTo>
                  <a:lnTo>
                    <a:pt x="7833" y="13044"/>
                  </a:lnTo>
                  <a:lnTo>
                    <a:pt x="7811" y="13033"/>
                  </a:lnTo>
                  <a:lnTo>
                    <a:pt x="7790" y="13021"/>
                  </a:lnTo>
                  <a:lnTo>
                    <a:pt x="7768" y="13008"/>
                  </a:lnTo>
                  <a:lnTo>
                    <a:pt x="7748" y="12992"/>
                  </a:lnTo>
                  <a:lnTo>
                    <a:pt x="7728" y="12977"/>
                  </a:lnTo>
                  <a:lnTo>
                    <a:pt x="7707" y="12960"/>
                  </a:lnTo>
                  <a:lnTo>
                    <a:pt x="7689" y="12943"/>
                  </a:lnTo>
                  <a:lnTo>
                    <a:pt x="2130" y="7434"/>
                  </a:lnTo>
                  <a:lnTo>
                    <a:pt x="1995" y="7293"/>
                  </a:lnTo>
                  <a:lnTo>
                    <a:pt x="1868" y="7148"/>
                  </a:lnTo>
                  <a:lnTo>
                    <a:pt x="1751" y="6997"/>
                  </a:lnTo>
                  <a:lnTo>
                    <a:pt x="1643" y="6843"/>
                  </a:lnTo>
                  <a:lnTo>
                    <a:pt x="1542" y="6684"/>
                  </a:lnTo>
                  <a:lnTo>
                    <a:pt x="1452" y="6521"/>
                  </a:lnTo>
                  <a:lnTo>
                    <a:pt x="1368" y="6355"/>
                  </a:lnTo>
                  <a:lnTo>
                    <a:pt x="1295" y="6186"/>
                  </a:lnTo>
                  <a:lnTo>
                    <a:pt x="1229" y="6015"/>
                  </a:lnTo>
                  <a:lnTo>
                    <a:pt x="1173" y="5841"/>
                  </a:lnTo>
                  <a:lnTo>
                    <a:pt x="1125" y="5666"/>
                  </a:lnTo>
                  <a:lnTo>
                    <a:pt x="1085" y="5487"/>
                  </a:lnTo>
                  <a:lnTo>
                    <a:pt x="1055" y="5309"/>
                  </a:lnTo>
                  <a:lnTo>
                    <a:pt x="1034" y="5129"/>
                  </a:lnTo>
                  <a:lnTo>
                    <a:pt x="1021" y="4948"/>
                  </a:lnTo>
                  <a:lnTo>
                    <a:pt x="1016" y="4767"/>
                  </a:lnTo>
                  <a:lnTo>
                    <a:pt x="1021" y="4586"/>
                  </a:lnTo>
                  <a:lnTo>
                    <a:pt x="1034" y="4405"/>
                  </a:lnTo>
                  <a:lnTo>
                    <a:pt x="1055" y="4226"/>
                  </a:lnTo>
                  <a:lnTo>
                    <a:pt x="1085" y="4047"/>
                  </a:lnTo>
                  <a:lnTo>
                    <a:pt x="1125" y="3868"/>
                  </a:lnTo>
                  <a:lnTo>
                    <a:pt x="1173" y="3693"/>
                  </a:lnTo>
                  <a:lnTo>
                    <a:pt x="1229" y="3519"/>
                  </a:lnTo>
                  <a:lnTo>
                    <a:pt x="1295" y="3348"/>
                  </a:lnTo>
                  <a:lnTo>
                    <a:pt x="1368" y="3179"/>
                  </a:lnTo>
                  <a:lnTo>
                    <a:pt x="1452" y="3013"/>
                  </a:lnTo>
                  <a:lnTo>
                    <a:pt x="1542" y="2850"/>
                  </a:lnTo>
                  <a:lnTo>
                    <a:pt x="1643" y="2691"/>
                  </a:lnTo>
                  <a:lnTo>
                    <a:pt x="1751" y="2537"/>
                  </a:lnTo>
                  <a:lnTo>
                    <a:pt x="1868" y="2386"/>
                  </a:lnTo>
                  <a:lnTo>
                    <a:pt x="1995" y="2241"/>
                  </a:lnTo>
                  <a:lnTo>
                    <a:pt x="2130" y="2100"/>
                  </a:lnTo>
                  <a:lnTo>
                    <a:pt x="2265" y="1971"/>
                  </a:lnTo>
                  <a:lnTo>
                    <a:pt x="2407" y="1851"/>
                  </a:lnTo>
                  <a:lnTo>
                    <a:pt x="2553" y="1738"/>
                  </a:lnTo>
                  <a:lnTo>
                    <a:pt x="2703" y="1633"/>
                  </a:lnTo>
                  <a:lnTo>
                    <a:pt x="2857" y="1536"/>
                  </a:lnTo>
                  <a:lnTo>
                    <a:pt x="3015" y="1448"/>
                  </a:lnTo>
                  <a:lnTo>
                    <a:pt x="3176" y="1367"/>
                  </a:lnTo>
                  <a:lnTo>
                    <a:pt x="3339" y="1295"/>
                  </a:lnTo>
                  <a:lnTo>
                    <a:pt x="3506" y="1230"/>
                  </a:lnTo>
                  <a:lnTo>
                    <a:pt x="3675" y="1174"/>
                  </a:lnTo>
                  <a:lnTo>
                    <a:pt x="3845" y="1126"/>
                  </a:lnTo>
                  <a:lnTo>
                    <a:pt x="4018" y="1085"/>
                  </a:lnTo>
                  <a:lnTo>
                    <a:pt x="4192" y="1053"/>
                  </a:lnTo>
                  <a:lnTo>
                    <a:pt x="4367" y="1029"/>
                  </a:lnTo>
                  <a:lnTo>
                    <a:pt x="4543" y="1013"/>
                  </a:lnTo>
                  <a:lnTo>
                    <a:pt x="4719" y="1005"/>
                  </a:lnTo>
                  <a:lnTo>
                    <a:pt x="4896" y="1005"/>
                  </a:lnTo>
                  <a:lnTo>
                    <a:pt x="5072" y="1014"/>
                  </a:lnTo>
                  <a:lnTo>
                    <a:pt x="5249" y="1030"/>
                  </a:lnTo>
                  <a:lnTo>
                    <a:pt x="5424" y="1055"/>
                  </a:lnTo>
                  <a:lnTo>
                    <a:pt x="5599" y="1087"/>
                  </a:lnTo>
                  <a:lnTo>
                    <a:pt x="5772" y="1129"/>
                  </a:lnTo>
                  <a:lnTo>
                    <a:pt x="5943" y="1178"/>
                  </a:lnTo>
                  <a:lnTo>
                    <a:pt x="6113" y="1235"/>
                  </a:lnTo>
                  <a:lnTo>
                    <a:pt x="6281" y="1301"/>
                  </a:lnTo>
                  <a:lnTo>
                    <a:pt x="6446" y="1374"/>
                  </a:lnTo>
                  <a:lnTo>
                    <a:pt x="6608" y="1456"/>
                  </a:lnTo>
                  <a:lnTo>
                    <a:pt x="6767" y="1547"/>
                  </a:lnTo>
                  <a:lnTo>
                    <a:pt x="6922" y="1644"/>
                  </a:lnTo>
                  <a:lnTo>
                    <a:pt x="7074" y="1751"/>
                  </a:lnTo>
                  <a:lnTo>
                    <a:pt x="7222" y="1866"/>
                  </a:lnTo>
                  <a:lnTo>
                    <a:pt x="7365" y="1989"/>
                  </a:lnTo>
                  <a:lnTo>
                    <a:pt x="8046" y="2603"/>
                  </a:lnTo>
                  <a:lnTo>
                    <a:pt x="8730" y="1989"/>
                  </a:lnTo>
                  <a:lnTo>
                    <a:pt x="8873" y="1866"/>
                  </a:lnTo>
                  <a:lnTo>
                    <a:pt x="9021" y="1751"/>
                  </a:lnTo>
                  <a:lnTo>
                    <a:pt x="9173" y="1644"/>
                  </a:lnTo>
                  <a:lnTo>
                    <a:pt x="9328" y="1547"/>
                  </a:lnTo>
                  <a:lnTo>
                    <a:pt x="9487" y="1456"/>
                  </a:lnTo>
                  <a:lnTo>
                    <a:pt x="9649" y="1374"/>
                  </a:lnTo>
                  <a:lnTo>
                    <a:pt x="9814" y="1301"/>
                  </a:lnTo>
                  <a:lnTo>
                    <a:pt x="9982" y="1235"/>
                  </a:lnTo>
                  <a:lnTo>
                    <a:pt x="10152" y="1178"/>
                  </a:lnTo>
                  <a:lnTo>
                    <a:pt x="10323" y="1129"/>
                  </a:lnTo>
                  <a:lnTo>
                    <a:pt x="10496" y="1087"/>
                  </a:lnTo>
                  <a:lnTo>
                    <a:pt x="10671" y="1055"/>
                  </a:lnTo>
                  <a:lnTo>
                    <a:pt x="10846" y="1030"/>
                  </a:lnTo>
                  <a:lnTo>
                    <a:pt x="11023" y="1014"/>
                  </a:lnTo>
                  <a:lnTo>
                    <a:pt x="11199" y="1005"/>
                  </a:lnTo>
                  <a:lnTo>
                    <a:pt x="11376" y="1005"/>
                  </a:lnTo>
                  <a:lnTo>
                    <a:pt x="11552" y="1013"/>
                  </a:lnTo>
                  <a:lnTo>
                    <a:pt x="11728" y="1029"/>
                  </a:lnTo>
                  <a:lnTo>
                    <a:pt x="11903" y="1053"/>
                  </a:lnTo>
                  <a:lnTo>
                    <a:pt x="12077" y="1085"/>
                  </a:lnTo>
                  <a:lnTo>
                    <a:pt x="12250" y="1126"/>
                  </a:lnTo>
                  <a:lnTo>
                    <a:pt x="12420" y="1174"/>
                  </a:lnTo>
                  <a:lnTo>
                    <a:pt x="12589" y="1230"/>
                  </a:lnTo>
                  <a:lnTo>
                    <a:pt x="12756" y="1295"/>
                  </a:lnTo>
                  <a:lnTo>
                    <a:pt x="12919" y="1367"/>
                  </a:lnTo>
                  <a:lnTo>
                    <a:pt x="13080" y="1448"/>
                  </a:lnTo>
                  <a:lnTo>
                    <a:pt x="13238" y="1536"/>
                  </a:lnTo>
                  <a:lnTo>
                    <a:pt x="13392" y="1633"/>
                  </a:lnTo>
                  <a:lnTo>
                    <a:pt x="13542" y="1738"/>
                  </a:lnTo>
                  <a:lnTo>
                    <a:pt x="13688" y="1851"/>
                  </a:lnTo>
                  <a:lnTo>
                    <a:pt x="13830" y="1971"/>
                  </a:lnTo>
                  <a:lnTo>
                    <a:pt x="13965" y="2100"/>
                  </a:lnTo>
                  <a:lnTo>
                    <a:pt x="14100" y="2241"/>
                  </a:lnTo>
                  <a:lnTo>
                    <a:pt x="14227" y="2386"/>
                  </a:lnTo>
                  <a:lnTo>
                    <a:pt x="14344" y="2537"/>
                  </a:lnTo>
                  <a:lnTo>
                    <a:pt x="14452" y="2691"/>
                  </a:lnTo>
                  <a:lnTo>
                    <a:pt x="14553" y="2850"/>
                  </a:lnTo>
                  <a:lnTo>
                    <a:pt x="14643" y="3013"/>
                  </a:lnTo>
                  <a:lnTo>
                    <a:pt x="14727" y="3179"/>
                  </a:lnTo>
                  <a:lnTo>
                    <a:pt x="14800" y="3348"/>
                  </a:lnTo>
                  <a:lnTo>
                    <a:pt x="14866" y="3519"/>
                  </a:lnTo>
                  <a:lnTo>
                    <a:pt x="14922" y="3693"/>
                  </a:lnTo>
                  <a:lnTo>
                    <a:pt x="14970" y="3868"/>
                  </a:lnTo>
                  <a:lnTo>
                    <a:pt x="15010" y="4047"/>
                  </a:lnTo>
                  <a:lnTo>
                    <a:pt x="15040" y="4226"/>
                  </a:lnTo>
                  <a:lnTo>
                    <a:pt x="15061" y="4405"/>
                  </a:lnTo>
                  <a:lnTo>
                    <a:pt x="15074" y="4586"/>
                  </a:lnTo>
                  <a:lnTo>
                    <a:pt x="15079" y="4767"/>
                  </a:lnTo>
                  <a:lnTo>
                    <a:pt x="15074" y="4948"/>
                  </a:lnTo>
                  <a:lnTo>
                    <a:pt x="15061" y="5129"/>
                  </a:lnTo>
                  <a:lnTo>
                    <a:pt x="15040" y="5309"/>
                  </a:lnTo>
                  <a:lnTo>
                    <a:pt x="15010" y="5487"/>
                  </a:lnTo>
                  <a:lnTo>
                    <a:pt x="14970" y="5666"/>
                  </a:lnTo>
                  <a:lnTo>
                    <a:pt x="14922" y="5841"/>
                  </a:lnTo>
                  <a:lnTo>
                    <a:pt x="14866" y="6015"/>
                  </a:lnTo>
                  <a:lnTo>
                    <a:pt x="14800" y="6186"/>
                  </a:lnTo>
                  <a:lnTo>
                    <a:pt x="14727" y="6355"/>
                  </a:lnTo>
                  <a:lnTo>
                    <a:pt x="14643" y="6521"/>
                  </a:lnTo>
                  <a:lnTo>
                    <a:pt x="14553" y="6684"/>
                  </a:lnTo>
                  <a:lnTo>
                    <a:pt x="14452" y="6843"/>
                  </a:lnTo>
                  <a:lnTo>
                    <a:pt x="14344" y="6997"/>
                  </a:lnTo>
                  <a:lnTo>
                    <a:pt x="14227" y="7148"/>
                  </a:lnTo>
                  <a:lnTo>
                    <a:pt x="14100" y="7293"/>
                  </a:lnTo>
                  <a:lnTo>
                    <a:pt x="13965" y="7434"/>
                  </a:lnTo>
                  <a:close/>
                  <a:moveTo>
                    <a:pt x="14684" y="1390"/>
                  </a:moveTo>
                  <a:lnTo>
                    <a:pt x="14510" y="1225"/>
                  </a:lnTo>
                  <a:lnTo>
                    <a:pt x="14329" y="1071"/>
                  </a:lnTo>
                  <a:lnTo>
                    <a:pt x="14142" y="927"/>
                  </a:lnTo>
                  <a:lnTo>
                    <a:pt x="13951" y="794"/>
                  </a:lnTo>
                  <a:lnTo>
                    <a:pt x="13755" y="672"/>
                  </a:lnTo>
                  <a:lnTo>
                    <a:pt x="13555" y="559"/>
                  </a:lnTo>
                  <a:lnTo>
                    <a:pt x="13351" y="456"/>
                  </a:lnTo>
                  <a:lnTo>
                    <a:pt x="13143" y="364"/>
                  </a:lnTo>
                  <a:lnTo>
                    <a:pt x="12930" y="282"/>
                  </a:lnTo>
                  <a:lnTo>
                    <a:pt x="12716" y="211"/>
                  </a:lnTo>
                  <a:lnTo>
                    <a:pt x="12499" y="150"/>
                  </a:lnTo>
                  <a:lnTo>
                    <a:pt x="12280" y="100"/>
                  </a:lnTo>
                  <a:lnTo>
                    <a:pt x="12059" y="59"/>
                  </a:lnTo>
                  <a:lnTo>
                    <a:pt x="11837" y="29"/>
                  </a:lnTo>
                  <a:lnTo>
                    <a:pt x="11614" y="9"/>
                  </a:lnTo>
                  <a:lnTo>
                    <a:pt x="11390" y="0"/>
                  </a:lnTo>
                  <a:lnTo>
                    <a:pt x="11166" y="1"/>
                  </a:lnTo>
                  <a:lnTo>
                    <a:pt x="10943" y="12"/>
                  </a:lnTo>
                  <a:lnTo>
                    <a:pt x="10719" y="33"/>
                  </a:lnTo>
                  <a:lnTo>
                    <a:pt x="10497" y="65"/>
                  </a:lnTo>
                  <a:lnTo>
                    <a:pt x="10276" y="107"/>
                  </a:lnTo>
                  <a:lnTo>
                    <a:pt x="10056" y="159"/>
                  </a:lnTo>
                  <a:lnTo>
                    <a:pt x="9840" y="222"/>
                  </a:lnTo>
                  <a:lnTo>
                    <a:pt x="9625" y="295"/>
                  </a:lnTo>
                  <a:lnTo>
                    <a:pt x="9414" y="378"/>
                  </a:lnTo>
                  <a:lnTo>
                    <a:pt x="9205" y="471"/>
                  </a:lnTo>
                  <a:lnTo>
                    <a:pt x="9001" y="574"/>
                  </a:lnTo>
                  <a:lnTo>
                    <a:pt x="8800" y="688"/>
                  </a:lnTo>
                  <a:lnTo>
                    <a:pt x="8605" y="812"/>
                  </a:lnTo>
                  <a:lnTo>
                    <a:pt x="8413" y="946"/>
                  </a:lnTo>
                  <a:lnTo>
                    <a:pt x="8228" y="1090"/>
                  </a:lnTo>
                  <a:lnTo>
                    <a:pt x="8046" y="1245"/>
                  </a:lnTo>
                  <a:lnTo>
                    <a:pt x="7866" y="1090"/>
                  </a:lnTo>
                  <a:lnTo>
                    <a:pt x="7681" y="946"/>
                  </a:lnTo>
                  <a:lnTo>
                    <a:pt x="7490" y="812"/>
                  </a:lnTo>
                  <a:lnTo>
                    <a:pt x="7294" y="688"/>
                  </a:lnTo>
                  <a:lnTo>
                    <a:pt x="7094" y="574"/>
                  </a:lnTo>
                  <a:lnTo>
                    <a:pt x="6889" y="471"/>
                  </a:lnTo>
                  <a:lnTo>
                    <a:pt x="6680" y="378"/>
                  </a:lnTo>
                  <a:lnTo>
                    <a:pt x="6469" y="295"/>
                  </a:lnTo>
                  <a:lnTo>
                    <a:pt x="6255" y="222"/>
                  </a:lnTo>
                  <a:lnTo>
                    <a:pt x="6038" y="159"/>
                  </a:lnTo>
                  <a:lnTo>
                    <a:pt x="5819" y="107"/>
                  </a:lnTo>
                  <a:lnTo>
                    <a:pt x="5598" y="65"/>
                  </a:lnTo>
                  <a:lnTo>
                    <a:pt x="5376" y="33"/>
                  </a:lnTo>
                  <a:lnTo>
                    <a:pt x="5152" y="12"/>
                  </a:lnTo>
                  <a:lnTo>
                    <a:pt x="4929" y="1"/>
                  </a:lnTo>
                  <a:lnTo>
                    <a:pt x="4705" y="0"/>
                  </a:lnTo>
                  <a:lnTo>
                    <a:pt x="4481" y="9"/>
                  </a:lnTo>
                  <a:lnTo>
                    <a:pt x="4258" y="29"/>
                  </a:lnTo>
                  <a:lnTo>
                    <a:pt x="4036" y="59"/>
                  </a:lnTo>
                  <a:lnTo>
                    <a:pt x="3816" y="100"/>
                  </a:lnTo>
                  <a:lnTo>
                    <a:pt x="3596" y="150"/>
                  </a:lnTo>
                  <a:lnTo>
                    <a:pt x="3379" y="211"/>
                  </a:lnTo>
                  <a:lnTo>
                    <a:pt x="3165" y="282"/>
                  </a:lnTo>
                  <a:lnTo>
                    <a:pt x="2953" y="364"/>
                  </a:lnTo>
                  <a:lnTo>
                    <a:pt x="2744" y="456"/>
                  </a:lnTo>
                  <a:lnTo>
                    <a:pt x="2540" y="559"/>
                  </a:lnTo>
                  <a:lnTo>
                    <a:pt x="2340" y="672"/>
                  </a:lnTo>
                  <a:lnTo>
                    <a:pt x="2144" y="794"/>
                  </a:lnTo>
                  <a:lnTo>
                    <a:pt x="1953" y="927"/>
                  </a:lnTo>
                  <a:lnTo>
                    <a:pt x="1766" y="1071"/>
                  </a:lnTo>
                  <a:lnTo>
                    <a:pt x="1586" y="1225"/>
                  </a:lnTo>
                  <a:lnTo>
                    <a:pt x="1411" y="1390"/>
                  </a:lnTo>
                  <a:lnTo>
                    <a:pt x="1240" y="1569"/>
                  </a:lnTo>
                  <a:lnTo>
                    <a:pt x="1080" y="1753"/>
                  </a:lnTo>
                  <a:lnTo>
                    <a:pt x="931" y="1943"/>
                  </a:lnTo>
                  <a:lnTo>
                    <a:pt x="794" y="2140"/>
                  </a:lnTo>
                  <a:lnTo>
                    <a:pt x="667" y="2340"/>
                  </a:lnTo>
                  <a:lnTo>
                    <a:pt x="551" y="2546"/>
                  </a:lnTo>
                  <a:lnTo>
                    <a:pt x="447" y="2756"/>
                  </a:lnTo>
                  <a:lnTo>
                    <a:pt x="353" y="2970"/>
                  </a:lnTo>
                  <a:lnTo>
                    <a:pt x="271" y="3187"/>
                  </a:lnTo>
                  <a:lnTo>
                    <a:pt x="198" y="3407"/>
                  </a:lnTo>
                  <a:lnTo>
                    <a:pt x="138" y="3630"/>
                  </a:lnTo>
                  <a:lnTo>
                    <a:pt x="89" y="3855"/>
                  </a:lnTo>
                  <a:lnTo>
                    <a:pt x="49" y="4082"/>
                  </a:lnTo>
                  <a:lnTo>
                    <a:pt x="22" y="4309"/>
                  </a:lnTo>
                  <a:lnTo>
                    <a:pt x="6" y="4538"/>
                  </a:lnTo>
                  <a:lnTo>
                    <a:pt x="0" y="4767"/>
                  </a:lnTo>
                  <a:lnTo>
                    <a:pt x="6" y="4996"/>
                  </a:lnTo>
                  <a:lnTo>
                    <a:pt x="22" y="5225"/>
                  </a:lnTo>
                  <a:lnTo>
                    <a:pt x="49" y="5453"/>
                  </a:lnTo>
                  <a:lnTo>
                    <a:pt x="89" y="5680"/>
                  </a:lnTo>
                  <a:lnTo>
                    <a:pt x="138" y="5904"/>
                  </a:lnTo>
                  <a:lnTo>
                    <a:pt x="198" y="6127"/>
                  </a:lnTo>
                  <a:lnTo>
                    <a:pt x="271" y="6347"/>
                  </a:lnTo>
                  <a:lnTo>
                    <a:pt x="353" y="6565"/>
                  </a:lnTo>
                  <a:lnTo>
                    <a:pt x="447" y="6778"/>
                  </a:lnTo>
                  <a:lnTo>
                    <a:pt x="551" y="6989"/>
                  </a:lnTo>
                  <a:lnTo>
                    <a:pt x="667" y="7194"/>
                  </a:lnTo>
                  <a:lnTo>
                    <a:pt x="794" y="7395"/>
                  </a:lnTo>
                  <a:lnTo>
                    <a:pt x="931" y="7591"/>
                  </a:lnTo>
                  <a:lnTo>
                    <a:pt x="1080" y="7782"/>
                  </a:lnTo>
                  <a:lnTo>
                    <a:pt x="1240" y="7966"/>
                  </a:lnTo>
                  <a:lnTo>
                    <a:pt x="1411" y="8144"/>
                  </a:lnTo>
                  <a:lnTo>
                    <a:pt x="1562" y="8294"/>
                  </a:lnTo>
                  <a:lnTo>
                    <a:pt x="1805" y="8534"/>
                  </a:lnTo>
                  <a:lnTo>
                    <a:pt x="2125" y="8850"/>
                  </a:lnTo>
                  <a:lnTo>
                    <a:pt x="2507" y="9230"/>
                  </a:lnTo>
                  <a:lnTo>
                    <a:pt x="2939" y="9659"/>
                  </a:lnTo>
                  <a:lnTo>
                    <a:pt x="3407" y="10122"/>
                  </a:lnTo>
                  <a:lnTo>
                    <a:pt x="3896" y="10606"/>
                  </a:lnTo>
                  <a:lnTo>
                    <a:pt x="4393" y="11099"/>
                  </a:lnTo>
                  <a:lnTo>
                    <a:pt x="4884" y="11585"/>
                  </a:lnTo>
                  <a:lnTo>
                    <a:pt x="5354" y="12051"/>
                  </a:lnTo>
                  <a:lnTo>
                    <a:pt x="5790" y="12483"/>
                  </a:lnTo>
                  <a:lnTo>
                    <a:pt x="6178" y="12868"/>
                  </a:lnTo>
                  <a:lnTo>
                    <a:pt x="6504" y="13191"/>
                  </a:lnTo>
                  <a:lnTo>
                    <a:pt x="6755" y="13439"/>
                  </a:lnTo>
                  <a:lnTo>
                    <a:pt x="6915" y="13598"/>
                  </a:lnTo>
                  <a:lnTo>
                    <a:pt x="6971" y="13654"/>
                  </a:lnTo>
                  <a:lnTo>
                    <a:pt x="7028" y="13707"/>
                  </a:lnTo>
                  <a:lnTo>
                    <a:pt x="7087" y="13758"/>
                  </a:lnTo>
                  <a:lnTo>
                    <a:pt x="7148" y="13804"/>
                  </a:lnTo>
                  <a:lnTo>
                    <a:pt x="7211" y="13847"/>
                  </a:lnTo>
                  <a:lnTo>
                    <a:pt x="7274" y="13887"/>
                  </a:lnTo>
                  <a:lnTo>
                    <a:pt x="7340" y="13923"/>
                  </a:lnTo>
                  <a:lnTo>
                    <a:pt x="7407" y="13956"/>
                  </a:lnTo>
                  <a:lnTo>
                    <a:pt x="7475" y="13985"/>
                  </a:lnTo>
                  <a:lnTo>
                    <a:pt x="7545" y="14011"/>
                  </a:lnTo>
                  <a:lnTo>
                    <a:pt x="7614" y="14034"/>
                  </a:lnTo>
                  <a:lnTo>
                    <a:pt x="7685" y="14053"/>
                  </a:lnTo>
                  <a:lnTo>
                    <a:pt x="7757" y="14068"/>
                  </a:lnTo>
                  <a:lnTo>
                    <a:pt x="7829" y="14080"/>
                  </a:lnTo>
                  <a:lnTo>
                    <a:pt x="7902" y="14089"/>
                  </a:lnTo>
                  <a:lnTo>
                    <a:pt x="7974" y="14094"/>
                  </a:lnTo>
                  <a:lnTo>
                    <a:pt x="8048" y="14096"/>
                  </a:lnTo>
                  <a:lnTo>
                    <a:pt x="8120" y="14094"/>
                  </a:lnTo>
                  <a:lnTo>
                    <a:pt x="8193" y="14089"/>
                  </a:lnTo>
                  <a:lnTo>
                    <a:pt x="8266" y="14080"/>
                  </a:lnTo>
                  <a:lnTo>
                    <a:pt x="8338" y="14068"/>
                  </a:lnTo>
                  <a:lnTo>
                    <a:pt x="8410" y="14053"/>
                  </a:lnTo>
                  <a:lnTo>
                    <a:pt x="8480" y="14034"/>
                  </a:lnTo>
                  <a:lnTo>
                    <a:pt x="8550" y="14011"/>
                  </a:lnTo>
                  <a:lnTo>
                    <a:pt x="8620" y="13985"/>
                  </a:lnTo>
                  <a:lnTo>
                    <a:pt x="8688" y="13956"/>
                  </a:lnTo>
                  <a:lnTo>
                    <a:pt x="8755" y="13923"/>
                  </a:lnTo>
                  <a:lnTo>
                    <a:pt x="8820" y="13887"/>
                  </a:lnTo>
                  <a:lnTo>
                    <a:pt x="8884" y="13847"/>
                  </a:lnTo>
                  <a:lnTo>
                    <a:pt x="8947" y="13804"/>
                  </a:lnTo>
                  <a:lnTo>
                    <a:pt x="9008" y="13758"/>
                  </a:lnTo>
                  <a:lnTo>
                    <a:pt x="9067" y="13707"/>
                  </a:lnTo>
                  <a:lnTo>
                    <a:pt x="9124" y="13654"/>
                  </a:lnTo>
                  <a:lnTo>
                    <a:pt x="9185" y="13593"/>
                  </a:lnTo>
                  <a:lnTo>
                    <a:pt x="9360" y="13419"/>
                  </a:lnTo>
                  <a:lnTo>
                    <a:pt x="9632" y="13151"/>
                  </a:lnTo>
                  <a:lnTo>
                    <a:pt x="9984" y="12801"/>
                  </a:lnTo>
                  <a:lnTo>
                    <a:pt x="10400" y="12388"/>
                  </a:lnTo>
                  <a:lnTo>
                    <a:pt x="10867" y="11926"/>
                  </a:lnTo>
                  <a:lnTo>
                    <a:pt x="11365" y="11432"/>
                  </a:lnTo>
                  <a:lnTo>
                    <a:pt x="11881" y="10921"/>
                  </a:lnTo>
                  <a:lnTo>
                    <a:pt x="12397" y="10410"/>
                  </a:lnTo>
                  <a:lnTo>
                    <a:pt x="12897" y="9915"/>
                  </a:lnTo>
                  <a:lnTo>
                    <a:pt x="13367" y="9449"/>
                  </a:lnTo>
                  <a:lnTo>
                    <a:pt x="13789" y="9031"/>
                  </a:lnTo>
                  <a:lnTo>
                    <a:pt x="14148" y="8675"/>
                  </a:lnTo>
                  <a:lnTo>
                    <a:pt x="14427" y="8398"/>
                  </a:lnTo>
                  <a:lnTo>
                    <a:pt x="14611" y="8216"/>
                  </a:lnTo>
                  <a:lnTo>
                    <a:pt x="14684" y="8144"/>
                  </a:lnTo>
                  <a:lnTo>
                    <a:pt x="14855" y="7966"/>
                  </a:lnTo>
                  <a:lnTo>
                    <a:pt x="15015" y="7782"/>
                  </a:lnTo>
                  <a:lnTo>
                    <a:pt x="15164" y="7591"/>
                  </a:lnTo>
                  <a:lnTo>
                    <a:pt x="15301" y="7395"/>
                  </a:lnTo>
                  <a:lnTo>
                    <a:pt x="15428" y="7194"/>
                  </a:lnTo>
                  <a:lnTo>
                    <a:pt x="15544" y="6989"/>
                  </a:lnTo>
                  <a:lnTo>
                    <a:pt x="15648" y="6778"/>
                  </a:lnTo>
                  <a:lnTo>
                    <a:pt x="15742" y="6565"/>
                  </a:lnTo>
                  <a:lnTo>
                    <a:pt x="15824" y="6347"/>
                  </a:lnTo>
                  <a:lnTo>
                    <a:pt x="15897" y="6127"/>
                  </a:lnTo>
                  <a:lnTo>
                    <a:pt x="15957" y="5904"/>
                  </a:lnTo>
                  <a:lnTo>
                    <a:pt x="16006" y="5680"/>
                  </a:lnTo>
                  <a:lnTo>
                    <a:pt x="16046" y="5453"/>
                  </a:lnTo>
                  <a:lnTo>
                    <a:pt x="16073" y="5225"/>
                  </a:lnTo>
                  <a:lnTo>
                    <a:pt x="16089" y="4996"/>
                  </a:lnTo>
                  <a:lnTo>
                    <a:pt x="16095" y="4767"/>
                  </a:lnTo>
                  <a:lnTo>
                    <a:pt x="16089" y="4538"/>
                  </a:lnTo>
                  <a:lnTo>
                    <a:pt x="16073" y="4309"/>
                  </a:lnTo>
                  <a:lnTo>
                    <a:pt x="16046" y="4082"/>
                  </a:lnTo>
                  <a:lnTo>
                    <a:pt x="16006" y="3855"/>
                  </a:lnTo>
                  <a:lnTo>
                    <a:pt x="15957" y="3630"/>
                  </a:lnTo>
                  <a:lnTo>
                    <a:pt x="15897" y="3407"/>
                  </a:lnTo>
                  <a:lnTo>
                    <a:pt x="15824" y="3187"/>
                  </a:lnTo>
                  <a:lnTo>
                    <a:pt x="15742" y="2970"/>
                  </a:lnTo>
                  <a:lnTo>
                    <a:pt x="15648" y="2756"/>
                  </a:lnTo>
                  <a:lnTo>
                    <a:pt x="15544" y="2546"/>
                  </a:lnTo>
                  <a:lnTo>
                    <a:pt x="15428" y="2340"/>
                  </a:lnTo>
                  <a:lnTo>
                    <a:pt x="15301" y="2140"/>
                  </a:lnTo>
                  <a:lnTo>
                    <a:pt x="15164" y="1943"/>
                  </a:lnTo>
                  <a:lnTo>
                    <a:pt x="15015" y="1753"/>
                  </a:lnTo>
                  <a:lnTo>
                    <a:pt x="14855" y="1569"/>
                  </a:lnTo>
                  <a:lnTo>
                    <a:pt x="14684" y="13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75" name="í$1íďe">
              <a:extLst>
                <a:ext uri="{FF2B5EF4-FFF2-40B4-BE49-F238E27FC236}">
                  <a16:creationId xmlns:a16="http://schemas.microsoft.com/office/drawing/2014/main" id="{F0A423F4-2814-4585-8758-9F950B536115}"/>
                </a:ext>
              </a:extLst>
            </p:cNvPr>
            <p:cNvSpPr/>
            <p:nvPr/>
          </p:nvSpPr>
          <p:spPr bwMode="auto">
            <a:xfrm>
              <a:off x="1876812" y="1776455"/>
              <a:ext cx="60376" cy="61589"/>
            </a:xfrm>
            <a:custGeom>
              <a:avLst/>
              <a:gdLst>
                <a:gd name="T0" fmla="*/ 2026 w 2389"/>
                <a:gd name="T1" fmla="*/ 3 h 2391"/>
                <a:gd name="T2" fmla="*/ 1602 w 2389"/>
                <a:gd name="T3" fmla="*/ 69 h 2391"/>
                <a:gd name="T4" fmla="*/ 1210 w 2389"/>
                <a:gd name="T5" fmla="*/ 213 h 2391"/>
                <a:gd name="T6" fmla="*/ 858 w 2389"/>
                <a:gd name="T7" fmla="*/ 426 h 2391"/>
                <a:gd name="T8" fmla="*/ 554 w 2389"/>
                <a:gd name="T9" fmla="*/ 702 h 2391"/>
                <a:gd name="T10" fmla="*/ 309 w 2389"/>
                <a:gd name="T11" fmla="*/ 1031 h 2391"/>
                <a:gd name="T12" fmla="*/ 130 w 2389"/>
                <a:gd name="T13" fmla="*/ 1405 h 2391"/>
                <a:gd name="T14" fmla="*/ 24 w 2389"/>
                <a:gd name="T15" fmla="*/ 1814 h 2391"/>
                <a:gd name="T16" fmla="*/ 0 w 2389"/>
                <a:gd name="T17" fmla="*/ 2153 h 2391"/>
                <a:gd name="T18" fmla="*/ 8 w 2389"/>
                <a:gd name="T19" fmla="*/ 2203 h 2391"/>
                <a:gd name="T20" fmla="*/ 25 w 2389"/>
                <a:gd name="T21" fmla="*/ 2249 h 2391"/>
                <a:gd name="T22" fmla="*/ 50 w 2389"/>
                <a:gd name="T23" fmla="*/ 2291 h 2391"/>
                <a:gd name="T24" fmla="*/ 82 w 2389"/>
                <a:gd name="T25" fmla="*/ 2327 h 2391"/>
                <a:gd name="T26" fmla="*/ 121 w 2389"/>
                <a:gd name="T27" fmla="*/ 2355 h 2391"/>
                <a:gd name="T28" fmla="*/ 165 w 2389"/>
                <a:gd name="T29" fmla="*/ 2376 h 2391"/>
                <a:gd name="T30" fmla="*/ 213 w 2389"/>
                <a:gd name="T31" fmla="*/ 2389 h 2391"/>
                <a:gd name="T32" fmla="*/ 264 w 2389"/>
                <a:gd name="T33" fmla="*/ 2391 h 2391"/>
                <a:gd name="T34" fmla="*/ 314 w 2389"/>
                <a:gd name="T35" fmla="*/ 2384 h 2391"/>
                <a:gd name="T36" fmla="*/ 360 w 2389"/>
                <a:gd name="T37" fmla="*/ 2367 h 2391"/>
                <a:gd name="T38" fmla="*/ 402 w 2389"/>
                <a:gd name="T39" fmla="*/ 2342 h 2391"/>
                <a:gd name="T40" fmla="*/ 437 w 2389"/>
                <a:gd name="T41" fmla="*/ 2310 h 2391"/>
                <a:gd name="T42" fmla="*/ 467 w 2389"/>
                <a:gd name="T43" fmla="*/ 2271 h 2391"/>
                <a:gd name="T44" fmla="*/ 488 w 2389"/>
                <a:gd name="T45" fmla="*/ 2226 h 2391"/>
                <a:gd name="T46" fmla="*/ 500 w 2389"/>
                <a:gd name="T47" fmla="*/ 2178 h 2391"/>
                <a:gd name="T48" fmla="*/ 503 w 2389"/>
                <a:gd name="T49" fmla="*/ 2140 h 2391"/>
                <a:gd name="T50" fmla="*/ 536 w 2389"/>
                <a:gd name="T51" fmla="*/ 1810 h 2391"/>
                <a:gd name="T52" fmla="*/ 632 w 2389"/>
                <a:gd name="T53" fmla="*/ 1503 h 2391"/>
                <a:gd name="T54" fmla="*/ 782 w 2389"/>
                <a:gd name="T55" fmla="*/ 1225 h 2391"/>
                <a:gd name="T56" fmla="*/ 982 w 2389"/>
                <a:gd name="T57" fmla="*/ 983 h 2391"/>
                <a:gd name="T58" fmla="*/ 1223 w 2389"/>
                <a:gd name="T59" fmla="*/ 783 h 2391"/>
                <a:gd name="T60" fmla="*/ 1501 w 2389"/>
                <a:gd name="T61" fmla="*/ 632 h 2391"/>
                <a:gd name="T62" fmla="*/ 1808 w 2389"/>
                <a:gd name="T63" fmla="*/ 537 h 2391"/>
                <a:gd name="T64" fmla="*/ 2137 w 2389"/>
                <a:gd name="T65" fmla="*/ 504 h 2391"/>
                <a:gd name="T66" fmla="*/ 2176 w 2389"/>
                <a:gd name="T67" fmla="*/ 501 h 2391"/>
                <a:gd name="T68" fmla="*/ 2224 w 2389"/>
                <a:gd name="T69" fmla="*/ 488 h 2391"/>
                <a:gd name="T70" fmla="*/ 2268 w 2389"/>
                <a:gd name="T71" fmla="*/ 467 h 2391"/>
                <a:gd name="T72" fmla="*/ 2306 w 2389"/>
                <a:gd name="T73" fmla="*/ 438 h 2391"/>
                <a:gd name="T74" fmla="*/ 2340 w 2389"/>
                <a:gd name="T75" fmla="*/ 403 h 2391"/>
                <a:gd name="T76" fmla="*/ 2365 w 2389"/>
                <a:gd name="T77" fmla="*/ 362 h 2391"/>
                <a:gd name="T78" fmla="*/ 2381 w 2389"/>
                <a:gd name="T79" fmla="*/ 315 h 2391"/>
                <a:gd name="T80" fmla="*/ 2389 w 2389"/>
                <a:gd name="T81" fmla="*/ 265 h 2391"/>
                <a:gd name="T82" fmla="*/ 2386 w 2389"/>
                <a:gd name="T83" fmla="*/ 214 h 2391"/>
                <a:gd name="T84" fmla="*/ 2374 w 2389"/>
                <a:gd name="T85" fmla="*/ 165 h 2391"/>
                <a:gd name="T86" fmla="*/ 2353 w 2389"/>
                <a:gd name="T87" fmla="*/ 122 h 2391"/>
                <a:gd name="T88" fmla="*/ 2324 w 2389"/>
                <a:gd name="T89" fmla="*/ 83 h 2391"/>
                <a:gd name="T90" fmla="*/ 2288 w 2389"/>
                <a:gd name="T91" fmla="*/ 50 h 2391"/>
                <a:gd name="T92" fmla="*/ 2247 w 2389"/>
                <a:gd name="T93" fmla="*/ 25 h 2391"/>
                <a:gd name="T94" fmla="*/ 2201 w 2389"/>
                <a:gd name="T95" fmla="*/ 8 h 2391"/>
                <a:gd name="T96" fmla="*/ 2151 w 2389"/>
                <a:gd name="T97" fmla="*/ 0 h 2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389" h="2391">
                  <a:moveTo>
                    <a:pt x="2137" y="0"/>
                  </a:moveTo>
                  <a:lnTo>
                    <a:pt x="2136" y="0"/>
                  </a:lnTo>
                  <a:lnTo>
                    <a:pt x="2135" y="1"/>
                  </a:lnTo>
                  <a:lnTo>
                    <a:pt x="2026" y="3"/>
                  </a:lnTo>
                  <a:lnTo>
                    <a:pt x="1917" y="12"/>
                  </a:lnTo>
                  <a:lnTo>
                    <a:pt x="1811" y="25"/>
                  </a:lnTo>
                  <a:lnTo>
                    <a:pt x="1705" y="44"/>
                  </a:lnTo>
                  <a:lnTo>
                    <a:pt x="1602" y="69"/>
                  </a:lnTo>
                  <a:lnTo>
                    <a:pt x="1501" y="97"/>
                  </a:lnTo>
                  <a:lnTo>
                    <a:pt x="1401" y="131"/>
                  </a:lnTo>
                  <a:lnTo>
                    <a:pt x="1305" y="169"/>
                  </a:lnTo>
                  <a:lnTo>
                    <a:pt x="1210" y="213"/>
                  </a:lnTo>
                  <a:lnTo>
                    <a:pt x="1117" y="259"/>
                  </a:lnTo>
                  <a:lnTo>
                    <a:pt x="1028" y="311"/>
                  </a:lnTo>
                  <a:lnTo>
                    <a:pt x="941" y="367"/>
                  </a:lnTo>
                  <a:lnTo>
                    <a:pt x="858" y="426"/>
                  </a:lnTo>
                  <a:lnTo>
                    <a:pt x="777" y="489"/>
                  </a:lnTo>
                  <a:lnTo>
                    <a:pt x="700" y="557"/>
                  </a:lnTo>
                  <a:lnTo>
                    <a:pt x="626" y="627"/>
                  </a:lnTo>
                  <a:lnTo>
                    <a:pt x="554" y="702"/>
                  </a:lnTo>
                  <a:lnTo>
                    <a:pt x="488" y="779"/>
                  </a:lnTo>
                  <a:lnTo>
                    <a:pt x="424" y="861"/>
                  </a:lnTo>
                  <a:lnTo>
                    <a:pt x="365" y="945"/>
                  </a:lnTo>
                  <a:lnTo>
                    <a:pt x="309" y="1031"/>
                  </a:lnTo>
                  <a:lnTo>
                    <a:pt x="257" y="1121"/>
                  </a:lnTo>
                  <a:lnTo>
                    <a:pt x="210" y="1213"/>
                  </a:lnTo>
                  <a:lnTo>
                    <a:pt x="168" y="1308"/>
                  </a:lnTo>
                  <a:lnTo>
                    <a:pt x="130" y="1405"/>
                  </a:lnTo>
                  <a:lnTo>
                    <a:pt x="95" y="1504"/>
                  </a:lnTo>
                  <a:lnTo>
                    <a:pt x="67" y="1606"/>
                  </a:lnTo>
                  <a:lnTo>
                    <a:pt x="43" y="1709"/>
                  </a:lnTo>
                  <a:lnTo>
                    <a:pt x="24" y="1814"/>
                  </a:lnTo>
                  <a:lnTo>
                    <a:pt x="11" y="1921"/>
                  </a:lnTo>
                  <a:lnTo>
                    <a:pt x="3" y="2030"/>
                  </a:lnTo>
                  <a:lnTo>
                    <a:pt x="0" y="2140"/>
                  </a:lnTo>
                  <a:lnTo>
                    <a:pt x="0" y="2153"/>
                  </a:lnTo>
                  <a:lnTo>
                    <a:pt x="1" y="2166"/>
                  </a:lnTo>
                  <a:lnTo>
                    <a:pt x="3" y="2178"/>
                  </a:lnTo>
                  <a:lnTo>
                    <a:pt x="5" y="2191"/>
                  </a:lnTo>
                  <a:lnTo>
                    <a:pt x="8" y="2203"/>
                  </a:lnTo>
                  <a:lnTo>
                    <a:pt x="11" y="2215"/>
                  </a:lnTo>
                  <a:lnTo>
                    <a:pt x="15" y="2226"/>
                  </a:lnTo>
                  <a:lnTo>
                    <a:pt x="20" y="2238"/>
                  </a:lnTo>
                  <a:lnTo>
                    <a:pt x="25" y="2249"/>
                  </a:lnTo>
                  <a:lnTo>
                    <a:pt x="30" y="2261"/>
                  </a:lnTo>
                  <a:lnTo>
                    <a:pt x="36" y="2271"/>
                  </a:lnTo>
                  <a:lnTo>
                    <a:pt x="43" y="2281"/>
                  </a:lnTo>
                  <a:lnTo>
                    <a:pt x="50" y="2291"/>
                  </a:lnTo>
                  <a:lnTo>
                    <a:pt x="57" y="2300"/>
                  </a:lnTo>
                  <a:lnTo>
                    <a:pt x="65" y="2310"/>
                  </a:lnTo>
                  <a:lnTo>
                    <a:pt x="73" y="2318"/>
                  </a:lnTo>
                  <a:lnTo>
                    <a:pt x="82" y="2327"/>
                  </a:lnTo>
                  <a:lnTo>
                    <a:pt x="91" y="2334"/>
                  </a:lnTo>
                  <a:lnTo>
                    <a:pt x="100" y="2342"/>
                  </a:lnTo>
                  <a:lnTo>
                    <a:pt x="110" y="2349"/>
                  </a:lnTo>
                  <a:lnTo>
                    <a:pt x="121" y="2355"/>
                  </a:lnTo>
                  <a:lnTo>
                    <a:pt x="132" y="2361"/>
                  </a:lnTo>
                  <a:lnTo>
                    <a:pt x="143" y="2367"/>
                  </a:lnTo>
                  <a:lnTo>
                    <a:pt x="154" y="2372"/>
                  </a:lnTo>
                  <a:lnTo>
                    <a:pt x="165" y="2376"/>
                  </a:lnTo>
                  <a:lnTo>
                    <a:pt x="177" y="2380"/>
                  </a:lnTo>
                  <a:lnTo>
                    <a:pt x="188" y="2384"/>
                  </a:lnTo>
                  <a:lnTo>
                    <a:pt x="201" y="2386"/>
                  </a:lnTo>
                  <a:lnTo>
                    <a:pt x="213" y="2389"/>
                  </a:lnTo>
                  <a:lnTo>
                    <a:pt x="225" y="2390"/>
                  </a:lnTo>
                  <a:lnTo>
                    <a:pt x="238" y="2391"/>
                  </a:lnTo>
                  <a:lnTo>
                    <a:pt x="251" y="2391"/>
                  </a:lnTo>
                  <a:lnTo>
                    <a:pt x="264" y="2391"/>
                  </a:lnTo>
                  <a:lnTo>
                    <a:pt x="277" y="2390"/>
                  </a:lnTo>
                  <a:lnTo>
                    <a:pt x="290" y="2389"/>
                  </a:lnTo>
                  <a:lnTo>
                    <a:pt x="302" y="2386"/>
                  </a:lnTo>
                  <a:lnTo>
                    <a:pt x="314" y="2384"/>
                  </a:lnTo>
                  <a:lnTo>
                    <a:pt x="326" y="2380"/>
                  </a:lnTo>
                  <a:lnTo>
                    <a:pt x="338" y="2376"/>
                  </a:lnTo>
                  <a:lnTo>
                    <a:pt x="349" y="2372"/>
                  </a:lnTo>
                  <a:lnTo>
                    <a:pt x="360" y="2367"/>
                  </a:lnTo>
                  <a:lnTo>
                    <a:pt x="371" y="2361"/>
                  </a:lnTo>
                  <a:lnTo>
                    <a:pt x="382" y="2355"/>
                  </a:lnTo>
                  <a:lnTo>
                    <a:pt x="392" y="2349"/>
                  </a:lnTo>
                  <a:lnTo>
                    <a:pt x="402" y="2342"/>
                  </a:lnTo>
                  <a:lnTo>
                    <a:pt x="411" y="2334"/>
                  </a:lnTo>
                  <a:lnTo>
                    <a:pt x="420" y="2327"/>
                  </a:lnTo>
                  <a:lnTo>
                    <a:pt x="429" y="2318"/>
                  </a:lnTo>
                  <a:lnTo>
                    <a:pt x="437" y="2310"/>
                  </a:lnTo>
                  <a:lnTo>
                    <a:pt x="445" y="2300"/>
                  </a:lnTo>
                  <a:lnTo>
                    <a:pt x="453" y="2291"/>
                  </a:lnTo>
                  <a:lnTo>
                    <a:pt x="460" y="2281"/>
                  </a:lnTo>
                  <a:lnTo>
                    <a:pt x="467" y="2271"/>
                  </a:lnTo>
                  <a:lnTo>
                    <a:pt x="473" y="2261"/>
                  </a:lnTo>
                  <a:lnTo>
                    <a:pt x="478" y="2249"/>
                  </a:lnTo>
                  <a:lnTo>
                    <a:pt x="483" y="2238"/>
                  </a:lnTo>
                  <a:lnTo>
                    <a:pt x="488" y="2226"/>
                  </a:lnTo>
                  <a:lnTo>
                    <a:pt x="492" y="2215"/>
                  </a:lnTo>
                  <a:lnTo>
                    <a:pt x="495" y="2203"/>
                  </a:lnTo>
                  <a:lnTo>
                    <a:pt x="498" y="2191"/>
                  </a:lnTo>
                  <a:lnTo>
                    <a:pt x="500" y="2178"/>
                  </a:lnTo>
                  <a:lnTo>
                    <a:pt x="502" y="2166"/>
                  </a:lnTo>
                  <a:lnTo>
                    <a:pt x="503" y="2153"/>
                  </a:lnTo>
                  <a:lnTo>
                    <a:pt x="503" y="2140"/>
                  </a:lnTo>
                  <a:lnTo>
                    <a:pt x="503" y="2140"/>
                  </a:lnTo>
                  <a:lnTo>
                    <a:pt x="505" y="2055"/>
                  </a:lnTo>
                  <a:lnTo>
                    <a:pt x="511" y="1973"/>
                  </a:lnTo>
                  <a:lnTo>
                    <a:pt x="522" y="1890"/>
                  </a:lnTo>
                  <a:lnTo>
                    <a:pt x="536" y="1810"/>
                  </a:lnTo>
                  <a:lnTo>
                    <a:pt x="554" y="1731"/>
                  </a:lnTo>
                  <a:lnTo>
                    <a:pt x="576" y="1653"/>
                  </a:lnTo>
                  <a:lnTo>
                    <a:pt x="602" y="1577"/>
                  </a:lnTo>
                  <a:lnTo>
                    <a:pt x="632" y="1503"/>
                  </a:lnTo>
                  <a:lnTo>
                    <a:pt x="664" y="1431"/>
                  </a:lnTo>
                  <a:lnTo>
                    <a:pt x="700" y="1360"/>
                  </a:lnTo>
                  <a:lnTo>
                    <a:pt x="739" y="1292"/>
                  </a:lnTo>
                  <a:lnTo>
                    <a:pt x="782" y="1225"/>
                  </a:lnTo>
                  <a:lnTo>
                    <a:pt x="828" y="1161"/>
                  </a:lnTo>
                  <a:lnTo>
                    <a:pt x="876" y="1100"/>
                  </a:lnTo>
                  <a:lnTo>
                    <a:pt x="927" y="1040"/>
                  </a:lnTo>
                  <a:lnTo>
                    <a:pt x="982" y="983"/>
                  </a:lnTo>
                  <a:lnTo>
                    <a:pt x="1038" y="928"/>
                  </a:lnTo>
                  <a:lnTo>
                    <a:pt x="1097" y="877"/>
                  </a:lnTo>
                  <a:lnTo>
                    <a:pt x="1160" y="829"/>
                  </a:lnTo>
                  <a:lnTo>
                    <a:pt x="1223" y="783"/>
                  </a:lnTo>
                  <a:lnTo>
                    <a:pt x="1289" y="741"/>
                  </a:lnTo>
                  <a:lnTo>
                    <a:pt x="1358" y="701"/>
                  </a:lnTo>
                  <a:lnTo>
                    <a:pt x="1428" y="666"/>
                  </a:lnTo>
                  <a:lnTo>
                    <a:pt x="1501" y="632"/>
                  </a:lnTo>
                  <a:lnTo>
                    <a:pt x="1575" y="603"/>
                  </a:lnTo>
                  <a:lnTo>
                    <a:pt x="1652" y="577"/>
                  </a:lnTo>
                  <a:lnTo>
                    <a:pt x="1729" y="555"/>
                  </a:lnTo>
                  <a:lnTo>
                    <a:pt x="1808" y="537"/>
                  </a:lnTo>
                  <a:lnTo>
                    <a:pt x="1888" y="523"/>
                  </a:lnTo>
                  <a:lnTo>
                    <a:pt x="1970" y="513"/>
                  </a:lnTo>
                  <a:lnTo>
                    <a:pt x="2053" y="506"/>
                  </a:lnTo>
                  <a:lnTo>
                    <a:pt x="2137" y="504"/>
                  </a:lnTo>
                  <a:lnTo>
                    <a:pt x="2137" y="504"/>
                  </a:lnTo>
                  <a:lnTo>
                    <a:pt x="2151" y="504"/>
                  </a:lnTo>
                  <a:lnTo>
                    <a:pt x="2164" y="503"/>
                  </a:lnTo>
                  <a:lnTo>
                    <a:pt x="2176" y="501"/>
                  </a:lnTo>
                  <a:lnTo>
                    <a:pt x="2189" y="499"/>
                  </a:lnTo>
                  <a:lnTo>
                    <a:pt x="2201" y="496"/>
                  </a:lnTo>
                  <a:lnTo>
                    <a:pt x="2213" y="492"/>
                  </a:lnTo>
                  <a:lnTo>
                    <a:pt x="2224" y="488"/>
                  </a:lnTo>
                  <a:lnTo>
                    <a:pt x="2235" y="484"/>
                  </a:lnTo>
                  <a:lnTo>
                    <a:pt x="2247" y="479"/>
                  </a:lnTo>
                  <a:lnTo>
                    <a:pt x="2257" y="473"/>
                  </a:lnTo>
                  <a:lnTo>
                    <a:pt x="2268" y="467"/>
                  </a:lnTo>
                  <a:lnTo>
                    <a:pt x="2278" y="461"/>
                  </a:lnTo>
                  <a:lnTo>
                    <a:pt x="2288" y="454"/>
                  </a:lnTo>
                  <a:lnTo>
                    <a:pt x="2297" y="446"/>
                  </a:lnTo>
                  <a:lnTo>
                    <a:pt x="2306" y="438"/>
                  </a:lnTo>
                  <a:lnTo>
                    <a:pt x="2316" y="430"/>
                  </a:lnTo>
                  <a:lnTo>
                    <a:pt x="2324" y="421"/>
                  </a:lnTo>
                  <a:lnTo>
                    <a:pt x="2332" y="412"/>
                  </a:lnTo>
                  <a:lnTo>
                    <a:pt x="2340" y="403"/>
                  </a:lnTo>
                  <a:lnTo>
                    <a:pt x="2347" y="393"/>
                  </a:lnTo>
                  <a:lnTo>
                    <a:pt x="2353" y="383"/>
                  </a:lnTo>
                  <a:lnTo>
                    <a:pt x="2359" y="372"/>
                  </a:lnTo>
                  <a:lnTo>
                    <a:pt x="2365" y="362"/>
                  </a:lnTo>
                  <a:lnTo>
                    <a:pt x="2370" y="350"/>
                  </a:lnTo>
                  <a:lnTo>
                    <a:pt x="2374" y="338"/>
                  </a:lnTo>
                  <a:lnTo>
                    <a:pt x="2378" y="326"/>
                  </a:lnTo>
                  <a:lnTo>
                    <a:pt x="2381" y="315"/>
                  </a:lnTo>
                  <a:lnTo>
                    <a:pt x="2384" y="303"/>
                  </a:lnTo>
                  <a:lnTo>
                    <a:pt x="2386" y="290"/>
                  </a:lnTo>
                  <a:lnTo>
                    <a:pt x="2388" y="278"/>
                  </a:lnTo>
                  <a:lnTo>
                    <a:pt x="2389" y="265"/>
                  </a:lnTo>
                  <a:lnTo>
                    <a:pt x="2389" y="252"/>
                  </a:lnTo>
                  <a:lnTo>
                    <a:pt x="2389" y="239"/>
                  </a:lnTo>
                  <a:lnTo>
                    <a:pt x="2388" y="227"/>
                  </a:lnTo>
                  <a:lnTo>
                    <a:pt x="2386" y="214"/>
                  </a:lnTo>
                  <a:lnTo>
                    <a:pt x="2384" y="202"/>
                  </a:lnTo>
                  <a:lnTo>
                    <a:pt x="2381" y="189"/>
                  </a:lnTo>
                  <a:lnTo>
                    <a:pt x="2378" y="177"/>
                  </a:lnTo>
                  <a:lnTo>
                    <a:pt x="2374" y="165"/>
                  </a:lnTo>
                  <a:lnTo>
                    <a:pt x="2370" y="154"/>
                  </a:lnTo>
                  <a:lnTo>
                    <a:pt x="2365" y="143"/>
                  </a:lnTo>
                  <a:lnTo>
                    <a:pt x="2359" y="132"/>
                  </a:lnTo>
                  <a:lnTo>
                    <a:pt x="2353" y="122"/>
                  </a:lnTo>
                  <a:lnTo>
                    <a:pt x="2347" y="111"/>
                  </a:lnTo>
                  <a:lnTo>
                    <a:pt x="2340" y="102"/>
                  </a:lnTo>
                  <a:lnTo>
                    <a:pt x="2332" y="92"/>
                  </a:lnTo>
                  <a:lnTo>
                    <a:pt x="2324" y="83"/>
                  </a:lnTo>
                  <a:lnTo>
                    <a:pt x="2316" y="74"/>
                  </a:lnTo>
                  <a:lnTo>
                    <a:pt x="2306" y="66"/>
                  </a:lnTo>
                  <a:lnTo>
                    <a:pt x="2297" y="58"/>
                  </a:lnTo>
                  <a:lnTo>
                    <a:pt x="2288" y="50"/>
                  </a:lnTo>
                  <a:lnTo>
                    <a:pt x="2278" y="43"/>
                  </a:lnTo>
                  <a:lnTo>
                    <a:pt x="2268" y="36"/>
                  </a:lnTo>
                  <a:lnTo>
                    <a:pt x="2257" y="30"/>
                  </a:lnTo>
                  <a:lnTo>
                    <a:pt x="2247" y="25"/>
                  </a:lnTo>
                  <a:lnTo>
                    <a:pt x="2235" y="20"/>
                  </a:lnTo>
                  <a:lnTo>
                    <a:pt x="2224" y="15"/>
                  </a:lnTo>
                  <a:lnTo>
                    <a:pt x="2213" y="11"/>
                  </a:lnTo>
                  <a:lnTo>
                    <a:pt x="2201" y="8"/>
                  </a:lnTo>
                  <a:lnTo>
                    <a:pt x="2189" y="5"/>
                  </a:lnTo>
                  <a:lnTo>
                    <a:pt x="2176" y="3"/>
                  </a:lnTo>
                  <a:lnTo>
                    <a:pt x="2164" y="1"/>
                  </a:lnTo>
                  <a:lnTo>
                    <a:pt x="2151" y="0"/>
                  </a:lnTo>
                  <a:lnTo>
                    <a:pt x="213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76" name="ï$1íḋe">
              <a:extLst>
                <a:ext uri="{FF2B5EF4-FFF2-40B4-BE49-F238E27FC236}">
                  <a16:creationId xmlns:a16="http://schemas.microsoft.com/office/drawing/2014/main" id="{682E43D4-53E0-4F89-9A58-C6463E343F4B}"/>
                </a:ext>
              </a:extLst>
            </p:cNvPr>
            <p:cNvSpPr/>
            <p:nvPr/>
          </p:nvSpPr>
          <p:spPr bwMode="auto">
            <a:xfrm>
              <a:off x="2022460" y="1515372"/>
              <a:ext cx="78763" cy="50669"/>
            </a:xfrm>
            <a:custGeom>
              <a:avLst/>
              <a:gdLst>
                <a:gd name="T0" fmla="*/ 4713 w 5797"/>
                <a:gd name="T1" fmla="*/ 41 h 3756"/>
                <a:gd name="T2" fmla="*/ 3661 w 5797"/>
                <a:gd name="T3" fmla="*/ 216 h 3756"/>
                <a:gd name="T4" fmla="*/ 2695 w 5797"/>
                <a:gd name="T5" fmla="*/ 516 h 3756"/>
                <a:gd name="T6" fmla="*/ 1839 w 5797"/>
                <a:gd name="T7" fmla="*/ 924 h 3756"/>
                <a:gd name="T8" fmla="*/ 1118 w 5797"/>
                <a:gd name="T9" fmla="*/ 1423 h 3756"/>
                <a:gd name="T10" fmla="*/ 556 w 5797"/>
                <a:gd name="T11" fmla="*/ 2001 h 3756"/>
                <a:gd name="T12" fmla="*/ 178 w 5797"/>
                <a:gd name="T13" fmla="*/ 2641 h 3756"/>
                <a:gd name="T14" fmla="*/ 7 w 5797"/>
                <a:gd name="T15" fmla="*/ 3329 h 3756"/>
                <a:gd name="T16" fmla="*/ 3 w 5797"/>
                <a:gd name="T17" fmla="*/ 3544 h 3756"/>
                <a:gd name="T18" fmla="*/ 15 w 5797"/>
                <a:gd name="T19" fmla="*/ 3592 h 3756"/>
                <a:gd name="T20" fmla="*/ 36 w 5797"/>
                <a:gd name="T21" fmla="*/ 3636 h 3756"/>
                <a:gd name="T22" fmla="*/ 65 w 5797"/>
                <a:gd name="T23" fmla="*/ 3674 h 3756"/>
                <a:gd name="T24" fmla="*/ 100 w 5797"/>
                <a:gd name="T25" fmla="*/ 3706 h 3756"/>
                <a:gd name="T26" fmla="*/ 143 w 5797"/>
                <a:gd name="T27" fmla="*/ 3731 h 3756"/>
                <a:gd name="T28" fmla="*/ 189 w 5797"/>
                <a:gd name="T29" fmla="*/ 3748 h 3756"/>
                <a:gd name="T30" fmla="*/ 239 w 5797"/>
                <a:gd name="T31" fmla="*/ 3756 h 3756"/>
                <a:gd name="T32" fmla="*/ 290 w 5797"/>
                <a:gd name="T33" fmla="*/ 3753 h 3756"/>
                <a:gd name="T34" fmla="*/ 338 w 5797"/>
                <a:gd name="T35" fmla="*/ 3741 h 3756"/>
                <a:gd name="T36" fmla="*/ 383 w 5797"/>
                <a:gd name="T37" fmla="*/ 3720 h 3756"/>
                <a:gd name="T38" fmla="*/ 421 w 5797"/>
                <a:gd name="T39" fmla="*/ 3691 h 3756"/>
                <a:gd name="T40" fmla="*/ 453 w 5797"/>
                <a:gd name="T41" fmla="*/ 3655 h 3756"/>
                <a:gd name="T42" fmla="*/ 479 w 5797"/>
                <a:gd name="T43" fmla="*/ 3614 h 3756"/>
                <a:gd name="T44" fmla="*/ 496 w 5797"/>
                <a:gd name="T45" fmla="*/ 3568 h 3756"/>
                <a:gd name="T46" fmla="*/ 504 w 5797"/>
                <a:gd name="T47" fmla="*/ 3519 h 3756"/>
                <a:gd name="T48" fmla="*/ 564 w 5797"/>
                <a:gd name="T49" fmla="*/ 3062 h 3756"/>
                <a:gd name="T50" fmla="*/ 820 w 5797"/>
                <a:gd name="T51" fmla="*/ 2496 h 3756"/>
                <a:gd name="T52" fmla="*/ 1257 w 5797"/>
                <a:gd name="T53" fmla="*/ 1973 h 3756"/>
                <a:gd name="T54" fmla="*/ 1848 w 5797"/>
                <a:gd name="T55" fmla="*/ 1509 h 3756"/>
                <a:gd name="T56" fmla="*/ 2572 w 5797"/>
                <a:gd name="T57" fmla="*/ 1115 h 3756"/>
                <a:gd name="T58" fmla="*/ 3402 w 5797"/>
                <a:gd name="T59" fmla="*/ 807 h 3756"/>
                <a:gd name="T60" fmla="*/ 4318 w 5797"/>
                <a:gd name="T61" fmla="*/ 599 h 3756"/>
                <a:gd name="T62" fmla="*/ 5294 w 5797"/>
                <a:gd name="T63" fmla="*/ 505 h 3756"/>
                <a:gd name="T64" fmla="*/ 5583 w 5797"/>
                <a:gd name="T65" fmla="*/ 498 h 3756"/>
                <a:gd name="T66" fmla="*/ 5632 w 5797"/>
                <a:gd name="T67" fmla="*/ 486 h 3756"/>
                <a:gd name="T68" fmla="*/ 5676 w 5797"/>
                <a:gd name="T69" fmla="*/ 465 h 3756"/>
                <a:gd name="T70" fmla="*/ 5714 w 5797"/>
                <a:gd name="T71" fmla="*/ 436 h 3756"/>
                <a:gd name="T72" fmla="*/ 5747 w 5797"/>
                <a:gd name="T73" fmla="*/ 401 h 3756"/>
                <a:gd name="T74" fmla="*/ 5772 w 5797"/>
                <a:gd name="T75" fmla="*/ 359 h 3756"/>
                <a:gd name="T76" fmla="*/ 5789 w 5797"/>
                <a:gd name="T77" fmla="*/ 313 h 3756"/>
                <a:gd name="T78" fmla="*/ 5797 w 5797"/>
                <a:gd name="T79" fmla="*/ 264 h 3756"/>
                <a:gd name="T80" fmla="*/ 5794 w 5797"/>
                <a:gd name="T81" fmla="*/ 212 h 3756"/>
                <a:gd name="T82" fmla="*/ 5782 w 5797"/>
                <a:gd name="T83" fmla="*/ 164 h 3756"/>
                <a:gd name="T84" fmla="*/ 5761 w 5797"/>
                <a:gd name="T85" fmla="*/ 120 h 3756"/>
                <a:gd name="T86" fmla="*/ 5732 w 5797"/>
                <a:gd name="T87" fmla="*/ 82 h 3756"/>
                <a:gd name="T88" fmla="*/ 5696 w 5797"/>
                <a:gd name="T89" fmla="*/ 50 h 3756"/>
                <a:gd name="T90" fmla="*/ 5654 w 5797"/>
                <a:gd name="T91" fmla="*/ 25 h 3756"/>
                <a:gd name="T92" fmla="*/ 5609 w 5797"/>
                <a:gd name="T93" fmla="*/ 8 h 3756"/>
                <a:gd name="T94" fmla="*/ 5558 w 5797"/>
                <a:gd name="T95" fmla="*/ 0 h 3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797" h="3756">
                  <a:moveTo>
                    <a:pt x="5545" y="0"/>
                  </a:moveTo>
                  <a:lnTo>
                    <a:pt x="5265" y="5"/>
                  </a:lnTo>
                  <a:lnTo>
                    <a:pt x="4987" y="18"/>
                  </a:lnTo>
                  <a:lnTo>
                    <a:pt x="4713" y="41"/>
                  </a:lnTo>
                  <a:lnTo>
                    <a:pt x="4444" y="73"/>
                  </a:lnTo>
                  <a:lnTo>
                    <a:pt x="4178" y="112"/>
                  </a:lnTo>
                  <a:lnTo>
                    <a:pt x="3917" y="160"/>
                  </a:lnTo>
                  <a:lnTo>
                    <a:pt x="3661" y="216"/>
                  </a:lnTo>
                  <a:lnTo>
                    <a:pt x="3411" y="281"/>
                  </a:lnTo>
                  <a:lnTo>
                    <a:pt x="3166" y="352"/>
                  </a:lnTo>
                  <a:lnTo>
                    <a:pt x="2927" y="431"/>
                  </a:lnTo>
                  <a:lnTo>
                    <a:pt x="2695" y="516"/>
                  </a:lnTo>
                  <a:lnTo>
                    <a:pt x="2470" y="608"/>
                  </a:lnTo>
                  <a:lnTo>
                    <a:pt x="2251" y="707"/>
                  </a:lnTo>
                  <a:lnTo>
                    <a:pt x="2041" y="812"/>
                  </a:lnTo>
                  <a:lnTo>
                    <a:pt x="1839" y="924"/>
                  </a:lnTo>
                  <a:lnTo>
                    <a:pt x="1645" y="1041"/>
                  </a:lnTo>
                  <a:lnTo>
                    <a:pt x="1460" y="1163"/>
                  </a:lnTo>
                  <a:lnTo>
                    <a:pt x="1284" y="1291"/>
                  </a:lnTo>
                  <a:lnTo>
                    <a:pt x="1118" y="1423"/>
                  </a:lnTo>
                  <a:lnTo>
                    <a:pt x="961" y="1562"/>
                  </a:lnTo>
                  <a:lnTo>
                    <a:pt x="815" y="1704"/>
                  </a:lnTo>
                  <a:lnTo>
                    <a:pt x="680" y="1851"/>
                  </a:lnTo>
                  <a:lnTo>
                    <a:pt x="556" y="2001"/>
                  </a:lnTo>
                  <a:lnTo>
                    <a:pt x="443" y="2157"/>
                  </a:lnTo>
                  <a:lnTo>
                    <a:pt x="342" y="2315"/>
                  </a:lnTo>
                  <a:lnTo>
                    <a:pt x="254" y="2477"/>
                  </a:lnTo>
                  <a:lnTo>
                    <a:pt x="178" y="2641"/>
                  </a:lnTo>
                  <a:lnTo>
                    <a:pt x="115" y="2810"/>
                  </a:lnTo>
                  <a:lnTo>
                    <a:pt x="65" y="2980"/>
                  </a:lnTo>
                  <a:lnTo>
                    <a:pt x="29" y="3153"/>
                  </a:lnTo>
                  <a:lnTo>
                    <a:pt x="7" y="3329"/>
                  </a:lnTo>
                  <a:lnTo>
                    <a:pt x="0" y="3506"/>
                  </a:lnTo>
                  <a:lnTo>
                    <a:pt x="0" y="3519"/>
                  </a:lnTo>
                  <a:lnTo>
                    <a:pt x="1" y="3531"/>
                  </a:lnTo>
                  <a:lnTo>
                    <a:pt x="3" y="3544"/>
                  </a:lnTo>
                  <a:lnTo>
                    <a:pt x="5" y="3556"/>
                  </a:lnTo>
                  <a:lnTo>
                    <a:pt x="8" y="3568"/>
                  </a:lnTo>
                  <a:lnTo>
                    <a:pt x="11" y="3580"/>
                  </a:lnTo>
                  <a:lnTo>
                    <a:pt x="15" y="3592"/>
                  </a:lnTo>
                  <a:lnTo>
                    <a:pt x="20" y="3603"/>
                  </a:lnTo>
                  <a:lnTo>
                    <a:pt x="25" y="3614"/>
                  </a:lnTo>
                  <a:lnTo>
                    <a:pt x="30" y="3625"/>
                  </a:lnTo>
                  <a:lnTo>
                    <a:pt x="36" y="3636"/>
                  </a:lnTo>
                  <a:lnTo>
                    <a:pt x="43" y="3646"/>
                  </a:lnTo>
                  <a:lnTo>
                    <a:pt x="50" y="3655"/>
                  </a:lnTo>
                  <a:lnTo>
                    <a:pt x="57" y="3665"/>
                  </a:lnTo>
                  <a:lnTo>
                    <a:pt x="65" y="3674"/>
                  </a:lnTo>
                  <a:lnTo>
                    <a:pt x="73" y="3683"/>
                  </a:lnTo>
                  <a:lnTo>
                    <a:pt x="82" y="3691"/>
                  </a:lnTo>
                  <a:lnTo>
                    <a:pt x="91" y="3699"/>
                  </a:lnTo>
                  <a:lnTo>
                    <a:pt x="100" y="3706"/>
                  </a:lnTo>
                  <a:lnTo>
                    <a:pt x="111" y="3713"/>
                  </a:lnTo>
                  <a:lnTo>
                    <a:pt x="121" y="3720"/>
                  </a:lnTo>
                  <a:lnTo>
                    <a:pt x="132" y="3726"/>
                  </a:lnTo>
                  <a:lnTo>
                    <a:pt x="143" y="3731"/>
                  </a:lnTo>
                  <a:lnTo>
                    <a:pt x="154" y="3736"/>
                  </a:lnTo>
                  <a:lnTo>
                    <a:pt x="165" y="3741"/>
                  </a:lnTo>
                  <a:lnTo>
                    <a:pt x="177" y="3745"/>
                  </a:lnTo>
                  <a:lnTo>
                    <a:pt x="189" y="3748"/>
                  </a:lnTo>
                  <a:lnTo>
                    <a:pt x="201" y="3751"/>
                  </a:lnTo>
                  <a:lnTo>
                    <a:pt x="213" y="3753"/>
                  </a:lnTo>
                  <a:lnTo>
                    <a:pt x="226" y="3755"/>
                  </a:lnTo>
                  <a:lnTo>
                    <a:pt x="239" y="3756"/>
                  </a:lnTo>
                  <a:lnTo>
                    <a:pt x="252" y="3756"/>
                  </a:lnTo>
                  <a:lnTo>
                    <a:pt x="265" y="3756"/>
                  </a:lnTo>
                  <a:lnTo>
                    <a:pt x="278" y="3755"/>
                  </a:lnTo>
                  <a:lnTo>
                    <a:pt x="290" y="3753"/>
                  </a:lnTo>
                  <a:lnTo>
                    <a:pt x="302" y="3751"/>
                  </a:lnTo>
                  <a:lnTo>
                    <a:pt x="315" y="3748"/>
                  </a:lnTo>
                  <a:lnTo>
                    <a:pt x="326" y="3745"/>
                  </a:lnTo>
                  <a:lnTo>
                    <a:pt x="338" y="3741"/>
                  </a:lnTo>
                  <a:lnTo>
                    <a:pt x="349" y="3736"/>
                  </a:lnTo>
                  <a:lnTo>
                    <a:pt x="361" y="3731"/>
                  </a:lnTo>
                  <a:lnTo>
                    <a:pt x="372" y="3726"/>
                  </a:lnTo>
                  <a:lnTo>
                    <a:pt x="383" y="3720"/>
                  </a:lnTo>
                  <a:lnTo>
                    <a:pt x="393" y="3713"/>
                  </a:lnTo>
                  <a:lnTo>
                    <a:pt x="403" y="3706"/>
                  </a:lnTo>
                  <a:lnTo>
                    <a:pt x="412" y="3699"/>
                  </a:lnTo>
                  <a:lnTo>
                    <a:pt x="421" y="3691"/>
                  </a:lnTo>
                  <a:lnTo>
                    <a:pt x="430" y="3683"/>
                  </a:lnTo>
                  <a:lnTo>
                    <a:pt x="438" y="3674"/>
                  </a:lnTo>
                  <a:lnTo>
                    <a:pt x="446" y="3665"/>
                  </a:lnTo>
                  <a:lnTo>
                    <a:pt x="453" y="3655"/>
                  </a:lnTo>
                  <a:lnTo>
                    <a:pt x="460" y="3646"/>
                  </a:lnTo>
                  <a:lnTo>
                    <a:pt x="467" y="3636"/>
                  </a:lnTo>
                  <a:lnTo>
                    <a:pt x="474" y="3625"/>
                  </a:lnTo>
                  <a:lnTo>
                    <a:pt x="479" y="3614"/>
                  </a:lnTo>
                  <a:lnTo>
                    <a:pt x="484" y="3603"/>
                  </a:lnTo>
                  <a:lnTo>
                    <a:pt x="489" y="3592"/>
                  </a:lnTo>
                  <a:lnTo>
                    <a:pt x="493" y="3580"/>
                  </a:lnTo>
                  <a:lnTo>
                    <a:pt x="496" y="3568"/>
                  </a:lnTo>
                  <a:lnTo>
                    <a:pt x="499" y="3556"/>
                  </a:lnTo>
                  <a:lnTo>
                    <a:pt x="501" y="3544"/>
                  </a:lnTo>
                  <a:lnTo>
                    <a:pt x="503" y="3531"/>
                  </a:lnTo>
                  <a:lnTo>
                    <a:pt x="504" y="3519"/>
                  </a:lnTo>
                  <a:lnTo>
                    <a:pt x="504" y="3506"/>
                  </a:lnTo>
                  <a:lnTo>
                    <a:pt x="511" y="3357"/>
                  </a:lnTo>
                  <a:lnTo>
                    <a:pt x="531" y="3208"/>
                  </a:lnTo>
                  <a:lnTo>
                    <a:pt x="564" y="3062"/>
                  </a:lnTo>
                  <a:lnTo>
                    <a:pt x="611" y="2917"/>
                  </a:lnTo>
                  <a:lnTo>
                    <a:pt x="669" y="2775"/>
                  </a:lnTo>
                  <a:lnTo>
                    <a:pt x="739" y="2634"/>
                  </a:lnTo>
                  <a:lnTo>
                    <a:pt x="820" y="2496"/>
                  </a:lnTo>
                  <a:lnTo>
                    <a:pt x="914" y="2361"/>
                  </a:lnTo>
                  <a:lnTo>
                    <a:pt x="1018" y="2229"/>
                  </a:lnTo>
                  <a:lnTo>
                    <a:pt x="1132" y="2100"/>
                  </a:lnTo>
                  <a:lnTo>
                    <a:pt x="1257" y="1973"/>
                  </a:lnTo>
                  <a:lnTo>
                    <a:pt x="1391" y="1851"/>
                  </a:lnTo>
                  <a:lnTo>
                    <a:pt x="1534" y="1733"/>
                  </a:lnTo>
                  <a:lnTo>
                    <a:pt x="1686" y="1619"/>
                  </a:lnTo>
                  <a:lnTo>
                    <a:pt x="1848" y="1509"/>
                  </a:lnTo>
                  <a:lnTo>
                    <a:pt x="2017" y="1403"/>
                  </a:lnTo>
                  <a:lnTo>
                    <a:pt x="2195" y="1302"/>
                  </a:lnTo>
                  <a:lnTo>
                    <a:pt x="2379" y="1206"/>
                  </a:lnTo>
                  <a:lnTo>
                    <a:pt x="2572" y="1115"/>
                  </a:lnTo>
                  <a:lnTo>
                    <a:pt x="2769" y="1030"/>
                  </a:lnTo>
                  <a:lnTo>
                    <a:pt x="2975" y="950"/>
                  </a:lnTo>
                  <a:lnTo>
                    <a:pt x="3186" y="876"/>
                  </a:lnTo>
                  <a:lnTo>
                    <a:pt x="3402" y="807"/>
                  </a:lnTo>
                  <a:lnTo>
                    <a:pt x="3624" y="745"/>
                  </a:lnTo>
                  <a:lnTo>
                    <a:pt x="3851" y="690"/>
                  </a:lnTo>
                  <a:lnTo>
                    <a:pt x="4083" y="641"/>
                  </a:lnTo>
                  <a:lnTo>
                    <a:pt x="4318" y="599"/>
                  </a:lnTo>
                  <a:lnTo>
                    <a:pt x="4557" y="564"/>
                  </a:lnTo>
                  <a:lnTo>
                    <a:pt x="4800" y="537"/>
                  </a:lnTo>
                  <a:lnTo>
                    <a:pt x="5046" y="517"/>
                  </a:lnTo>
                  <a:lnTo>
                    <a:pt x="5294" y="505"/>
                  </a:lnTo>
                  <a:lnTo>
                    <a:pt x="5545" y="501"/>
                  </a:lnTo>
                  <a:lnTo>
                    <a:pt x="5558" y="501"/>
                  </a:lnTo>
                  <a:lnTo>
                    <a:pt x="5571" y="500"/>
                  </a:lnTo>
                  <a:lnTo>
                    <a:pt x="5583" y="498"/>
                  </a:lnTo>
                  <a:lnTo>
                    <a:pt x="5595" y="496"/>
                  </a:lnTo>
                  <a:lnTo>
                    <a:pt x="5609" y="493"/>
                  </a:lnTo>
                  <a:lnTo>
                    <a:pt x="5620" y="490"/>
                  </a:lnTo>
                  <a:lnTo>
                    <a:pt x="5632" y="486"/>
                  </a:lnTo>
                  <a:lnTo>
                    <a:pt x="5643" y="481"/>
                  </a:lnTo>
                  <a:lnTo>
                    <a:pt x="5654" y="476"/>
                  </a:lnTo>
                  <a:lnTo>
                    <a:pt x="5665" y="471"/>
                  </a:lnTo>
                  <a:lnTo>
                    <a:pt x="5676" y="465"/>
                  </a:lnTo>
                  <a:lnTo>
                    <a:pt x="5686" y="458"/>
                  </a:lnTo>
                  <a:lnTo>
                    <a:pt x="5696" y="451"/>
                  </a:lnTo>
                  <a:lnTo>
                    <a:pt x="5705" y="444"/>
                  </a:lnTo>
                  <a:lnTo>
                    <a:pt x="5714" y="436"/>
                  </a:lnTo>
                  <a:lnTo>
                    <a:pt x="5723" y="428"/>
                  </a:lnTo>
                  <a:lnTo>
                    <a:pt x="5732" y="419"/>
                  </a:lnTo>
                  <a:lnTo>
                    <a:pt x="5740" y="410"/>
                  </a:lnTo>
                  <a:lnTo>
                    <a:pt x="5747" y="401"/>
                  </a:lnTo>
                  <a:lnTo>
                    <a:pt x="5754" y="391"/>
                  </a:lnTo>
                  <a:lnTo>
                    <a:pt x="5761" y="381"/>
                  </a:lnTo>
                  <a:lnTo>
                    <a:pt x="5767" y="370"/>
                  </a:lnTo>
                  <a:lnTo>
                    <a:pt x="5772" y="359"/>
                  </a:lnTo>
                  <a:lnTo>
                    <a:pt x="5777" y="348"/>
                  </a:lnTo>
                  <a:lnTo>
                    <a:pt x="5782" y="337"/>
                  </a:lnTo>
                  <a:lnTo>
                    <a:pt x="5786" y="325"/>
                  </a:lnTo>
                  <a:lnTo>
                    <a:pt x="5789" y="313"/>
                  </a:lnTo>
                  <a:lnTo>
                    <a:pt x="5792" y="301"/>
                  </a:lnTo>
                  <a:lnTo>
                    <a:pt x="5794" y="289"/>
                  </a:lnTo>
                  <a:lnTo>
                    <a:pt x="5796" y="277"/>
                  </a:lnTo>
                  <a:lnTo>
                    <a:pt x="5797" y="264"/>
                  </a:lnTo>
                  <a:lnTo>
                    <a:pt x="5797" y="251"/>
                  </a:lnTo>
                  <a:lnTo>
                    <a:pt x="5797" y="237"/>
                  </a:lnTo>
                  <a:lnTo>
                    <a:pt x="5796" y="225"/>
                  </a:lnTo>
                  <a:lnTo>
                    <a:pt x="5794" y="212"/>
                  </a:lnTo>
                  <a:lnTo>
                    <a:pt x="5792" y="200"/>
                  </a:lnTo>
                  <a:lnTo>
                    <a:pt x="5789" y="188"/>
                  </a:lnTo>
                  <a:lnTo>
                    <a:pt x="5786" y="176"/>
                  </a:lnTo>
                  <a:lnTo>
                    <a:pt x="5782" y="164"/>
                  </a:lnTo>
                  <a:lnTo>
                    <a:pt x="5777" y="153"/>
                  </a:lnTo>
                  <a:lnTo>
                    <a:pt x="5772" y="142"/>
                  </a:lnTo>
                  <a:lnTo>
                    <a:pt x="5767" y="131"/>
                  </a:lnTo>
                  <a:lnTo>
                    <a:pt x="5761" y="120"/>
                  </a:lnTo>
                  <a:lnTo>
                    <a:pt x="5754" y="110"/>
                  </a:lnTo>
                  <a:lnTo>
                    <a:pt x="5747" y="100"/>
                  </a:lnTo>
                  <a:lnTo>
                    <a:pt x="5740" y="91"/>
                  </a:lnTo>
                  <a:lnTo>
                    <a:pt x="5732" y="82"/>
                  </a:lnTo>
                  <a:lnTo>
                    <a:pt x="5723" y="73"/>
                  </a:lnTo>
                  <a:lnTo>
                    <a:pt x="5714" y="65"/>
                  </a:lnTo>
                  <a:lnTo>
                    <a:pt x="5705" y="57"/>
                  </a:lnTo>
                  <a:lnTo>
                    <a:pt x="5696" y="50"/>
                  </a:lnTo>
                  <a:lnTo>
                    <a:pt x="5686" y="43"/>
                  </a:lnTo>
                  <a:lnTo>
                    <a:pt x="5676" y="36"/>
                  </a:lnTo>
                  <a:lnTo>
                    <a:pt x="5665" y="30"/>
                  </a:lnTo>
                  <a:lnTo>
                    <a:pt x="5654" y="25"/>
                  </a:lnTo>
                  <a:lnTo>
                    <a:pt x="5643" y="20"/>
                  </a:lnTo>
                  <a:lnTo>
                    <a:pt x="5632" y="15"/>
                  </a:lnTo>
                  <a:lnTo>
                    <a:pt x="5620" y="11"/>
                  </a:lnTo>
                  <a:lnTo>
                    <a:pt x="5609" y="8"/>
                  </a:lnTo>
                  <a:lnTo>
                    <a:pt x="5595" y="5"/>
                  </a:lnTo>
                  <a:lnTo>
                    <a:pt x="5583" y="3"/>
                  </a:lnTo>
                  <a:lnTo>
                    <a:pt x="5571" y="1"/>
                  </a:lnTo>
                  <a:lnTo>
                    <a:pt x="5558" y="0"/>
                  </a:lnTo>
                  <a:lnTo>
                    <a:pt x="55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77" name="îŝḷïḋé">
              <a:extLst>
                <a:ext uri="{FF2B5EF4-FFF2-40B4-BE49-F238E27FC236}">
                  <a16:creationId xmlns:a16="http://schemas.microsoft.com/office/drawing/2014/main" id="{61491CAA-8B0A-498E-A6FD-5501DFF9BF0D}"/>
                </a:ext>
              </a:extLst>
            </p:cNvPr>
            <p:cNvSpPr/>
            <p:nvPr/>
          </p:nvSpPr>
          <p:spPr bwMode="auto">
            <a:xfrm>
              <a:off x="1988346" y="1481258"/>
              <a:ext cx="218729" cy="190134"/>
            </a:xfrm>
            <a:custGeom>
              <a:avLst/>
              <a:gdLst>
                <a:gd name="T0" fmla="*/ 7365 w 16132"/>
                <a:gd name="T1" fmla="*/ 10992 h 14023"/>
                <a:gd name="T2" fmla="*/ 6620 w 16132"/>
                <a:gd name="T3" fmla="*/ 10910 h 14023"/>
                <a:gd name="T4" fmla="*/ 6344 w 16132"/>
                <a:gd name="T5" fmla="*/ 10917 h 14023"/>
                <a:gd name="T6" fmla="*/ 6106 w 16132"/>
                <a:gd name="T7" fmla="*/ 10988 h 14023"/>
                <a:gd name="T8" fmla="*/ 5892 w 16132"/>
                <a:gd name="T9" fmla="*/ 11114 h 14023"/>
                <a:gd name="T10" fmla="*/ 5710 w 16132"/>
                <a:gd name="T11" fmla="*/ 11296 h 14023"/>
                <a:gd name="T12" fmla="*/ 5336 w 16132"/>
                <a:gd name="T13" fmla="*/ 11674 h 14023"/>
                <a:gd name="T14" fmla="*/ 4873 w 16132"/>
                <a:gd name="T15" fmla="*/ 12065 h 14023"/>
                <a:gd name="T16" fmla="*/ 4310 w 16132"/>
                <a:gd name="T17" fmla="*/ 12459 h 14023"/>
                <a:gd name="T18" fmla="*/ 4388 w 16132"/>
                <a:gd name="T19" fmla="*/ 11971 h 14023"/>
                <a:gd name="T20" fmla="*/ 4488 w 16132"/>
                <a:gd name="T21" fmla="*/ 11553 h 14023"/>
                <a:gd name="T22" fmla="*/ 4535 w 16132"/>
                <a:gd name="T23" fmla="*/ 11121 h 14023"/>
                <a:gd name="T24" fmla="*/ 4531 w 16132"/>
                <a:gd name="T25" fmla="*/ 10842 h 14023"/>
                <a:gd name="T26" fmla="*/ 4442 w 16132"/>
                <a:gd name="T27" fmla="*/ 10547 h 14023"/>
                <a:gd name="T28" fmla="*/ 4269 w 16132"/>
                <a:gd name="T29" fmla="*/ 10296 h 14023"/>
                <a:gd name="T30" fmla="*/ 4023 w 16132"/>
                <a:gd name="T31" fmla="*/ 10106 h 14023"/>
                <a:gd name="T32" fmla="*/ 2737 w 16132"/>
                <a:gd name="T33" fmla="*/ 9277 h 14023"/>
                <a:gd name="T34" fmla="*/ 1706 w 16132"/>
                <a:gd name="T35" fmla="*/ 8163 h 14023"/>
                <a:gd name="T36" fmla="*/ 1123 w 16132"/>
                <a:gd name="T37" fmla="*/ 6901 h 14023"/>
                <a:gd name="T38" fmla="*/ 1090 w 16132"/>
                <a:gd name="T39" fmla="*/ 5248 h 14023"/>
                <a:gd name="T40" fmla="*/ 2215 w 16132"/>
                <a:gd name="T41" fmla="*/ 3211 h 14023"/>
                <a:gd name="T42" fmla="*/ 4409 w 16132"/>
                <a:gd name="T43" fmla="*/ 1728 h 14023"/>
                <a:gd name="T44" fmla="*/ 7345 w 16132"/>
                <a:gd name="T45" fmla="*/ 1028 h 14023"/>
                <a:gd name="T46" fmla="*/ 10490 w 16132"/>
                <a:gd name="T47" fmla="*/ 1306 h 14023"/>
                <a:gd name="T48" fmla="*/ 13054 w 16132"/>
                <a:gd name="T49" fmla="*/ 2470 h 14023"/>
                <a:gd name="T50" fmla="*/ 14695 w 16132"/>
                <a:gd name="T51" fmla="*/ 4290 h 14023"/>
                <a:gd name="T52" fmla="*/ 15087 w 16132"/>
                <a:gd name="T53" fmla="*/ 6521 h 14023"/>
                <a:gd name="T54" fmla="*/ 14100 w 16132"/>
                <a:gd name="T55" fmla="*/ 8605 h 14023"/>
                <a:gd name="T56" fmla="*/ 12009 w 16132"/>
                <a:gd name="T57" fmla="*/ 10162 h 14023"/>
                <a:gd name="T58" fmla="*/ 9140 w 16132"/>
                <a:gd name="T59" fmla="*/ 10960 h 14023"/>
                <a:gd name="T60" fmla="*/ 6051 w 16132"/>
                <a:gd name="T61" fmla="*/ 189 h 14023"/>
                <a:gd name="T62" fmla="*/ 2935 w 16132"/>
                <a:gd name="T63" fmla="*/ 1372 h 14023"/>
                <a:gd name="T64" fmla="*/ 796 w 16132"/>
                <a:gd name="T65" fmla="*/ 3405 h 14023"/>
                <a:gd name="T66" fmla="*/ 0 w 16132"/>
                <a:gd name="T67" fmla="*/ 6010 h 14023"/>
                <a:gd name="T68" fmla="*/ 318 w 16132"/>
                <a:gd name="T69" fmla="*/ 7685 h 14023"/>
                <a:gd name="T70" fmla="*/ 1211 w 16132"/>
                <a:gd name="T71" fmla="*/ 9177 h 14023"/>
                <a:gd name="T72" fmla="*/ 2590 w 16132"/>
                <a:gd name="T73" fmla="*/ 10421 h 14023"/>
                <a:gd name="T74" fmla="*/ 3529 w 16132"/>
                <a:gd name="T75" fmla="*/ 11018 h 14023"/>
                <a:gd name="T76" fmla="*/ 3392 w 16132"/>
                <a:gd name="T77" fmla="*/ 11780 h 14023"/>
                <a:gd name="T78" fmla="*/ 3075 w 16132"/>
                <a:gd name="T79" fmla="*/ 12505 h 14023"/>
                <a:gd name="T80" fmla="*/ 2616 w 16132"/>
                <a:gd name="T81" fmla="*/ 13290 h 14023"/>
                <a:gd name="T82" fmla="*/ 2522 w 16132"/>
                <a:gd name="T83" fmla="*/ 13545 h 14023"/>
                <a:gd name="T84" fmla="*/ 2556 w 16132"/>
                <a:gd name="T85" fmla="*/ 13746 h 14023"/>
                <a:gd name="T86" fmla="*/ 2670 w 16132"/>
                <a:gd name="T87" fmla="*/ 13905 h 14023"/>
                <a:gd name="T88" fmla="*/ 2841 w 16132"/>
                <a:gd name="T89" fmla="*/ 14003 h 14023"/>
                <a:gd name="T90" fmla="*/ 3078 w 16132"/>
                <a:gd name="T91" fmla="*/ 14016 h 14023"/>
                <a:gd name="T92" fmla="*/ 3690 w 16132"/>
                <a:gd name="T93" fmla="*/ 13870 h 14023"/>
                <a:gd name="T94" fmla="*/ 4910 w 16132"/>
                <a:gd name="T95" fmla="*/ 13267 h 14023"/>
                <a:gd name="T96" fmla="*/ 5885 w 16132"/>
                <a:gd name="T97" fmla="*/ 12528 h 14023"/>
                <a:gd name="T98" fmla="*/ 6475 w 16132"/>
                <a:gd name="T99" fmla="*/ 11947 h 14023"/>
                <a:gd name="T100" fmla="*/ 7278 w 16132"/>
                <a:gd name="T101" fmla="*/ 11990 h 14023"/>
                <a:gd name="T102" fmla="*/ 8481 w 16132"/>
                <a:gd name="T103" fmla="*/ 12012 h 14023"/>
                <a:gd name="T104" fmla="*/ 11910 w 16132"/>
                <a:gd name="T105" fmla="*/ 11295 h 14023"/>
                <a:gd name="T106" fmla="*/ 14530 w 16132"/>
                <a:gd name="T107" fmla="*/ 9606 h 14023"/>
                <a:gd name="T108" fmla="*/ 15968 w 16132"/>
                <a:gd name="T109" fmla="*/ 7221 h 14023"/>
                <a:gd name="T110" fmla="*/ 15878 w 16132"/>
                <a:gd name="T111" fmla="*/ 4508 h 14023"/>
                <a:gd name="T112" fmla="*/ 14290 w 16132"/>
                <a:gd name="T113" fmla="*/ 2188 h 14023"/>
                <a:gd name="T114" fmla="*/ 11563 w 16132"/>
                <a:gd name="T115" fmla="*/ 593 h 14023"/>
                <a:gd name="T116" fmla="*/ 8066 w 16132"/>
                <a:gd name="T117" fmla="*/ 0 h 14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132" h="14023">
                  <a:moveTo>
                    <a:pt x="8066" y="11018"/>
                  </a:moveTo>
                  <a:lnTo>
                    <a:pt x="7979" y="11018"/>
                  </a:lnTo>
                  <a:lnTo>
                    <a:pt x="7893" y="11016"/>
                  </a:lnTo>
                  <a:lnTo>
                    <a:pt x="7805" y="11014"/>
                  </a:lnTo>
                  <a:lnTo>
                    <a:pt x="7717" y="11012"/>
                  </a:lnTo>
                  <a:lnTo>
                    <a:pt x="7629" y="11008"/>
                  </a:lnTo>
                  <a:lnTo>
                    <a:pt x="7542" y="11003"/>
                  </a:lnTo>
                  <a:lnTo>
                    <a:pt x="7454" y="10998"/>
                  </a:lnTo>
                  <a:lnTo>
                    <a:pt x="7365" y="10992"/>
                  </a:lnTo>
                  <a:lnTo>
                    <a:pt x="7278" y="10985"/>
                  </a:lnTo>
                  <a:lnTo>
                    <a:pt x="7189" y="10978"/>
                  </a:lnTo>
                  <a:lnTo>
                    <a:pt x="7100" y="10969"/>
                  </a:lnTo>
                  <a:lnTo>
                    <a:pt x="7011" y="10960"/>
                  </a:lnTo>
                  <a:lnTo>
                    <a:pt x="6923" y="10950"/>
                  </a:lnTo>
                  <a:lnTo>
                    <a:pt x="6834" y="10939"/>
                  </a:lnTo>
                  <a:lnTo>
                    <a:pt x="6745" y="10927"/>
                  </a:lnTo>
                  <a:lnTo>
                    <a:pt x="6656" y="10914"/>
                  </a:lnTo>
                  <a:lnTo>
                    <a:pt x="6620" y="10910"/>
                  </a:lnTo>
                  <a:lnTo>
                    <a:pt x="6583" y="10906"/>
                  </a:lnTo>
                  <a:lnTo>
                    <a:pt x="6547" y="10904"/>
                  </a:lnTo>
                  <a:lnTo>
                    <a:pt x="6510" y="10903"/>
                  </a:lnTo>
                  <a:lnTo>
                    <a:pt x="6482" y="10904"/>
                  </a:lnTo>
                  <a:lnTo>
                    <a:pt x="6455" y="10905"/>
                  </a:lnTo>
                  <a:lnTo>
                    <a:pt x="6427" y="10907"/>
                  </a:lnTo>
                  <a:lnTo>
                    <a:pt x="6398" y="10910"/>
                  </a:lnTo>
                  <a:lnTo>
                    <a:pt x="6371" y="10913"/>
                  </a:lnTo>
                  <a:lnTo>
                    <a:pt x="6344" y="10917"/>
                  </a:lnTo>
                  <a:lnTo>
                    <a:pt x="6317" y="10922"/>
                  </a:lnTo>
                  <a:lnTo>
                    <a:pt x="6289" y="10928"/>
                  </a:lnTo>
                  <a:lnTo>
                    <a:pt x="6262" y="10934"/>
                  </a:lnTo>
                  <a:lnTo>
                    <a:pt x="6236" y="10941"/>
                  </a:lnTo>
                  <a:lnTo>
                    <a:pt x="6210" y="10949"/>
                  </a:lnTo>
                  <a:lnTo>
                    <a:pt x="6183" y="10958"/>
                  </a:lnTo>
                  <a:lnTo>
                    <a:pt x="6157" y="10967"/>
                  </a:lnTo>
                  <a:lnTo>
                    <a:pt x="6131" y="10977"/>
                  </a:lnTo>
                  <a:lnTo>
                    <a:pt x="6106" y="10988"/>
                  </a:lnTo>
                  <a:lnTo>
                    <a:pt x="6081" y="10999"/>
                  </a:lnTo>
                  <a:lnTo>
                    <a:pt x="6056" y="11011"/>
                  </a:lnTo>
                  <a:lnTo>
                    <a:pt x="6031" y="11024"/>
                  </a:lnTo>
                  <a:lnTo>
                    <a:pt x="6007" y="11037"/>
                  </a:lnTo>
                  <a:lnTo>
                    <a:pt x="5983" y="11051"/>
                  </a:lnTo>
                  <a:lnTo>
                    <a:pt x="5960" y="11066"/>
                  </a:lnTo>
                  <a:lnTo>
                    <a:pt x="5937" y="11081"/>
                  </a:lnTo>
                  <a:lnTo>
                    <a:pt x="5914" y="11097"/>
                  </a:lnTo>
                  <a:lnTo>
                    <a:pt x="5892" y="11114"/>
                  </a:lnTo>
                  <a:lnTo>
                    <a:pt x="5870" y="11131"/>
                  </a:lnTo>
                  <a:lnTo>
                    <a:pt x="5849" y="11149"/>
                  </a:lnTo>
                  <a:lnTo>
                    <a:pt x="5828" y="11167"/>
                  </a:lnTo>
                  <a:lnTo>
                    <a:pt x="5808" y="11187"/>
                  </a:lnTo>
                  <a:lnTo>
                    <a:pt x="5787" y="11206"/>
                  </a:lnTo>
                  <a:lnTo>
                    <a:pt x="5768" y="11227"/>
                  </a:lnTo>
                  <a:lnTo>
                    <a:pt x="5749" y="11248"/>
                  </a:lnTo>
                  <a:lnTo>
                    <a:pt x="5731" y="11269"/>
                  </a:lnTo>
                  <a:lnTo>
                    <a:pt x="5710" y="11296"/>
                  </a:lnTo>
                  <a:lnTo>
                    <a:pt x="5686" y="11323"/>
                  </a:lnTo>
                  <a:lnTo>
                    <a:pt x="5660" y="11352"/>
                  </a:lnTo>
                  <a:lnTo>
                    <a:pt x="5632" y="11382"/>
                  </a:lnTo>
                  <a:lnTo>
                    <a:pt x="5570" y="11448"/>
                  </a:lnTo>
                  <a:lnTo>
                    <a:pt x="5499" y="11518"/>
                  </a:lnTo>
                  <a:lnTo>
                    <a:pt x="5461" y="11556"/>
                  </a:lnTo>
                  <a:lnTo>
                    <a:pt x="5420" y="11594"/>
                  </a:lnTo>
                  <a:lnTo>
                    <a:pt x="5379" y="11633"/>
                  </a:lnTo>
                  <a:lnTo>
                    <a:pt x="5336" y="11674"/>
                  </a:lnTo>
                  <a:lnTo>
                    <a:pt x="5290" y="11715"/>
                  </a:lnTo>
                  <a:lnTo>
                    <a:pt x="5243" y="11757"/>
                  </a:lnTo>
                  <a:lnTo>
                    <a:pt x="5195" y="11799"/>
                  </a:lnTo>
                  <a:lnTo>
                    <a:pt x="5145" y="11842"/>
                  </a:lnTo>
                  <a:lnTo>
                    <a:pt x="5093" y="11886"/>
                  </a:lnTo>
                  <a:lnTo>
                    <a:pt x="5040" y="11931"/>
                  </a:lnTo>
                  <a:lnTo>
                    <a:pt x="4986" y="11975"/>
                  </a:lnTo>
                  <a:lnTo>
                    <a:pt x="4930" y="12020"/>
                  </a:lnTo>
                  <a:lnTo>
                    <a:pt x="4873" y="12065"/>
                  </a:lnTo>
                  <a:lnTo>
                    <a:pt x="4814" y="12109"/>
                  </a:lnTo>
                  <a:lnTo>
                    <a:pt x="4755" y="12154"/>
                  </a:lnTo>
                  <a:lnTo>
                    <a:pt x="4694" y="12199"/>
                  </a:lnTo>
                  <a:lnTo>
                    <a:pt x="4633" y="12243"/>
                  </a:lnTo>
                  <a:lnTo>
                    <a:pt x="4570" y="12287"/>
                  </a:lnTo>
                  <a:lnTo>
                    <a:pt x="4507" y="12331"/>
                  </a:lnTo>
                  <a:lnTo>
                    <a:pt x="4442" y="12374"/>
                  </a:lnTo>
                  <a:lnTo>
                    <a:pt x="4377" y="12417"/>
                  </a:lnTo>
                  <a:lnTo>
                    <a:pt x="4310" y="12459"/>
                  </a:lnTo>
                  <a:lnTo>
                    <a:pt x="4244" y="12501"/>
                  </a:lnTo>
                  <a:lnTo>
                    <a:pt x="4176" y="12542"/>
                  </a:lnTo>
                  <a:lnTo>
                    <a:pt x="4212" y="12456"/>
                  </a:lnTo>
                  <a:lnTo>
                    <a:pt x="4248" y="12371"/>
                  </a:lnTo>
                  <a:lnTo>
                    <a:pt x="4281" y="12284"/>
                  </a:lnTo>
                  <a:lnTo>
                    <a:pt x="4313" y="12196"/>
                  </a:lnTo>
                  <a:lnTo>
                    <a:pt x="4345" y="12107"/>
                  </a:lnTo>
                  <a:lnTo>
                    <a:pt x="4374" y="12017"/>
                  </a:lnTo>
                  <a:lnTo>
                    <a:pt x="4388" y="11971"/>
                  </a:lnTo>
                  <a:lnTo>
                    <a:pt x="4401" y="11926"/>
                  </a:lnTo>
                  <a:lnTo>
                    <a:pt x="4414" y="11879"/>
                  </a:lnTo>
                  <a:lnTo>
                    <a:pt x="4426" y="11833"/>
                  </a:lnTo>
                  <a:lnTo>
                    <a:pt x="4438" y="11787"/>
                  </a:lnTo>
                  <a:lnTo>
                    <a:pt x="4449" y="11740"/>
                  </a:lnTo>
                  <a:lnTo>
                    <a:pt x="4459" y="11694"/>
                  </a:lnTo>
                  <a:lnTo>
                    <a:pt x="4470" y="11647"/>
                  </a:lnTo>
                  <a:lnTo>
                    <a:pt x="4480" y="11600"/>
                  </a:lnTo>
                  <a:lnTo>
                    <a:pt x="4488" y="11553"/>
                  </a:lnTo>
                  <a:lnTo>
                    <a:pt x="4496" y="11506"/>
                  </a:lnTo>
                  <a:lnTo>
                    <a:pt x="4504" y="11458"/>
                  </a:lnTo>
                  <a:lnTo>
                    <a:pt x="4510" y="11411"/>
                  </a:lnTo>
                  <a:lnTo>
                    <a:pt x="4516" y="11363"/>
                  </a:lnTo>
                  <a:lnTo>
                    <a:pt x="4522" y="11315"/>
                  </a:lnTo>
                  <a:lnTo>
                    <a:pt x="4526" y="11266"/>
                  </a:lnTo>
                  <a:lnTo>
                    <a:pt x="4530" y="11218"/>
                  </a:lnTo>
                  <a:lnTo>
                    <a:pt x="4533" y="11170"/>
                  </a:lnTo>
                  <a:lnTo>
                    <a:pt x="4535" y="11121"/>
                  </a:lnTo>
                  <a:lnTo>
                    <a:pt x="4537" y="11073"/>
                  </a:lnTo>
                  <a:lnTo>
                    <a:pt x="4538" y="11049"/>
                  </a:lnTo>
                  <a:lnTo>
                    <a:pt x="4540" y="11025"/>
                  </a:lnTo>
                  <a:lnTo>
                    <a:pt x="4541" y="11002"/>
                  </a:lnTo>
                  <a:lnTo>
                    <a:pt x="4541" y="10981"/>
                  </a:lnTo>
                  <a:lnTo>
                    <a:pt x="4540" y="10946"/>
                  </a:lnTo>
                  <a:lnTo>
                    <a:pt x="4539" y="10911"/>
                  </a:lnTo>
                  <a:lnTo>
                    <a:pt x="4536" y="10876"/>
                  </a:lnTo>
                  <a:lnTo>
                    <a:pt x="4531" y="10842"/>
                  </a:lnTo>
                  <a:lnTo>
                    <a:pt x="4526" y="10808"/>
                  </a:lnTo>
                  <a:lnTo>
                    <a:pt x="4519" y="10774"/>
                  </a:lnTo>
                  <a:lnTo>
                    <a:pt x="4512" y="10741"/>
                  </a:lnTo>
                  <a:lnTo>
                    <a:pt x="4503" y="10707"/>
                  </a:lnTo>
                  <a:lnTo>
                    <a:pt x="4493" y="10675"/>
                  </a:lnTo>
                  <a:lnTo>
                    <a:pt x="4482" y="10641"/>
                  </a:lnTo>
                  <a:lnTo>
                    <a:pt x="4470" y="10610"/>
                  </a:lnTo>
                  <a:lnTo>
                    <a:pt x="4456" y="10578"/>
                  </a:lnTo>
                  <a:lnTo>
                    <a:pt x="4442" y="10547"/>
                  </a:lnTo>
                  <a:lnTo>
                    <a:pt x="4426" y="10517"/>
                  </a:lnTo>
                  <a:lnTo>
                    <a:pt x="4410" y="10487"/>
                  </a:lnTo>
                  <a:lnTo>
                    <a:pt x="4393" y="10458"/>
                  </a:lnTo>
                  <a:lnTo>
                    <a:pt x="4375" y="10429"/>
                  </a:lnTo>
                  <a:lnTo>
                    <a:pt x="4356" y="10401"/>
                  </a:lnTo>
                  <a:lnTo>
                    <a:pt x="4334" y="10374"/>
                  </a:lnTo>
                  <a:lnTo>
                    <a:pt x="4313" y="10347"/>
                  </a:lnTo>
                  <a:lnTo>
                    <a:pt x="4291" y="10321"/>
                  </a:lnTo>
                  <a:lnTo>
                    <a:pt x="4269" y="10296"/>
                  </a:lnTo>
                  <a:lnTo>
                    <a:pt x="4245" y="10271"/>
                  </a:lnTo>
                  <a:lnTo>
                    <a:pt x="4220" y="10248"/>
                  </a:lnTo>
                  <a:lnTo>
                    <a:pt x="4194" y="10225"/>
                  </a:lnTo>
                  <a:lnTo>
                    <a:pt x="4168" y="10203"/>
                  </a:lnTo>
                  <a:lnTo>
                    <a:pt x="4140" y="10182"/>
                  </a:lnTo>
                  <a:lnTo>
                    <a:pt x="4112" y="10161"/>
                  </a:lnTo>
                  <a:lnTo>
                    <a:pt x="4083" y="10142"/>
                  </a:lnTo>
                  <a:lnTo>
                    <a:pt x="4053" y="10123"/>
                  </a:lnTo>
                  <a:lnTo>
                    <a:pt x="4023" y="10106"/>
                  </a:lnTo>
                  <a:lnTo>
                    <a:pt x="3992" y="10089"/>
                  </a:lnTo>
                  <a:lnTo>
                    <a:pt x="3819" y="9998"/>
                  </a:lnTo>
                  <a:lnTo>
                    <a:pt x="3650" y="9904"/>
                  </a:lnTo>
                  <a:lnTo>
                    <a:pt x="3487" y="9807"/>
                  </a:lnTo>
                  <a:lnTo>
                    <a:pt x="3327" y="9707"/>
                  </a:lnTo>
                  <a:lnTo>
                    <a:pt x="3173" y="9604"/>
                  </a:lnTo>
                  <a:lnTo>
                    <a:pt x="3023" y="9499"/>
                  </a:lnTo>
                  <a:lnTo>
                    <a:pt x="2878" y="9389"/>
                  </a:lnTo>
                  <a:lnTo>
                    <a:pt x="2737" y="9277"/>
                  </a:lnTo>
                  <a:lnTo>
                    <a:pt x="2602" y="9163"/>
                  </a:lnTo>
                  <a:lnTo>
                    <a:pt x="2472" y="9046"/>
                  </a:lnTo>
                  <a:lnTo>
                    <a:pt x="2346" y="8927"/>
                  </a:lnTo>
                  <a:lnTo>
                    <a:pt x="2226" y="8805"/>
                  </a:lnTo>
                  <a:lnTo>
                    <a:pt x="2112" y="8681"/>
                  </a:lnTo>
                  <a:lnTo>
                    <a:pt x="2002" y="8555"/>
                  </a:lnTo>
                  <a:lnTo>
                    <a:pt x="1899" y="8427"/>
                  </a:lnTo>
                  <a:lnTo>
                    <a:pt x="1800" y="8297"/>
                  </a:lnTo>
                  <a:lnTo>
                    <a:pt x="1706" y="8163"/>
                  </a:lnTo>
                  <a:lnTo>
                    <a:pt x="1618" y="8030"/>
                  </a:lnTo>
                  <a:lnTo>
                    <a:pt x="1537" y="7894"/>
                  </a:lnTo>
                  <a:lnTo>
                    <a:pt x="1460" y="7757"/>
                  </a:lnTo>
                  <a:lnTo>
                    <a:pt x="1388" y="7617"/>
                  </a:lnTo>
                  <a:lnTo>
                    <a:pt x="1324" y="7476"/>
                  </a:lnTo>
                  <a:lnTo>
                    <a:pt x="1264" y="7335"/>
                  </a:lnTo>
                  <a:lnTo>
                    <a:pt x="1212" y="7192"/>
                  </a:lnTo>
                  <a:lnTo>
                    <a:pt x="1165" y="7047"/>
                  </a:lnTo>
                  <a:lnTo>
                    <a:pt x="1123" y="6901"/>
                  </a:lnTo>
                  <a:lnTo>
                    <a:pt x="1089" y="6755"/>
                  </a:lnTo>
                  <a:lnTo>
                    <a:pt x="1060" y="6608"/>
                  </a:lnTo>
                  <a:lnTo>
                    <a:pt x="1037" y="6459"/>
                  </a:lnTo>
                  <a:lnTo>
                    <a:pt x="1021" y="6309"/>
                  </a:lnTo>
                  <a:lnTo>
                    <a:pt x="1011" y="6160"/>
                  </a:lnTo>
                  <a:lnTo>
                    <a:pt x="1008" y="6010"/>
                  </a:lnTo>
                  <a:lnTo>
                    <a:pt x="1017" y="5752"/>
                  </a:lnTo>
                  <a:lnTo>
                    <a:pt x="1045" y="5498"/>
                  </a:lnTo>
                  <a:lnTo>
                    <a:pt x="1090" y="5248"/>
                  </a:lnTo>
                  <a:lnTo>
                    <a:pt x="1151" y="5002"/>
                  </a:lnTo>
                  <a:lnTo>
                    <a:pt x="1231" y="4760"/>
                  </a:lnTo>
                  <a:lnTo>
                    <a:pt x="1326" y="4522"/>
                  </a:lnTo>
                  <a:lnTo>
                    <a:pt x="1437" y="4290"/>
                  </a:lnTo>
                  <a:lnTo>
                    <a:pt x="1564" y="4063"/>
                  </a:lnTo>
                  <a:lnTo>
                    <a:pt x="1705" y="3840"/>
                  </a:lnTo>
                  <a:lnTo>
                    <a:pt x="1861" y="3625"/>
                  </a:lnTo>
                  <a:lnTo>
                    <a:pt x="2032" y="3415"/>
                  </a:lnTo>
                  <a:lnTo>
                    <a:pt x="2215" y="3211"/>
                  </a:lnTo>
                  <a:lnTo>
                    <a:pt x="2412" y="3015"/>
                  </a:lnTo>
                  <a:lnTo>
                    <a:pt x="2621" y="2826"/>
                  </a:lnTo>
                  <a:lnTo>
                    <a:pt x="2844" y="2644"/>
                  </a:lnTo>
                  <a:lnTo>
                    <a:pt x="3078" y="2470"/>
                  </a:lnTo>
                  <a:lnTo>
                    <a:pt x="3323" y="2304"/>
                  </a:lnTo>
                  <a:lnTo>
                    <a:pt x="3579" y="2147"/>
                  </a:lnTo>
                  <a:lnTo>
                    <a:pt x="3845" y="1998"/>
                  </a:lnTo>
                  <a:lnTo>
                    <a:pt x="4123" y="1858"/>
                  </a:lnTo>
                  <a:lnTo>
                    <a:pt x="4409" y="1728"/>
                  </a:lnTo>
                  <a:lnTo>
                    <a:pt x="4704" y="1607"/>
                  </a:lnTo>
                  <a:lnTo>
                    <a:pt x="5009" y="1496"/>
                  </a:lnTo>
                  <a:lnTo>
                    <a:pt x="5322" y="1395"/>
                  </a:lnTo>
                  <a:lnTo>
                    <a:pt x="5642" y="1306"/>
                  </a:lnTo>
                  <a:lnTo>
                    <a:pt x="5970" y="1227"/>
                  </a:lnTo>
                  <a:lnTo>
                    <a:pt x="6305" y="1160"/>
                  </a:lnTo>
                  <a:lnTo>
                    <a:pt x="6645" y="1104"/>
                  </a:lnTo>
                  <a:lnTo>
                    <a:pt x="6992" y="1060"/>
                  </a:lnTo>
                  <a:lnTo>
                    <a:pt x="7345" y="1028"/>
                  </a:lnTo>
                  <a:lnTo>
                    <a:pt x="7703" y="1008"/>
                  </a:lnTo>
                  <a:lnTo>
                    <a:pt x="8066" y="1002"/>
                  </a:lnTo>
                  <a:lnTo>
                    <a:pt x="8429" y="1008"/>
                  </a:lnTo>
                  <a:lnTo>
                    <a:pt x="8787" y="1028"/>
                  </a:lnTo>
                  <a:lnTo>
                    <a:pt x="9140" y="1060"/>
                  </a:lnTo>
                  <a:lnTo>
                    <a:pt x="9487" y="1104"/>
                  </a:lnTo>
                  <a:lnTo>
                    <a:pt x="9827" y="1160"/>
                  </a:lnTo>
                  <a:lnTo>
                    <a:pt x="10162" y="1227"/>
                  </a:lnTo>
                  <a:lnTo>
                    <a:pt x="10490" y="1306"/>
                  </a:lnTo>
                  <a:lnTo>
                    <a:pt x="10810" y="1395"/>
                  </a:lnTo>
                  <a:lnTo>
                    <a:pt x="11123" y="1496"/>
                  </a:lnTo>
                  <a:lnTo>
                    <a:pt x="11428" y="1607"/>
                  </a:lnTo>
                  <a:lnTo>
                    <a:pt x="11723" y="1728"/>
                  </a:lnTo>
                  <a:lnTo>
                    <a:pt x="12009" y="1858"/>
                  </a:lnTo>
                  <a:lnTo>
                    <a:pt x="12287" y="1998"/>
                  </a:lnTo>
                  <a:lnTo>
                    <a:pt x="12553" y="2147"/>
                  </a:lnTo>
                  <a:lnTo>
                    <a:pt x="12809" y="2304"/>
                  </a:lnTo>
                  <a:lnTo>
                    <a:pt x="13054" y="2470"/>
                  </a:lnTo>
                  <a:lnTo>
                    <a:pt x="13288" y="2644"/>
                  </a:lnTo>
                  <a:lnTo>
                    <a:pt x="13511" y="2826"/>
                  </a:lnTo>
                  <a:lnTo>
                    <a:pt x="13720" y="3015"/>
                  </a:lnTo>
                  <a:lnTo>
                    <a:pt x="13917" y="3211"/>
                  </a:lnTo>
                  <a:lnTo>
                    <a:pt x="14100" y="3415"/>
                  </a:lnTo>
                  <a:lnTo>
                    <a:pt x="14271" y="3625"/>
                  </a:lnTo>
                  <a:lnTo>
                    <a:pt x="14427" y="3840"/>
                  </a:lnTo>
                  <a:lnTo>
                    <a:pt x="14568" y="4063"/>
                  </a:lnTo>
                  <a:lnTo>
                    <a:pt x="14695" y="4290"/>
                  </a:lnTo>
                  <a:lnTo>
                    <a:pt x="14806" y="4522"/>
                  </a:lnTo>
                  <a:lnTo>
                    <a:pt x="14901" y="4760"/>
                  </a:lnTo>
                  <a:lnTo>
                    <a:pt x="14981" y="5002"/>
                  </a:lnTo>
                  <a:lnTo>
                    <a:pt x="15042" y="5248"/>
                  </a:lnTo>
                  <a:lnTo>
                    <a:pt x="15087" y="5498"/>
                  </a:lnTo>
                  <a:lnTo>
                    <a:pt x="15115" y="5752"/>
                  </a:lnTo>
                  <a:lnTo>
                    <a:pt x="15124" y="6010"/>
                  </a:lnTo>
                  <a:lnTo>
                    <a:pt x="15115" y="6267"/>
                  </a:lnTo>
                  <a:lnTo>
                    <a:pt x="15087" y="6521"/>
                  </a:lnTo>
                  <a:lnTo>
                    <a:pt x="15042" y="6771"/>
                  </a:lnTo>
                  <a:lnTo>
                    <a:pt x="14981" y="7018"/>
                  </a:lnTo>
                  <a:lnTo>
                    <a:pt x="14901" y="7260"/>
                  </a:lnTo>
                  <a:lnTo>
                    <a:pt x="14806" y="7497"/>
                  </a:lnTo>
                  <a:lnTo>
                    <a:pt x="14695" y="7730"/>
                  </a:lnTo>
                  <a:lnTo>
                    <a:pt x="14568" y="7957"/>
                  </a:lnTo>
                  <a:lnTo>
                    <a:pt x="14427" y="8179"/>
                  </a:lnTo>
                  <a:lnTo>
                    <a:pt x="14271" y="8395"/>
                  </a:lnTo>
                  <a:lnTo>
                    <a:pt x="14100" y="8605"/>
                  </a:lnTo>
                  <a:lnTo>
                    <a:pt x="13917" y="8807"/>
                  </a:lnTo>
                  <a:lnTo>
                    <a:pt x="13720" y="9005"/>
                  </a:lnTo>
                  <a:lnTo>
                    <a:pt x="13511" y="9194"/>
                  </a:lnTo>
                  <a:lnTo>
                    <a:pt x="13288" y="9375"/>
                  </a:lnTo>
                  <a:lnTo>
                    <a:pt x="13054" y="9550"/>
                  </a:lnTo>
                  <a:lnTo>
                    <a:pt x="12809" y="9715"/>
                  </a:lnTo>
                  <a:lnTo>
                    <a:pt x="12553" y="9873"/>
                  </a:lnTo>
                  <a:lnTo>
                    <a:pt x="12287" y="10021"/>
                  </a:lnTo>
                  <a:lnTo>
                    <a:pt x="12009" y="10162"/>
                  </a:lnTo>
                  <a:lnTo>
                    <a:pt x="11723" y="10292"/>
                  </a:lnTo>
                  <a:lnTo>
                    <a:pt x="11428" y="10413"/>
                  </a:lnTo>
                  <a:lnTo>
                    <a:pt x="11123" y="10523"/>
                  </a:lnTo>
                  <a:lnTo>
                    <a:pt x="10810" y="10623"/>
                  </a:lnTo>
                  <a:lnTo>
                    <a:pt x="10490" y="10714"/>
                  </a:lnTo>
                  <a:lnTo>
                    <a:pt x="10162" y="10793"/>
                  </a:lnTo>
                  <a:lnTo>
                    <a:pt x="9827" y="10860"/>
                  </a:lnTo>
                  <a:lnTo>
                    <a:pt x="9487" y="10916"/>
                  </a:lnTo>
                  <a:lnTo>
                    <a:pt x="9140" y="10960"/>
                  </a:lnTo>
                  <a:lnTo>
                    <a:pt x="8787" y="10992"/>
                  </a:lnTo>
                  <a:lnTo>
                    <a:pt x="8429" y="11011"/>
                  </a:lnTo>
                  <a:lnTo>
                    <a:pt x="8066" y="11018"/>
                  </a:lnTo>
                  <a:close/>
                  <a:moveTo>
                    <a:pt x="8066" y="0"/>
                  </a:moveTo>
                  <a:lnTo>
                    <a:pt x="7651" y="8"/>
                  </a:lnTo>
                  <a:lnTo>
                    <a:pt x="7241" y="31"/>
                  </a:lnTo>
                  <a:lnTo>
                    <a:pt x="6838" y="69"/>
                  </a:lnTo>
                  <a:lnTo>
                    <a:pt x="6441" y="122"/>
                  </a:lnTo>
                  <a:lnTo>
                    <a:pt x="6051" y="189"/>
                  </a:lnTo>
                  <a:lnTo>
                    <a:pt x="5667" y="270"/>
                  </a:lnTo>
                  <a:lnTo>
                    <a:pt x="5292" y="365"/>
                  </a:lnTo>
                  <a:lnTo>
                    <a:pt x="4926" y="473"/>
                  </a:lnTo>
                  <a:lnTo>
                    <a:pt x="4569" y="593"/>
                  </a:lnTo>
                  <a:lnTo>
                    <a:pt x="4222" y="725"/>
                  </a:lnTo>
                  <a:lnTo>
                    <a:pt x="3884" y="870"/>
                  </a:lnTo>
                  <a:lnTo>
                    <a:pt x="3556" y="1027"/>
                  </a:lnTo>
                  <a:lnTo>
                    <a:pt x="3240" y="1194"/>
                  </a:lnTo>
                  <a:lnTo>
                    <a:pt x="2935" y="1372"/>
                  </a:lnTo>
                  <a:lnTo>
                    <a:pt x="2643" y="1562"/>
                  </a:lnTo>
                  <a:lnTo>
                    <a:pt x="2362" y="1760"/>
                  </a:lnTo>
                  <a:lnTo>
                    <a:pt x="2095" y="1969"/>
                  </a:lnTo>
                  <a:lnTo>
                    <a:pt x="1842" y="2188"/>
                  </a:lnTo>
                  <a:lnTo>
                    <a:pt x="1602" y="2414"/>
                  </a:lnTo>
                  <a:lnTo>
                    <a:pt x="1377" y="2649"/>
                  </a:lnTo>
                  <a:lnTo>
                    <a:pt x="1168" y="2894"/>
                  </a:lnTo>
                  <a:lnTo>
                    <a:pt x="974" y="3145"/>
                  </a:lnTo>
                  <a:lnTo>
                    <a:pt x="796" y="3405"/>
                  </a:lnTo>
                  <a:lnTo>
                    <a:pt x="634" y="3671"/>
                  </a:lnTo>
                  <a:lnTo>
                    <a:pt x="489" y="3943"/>
                  </a:lnTo>
                  <a:lnTo>
                    <a:pt x="363" y="4223"/>
                  </a:lnTo>
                  <a:lnTo>
                    <a:pt x="254" y="4508"/>
                  </a:lnTo>
                  <a:lnTo>
                    <a:pt x="163" y="4799"/>
                  </a:lnTo>
                  <a:lnTo>
                    <a:pt x="93" y="5094"/>
                  </a:lnTo>
                  <a:lnTo>
                    <a:pt x="41" y="5396"/>
                  </a:lnTo>
                  <a:lnTo>
                    <a:pt x="10" y="5700"/>
                  </a:lnTo>
                  <a:lnTo>
                    <a:pt x="0" y="6010"/>
                  </a:lnTo>
                  <a:lnTo>
                    <a:pt x="4" y="6203"/>
                  </a:lnTo>
                  <a:lnTo>
                    <a:pt x="16" y="6394"/>
                  </a:lnTo>
                  <a:lnTo>
                    <a:pt x="36" y="6584"/>
                  </a:lnTo>
                  <a:lnTo>
                    <a:pt x="65" y="6772"/>
                  </a:lnTo>
                  <a:lnTo>
                    <a:pt x="100" y="6958"/>
                  </a:lnTo>
                  <a:lnTo>
                    <a:pt x="143" y="7144"/>
                  </a:lnTo>
                  <a:lnTo>
                    <a:pt x="195" y="7326"/>
                  </a:lnTo>
                  <a:lnTo>
                    <a:pt x="252" y="7506"/>
                  </a:lnTo>
                  <a:lnTo>
                    <a:pt x="318" y="7685"/>
                  </a:lnTo>
                  <a:lnTo>
                    <a:pt x="390" y="7861"/>
                  </a:lnTo>
                  <a:lnTo>
                    <a:pt x="470" y="8034"/>
                  </a:lnTo>
                  <a:lnTo>
                    <a:pt x="556" y="8205"/>
                  </a:lnTo>
                  <a:lnTo>
                    <a:pt x="648" y="8375"/>
                  </a:lnTo>
                  <a:lnTo>
                    <a:pt x="748" y="8541"/>
                  </a:lnTo>
                  <a:lnTo>
                    <a:pt x="855" y="8704"/>
                  </a:lnTo>
                  <a:lnTo>
                    <a:pt x="967" y="8865"/>
                  </a:lnTo>
                  <a:lnTo>
                    <a:pt x="1086" y="9023"/>
                  </a:lnTo>
                  <a:lnTo>
                    <a:pt x="1211" y="9177"/>
                  </a:lnTo>
                  <a:lnTo>
                    <a:pt x="1341" y="9329"/>
                  </a:lnTo>
                  <a:lnTo>
                    <a:pt x="1478" y="9478"/>
                  </a:lnTo>
                  <a:lnTo>
                    <a:pt x="1620" y="9623"/>
                  </a:lnTo>
                  <a:lnTo>
                    <a:pt x="1768" y="9765"/>
                  </a:lnTo>
                  <a:lnTo>
                    <a:pt x="1923" y="9903"/>
                  </a:lnTo>
                  <a:lnTo>
                    <a:pt x="2081" y="10038"/>
                  </a:lnTo>
                  <a:lnTo>
                    <a:pt x="2245" y="10170"/>
                  </a:lnTo>
                  <a:lnTo>
                    <a:pt x="2415" y="10298"/>
                  </a:lnTo>
                  <a:lnTo>
                    <a:pt x="2590" y="10421"/>
                  </a:lnTo>
                  <a:lnTo>
                    <a:pt x="2769" y="10541"/>
                  </a:lnTo>
                  <a:lnTo>
                    <a:pt x="2953" y="10657"/>
                  </a:lnTo>
                  <a:lnTo>
                    <a:pt x="3142" y="10770"/>
                  </a:lnTo>
                  <a:lnTo>
                    <a:pt x="3335" y="10878"/>
                  </a:lnTo>
                  <a:lnTo>
                    <a:pt x="3533" y="10981"/>
                  </a:lnTo>
                  <a:lnTo>
                    <a:pt x="3532" y="10990"/>
                  </a:lnTo>
                  <a:lnTo>
                    <a:pt x="3531" y="10999"/>
                  </a:lnTo>
                  <a:lnTo>
                    <a:pt x="3530" y="11008"/>
                  </a:lnTo>
                  <a:lnTo>
                    <a:pt x="3529" y="11018"/>
                  </a:lnTo>
                  <a:lnTo>
                    <a:pt x="3527" y="11102"/>
                  </a:lnTo>
                  <a:lnTo>
                    <a:pt x="3521" y="11187"/>
                  </a:lnTo>
                  <a:lnTo>
                    <a:pt x="3512" y="11271"/>
                  </a:lnTo>
                  <a:lnTo>
                    <a:pt x="3500" y="11357"/>
                  </a:lnTo>
                  <a:lnTo>
                    <a:pt x="3484" y="11442"/>
                  </a:lnTo>
                  <a:lnTo>
                    <a:pt x="3464" y="11527"/>
                  </a:lnTo>
                  <a:lnTo>
                    <a:pt x="3443" y="11612"/>
                  </a:lnTo>
                  <a:lnTo>
                    <a:pt x="3419" y="11696"/>
                  </a:lnTo>
                  <a:lnTo>
                    <a:pt x="3392" y="11780"/>
                  </a:lnTo>
                  <a:lnTo>
                    <a:pt x="3364" y="11863"/>
                  </a:lnTo>
                  <a:lnTo>
                    <a:pt x="3332" y="11947"/>
                  </a:lnTo>
                  <a:lnTo>
                    <a:pt x="3300" y="12030"/>
                  </a:lnTo>
                  <a:lnTo>
                    <a:pt x="3266" y="12111"/>
                  </a:lnTo>
                  <a:lnTo>
                    <a:pt x="3229" y="12192"/>
                  </a:lnTo>
                  <a:lnTo>
                    <a:pt x="3192" y="12271"/>
                  </a:lnTo>
                  <a:lnTo>
                    <a:pt x="3155" y="12350"/>
                  </a:lnTo>
                  <a:lnTo>
                    <a:pt x="3115" y="12428"/>
                  </a:lnTo>
                  <a:lnTo>
                    <a:pt x="3075" y="12505"/>
                  </a:lnTo>
                  <a:lnTo>
                    <a:pt x="3036" y="12580"/>
                  </a:lnTo>
                  <a:lnTo>
                    <a:pt x="2995" y="12653"/>
                  </a:lnTo>
                  <a:lnTo>
                    <a:pt x="2954" y="12726"/>
                  </a:lnTo>
                  <a:lnTo>
                    <a:pt x="2914" y="12796"/>
                  </a:lnTo>
                  <a:lnTo>
                    <a:pt x="2874" y="12864"/>
                  </a:lnTo>
                  <a:lnTo>
                    <a:pt x="2834" y="12931"/>
                  </a:lnTo>
                  <a:lnTo>
                    <a:pt x="2757" y="13059"/>
                  </a:lnTo>
                  <a:lnTo>
                    <a:pt x="2684" y="13180"/>
                  </a:lnTo>
                  <a:lnTo>
                    <a:pt x="2616" y="13290"/>
                  </a:lnTo>
                  <a:lnTo>
                    <a:pt x="2557" y="13390"/>
                  </a:lnTo>
                  <a:lnTo>
                    <a:pt x="2558" y="13390"/>
                  </a:lnTo>
                  <a:lnTo>
                    <a:pt x="2550" y="13411"/>
                  </a:lnTo>
                  <a:lnTo>
                    <a:pt x="2542" y="13432"/>
                  </a:lnTo>
                  <a:lnTo>
                    <a:pt x="2536" y="13454"/>
                  </a:lnTo>
                  <a:lnTo>
                    <a:pt x="2531" y="13476"/>
                  </a:lnTo>
                  <a:lnTo>
                    <a:pt x="2527" y="13499"/>
                  </a:lnTo>
                  <a:lnTo>
                    <a:pt x="2523" y="13522"/>
                  </a:lnTo>
                  <a:lnTo>
                    <a:pt x="2522" y="13545"/>
                  </a:lnTo>
                  <a:lnTo>
                    <a:pt x="2521" y="13569"/>
                  </a:lnTo>
                  <a:lnTo>
                    <a:pt x="2522" y="13592"/>
                  </a:lnTo>
                  <a:lnTo>
                    <a:pt x="2523" y="13615"/>
                  </a:lnTo>
                  <a:lnTo>
                    <a:pt x="2526" y="13638"/>
                  </a:lnTo>
                  <a:lnTo>
                    <a:pt x="2530" y="13660"/>
                  </a:lnTo>
                  <a:lnTo>
                    <a:pt x="2535" y="13682"/>
                  </a:lnTo>
                  <a:lnTo>
                    <a:pt x="2541" y="13704"/>
                  </a:lnTo>
                  <a:lnTo>
                    <a:pt x="2548" y="13726"/>
                  </a:lnTo>
                  <a:lnTo>
                    <a:pt x="2556" y="13746"/>
                  </a:lnTo>
                  <a:lnTo>
                    <a:pt x="2566" y="13766"/>
                  </a:lnTo>
                  <a:lnTo>
                    <a:pt x="2576" y="13786"/>
                  </a:lnTo>
                  <a:lnTo>
                    <a:pt x="2586" y="13805"/>
                  </a:lnTo>
                  <a:lnTo>
                    <a:pt x="2598" y="13823"/>
                  </a:lnTo>
                  <a:lnTo>
                    <a:pt x="2611" y="13841"/>
                  </a:lnTo>
                  <a:lnTo>
                    <a:pt x="2624" y="13858"/>
                  </a:lnTo>
                  <a:lnTo>
                    <a:pt x="2640" y="13875"/>
                  </a:lnTo>
                  <a:lnTo>
                    <a:pt x="2655" y="13890"/>
                  </a:lnTo>
                  <a:lnTo>
                    <a:pt x="2670" y="13905"/>
                  </a:lnTo>
                  <a:lnTo>
                    <a:pt x="2687" y="13920"/>
                  </a:lnTo>
                  <a:lnTo>
                    <a:pt x="2704" y="13933"/>
                  </a:lnTo>
                  <a:lnTo>
                    <a:pt x="2722" y="13946"/>
                  </a:lnTo>
                  <a:lnTo>
                    <a:pt x="2740" y="13958"/>
                  </a:lnTo>
                  <a:lnTo>
                    <a:pt x="2760" y="13968"/>
                  </a:lnTo>
                  <a:lnTo>
                    <a:pt x="2779" y="13978"/>
                  </a:lnTo>
                  <a:lnTo>
                    <a:pt x="2800" y="13987"/>
                  </a:lnTo>
                  <a:lnTo>
                    <a:pt x="2820" y="13996"/>
                  </a:lnTo>
                  <a:lnTo>
                    <a:pt x="2841" y="14003"/>
                  </a:lnTo>
                  <a:lnTo>
                    <a:pt x="2863" y="14009"/>
                  </a:lnTo>
                  <a:lnTo>
                    <a:pt x="2886" y="14014"/>
                  </a:lnTo>
                  <a:lnTo>
                    <a:pt x="2908" y="14018"/>
                  </a:lnTo>
                  <a:lnTo>
                    <a:pt x="2931" y="14021"/>
                  </a:lnTo>
                  <a:lnTo>
                    <a:pt x="2954" y="14022"/>
                  </a:lnTo>
                  <a:lnTo>
                    <a:pt x="2977" y="14023"/>
                  </a:lnTo>
                  <a:lnTo>
                    <a:pt x="3018" y="14021"/>
                  </a:lnTo>
                  <a:lnTo>
                    <a:pt x="3060" y="14017"/>
                  </a:lnTo>
                  <a:lnTo>
                    <a:pt x="3078" y="14016"/>
                  </a:lnTo>
                  <a:lnTo>
                    <a:pt x="3093" y="14015"/>
                  </a:lnTo>
                  <a:lnTo>
                    <a:pt x="3099" y="14015"/>
                  </a:lnTo>
                  <a:lnTo>
                    <a:pt x="3103" y="14015"/>
                  </a:lnTo>
                  <a:lnTo>
                    <a:pt x="3105" y="14016"/>
                  </a:lnTo>
                  <a:lnTo>
                    <a:pt x="3106" y="14016"/>
                  </a:lnTo>
                  <a:lnTo>
                    <a:pt x="3254" y="13989"/>
                  </a:lnTo>
                  <a:lnTo>
                    <a:pt x="3400" y="13955"/>
                  </a:lnTo>
                  <a:lnTo>
                    <a:pt x="3546" y="13915"/>
                  </a:lnTo>
                  <a:lnTo>
                    <a:pt x="3690" y="13870"/>
                  </a:lnTo>
                  <a:lnTo>
                    <a:pt x="3833" y="13819"/>
                  </a:lnTo>
                  <a:lnTo>
                    <a:pt x="3976" y="13763"/>
                  </a:lnTo>
                  <a:lnTo>
                    <a:pt x="4116" y="13701"/>
                  </a:lnTo>
                  <a:lnTo>
                    <a:pt x="4254" y="13637"/>
                  </a:lnTo>
                  <a:lnTo>
                    <a:pt x="4390" y="13569"/>
                  </a:lnTo>
                  <a:lnTo>
                    <a:pt x="4524" y="13497"/>
                  </a:lnTo>
                  <a:lnTo>
                    <a:pt x="4656" y="13423"/>
                  </a:lnTo>
                  <a:lnTo>
                    <a:pt x="4784" y="13346"/>
                  </a:lnTo>
                  <a:lnTo>
                    <a:pt x="4910" y="13267"/>
                  </a:lnTo>
                  <a:lnTo>
                    <a:pt x="5033" y="13186"/>
                  </a:lnTo>
                  <a:lnTo>
                    <a:pt x="5153" y="13104"/>
                  </a:lnTo>
                  <a:lnTo>
                    <a:pt x="5269" y="13021"/>
                  </a:lnTo>
                  <a:lnTo>
                    <a:pt x="5382" y="12938"/>
                  </a:lnTo>
                  <a:lnTo>
                    <a:pt x="5491" y="12854"/>
                  </a:lnTo>
                  <a:lnTo>
                    <a:pt x="5596" y="12771"/>
                  </a:lnTo>
                  <a:lnTo>
                    <a:pt x="5697" y="12689"/>
                  </a:lnTo>
                  <a:lnTo>
                    <a:pt x="5793" y="12608"/>
                  </a:lnTo>
                  <a:lnTo>
                    <a:pt x="5885" y="12528"/>
                  </a:lnTo>
                  <a:lnTo>
                    <a:pt x="5972" y="12450"/>
                  </a:lnTo>
                  <a:lnTo>
                    <a:pt x="6055" y="12375"/>
                  </a:lnTo>
                  <a:lnTo>
                    <a:pt x="6131" y="12302"/>
                  </a:lnTo>
                  <a:lnTo>
                    <a:pt x="6203" y="12233"/>
                  </a:lnTo>
                  <a:lnTo>
                    <a:pt x="6269" y="12167"/>
                  </a:lnTo>
                  <a:lnTo>
                    <a:pt x="6330" y="12105"/>
                  </a:lnTo>
                  <a:lnTo>
                    <a:pt x="6384" y="12048"/>
                  </a:lnTo>
                  <a:lnTo>
                    <a:pt x="6433" y="11995"/>
                  </a:lnTo>
                  <a:lnTo>
                    <a:pt x="6475" y="11947"/>
                  </a:lnTo>
                  <a:lnTo>
                    <a:pt x="6510" y="11906"/>
                  </a:lnTo>
                  <a:lnTo>
                    <a:pt x="6605" y="11919"/>
                  </a:lnTo>
                  <a:lnTo>
                    <a:pt x="6700" y="11932"/>
                  </a:lnTo>
                  <a:lnTo>
                    <a:pt x="6796" y="11943"/>
                  </a:lnTo>
                  <a:lnTo>
                    <a:pt x="6891" y="11954"/>
                  </a:lnTo>
                  <a:lnTo>
                    <a:pt x="6987" y="11965"/>
                  </a:lnTo>
                  <a:lnTo>
                    <a:pt x="7083" y="11974"/>
                  </a:lnTo>
                  <a:lnTo>
                    <a:pt x="7180" y="11983"/>
                  </a:lnTo>
                  <a:lnTo>
                    <a:pt x="7278" y="11990"/>
                  </a:lnTo>
                  <a:lnTo>
                    <a:pt x="7374" y="11997"/>
                  </a:lnTo>
                  <a:lnTo>
                    <a:pt x="7472" y="12003"/>
                  </a:lnTo>
                  <a:lnTo>
                    <a:pt x="7571" y="12008"/>
                  </a:lnTo>
                  <a:lnTo>
                    <a:pt x="7669" y="12012"/>
                  </a:lnTo>
                  <a:lnTo>
                    <a:pt x="7768" y="12016"/>
                  </a:lnTo>
                  <a:lnTo>
                    <a:pt x="7867" y="12018"/>
                  </a:lnTo>
                  <a:lnTo>
                    <a:pt x="7966" y="12019"/>
                  </a:lnTo>
                  <a:lnTo>
                    <a:pt x="8066" y="12020"/>
                  </a:lnTo>
                  <a:lnTo>
                    <a:pt x="8481" y="12012"/>
                  </a:lnTo>
                  <a:lnTo>
                    <a:pt x="8891" y="11989"/>
                  </a:lnTo>
                  <a:lnTo>
                    <a:pt x="9294" y="11951"/>
                  </a:lnTo>
                  <a:lnTo>
                    <a:pt x="9691" y="11898"/>
                  </a:lnTo>
                  <a:lnTo>
                    <a:pt x="10081" y="11830"/>
                  </a:lnTo>
                  <a:lnTo>
                    <a:pt x="10465" y="11749"/>
                  </a:lnTo>
                  <a:lnTo>
                    <a:pt x="10840" y="11655"/>
                  </a:lnTo>
                  <a:lnTo>
                    <a:pt x="11206" y="11547"/>
                  </a:lnTo>
                  <a:lnTo>
                    <a:pt x="11563" y="11427"/>
                  </a:lnTo>
                  <a:lnTo>
                    <a:pt x="11910" y="11295"/>
                  </a:lnTo>
                  <a:lnTo>
                    <a:pt x="12248" y="11149"/>
                  </a:lnTo>
                  <a:lnTo>
                    <a:pt x="12576" y="10993"/>
                  </a:lnTo>
                  <a:lnTo>
                    <a:pt x="12891" y="10826"/>
                  </a:lnTo>
                  <a:lnTo>
                    <a:pt x="13197" y="10647"/>
                  </a:lnTo>
                  <a:lnTo>
                    <a:pt x="13489" y="10458"/>
                  </a:lnTo>
                  <a:lnTo>
                    <a:pt x="13770" y="10260"/>
                  </a:lnTo>
                  <a:lnTo>
                    <a:pt x="14037" y="10050"/>
                  </a:lnTo>
                  <a:lnTo>
                    <a:pt x="14290" y="9832"/>
                  </a:lnTo>
                  <a:lnTo>
                    <a:pt x="14530" y="9606"/>
                  </a:lnTo>
                  <a:lnTo>
                    <a:pt x="14755" y="9370"/>
                  </a:lnTo>
                  <a:lnTo>
                    <a:pt x="14964" y="9126"/>
                  </a:lnTo>
                  <a:lnTo>
                    <a:pt x="15158" y="8875"/>
                  </a:lnTo>
                  <a:lnTo>
                    <a:pt x="15336" y="8615"/>
                  </a:lnTo>
                  <a:lnTo>
                    <a:pt x="15498" y="8349"/>
                  </a:lnTo>
                  <a:lnTo>
                    <a:pt x="15643" y="8076"/>
                  </a:lnTo>
                  <a:lnTo>
                    <a:pt x="15769" y="7797"/>
                  </a:lnTo>
                  <a:lnTo>
                    <a:pt x="15878" y="7511"/>
                  </a:lnTo>
                  <a:lnTo>
                    <a:pt x="15968" y="7221"/>
                  </a:lnTo>
                  <a:lnTo>
                    <a:pt x="16039" y="6925"/>
                  </a:lnTo>
                  <a:lnTo>
                    <a:pt x="16091" y="6624"/>
                  </a:lnTo>
                  <a:lnTo>
                    <a:pt x="16122" y="6319"/>
                  </a:lnTo>
                  <a:lnTo>
                    <a:pt x="16132" y="6010"/>
                  </a:lnTo>
                  <a:lnTo>
                    <a:pt x="16122" y="5700"/>
                  </a:lnTo>
                  <a:lnTo>
                    <a:pt x="16091" y="5396"/>
                  </a:lnTo>
                  <a:lnTo>
                    <a:pt x="16039" y="5094"/>
                  </a:lnTo>
                  <a:lnTo>
                    <a:pt x="15968" y="4799"/>
                  </a:lnTo>
                  <a:lnTo>
                    <a:pt x="15878" y="4508"/>
                  </a:lnTo>
                  <a:lnTo>
                    <a:pt x="15769" y="4223"/>
                  </a:lnTo>
                  <a:lnTo>
                    <a:pt x="15643" y="3943"/>
                  </a:lnTo>
                  <a:lnTo>
                    <a:pt x="15498" y="3671"/>
                  </a:lnTo>
                  <a:lnTo>
                    <a:pt x="15336" y="3405"/>
                  </a:lnTo>
                  <a:lnTo>
                    <a:pt x="15158" y="3145"/>
                  </a:lnTo>
                  <a:lnTo>
                    <a:pt x="14964" y="2894"/>
                  </a:lnTo>
                  <a:lnTo>
                    <a:pt x="14755" y="2649"/>
                  </a:lnTo>
                  <a:lnTo>
                    <a:pt x="14530" y="2414"/>
                  </a:lnTo>
                  <a:lnTo>
                    <a:pt x="14290" y="2188"/>
                  </a:lnTo>
                  <a:lnTo>
                    <a:pt x="14037" y="1969"/>
                  </a:lnTo>
                  <a:lnTo>
                    <a:pt x="13770" y="1760"/>
                  </a:lnTo>
                  <a:lnTo>
                    <a:pt x="13489" y="1562"/>
                  </a:lnTo>
                  <a:lnTo>
                    <a:pt x="13197" y="1372"/>
                  </a:lnTo>
                  <a:lnTo>
                    <a:pt x="12891" y="1194"/>
                  </a:lnTo>
                  <a:lnTo>
                    <a:pt x="12576" y="1027"/>
                  </a:lnTo>
                  <a:lnTo>
                    <a:pt x="12248" y="870"/>
                  </a:lnTo>
                  <a:lnTo>
                    <a:pt x="11910" y="725"/>
                  </a:lnTo>
                  <a:lnTo>
                    <a:pt x="11563" y="593"/>
                  </a:lnTo>
                  <a:lnTo>
                    <a:pt x="11206" y="473"/>
                  </a:lnTo>
                  <a:lnTo>
                    <a:pt x="10840" y="365"/>
                  </a:lnTo>
                  <a:lnTo>
                    <a:pt x="10465" y="270"/>
                  </a:lnTo>
                  <a:lnTo>
                    <a:pt x="10081" y="189"/>
                  </a:lnTo>
                  <a:lnTo>
                    <a:pt x="9691" y="122"/>
                  </a:lnTo>
                  <a:lnTo>
                    <a:pt x="9294" y="69"/>
                  </a:lnTo>
                  <a:lnTo>
                    <a:pt x="8891" y="31"/>
                  </a:lnTo>
                  <a:lnTo>
                    <a:pt x="8481" y="8"/>
                  </a:lnTo>
                  <a:lnTo>
                    <a:pt x="80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78" name="îṥ1ïďe">
              <a:extLst>
                <a:ext uri="{FF2B5EF4-FFF2-40B4-BE49-F238E27FC236}">
                  <a16:creationId xmlns:a16="http://schemas.microsoft.com/office/drawing/2014/main" id="{7781461B-24F9-45B6-9C9D-D8FF62A3E42C}"/>
                </a:ext>
              </a:extLst>
            </p:cNvPr>
            <p:cNvSpPr/>
            <p:nvPr/>
          </p:nvSpPr>
          <p:spPr bwMode="auto">
            <a:xfrm>
              <a:off x="5893447" y="138117"/>
              <a:ext cx="236122" cy="151900"/>
            </a:xfrm>
            <a:custGeom>
              <a:avLst/>
              <a:gdLst>
                <a:gd name="T0" fmla="*/ 4713 w 5797"/>
                <a:gd name="T1" fmla="*/ 41 h 3756"/>
                <a:gd name="T2" fmla="*/ 3661 w 5797"/>
                <a:gd name="T3" fmla="*/ 216 h 3756"/>
                <a:gd name="T4" fmla="*/ 2695 w 5797"/>
                <a:gd name="T5" fmla="*/ 516 h 3756"/>
                <a:gd name="T6" fmla="*/ 1839 w 5797"/>
                <a:gd name="T7" fmla="*/ 924 h 3756"/>
                <a:gd name="T8" fmla="*/ 1118 w 5797"/>
                <a:gd name="T9" fmla="*/ 1423 h 3756"/>
                <a:gd name="T10" fmla="*/ 556 w 5797"/>
                <a:gd name="T11" fmla="*/ 2001 h 3756"/>
                <a:gd name="T12" fmla="*/ 178 w 5797"/>
                <a:gd name="T13" fmla="*/ 2641 h 3756"/>
                <a:gd name="T14" fmla="*/ 7 w 5797"/>
                <a:gd name="T15" fmla="*/ 3329 h 3756"/>
                <a:gd name="T16" fmla="*/ 3 w 5797"/>
                <a:gd name="T17" fmla="*/ 3544 h 3756"/>
                <a:gd name="T18" fmla="*/ 15 w 5797"/>
                <a:gd name="T19" fmla="*/ 3592 h 3756"/>
                <a:gd name="T20" fmla="*/ 36 w 5797"/>
                <a:gd name="T21" fmla="*/ 3636 h 3756"/>
                <a:gd name="T22" fmla="*/ 65 w 5797"/>
                <a:gd name="T23" fmla="*/ 3674 h 3756"/>
                <a:gd name="T24" fmla="*/ 100 w 5797"/>
                <a:gd name="T25" fmla="*/ 3706 h 3756"/>
                <a:gd name="T26" fmla="*/ 143 w 5797"/>
                <a:gd name="T27" fmla="*/ 3731 h 3756"/>
                <a:gd name="T28" fmla="*/ 189 w 5797"/>
                <a:gd name="T29" fmla="*/ 3748 h 3756"/>
                <a:gd name="T30" fmla="*/ 239 w 5797"/>
                <a:gd name="T31" fmla="*/ 3756 h 3756"/>
                <a:gd name="T32" fmla="*/ 290 w 5797"/>
                <a:gd name="T33" fmla="*/ 3753 h 3756"/>
                <a:gd name="T34" fmla="*/ 338 w 5797"/>
                <a:gd name="T35" fmla="*/ 3741 h 3756"/>
                <a:gd name="T36" fmla="*/ 383 w 5797"/>
                <a:gd name="T37" fmla="*/ 3720 h 3756"/>
                <a:gd name="T38" fmla="*/ 421 w 5797"/>
                <a:gd name="T39" fmla="*/ 3691 h 3756"/>
                <a:gd name="T40" fmla="*/ 453 w 5797"/>
                <a:gd name="T41" fmla="*/ 3655 h 3756"/>
                <a:gd name="T42" fmla="*/ 479 w 5797"/>
                <a:gd name="T43" fmla="*/ 3614 h 3756"/>
                <a:gd name="T44" fmla="*/ 496 w 5797"/>
                <a:gd name="T45" fmla="*/ 3568 h 3756"/>
                <a:gd name="T46" fmla="*/ 504 w 5797"/>
                <a:gd name="T47" fmla="*/ 3519 h 3756"/>
                <a:gd name="T48" fmla="*/ 564 w 5797"/>
                <a:gd name="T49" fmla="*/ 3062 h 3756"/>
                <a:gd name="T50" fmla="*/ 820 w 5797"/>
                <a:gd name="T51" fmla="*/ 2496 h 3756"/>
                <a:gd name="T52" fmla="*/ 1257 w 5797"/>
                <a:gd name="T53" fmla="*/ 1973 h 3756"/>
                <a:gd name="T54" fmla="*/ 1848 w 5797"/>
                <a:gd name="T55" fmla="*/ 1509 h 3756"/>
                <a:gd name="T56" fmla="*/ 2572 w 5797"/>
                <a:gd name="T57" fmla="*/ 1115 h 3756"/>
                <a:gd name="T58" fmla="*/ 3402 w 5797"/>
                <a:gd name="T59" fmla="*/ 807 h 3756"/>
                <a:gd name="T60" fmla="*/ 4318 w 5797"/>
                <a:gd name="T61" fmla="*/ 599 h 3756"/>
                <a:gd name="T62" fmla="*/ 5294 w 5797"/>
                <a:gd name="T63" fmla="*/ 505 h 3756"/>
                <a:gd name="T64" fmla="*/ 5583 w 5797"/>
                <a:gd name="T65" fmla="*/ 498 h 3756"/>
                <a:gd name="T66" fmla="*/ 5632 w 5797"/>
                <a:gd name="T67" fmla="*/ 486 h 3756"/>
                <a:gd name="T68" fmla="*/ 5676 w 5797"/>
                <a:gd name="T69" fmla="*/ 465 h 3756"/>
                <a:gd name="T70" fmla="*/ 5714 w 5797"/>
                <a:gd name="T71" fmla="*/ 436 h 3756"/>
                <a:gd name="T72" fmla="*/ 5747 w 5797"/>
                <a:gd name="T73" fmla="*/ 401 h 3756"/>
                <a:gd name="T74" fmla="*/ 5772 w 5797"/>
                <a:gd name="T75" fmla="*/ 359 h 3756"/>
                <a:gd name="T76" fmla="*/ 5789 w 5797"/>
                <a:gd name="T77" fmla="*/ 313 h 3756"/>
                <a:gd name="T78" fmla="*/ 5797 w 5797"/>
                <a:gd name="T79" fmla="*/ 264 h 3756"/>
                <a:gd name="T80" fmla="*/ 5794 w 5797"/>
                <a:gd name="T81" fmla="*/ 212 h 3756"/>
                <a:gd name="T82" fmla="*/ 5782 w 5797"/>
                <a:gd name="T83" fmla="*/ 164 h 3756"/>
                <a:gd name="T84" fmla="*/ 5761 w 5797"/>
                <a:gd name="T85" fmla="*/ 120 h 3756"/>
                <a:gd name="T86" fmla="*/ 5732 w 5797"/>
                <a:gd name="T87" fmla="*/ 82 h 3756"/>
                <a:gd name="T88" fmla="*/ 5696 w 5797"/>
                <a:gd name="T89" fmla="*/ 50 h 3756"/>
                <a:gd name="T90" fmla="*/ 5654 w 5797"/>
                <a:gd name="T91" fmla="*/ 25 h 3756"/>
                <a:gd name="T92" fmla="*/ 5609 w 5797"/>
                <a:gd name="T93" fmla="*/ 8 h 3756"/>
                <a:gd name="T94" fmla="*/ 5558 w 5797"/>
                <a:gd name="T95" fmla="*/ 0 h 3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797" h="3756">
                  <a:moveTo>
                    <a:pt x="5545" y="0"/>
                  </a:moveTo>
                  <a:lnTo>
                    <a:pt x="5265" y="5"/>
                  </a:lnTo>
                  <a:lnTo>
                    <a:pt x="4987" y="18"/>
                  </a:lnTo>
                  <a:lnTo>
                    <a:pt x="4713" y="41"/>
                  </a:lnTo>
                  <a:lnTo>
                    <a:pt x="4444" y="73"/>
                  </a:lnTo>
                  <a:lnTo>
                    <a:pt x="4178" y="112"/>
                  </a:lnTo>
                  <a:lnTo>
                    <a:pt x="3917" y="160"/>
                  </a:lnTo>
                  <a:lnTo>
                    <a:pt x="3661" y="216"/>
                  </a:lnTo>
                  <a:lnTo>
                    <a:pt x="3411" y="281"/>
                  </a:lnTo>
                  <a:lnTo>
                    <a:pt x="3166" y="352"/>
                  </a:lnTo>
                  <a:lnTo>
                    <a:pt x="2927" y="431"/>
                  </a:lnTo>
                  <a:lnTo>
                    <a:pt x="2695" y="516"/>
                  </a:lnTo>
                  <a:lnTo>
                    <a:pt x="2470" y="608"/>
                  </a:lnTo>
                  <a:lnTo>
                    <a:pt x="2251" y="707"/>
                  </a:lnTo>
                  <a:lnTo>
                    <a:pt x="2041" y="812"/>
                  </a:lnTo>
                  <a:lnTo>
                    <a:pt x="1839" y="924"/>
                  </a:lnTo>
                  <a:lnTo>
                    <a:pt x="1645" y="1041"/>
                  </a:lnTo>
                  <a:lnTo>
                    <a:pt x="1460" y="1163"/>
                  </a:lnTo>
                  <a:lnTo>
                    <a:pt x="1284" y="1291"/>
                  </a:lnTo>
                  <a:lnTo>
                    <a:pt x="1118" y="1423"/>
                  </a:lnTo>
                  <a:lnTo>
                    <a:pt x="961" y="1562"/>
                  </a:lnTo>
                  <a:lnTo>
                    <a:pt x="815" y="1704"/>
                  </a:lnTo>
                  <a:lnTo>
                    <a:pt x="680" y="1851"/>
                  </a:lnTo>
                  <a:lnTo>
                    <a:pt x="556" y="2001"/>
                  </a:lnTo>
                  <a:lnTo>
                    <a:pt x="443" y="2157"/>
                  </a:lnTo>
                  <a:lnTo>
                    <a:pt x="342" y="2315"/>
                  </a:lnTo>
                  <a:lnTo>
                    <a:pt x="254" y="2477"/>
                  </a:lnTo>
                  <a:lnTo>
                    <a:pt x="178" y="2641"/>
                  </a:lnTo>
                  <a:lnTo>
                    <a:pt x="115" y="2810"/>
                  </a:lnTo>
                  <a:lnTo>
                    <a:pt x="65" y="2980"/>
                  </a:lnTo>
                  <a:lnTo>
                    <a:pt x="29" y="3153"/>
                  </a:lnTo>
                  <a:lnTo>
                    <a:pt x="7" y="3329"/>
                  </a:lnTo>
                  <a:lnTo>
                    <a:pt x="0" y="3506"/>
                  </a:lnTo>
                  <a:lnTo>
                    <a:pt x="0" y="3519"/>
                  </a:lnTo>
                  <a:lnTo>
                    <a:pt x="1" y="3531"/>
                  </a:lnTo>
                  <a:lnTo>
                    <a:pt x="3" y="3544"/>
                  </a:lnTo>
                  <a:lnTo>
                    <a:pt x="5" y="3556"/>
                  </a:lnTo>
                  <a:lnTo>
                    <a:pt x="8" y="3568"/>
                  </a:lnTo>
                  <a:lnTo>
                    <a:pt x="11" y="3580"/>
                  </a:lnTo>
                  <a:lnTo>
                    <a:pt x="15" y="3592"/>
                  </a:lnTo>
                  <a:lnTo>
                    <a:pt x="20" y="3603"/>
                  </a:lnTo>
                  <a:lnTo>
                    <a:pt x="25" y="3614"/>
                  </a:lnTo>
                  <a:lnTo>
                    <a:pt x="30" y="3625"/>
                  </a:lnTo>
                  <a:lnTo>
                    <a:pt x="36" y="3636"/>
                  </a:lnTo>
                  <a:lnTo>
                    <a:pt x="43" y="3646"/>
                  </a:lnTo>
                  <a:lnTo>
                    <a:pt x="50" y="3655"/>
                  </a:lnTo>
                  <a:lnTo>
                    <a:pt x="57" y="3665"/>
                  </a:lnTo>
                  <a:lnTo>
                    <a:pt x="65" y="3674"/>
                  </a:lnTo>
                  <a:lnTo>
                    <a:pt x="73" y="3683"/>
                  </a:lnTo>
                  <a:lnTo>
                    <a:pt x="82" y="3691"/>
                  </a:lnTo>
                  <a:lnTo>
                    <a:pt x="91" y="3699"/>
                  </a:lnTo>
                  <a:lnTo>
                    <a:pt x="100" y="3706"/>
                  </a:lnTo>
                  <a:lnTo>
                    <a:pt x="111" y="3713"/>
                  </a:lnTo>
                  <a:lnTo>
                    <a:pt x="121" y="3720"/>
                  </a:lnTo>
                  <a:lnTo>
                    <a:pt x="132" y="3726"/>
                  </a:lnTo>
                  <a:lnTo>
                    <a:pt x="143" y="3731"/>
                  </a:lnTo>
                  <a:lnTo>
                    <a:pt x="154" y="3736"/>
                  </a:lnTo>
                  <a:lnTo>
                    <a:pt x="165" y="3741"/>
                  </a:lnTo>
                  <a:lnTo>
                    <a:pt x="177" y="3745"/>
                  </a:lnTo>
                  <a:lnTo>
                    <a:pt x="189" y="3748"/>
                  </a:lnTo>
                  <a:lnTo>
                    <a:pt x="201" y="3751"/>
                  </a:lnTo>
                  <a:lnTo>
                    <a:pt x="213" y="3753"/>
                  </a:lnTo>
                  <a:lnTo>
                    <a:pt x="226" y="3755"/>
                  </a:lnTo>
                  <a:lnTo>
                    <a:pt x="239" y="3756"/>
                  </a:lnTo>
                  <a:lnTo>
                    <a:pt x="252" y="3756"/>
                  </a:lnTo>
                  <a:lnTo>
                    <a:pt x="265" y="3756"/>
                  </a:lnTo>
                  <a:lnTo>
                    <a:pt x="278" y="3755"/>
                  </a:lnTo>
                  <a:lnTo>
                    <a:pt x="290" y="3753"/>
                  </a:lnTo>
                  <a:lnTo>
                    <a:pt x="302" y="3751"/>
                  </a:lnTo>
                  <a:lnTo>
                    <a:pt x="315" y="3748"/>
                  </a:lnTo>
                  <a:lnTo>
                    <a:pt x="326" y="3745"/>
                  </a:lnTo>
                  <a:lnTo>
                    <a:pt x="338" y="3741"/>
                  </a:lnTo>
                  <a:lnTo>
                    <a:pt x="349" y="3736"/>
                  </a:lnTo>
                  <a:lnTo>
                    <a:pt x="361" y="3731"/>
                  </a:lnTo>
                  <a:lnTo>
                    <a:pt x="372" y="3726"/>
                  </a:lnTo>
                  <a:lnTo>
                    <a:pt x="383" y="3720"/>
                  </a:lnTo>
                  <a:lnTo>
                    <a:pt x="393" y="3713"/>
                  </a:lnTo>
                  <a:lnTo>
                    <a:pt x="403" y="3706"/>
                  </a:lnTo>
                  <a:lnTo>
                    <a:pt x="412" y="3699"/>
                  </a:lnTo>
                  <a:lnTo>
                    <a:pt x="421" y="3691"/>
                  </a:lnTo>
                  <a:lnTo>
                    <a:pt x="430" y="3683"/>
                  </a:lnTo>
                  <a:lnTo>
                    <a:pt x="438" y="3674"/>
                  </a:lnTo>
                  <a:lnTo>
                    <a:pt x="446" y="3665"/>
                  </a:lnTo>
                  <a:lnTo>
                    <a:pt x="453" y="3655"/>
                  </a:lnTo>
                  <a:lnTo>
                    <a:pt x="460" y="3646"/>
                  </a:lnTo>
                  <a:lnTo>
                    <a:pt x="467" y="3636"/>
                  </a:lnTo>
                  <a:lnTo>
                    <a:pt x="474" y="3625"/>
                  </a:lnTo>
                  <a:lnTo>
                    <a:pt x="479" y="3614"/>
                  </a:lnTo>
                  <a:lnTo>
                    <a:pt x="484" y="3603"/>
                  </a:lnTo>
                  <a:lnTo>
                    <a:pt x="489" y="3592"/>
                  </a:lnTo>
                  <a:lnTo>
                    <a:pt x="493" y="3580"/>
                  </a:lnTo>
                  <a:lnTo>
                    <a:pt x="496" y="3568"/>
                  </a:lnTo>
                  <a:lnTo>
                    <a:pt x="499" y="3556"/>
                  </a:lnTo>
                  <a:lnTo>
                    <a:pt x="501" y="3544"/>
                  </a:lnTo>
                  <a:lnTo>
                    <a:pt x="503" y="3531"/>
                  </a:lnTo>
                  <a:lnTo>
                    <a:pt x="504" y="3519"/>
                  </a:lnTo>
                  <a:lnTo>
                    <a:pt x="504" y="3506"/>
                  </a:lnTo>
                  <a:lnTo>
                    <a:pt x="511" y="3357"/>
                  </a:lnTo>
                  <a:lnTo>
                    <a:pt x="531" y="3208"/>
                  </a:lnTo>
                  <a:lnTo>
                    <a:pt x="564" y="3062"/>
                  </a:lnTo>
                  <a:lnTo>
                    <a:pt x="611" y="2917"/>
                  </a:lnTo>
                  <a:lnTo>
                    <a:pt x="669" y="2775"/>
                  </a:lnTo>
                  <a:lnTo>
                    <a:pt x="739" y="2634"/>
                  </a:lnTo>
                  <a:lnTo>
                    <a:pt x="820" y="2496"/>
                  </a:lnTo>
                  <a:lnTo>
                    <a:pt x="914" y="2361"/>
                  </a:lnTo>
                  <a:lnTo>
                    <a:pt x="1018" y="2229"/>
                  </a:lnTo>
                  <a:lnTo>
                    <a:pt x="1132" y="2100"/>
                  </a:lnTo>
                  <a:lnTo>
                    <a:pt x="1257" y="1973"/>
                  </a:lnTo>
                  <a:lnTo>
                    <a:pt x="1391" y="1851"/>
                  </a:lnTo>
                  <a:lnTo>
                    <a:pt x="1534" y="1733"/>
                  </a:lnTo>
                  <a:lnTo>
                    <a:pt x="1686" y="1619"/>
                  </a:lnTo>
                  <a:lnTo>
                    <a:pt x="1848" y="1509"/>
                  </a:lnTo>
                  <a:lnTo>
                    <a:pt x="2017" y="1403"/>
                  </a:lnTo>
                  <a:lnTo>
                    <a:pt x="2195" y="1302"/>
                  </a:lnTo>
                  <a:lnTo>
                    <a:pt x="2379" y="1206"/>
                  </a:lnTo>
                  <a:lnTo>
                    <a:pt x="2572" y="1115"/>
                  </a:lnTo>
                  <a:lnTo>
                    <a:pt x="2769" y="1030"/>
                  </a:lnTo>
                  <a:lnTo>
                    <a:pt x="2975" y="950"/>
                  </a:lnTo>
                  <a:lnTo>
                    <a:pt x="3186" y="876"/>
                  </a:lnTo>
                  <a:lnTo>
                    <a:pt x="3402" y="807"/>
                  </a:lnTo>
                  <a:lnTo>
                    <a:pt x="3624" y="745"/>
                  </a:lnTo>
                  <a:lnTo>
                    <a:pt x="3851" y="690"/>
                  </a:lnTo>
                  <a:lnTo>
                    <a:pt x="4083" y="641"/>
                  </a:lnTo>
                  <a:lnTo>
                    <a:pt x="4318" y="599"/>
                  </a:lnTo>
                  <a:lnTo>
                    <a:pt x="4557" y="564"/>
                  </a:lnTo>
                  <a:lnTo>
                    <a:pt x="4800" y="537"/>
                  </a:lnTo>
                  <a:lnTo>
                    <a:pt x="5046" y="517"/>
                  </a:lnTo>
                  <a:lnTo>
                    <a:pt x="5294" y="505"/>
                  </a:lnTo>
                  <a:lnTo>
                    <a:pt x="5545" y="501"/>
                  </a:lnTo>
                  <a:lnTo>
                    <a:pt x="5558" y="501"/>
                  </a:lnTo>
                  <a:lnTo>
                    <a:pt x="5571" y="500"/>
                  </a:lnTo>
                  <a:lnTo>
                    <a:pt x="5583" y="498"/>
                  </a:lnTo>
                  <a:lnTo>
                    <a:pt x="5595" y="496"/>
                  </a:lnTo>
                  <a:lnTo>
                    <a:pt x="5609" y="493"/>
                  </a:lnTo>
                  <a:lnTo>
                    <a:pt x="5620" y="490"/>
                  </a:lnTo>
                  <a:lnTo>
                    <a:pt x="5632" y="486"/>
                  </a:lnTo>
                  <a:lnTo>
                    <a:pt x="5643" y="481"/>
                  </a:lnTo>
                  <a:lnTo>
                    <a:pt x="5654" y="476"/>
                  </a:lnTo>
                  <a:lnTo>
                    <a:pt x="5665" y="471"/>
                  </a:lnTo>
                  <a:lnTo>
                    <a:pt x="5676" y="465"/>
                  </a:lnTo>
                  <a:lnTo>
                    <a:pt x="5686" y="458"/>
                  </a:lnTo>
                  <a:lnTo>
                    <a:pt x="5696" y="451"/>
                  </a:lnTo>
                  <a:lnTo>
                    <a:pt x="5705" y="444"/>
                  </a:lnTo>
                  <a:lnTo>
                    <a:pt x="5714" y="436"/>
                  </a:lnTo>
                  <a:lnTo>
                    <a:pt x="5723" y="428"/>
                  </a:lnTo>
                  <a:lnTo>
                    <a:pt x="5732" y="419"/>
                  </a:lnTo>
                  <a:lnTo>
                    <a:pt x="5740" y="410"/>
                  </a:lnTo>
                  <a:lnTo>
                    <a:pt x="5747" y="401"/>
                  </a:lnTo>
                  <a:lnTo>
                    <a:pt x="5754" y="391"/>
                  </a:lnTo>
                  <a:lnTo>
                    <a:pt x="5761" y="381"/>
                  </a:lnTo>
                  <a:lnTo>
                    <a:pt x="5767" y="370"/>
                  </a:lnTo>
                  <a:lnTo>
                    <a:pt x="5772" y="359"/>
                  </a:lnTo>
                  <a:lnTo>
                    <a:pt x="5777" y="348"/>
                  </a:lnTo>
                  <a:lnTo>
                    <a:pt x="5782" y="337"/>
                  </a:lnTo>
                  <a:lnTo>
                    <a:pt x="5786" y="325"/>
                  </a:lnTo>
                  <a:lnTo>
                    <a:pt x="5789" y="313"/>
                  </a:lnTo>
                  <a:lnTo>
                    <a:pt x="5792" y="301"/>
                  </a:lnTo>
                  <a:lnTo>
                    <a:pt x="5794" y="289"/>
                  </a:lnTo>
                  <a:lnTo>
                    <a:pt x="5796" y="277"/>
                  </a:lnTo>
                  <a:lnTo>
                    <a:pt x="5797" y="264"/>
                  </a:lnTo>
                  <a:lnTo>
                    <a:pt x="5797" y="251"/>
                  </a:lnTo>
                  <a:lnTo>
                    <a:pt x="5797" y="237"/>
                  </a:lnTo>
                  <a:lnTo>
                    <a:pt x="5796" y="225"/>
                  </a:lnTo>
                  <a:lnTo>
                    <a:pt x="5794" y="212"/>
                  </a:lnTo>
                  <a:lnTo>
                    <a:pt x="5792" y="200"/>
                  </a:lnTo>
                  <a:lnTo>
                    <a:pt x="5789" y="188"/>
                  </a:lnTo>
                  <a:lnTo>
                    <a:pt x="5786" y="176"/>
                  </a:lnTo>
                  <a:lnTo>
                    <a:pt x="5782" y="164"/>
                  </a:lnTo>
                  <a:lnTo>
                    <a:pt x="5777" y="153"/>
                  </a:lnTo>
                  <a:lnTo>
                    <a:pt x="5772" y="142"/>
                  </a:lnTo>
                  <a:lnTo>
                    <a:pt x="5767" y="131"/>
                  </a:lnTo>
                  <a:lnTo>
                    <a:pt x="5761" y="120"/>
                  </a:lnTo>
                  <a:lnTo>
                    <a:pt x="5754" y="110"/>
                  </a:lnTo>
                  <a:lnTo>
                    <a:pt x="5747" y="100"/>
                  </a:lnTo>
                  <a:lnTo>
                    <a:pt x="5740" y="91"/>
                  </a:lnTo>
                  <a:lnTo>
                    <a:pt x="5732" y="82"/>
                  </a:lnTo>
                  <a:lnTo>
                    <a:pt x="5723" y="73"/>
                  </a:lnTo>
                  <a:lnTo>
                    <a:pt x="5714" y="65"/>
                  </a:lnTo>
                  <a:lnTo>
                    <a:pt x="5705" y="57"/>
                  </a:lnTo>
                  <a:lnTo>
                    <a:pt x="5696" y="50"/>
                  </a:lnTo>
                  <a:lnTo>
                    <a:pt x="5686" y="43"/>
                  </a:lnTo>
                  <a:lnTo>
                    <a:pt x="5676" y="36"/>
                  </a:lnTo>
                  <a:lnTo>
                    <a:pt x="5665" y="30"/>
                  </a:lnTo>
                  <a:lnTo>
                    <a:pt x="5654" y="25"/>
                  </a:lnTo>
                  <a:lnTo>
                    <a:pt x="5643" y="20"/>
                  </a:lnTo>
                  <a:lnTo>
                    <a:pt x="5632" y="15"/>
                  </a:lnTo>
                  <a:lnTo>
                    <a:pt x="5620" y="11"/>
                  </a:lnTo>
                  <a:lnTo>
                    <a:pt x="5609" y="8"/>
                  </a:lnTo>
                  <a:lnTo>
                    <a:pt x="5595" y="5"/>
                  </a:lnTo>
                  <a:lnTo>
                    <a:pt x="5583" y="3"/>
                  </a:lnTo>
                  <a:lnTo>
                    <a:pt x="5571" y="1"/>
                  </a:lnTo>
                  <a:lnTo>
                    <a:pt x="5558" y="0"/>
                  </a:lnTo>
                  <a:lnTo>
                    <a:pt x="55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79" name="ïṧḷîďe">
              <a:extLst>
                <a:ext uri="{FF2B5EF4-FFF2-40B4-BE49-F238E27FC236}">
                  <a16:creationId xmlns:a16="http://schemas.microsoft.com/office/drawing/2014/main" id="{15F5CE8B-EB39-42AD-8D97-51BA2FB17B0E}"/>
                </a:ext>
              </a:extLst>
            </p:cNvPr>
            <p:cNvSpPr/>
            <p:nvPr/>
          </p:nvSpPr>
          <p:spPr bwMode="auto">
            <a:xfrm>
              <a:off x="5791178" y="35848"/>
              <a:ext cx="655727" cy="570000"/>
            </a:xfrm>
            <a:custGeom>
              <a:avLst/>
              <a:gdLst>
                <a:gd name="T0" fmla="*/ 7365 w 16132"/>
                <a:gd name="T1" fmla="*/ 10992 h 14023"/>
                <a:gd name="T2" fmla="*/ 6620 w 16132"/>
                <a:gd name="T3" fmla="*/ 10910 h 14023"/>
                <a:gd name="T4" fmla="*/ 6344 w 16132"/>
                <a:gd name="T5" fmla="*/ 10917 h 14023"/>
                <a:gd name="T6" fmla="*/ 6106 w 16132"/>
                <a:gd name="T7" fmla="*/ 10988 h 14023"/>
                <a:gd name="T8" fmla="*/ 5892 w 16132"/>
                <a:gd name="T9" fmla="*/ 11114 h 14023"/>
                <a:gd name="T10" fmla="*/ 5710 w 16132"/>
                <a:gd name="T11" fmla="*/ 11296 h 14023"/>
                <a:gd name="T12" fmla="*/ 5336 w 16132"/>
                <a:gd name="T13" fmla="*/ 11674 h 14023"/>
                <a:gd name="T14" fmla="*/ 4873 w 16132"/>
                <a:gd name="T15" fmla="*/ 12065 h 14023"/>
                <a:gd name="T16" fmla="*/ 4310 w 16132"/>
                <a:gd name="T17" fmla="*/ 12459 h 14023"/>
                <a:gd name="T18" fmla="*/ 4388 w 16132"/>
                <a:gd name="T19" fmla="*/ 11971 h 14023"/>
                <a:gd name="T20" fmla="*/ 4488 w 16132"/>
                <a:gd name="T21" fmla="*/ 11553 h 14023"/>
                <a:gd name="T22" fmla="*/ 4535 w 16132"/>
                <a:gd name="T23" fmla="*/ 11121 h 14023"/>
                <a:gd name="T24" fmla="*/ 4531 w 16132"/>
                <a:gd name="T25" fmla="*/ 10842 h 14023"/>
                <a:gd name="T26" fmla="*/ 4442 w 16132"/>
                <a:gd name="T27" fmla="*/ 10547 h 14023"/>
                <a:gd name="T28" fmla="*/ 4269 w 16132"/>
                <a:gd name="T29" fmla="*/ 10296 h 14023"/>
                <a:gd name="T30" fmla="*/ 4023 w 16132"/>
                <a:gd name="T31" fmla="*/ 10106 h 14023"/>
                <a:gd name="T32" fmla="*/ 2737 w 16132"/>
                <a:gd name="T33" fmla="*/ 9277 h 14023"/>
                <a:gd name="T34" fmla="*/ 1706 w 16132"/>
                <a:gd name="T35" fmla="*/ 8163 h 14023"/>
                <a:gd name="T36" fmla="*/ 1123 w 16132"/>
                <a:gd name="T37" fmla="*/ 6901 h 14023"/>
                <a:gd name="T38" fmla="*/ 1090 w 16132"/>
                <a:gd name="T39" fmla="*/ 5248 h 14023"/>
                <a:gd name="T40" fmla="*/ 2215 w 16132"/>
                <a:gd name="T41" fmla="*/ 3211 h 14023"/>
                <a:gd name="T42" fmla="*/ 4409 w 16132"/>
                <a:gd name="T43" fmla="*/ 1728 h 14023"/>
                <a:gd name="T44" fmla="*/ 7345 w 16132"/>
                <a:gd name="T45" fmla="*/ 1028 h 14023"/>
                <a:gd name="T46" fmla="*/ 10490 w 16132"/>
                <a:gd name="T47" fmla="*/ 1306 h 14023"/>
                <a:gd name="T48" fmla="*/ 13054 w 16132"/>
                <a:gd name="T49" fmla="*/ 2470 h 14023"/>
                <a:gd name="T50" fmla="*/ 14695 w 16132"/>
                <a:gd name="T51" fmla="*/ 4290 h 14023"/>
                <a:gd name="T52" fmla="*/ 15087 w 16132"/>
                <a:gd name="T53" fmla="*/ 6521 h 14023"/>
                <a:gd name="T54" fmla="*/ 14100 w 16132"/>
                <a:gd name="T55" fmla="*/ 8605 h 14023"/>
                <a:gd name="T56" fmla="*/ 12009 w 16132"/>
                <a:gd name="T57" fmla="*/ 10162 h 14023"/>
                <a:gd name="T58" fmla="*/ 9140 w 16132"/>
                <a:gd name="T59" fmla="*/ 10960 h 14023"/>
                <a:gd name="T60" fmla="*/ 6051 w 16132"/>
                <a:gd name="T61" fmla="*/ 189 h 14023"/>
                <a:gd name="T62" fmla="*/ 2935 w 16132"/>
                <a:gd name="T63" fmla="*/ 1372 h 14023"/>
                <a:gd name="T64" fmla="*/ 796 w 16132"/>
                <a:gd name="T65" fmla="*/ 3405 h 14023"/>
                <a:gd name="T66" fmla="*/ 0 w 16132"/>
                <a:gd name="T67" fmla="*/ 6010 h 14023"/>
                <a:gd name="T68" fmla="*/ 318 w 16132"/>
                <a:gd name="T69" fmla="*/ 7685 h 14023"/>
                <a:gd name="T70" fmla="*/ 1211 w 16132"/>
                <a:gd name="T71" fmla="*/ 9177 h 14023"/>
                <a:gd name="T72" fmla="*/ 2590 w 16132"/>
                <a:gd name="T73" fmla="*/ 10421 h 14023"/>
                <a:gd name="T74" fmla="*/ 3529 w 16132"/>
                <a:gd name="T75" fmla="*/ 11018 h 14023"/>
                <a:gd name="T76" fmla="*/ 3392 w 16132"/>
                <a:gd name="T77" fmla="*/ 11780 h 14023"/>
                <a:gd name="T78" fmla="*/ 3075 w 16132"/>
                <a:gd name="T79" fmla="*/ 12505 h 14023"/>
                <a:gd name="T80" fmla="*/ 2616 w 16132"/>
                <a:gd name="T81" fmla="*/ 13290 h 14023"/>
                <a:gd name="T82" fmla="*/ 2522 w 16132"/>
                <a:gd name="T83" fmla="*/ 13545 h 14023"/>
                <a:gd name="T84" fmla="*/ 2556 w 16132"/>
                <a:gd name="T85" fmla="*/ 13746 h 14023"/>
                <a:gd name="T86" fmla="*/ 2670 w 16132"/>
                <a:gd name="T87" fmla="*/ 13905 h 14023"/>
                <a:gd name="T88" fmla="*/ 2841 w 16132"/>
                <a:gd name="T89" fmla="*/ 14003 h 14023"/>
                <a:gd name="T90" fmla="*/ 3078 w 16132"/>
                <a:gd name="T91" fmla="*/ 14016 h 14023"/>
                <a:gd name="T92" fmla="*/ 3690 w 16132"/>
                <a:gd name="T93" fmla="*/ 13870 h 14023"/>
                <a:gd name="T94" fmla="*/ 4910 w 16132"/>
                <a:gd name="T95" fmla="*/ 13267 h 14023"/>
                <a:gd name="T96" fmla="*/ 5885 w 16132"/>
                <a:gd name="T97" fmla="*/ 12528 h 14023"/>
                <a:gd name="T98" fmla="*/ 6475 w 16132"/>
                <a:gd name="T99" fmla="*/ 11947 h 14023"/>
                <a:gd name="T100" fmla="*/ 7278 w 16132"/>
                <a:gd name="T101" fmla="*/ 11990 h 14023"/>
                <a:gd name="T102" fmla="*/ 8481 w 16132"/>
                <a:gd name="T103" fmla="*/ 12012 h 14023"/>
                <a:gd name="T104" fmla="*/ 11910 w 16132"/>
                <a:gd name="T105" fmla="*/ 11295 h 14023"/>
                <a:gd name="T106" fmla="*/ 14530 w 16132"/>
                <a:gd name="T107" fmla="*/ 9606 h 14023"/>
                <a:gd name="T108" fmla="*/ 15968 w 16132"/>
                <a:gd name="T109" fmla="*/ 7221 h 14023"/>
                <a:gd name="T110" fmla="*/ 15878 w 16132"/>
                <a:gd name="T111" fmla="*/ 4508 h 14023"/>
                <a:gd name="T112" fmla="*/ 14290 w 16132"/>
                <a:gd name="T113" fmla="*/ 2188 h 14023"/>
                <a:gd name="T114" fmla="*/ 11563 w 16132"/>
                <a:gd name="T115" fmla="*/ 593 h 14023"/>
                <a:gd name="T116" fmla="*/ 8066 w 16132"/>
                <a:gd name="T117" fmla="*/ 0 h 14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132" h="14023">
                  <a:moveTo>
                    <a:pt x="8066" y="11018"/>
                  </a:moveTo>
                  <a:lnTo>
                    <a:pt x="7979" y="11018"/>
                  </a:lnTo>
                  <a:lnTo>
                    <a:pt x="7893" y="11016"/>
                  </a:lnTo>
                  <a:lnTo>
                    <a:pt x="7805" y="11014"/>
                  </a:lnTo>
                  <a:lnTo>
                    <a:pt x="7717" y="11012"/>
                  </a:lnTo>
                  <a:lnTo>
                    <a:pt x="7629" y="11008"/>
                  </a:lnTo>
                  <a:lnTo>
                    <a:pt x="7542" y="11003"/>
                  </a:lnTo>
                  <a:lnTo>
                    <a:pt x="7454" y="10998"/>
                  </a:lnTo>
                  <a:lnTo>
                    <a:pt x="7365" y="10992"/>
                  </a:lnTo>
                  <a:lnTo>
                    <a:pt x="7278" y="10985"/>
                  </a:lnTo>
                  <a:lnTo>
                    <a:pt x="7189" y="10978"/>
                  </a:lnTo>
                  <a:lnTo>
                    <a:pt x="7100" y="10969"/>
                  </a:lnTo>
                  <a:lnTo>
                    <a:pt x="7011" y="10960"/>
                  </a:lnTo>
                  <a:lnTo>
                    <a:pt x="6923" y="10950"/>
                  </a:lnTo>
                  <a:lnTo>
                    <a:pt x="6834" y="10939"/>
                  </a:lnTo>
                  <a:lnTo>
                    <a:pt x="6745" y="10927"/>
                  </a:lnTo>
                  <a:lnTo>
                    <a:pt x="6656" y="10914"/>
                  </a:lnTo>
                  <a:lnTo>
                    <a:pt x="6620" y="10910"/>
                  </a:lnTo>
                  <a:lnTo>
                    <a:pt x="6583" y="10906"/>
                  </a:lnTo>
                  <a:lnTo>
                    <a:pt x="6547" y="10904"/>
                  </a:lnTo>
                  <a:lnTo>
                    <a:pt x="6510" y="10903"/>
                  </a:lnTo>
                  <a:lnTo>
                    <a:pt x="6482" y="10904"/>
                  </a:lnTo>
                  <a:lnTo>
                    <a:pt x="6455" y="10905"/>
                  </a:lnTo>
                  <a:lnTo>
                    <a:pt x="6427" y="10907"/>
                  </a:lnTo>
                  <a:lnTo>
                    <a:pt x="6398" y="10910"/>
                  </a:lnTo>
                  <a:lnTo>
                    <a:pt x="6371" y="10913"/>
                  </a:lnTo>
                  <a:lnTo>
                    <a:pt x="6344" y="10917"/>
                  </a:lnTo>
                  <a:lnTo>
                    <a:pt x="6317" y="10922"/>
                  </a:lnTo>
                  <a:lnTo>
                    <a:pt x="6289" y="10928"/>
                  </a:lnTo>
                  <a:lnTo>
                    <a:pt x="6262" y="10934"/>
                  </a:lnTo>
                  <a:lnTo>
                    <a:pt x="6236" y="10941"/>
                  </a:lnTo>
                  <a:lnTo>
                    <a:pt x="6210" y="10949"/>
                  </a:lnTo>
                  <a:lnTo>
                    <a:pt x="6183" y="10958"/>
                  </a:lnTo>
                  <a:lnTo>
                    <a:pt x="6157" y="10967"/>
                  </a:lnTo>
                  <a:lnTo>
                    <a:pt x="6131" y="10977"/>
                  </a:lnTo>
                  <a:lnTo>
                    <a:pt x="6106" y="10988"/>
                  </a:lnTo>
                  <a:lnTo>
                    <a:pt x="6081" y="10999"/>
                  </a:lnTo>
                  <a:lnTo>
                    <a:pt x="6056" y="11011"/>
                  </a:lnTo>
                  <a:lnTo>
                    <a:pt x="6031" y="11024"/>
                  </a:lnTo>
                  <a:lnTo>
                    <a:pt x="6007" y="11037"/>
                  </a:lnTo>
                  <a:lnTo>
                    <a:pt x="5983" y="11051"/>
                  </a:lnTo>
                  <a:lnTo>
                    <a:pt x="5960" y="11066"/>
                  </a:lnTo>
                  <a:lnTo>
                    <a:pt x="5937" y="11081"/>
                  </a:lnTo>
                  <a:lnTo>
                    <a:pt x="5914" y="11097"/>
                  </a:lnTo>
                  <a:lnTo>
                    <a:pt x="5892" y="11114"/>
                  </a:lnTo>
                  <a:lnTo>
                    <a:pt x="5870" y="11131"/>
                  </a:lnTo>
                  <a:lnTo>
                    <a:pt x="5849" y="11149"/>
                  </a:lnTo>
                  <a:lnTo>
                    <a:pt x="5828" y="11167"/>
                  </a:lnTo>
                  <a:lnTo>
                    <a:pt x="5808" y="11187"/>
                  </a:lnTo>
                  <a:lnTo>
                    <a:pt x="5787" y="11206"/>
                  </a:lnTo>
                  <a:lnTo>
                    <a:pt x="5768" y="11227"/>
                  </a:lnTo>
                  <a:lnTo>
                    <a:pt x="5749" y="11248"/>
                  </a:lnTo>
                  <a:lnTo>
                    <a:pt x="5731" y="11269"/>
                  </a:lnTo>
                  <a:lnTo>
                    <a:pt x="5710" y="11296"/>
                  </a:lnTo>
                  <a:lnTo>
                    <a:pt x="5686" y="11323"/>
                  </a:lnTo>
                  <a:lnTo>
                    <a:pt x="5660" y="11352"/>
                  </a:lnTo>
                  <a:lnTo>
                    <a:pt x="5632" y="11382"/>
                  </a:lnTo>
                  <a:lnTo>
                    <a:pt x="5570" y="11448"/>
                  </a:lnTo>
                  <a:lnTo>
                    <a:pt x="5499" y="11518"/>
                  </a:lnTo>
                  <a:lnTo>
                    <a:pt x="5461" y="11556"/>
                  </a:lnTo>
                  <a:lnTo>
                    <a:pt x="5420" y="11594"/>
                  </a:lnTo>
                  <a:lnTo>
                    <a:pt x="5379" y="11633"/>
                  </a:lnTo>
                  <a:lnTo>
                    <a:pt x="5336" y="11674"/>
                  </a:lnTo>
                  <a:lnTo>
                    <a:pt x="5290" y="11715"/>
                  </a:lnTo>
                  <a:lnTo>
                    <a:pt x="5243" y="11757"/>
                  </a:lnTo>
                  <a:lnTo>
                    <a:pt x="5195" y="11799"/>
                  </a:lnTo>
                  <a:lnTo>
                    <a:pt x="5145" y="11842"/>
                  </a:lnTo>
                  <a:lnTo>
                    <a:pt x="5093" y="11886"/>
                  </a:lnTo>
                  <a:lnTo>
                    <a:pt x="5040" y="11931"/>
                  </a:lnTo>
                  <a:lnTo>
                    <a:pt x="4986" y="11975"/>
                  </a:lnTo>
                  <a:lnTo>
                    <a:pt x="4930" y="12020"/>
                  </a:lnTo>
                  <a:lnTo>
                    <a:pt x="4873" y="12065"/>
                  </a:lnTo>
                  <a:lnTo>
                    <a:pt x="4814" y="12109"/>
                  </a:lnTo>
                  <a:lnTo>
                    <a:pt x="4755" y="12154"/>
                  </a:lnTo>
                  <a:lnTo>
                    <a:pt x="4694" y="12199"/>
                  </a:lnTo>
                  <a:lnTo>
                    <a:pt x="4633" y="12243"/>
                  </a:lnTo>
                  <a:lnTo>
                    <a:pt x="4570" y="12287"/>
                  </a:lnTo>
                  <a:lnTo>
                    <a:pt x="4507" y="12331"/>
                  </a:lnTo>
                  <a:lnTo>
                    <a:pt x="4442" y="12374"/>
                  </a:lnTo>
                  <a:lnTo>
                    <a:pt x="4377" y="12417"/>
                  </a:lnTo>
                  <a:lnTo>
                    <a:pt x="4310" y="12459"/>
                  </a:lnTo>
                  <a:lnTo>
                    <a:pt x="4244" y="12501"/>
                  </a:lnTo>
                  <a:lnTo>
                    <a:pt x="4176" y="12542"/>
                  </a:lnTo>
                  <a:lnTo>
                    <a:pt x="4212" y="12456"/>
                  </a:lnTo>
                  <a:lnTo>
                    <a:pt x="4248" y="12371"/>
                  </a:lnTo>
                  <a:lnTo>
                    <a:pt x="4281" y="12284"/>
                  </a:lnTo>
                  <a:lnTo>
                    <a:pt x="4313" y="12196"/>
                  </a:lnTo>
                  <a:lnTo>
                    <a:pt x="4345" y="12107"/>
                  </a:lnTo>
                  <a:lnTo>
                    <a:pt x="4374" y="12017"/>
                  </a:lnTo>
                  <a:lnTo>
                    <a:pt x="4388" y="11971"/>
                  </a:lnTo>
                  <a:lnTo>
                    <a:pt x="4401" y="11926"/>
                  </a:lnTo>
                  <a:lnTo>
                    <a:pt x="4414" y="11879"/>
                  </a:lnTo>
                  <a:lnTo>
                    <a:pt x="4426" y="11833"/>
                  </a:lnTo>
                  <a:lnTo>
                    <a:pt x="4438" y="11787"/>
                  </a:lnTo>
                  <a:lnTo>
                    <a:pt x="4449" y="11740"/>
                  </a:lnTo>
                  <a:lnTo>
                    <a:pt x="4459" y="11694"/>
                  </a:lnTo>
                  <a:lnTo>
                    <a:pt x="4470" y="11647"/>
                  </a:lnTo>
                  <a:lnTo>
                    <a:pt x="4480" y="11600"/>
                  </a:lnTo>
                  <a:lnTo>
                    <a:pt x="4488" y="11553"/>
                  </a:lnTo>
                  <a:lnTo>
                    <a:pt x="4496" y="11506"/>
                  </a:lnTo>
                  <a:lnTo>
                    <a:pt x="4504" y="11458"/>
                  </a:lnTo>
                  <a:lnTo>
                    <a:pt x="4510" y="11411"/>
                  </a:lnTo>
                  <a:lnTo>
                    <a:pt x="4516" y="11363"/>
                  </a:lnTo>
                  <a:lnTo>
                    <a:pt x="4522" y="11315"/>
                  </a:lnTo>
                  <a:lnTo>
                    <a:pt x="4526" y="11266"/>
                  </a:lnTo>
                  <a:lnTo>
                    <a:pt x="4530" y="11218"/>
                  </a:lnTo>
                  <a:lnTo>
                    <a:pt x="4533" y="11170"/>
                  </a:lnTo>
                  <a:lnTo>
                    <a:pt x="4535" y="11121"/>
                  </a:lnTo>
                  <a:lnTo>
                    <a:pt x="4537" y="11073"/>
                  </a:lnTo>
                  <a:lnTo>
                    <a:pt x="4538" y="11049"/>
                  </a:lnTo>
                  <a:lnTo>
                    <a:pt x="4540" y="11025"/>
                  </a:lnTo>
                  <a:lnTo>
                    <a:pt x="4541" y="11002"/>
                  </a:lnTo>
                  <a:lnTo>
                    <a:pt x="4541" y="10981"/>
                  </a:lnTo>
                  <a:lnTo>
                    <a:pt x="4540" y="10946"/>
                  </a:lnTo>
                  <a:lnTo>
                    <a:pt x="4539" y="10911"/>
                  </a:lnTo>
                  <a:lnTo>
                    <a:pt x="4536" y="10876"/>
                  </a:lnTo>
                  <a:lnTo>
                    <a:pt x="4531" y="10842"/>
                  </a:lnTo>
                  <a:lnTo>
                    <a:pt x="4526" y="10808"/>
                  </a:lnTo>
                  <a:lnTo>
                    <a:pt x="4519" y="10774"/>
                  </a:lnTo>
                  <a:lnTo>
                    <a:pt x="4512" y="10741"/>
                  </a:lnTo>
                  <a:lnTo>
                    <a:pt x="4503" y="10707"/>
                  </a:lnTo>
                  <a:lnTo>
                    <a:pt x="4493" y="10675"/>
                  </a:lnTo>
                  <a:lnTo>
                    <a:pt x="4482" y="10641"/>
                  </a:lnTo>
                  <a:lnTo>
                    <a:pt x="4470" y="10610"/>
                  </a:lnTo>
                  <a:lnTo>
                    <a:pt x="4456" y="10578"/>
                  </a:lnTo>
                  <a:lnTo>
                    <a:pt x="4442" y="10547"/>
                  </a:lnTo>
                  <a:lnTo>
                    <a:pt x="4426" y="10517"/>
                  </a:lnTo>
                  <a:lnTo>
                    <a:pt x="4410" y="10487"/>
                  </a:lnTo>
                  <a:lnTo>
                    <a:pt x="4393" y="10458"/>
                  </a:lnTo>
                  <a:lnTo>
                    <a:pt x="4375" y="10429"/>
                  </a:lnTo>
                  <a:lnTo>
                    <a:pt x="4356" y="10401"/>
                  </a:lnTo>
                  <a:lnTo>
                    <a:pt x="4334" y="10374"/>
                  </a:lnTo>
                  <a:lnTo>
                    <a:pt x="4313" y="10347"/>
                  </a:lnTo>
                  <a:lnTo>
                    <a:pt x="4291" y="10321"/>
                  </a:lnTo>
                  <a:lnTo>
                    <a:pt x="4269" y="10296"/>
                  </a:lnTo>
                  <a:lnTo>
                    <a:pt x="4245" y="10271"/>
                  </a:lnTo>
                  <a:lnTo>
                    <a:pt x="4220" y="10248"/>
                  </a:lnTo>
                  <a:lnTo>
                    <a:pt x="4194" y="10225"/>
                  </a:lnTo>
                  <a:lnTo>
                    <a:pt x="4168" y="10203"/>
                  </a:lnTo>
                  <a:lnTo>
                    <a:pt x="4140" y="10182"/>
                  </a:lnTo>
                  <a:lnTo>
                    <a:pt x="4112" y="10161"/>
                  </a:lnTo>
                  <a:lnTo>
                    <a:pt x="4083" y="10142"/>
                  </a:lnTo>
                  <a:lnTo>
                    <a:pt x="4053" y="10123"/>
                  </a:lnTo>
                  <a:lnTo>
                    <a:pt x="4023" y="10106"/>
                  </a:lnTo>
                  <a:lnTo>
                    <a:pt x="3992" y="10089"/>
                  </a:lnTo>
                  <a:lnTo>
                    <a:pt x="3819" y="9998"/>
                  </a:lnTo>
                  <a:lnTo>
                    <a:pt x="3650" y="9904"/>
                  </a:lnTo>
                  <a:lnTo>
                    <a:pt x="3487" y="9807"/>
                  </a:lnTo>
                  <a:lnTo>
                    <a:pt x="3327" y="9707"/>
                  </a:lnTo>
                  <a:lnTo>
                    <a:pt x="3173" y="9604"/>
                  </a:lnTo>
                  <a:lnTo>
                    <a:pt x="3023" y="9499"/>
                  </a:lnTo>
                  <a:lnTo>
                    <a:pt x="2878" y="9389"/>
                  </a:lnTo>
                  <a:lnTo>
                    <a:pt x="2737" y="9277"/>
                  </a:lnTo>
                  <a:lnTo>
                    <a:pt x="2602" y="9163"/>
                  </a:lnTo>
                  <a:lnTo>
                    <a:pt x="2472" y="9046"/>
                  </a:lnTo>
                  <a:lnTo>
                    <a:pt x="2346" y="8927"/>
                  </a:lnTo>
                  <a:lnTo>
                    <a:pt x="2226" y="8805"/>
                  </a:lnTo>
                  <a:lnTo>
                    <a:pt x="2112" y="8681"/>
                  </a:lnTo>
                  <a:lnTo>
                    <a:pt x="2002" y="8555"/>
                  </a:lnTo>
                  <a:lnTo>
                    <a:pt x="1899" y="8427"/>
                  </a:lnTo>
                  <a:lnTo>
                    <a:pt x="1800" y="8297"/>
                  </a:lnTo>
                  <a:lnTo>
                    <a:pt x="1706" y="8163"/>
                  </a:lnTo>
                  <a:lnTo>
                    <a:pt x="1618" y="8030"/>
                  </a:lnTo>
                  <a:lnTo>
                    <a:pt x="1537" y="7894"/>
                  </a:lnTo>
                  <a:lnTo>
                    <a:pt x="1460" y="7757"/>
                  </a:lnTo>
                  <a:lnTo>
                    <a:pt x="1388" y="7617"/>
                  </a:lnTo>
                  <a:lnTo>
                    <a:pt x="1324" y="7476"/>
                  </a:lnTo>
                  <a:lnTo>
                    <a:pt x="1264" y="7335"/>
                  </a:lnTo>
                  <a:lnTo>
                    <a:pt x="1212" y="7192"/>
                  </a:lnTo>
                  <a:lnTo>
                    <a:pt x="1165" y="7047"/>
                  </a:lnTo>
                  <a:lnTo>
                    <a:pt x="1123" y="6901"/>
                  </a:lnTo>
                  <a:lnTo>
                    <a:pt x="1089" y="6755"/>
                  </a:lnTo>
                  <a:lnTo>
                    <a:pt x="1060" y="6608"/>
                  </a:lnTo>
                  <a:lnTo>
                    <a:pt x="1037" y="6459"/>
                  </a:lnTo>
                  <a:lnTo>
                    <a:pt x="1021" y="6309"/>
                  </a:lnTo>
                  <a:lnTo>
                    <a:pt x="1011" y="6160"/>
                  </a:lnTo>
                  <a:lnTo>
                    <a:pt x="1008" y="6010"/>
                  </a:lnTo>
                  <a:lnTo>
                    <a:pt x="1017" y="5752"/>
                  </a:lnTo>
                  <a:lnTo>
                    <a:pt x="1045" y="5498"/>
                  </a:lnTo>
                  <a:lnTo>
                    <a:pt x="1090" y="5248"/>
                  </a:lnTo>
                  <a:lnTo>
                    <a:pt x="1151" y="5002"/>
                  </a:lnTo>
                  <a:lnTo>
                    <a:pt x="1231" y="4760"/>
                  </a:lnTo>
                  <a:lnTo>
                    <a:pt x="1326" y="4522"/>
                  </a:lnTo>
                  <a:lnTo>
                    <a:pt x="1437" y="4290"/>
                  </a:lnTo>
                  <a:lnTo>
                    <a:pt x="1564" y="4063"/>
                  </a:lnTo>
                  <a:lnTo>
                    <a:pt x="1705" y="3840"/>
                  </a:lnTo>
                  <a:lnTo>
                    <a:pt x="1861" y="3625"/>
                  </a:lnTo>
                  <a:lnTo>
                    <a:pt x="2032" y="3415"/>
                  </a:lnTo>
                  <a:lnTo>
                    <a:pt x="2215" y="3211"/>
                  </a:lnTo>
                  <a:lnTo>
                    <a:pt x="2412" y="3015"/>
                  </a:lnTo>
                  <a:lnTo>
                    <a:pt x="2621" y="2826"/>
                  </a:lnTo>
                  <a:lnTo>
                    <a:pt x="2844" y="2644"/>
                  </a:lnTo>
                  <a:lnTo>
                    <a:pt x="3078" y="2470"/>
                  </a:lnTo>
                  <a:lnTo>
                    <a:pt x="3323" y="2304"/>
                  </a:lnTo>
                  <a:lnTo>
                    <a:pt x="3579" y="2147"/>
                  </a:lnTo>
                  <a:lnTo>
                    <a:pt x="3845" y="1998"/>
                  </a:lnTo>
                  <a:lnTo>
                    <a:pt x="4123" y="1858"/>
                  </a:lnTo>
                  <a:lnTo>
                    <a:pt x="4409" y="1728"/>
                  </a:lnTo>
                  <a:lnTo>
                    <a:pt x="4704" y="1607"/>
                  </a:lnTo>
                  <a:lnTo>
                    <a:pt x="5009" y="1496"/>
                  </a:lnTo>
                  <a:lnTo>
                    <a:pt x="5322" y="1395"/>
                  </a:lnTo>
                  <a:lnTo>
                    <a:pt x="5642" y="1306"/>
                  </a:lnTo>
                  <a:lnTo>
                    <a:pt x="5970" y="1227"/>
                  </a:lnTo>
                  <a:lnTo>
                    <a:pt x="6305" y="1160"/>
                  </a:lnTo>
                  <a:lnTo>
                    <a:pt x="6645" y="1104"/>
                  </a:lnTo>
                  <a:lnTo>
                    <a:pt x="6992" y="1060"/>
                  </a:lnTo>
                  <a:lnTo>
                    <a:pt x="7345" y="1028"/>
                  </a:lnTo>
                  <a:lnTo>
                    <a:pt x="7703" y="1008"/>
                  </a:lnTo>
                  <a:lnTo>
                    <a:pt x="8066" y="1002"/>
                  </a:lnTo>
                  <a:lnTo>
                    <a:pt x="8429" y="1008"/>
                  </a:lnTo>
                  <a:lnTo>
                    <a:pt x="8787" y="1028"/>
                  </a:lnTo>
                  <a:lnTo>
                    <a:pt x="9140" y="1060"/>
                  </a:lnTo>
                  <a:lnTo>
                    <a:pt x="9487" y="1104"/>
                  </a:lnTo>
                  <a:lnTo>
                    <a:pt x="9827" y="1160"/>
                  </a:lnTo>
                  <a:lnTo>
                    <a:pt x="10162" y="1227"/>
                  </a:lnTo>
                  <a:lnTo>
                    <a:pt x="10490" y="1306"/>
                  </a:lnTo>
                  <a:lnTo>
                    <a:pt x="10810" y="1395"/>
                  </a:lnTo>
                  <a:lnTo>
                    <a:pt x="11123" y="1496"/>
                  </a:lnTo>
                  <a:lnTo>
                    <a:pt x="11428" y="1607"/>
                  </a:lnTo>
                  <a:lnTo>
                    <a:pt x="11723" y="1728"/>
                  </a:lnTo>
                  <a:lnTo>
                    <a:pt x="12009" y="1858"/>
                  </a:lnTo>
                  <a:lnTo>
                    <a:pt x="12287" y="1998"/>
                  </a:lnTo>
                  <a:lnTo>
                    <a:pt x="12553" y="2147"/>
                  </a:lnTo>
                  <a:lnTo>
                    <a:pt x="12809" y="2304"/>
                  </a:lnTo>
                  <a:lnTo>
                    <a:pt x="13054" y="2470"/>
                  </a:lnTo>
                  <a:lnTo>
                    <a:pt x="13288" y="2644"/>
                  </a:lnTo>
                  <a:lnTo>
                    <a:pt x="13511" y="2826"/>
                  </a:lnTo>
                  <a:lnTo>
                    <a:pt x="13720" y="3015"/>
                  </a:lnTo>
                  <a:lnTo>
                    <a:pt x="13917" y="3211"/>
                  </a:lnTo>
                  <a:lnTo>
                    <a:pt x="14100" y="3415"/>
                  </a:lnTo>
                  <a:lnTo>
                    <a:pt x="14271" y="3625"/>
                  </a:lnTo>
                  <a:lnTo>
                    <a:pt x="14427" y="3840"/>
                  </a:lnTo>
                  <a:lnTo>
                    <a:pt x="14568" y="4063"/>
                  </a:lnTo>
                  <a:lnTo>
                    <a:pt x="14695" y="4290"/>
                  </a:lnTo>
                  <a:lnTo>
                    <a:pt x="14806" y="4522"/>
                  </a:lnTo>
                  <a:lnTo>
                    <a:pt x="14901" y="4760"/>
                  </a:lnTo>
                  <a:lnTo>
                    <a:pt x="14981" y="5002"/>
                  </a:lnTo>
                  <a:lnTo>
                    <a:pt x="15042" y="5248"/>
                  </a:lnTo>
                  <a:lnTo>
                    <a:pt x="15087" y="5498"/>
                  </a:lnTo>
                  <a:lnTo>
                    <a:pt x="15115" y="5752"/>
                  </a:lnTo>
                  <a:lnTo>
                    <a:pt x="15124" y="6010"/>
                  </a:lnTo>
                  <a:lnTo>
                    <a:pt x="15115" y="6267"/>
                  </a:lnTo>
                  <a:lnTo>
                    <a:pt x="15087" y="6521"/>
                  </a:lnTo>
                  <a:lnTo>
                    <a:pt x="15042" y="6771"/>
                  </a:lnTo>
                  <a:lnTo>
                    <a:pt x="14981" y="7018"/>
                  </a:lnTo>
                  <a:lnTo>
                    <a:pt x="14901" y="7260"/>
                  </a:lnTo>
                  <a:lnTo>
                    <a:pt x="14806" y="7497"/>
                  </a:lnTo>
                  <a:lnTo>
                    <a:pt x="14695" y="7730"/>
                  </a:lnTo>
                  <a:lnTo>
                    <a:pt x="14568" y="7957"/>
                  </a:lnTo>
                  <a:lnTo>
                    <a:pt x="14427" y="8179"/>
                  </a:lnTo>
                  <a:lnTo>
                    <a:pt x="14271" y="8395"/>
                  </a:lnTo>
                  <a:lnTo>
                    <a:pt x="14100" y="8605"/>
                  </a:lnTo>
                  <a:lnTo>
                    <a:pt x="13917" y="8807"/>
                  </a:lnTo>
                  <a:lnTo>
                    <a:pt x="13720" y="9005"/>
                  </a:lnTo>
                  <a:lnTo>
                    <a:pt x="13511" y="9194"/>
                  </a:lnTo>
                  <a:lnTo>
                    <a:pt x="13288" y="9375"/>
                  </a:lnTo>
                  <a:lnTo>
                    <a:pt x="13054" y="9550"/>
                  </a:lnTo>
                  <a:lnTo>
                    <a:pt x="12809" y="9715"/>
                  </a:lnTo>
                  <a:lnTo>
                    <a:pt x="12553" y="9873"/>
                  </a:lnTo>
                  <a:lnTo>
                    <a:pt x="12287" y="10021"/>
                  </a:lnTo>
                  <a:lnTo>
                    <a:pt x="12009" y="10162"/>
                  </a:lnTo>
                  <a:lnTo>
                    <a:pt x="11723" y="10292"/>
                  </a:lnTo>
                  <a:lnTo>
                    <a:pt x="11428" y="10413"/>
                  </a:lnTo>
                  <a:lnTo>
                    <a:pt x="11123" y="10523"/>
                  </a:lnTo>
                  <a:lnTo>
                    <a:pt x="10810" y="10623"/>
                  </a:lnTo>
                  <a:lnTo>
                    <a:pt x="10490" y="10714"/>
                  </a:lnTo>
                  <a:lnTo>
                    <a:pt x="10162" y="10793"/>
                  </a:lnTo>
                  <a:lnTo>
                    <a:pt x="9827" y="10860"/>
                  </a:lnTo>
                  <a:lnTo>
                    <a:pt x="9487" y="10916"/>
                  </a:lnTo>
                  <a:lnTo>
                    <a:pt x="9140" y="10960"/>
                  </a:lnTo>
                  <a:lnTo>
                    <a:pt x="8787" y="10992"/>
                  </a:lnTo>
                  <a:lnTo>
                    <a:pt x="8429" y="11011"/>
                  </a:lnTo>
                  <a:lnTo>
                    <a:pt x="8066" y="11018"/>
                  </a:lnTo>
                  <a:close/>
                  <a:moveTo>
                    <a:pt x="8066" y="0"/>
                  </a:moveTo>
                  <a:lnTo>
                    <a:pt x="7651" y="8"/>
                  </a:lnTo>
                  <a:lnTo>
                    <a:pt x="7241" y="31"/>
                  </a:lnTo>
                  <a:lnTo>
                    <a:pt x="6838" y="69"/>
                  </a:lnTo>
                  <a:lnTo>
                    <a:pt x="6441" y="122"/>
                  </a:lnTo>
                  <a:lnTo>
                    <a:pt x="6051" y="189"/>
                  </a:lnTo>
                  <a:lnTo>
                    <a:pt x="5667" y="270"/>
                  </a:lnTo>
                  <a:lnTo>
                    <a:pt x="5292" y="365"/>
                  </a:lnTo>
                  <a:lnTo>
                    <a:pt x="4926" y="473"/>
                  </a:lnTo>
                  <a:lnTo>
                    <a:pt x="4569" y="593"/>
                  </a:lnTo>
                  <a:lnTo>
                    <a:pt x="4222" y="725"/>
                  </a:lnTo>
                  <a:lnTo>
                    <a:pt x="3884" y="870"/>
                  </a:lnTo>
                  <a:lnTo>
                    <a:pt x="3556" y="1027"/>
                  </a:lnTo>
                  <a:lnTo>
                    <a:pt x="3240" y="1194"/>
                  </a:lnTo>
                  <a:lnTo>
                    <a:pt x="2935" y="1372"/>
                  </a:lnTo>
                  <a:lnTo>
                    <a:pt x="2643" y="1562"/>
                  </a:lnTo>
                  <a:lnTo>
                    <a:pt x="2362" y="1760"/>
                  </a:lnTo>
                  <a:lnTo>
                    <a:pt x="2095" y="1969"/>
                  </a:lnTo>
                  <a:lnTo>
                    <a:pt x="1842" y="2188"/>
                  </a:lnTo>
                  <a:lnTo>
                    <a:pt x="1602" y="2414"/>
                  </a:lnTo>
                  <a:lnTo>
                    <a:pt x="1377" y="2649"/>
                  </a:lnTo>
                  <a:lnTo>
                    <a:pt x="1168" y="2894"/>
                  </a:lnTo>
                  <a:lnTo>
                    <a:pt x="974" y="3145"/>
                  </a:lnTo>
                  <a:lnTo>
                    <a:pt x="796" y="3405"/>
                  </a:lnTo>
                  <a:lnTo>
                    <a:pt x="634" y="3671"/>
                  </a:lnTo>
                  <a:lnTo>
                    <a:pt x="489" y="3943"/>
                  </a:lnTo>
                  <a:lnTo>
                    <a:pt x="363" y="4223"/>
                  </a:lnTo>
                  <a:lnTo>
                    <a:pt x="254" y="4508"/>
                  </a:lnTo>
                  <a:lnTo>
                    <a:pt x="163" y="4799"/>
                  </a:lnTo>
                  <a:lnTo>
                    <a:pt x="93" y="5094"/>
                  </a:lnTo>
                  <a:lnTo>
                    <a:pt x="41" y="5396"/>
                  </a:lnTo>
                  <a:lnTo>
                    <a:pt x="10" y="5700"/>
                  </a:lnTo>
                  <a:lnTo>
                    <a:pt x="0" y="6010"/>
                  </a:lnTo>
                  <a:lnTo>
                    <a:pt x="4" y="6203"/>
                  </a:lnTo>
                  <a:lnTo>
                    <a:pt x="16" y="6394"/>
                  </a:lnTo>
                  <a:lnTo>
                    <a:pt x="36" y="6584"/>
                  </a:lnTo>
                  <a:lnTo>
                    <a:pt x="65" y="6772"/>
                  </a:lnTo>
                  <a:lnTo>
                    <a:pt x="100" y="6958"/>
                  </a:lnTo>
                  <a:lnTo>
                    <a:pt x="143" y="7144"/>
                  </a:lnTo>
                  <a:lnTo>
                    <a:pt x="195" y="7326"/>
                  </a:lnTo>
                  <a:lnTo>
                    <a:pt x="252" y="7506"/>
                  </a:lnTo>
                  <a:lnTo>
                    <a:pt x="318" y="7685"/>
                  </a:lnTo>
                  <a:lnTo>
                    <a:pt x="390" y="7861"/>
                  </a:lnTo>
                  <a:lnTo>
                    <a:pt x="470" y="8034"/>
                  </a:lnTo>
                  <a:lnTo>
                    <a:pt x="556" y="8205"/>
                  </a:lnTo>
                  <a:lnTo>
                    <a:pt x="648" y="8375"/>
                  </a:lnTo>
                  <a:lnTo>
                    <a:pt x="748" y="8541"/>
                  </a:lnTo>
                  <a:lnTo>
                    <a:pt x="855" y="8704"/>
                  </a:lnTo>
                  <a:lnTo>
                    <a:pt x="967" y="8865"/>
                  </a:lnTo>
                  <a:lnTo>
                    <a:pt x="1086" y="9023"/>
                  </a:lnTo>
                  <a:lnTo>
                    <a:pt x="1211" y="9177"/>
                  </a:lnTo>
                  <a:lnTo>
                    <a:pt x="1341" y="9329"/>
                  </a:lnTo>
                  <a:lnTo>
                    <a:pt x="1478" y="9478"/>
                  </a:lnTo>
                  <a:lnTo>
                    <a:pt x="1620" y="9623"/>
                  </a:lnTo>
                  <a:lnTo>
                    <a:pt x="1768" y="9765"/>
                  </a:lnTo>
                  <a:lnTo>
                    <a:pt x="1923" y="9903"/>
                  </a:lnTo>
                  <a:lnTo>
                    <a:pt x="2081" y="10038"/>
                  </a:lnTo>
                  <a:lnTo>
                    <a:pt x="2245" y="10170"/>
                  </a:lnTo>
                  <a:lnTo>
                    <a:pt x="2415" y="10298"/>
                  </a:lnTo>
                  <a:lnTo>
                    <a:pt x="2590" y="10421"/>
                  </a:lnTo>
                  <a:lnTo>
                    <a:pt x="2769" y="10541"/>
                  </a:lnTo>
                  <a:lnTo>
                    <a:pt x="2953" y="10657"/>
                  </a:lnTo>
                  <a:lnTo>
                    <a:pt x="3142" y="10770"/>
                  </a:lnTo>
                  <a:lnTo>
                    <a:pt x="3335" y="10878"/>
                  </a:lnTo>
                  <a:lnTo>
                    <a:pt x="3533" y="10981"/>
                  </a:lnTo>
                  <a:lnTo>
                    <a:pt x="3532" y="10990"/>
                  </a:lnTo>
                  <a:lnTo>
                    <a:pt x="3531" y="10999"/>
                  </a:lnTo>
                  <a:lnTo>
                    <a:pt x="3530" y="11008"/>
                  </a:lnTo>
                  <a:lnTo>
                    <a:pt x="3529" y="11018"/>
                  </a:lnTo>
                  <a:lnTo>
                    <a:pt x="3527" y="11102"/>
                  </a:lnTo>
                  <a:lnTo>
                    <a:pt x="3521" y="11187"/>
                  </a:lnTo>
                  <a:lnTo>
                    <a:pt x="3512" y="11271"/>
                  </a:lnTo>
                  <a:lnTo>
                    <a:pt x="3500" y="11357"/>
                  </a:lnTo>
                  <a:lnTo>
                    <a:pt x="3484" y="11442"/>
                  </a:lnTo>
                  <a:lnTo>
                    <a:pt x="3464" y="11527"/>
                  </a:lnTo>
                  <a:lnTo>
                    <a:pt x="3443" y="11612"/>
                  </a:lnTo>
                  <a:lnTo>
                    <a:pt x="3419" y="11696"/>
                  </a:lnTo>
                  <a:lnTo>
                    <a:pt x="3392" y="11780"/>
                  </a:lnTo>
                  <a:lnTo>
                    <a:pt x="3364" y="11863"/>
                  </a:lnTo>
                  <a:lnTo>
                    <a:pt x="3332" y="11947"/>
                  </a:lnTo>
                  <a:lnTo>
                    <a:pt x="3300" y="12030"/>
                  </a:lnTo>
                  <a:lnTo>
                    <a:pt x="3266" y="12111"/>
                  </a:lnTo>
                  <a:lnTo>
                    <a:pt x="3229" y="12192"/>
                  </a:lnTo>
                  <a:lnTo>
                    <a:pt x="3192" y="12271"/>
                  </a:lnTo>
                  <a:lnTo>
                    <a:pt x="3155" y="12350"/>
                  </a:lnTo>
                  <a:lnTo>
                    <a:pt x="3115" y="12428"/>
                  </a:lnTo>
                  <a:lnTo>
                    <a:pt x="3075" y="12505"/>
                  </a:lnTo>
                  <a:lnTo>
                    <a:pt x="3036" y="12580"/>
                  </a:lnTo>
                  <a:lnTo>
                    <a:pt x="2995" y="12653"/>
                  </a:lnTo>
                  <a:lnTo>
                    <a:pt x="2954" y="12726"/>
                  </a:lnTo>
                  <a:lnTo>
                    <a:pt x="2914" y="12796"/>
                  </a:lnTo>
                  <a:lnTo>
                    <a:pt x="2874" y="12864"/>
                  </a:lnTo>
                  <a:lnTo>
                    <a:pt x="2834" y="12931"/>
                  </a:lnTo>
                  <a:lnTo>
                    <a:pt x="2757" y="13059"/>
                  </a:lnTo>
                  <a:lnTo>
                    <a:pt x="2684" y="13180"/>
                  </a:lnTo>
                  <a:lnTo>
                    <a:pt x="2616" y="13290"/>
                  </a:lnTo>
                  <a:lnTo>
                    <a:pt x="2557" y="13390"/>
                  </a:lnTo>
                  <a:lnTo>
                    <a:pt x="2558" y="13390"/>
                  </a:lnTo>
                  <a:lnTo>
                    <a:pt x="2550" y="13411"/>
                  </a:lnTo>
                  <a:lnTo>
                    <a:pt x="2542" y="13432"/>
                  </a:lnTo>
                  <a:lnTo>
                    <a:pt x="2536" y="13454"/>
                  </a:lnTo>
                  <a:lnTo>
                    <a:pt x="2531" y="13476"/>
                  </a:lnTo>
                  <a:lnTo>
                    <a:pt x="2527" y="13499"/>
                  </a:lnTo>
                  <a:lnTo>
                    <a:pt x="2523" y="13522"/>
                  </a:lnTo>
                  <a:lnTo>
                    <a:pt x="2522" y="13545"/>
                  </a:lnTo>
                  <a:lnTo>
                    <a:pt x="2521" y="13569"/>
                  </a:lnTo>
                  <a:lnTo>
                    <a:pt x="2522" y="13592"/>
                  </a:lnTo>
                  <a:lnTo>
                    <a:pt x="2523" y="13615"/>
                  </a:lnTo>
                  <a:lnTo>
                    <a:pt x="2526" y="13638"/>
                  </a:lnTo>
                  <a:lnTo>
                    <a:pt x="2530" y="13660"/>
                  </a:lnTo>
                  <a:lnTo>
                    <a:pt x="2535" y="13682"/>
                  </a:lnTo>
                  <a:lnTo>
                    <a:pt x="2541" y="13704"/>
                  </a:lnTo>
                  <a:lnTo>
                    <a:pt x="2548" y="13726"/>
                  </a:lnTo>
                  <a:lnTo>
                    <a:pt x="2556" y="13746"/>
                  </a:lnTo>
                  <a:lnTo>
                    <a:pt x="2566" y="13766"/>
                  </a:lnTo>
                  <a:lnTo>
                    <a:pt x="2576" y="13786"/>
                  </a:lnTo>
                  <a:lnTo>
                    <a:pt x="2586" y="13805"/>
                  </a:lnTo>
                  <a:lnTo>
                    <a:pt x="2598" y="13823"/>
                  </a:lnTo>
                  <a:lnTo>
                    <a:pt x="2611" y="13841"/>
                  </a:lnTo>
                  <a:lnTo>
                    <a:pt x="2624" y="13858"/>
                  </a:lnTo>
                  <a:lnTo>
                    <a:pt x="2640" y="13875"/>
                  </a:lnTo>
                  <a:lnTo>
                    <a:pt x="2655" y="13890"/>
                  </a:lnTo>
                  <a:lnTo>
                    <a:pt x="2670" y="13905"/>
                  </a:lnTo>
                  <a:lnTo>
                    <a:pt x="2687" y="13920"/>
                  </a:lnTo>
                  <a:lnTo>
                    <a:pt x="2704" y="13933"/>
                  </a:lnTo>
                  <a:lnTo>
                    <a:pt x="2722" y="13946"/>
                  </a:lnTo>
                  <a:lnTo>
                    <a:pt x="2740" y="13958"/>
                  </a:lnTo>
                  <a:lnTo>
                    <a:pt x="2760" y="13968"/>
                  </a:lnTo>
                  <a:lnTo>
                    <a:pt x="2779" y="13978"/>
                  </a:lnTo>
                  <a:lnTo>
                    <a:pt x="2800" y="13987"/>
                  </a:lnTo>
                  <a:lnTo>
                    <a:pt x="2820" y="13996"/>
                  </a:lnTo>
                  <a:lnTo>
                    <a:pt x="2841" y="14003"/>
                  </a:lnTo>
                  <a:lnTo>
                    <a:pt x="2863" y="14009"/>
                  </a:lnTo>
                  <a:lnTo>
                    <a:pt x="2886" y="14014"/>
                  </a:lnTo>
                  <a:lnTo>
                    <a:pt x="2908" y="14018"/>
                  </a:lnTo>
                  <a:lnTo>
                    <a:pt x="2931" y="14021"/>
                  </a:lnTo>
                  <a:lnTo>
                    <a:pt x="2954" y="14022"/>
                  </a:lnTo>
                  <a:lnTo>
                    <a:pt x="2977" y="14023"/>
                  </a:lnTo>
                  <a:lnTo>
                    <a:pt x="3018" y="14021"/>
                  </a:lnTo>
                  <a:lnTo>
                    <a:pt x="3060" y="14017"/>
                  </a:lnTo>
                  <a:lnTo>
                    <a:pt x="3078" y="14016"/>
                  </a:lnTo>
                  <a:lnTo>
                    <a:pt x="3093" y="14015"/>
                  </a:lnTo>
                  <a:lnTo>
                    <a:pt x="3099" y="14015"/>
                  </a:lnTo>
                  <a:lnTo>
                    <a:pt x="3103" y="14015"/>
                  </a:lnTo>
                  <a:lnTo>
                    <a:pt x="3105" y="14016"/>
                  </a:lnTo>
                  <a:lnTo>
                    <a:pt x="3106" y="14016"/>
                  </a:lnTo>
                  <a:lnTo>
                    <a:pt x="3254" y="13989"/>
                  </a:lnTo>
                  <a:lnTo>
                    <a:pt x="3400" y="13955"/>
                  </a:lnTo>
                  <a:lnTo>
                    <a:pt x="3546" y="13915"/>
                  </a:lnTo>
                  <a:lnTo>
                    <a:pt x="3690" y="13870"/>
                  </a:lnTo>
                  <a:lnTo>
                    <a:pt x="3833" y="13819"/>
                  </a:lnTo>
                  <a:lnTo>
                    <a:pt x="3976" y="13763"/>
                  </a:lnTo>
                  <a:lnTo>
                    <a:pt x="4116" y="13701"/>
                  </a:lnTo>
                  <a:lnTo>
                    <a:pt x="4254" y="13637"/>
                  </a:lnTo>
                  <a:lnTo>
                    <a:pt x="4390" y="13569"/>
                  </a:lnTo>
                  <a:lnTo>
                    <a:pt x="4524" y="13497"/>
                  </a:lnTo>
                  <a:lnTo>
                    <a:pt x="4656" y="13423"/>
                  </a:lnTo>
                  <a:lnTo>
                    <a:pt x="4784" y="13346"/>
                  </a:lnTo>
                  <a:lnTo>
                    <a:pt x="4910" y="13267"/>
                  </a:lnTo>
                  <a:lnTo>
                    <a:pt x="5033" y="13186"/>
                  </a:lnTo>
                  <a:lnTo>
                    <a:pt x="5153" y="13104"/>
                  </a:lnTo>
                  <a:lnTo>
                    <a:pt x="5269" y="13021"/>
                  </a:lnTo>
                  <a:lnTo>
                    <a:pt x="5382" y="12938"/>
                  </a:lnTo>
                  <a:lnTo>
                    <a:pt x="5491" y="12854"/>
                  </a:lnTo>
                  <a:lnTo>
                    <a:pt x="5596" y="12771"/>
                  </a:lnTo>
                  <a:lnTo>
                    <a:pt x="5697" y="12689"/>
                  </a:lnTo>
                  <a:lnTo>
                    <a:pt x="5793" y="12608"/>
                  </a:lnTo>
                  <a:lnTo>
                    <a:pt x="5885" y="12528"/>
                  </a:lnTo>
                  <a:lnTo>
                    <a:pt x="5972" y="12450"/>
                  </a:lnTo>
                  <a:lnTo>
                    <a:pt x="6055" y="12375"/>
                  </a:lnTo>
                  <a:lnTo>
                    <a:pt x="6131" y="12302"/>
                  </a:lnTo>
                  <a:lnTo>
                    <a:pt x="6203" y="12233"/>
                  </a:lnTo>
                  <a:lnTo>
                    <a:pt x="6269" y="12167"/>
                  </a:lnTo>
                  <a:lnTo>
                    <a:pt x="6330" y="12105"/>
                  </a:lnTo>
                  <a:lnTo>
                    <a:pt x="6384" y="12048"/>
                  </a:lnTo>
                  <a:lnTo>
                    <a:pt x="6433" y="11995"/>
                  </a:lnTo>
                  <a:lnTo>
                    <a:pt x="6475" y="11947"/>
                  </a:lnTo>
                  <a:lnTo>
                    <a:pt x="6510" y="11906"/>
                  </a:lnTo>
                  <a:lnTo>
                    <a:pt x="6605" y="11919"/>
                  </a:lnTo>
                  <a:lnTo>
                    <a:pt x="6700" y="11932"/>
                  </a:lnTo>
                  <a:lnTo>
                    <a:pt x="6796" y="11943"/>
                  </a:lnTo>
                  <a:lnTo>
                    <a:pt x="6891" y="11954"/>
                  </a:lnTo>
                  <a:lnTo>
                    <a:pt x="6987" y="11965"/>
                  </a:lnTo>
                  <a:lnTo>
                    <a:pt x="7083" y="11974"/>
                  </a:lnTo>
                  <a:lnTo>
                    <a:pt x="7180" y="11983"/>
                  </a:lnTo>
                  <a:lnTo>
                    <a:pt x="7278" y="11990"/>
                  </a:lnTo>
                  <a:lnTo>
                    <a:pt x="7374" y="11997"/>
                  </a:lnTo>
                  <a:lnTo>
                    <a:pt x="7472" y="12003"/>
                  </a:lnTo>
                  <a:lnTo>
                    <a:pt x="7571" y="12008"/>
                  </a:lnTo>
                  <a:lnTo>
                    <a:pt x="7669" y="12012"/>
                  </a:lnTo>
                  <a:lnTo>
                    <a:pt x="7768" y="12016"/>
                  </a:lnTo>
                  <a:lnTo>
                    <a:pt x="7867" y="12018"/>
                  </a:lnTo>
                  <a:lnTo>
                    <a:pt x="7966" y="12019"/>
                  </a:lnTo>
                  <a:lnTo>
                    <a:pt x="8066" y="12020"/>
                  </a:lnTo>
                  <a:lnTo>
                    <a:pt x="8481" y="12012"/>
                  </a:lnTo>
                  <a:lnTo>
                    <a:pt x="8891" y="11989"/>
                  </a:lnTo>
                  <a:lnTo>
                    <a:pt x="9294" y="11951"/>
                  </a:lnTo>
                  <a:lnTo>
                    <a:pt x="9691" y="11898"/>
                  </a:lnTo>
                  <a:lnTo>
                    <a:pt x="10081" y="11830"/>
                  </a:lnTo>
                  <a:lnTo>
                    <a:pt x="10465" y="11749"/>
                  </a:lnTo>
                  <a:lnTo>
                    <a:pt x="10840" y="11655"/>
                  </a:lnTo>
                  <a:lnTo>
                    <a:pt x="11206" y="11547"/>
                  </a:lnTo>
                  <a:lnTo>
                    <a:pt x="11563" y="11427"/>
                  </a:lnTo>
                  <a:lnTo>
                    <a:pt x="11910" y="11295"/>
                  </a:lnTo>
                  <a:lnTo>
                    <a:pt x="12248" y="11149"/>
                  </a:lnTo>
                  <a:lnTo>
                    <a:pt x="12576" y="10993"/>
                  </a:lnTo>
                  <a:lnTo>
                    <a:pt x="12891" y="10826"/>
                  </a:lnTo>
                  <a:lnTo>
                    <a:pt x="13197" y="10647"/>
                  </a:lnTo>
                  <a:lnTo>
                    <a:pt x="13489" y="10458"/>
                  </a:lnTo>
                  <a:lnTo>
                    <a:pt x="13770" y="10260"/>
                  </a:lnTo>
                  <a:lnTo>
                    <a:pt x="14037" y="10050"/>
                  </a:lnTo>
                  <a:lnTo>
                    <a:pt x="14290" y="9832"/>
                  </a:lnTo>
                  <a:lnTo>
                    <a:pt x="14530" y="9606"/>
                  </a:lnTo>
                  <a:lnTo>
                    <a:pt x="14755" y="9370"/>
                  </a:lnTo>
                  <a:lnTo>
                    <a:pt x="14964" y="9126"/>
                  </a:lnTo>
                  <a:lnTo>
                    <a:pt x="15158" y="8875"/>
                  </a:lnTo>
                  <a:lnTo>
                    <a:pt x="15336" y="8615"/>
                  </a:lnTo>
                  <a:lnTo>
                    <a:pt x="15498" y="8349"/>
                  </a:lnTo>
                  <a:lnTo>
                    <a:pt x="15643" y="8076"/>
                  </a:lnTo>
                  <a:lnTo>
                    <a:pt x="15769" y="7797"/>
                  </a:lnTo>
                  <a:lnTo>
                    <a:pt x="15878" y="7511"/>
                  </a:lnTo>
                  <a:lnTo>
                    <a:pt x="15968" y="7221"/>
                  </a:lnTo>
                  <a:lnTo>
                    <a:pt x="16039" y="6925"/>
                  </a:lnTo>
                  <a:lnTo>
                    <a:pt x="16091" y="6624"/>
                  </a:lnTo>
                  <a:lnTo>
                    <a:pt x="16122" y="6319"/>
                  </a:lnTo>
                  <a:lnTo>
                    <a:pt x="16132" y="6010"/>
                  </a:lnTo>
                  <a:lnTo>
                    <a:pt x="16122" y="5700"/>
                  </a:lnTo>
                  <a:lnTo>
                    <a:pt x="16091" y="5396"/>
                  </a:lnTo>
                  <a:lnTo>
                    <a:pt x="16039" y="5094"/>
                  </a:lnTo>
                  <a:lnTo>
                    <a:pt x="15968" y="4799"/>
                  </a:lnTo>
                  <a:lnTo>
                    <a:pt x="15878" y="4508"/>
                  </a:lnTo>
                  <a:lnTo>
                    <a:pt x="15769" y="4223"/>
                  </a:lnTo>
                  <a:lnTo>
                    <a:pt x="15643" y="3943"/>
                  </a:lnTo>
                  <a:lnTo>
                    <a:pt x="15498" y="3671"/>
                  </a:lnTo>
                  <a:lnTo>
                    <a:pt x="15336" y="3405"/>
                  </a:lnTo>
                  <a:lnTo>
                    <a:pt x="15158" y="3145"/>
                  </a:lnTo>
                  <a:lnTo>
                    <a:pt x="14964" y="2894"/>
                  </a:lnTo>
                  <a:lnTo>
                    <a:pt x="14755" y="2649"/>
                  </a:lnTo>
                  <a:lnTo>
                    <a:pt x="14530" y="2414"/>
                  </a:lnTo>
                  <a:lnTo>
                    <a:pt x="14290" y="2188"/>
                  </a:lnTo>
                  <a:lnTo>
                    <a:pt x="14037" y="1969"/>
                  </a:lnTo>
                  <a:lnTo>
                    <a:pt x="13770" y="1760"/>
                  </a:lnTo>
                  <a:lnTo>
                    <a:pt x="13489" y="1562"/>
                  </a:lnTo>
                  <a:lnTo>
                    <a:pt x="13197" y="1372"/>
                  </a:lnTo>
                  <a:lnTo>
                    <a:pt x="12891" y="1194"/>
                  </a:lnTo>
                  <a:lnTo>
                    <a:pt x="12576" y="1027"/>
                  </a:lnTo>
                  <a:lnTo>
                    <a:pt x="12248" y="870"/>
                  </a:lnTo>
                  <a:lnTo>
                    <a:pt x="11910" y="725"/>
                  </a:lnTo>
                  <a:lnTo>
                    <a:pt x="11563" y="593"/>
                  </a:lnTo>
                  <a:lnTo>
                    <a:pt x="11206" y="473"/>
                  </a:lnTo>
                  <a:lnTo>
                    <a:pt x="10840" y="365"/>
                  </a:lnTo>
                  <a:lnTo>
                    <a:pt x="10465" y="270"/>
                  </a:lnTo>
                  <a:lnTo>
                    <a:pt x="10081" y="189"/>
                  </a:lnTo>
                  <a:lnTo>
                    <a:pt x="9691" y="122"/>
                  </a:lnTo>
                  <a:lnTo>
                    <a:pt x="9294" y="69"/>
                  </a:lnTo>
                  <a:lnTo>
                    <a:pt x="8891" y="31"/>
                  </a:lnTo>
                  <a:lnTo>
                    <a:pt x="8481" y="8"/>
                  </a:lnTo>
                  <a:lnTo>
                    <a:pt x="80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80" name="i$ḷiḋé">
              <a:extLst>
                <a:ext uri="{FF2B5EF4-FFF2-40B4-BE49-F238E27FC236}">
                  <a16:creationId xmlns:a16="http://schemas.microsoft.com/office/drawing/2014/main" id="{8ED71717-84FB-4153-BAB7-A1C82211AC68}"/>
                </a:ext>
              </a:extLst>
            </p:cNvPr>
            <p:cNvSpPr/>
            <p:nvPr/>
          </p:nvSpPr>
          <p:spPr bwMode="auto">
            <a:xfrm>
              <a:off x="5665456" y="574997"/>
              <a:ext cx="131262" cy="131262"/>
            </a:xfrm>
            <a:custGeom>
              <a:avLst/>
              <a:gdLst>
                <a:gd name="T0" fmla="*/ 3521 w 6031"/>
                <a:gd name="T1" fmla="*/ 553 h 6022"/>
                <a:gd name="T2" fmla="*/ 4104 w 6031"/>
                <a:gd name="T3" fmla="*/ 750 h 6022"/>
                <a:gd name="T4" fmla="*/ 4613 w 6031"/>
                <a:gd name="T5" fmla="*/ 1076 h 6022"/>
                <a:gd name="T6" fmla="*/ 5029 w 6031"/>
                <a:gd name="T7" fmla="*/ 1511 h 6022"/>
                <a:gd name="T8" fmla="*/ 5330 w 6031"/>
                <a:gd name="T9" fmla="*/ 2036 h 6022"/>
                <a:gd name="T10" fmla="*/ 5499 w 6031"/>
                <a:gd name="T11" fmla="*/ 2630 h 6022"/>
                <a:gd name="T12" fmla="*/ 5515 w 6031"/>
                <a:gd name="T13" fmla="*/ 3268 h 6022"/>
                <a:gd name="T14" fmla="*/ 5375 w 6031"/>
                <a:gd name="T15" fmla="*/ 3873 h 6022"/>
                <a:gd name="T16" fmla="*/ 5098 w 6031"/>
                <a:gd name="T17" fmla="*/ 4413 h 6022"/>
                <a:gd name="T18" fmla="*/ 4704 w 6031"/>
                <a:gd name="T19" fmla="*/ 4868 h 6022"/>
                <a:gd name="T20" fmla="*/ 4213 w 6031"/>
                <a:gd name="T21" fmla="*/ 5217 h 6022"/>
                <a:gd name="T22" fmla="*/ 3643 w 6031"/>
                <a:gd name="T23" fmla="*/ 5441 h 6022"/>
                <a:gd name="T24" fmla="*/ 3016 w 6031"/>
                <a:gd name="T25" fmla="*/ 5520 h 6022"/>
                <a:gd name="T26" fmla="*/ 2388 w 6031"/>
                <a:gd name="T27" fmla="*/ 5441 h 6022"/>
                <a:gd name="T28" fmla="*/ 1818 w 6031"/>
                <a:gd name="T29" fmla="*/ 5217 h 6022"/>
                <a:gd name="T30" fmla="*/ 1327 w 6031"/>
                <a:gd name="T31" fmla="*/ 4868 h 6022"/>
                <a:gd name="T32" fmla="*/ 932 w 6031"/>
                <a:gd name="T33" fmla="*/ 4413 h 6022"/>
                <a:gd name="T34" fmla="*/ 656 w 6031"/>
                <a:gd name="T35" fmla="*/ 3873 h 6022"/>
                <a:gd name="T36" fmla="*/ 516 w 6031"/>
                <a:gd name="T37" fmla="*/ 3268 h 6022"/>
                <a:gd name="T38" fmla="*/ 532 w 6031"/>
                <a:gd name="T39" fmla="*/ 2630 h 6022"/>
                <a:gd name="T40" fmla="*/ 701 w 6031"/>
                <a:gd name="T41" fmla="*/ 2036 h 6022"/>
                <a:gd name="T42" fmla="*/ 1002 w 6031"/>
                <a:gd name="T43" fmla="*/ 1511 h 6022"/>
                <a:gd name="T44" fmla="*/ 1417 w 6031"/>
                <a:gd name="T45" fmla="*/ 1076 h 6022"/>
                <a:gd name="T46" fmla="*/ 1927 w 6031"/>
                <a:gd name="T47" fmla="*/ 750 h 6022"/>
                <a:gd name="T48" fmla="*/ 2510 w 6031"/>
                <a:gd name="T49" fmla="*/ 553 h 6022"/>
                <a:gd name="T50" fmla="*/ 3016 w 6031"/>
                <a:gd name="T51" fmla="*/ 6022 h 6022"/>
                <a:gd name="T52" fmla="*/ 3768 w 6031"/>
                <a:gd name="T53" fmla="*/ 5928 h 6022"/>
                <a:gd name="T54" fmla="*/ 4452 w 6031"/>
                <a:gd name="T55" fmla="*/ 5659 h 6022"/>
                <a:gd name="T56" fmla="*/ 5042 w 6031"/>
                <a:gd name="T57" fmla="*/ 5239 h 6022"/>
                <a:gd name="T58" fmla="*/ 5515 w 6031"/>
                <a:gd name="T59" fmla="*/ 4693 h 6022"/>
                <a:gd name="T60" fmla="*/ 5848 w 6031"/>
                <a:gd name="T61" fmla="*/ 4046 h 6022"/>
                <a:gd name="T62" fmla="*/ 6015 w 6031"/>
                <a:gd name="T63" fmla="*/ 3318 h 6022"/>
                <a:gd name="T64" fmla="*/ 5996 w 6031"/>
                <a:gd name="T65" fmla="*/ 2554 h 6022"/>
                <a:gd name="T66" fmla="*/ 5794 w 6031"/>
                <a:gd name="T67" fmla="*/ 1840 h 6022"/>
                <a:gd name="T68" fmla="*/ 5431 w 6031"/>
                <a:gd name="T69" fmla="*/ 1211 h 6022"/>
                <a:gd name="T70" fmla="*/ 4932 w 6031"/>
                <a:gd name="T71" fmla="*/ 689 h 6022"/>
                <a:gd name="T72" fmla="*/ 4322 w 6031"/>
                <a:gd name="T73" fmla="*/ 297 h 6022"/>
                <a:gd name="T74" fmla="*/ 3623 w 6031"/>
                <a:gd name="T75" fmla="*/ 62 h 6022"/>
                <a:gd name="T76" fmla="*/ 2861 w 6031"/>
                <a:gd name="T77" fmla="*/ 4 h 6022"/>
                <a:gd name="T78" fmla="*/ 2120 w 6031"/>
                <a:gd name="T79" fmla="*/ 136 h 6022"/>
                <a:gd name="T80" fmla="*/ 1453 w 6031"/>
                <a:gd name="T81" fmla="*/ 437 h 6022"/>
                <a:gd name="T82" fmla="*/ 884 w 6031"/>
                <a:gd name="T83" fmla="*/ 884 h 6022"/>
                <a:gd name="T84" fmla="*/ 437 w 6031"/>
                <a:gd name="T85" fmla="*/ 1452 h 6022"/>
                <a:gd name="T86" fmla="*/ 136 w 6031"/>
                <a:gd name="T87" fmla="*/ 2117 h 6022"/>
                <a:gd name="T88" fmla="*/ 4 w 6031"/>
                <a:gd name="T89" fmla="*/ 2857 h 6022"/>
                <a:gd name="T90" fmla="*/ 62 w 6031"/>
                <a:gd name="T91" fmla="*/ 3617 h 6022"/>
                <a:gd name="T92" fmla="*/ 298 w 6031"/>
                <a:gd name="T93" fmla="*/ 4316 h 6022"/>
                <a:gd name="T94" fmla="*/ 690 w 6031"/>
                <a:gd name="T95" fmla="*/ 4925 h 6022"/>
                <a:gd name="T96" fmla="*/ 1212 w 6031"/>
                <a:gd name="T97" fmla="*/ 5424 h 6022"/>
                <a:gd name="T98" fmla="*/ 1843 w 6031"/>
                <a:gd name="T99" fmla="*/ 5785 h 6022"/>
                <a:gd name="T100" fmla="*/ 2557 w 6031"/>
                <a:gd name="T101" fmla="*/ 5988 h 6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31" h="6022">
                  <a:moveTo>
                    <a:pt x="3016" y="502"/>
                  </a:moveTo>
                  <a:lnTo>
                    <a:pt x="3144" y="505"/>
                  </a:lnTo>
                  <a:lnTo>
                    <a:pt x="3272" y="515"/>
                  </a:lnTo>
                  <a:lnTo>
                    <a:pt x="3397" y="531"/>
                  </a:lnTo>
                  <a:lnTo>
                    <a:pt x="3521" y="553"/>
                  </a:lnTo>
                  <a:lnTo>
                    <a:pt x="3643" y="582"/>
                  </a:lnTo>
                  <a:lnTo>
                    <a:pt x="3762" y="616"/>
                  </a:lnTo>
                  <a:lnTo>
                    <a:pt x="3879" y="655"/>
                  </a:lnTo>
                  <a:lnTo>
                    <a:pt x="3992" y="700"/>
                  </a:lnTo>
                  <a:lnTo>
                    <a:pt x="4104" y="750"/>
                  </a:lnTo>
                  <a:lnTo>
                    <a:pt x="4213" y="805"/>
                  </a:lnTo>
                  <a:lnTo>
                    <a:pt x="4318" y="866"/>
                  </a:lnTo>
                  <a:lnTo>
                    <a:pt x="4420" y="932"/>
                  </a:lnTo>
                  <a:lnTo>
                    <a:pt x="4518" y="1001"/>
                  </a:lnTo>
                  <a:lnTo>
                    <a:pt x="4613" y="1076"/>
                  </a:lnTo>
                  <a:lnTo>
                    <a:pt x="4704" y="1155"/>
                  </a:lnTo>
                  <a:lnTo>
                    <a:pt x="4791" y="1238"/>
                  </a:lnTo>
                  <a:lnTo>
                    <a:pt x="4875" y="1325"/>
                  </a:lnTo>
                  <a:lnTo>
                    <a:pt x="4954" y="1417"/>
                  </a:lnTo>
                  <a:lnTo>
                    <a:pt x="5029" y="1511"/>
                  </a:lnTo>
                  <a:lnTo>
                    <a:pt x="5098" y="1609"/>
                  </a:lnTo>
                  <a:lnTo>
                    <a:pt x="5164" y="1712"/>
                  </a:lnTo>
                  <a:lnTo>
                    <a:pt x="5225" y="1816"/>
                  </a:lnTo>
                  <a:lnTo>
                    <a:pt x="5280" y="1924"/>
                  </a:lnTo>
                  <a:lnTo>
                    <a:pt x="5330" y="2036"/>
                  </a:lnTo>
                  <a:lnTo>
                    <a:pt x="5375" y="2149"/>
                  </a:lnTo>
                  <a:lnTo>
                    <a:pt x="5415" y="2266"/>
                  </a:lnTo>
                  <a:lnTo>
                    <a:pt x="5449" y="2385"/>
                  </a:lnTo>
                  <a:lnTo>
                    <a:pt x="5477" y="2506"/>
                  </a:lnTo>
                  <a:lnTo>
                    <a:pt x="5499" y="2630"/>
                  </a:lnTo>
                  <a:lnTo>
                    <a:pt x="5515" y="2755"/>
                  </a:lnTo>
                  <a:lnTo>
                    <a:pt x="5525" y="2883"/>
                  </a:lnTo>
                  <a:lnTo>
                    <a:pt x="5528" y="3011"/>
                  </a:lnTo>
                  <a:lnTo>
                    <a:pt x="5525" y="3141"/>
                  </a:lnTo>
                  <a:lnTo>
                    <a:pt x="5515" y="3268"/>
                  </a:lnTo>
                  <a:lnTo>
                    <a:pt x="5499" y="3394"/>
                  </a:lnTo>
                  <a:lnTo>
                    <a:pt x="5477" y="3517"/>
                  </a:lnTo>
                  <a:lnTo>
                    <a:pt x="5449" y="3638"/>
                  </a:lnTo>
                  <a:lnTo>
                    <a:pt x="5415" y="3757"/>
                  </a:lnTo>
                  <a:lnTo>
                    <a:pt x="5375" y="3873"/>
                  </a:lnTo>
                  <a:lnTo>
                    <a:pt x="5330" y="3988"/>
                  </a:lnTo>
                  <a:lnTo>
                    <a:pt x="5280" y="4098"/>
                  </a:lnTo>
                  <a:lnTo>
                    <a:pt x="5225" y="4207"/>
                  </a:lnTo>
                  <a:lnTo>
                    <a:pt x="5164" y="4312"/>
                  </a:lnTo>
                  <a:lnTo>
                    <a:pt x="5098" y="4413"/>
                  </a:lnTo>
                  <a:lnTo>
                    <a:pt x="5029" y="4512"/>
                  </a:lnTo>
                  <a:lnTo>
                    <a:pt x="4954" y="4607"/>
                  </a:lnTo>
                  <a:lnTo>
                    <a:pt x="4875" y="4697"/>
                  </a:lnTo>
                  <a:lnTo>
                    <a:pt x="4791" y="4785"/>
                  </a:lnTo>
                  <a:lnTo>
                    <a:pt x="4704" y="4868"/>
                  </a:lnTo>
                  <a:lnTo>
                    <a:pt x="4613" y="4947"/>
                  </a:lnTo>
                  <a:lnTo>
                    <a:pt x="4518" y="5022"/>
                  </a:lnTo>
                  <a:lnTo>
                    <a:pt x="4420" y="5092"/>
                  </a:lnTo>
                  <a:lnTo>
                    <a:pt x="4318" y="5157"/>
                  </a:lnTo>
                  <a:lnTo>
                    <a:pt x="4213" y="5217"/>
                  </a:lnTo>
                  <a:lnTo>
                    <a:pt x="4104" y="5272"/>
                  </a:lnTo>
                  <a:lnTo>
                    <a:pt x="3992" y="5324"/>
                  </a:lnTo>
                  <a:lnTo>
                    <a:pt x="3879" y="5368"/>
                  </a:lnTo>
                  <a:lnTo>
                    <a:pt x="3762" y="5408"/>
                  </a:lnTo>
                  <a:lnTo>
                    <a:pt x="3643" y="5441"/>
                  </a:lnTo>
                  <a:lnTo>
                    <a:pt x="3521" y="5469"/>
                  </a:lnTo>
                  <a:lnTo>
                    <a:pt x="3397" y="5491"/>
                  </a:lnTo>
                  <a:lnTo>
                    <a:pt x="3272" y="5507"/>
                  </a:lnTo>
                  <a:lnTo>
                    <a:pt x="3144" y="5517"/>
                  </a:lnTo>
                  <a:lnTo>
                    <a:pt x="3016" y="5520"/>
                  </a:lnTo>
                  <a:lnTo>
                    <a:pt x="2886" y="5517"/>
                  </a:lnTo>
                  <a:lnTo>
                    <a:pt x="2759" y="5507"/>
                  </a:lnTo>
                  <a:lnTo>
                    <a:pt x="2634" y="5491"/>
                  </a:lnTo>
                  <a:lnTo>
                    <a:pt x="2510" y="5469"/>
                  </a:lnTo>
                  <a:lnTo>
                    <a:pt x="2388" y="5441"/>
                  </a:lnTo>
                  <a:lnTo>
                    <a:pt x="2269" y="5408"/>
                  </a:lnTo>
                  <a:lnTo>
                    <a:pt x="2152" y="5368"/>
                  </a:lnTo>
                  <a:lnTo>
                    <a:pt x="2039" y="5324"/>
                  </a:lnTo>
                  <a:lnTo>
                    <a:pt x="1927" y="5272"/>
                  </a:lnTo>
                  <a:lnTo>
                    <a:pt x="1818" y="5217"/>
                  </a:lnTo>
                  <a:lnTo>
                    <a:pt x="1713" y="5157"/>
                  </a:lnTo>
                  <a:lnTo>
                    <a:pt x="1611" y="5092"/>
                  </a:lnTo>
                  <a:lnTo>
                    <a:pt x="1513" y="5022"/>
                  </a:lnTo>
                  <a:lnTo>
                    <a:pt x="1417" y="4947"/>
                  </a:lnTo>
                  <a:lnTo>
                    <a:pt x="1327" y="4868"/>
                  </a:lnTo>
                  <a:lnTo>
                    <a:pt x="1240" y="4785"/>
                  </a:lnTo>
                  <a:lnTo>
                    <a:pt x="1156" y="4697"/>
                  </a:lnTo>
                  <a:lnTo>
                    <a:pt x="1077" y="4607"/>
                  </a:lnTo>
                  <a:lnTo>
                    <a:pt x="1002" y="4512"/>
                  </a:lnTo>
                  <a:lnTo>
                    <a:pt x="932" y="4413"/>
                  </a:lnTo>
                  <a:lnTo>
                    <a:pt x="867" y="4312"/>
                  </a:lnTo>
                  <a:lnTo>
                    <a:pt x="806" y="4207"/>
                  </a:lnTo>
                  <a:lnTo>
                    <a:pt x="751" y="4098"/>
                  </a:lnTo>
                  <a:lnTo>
                    <a:pt x="701" y="3988"/>
                  </a:lnTo>
                  <a:lnTo>
                    <a:pt x="656" y="3873"/>
                  </a:lnTo>
                  <a:lnTo>
                    <a:pt x="615" y="3757"/>
                  </a:lnTo>
                  <a:lnTo>
                    <a:pt x="582" y="3638"/>
                  </a:lnTo>
                  <a:lnTo>
                    <a:pt x="554" y="3517"/>
                  </a:lnTo>
                  <a:lnTo>
                    <a:pt x="532" y="3394"/>
                  </a:lnTo>
                  <a:lnTo>
                    <a:pt x="516" y="3268"/>
                  </a:lnTo>
                  <a:lnTo>
                    <a:pt x="506" y="3141"/>
                  </a:lnTo>
                  <a:lnTo>
                    <a:pt x="503" y="3011"/>
                  </a:lnTo>
                  <a:lnTo>
                    <a:pt x="506" y="2883"/>
                  </a:lnTo>
                  <a:lnTo>
                    <a:pt x="516" y="2755"/>
                  </a:lnTo>
                  <a:lnTo>
                    <a:pt x="532" y="2630"/>
                  </a:lnTo>
                  <a:lnTo>
                    <a:pt x="554" y="2506"/>
                  </a:lnTo>
                  <a:lnTo>
                    <a:pt x="582" y="2385"/>
                  </a:lnTo>
                  <a:lnTo>
                    <a:pt x="615" y="2266"/>
                  </a:lnTo>
                  <a:lnTo>
                    <a:pt x="656" y="2149"/>
                  </a:lnTo>
                  <a:lnTo>
                    <a:pt x="701" y="2036"/>
                  </a:lnTo>
                  <a:lnTo>
                    <a:pt x="751" y="1924"/>
                  </a:lnTo>
                  <a:lnTo>
                    <a:pt x="806" y="1816"/>
                  </a:lnTo>
                  <a:lnTo>
                    <a:pt x="867" y="1712"/>
                  </a:lnTo>
                  <a:lnTo>
                    <a:pt x="932" y="1609"/>
                  </a:lnTo>
                  <a:lnTo>
                    <a:pt x="1002" y="1511"/>
                  </a:lnTo>
                  <a:lnTo>
                    <a:pt x="1077" y="1417"/>
                  </a:lnTo>
                  <a:lnTo>
                    <a:pt x="1156" y="1325"/>
                  </a:lnTo>
                  <a:lnTo>
                    <a:pt x="1240" y="1238"/>
                  </a:lnTo>
                  <a:lnTo>
                    <a:pt x="1327" y="1155"/>
                  </a:lnTo>
                  <a:lnTo>
                    <a:pt x="1417" y="1076"/>
                  </a:lnTo>
                  <a:lnTo>
                    <a:pt x="1513" y="1001"/>
                  </a:lnTo>
                  <a:lnTo>
                    <a:pt x="1611" y="932"/>
                  </a:lnTo>
                  <a:lnTo>
                    <a:pt x="1713" y="866"/>
                  </a:lnTo>
                  <a:lnTo>
                    <a:pt x="1818" y="805"/>
                  </a:lnTo>
                  <a:lnTo>
                    <a:pt x="1927" y="750"/>
                  </a:lnTo>
                  <a:lnTo>
                    <a:pt x="2039" y="700"/>
                  </a:lnTo>
                  <a:lnTo>
                    <a:pt x="2152" y="655"/>
                  </a:lnTo>
                  <a:lnTo>
                    <a:pt x="2269" y="616"/>
                  </a:lnTo>
                  <a:lnTo>
                    <a:pt x="2388" y="582"/>
                  </a:lnTo>
                  <a:lnTo>
                    <a:pt x="2510" y="553"/>
                  </a:lnTo>
                  <a:lnTo>
                    <a:pt x="2634" y="531"/>
                  </a:lnTo>
                  <a:lnTo>
                    <a:pt x="2759" y="515"/>
                  </a:lnTo>
                  <a:lnTo>
                    <a:pt x="2886" y="505"/>
                  </a:lnTo>
                  <a:lnTo>
                    <a:pt x="3016" y="502"/>
                  </a:lnTo>
                  <a:close/>
                  <a:moveTo>
                    <a:pt x="3016" y="6022"/>
                  </a:moveTo>
                  <a:lnTo>
                    <a:pt x="3170" y="6018"/>
                  </a:lnTo>
                  <a:lnTo>
                    <a:pt x="3323" y="6007"/>
                  </a:lnTo>
                  <a:lnTo>
                    <a:pt x="3474" y="5988"/>
                  </a:lnTo>
                  <a:lnTo>
                    <a:pt x="3623" y="5961"/>
                  </a:lnTo>
                  <a:lnTo>
                    <a:pt x="3768" y="5928"/>
                  </a:lnTo>
                  <a:lnTo>
                    <a:pt x="3911" y="5887"/>
                  </a:lnTo>
                  <a:lnTo>
                    <a:pt x="4052" y="5840"/>
                  </a:lnTo>
                  <a:lnTo>
                    <a:pt x="4188" y="5785"/>
                  </a:lnTo>
                  <a:lnTo>
                    <a:pt x="4322" y="5725"/>
                  </a:lnTo>
                  <a:lnTo>
                    <a:pt x="4452" y="5659"/>
                  </a:lnTo>
                  <a:lnTo>
                    <a:pt x="4577" y="5586"/>
                  </a:lnTo>
                  <a:lnTo>
                    <a:pt x="4700" y="5507"/>
                  </a:lnTo>
                  <a:lnTo>
                    <a:pt x="4819" y="5424"/>
                  </a:lnTo>
                  <a:lnTo>
                    <a:pt x="4932" y="5334"/>
                  </a:lnTo>
                  <a:lnTo>
                    <a:pt x="5042" y="5239"/>
                  </a:lnTo>
                  <a:lnTo>
                    <a:pt x="5146" y="5140"/>
                  </a:lnTo>
                  <a:lnTo>
                    <a:pt x="5247" y="5035"/>
                  </a:lnTo>
                  <a:lnTo>
                    <a:pt x="5341" y="4925"/>
                  </a:lnTo>
                  <a:lnTo>
                    <a:pt x="5431" y="4812"/>
                  </a:lnTo>
                  <a:lnTo>
                    <a:pt x="5515" y="4693"/>
                  </a:lnTo>
                  <a:lnTo>
                    <a:pt x="5594" y="4572"/>
                  </a:lnTo>
                  <a:lnTo>
                    <a:pt x="5666" y="4445"/>
                  </a:lnTo>
                  <a:lnTo>
                    <a:pt x="5733" y="4316"/>
                  </a:lnTo>
                  <a:lnTo>
                    <a:pt x="5794" y="4183"/>
                  </a:lnTo>
                  <a:lnTo>
                    <a:pt x="5848" y="4046"/>
                  </a:lnTo>
                  <a:lnTo>
                    <a:pt x="5895" y="3906"/>
                  </a:lnTo>
                  <a:lnTo>
                    <a:pt x="5935" y="3763"/>
                  </a:lnTo>
                  <a:lnTo>
                    <a:pt x="5969" y="3617"/>
                  </a:lnTo>
                  <a:lnTo>
                    <a:pt x="5996" y="3469"/>
                  </a:lnTo>
                  <a:lnTo>
                    <a:pt x="6015" y="3318"/>
                  </a:lnTo>
                  <a:lnTo>
                    <a:pt x="6027" y="3166"/>
                  </a:lnTo>
                  <a:lnTo>
                    <a:pt x="6031" y="3011"/>
                  </a:lnTo>
                  <a:lnTo>
                    <a:pt x="6027" y="2857"/>
                  </a:lnTo>
                  <a:lnTo>
                    <a:pt x="6015" y="2704"/>
                  </a:lnTo>
                  <a:lnTo>
                    <a:pt x="5996" y="2554"/>
                  </a:lnTo>
                  <a:lnTo>
                    <a:pt x="5969" y="2405"/>
                  </a:lnTo>
                  <a:lnTo>
                    <a:pt x="5935" y="2260"/>
                  </a:lnTo>
                  <a:lnTo>
                    <a:pt x="5895" y="2117"/>
                  </a:lnTo>
                  <a:lnTo>
                    <a:pt x="5848" y="1978"/>
                  </a:lnTo>
                  <a:lnTo>
                    <a:pt x="5794" y="1840"/>
                  </a:lnTo>
                  <a:lnTo>
                    <a:pt x="5733" y="1708"/>
                  </a:lnTo>
                  <a:lnTo>
                    <a:pt x="5666" y="1577"/>
                  </a:lnTo>
                  <a:lnTo>
                    <a:pt x="5594" y="1452"/>
                  </a:lnTo>
                  <a:lnTo>
                    <a:pt x="5515" y="1329"/>
                  </a:lnTo>
                  <a:lnTo>
                    <a:pt x="5431" y="1211"/>
                  </a:lnTo>
                  <a:lnTo>
                    <a:pt x="5341" y="1097"/>
                  </a:lnTo>
                  <a:lnTo>
                    <a:pt x="5247" y="988"/>
                  </a:lnTo>
                  <a:lnTo>
                    <a:pt x="5146" y="884"/>
                  </a:lnTo>
                  <a:lnTo>
                    <a:pt x="5042" y="783"/>
                  </a:lnTo>
                  <a:lnTo>
                    <a:pt x="4932" y="689"/>
                  </a:lnTo>
                  <a:lnTo>
                    <a:pt x="4819" y="600"/>
                  </a:lnTo>
                  <a:lnTo>
                    <a:pt x="4700" y="515"/>
                  </a:lnTo>
                  <a:lnTo>
                    <a:pt x="4577" y="437"/>
                  </a:lnTo>
                  <a:lnTo>
                    <a:pt x="4452" y="365"/>
                  </a:lnTo>
                  <a:lnTo>
                    <a:pt x="4322" y="297"/>
                  </a:lnTo>
                  <a:lnTo>
                    <a:pt x="4188" y="237"/>
                  </a:lnTo>
                  <a:lnTo>
                    <a:pt x="4052" y="183"/>
                  </a:lnTo>
                  <a:lnTo>
                    <a:pt x="3911" y="136"/>
                  </a:lnTo>
                  <a:lnTo>
                    <a:pt x="3768" y="96"/>
                  </a:lnTo>
                  <a:lnTo>
                    <a:pt x="3623" y="62"/>
                  </a:lnTo>
                  <a:lnTo>
                    <a:pt x="3474" y="36"/>
                  </a:lnTo>
                  <a:lnTo>
                    <a:pt x="3323" y="16"/>
                  </a:lnTo>
                  <a:lnTo>
                    <a:pt x="3170" y="4"/>
                  </a:lnTo>
                  <a:lnTo>
                    <a:pt x="3016" y="0"/>
                  </a:lnTo>
                  <a:lnTo>
                    <a:pt x="2861" y="4"/>
                  </a:lnTo>
                  <a:lnTo>
                    <a:pt x="2708" y="16"/>
                  </a:lnTo>
                  <a:lnTo>
                    <a:pt x="2557" y="36"/>
                  </a:lnTo>
                  <a:lnTo>
                    <a:pt x="2408" y="62"/>
                  </a:lnTo>
                  <a:lnTo>
                    <a:pt x="2263" y="96"/>
                  </a:lnTo>
                  <a:lnTo>
                    <a:pt x="2120" y="136"/>
                  </a:lnTo>
                  <a:lnTo>
                    <a:pt x="1979" y="183"/>
                  </a:lnTo>
                  <a:lnTo>
                    <a:pt x="1843" y="237"/>
                  </a:lnTo>
                  <a:lnTo>
                    <a:pt x="1709" y="297"/>
                  </a:lnTo>
                  <a:lnTo>
                    <a:pt x="1579" y="365"/>
                  </a:lnTo>
                  <a:lnTo>
                    <a:pt x="1453" y="437"/>
                  </a:lnTo>
                  <a:lnTo>
                    <a:pt x="1331" y="515"/>
                  </a:lnTo>
                  <a:lnTo>
                    <a:pt x="1212" y="600"/>
                  </a:lnTo>
                  <a:lnTo>
                    <a:pt x="1099" y="689"/>
                  </a:lnTo>
                  <a:lnTo>
                    <a:pt x="989" y="783"/>
                  </a:lnTo>
                  <a:lnTo>
                    <a:pt x="884" y="884"/>
                  </a:lnTo>
                  <a:lnTo>
                    <a:pt x="784" y="988"/>
                  </a:lnTo>
                  <a:lnTo>
                    <a:pt x="690" y="1097"/>
                  </a:lnTo>
                  <a:lnTo>
                    <a:pt x="600" y="1211"/>
                  </a:lnTo>
                  <a:lnTo>
                    <a:pt x="516" y="1329"/>
                  </a:lnTo>
                  <a:lnTo>
                    <a:pt x="437" y="1452"/>
                  </a:lnTo>
                  <a:lnTo>
                    <a:pt x="364" y="1577"/>
                  </a:lnTo>
                  <a:lnTo>
                    <a:pt x="298" y="1708"/>
                  </a:lnTo>
                  <a:lnTo>
                    <a:pt x="237" y="1840"/>
                  </a:lnTo>
                  <a:lnTo>
                    <a:pt x="183" y="1978"/>
                  </a:lnTo>
                  <a:lnTo>
                    <a:pt x="136" y="2117"/>
                  </a:lnTo>
                  <a:lnTo>
                    <a:pt x="95" y="2260"/>
                  </a:lnTo>
                  <a:lnTo>
                    <a:pt x="62" y="2405"/>
                  </a:lnTo>
                  <a:lnTo>
                    <a:pt x="35" y="2554"/>
                  </a:lnTo>
                  <a:lnTo>
                    <a:pt x="15" y="2704"/>
                  </a:lnTo>
                  <a:lnTo>
                    <a:pt x="4" y="2857"/>
                  </a:lnTo>
                  <a:lnTo>
                    <a:pt x="0" y="3011"/>
                  </a:lnTo>
                  <a:lnTo>
                    <a:pt x="4" y="3166"/>
                  </a:lnTo>
                  <a:lnTo>
                    <a:pt x="15" y="3318"/>
                  </a:lnTo>
                  <a:lnTo>
                    <a:pt x="35" y="3469"/>
                  </a:lnTo>
                  <a:lnTo>
                    <a:pt x="62" y="3617"/>
                  </a:lnTo>
                  <a:lnTo>
                    <a:pt x="95" y="3763"/>
                  </a:lnTo>
                  <a:lnTo>
                    <a:pt x="136" y="3906"/>
                  </a:lnTo>
                  <a:lnTo>
                    <a:pt x="183" y="4046"/>
                  </a:lnTo>
                  <a:lnTo>
                    <a:pt x="237" y="4183"/>
                  </a:lnTo>
                  <a:lnTo>
                    <a:pt x="298" y="4316"/>
                  </a:lnTo>
                  <a:lnTo>
                    <a:pt x="364" y="4445"/>
                  </a:lnTo>
                  <a:lnTo>
                    <a:pt x="437" y="4572"/>
                  </a:lnTo>
                  <a:lnTo>
                    <a:pt x="516" y="4693"/>
                  </a:lnTo>
                  <a:lnTo>
                    <a:pt x="600" y="4812"/>
                  </a:lnTo>
                  <a:lnTo>
                    <a:pt x="690" y="4925"/>
                  </a:lnTo>
                  <a:lnTo>
                    <a:pt x="784" y="5035"/>
                  </a:lnTo>
                  <a:lnTo>
                    <a:pt x="884" y="5140"/>
                  </a:lnTo>
                  <a:lnTo>
                    <a:pt x="989" y="5239"/>
                  </a:lnTo>
                  <a:lnTo>
                    <a:pt x="1099" y="5334"/>
                  </a:lnTo>
                  <a:lnTo>
                    <a:pt x="1212" y="5424"/>
                  </a:lnTo>
                  <a:lnTo>
                    <a:pt x="1331" y="5507"/>
                  </a:lnTo>
                  <a:lnTo>
                    <a:pt x="1453" y="5586"/>
                  </a:lnTo>
                  <a:lnTo>
                    <a:pt x="1579" y="5659"/>
                  </a:lnTo>
                  <a:lnTo>
                    <a:pt x="1709" y="5725"/>
                  </a:lnTo>
                  <a:lnTo>
                    <a:pt x="1843" y="5785"/>
                  </a:lnTo>
                  <a:lnTo>
                    <a:pt x="1979" y="5840"/>
                  </a:lnTo>
                  <a:lnTo>
                    <a:pt x="2120" y="5887"/>
                  </a:lnTo>
                  <a:lnTo>
                    <a:pt x="2263" y="5928"/>
                  </a:lnTo>
                  <a:lnTo>
                    <a:pt x="2408" y="5961"/>
                  </a:lnTo>
                  <a:lnTo>
                    <a:pt x="2557" y="5988"/>
                  </a:lnTo>
                  <a:lnTo>
                    <a:pt x="2708" y="6007"/>
                  </a:lnTo>
                  <a:lnTo>
                    <a:pt x="2861" y="6018"/>
                  </a:lnTo>
                  <a:lnTo>
                    <a:pt x="3016" y="60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81" name="íṣļiḋè">
              <a:extLst>
                <a:ext uri="{FF2B5EF4-FFF2-40B4-BE49-F238E27FC236}">
                  <a16:creationId xmlns:a16="http://schemas.microsoft.com/office/drawing/2014/main" id="{193C58D7-E04A-4668-A319-53645314DEFC}"/>
                </a:ext>
              </a:extLst>
            </p:cNvPr>
            <p:cNvSpPr/>
            <p:nvPr/>
          </p:nvSpPr>
          <p:spPr bwMode="auto">
            <a:xfrm>
              <a:off x="5599422" y="512185"/>
              <a:ext cx="262524" cy="349494"/>
            </a:xfrm>
            <a:custGeom>
              <a:avLst/>
              <a:gdLst>
                <a:gd name="T0" fmla="*/ 6018 w 12062"/>
                <a:gd name="T1" fmla="*/ 15039 h 16058"/>
                <a:gd name="T2" fmla="*/ 5780 w 12062"/>
                <a:gd name="T3" fmla="*/ 14775 h 16058"/>
                <a:gd name="T4" fmla="*/ 4611 w 12062"/>
                <a:gd name="T5" fmla="*/ 13399 h 16058"/>
                <a:gd name="T6" fmla="*/ 3378 w 12062"/>
                <a:gd name="T7" fmla="*/ 11797 h 16058"/>
                <a:gd name="T8" fmla="*/ 2251 w 12062"/>
                <a:gd name="T9" fmla="*/ 10038 h 16058"/>
                <a:gd name="T10" fmla="*/ 1406 w 12062"/>
                <a:gd name="T11" fmla="*/ 8193 h 16058"/>
                <a:gd name="T12" fmla="*/ 1014 w 12062"/>
                <a:gd name="T13" fmla="*/ 6330 h 16058"/>
                <a:gd name="T14" fmla="*/ 1164 w 12062"/>
                <a:gd name="T15" fmla="*/ 4770 h 16058"/>
                <a:gd name="T16" fmla="*/ 1734 w 12062"/>
                <a:gd name="T17" fmla="*/ 3422 h 16058"/>
                <a:gd name="T18" fmla="*/ 2653 w 12062"/>
                <a:gd name="T19" fmla="*/ 2309 h 16058"/>
                <a:gd name="T20" fmla="*/ 3854 w 12062"/>
                <a:gd name="T21" fmla="*/ 1499 h 16058"/>
                <a:gd name="T22" fmla="*/ 5267 w 12062"/>
                <a:gd name="T23" fmla="*/ 1062 h 16058"/>
                <a:gd name="T24" fmla="*/ 6795 w 12062"/>
                <a:gd name="T25" fmla="*/ 1062 h 16058"/>
                <a:gd name="T26" fmla="*/ 8208 w 12062"/>
                <a:gd name="T27" fmla="*/ 1499 h 16058"/>
                <a:gd name="T28" fmla="*/ 9409 w 12062"/>
                <a:gd name="T29" fmla="*/ 2309 h 16058"/>
                <a:gd name="T30" fmla="*/ 10328 w 12062"/>
                <a:gd name="T31" fmla="*/ 3422 h 16058"/>
                <a:gd name="T32" fmla="*/ 10898 w 12062"/>
                <a:gd name="T33" fmla="*/ 4770 h 16058"/>
                <a:gd name="T34" fmla="*/ 11048 w 12062"/>
                <a:gd name="T35" fmla="*/ 6330 h 16058"/>
                <a:gd name="T36" fmla="*/ 10656 w 12062"/>
                <a:gd name="T37" fmla="*/ 8193 h 16058"/>
                <a:gd name="T38" fmla="*/ 9810 w 12062"/>
                <a:gd name="T39" fmla="*/ 10039 h 16058"/>
                <a:gd name="T40" fmla="*/ 8681 w 12062"/>
                <a:gd name="T41" fmla="*/ 11801 h 16058"/>
                <a:gd name="T42" fmla="*/ 7443 w 12062"/>
                <a:gd name="T43" fmla="*/ 13407 h 16058"/>
                <a:gd name="T44" fmla="*/ 6267 w 12062"/>
                <a:gd name="T45" fmla="*/ 14791 h 16058"/>
                <a:gd name="T46" fmla="*/ 4817 w 12062"/>
                <a:gd name="T47" fmla="*/ 121 h 16058"/>
                <a:gd name="T48" fmla="*/ 3159 w 12062"/>
                <a:gd name="T49" fmla="*/ 722 h 16058"/>
                <a:gd name="T50" fmla="*/ 1768 w 12062"/>
                <a:gd name="T51" fmla="*/ 1753 h 16058"/>
                <a:gd name="T52" fmla="*/ 729 w 12062"/>
                <a:gd name="T53" fmla="*/ 3139 h 16058"/>
                <a:gd name="T54" fmla="*/ 123 w 12062"/>
                <a:gd name="T55" fmla="*/ 4801 h 16058"/>
                <a:gd name="T56" fmla="*/ 34 w 12062"/>
                <a:gd name="T57" fmla="*/ 6682 h 16058"/>
                <a:gd name="T58" fmla="*/ 506 w 12062"/>
                <a:gd name="T59" fmla="*/ 8654 h 16058"/>
                <a:gd name="T60" fmla="*/ 1411 w 12062"/>
                <a:gd name="T61" fmla="*/ 10583 h 16058"/>
                <a:gd name="T62" fmla="*/ 2598 w 12062"/>
                <a:gd name="T63" fmla="*/ 12423 h 16058"/>
                <a:gd name="T64" fmla="*/ 3917 w 12062"/>
                <a:gd name="T65" fmla="*/ 14129 h 16058"/>
                <a:gd name="T66" fmla="*/ 5214 w 12062"/>
                <a:gd name="T67" fmla="*/ 15655 h 16058"/>
                <a:gd name="T68" fmla="*/ 5355 w 12062"/>
                <a:gd name="T69" fmla="*/ 15786 h 16058"/>
                <a:gd name="T70" fmla="*/ 5509 w 12062"/>
                <a:gd name="T71" fmla="*/ 15897 h 16058"/>
                <a:gd name="T72" fmla="*/ 5705 w 12062"/>
                <a:gd name="T73" fmla="*/ 15997 h 16058"/>
                <a:gd name="T74" fmla="*/ 5931 w 12062"/>
                <a:gd name="T75" fmla="*/ 16054 h 16058"/>
                <a:gd name="T76" fmla="*/ 6170 w 12062"/>
                <a:gd name="T77" fmla="*/ 16048 h 16058"/>
                <a:gd name="T78" fmla="*/ 6392 w 12062"/>
                <a:gd name="T79" fmla="*/ 15982 h 16058"/>
                <a:gd name="T80" fmla="*/ 6581 w 12062"/>
                <a:gd name="T81" fmla="*/ 15878 h 16058"/>
                <a:gd name="T82" fmla="*/ 6747 w 12062"/>
                <a:gd name="T83" fmla="*/ 15752 h 16058"/>
                <a:gd name="T84" fmla="*/ 7056 w 12062"/>
                <a:gd name="T85" fmla="*/ 15415 h 16058"/>
                <a:gd name="T86" fmla="*/ 8368 w 12062"/>
                <a:gd name="T87" fmla="*/ 13856 h 16058"/>
                <a:gd name="T88" fmla="*/ 9675 w 12062"/>
                <a:gd name="T89" fmla="*/ 12125 h 16058"/>
                <a:gd name="T90" fmla="*/ 10826 w 12062"/>
                <a:gd name="T91" fmla="*/ 10267 h 16058"/>
                <a:gd name="T92" fmla="*/ 11669 w 12062"/>
                <a:gd name="T93" fmla="*/ 8328 h 16058"/>
                <a:gd name="T94" fmla="*/ 12053 w 12062"/>
                <a:gd name="T95" fmla="*/ 6352 h 16058"/>
                <a:gd name="T96" fmla="*/ 11872 w 12062"/>
                <a:gd name="T97" fmla="*/ 4508 h 16058"/>
                <a:gd name="T98" fmla="*/ 11188 w 12062"/>
                <a:gd name="T99" fmla="*/ 2887 h 16058"/>
                <a:gd name="T100" fmla="*/ 10084 w 12062"/>
                <a:gd name="T101" fmla="*/ 1555 h 16058"/>
                <a:gd name="T102" fmla="*/ 8644 w 12062"/>
                <a:gd name="T103" fmla="*/ 589 h 16058"/>
                <a:gd name="T104" fmla="*/ 6948 w 12062"/>
                <a:gd name="T105" fmla="*/ 68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062" h="16058">
                  <a:moveTo>
                    <a:pt x="6090" y="14996"/>
                  </a:moveTo>
                  <a:lnTo>
                    <a:pt x="6078" y="15005"/>
                  </a:lnTo>
                  <a:lnTo>
                    <a:pt x="6062" y="15018"/>
                  </a:lnTo>
                  <a:lnTo>
                    <a:pt x="6042" y="15032"/>
                  </a:lnTo>
                  <a:lnTo>
                    <a:pt x="6021" y="15045"/>
                  </a:lnTo>
                  <a:lnTo>
                    <a:pt x="6018" y="15039"/>
                  </a:lnTo>
                  <a:lnTo>
                    <a:pt x="6012" y="15032"/>
                  </a:lnTo>
                  <a:lnTo>
                    <a:pt x="6004" y="15024"/>
                  </a:lnTo>
                  <a:lnTo>
                    <a:pt x="5995" y="15015"/>
                  </a:lnTo>
                  <a:lnTo>
                    <a:pt x="5975" y="14996"/>
                  </a:lnTo>
                  <a:lnTo>
                    <a:pt x="5956" y="14978"/>
                  </a:lnTo>
                  <a:lnTo>
                    <a:pt x="5780" y="14775"/>
                  </a:lnTo>
                  <a:lnTo>
                    <a:pt x="5597" y="14565"/>
                  </a:lnTo>
                  <a:lnTo>
                    <a:pt x="5408" y="14346"/>
                  </a:lnTo>
                  <a:lnTo>
                    <a:pt x="5215" y="14120"/>
                  </a:lnTo>
                  <a:lnTo>
                    <a:pt x="5017" y="13886"/>
                  </a:lnTo>
                  <a:lnTo>
                    <a:pt x="4815" y="13646"/>
                  </a:lnTo>
                  <a:lnTo>
                    <a:pt x="4611" y="13399"/>
                  </a:lnTo>
                  <a:lnTo>
                    <a:pt x="4406" y="13145"/>
                  </a:lnTo>
                  <a:lnTo>
                    <a:pt x="4199" y="12887"/>
                  </a:lnTo>
                  <a:lnTo>
                    <a:pt x="3992" y="12622"/>
                  </a:lnTo>
                  <a:lnTo>
                    <a:pt x="3785" y="12352"/>
                  </a:lnTo>
                  <a:lnTo>
                    <a:pt x="3580" y="12077"/>
                  </a:lnTo>
                  <a:lnTo>
                    <a:pt x="3378" y="11797"/>
                  </a:lnTo>
                  <a:lnTo>
                    <a:pt x="3178" y="11513"/>
                  </a:lnTo>
                  <a:lnTo>
                    <a:pt x="2982" y="11225"/>
                  </a:lnTo>
                  <a:lnTo>
                    <a:pt x="2790" y="10932"/>
                  </a:lnTo>
                  <a:lnTo>
                    <a:pt x="2604" y="10637"/>
                  </a:lnTo>
                  <a:lnTo>
                    <a:pt x="2424" y="10339"/>
                  </a:lnTo>
                  <a:lnTo>
                    <a:pt x="2251" y="10038"/>
                  </a:lnTo>
                  <a:lnTo>
                    <a:pt x="2087" y="9734"/>
                  </a:lnTo>
                  <a:lnTo>
                    <a:pt x="1930" y="9429"/>
                  </a:lnTo>
                  <a:lnTo>
                    <a:pt x="1782" y="9122"/>
                  </a:lnTo>
                  <a:lnTo>
                    <a:pt x="1645" y="8813"/>
                  </a:lnTo>
                  <a:lnTo>
                    <a:pt x="1520" y="8504"/>
                  </a:lnTo>
                  <a:lnTo>
                    <a:pt x="1406" y="8193"/>
                  </a:lnTo>
                  <a:lnTo>
                    <a:pt x="1305" y="7881"/>
                  </a:lnTo>
                  <a:lnTo>
                    <a:pt x="1216" y="7570"/>
                  </a:lnTo>
                  <a:lnTo>
                    <a:pt x="1142" y="7259"/>
                  </a:lnTo>
                  <a:lnTo>
                    <a:pt x="1083" y="6948"/>
                  </a:lnTo>
                  <a:lnTo>
                    <a:pt x="1040" y="6639"/>
                  </a:lnTo>
                  <a:lnTo>
                    <a:pt x="1014" y="6330"/>
                  </a:lnTo>
                  <a:lnTo>
                    <a:pt x="1005" y="6023"/>
                  </a:lnTo>
                  <a:lnTo>
                    <a:pt x="1011" y="5765"/>
                  </a:lnTo>
                  <a:lnTo>
                    <a:pt x="1031" y="5510"/>
                  </a:lnTo>
                  <a:lnTo>
                    <a:pt x="1063" y="5259"/>
                  </a:lnTo>
                  <a:lnTo>
                    <a:pt x="1108" y="5012"/>
                  </a:lnTo>
                  <a:lnTo>
                    <a:pt x="1164" y="4770"/>
                  </a:lnTo>
                  <a:lnTo>
                    <a:pt x="1231" y="4532"/>
                  </a:lnTo>
                  <a:lnTo>
                    <a:pt x="1311" y="4299"/>
                  </a:lnTo>
                  <a:lnTo>
                    <a:pt x="1401" y="4071"/>
                  </a:lnTo>
                  <a:lnTo>
                    <a:pt x="1502" y="3849"/>
                  </a:lnTo>
                  <a:lnTo>
                    <a:pt x="1612" y="3632"/>
                  </a:lnTo>
                  <a:lnTo>
                    <a:pt x="1734" y="3422"/>
                  </a:lnTo>
                  <a:lnTo>
                    <a:pt x="1864" y="3219"/>
                  </a:lnTo>
                  <a:lnTo>
                    <a:pt x="2005" y="3022"/>
                  </a:lnTo>
                  <a:lnTo>
                    <a:pt x="2154" y="2832"/>
                  </a:lnTo>
                  <a:lnTo>
                    <a:pt x="2313" y="2650"/>
                  </a:lnTo>
                  <a:lnTo>
                    <a:pt x="2479" y="2475"/>
                  </a:lnTo>
                  <a:lnTo>
                    <a:pt x="2653" y="2309"/>
                  </a:lnTo>
                  <a:lnTo>
                    <a:pt x="2836" y="2151"/>
                  </a:lnTo>
                  <a:lnTo>
                    <a:pt x="3026" y="2002"/>
                  </a:lnTo>
                  <a:lnTo>
                    <a:pt x="3223" y="1862"/>
                  </a:lnTo>
                  <a:lnTo>
                    <a:pt x="3427" y="1731"/>
                  </a:lnTo>
                  <a:lnTo>
                    <a:pt x="3637" y="1610"/>
                  </a:lnTo>
                  <a:lnTo>
                    <a:pt x="3854" y="1499"/>
                  </a:lnTo>
                  <a:lnTo>
                    <a:pt x="4077" y="1399"/>
                  </a:lnTo>
                  <a:lnTo>
                    <a:pt x="4305" y="1309"/>
                  </a:lnTo>
                  <a:lnTo>
                    <a:pt x="4538" y="1229"/>
                  </a:lnTo>
                  <a:lnTo>
                    <a:pt x="4776" y="1162"/>
                  </a:lnTo>
                  <a:lnTo>
                    <a:pt x="5019" y="1106"/>
                  </a:lnTo>
                  <a:lnTo>
                    <a:pt x="5267" y="1062"/>
                  </a:lnTo>
                  <a:lnTo>
                    <a:pt x="5518" y="1030"/>
                  </a:lnTo>
                  <a:lnTo>
                    <a:pt x="5773" y="1010"/>
                  </a:lnTo>
                  <a:lnTo>
                    <a:pt x="6032" y="1004"/>
                  </a:lnTo>
                  <a:lnTo>
                    <a:pt x="6289" y="1010"/>
                  </a:lnTo>
                  <a:lnTo>
                    <a:pt x="6544" y="1030"/>
                  </a:lnTo>
                  <a:lnTo>
                    <a:pt x="6795" y="1062"/>
                  </a:lnTo>
                  <a:lnTo>
                    <a:pt x="7043" y="1106"/>
                  </a:lnTo>
                  <a:lnTo>
                    <a:pt x="7286" y="1162"/>
                  </a:lnTo>
                  <a:lnTo>
                    <a:pt x="7524" y="1229"/>
                  </a:lnTo>
                  <a:lnTo>
                    <a:pt x="7757" y="1309"/>
                  </a:lnTo>
                  <a:lnTo>
                    <a:pt x="7985" y="1399"/>
                  </a:lnTo>
                  <a:lnTo>
                    <a:pt x="8208" y="1499"/>
                  </a:lnTo>
                  <a:lnTo>
                    <a:pt x="8425" y="1610"/>
                  </a:lnTo>
                  <a:lnTo>
                    <a:pt x="8635" y="1731"/>
                  </a:lnTo>
                  <a:lnTo>
                    <a:pt x="8839" y="1862"/>
                  </a:lnTo>
                  <a:lnTo>
                    <a:pt x="9036" y="2002"/>
                  </a:lnTo>
                  <a:lnTo>
                    <a:pt x="9226" y="2151"/>
                  </a:lnTo>
                  <a:lnTo>
                    <a:pt x="9409" y="2309"/>
                  </a:lnTo>
                  <a:lnTo>
                    <a:pt x="9583" y="2475"/>
                  </a:lnTo>
                  <a:lnTo>
                    <a:pt x="9749" y="2650"/>
                  </a:lnTo>
                  <a:lnTo>
                    <a:pt x="9908" y="2832"/>
                  </a:lnTo>
                  <a:lnTo>
                    <a:pt x="10057" y="3022"/>
                  </a:lnTo>
                  <a:lnTo>
                    <a:pt x="10198" y="3219"/>
                  </a:lnTo>
                  <a:lnTo>
                    <a:pt x="10328" y="3422"/>
                  </a:lnTo>
                  <a:lnTo>
                    <a:pt x="10450" y="3632"/>
                  </a:lnTo>
                  <a:lnTo>
                    <a:pt x="10560" y="3849"/>
                  </a:lnTo>
                  <a:lnTo>
                    <a:pt x="10661" y="4071"/>
                  </a:lnTo>
                  <a:lnTo>
                    <a:pt x="10751" y="4299"/>
                  </a:lnTo>
                  <a:lnTo>
                    <a:pt x="10831" y="4532"/>
                  </a:lnTo>
                  <a:lnTo>
                    <a:pt x="10898" y="4770"/>
                  </a:lnTo>
                  <a:lnTo>
                    <a:pt x="10954" y="5012"/>
                  </a:lnTo>
                  <a:lnTo>
                    <a:pt x="10999" y="5259"/>
                  </a:lnTo>
                  <a:lnTo>
                    <a:pt x="11031" y="5510"/>
                  </a:lnTo>
                  <a:lnTo>
                    <a:pt x="11051" y="5765"/>
                  </a:lnTo>
                  <a:lnTo>
                    <a:pt x="11057" y="6023"/>
                  </a:lnTo>
                  <a:lnTo>
                    <a:pt x="11048" y="6330"/>
                  </a:lnTo>
                  <a:lnTo>
                    <a:pt x="11022" y="6639"/>
                  </a:lnTo>
                  <a:lnTo>
                    <a:pt x="10979" y="6948"/>
                  </a:lnTo>
                  <a:lnTo>
                    <a:pt x="10920" y="7259"/>
                  </a:lnTo>
                  <a:lnTo>
                    <a:pt x="10846" y="7570"/>
                  </a:lnTo>
                  <a:lnTo>
                    <a:pt x="10757" y="7881"/>
                  </a:lnTo>
                  <a:lnTo>
                    <a:pt x="10656" y="8193"/>
                  </a:lnTo>
                  <a:lnTo>
                    <a:pt x="10542" y="8504"/>
                  </a:lnTo>
                  <a:lnTo>
                    <a:pt x="10416" y="8814"/>
                  </a:lnTo>
                  <a:lnTo>
                    <a:pt x="10279" y="9122"/>
                  </a:lnTo>
                  <a:lnTo>
                    <a:pt x="10132" y="9430"/>
                  </a:lnTo>
                  <a:lnTo>
                    <a:pt x="9975" y="9735"/>
                  </a:lnTo>
                  <a:lnTo>
                    <a:pt x="9810" y="10039"/>
                  </a:lnTo>
                  <a:lnTo>
                    <a:pt x="9637" y="10340"/>
                  </a:lnTo>
                  <a:lnTo>
                    <a:pt x="9457" y="10639"/>
                  </a:lnTo>
                  <a:lnTo>
                    <a:pt x="9270" y="10934"/>
                  </a:lnTo>
                  <a:lnTo>
                    <a:pt x="9078" y="11227"/>
                  </a:lnTo>
                  <a:lnTo>
                    <a:pt x="8882" y="11516"/>
                  </a:lnTo>
                  <a:lnTo>
                    <a:pt x="8681" y="11801"/>
                  </a:lnTo>
                  <a:lnTo>
                    <a:pt x="8478" y="12081"/>
                  </a:lnTo>
                  <a:lnTo>
                    <a:pt x="8272" y="12357"/>
                  </a:lnTo>
                  <a:lnTo>
                    <a:pt x="8065" y="12628"/>
                  </a:lnTo>
                  <a:lnTo>
                    <a:pt x="7857" y="12893"/>
                  </a:lnTo>
                  <a:lnTo>
                    <a:pt x="7650" y="13154"/>
                  </a:lnTo>
                  <a:lnTo>
                    <a:pt x="7443" y="13407"/>
                  </a:lnTo>
                  <a:lnTo>
                    <a:pt x="7238" y="13655"/>
                  </a:lnTo>
                  <a:lnTo>
                    <a:pt x="7036" y="13897"/>
                  </a:lnTo>
                  <a:lnTo>
                    <a:pt x="6837" y="14132"/>
                  </a:lnTo>
                  <a:lnTo>
                    <a:pt x="6642" y="14359"/>
                  </a:lnTo>
                  <a:lnTo>
                    <a:pt x="6452" y="14579"/>
                  </a:lnTo>
                  <a:lnTo>
                    <a:pt x="6267" y="14791"/>
                  </a:lnTo>
                  <a:lnTo>
                    <a:pt x="6090" y="14996"/>
                  </a:lnTo>
                  <a:close/>
                  <a:moveTo>
                    <a:pt x="6032" y="0"/>
                  </a:moveTo>
                  <a:lnTo>
                    <a:pt x="5721" y="8"/>
                  </a:lnTo>
                  <a:lnTo>
                    <a:pt x="5415" y="31"/>
                  </a:lnTo>
                  <a:lnTo>
                    <a:pt x="5114" y="68"/>
                  </a:lnTo>
                  <a:lnTo>
                    <a:pt x="4817" y="121"/>
                  </a:lnTo>
                  <a:lnTo>
                    <a:pt x="4526" y="188"/>
                  </a:lnTo>
                  <a:lnTo>
                    <a:pt x="4239" y="268"/>
                  </a:lnTo>
                  <a:lnTo>
                    <a:pt x="3959" y="362"/>
                  </a:lnTo>
                  <a:lnTo>
                    <a:pt x="3686" y="470"/>
                  </a:lnTo>
                  <a:lnTo>
                    <a:pt x="3418" y="589"/>
                  </a:lnTo>
                  <a:lnTo>
                    <a:pt x="3159" y="722"/>
                  </a:lnTo>
                  <a:lnTo>
                    <a:pt x="2906" y="865"/>
                  </a:lnTo>
                  <a:lnTo>
                    <a:pt x="2661" y="1021"/>
                  </a:lnTo>
                  <a:lnTo>
                    <a:pt x="2424" y="1188"/>
                  </a:lnTo>
                  <a:lnTo>
                    <a:pt x="2197" y="1366"/>
                  </a:lnTo>
                  <a:lnTo>
                    <a:pt x="1978" y="1555"/>
                  </a:lnTo>
                  <a:lnTo>
                    <a:pt x="1768" y="1753"/>
                  </a:lnTo>
                  <a:lnTo>
                    <a:pt x="1569" y="1962"/>
                  </a:lnTo>
                  <a:lnTo>
                    <a:pt x="1379" y="2180"/>
                  </a:lnTo>
                  <a:lnTo>
                    <a:pt x="1200" y="2407"/>
                  </a:lnTo>
                  <a:lnTo>
                    <a:pt x="1031" y="2643"/>
                  </a:lnTo>
                  <a:lnTo>
                    <a:pt x="874" y="2887"/>
                  </a:lnTo>
                  <a:lnTo>
                    <a:pt x="729" y="3139"/>
                  </a:lnTo>
                  <a:lnTo>
                    <a:pt x="596" y="3399"/>
                  </a:lnTo>
                  <a:lnTo>
                    <a:pt x="474" y="3666"/>
                  </a:lnTo>
                  <a:lnTo>
                    <a:pt x="367" y="3940"/>
                  </a:lnTo>
                  <a:lnTo>
                    <a:pt x="271" y="4221"/>
                  </a:lnTo>
                  <a:lnTo>
                    <a:pt x="190" y="4508"/>
                  </a:lnTo>
                  <a:lnTo>
                    <a:pt x="123" y="4801"/>
                  </a:lnTo>
                  <a:lnTo>
                    <a:pt x="69" y="5099"/>
                  </a:lnTo>
                  <a:lnTo>
                    <a:pt x="31" y="5403"/>
                  </a:lnTo>
                  <a:lnTo>
                    <a:pt x="8" y="5711"/>
                  </a:lnTo>
                  <a:lnTo>
                    <a:pt x="0" y="6023"/>
                  </a:lnTo>
                  <a:lnTo>
                    <a:pt x="9" y="6352"/>
                  </a:lnTo>
                  <a:lnTo>
                    <a:pt x="34" y="6682"/>
                  </a:lnTo>
                  <a:lnTo>
                    <a:pt x="76" y="7012"/>
                  </a:lnTo>
                  <a:lnTo>
                    <a:pt x="134" y="7342"/>
                  </a:lnTo>
                  <a:lnTo>
                    <a:pt x="206" y="7671"/>
                  </a:lnTo>
                  <a:lnTo>
                    <a:pt x="292" y="8000"/>
                  </a:lnTo>
                  <a:lnTo>
                    <a:pt x="393" y="8328"/>
                  </a:lnTo>
                  <a:lnTo>
                    <a:pt x="506" y="8654"/>
                  </a:lnTo>
                  <a:lnTo>
                    <a:pt x="630" y="8980"/>
                  </a:lnTo>
                  <a:lnTo>
                    <a:pt x="767" y="9305"/>
                  </a:lnTo>
                  <a:lnTo>
                    <a:pt x="914" y="9628"/>
                  </a:lnTo>
                  <a:lnTo>
                    <a:pt x="1070" y="9948"/>
                  </a:lnTo>
                  <a:lnTo>
                    <a:pt x="1236" y="10267"/>
                  </a:lnTo>
                  <a:lnTo>
                    <a:pt x="1411" y="10583"/>
                  </a:lnTo>
                  <a:lnTo>
                    <a:pt x="1593" y="10897"/>
                  </a:lnTo>
                  <a:lnTo>
                    <a:pt x="1783" y="11208"/>
                  </a:lnTo>
                  <a:lnTo>
                    <a:pt x="1979" y="11518"/>
                  </a:lnTo>
                  <a:lnTo>
                    <a:pt x="2180" y="11823"/>
                  </a:lnTo>
                  <a:lnTo>
                    <a:pt x="2387" y="12125"/>
                  </a:lnTo>
                  <a:lnTo>
                    <a:pt x="2598" y="12423"/>
                  </a:lnTo>
                  <a:lnTo>
                    <a:pt x="2813" y="12718"/>
                  </a:lnTo>
                  <a:lnTo>
                    <a:pt x="3030" y="13009"/>
                  </a:lnTo>
                  <a:lnTo>
                    <a:pt x="3250" y="13296"/>
                  </a:lnTo>
                  <a:lnTo>
                    <a:pt x="3473" y="13578"/>
                  </a:lnTo>
                  <a:lnTo>
                    <a:pt x="3695" y="13856"/>
                  </a:lnTo>
                  <a:lnTo>
                    <a:pt x="3917" y="14129"/>
                  </a:lnTo>
                  <a:lnTo>
                    <a:pt x="4139" y="14397"/>
                  </a:lnTo>
                  <a:lnTo>
                    <a:pt x="4359" y="14659"/>
                  </a:lnTo>
                  <a:lnTo>
                    <a:pt x="4577" y="14917"/>
                  </a:lnTo>
                  <a:lnTo>
                    <a:pt x="4793" y="15169"/>
                  </a:lnTo>
                  <a:lnTo>
                    <a:pt x="5006" y="15415"/>
                  </a:lnTo>
                  <a:lnTo>
                    <a:pt x="5214" y="15655"/>
                  </a:lnTo>
                  <a:lnTo>
                    <a:pt x="5219" y="15661"/>
                  </a:lnTo>
                  <a:lnTo>
                    <a:pt x="5233" y="15675"/>
                  </a:lnTo>
                  <a:lnTo>
                    <a:pt x="5254" y="15695"/>
                  </a:lnTo>
                  <a:lnTo>
                    <a:pt x="5281" y="15722"/>
                  </a:lnTo>
                  <a:lnTo>
                    <a:pt x="5315" y="15752"/>
                  </a:lnTo>
                  <a:lnTo>
                    <a:pt x="5355" y="15786"/>
                  </a:lnTo>
                  <a:lnTo>
                    <a:pt x="5377" y="15804"/>
                  </a:lnTo>
                  <a:lnTo>
                    <a:pt x="5401" y="15822"/>
                  </a:lnTo>
                  <a:lnTo>
                    <a:pt x="5426" y="15841"/>
                  </a:lnTo>
                  <a:lnTo>
                    <a:pt x="5453" y="15860"/>
                  </a:lnTo>
                  <a:lnTo>
                    <a:pt x="5480" y="15878"/>
                  </a:lnTo>
                  <a:lnTo>
                    <a:pt x="5509" y="15897"/>
                  </a:lnTo>
                  <a:lnTo>
                    <a:pt x="5539" y="15915"/>
                  </a:lnTo>
                  <a:lnTo>
                    <a:pt x="5570" y="15933"/>
                  </a:lnTo>
                  <a:lnTo>
                    <a:pt x="5602" y="15950"/>
                  </a:lnTo>
                  <a:lnTo>
                    <a:pt x="5635" y="15967"/>
                  </a:lnTo>
                  <a:lnTo>
                    <a:pt x="5670" y="15982"/>
                  </a:lnTo>
                  <a:lnTo>
                    <a:pt x="5705" y="15997"/>
                  </a:lnTo>
                  <a:lnTo>
                    <a:pt x="5740" y="16010"/>
                  </a:lnTo>
                  <a:lnTo>
                    <a:pt x="5777" y="16022"/>
                  </a:lnTo>
                  <a:lnTo>
                    <a:pt x="5814" y="16032"/>
                  </a:lnTo>
                  <a:lnTo>
                    <a:pt x="5853" y="16041"/>
                  </a:lnTo>
                  <a:lnTo>
                    <a:pt x="5892" y="16048"/>
                  </a:lnTo>
                  <a:lnTo>
                    <a:pt x="5931" y="16054"/>
                  </a:lnTo>
                  <a:lnTo>
                    <a:pt x="5971" y="16057"/>
                  </a:lnTo>
                  <a:lnTo>
                    <a:pt x="6011" y="16058"/>
                  </a:lnTo>
                  <a:lnTo>
                    <a:pt x="6051" y="16058"/>
                  </a:lnTo>
                  <a:lnTo>
                    <a:pt x="6091" y="16057"/>
                  </a:lnTo>
                  <a:lnTo>
                    <a:pt x="6131" y="16054"/>
                  </a:lnTo>
                  <a:lnTo>
                    <a:pt x="6170" y="16048"/>
                  </a:lnTo>
                  <a:lnTo>
                    <a:pt x="6209" y="16041"/>
                  </a:lnTo>
                  <a:lnTo>
                    <a:pt x="6248" y="16032"/>
                  </a:lnTo>
                  <a:lnTo>
                    <a:pt x="6285" y="16022"/>
                  </a:lnTo>
                  <a:lnTo>
                    <a:pt x="6322" y="16010"/>
                  </a:lnTo>
                  <a:lnTo>
                    <a:pt x="6357" y="15997"/>
                  </a:lnTo>
                  <a:lnTo>
                    <a:pt x="6392" y="15982"/>
                  </a:lnTo>
                  <a:lnTo>
                    <a:pt x="6427" y="15967"/>
                  </a:lnTo>
                  <a:lnTo>
                    <a:pt x="6460" y="15950"/>
                  </a:lnTo>
                  <a:lnTo>
                    <a:pt x="6492" y="15933"/>
                  </a:lnTo>
                  <a:lnTo>
                    <a:pt x="6523" y="15915"/>
                  </a:lnTo>
                  <a:lnTo>
                    <a:pt x="6553" y="15897"/>
                  </a:lnTo>
                  <a:lnTo>
                    <a:pt x="6581" y="15878"/>
                  </a:lnTo>
                  <a:lnTo>
                    <a:pt x="6609" y="15860"/>
                  </a:lnTo>
                  <a:lnTo>
                    <a:pt x="6636" y="15841"/>
                  </a:lnTo>
                  <a:lnTo>
                    <a:pt x="6661" y="15822"/>
                  </a:lnTo>
                  <a:lnTo>
                    <a:pt x="6684" y="15804"/>
                  </a:lnTo>
                  <a:lnTo>
                    <a:pt x="6707" y="15786"/>
                  </a:lnTo>
                  <a:lnTo>
                    <a:pt x="6747" y="15752"/>
                  </a:lnTo>
                  <a:lnTo>
                    <a:pt x="6780" y="15722"/>
                  </a:lnTo>
                  <a:lnTo>
                    <a:pt x="6808" y="15695"/>
                  </a:lnTo>
                  <a:lnTo>
                    <a:pt x="6829" y="15675"/>
                  </a:lnTo>
                  <a:lnTo>
                    <a:pt x="6842" y="15661"/>
                  </a:lnTo>
                  <a:lnTo>
                    <a:pt x="6848" y="15655"/>
                  </a:lnTo>
                  <a:lnTo>
                    <a:pt x="7056" y="15415"/>
                  </a:lnTo>
                  <a:lnTo>
                    <a:pt x="7269" y="15169"/>
                  </a:lnTo>
                  <a:lnTo>
                    <a:pt x="7485" y="14917"/>
                  </a:lnTo>
                  <a:lnTo>
                    <a:pt x="7703" y="14659"/>
                  </a:lnTo>
                  <a:lnTo>
                    <a:pt x="7924" y="14397"/>
                  </a:lnTo>
                  <a:lnTo>
                    <a:pt x="8145" y="14129"/>
                  </a:lnTo>
                  <a:lnTo>
                    <a:pt x="8368" y="13856"/>
                  </a:lnTo>
                  <a:lnTo>
                    <a:pt x="8590" y="13578"/>
                  </a:lnTo>
                  <a:lnTo>
                    <a:pt x="8812" y="13296"/>
                  </a:lnTo>
                  <a:lnTo>
                    <a:pt x="9032" y="13009"/>
                  </a:lnTo>
                  <a:lnTo>
                    <a:pt x="9249" y="12718"/>
                  </a:lnTo>
                  <a:lnTo>
                    <a:pt x="9464" y="12423"/>
                  </a:lnTo>
                  <a:lnTo>
                    <a:pt x="9675" y="12125"/>
                  </a:lnTo>
                  <a:lnTo>
                    <a:pt x="9882" y="11823"/>
                  </a:lnTo>
                  <a:lnTo>
                    <a:pt x="10084" y="11518"/>
                  </a:lnTo>
                  <a:lnTo>
                    <a:pt x="10280" y="11208"/>
                  </a:lnTo>
                  <a:lnTo>
                    <a:pt x="10469" y="10897"/>
                  </a:lnTo>
                  <a:lnTo>
                    <a:pt x="10652" y="10583"/>
                  </a:lnTo>
                  <a:lnTo>
                    <a:pt x="10826" y="10267"/>
                  </a:lnTo>
                  <a:lnTo>
                    <a:pt x="10992" y="9948"/>
                  </a:lnTo>
                  <a:lnTo>
                    <a:pt x="11148" y="9628"/>
                  </a:lnTo>
                  <a:lnTo>
                    <a:pt x="11295" y="9305"/>
                  </a:lnTo>
                  <a:lnTo>
                    <a:pt x="11432" y="8980"/>
                  </a:lnTo>
                  <a:lnTo>
                    <a:pt x="11556" y="8654"/>
                  </a:lnTo>
                  <a:lnTo>
                    <a:pt x="11669" y="8328"/>
                  </a:lnTo>
                  <a:lnTo>
                    <a:pt x="11770" y="8000"/>
                  </a:lnTo>
                  <a:lnTo>
                    <a:pt x="11856" y="7671"/>
                  </a:lnTo>
                  <a:lnTo>
                    <a:pt x="11928" y="7342"/>
                  </a:lnTo>
                  <a:lnTo>
                    <a:pt x="11986" y="7012"/>
                  </a:lnTo>
                  <a:lnTo>
                    <a:pt x="12028" y="6682"/>
                  </a:lnTo>
                  <a:lnTo>
                    <a:pt x="12053" y="6352"/>
                  </a:lnTo>
                  <a:lnTo>
                    <a:pt x="12062" y="6023"/>
                  </a:lnTo>
                  <a:lnTo>
                    <a:pt x="12054" y="5711"/>
                  </a:lnTo>
                  <a:lnTo>
                    <a:pt x="12031" y="5403"/>
                  </a:lnTo>
                  <a:lnTo>
                    <a:pt x="11993" y="5099"/>
                  </a:lnTo>
                  <a:lnTo>
                    <a:pt x="11939" y="4801"/>
                  </a:lnTo>
                  <a:lnTo>
                    <a:pt x="11872" y="4508"/>
                  </a:lnTo>
                  <a:lnTo>
                    <a:pt x="11791" y="4221"/>
                  </a:lnTo>
                  <a:lnTo>
                    <a:pt x="11695" y="3940"/>
                  </a:lnTo>
                  <a:lnTo>
                    <a:pt x="11588" y="3666"/>
                  </a:lnTo>
                  <a:lnTo>
                    <a:pt x="11466" y="3399"/>
                  </a:lnTo>
                  <a:lnTo>
                    <a:pt x="11333" y="3139"/>
                  </a:lnTo>
                  <a:lnTo>
                    <a:pt x="11188" y="2887"/>
                  </a:lnTo>
                  <a:lnTo>
                    <a:pt x="11031" y="2643"/>
                  </a:lnTo>
                  <a:lnTo>
                    <a:pt x="10862" y="2407"/>
                  </a:lnTo>
                  <a:lnTo>
                    <a:pt x="10683" y="2180"/>
                  </a:lnTo>
                  <a:lnTo>
                    <a:pt x="10493" y="1962"/>
                  </a:lnTo>
                  <a:lnTo>
                    <a:pt x="10294" y="1753"/>
                  </a:lnTo>
                  <a:lnTo>
                    <a:pt x="10084" y="1555"/>
                  </a:lnTo>
                  <a:lnTo>
                    <a:pt x="9865" y="1366"/>
                  </a:lnTo>
                  <a:lnTo>
                    <a:pt x="9638" y="1188"/>
                  </a:lnTo>
                  <a:lnTo>
                    <a:pt x="9401" y="1021"/>
                  </a:lnTo>
                  <a:lnTo>
                    <a:pt x="9156" y="865"/>
                  </a:lnTo>
                  <a:lnTo>
                    <a:pt x="8903" y="722"/>
                  </a:lnTo>
                  <a:lnTo>
                    <a:pt x="8644" y="589"/>
                  </a:lnTo>
                  <a:lnTo>
                    <a:pt x="8376" y="470"/>
                  </a:lnTo>
                  <a:lnTo>
                    <a:pt x="8103" y="362"/>
                  </a:lnTo>
                  <a:lnTo>
                    <a:pt x="7823" y="268"/>
                  </a:lnTo>
                  <a:lnTo>
                    <a:pt x="7536" y="188"/>
                  </a:lnTo>
                  <a:lnTo>
                    <a:pt x="7245" y="121"/>
                  </a:lnTo>
                  <a:lnTo>
                    <a:pt x="6948" y="68"/>
                  </a:lnTo>
                  <a:lnTo>
                    <a:pt x="6647" y="31"/>
                  </a:lnTo>
                  <a:lnTo>
                    <a:pt x="6341" y="8"/>
                  </a:lnTo>
                  <a:lnTo>
                    <a:pt x="60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82" name="íṧļiďe">
              <a:extLst>
                <a:ext uri="{FF2B5EF4-FFF2-40B4-BE49-F238E27FC236}">
                  <a16:creationId xmlns:a16="http://schemas.microsoft.com/office/drawing/2014/main" id="{DACAE904-AFF3-41FA-AA12-785AA84DDD50}"/>
                </a:ext>
              </a:extLst>
            </p:cNvPr>
            <p:cNvSpPr/>
            <p:nvPr/>
          </p:nvSpPr>
          <p:spPr bwMode="auto">
            <a:xfrm>
              <a:off x="3877745" y="1882567"/>
              <a:ext cx="593599" cy="595008"/>
            </a:xfrm>
            <a:custGeom>
              <a:avLst/>
              <a:gdLst>
                <a:gd name="T0" fmla="*/ 11438 w 16419"/>
                <a:gd name="T1" fmla="*/ 11992 h 16036"/>
                <a:gd name="T2" fmla="*/ 12051 w 16419"/>
                <a:gd name="T3" fmla="*/ 9611 h 16036"/>
                <a:gd name="T4" fmla="*/ 15080 w 16419"/>
                <a:gd name="T5" fmla="*/ 9931 h 16036"/>
                <a:gd name="T6" fmla="*/ 13248 w 16419"/>
                <a:gd name="T7" fmla="*/ 12967 h 16036"/>
                <a:gd name="T8" fmla="*/ 4590 w 16419"/>
                <a:gd name="T9" fmla="*/ 10655 h 16036"/>
                <a:gd name="T10" fmla="*/ 4429 w 16419"/>
                <a:gd name="T11" fmla="*/ 12231 h 16036"/>
                <a:gd name="T12" fmla="*/ 2147 w 16419"/>
                <a:gd name="T13" fmla="*/ 11712 h 16036"/>
                <a:gd name="T14" fmla="*/ 1073 w 16419"/>
                <a:gd name="T15" fmla="*/ 8277 h 16036"/>
                <a:gd name="T16" fmla="*/ 4139 w 16419"/>
                <a:gd name="T17" fmla="*/ 4183 h 16036"/>
                <a:gd name="T18" fmla="*/ 4533 w 16419"/>
                <a:gd name="T19" fmla="*/ 5582 h 16036"/>
                <a:gd name="T20" fmla="*/ 1073 w 16419"/>
                <a:gd name="T21" fmla="*/ 7759 h 16036"/>
                <a:gd name="T22" fmla="*/ 1997 w 16419"/>
                <a:gd name="T23" fmla="*/ 4578 h 16036"/>
                <a:gd name="T24" fmla="*/ 9313 w 16419"/>
                <a:gd name="T25" fmla="*/ 5095 h 16036"/>
                <a:gd name="T26" fmla="*/ 11066 w 16419"/>
                <a:gd name="T27" fmla="*/ 4695 h 16036"/>
                <a:gd name="T28" fmla="*/ 11565 w 16419"/>
                <a:gd name="T29" fmla="*/ 6759 h 16036"/>
                <a:gd name="T30" fmla="*/ 10152 w 16419"/>
                <a:gd name="T31" fmla="*/ 11598 h 16036"/>
                <a:gd name="T32" fmla="*/ 8474 w 16419"/>
                <a:gd name="T33" fmla="*/ 11394 h 16036"/>
                <a:gd name="T34" fmla="*/ 11313 w 16419"/>
                <a:gd name="T35" fmla="*/ 10543 h 16036"/>
                <a:gd name="T36" fmla="*/ 12142 w 16419"/>
                <a:gd name="T37" fmla="*/ 12889 h 16036"/>
                <a:gd name="T38" fmla="*/ 11354 w 16419"/>
                <a:gd name="T39" fmla="*/ 14282 h 16036"/>
                <a:gd name="T40" fmla="*/ 9710 w 16419"/>
                <a:gd name="T41" fmla="*/ 14564 h 16036"/>
                <a:gd name="T42" fmla="*/ 10935 w 16419"/>
                <a:gd name="T43" fmla="*/ 12871 h 16036"/>
                <a:gd name="T44" fmla="*/ 9524 w 16419"/>
                <a:gd name="T45" fmla="*/ 12005 h 16036"/>
                <a:gd name="T46" fmla="*/ 10393 w 16419"/>
                <a:gd name="T47" fmla="*/ 12757 h 16036"/>
                <a:gd name="T48" fmla="*/ 8904 w 16419"/>
                <a:gd name="T49" fmla="*/ 14636 h 16036"/>
                <a:gd name="T50" fmla="*/ 5284 w 16419"/>
                <a:gd name="T51" fmla="*/ 14382 h 16036"/>
                <a:gd name="T52" fmla="*/ 4071 w 16419"/>
                <a:gd name="T53" fmla="*/ 13005 h 16036"/>
                <a:gd name="T54" fmla="*/ 5783 w 16419"/>
                <a:gd name="T55" fmla="*/ 13367 h 16036"/>
                <a:gd name="T56" fmla="*/ 7945 w 16419"/>
                <a:gd name="T57" fmla="*/ 8277 h 16036"/>
                <a:gd name="T58" fmla="*/ 6342 w 16419"/>
                <a:gd name="T59" fmla="*/ 11582 h 16036"/>
                <a:gd name="T60" fmla="*/ 5136 w 16419"/>
                <a:gd name="T61" fmla="*/ 10650 h 16036"/>
                <a:gd name="T62" fmla="*/ 7945 w 16419"/>
                <a:gd name="T63" fmla="*/ 8277 h 16036"/>
                <a:gd name="T64" fmla="*/ 7024 w 16419"/>
                <a:gd name="T65" fmla="*/ 5084 h 16036"/>
                <a:gd name="T66" fmla="*/ 4843 w 16419"/>
                <a:gd name="T67" fmla="*/ 6857 h 16036"/>
                <a:gd name="T68" fmla="*/ 5321 w 16419"/>
                <a:gd name="T69" fmla="*/ 4784 h 16036"/>
                <a:gd name="T70" fmla="*/ 3667 w 16419"/>
                <a:gd name="T71" fmla="*/ 3305 h 16036"/>
                <a:gd name="T72" fmla="*/ 5215 w 16419"/>
                <a:gd name="T73" fmla="*/ 1684 h 16036"/>
                <a:gd name="T74" fmla="*/ 6448 w 16419"/>
                <a:gd name="T75" fmla="*/ 1771 h 16036"/>
                <a:gd name="T76" fmla="*/ 5148 w 16419"/>
                <a:gd name="T77" fmla="*/ 3833 h 16036"/>
                <a:gd name="T78" fmla="*/ 6569 w 16419"/>
                <a:gd name="T79" fmla="*/ 4486 h 16036"/>
                <a:gd name="T80" fmla="*/ 6014 w 16419"/>
                <a:gd name="T81" fmla="*/ 3301 h 16036"/>
                <a:gd name="T82" fmla="*/ 7732 w 16419"/>
                <a:gd name="T83" fmla="*/ 1205 h 16036"/>
                <a:gd name="T84" fmla="*/ 11565 w 16419"/>
                <a:gd name="T85" fmla="*/ 1859 h 16036"/>
                <a:gd name="T86" fmla="*/ 12421 w 16419"/>
                <a:gd name="T87" fmla="*/ 3513 h 16036"/>
                <a:gd name="T88" fmla="*/ 11123 w 16419"/>
                <a:gd name="T89" fmla="*/ 3527 h 16036"/>
                <a:gd name="T90" fmla="*/ 9758 w 16419"/>
                <a:gd name="T91" fmla="*/ 1525 h 16036"/>
                <a:gd name="T92" fmla="*/ 9852 w 16419"/>
                <a:gd name="T93" fmla="*/ 2463 h 16036"/>
                <a:gd name="T94" fmla="*/ 10437 w 16419"/>
                <a:gd name="T95" fmla="*/ 4348 h 16036"/>
                <a:gd name="T96" fmla="*/ 8786 w 16419"/>
                <a:gd name="T97" fmla="*/ 4626 h 16036"/>
                <a:gd name="T98" fmla="*/ 6848 w 16419"/>
                <a:gd name="T99" fmla="*/ 13930 h 16036"/>
                <a:gd name="T100" fmla="*/ 6020 w 16419"/>
                <a:gd name="T101" fmla="*/ 12187 h 16036"/>
                <a:gd name="T102" fmla="*/ 7521 w 16419"/>
                <a:gd name="T103" fmla="*/ 11934 h 16036"/>
                <a:gd name="T104" fmla="*/ 12063 w 16419"/>
                <a:gd name="T105" fmla="*/ 6494 h 16036"/>
                <a:gd name="T106" fmla="*/ 11695 w 16419"/>
                <a:gd name="T107" fmla="*/ 4461 h 16036"/>
                <a:gd name="T108" fmla="*/ 13078 w 16419"/>
                <a:gd name="T109" fmla="*/ 3710 h 16036"/>
                <a:gd name="T110" fmla="*/ 14700 w 16419"/>
                <a:gd name="T111" fmla="*/ 5106 h 16036"/>
                <a:gd name="T112" fmla="*/ 6960 w 16419"/>
                <a:gd name="T113" fmla="*/ 92 h 16036"/>
                <a:gd name="T114" fmla="*/ 498 w 16419"/>
                <a:gd name="T115" fmla="*/ 5261 h 16036"/>
                <a:gd name="T116" fmla="*/ 2132 w 16419"/>
                <a:gd name="T117" fmla="*/ 13409 h 16036"/>
                <a:gd name="T118" fmla="*/ 10261 w 16419"/>
                <a:gd name="T119" fmla="*/ 15783 h 16036"/>
                <a:gd name="T120" fmla="*/ 16160 w 16419"/>
                <a:gd name="T121" fmla="*/ 10021 h 16036"/>
                <a:gd name="T122" fmla="*/ 13729 w 16419"/>
                <a:gd name="T123" fmla="*/ 2083 h 160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19" h="16036">
                  <a:moveTo>
                    <a:pt x="13248" y="12967"/>
                  </a:moveTo>
                  <a:lnTo>
                    <a:pt x="13139" y="12892"/>
                  </a:lnTo>
                  <a:lnTo>
                    <a:pt x="13030" y="12819"/>
                  </a:lnTo>
                  <a:lnTo>
                    <a:pt x="12919" y="12748"/>
                  </a:lnTo>
                  <a:lnTo>
                    <a:pt x="12807" y="12676"/>
                  </a:lnTo>
                  <a:lnTo>
                    <a:pt x="12693" y="12608"/>
                  </a:lnTo>
                  <a:lnTo>
                    <a:pt x="12579" y="12541"/>
                  </a:lnTo>
                  <a:lnTo>
                    <a:pt x="12463" y="12476"/>
                  </a:lnTo>
                  <a:lnTo>
                    <a:pt x="12347" y="12413"/>
                  </a:lnTo>
                  <a:lnTo>
                    <a:pt x="12229" y="12351"/>
                  </a:lnTo>
                  <a:lnTo>
                    <a:pt x="12110" y="12291"/>
                  </a:lnTo>
                  <a:lnTo>
                    <a:pt x="12051" y="12261"/>
                  </a:lnTo>
                  <a:lnTo>
                    <a:pt x="11990" y="12231"/>
                  </a:lnTo>
                  <a:lnTo>
                    <a:pt x="11930" y="12203"/>
                  </a:lnTo>
                  <a:lnTo>
                    <a:pt x="11869" y="12175"/>
                  </a:lnTo>
                  <a:lnTo>
                    <a:pt x="11808" y="12147"/>
                  </a:lnTo>
                  <a:lnTo>
                    <a:pt x="11747" y="12120"/>
                  </a:lnTo>
                  <a:lnTo>
                    <a:pt x="11686" y="12094"/>
                  </a:lnTo>
                  <a:lnTo>
                    <a:pt x="11625" y="12068"/>
                  </a:lnTo>
                  <a:lnTo>
                    <a:pt x="11562" y="12042"/>
                  </a:lnTo>
                  <a:lnTo>
                    <a:pt x="11499" y="12017"/>
                  </a:lnTo>
                  <a:lnTo>
                    <a:pt x="11438" y="11992"/>
                  </a:lnTo>
                  <a:lnTo>
                    <a:pt x="11374" y="11968"/>
                  </a:lnTo>
                  <a:lnTo>
                    <a:pt x="11419" y="11863"/>
                  </a:lnTo>
                  <a:lnTo>
                    <a:pt x="11463" y="11756"/>
                  </a:lnTo>
                  <a:lnTo>
                    <a:pt x="11505" y="11649"/>
                  </a:lnTo>
                  <a:lnTo>
                    <a:pt x="11546" y="11541"/>
                  </a:lnTo>
                  <a:lnTo>
                    <a:pt x="11585" y="11433"/>
                  </a:lnTo>
                  <a:lnTo>
                    <a:pt x="11624" y="11323"/>
                  </a:lnTo>
                  <a:lnTo>
                    <a:pt x="11661" y="11214"/>
                  </a:lnTo>
                  <a:lnTo>
                    <a:pt x="11696" y="11104"/>
                  </a:lnTo>
                  <a:lnTo>
                    <a:pt x="11731" y="10993"/>
                  </a:lnTo>
                  <a:lnTo>
                    <a:pt x="11765" y="10880"/>
                  </a:lnTo>
                  <a:lnTo>
                    <a:pt x="11798" y="10768"/>
                  </a:lnTo>
                  <a:lnTo>
                    <a:pt x="11829" y="10655"/>
                  </a:lnTo>
                  <a:lnTo>
                    <a:pt x="11859" y="10542"/>
                  </a:lnTo>
                  <a:lnTo>
                    <a:pt x="11887" y="10427"/>
                  </a:lnTo>
                  <a:lnTo>
                    <a:pt x="11914" y="10312"/>
                  </a:lnTo>
                  <a:lnTo>
                    <a:pt x="11941" y="10197"/>
                  </a:lnTo>
                  <a:lnTo>
                    <a:pt x="11965" y="10081"/>
                  </a:lnTo>
                  <a:lnTo>
                    <a:pt x="11988" y="9964"/>
                  </a:lnTo>
                  <a:lnTo>
                    <a:pt x="12010" y="9847"/>
                  </a:lnTo>
                  <a:lnTo>
                    <a:pt x="12031" y="9729"/>
                  </a:lnTo>
                  <a:lnTo>
                    <a:pt x="12051" y="9611"/>
                  </a:lnTo>
                  <a:lnTo>
                    <a:pt x="12068" y="9492"/>
                  </a:lnTo>
                  <a:lnTo>
                    <a:pt x="12084" y="9373"/>
                  </a:lnTo>
                  <a:lnTo>
                    <a:pt x="12100" y="9253"/>
                  </a:lnTo>
                  <a:lnTo>
                    <a:pt x="12113" y="9133"/>
                  </a:lnTo>
                  <a:lnTo>
                    <a:pt x="12126" y="9011"/>
                  </a:lnTo>
                  <a:lnTo>
                    <a:pt x="12137" y="8890"/>
                  </a:lnTo>
                  <a:lnTo>
                    <a:pt x="12147" y="8769"/>
                  </a:lnTo>
                  <a:lnTo>
                    <a:pt x="12155" y="8646"/>
                  </a:lnTo>
                  <a:lnTo>
                    <a:pt x="12161" y="8523"/>
                  </a:lnTo>
                  <a:lnTo>
                    <a:pt x="12166" y="8400"/>
                  </a:lnTo>
                  <a:lnTo>
                    <a:pt x="12171" y="8277"/>
                  </a:lnTo>
                  <a:lnTo>
                    <a:pt x="15347" y="8277"/>
                  </a:lnTo>
                  <a:lnTo>
                    <a:pt x="15337" y="8448"/>
                  </a:lnTo>
                  <a:lnTo>
                    <a:pt x="15325" y="8617"/>
                  </a:lnTo>
                  <a:lnTo>
                    <a:pt x="15309" y="8786"/>
                  </a:lnTo>
                  <a:lnTo>
                    <a:pt x="15287" y="8954"/>
                  </a:lnTo>
                  <a:lnTo>
                    <a:pt x="15262" y="9119"/>
                  </a:lnTo>
                  <a:lnTo>
                    <a:pt x="15234" y="9285"/>
                  </a:lnTo>
                  <a:lnTo>
                    <a:pt x="15201" y="9449"/>
                  </a:lnTo>
                  <a:lnTo>
                    <a:pt x="15164" y="9612"/>
                  </a:lnTo>
                  <a:lnTo>
                    <a:pt x="15124" y="9772"/>
                  </a:lnTo>
                  <a:lnTo>
                    <a:pt x="15080" y="9931"/>
                  </a:lnTo>
                  <a:lnTo>
                    <a:pt x="15032" y="10090"/>
                  </a:lnTo>
                  <a:lnTo>
                    <a:pt x="14980" y="10246"/>
                  </a:lnTo>
                  <a:lnTo>
                    <a:pt x="14925" y="10400"/>
                  </a:lnTo>
                  <a:lnTo>
                    <a:pt x="14866" y="10554"/>
                  </a:lnTo>
                  <a:lnTo>
                    <a:pt x="14804" y="10705"/>
                  </a:lnTo>
                  <a:lnTo>
                    <a:pt x="14738" y="10854"/>
                  </a:lnTo>
                  <a:lnTo>
                    <a:pt x="14668" y="11002"/>
                  </a:lnTo>
                  <a:lnTo>
                    <a:pt x="14596" y="11148"/>
                  </a:lnTo>
                  <a:lnTo>
                    <a:pt x="14521" y="11292"/>
                  </a:lnTo>
                  <a:lnTo>
                    <a:pt x="14441" y="11434"/>
                  </a:lnTo>
                  <a:lnTo>
                    <a:pt x="14358" y="11574"/>
                  </a:lnTo>
                  <a:lnTo>
                    <a:pt x="14272" y="11712"/>
                  </a:lnTo>
                  <a:lnTo>
                    <a:pt x="14183" y="11848"/>
                  </a:lnTo>
                  <a:lnTo>
                    <a:pt x="14092" y="11981"/>
                  </a:lnTo>
                  <a:lnTo>
                    <a:pt x="13996" y="12113"/>
                  </a:lnTo>
                  <a:lnTo>
                    <a:pt x="13898" y="12241"/>
                  </a:lnTo>
                  <a:lnTo>
                    <a:pt x="13797" y="12369"/>
                  </a:lnTo>
                  <a:lnTo>
                    <a:pt x="13693" y="12493"/>
                  </a:lnTo>
                  <a:lnTo>
                    <a:pt x="13586" y="12615"/>
                  </a:lnTo>
                  <a:lnTo>
                    <a:pt x="13476" y="12735"/>
                  </a:lnTo>
                  <a:lnTo>
                    <a:pt x="13364" y="12852"/>
                  </a:lnTo>
                  <a:lnTo>
                    <a:pt x="13248" y="12967"/>
                  </a:lnTo>
                  <a:close/>
                  <a:moveTo>
                    <a:pt x="1073" y="8277"/>
                  </a:moveTo>
                  <a:lnTo>
                    <a:pt x="4248" y="8277"/>
                  </a:lnTo>
                  <a:lnTo>
                    <a:pt x="4253" y="8400"/>
                  </a:lnTo>
                  <a:lnTo>
                    <a:pt x="4258" y="8523"/>
                  </a:lnTo>
                  <a:lnTo>
                    <a:pt x="4265" y="8646"/>
                  </a:lnTo>
                  <a:lnTo>
                    <a:pt x="4273" y="8769"/>
                  </a:lnTo>
                  <a:lnTo>
                    <a:pt x="4282" y="8890"/>
                  </a:lnTo>
                  <a:lnTo>
                    <a:pt x="4294" y="9011"/>
                  </a:lnTo>
                  <a:lnTo>
                    <a:pt x="4306" y="9133"/>
                  </a:lnTo>
                  <a:lnTo>
                    <a:pt x="4319" y="9253"/>
                  </a:lnTo>
                  <a:lnTo>
                    <a:pt x="4335" y="9373"/>
                  </a:lnTo>
                  <a:lnTo>
                    <a:pt x="4351" y="9492"/>
                  </a:lnTo>
                  <a:lnTo>
                    <a:pt x="4370" y="9611"/>
                  </a:lnTo>
                  <a:lnTo>
                    <a:pt x="4388" y="9729"/>
                  </a:lnTo>
                  <a:lnTo>
                    <a:pt x="4410" y="9847"/>
                  </a:lnTo>
                  <a:lnTo>
                    <a:pt x="4431" y="9964"/>
                  </a:lnTo>
                  <a:lnTo>
                    <a:pt x="4455" y="10081"/>
                  </a:lnTo>
                  <a:lnTo>
                    <a:pt x="4479" y="10197"/>
                  </a:lnTo>
                  <a:lnTo>
                    <a:pt x="4505" y="10312"/>
                  </a:lnTo>
                  <a:lnTo>
                    <a:pt x="4533" y="10427"/>
                  </a:lnTo>
                  <a:lnTo>
                    <a:pt x="4560" y="10542"/>
                  </a:lnTo>
                  <a:lnTo>
                    <a:pt x="4590" y="10655"/>
                  </a:lnTo>
                  <a:lnTo>
                    <a:pt x="4622" y="10768"/>
                  </a:lnTo>
                  <a:lnTo>
                    <a:pt x="4654" y="10880"/>
                  </a:lnTo>
                  <a:lnTo>
                    <a:pt x="4688" y="10993"/>
                  </a:lnTo>
                  <a:lnTo>
                    <a:pt x="4723" y="11104"/>
                  </a:lnTo>
                  <a:lnTo>
                    <a:pt x="4758" y="11214"/>
                  </a:lnTo>
                  <a:lnTo>
                    <a:pt x="4795" y="11323"/>
                  </a:lnTo>
                  <a:lnTo>
                    <a:pt x="4834" y="11433"/>
                  </a:lnTo>
                  <a:lnTo>
                    <a:pt x="4874" y="11541"/>
                  </a:lnTo>
                  <a:lnTo>
                    <a:pt x="4915" y="11649"/>
                  </a:lnTo>
                  <a:lnTo>
                    <a:pt x="4958" y="11756"/>
                  </a:lnTo>
                  <a:lnTo>
                    <a:pt x="5001" y="11863"/>
                  </a:lnTo>
                  <a:lnTo>
                    <a:pt x="5045" y="11968"/>
                  </a:lnTo>
                  <a:lnTo>
                    <a:pt x="4982" y="11992"/>
                  </a:lnTo>
                  <a:lnTo>
                    <a:pt x="4920" y="12017"/>
                  </a:lnTo>
                  <a:lnTo>
                    <a:pt x="4857" y="12042"/>
                  </a:lnTo>
                  <a:lnTo>
                    <a:pt x="4795" y="12068"/>
                  </a:lnTo>
                  <a:lnTo>
                    <a:pt x="4734" y="12094"/>
                  </a:lnTo>
                  <a:lnTo>
                    <a:pt x="4672" y="12120"/>
                  </a:lnTo>
                  <a:lnTo>
                    <a:pt x="4611" y="12147"/>
                  </a:lnTo>
                  <a:lnTo>
                    <a:pt x="4550" y="12175"/>
                  </a:lnTo>
                  <a:lnTo>
                    <a:pt x="4490" y="12203"/>
                  </a:lnTo>
                  <a:lnTo>
                    <a:pt x="4429" y="12231"/>
                  </a:lnTo>
                  <a:lnTo>
                    <a:pt x="4370" y="12261"/>
                  </a:lnTo>
                  <a:lnTo>
                    <a:pt x="4309" y="12291"/>
                  </a:lnTo>
                  <a:lnTo>
                    <a:pt x="4191" y="12351"/>
                  </a:lnTo>
                  <a:lnTo>
                    <a:pt x="4073" y="12413"/>
                  </a:lnTo>
                  <a:lnTo>
                    <a:pt x="3956" y="12476"/>
                  </a:lnTo>
                  <a:lnTo>
                    <a:pt x="3841" y="12541"/>
                  </a:lnTo>
                  <a:lnTo>
                    <a:pt x="3726" y="12608"/>
                  </a:lnTo>
                  <a:lnTo>
                    <a:pt x="3613" y="12676"/>
                  </a:lnTo>
                  <a:lnTo>
                    <a:pt x="3501" y="12748"/>
                  </a:lnTo>
                  <a:lnTo>
                    <a:pt x="3389" y="12819"/>
                  </a:lnTo>
                  <a:lnTo>
                    <a:pt x="3280" y="12892"/>
                  </a:lnTo>
                  <a:lnTo>
                    <a:pt x="3171" y="12967"/>
                  </a:lnTo>
                  <a:lnTo>
                    <a:pt x="3056" y="12852"/>
                  </a:lnTo>
                  <a:lnTo>
                    <a:pt x="2943" y="12735"/>
                  </a:lnTo>
                  <a:lnTo>
                    <a:pt x="2833" y="12615"/>
                  </a:lnTo>
                  <a:lnTo>
                    <a:pt x="2727" y="12493"/>
                  </a:lnTo>
                  <a:lnTo>
                    <a:pt x="2623" y="12369"/>
                  </a:lnTo>
                  <a:lnTo>
                    <a:pt x="2521" y="12241"/>
                  </a:lnTo>
                  <a:lnTo>
                    <a:pt x="2423" y="12113"/>
                  </a:lnTo>
                  <a:lnTo>
                    <a:pt x="2328" y="11981"/>
                  </a:lnTo>
                  <a:lnTo>
                    <a:pt x="2236" y="11848"/>
                  </a:lnTo>
                  <a:lnTo>
                    <a:pt x="2147" y="11712"/>
                  </a:lnTo>
                  <a:lnTo>
                    <a:pt x="2062" y="11574"/>
                  </a:lnTo>
                  <a:lnTo>
                    <a:pt x="1978" y="11434"/>
                  </a:lnTo>
                  <a:lnTo>
                    <a:pt x="1899" y="11292"/>
                  </a:lnTo>
                  <a:lnTo>
                    <a:pt x="1824" y="11148"/>
                  </a:lnTo>
                  <a:lnTo>
                    <a:pt x="1751" y="11002"/>
                  </a:lnTo>
                  <a:lnTo>
                    <a:pt x="1682" y="10854"/>
                  </a:lnTo>
                  <a:lnTo>
                    <a:pt x="1615" y="10705"/>
                  </a:lnTo>
                  <a:lnTo>
                    <a:pt x="1554" y="10554"/>
                  </a:lnTo>
                  <a:lnTo>
                    <a:pt x="1494" y="10400"/>
                  </a:lnTo>
                  <a:lnTo>
                    <a:pt x="1440" y="10246"/>
                  </a:lnTo>
                  <a:lnTo>
                    <a:pt x="1387" y="10090"/>
                  </a:lnTo>
                  <a:lnTo>
                    <a:pt x="1340" y="9931"/>
                  </a:lnTo>
                  <a:lnTo>
                    <a:pt x="1296" y="9772"/>
                  </a:lnTo>
                  <a:lnTo>
                    <a:pt x="1255" y="9612"/>
                  </a:lnTo>
                  <a:lnTo>
                    <a:pt x="1219" y="9449"/>
                  </a:lnTo>
                  <a:lnTo>
                    <a:pt x="1186" y="9285"/>
                  </a:lnTo>
                  <a:lnTo>
                    <a:pt x="1158" y="9119"/>
                  </a:lnTo>
                  <a:lnTo>
                    <a:pt x="1132" y="8954"/>
                  </a:lnTo>
                  <a:lnTo>
                    <a:pt x="1111" y="8786"/>
                  </a:lnTo>
                  <a:lnTo>
                    <a:pt x="1095" y="8617"/>
                  </a:lnTo>
                  <a:lnTo>
                    <a:pt x="1082" y="8448"/>
                  </a:lnTo>
                  <a:lnTo>
                    <a:pt x="1073" y="8277"/>
                  </a:lnTo>
                  <a:close/>
                  <a:moveTo>
                    <a:pt x="2878" y="3381"/>
                  </a:moveTo>
                  <a:lnTo>
                    <a:pt x="2935" y="3423"/>
                  </a:lnTo>
                  <a:lnTo>
                    <a:pt x="2992" y="3466"/>
                  </a:lnTo>
                  <a:lnTo>
                    <a:pt x="3050" y="3507"/>
                  </a:lnTo>
                  <a:lnTo>
                    <a:pt x="3107" y="3549"/>
                  </a:lnTo>
                  <a:lnTo>
                    <a:pt x="3165" y="3590"/>
                  </a:lnTo>
                  <a:lnTo>
                    <a:pt x="3223" y="3630"/>
                  </a:lnTo>
                  <a:lnTo>
                    <a:pt x="3282" y="3670"/>
                  </a:lnTo>
                  <a:lnTo>
                    <a:pt x="3341" y="3710"/>
                  </a:lnTo>
                  <a:lnTo>
                    <a:pt x="3401" y="3749"/>
                  </a:lnTo>
                  <a:lnTo>
                    <a:pt x="3460" y="3789"/>
                  </a:lnTo>
                  <a:lnTo>
                    <a:pt x="3521" y="3827"/>
                  </a:lnTo>
                  <a:lnTo>
                    <a:pt x="3581" y="3865"/>
                  </a:lnTo>
                  <a:lnTo>
                    <a:pt x="3642" y="3902"/>
                  </a:lnTo>
                  <a:lnTo>
                    <a:pt x="3702" y="3939"/>
                  </a:lnTo>
                  <a:lnTo>
                    <a:pt x="3764" y="3975"/>
                  </a:lnTo>
                  <a:lnTo>
                    <a:pt x="3826" y="4011"/>
                  </a:lnTo>
                  <a:lnTo>
                    <a:pt x="3887" y="4046"/>
                  </a:lnTo>
                  <a:lnTo>
                    <a:pt x="3950" y="4081"/>
                  </a:lnTo>
                  <a:lnTo>
                    <a:pt x="4012" y="4116"/>
                  </a:lnTo>
                  <a:lnTo>
                    <a:pt x="4076" y="4150"/>
                  </a:lnTo>
                  <a:lnTo>
                    <a:pt x="4139" y="4183"/>
                  </a:lnTo>
                  <a:lnTo>
                    <a:pt x="4202" y="4216"/>
                  </a:lnTo>
                  <a:lnTo>
                    <a:pt x="4267" y="4249"/>
                  </a:lnTo>
                  <a:lnTo>
                    <a:pt x="4331" y="4281"/>
                  </a:lnTo>
                  <a:lnTo>
                    <a:pt x="4395" y="4312"/>
                  </a:lnTo>
                  <a:lnTo>
                    <a:pt x="4461" y="4343"/>
                  </a:lnTo>
                  <a:lnTo>
                    <a:pt x="4525" y="4374"/>
                  </a:lnTo>
                  <a:lnTo>
                    <a:pt x="4591" y="4403"/>
                  </a:lnTo>
                  <a:lnTo>
                    <a:pt x="4657" y="4432"/>
                  </a:lnTo>
                  <a:lnTo>
                    <a:pt x="4724" y="4461"/>
                  </a:lnTo>
                  <a:lnTo>
                    <a:pt x="4789" y="4489"/>
                  </a:lnTo>
                  <a:lnTo>
                    <a:pt x="4856" y="4517"/>
                  </a:lnTo>
                  <a:lnTo>
                    <a:pt x="4822" y="4611"/>
                  </a:lnTo>
                  <a:lnTo>
                    <a:pt x="4789" y="4706"/>
                  </a:lnTo>
                  <a:lnTo>
                    <a:pt x="4756" y="4801"/>
                  </a:lnTo>
                  <a:lnTo>
                    <a:pt x="4726" y="4897"/>
                  </a:lnTo>
                  <a:lnTo>
                    <a:pt x="4695" y="4993"/>
                  </a:lnTo>
                  <a:lnTo>
                    <a:pt x="4665" y="5090"/>
                  </a:lnTo>
                  <a:lnTo>
                    <a:pt x="4637" y="5188"/>
                  </a:lnTo>
                  <a:lnTo>
                    <a:pt x="4610" y="5285"/>
                  </a:lnTo>
                  <a:lnTo>
                    <a:pt x="4583" y="5383"/>
                  </a:lnTo>
                  <a:lnTo>
                    <a:pt x="4557" y="5482"/>
                  </a:lnTo>
                  <a:lnTo>
                    <a:pt x="4533" y="5582"/>
                  </a:lnTo>
                  <a:lnTo>
                    <a:pt x="4509" y="5681"/>
                  </a:lnTo>
                  <a:lnTo>
                    <a:pt x="4486" y="5781"/>
                  </a:lnTo>
                  <a:lnTo>
                    <a:pt x="4465" y="5881"/>
                  </a:lnTo>
                  <a:lnTo>
                    <a:pt x="4444" y="5982"/>
                  </a:lnTo>
                  <a:lnTo>
                    <a:pt x="4425" y="6084"/>
                  </a:lnTo>
                  <a:lnTo>
                    <a:pt x="4406" y="6186"/>
                  </a:lnTo>
                  <a:lnTo>
                    <a:pt x="4388" y="6288"/>
                  </a:lnTo>
                  <a:lnTo>
                    <a:pt x="4372" y="6391"/>
                  </a:lnTo>
                  <a:lnTo>
                    <a:pt x="4356" y="6494"/>
                  </a:lnTo>
                  <a:lnTo>
                    <a:pt x="4342" y="6598"/>
                  </a:lnTo>
                  <a:lnTo>
                    <a:pt x="4328" y="6701"/>
                  </a:lnTo>
                  <a:lnTo>
                    <a:pt x="4315" y="6805"/>
                  </a:lnTo>
                  <a:lnTo>
                    <a:pt x="4304" y="6911"/>
                  </a:lnTo>
                  <a:lnTo>
                    <a:pt x="4294" y="7015"/>
                  </a:lnTo>
                  <a:lnTo>
                    <a:pt x="4284" y="7120"/>
                  </a:lnTo>
                  <a:lnTo>
                    <a:pt x="4275" y="7226"/>
                  </a:lnTo>
                  <a:lnTo>
                    <a:pt x="4268" y="7332"/>
                  </a:lnTo>
                  <a:lnTo>
                    <a:pt x="4262" y="7439"/>
                  </a:lnTo>
                  <a:lnTo>
                    <a:pt x="4257" y="7545"/>
                  </a:lnTo>
                  <a:lnTo>
                    <a:pt x="4253" y="7652"/>
                  </a:lnTo>
                  <a:lnTo>
                    <a:pt x="4248" y="7759"/>
                  </a:lnTo>
                  <a:lnTo>
                    <a:pt x="1073" y="7759"/>
                  </a:lnTo>
                  <a:lnTo>
                    <a:pt x="1081" y="7602"/>
                  </a:lnTo>
                  <a:lnTo>
                    <a:pt x="1092" y="7446"/>
                  </a:lnTo>
                  <a:lnTo>
                    <a:pt x="1107" y="7291"/>
                  </a:lnTo>
                  <a:lnTo>
                    <a:pt x="1125" y="7137"/>
                  </a:lnTo>
                  <a:lnTo>
                    <a:pt x="1146" y="6984"/>
                  </a:lnTo>
                  <a:lnTo>
                    <a:pt x="1171" y="6832"/>
                  </a:lnTo>
                  <a:lnTo>
                    <a:pt x="1200" y="6681"/>
                  </a:lnTo>
                  <a:lnTo>
                    <a:pt x="1231" y="6532"/>
                  </a:lnTo>
                  <a:lnTo>
                    <a:pt x="1265" y="6383"/>
                  </a:lnTo>
                  <a:lnTo>
                    <a:pt x="1304" y="6236"/>
                  </a:lnTo>
                  <a:lnTo>
                    <a:pt x="1345" y="6090"/>
                  </a:lnTo>
                  <a:lnTo>
                    <a:pt x="1389" y="5945"/>
                  </a:lnTo>
                  <a:lnTo>
                    <a:pt x="1437" y="5802"/>
                  </a:lnTo>
                  <a:lnTo>
                    <a:pt x="1487" y="5660"/>
                  </a:lnTo>
                  <a:lnTo>
                    <a:pt x="1540" y="5519"/>
                  </a:lnTo>
                  <a:lnTo>
                    <a:pt x="1597" y="5380"/>
                  </a:lnTo>
                  <a:lnTo>
                    <a:pt x="1656" y="5243"/>
                  </a:lnTo>
                  <a:lnTo>
                    <a:pt x="1719" y="5106"/>
                  </a:lnTo>
                  <a:lnTo>
                    <a:pt x="1785" y="4972"/>
                  </a:lnTo>
                  <a:lnTo>
                    <a:pt x="1852" y="4839"/>
                  </a:lnTo>
                  <a:lnTo>
                    <a:pt x="1923" y="4708"/>
                  </a:lnTo>
                  <a:lnTo>
                    <a:pt x="1997" y="4578"/>
                  </a:lnTo>
                  <a:lnTo>
                    <a:pt x="2074" y="4450"/>
                  </a:lnTo>
                  <a:lnTo>
                    <a:pt x="2153" y="4324"/>
                  </a:lnTo>
                  <a:lnTo>
                    <a:pt x="2234" y="4199"/>
                  </a:lnTo>
                  <a:lnTo>
                    <a:pt x="2319" y="4076"/>
                  </a:lnTo>
                  <a:lnTo>
                    <a:pt x="2405" y="3956"/>
                  </a:lnTo>
                  <a:lnTo>
                    <a:pt x="2496" y="3837"/>
                  </a:lnTo>
                  <a:lnTo>
                    <a:pt x="2587" y="3719"/>
                  </a:lnTo>
                  <a:lnTo>
                    <a:pt x="2681" y="3605"/>
                  </a:lnTo>
                  <a:lnTo>
                    <a:pt x="2779" y="3492"/>
                  </a:lnTo>
                  <a:lnTo>
                    <a:pt x="2878" y="3381"/>
                  </a:lnTo>
                  <a:close/>
                  <a:moveTo>
                    <a:pt x="8474" y="7759"/>
                  </a:moveTo>
                  <a:lnTo>
                    <a:pt x="8474" y="5160"/>
                  </a:lnTo>
                  <a:lnTo>
                    <a:pt x="8559" y="5157"/>
                  </a:lnTo>
                  <a:lnTo>
                    <a:pt x="8644" y="5153"/>
                  </a:lnTo>
                  <a:lnTo>
                    <a:pt x="8728" y="5149"/>
                  </a:lnTo>
                  <a:lnTo>
                    <a:pt x="8812" y="5143"/>
                  </a:lnTo>
                  <a:lnTo>
                    <a:pt x="8896" y="5137"/>
                  </a:lnTo>
                  <a:lnTo>
                    <a:pt x="8980" y="5131"/>
                  </a:lnTo>
                  <a:lnTo>
                    <a:pt x="9063" y="5122"/>
                  </a:lnTo>
                  <a:lnTo>
                    <a:pt x="9146" y="5114"/>
                  </a:lnTo>
                  <a:lnTo>
                    <a:pt x="9230" y="5105"/>
                  </a:lnTo>
                  <a:lnTo>
                    <a:pt x="9313" y="5095"/>
                  </a:lnTo>
                  <a:lnTo>
                    <a:pt x="9395" y="5084"/>
                  </a:lnTo>
                  <a:lnTo>
                    <a:pt x="9477" y="5073"/>
                  </a:lnTo>
                  <a:lnTo>
                    <a:pt x="9559" y="5061"/>
                  </a:lnTo>
                  <a:lnTo>
                    <a:pt x="9641" y="5048"/>
                  </a:lnTo>
                  <a:lnTo>
                    <a:pt x="9723" y="5035"/>
                  </a:lnTo>
                  <a:lnTo>
                    <a:pt x="9804" y="5020"/>
                  </a:lnTo>
                  <a:lnTo>
                    <a:pt x="9885" y="5005"/>
                  </a:lnTo>
                  <a:lnTo>
                    <a:pt x="9965" y="4990"/>
                  </a:lnTo>
                  <a:lnTo>
                    <a:pt x="10046" y="4973"/>
                  </a:lnTo>
                  <a:lnTo>
                    <a:pt x="10126" y="4956"/>
                  </a:lnTo>
                  <a:lnTo>
                    <a:pt x="10206" y="4938"/>
                  </a:lnTo>
                  <a:lnTo>
                    <a:pt x="10287" y="4920"/>
                  </a:lnTo>
                  <a:lnTo>
                    <a:pt x="10366" y="4900"/>
                  </a:lnTo>
                  <a:lnTo>
                    <a:pt x="10445" y="4880"/>
                  </a:lnTo>
                  <a:lnTo>
                    <a:pt x="10524" y="4860"/>
                  </a:lnTo>
                  <a:lnTo>
                    <a:pt x="10602" y="4838"/>
                  </a:lnTo>
                  <a:lnTo>
                    <a:pt x="10681" y="4816"/>
                  </a:lnTo>
                  <a:lnTo>
                    <a:pt x="10759" y="4793"/>
                  </a:lnTo>
                  <a:lnTo>
                    <a:pt x="10836" y="4770"/>
                  </a:lnTo>
                  <a:lnTo>
                    <a:pt x="10914" y="4746"/>
                  </a:lnTo>
                  <a:lnTo>
                    <a:pt x="10990" y="4721"/>
                  </a:lnTo>
                  <a:lnTo>
                    <a:pt x="11066" y="4695"/>
                  </a:lnTo>
                  <a:lnTo>
                    <a:pt x="11099" y="4784"/>
                  </a:lnTo>
                  <a:lnTo>
                    <a:pt x="11130" y="4873"/>
                  </a:lnTo>
                  <a:lnTo>
                    <a:pt x="11161" y="4963"/>
                  </a:lnTo>
                  <a:lnTo>
                    <a:pt x="11191" y="5053"/>
                  </a:lnTo>
                  <a:lnTo>
                    <a:pt x="11219" y="5145"/>
                  </a:lnTo>
                  <a:lnTo>
                    <a:pt x="11247" y="5236"/>
                  </a:lnTo>
                  <a:lnTo>
                    <a:pt x="11274" y="5328"/>
                  </a:lnTo>
                  <a:lnTo>
                    <a:pt x="11299" y="5420"/>
                  </a:lnTo>
                  <a:lnTo>
                    <a:pt x="11325" y="5513"/>
                  </a:lnTo>
                  <a:lnTo>
                    <a:pt x="11349" y="5607"/>
                  </a:lnTo>
                  <a:lnTo>
                    <a:pt x="11372" y="5701"/>
                  </a:lnTo>
                  <a:lnTo>
                    <a:pt x="11395" y="5795"/>
                  </a:lnTo>
                  <a:lnTo>
                    <a:pt x="11415" y="5889"/>
                  </a:lnTo>
                  <a:lnTo>
                    <a:pt x="11436" y="5984"/>
                  </a:lnTo>
                  <a:lnTo>
                    <a:pt x="11455" y="6080"/>
                  </a:lnTo>
                  <a:lnTo>
                    <a:pt x="11474" y="6176"/>
                  </a:lnTo>
                  <a:lnTo>
                    <a:pt x="11491" y="6272"/>
                  </a:lnTo>
                  <a:lnTo>
                    <a:pt x="11509" y="6368"/>
                  </a:lnTo>
                  <a:lnTo>
                    <a:pt x="11524" y="6466"/>
                  </a:lnTo>
                  <a:lnTo>
                    <a:pt x="11538" y="6563"/>
                  </a:lnTo>
                  <a:lnTo>
                    <a:pt x="11553" y="6661"/>
                  </a:lnTo>
                  <a:lnTo>
                    <a:pt x="11565" y="6759"/>
                  </a:lnTo>
                  <a:lnTo>
                    <a:pt x="11577" y="6857"/>
                  </a:lnTo>
                  <a:lnTo>
                    <a:pt x="11589" y="6957"/>
                  </a:lnTo>
                  <a:lnTo>
                    <a:pt x="11598" y="7056"/>
                  </a:lnTo>
                  <a:lnTo>
                    <a:pt x="11607" y="7155"/>
                  </a:lnTo>
                  <a:lnTo>
                    <a:pt x="11615" y="7255"/>
                  </a:lnTo>
                  <a:lnTo>
                    <a:pt x="11623" y="7356"/>
                  </a:lnTo>
                  <a:lnTo>
                    <a:pt x="11629" y="7456"/>
                  </a:lnTo>
                  <a:lnTo>
                    <a:pt x="11634" y="7557"/>
                  </a:lnTo>
                  <a:lnTo>
                    <a:pt x="11638" y="7658"/>
                  </a:lnTo>
                  <a:lnTo>
                    <a:pt x="11641" y="7759"/>
                  </a:lnTo>
                  <a:lnTo>
                    <a:pt x="8474" y="7759"/>
                  </a:lnTo>
                  <a:close/>
                  <a:moveTo>
                    <a:pt x="10879" y="11791"/>
                  </a:moveTo>
                  <a:lnTo>
                    <a:pt x="10807" y="11768"/>
                  </a:lnTo>
                  <a:lnTo>
                    <a:pt x="10735" y="11747"/>
                  </a:lnTo>
                  <a:lnTo>
                    <a:pt x="10663" y="11726"/>
                  </a:lnTo>
                  <a:lnTo>
                    <a:pt x="10590" y="11706"/>
                  </a:lnTo>
                  <a:lnTo>
                    <a:pt x="10518" y="11686"/>
                  </a:lnTo>
                  <a:lnTo>
                    <a:pt x="10446" y="11667"/>
                  </a:lnTo>
                  <a:lnTo>
                    <a:pt x="10373" y="11649"/>
                  </a:lnTo>
                  <a:lnTo>
                    <a:pt x="10299" y="11631"/>
                  </a:lnTo>
                  <a:lnTo>
                    <a:pt x="10226" y="11614"/>
                  </a:lnTo>
                  <a:lnTo>
                    <a:pt x="10152" y="11598"/>
                  </a:lnTo>
                  <a:lnTo>
                    <a:pt x="10078" y="11582"/>
                  </a:lnTo>
                  <a:lnTo>
                    <a:pt x="10003" y="11566"/>
                  </a:lnTo>
                  <a:lnTo>
                    <a:pt x="9929" y="11552"/>
                  </a:lnTo>
                  <a:lnTo>
                    <a:pt x="9854" y="11538"/>
                  </a:lnTo>
                  <a:lnTo>
                    <a:pt x="9780" y="11525"/>
                  </a:lnTo>
                  <a:lnTo>
                    <a:pt x="9704" y="11512"/>
                  </a:lnTo>
                  <a:lnTo>
                    <a:pt x="9629" y="11500"/>
                  </a:lnTo>
                  <a:lnTo>
                    <a:pt x="9553" y="11488"/>
                  </a:lnTo>
                  <a:lnTo>
                    <a:pt x="9477" y="11477"/>
                  </a:lnTo>
                  <a:lnTo>
                    <a:pt x="9401" y="11467"/>
                  </a:lnTo>
                  <a:lnTo>
                    <a:pt x="9325" y="11458"/>
                  </a:lnTo>
                  <a:lnTo>
                    <a:pt x="9249" y="11449"/>
                  </a:lnTo>
                  <a:lnTo>
                    <a:pt x="9172" y="11440"/>
                  </a:lnTo>
                  <a:lnTo>
                    <a:pt x="9095" y="11433"/>
                  </a:lnTo>
                  <a:lnTo>
                    <a:pt x="9018" y="11425"/>
                  </a:lnTo>
                  <a:lnTo>
                    <a:pt x="8941" y="11419"/>
                  </a:lnTo>
                  <a:lnTo>
                    <a:pt x="8864" y="11413"/>
                  </a:lnTo>
                  <a:lnTo>
                    <a:pt x="8786" y="11408"/>
                  </a:lnTo>
                  <a:lnTo>
                    <a:pt x="8708" y="11404"/>
                  </a:lnTo>
                  <a:lnTo>
                    <a:pt x="8630" y="11400"/>
                  </a:lnTo>
                  <a:lnTo>
                    <a:pt x="8552" y="11396"/>
                  </a:lnTo>
                  <a:lnTo>
                    <a:pt x="8474" y="11394"/>
                  </a:lnTo>
                  <a:lnTo>
                    <a:pt x="8474" y="8277"/>
                  </a:lnTo>
                  <a:lnTo>
                    <a:pt x="11641" y="8277"/>
                  </a:lnTo>
                  <a:lnTo>
                    <a:pt x="11637" y="8394"/>
                  </a:lnTo>
                  <a:lnTo>
                    <a:pt x="11632" y="8512"/>
                  </a:lnTo>
                  <a:lnTo>
                    <a:pt x="11626" y="8628"/>
                  </a:lnTo>
                  <a:lnTo>
                    <a:pt x="11617" y="8746"/>
                  </a:lnTo>
                  <a:lnTo>
                    <a:pt x="11608" y="8862"/>
                  </a:lnTo>
                  <a:lnTo>
                    <a:pt x="11598" y="8977"/>
                  </a:lnTo>
                  <a:lnTo>
                    <a:pt x="11586" y="9092"/>
                  </a:lnTo>
                  <a:lnTo>
                    <a:pt x="11572" y="9207"/>
                  </a:lnTo>
                  <a:lnTo>
                    <a:pt x="11558" y="9321"/>
                  </a:lnTo>
                  <a:lnTo>
                    <a:pt x="11542" y="9435"/>
                  </a:lnTo>
                  <a:lnTo>
                    <a:pt x="11525" y="9548"/>
                  </a:lnTo>
                  <a:lnTo>
                    <a:pt x="11506" y="9661"/>
                  </a:lnTo>
                  <a:lnTo>
                    <a:pt x="11486" y="9773"/>
                  </a:lnTo>
                  <a:lnTo>
                    <a:pt x="11466" y="9884"/>
                  </a:lnTo>
                  <a:lnTo>
                    <a:pt x="11443" y="9995"/>
                  </a:lnTo>
                  <a:lnTo>
                    <a:pt x="11419" y="10106"/>
                  </a:lnTo>
                  <a:lnTo>
                    <a:pt x="11395" y="10216"/>
                  </a:lnTo>
                  <a:lnTo>
                    <a:pt x="11368" y="10325"/>
                  </a:lnTo>
                  <a:lnTo>
                    <a:pt x="11341" y="10434"/>
                  </a:lnTo>
                  <a:lnTo>
                    <a:pt x="11313" y="10543"/>
                  </a:lnTo>
                  <a:lnTo>
                    <a:pt x="11283" y="10650"/>
                  </a:lnTo>
                  <a:lnTo>
                    <a:pt x="11252" y="10757"/>
                  </a:lnTo>
                  <a:lnTo>
                    <a:pt x="11220" y="10863"/>
                  </a:lnTo>
                  <a:lnTo>
                    <a:pt x="11186" y="10969"/>
                  </a:lnTo>
                  <a:lnTo>
                    <a:pt x="11152" y="11074"/>
                  </a:lnTo>
                  <a:lnTo>
                    <a:pt x="11117" y="11178"/>
                  </a:lnTo>
                  <a:lnTo>
                    <a:pt x="11080" y="11282"/>
                  </a:lnTo>
                  <a:lnTo>
                    <a:pt x="11042" y="11386"/>
                  </a:lnTo>
                  <a:lnTo>
                    <a:pt x="11003" y="11488"/>
                  </a:lnTo>
                  <a:lnTo>
                    <a:pt x="10962" y="11590"/>
                  </a:lnTo>
                  <a:lnTo>
                    <a:pt x="10921" y="11690"/>
                  </a:lnTo>
                  <a:lnTo>
                    <a:pt x="10879" y="11791"/>
                  </a:lnTo>
                  <a:close/>
                  <a:moveTo>
                    <a:pt x="11162" y="12440"/>
                  </a:moveTo>
                  <a:lnTo>
                    <a:pt x="11275" y="12484"/>
                  </a:lnTo>
                  <a:lnTo>
                    <a:pt x="11387" y="12529"/>
                  </a:lnTo>
                  <a:lnTo>
                    <a:pt x="11497" y="12575"/>
                  </a:lnTo>
                  <a:lnTo>
                    <a:pt x="11606" y="12624"/>
                  </a:lnTo>
                  <a:lnTo>
                    <a:pt x="11715" y="12674"/>
                  </a:lnTo>
                  <a:lnTo>
                    <a:pt x="11824" y="12726"/>
                  </a:lnTo>
                  <a:lnTo>
                    <a:pt x="11930" y="12779"/>
                  </a:lnTo>
                  <a:lnTo>
                    <a:pt x="12036" y="12833"/>
                  </a:lnTo>
                  <a:lnTo>
                    <a:pt x="12142" y="12889"/>
                  </a:lnTo>
                  <a:lnTo>
                    <a:pt x="12245" y="12946"/>
                  </a:lnTo>
                  <a:lnTo>
                    <a:pt x="12349" y="13005"/>
                  </a:lnTo>
                  <a:lnTo>
                    <a:pt x="12451" y="13065"/>
                  </a:lnTo>
                  <a:lnTo>
                    <a:pt x="12552" y="13127"/>
                  </a:lnTo>
                  <a:lnTo>
                    <a:pt x="12653" y="13191"/>
                  </a:lnTo>
                  <a:lnTo>
                    <a:pt x="12751" y="13255"/>
                  </a:lnTo>
                  <a:lnTo>
                    <a:pt x="12850" y="13320"/>
                  </a:lnTo>
                  <a:lnTo>
                    <a:pt x="12759" y="13395"/>
                  </a:lnTo>
                  <a:lnTo>
                    <a:pt x="12666" y="13469"/>
                  </a:lnTo>
                  <a:lnTo>
                    <a:pt x="12573" y="13540"/>
                  </a:lnTo>
                  <a:lnTo>
                    <a:pt x="12477" y="13612"/>
                  </a:lnTo>
                  <a:lnTo>
                    <a:pt x="12381" y="13681"/>
                  </a:lnTo>
                  <a:lnTo>
                    <a:pt x="12283" y="13748"/>
                  </a:lnTo>
                  <a:lnTo>
                    <a:pt x="12185" y="13814"/>
                  </a:lnTo>
                  <a:lnTo>
                    <a:pt x="12084" y="13878"/>
                  </a:lnTo>
                  <a:lnTo>
                    <a:pt x="11984" y="13940"/>
                  </a:lnTo>
                  <a:lnTo>
                    <a:pt x="11881" y="14001"/>
                  </a:lnTo>
                  <a:lnTo>
                    <a:pt x="11779" y="14062"/>
                  </a:lnTo>
                  <a:lnTo>
                    <a:pt x="11674" y="14119"/>
                  </a:lnTo>
                  <a:lnTo>
                    <a:pt x="11568" y="14175"/>
                  </a:lnTo>
                  <a:lnTo>
                    <a:pt x="11461" y="14229"/>
                  </a:lnTo>
                  <a:lnTo>
                    <a:pt x="11354" y="14282"/>
                  </a:lnTo>
                  <a:lnTo>
                    <a:pt x="11245" y="14333"/>
                  </a:lnTo>
                  <a:lnTo>
                    <a:pt x="11136" y="14382"/>
                  </a:lnTo>
                  <a:lnTo>
                    <a:pt x="11025" y="14429"/>
                  </a:lnTo>
                  <a:lnTo>
                    <a:pt x="10914" y="14475"/>
                  </a:lnTo>
                  <a:lnTo>
                    <a:pt x="10802" y="14519"/>
                  </a:lnTo>
                  <a:lnTo>
                    <a:pt x="10688" y="14561"/>
                  </a:lnTo>
                  <a:lnTo>
                    <a:pt x="10573" y="14601"/>
                  </a:lnTo>
                  <a:lnTo>
                    <a:pt x="10458" y="14639"/>
                  </a:lnTo>
                  <a:lnTo>
                    <a:pt x="10342" y="14676"/>
                  </a:lnTo>
                  <a:lnTo>
                    <a:pt x="10225" y="14710"/>
                  </a:lnTo>
                  <a:lnTo>
                    <a:pt x="10107" y="14743"/>
                  </a:lnTo>
                  <a:lnTo>
                    <a:pt x="9989" y="14774"/>
                  </a:lnTo>
                  <a:lnTo>
                    <a:pt x="9869" y="14802"/>
                  </a:lnTo>
                  <a:lnTo>
                    <a:pt x="9749" y="14829"/>
                  </a:lnTo>
                  <a:lnTo>
                    <a:pt x="9628" y="14854"/>
                  </a:lnTo>
                  <a:lnTo>
                    <a:pt x="9507" y="14877"/>
                  </a:lnTo>
                  <a:lnTo>
                    <a:pt x="9383" y="14898"/>
                  </a:lnTo>
                  <a:lnTo>
                    <a:pt x="9450" y="14833"/>
                  </a:lnTo>
                  <a:lnTo>
                    <a:pt x="9516" y="14767"/>
                  </a:lnTo>
                  <a:lnTo>
                    <a:pt x="9582" y="14700"/>
                  </a:lnTo>
                  <a:lnTo>
                    <a:pt x="9645" y="14633"/>
                  </a:lnTo>
                  <a:lnTo>
                    <a:pt x="9710" y="14564"/>
                  </a:lnTo>
                  <a:lnTo>
                    <a:pt x="9772" y="14495"/>
                  </a:lnTo>
                  <a:lnTo>
                    <a:pt x="9835" y="14424"/>
                  </a:lnTo>
                  <a:lnTo>
                    <a:pt x="9897" y="14354"/>
                  </a:lnTo>
                  <a:lnTo>
                    <a:pt x="9958" y="14282"/>
                  </a:lnTo>
                  <a:lnTo>
                    <a:pt x="10019" y="14210"/>
                  </a:lnTo>
                  <a:lnTo>
                    <a:pt x="10078" y="14137"/>
                  </a:lnTo>
                  <a:lnTo>
                    <a:pt x="10138" y="14064"/>
                  </a:lnTo>
                  <a:lnTo>
                    <a:pt x="10195" y="13988"/>
                  </a:lnTo>
                  <a:lnTo>
                    <a:pt x="10254" y="13913"/>
                  </a:lnTo>
                  <a:lnTo>
                    <a:pt x="10310" y="13837"/>
                  </a:lnTo>
                  <a:lnTo>
                    <a:pt x="10367" y="13761"/>
                  </a:lnTo>
                  <a:lnTo>
                    <a:pt x="10422" y="13684"/>
                  </a:lnTo>
                  <a:lnTo>
                    <a:pt x="10476" y="13606"/>
                  </a:lnTo>
                  <a:lnTo>
                    <a:pt x="10531" y="13526"/>
                  </a:lnTo>
                  <a:lnTo>
                    <a:pt x="10584" y="13447"/>
                  </a:lnTo>
                  <a:lnTo>
                    <a:pt x="10636" y="13367"/>
                  </a:lnTo>
                  <a:lnTo>
                    <a:pt x="10688" y="13286"/>
                  </a:lnTo>
                  <a:lnTo>
                    <a:pt x="10739" y="13204"/>
                  </a:lnTo>
                  <a:lnTo>
                    <a:pt x="10789" y="13121"/>
                  </a:lnTo>
                  <a:lnTo>
                    <a:pt x="10839" y="13039"/>
                  </a:lnTo>
                  <a:lnTo>
                    <a:pt x="10888" y="12955"/>
                  </a:lnTo>
                  <a:lnTo>
                    <a:pt x="10935" y="12871"/>
                  </a:lnTo>
                  <a:lnTo>
                    <a:pt x="10982" y="12786"/>
                  </a:lnTo>
                  <a:lnTo>
                    <a:pt x="11028" y="12701"/>
                  </a:lnTo>
                  <a:lnTo>
                    <a:pt x="11074" y="12614"/>
                  </a:lnTo>
                  <a:lnTo>
                    <a:pt x="11119" y="12528"/>
                  </a:lnTo>
                  <a:lnTo>
                    <a:pt x="11162" y="12440"/>
                  </a:lnTo>
                  <a:close/>
                  <a:moveTo>
                    <a:pt x="8474" y="14988"/>
                  </a:moveTo>
                  <a:lnTo>
                    <a:pt x="8474" y="11911"/>
                  </a:lnTo>
                  <a:lnTo>
                    <a:pt x="8545" y="11913"/>
                  </a:lnTo>
                  <a:lnTo>
                    <a:pt x="8616" y="11916"/>
                  </a:lnTo>
                  <a:lnTo>
                    <a:pt x="8687" y="11920"/>
                  </a:lnTo>
                  <a:lnTo>
                    <a:pt x="8757" y="11924"/>
                  </a:lnTo>
                  <a:lnTo>
                    <a:pt x="8828" y="11929"/>
                  </a:lnTo>
                  <a:lnTo>
                    <a:pt x="8899" y="11934"/>
                  </a:lnTo>
                  <a:lnTo>
                    <a:pt x="8969" y="11940"/>
                  </a:lnTo>
                  <a:lnTo>
                    <a:pt x="9039" y="11946"/>
                  </a:lnTo>
                  <a:lnTo>
                    <a:pt x="9108" y="11953"/>
                  </a:lnTo>
                  <a:lnTo>
                    <a:pt x="9178" y="11960"/>
                  </a:lnTo>
                  <a:lnTo>
                    <a:pt x="9248" y="11968"/>
                  </a:lnTo>
                  <a:lnTo>
                    <a:pt x="9317" y="11976"/>
                  </a:lnTo>
                  <a:lnTo>
                    <a:pt x="9387" y="11986"/>
                  </a:lnTo>
                  <a:lnTo>
                    <a:pt x="9455" y="11995"/>
                  </a:lnTo>
                  <a:lnTo>
                    <a:pt x="9524" y="12005"/>
                  </a:lnTo>
                  <a:lnTo>
                    <a:pt x="9593" y="12016"/>
                  </a:lnTo>
                  <a:lnTo>
                    <a:pt x="9661" y="12027"/>
                  </a:lnTo>
                  <a:lnTo>
                    <a:pt x="9729" y="12039"/>
                  </a:lnTo>
                  <a:lnTo>
                    <a:pt x="9797" y="12051"/>
                  </a:lnTo>
                  <a:lnTo>
                    <a:pt x="9865" y="12064"/>
                  </a:lnTo>
                  <a:lnTo>
                    <a:pt x="9932" y="12077"/>
                  </a:lnTo>
                  <a:lnTo>
                    <a:pt x="10000" y="12091"/>
                  </a:lnTo>
                  <a:lnTo>
                    <a:pt x="10067" y="12106"/>
                  </a:lnTo>
                  <a:lnTo>
                    <a:pt x="10134" y="12121"/>
                  </a:lnTo>
                  <a:lnTo>
                    <a:pt x="10200" y="12136"/>
                  </a:lnTo>
                  <a:lnTo>
                    <a:pt x="10267" y="12153"/>
                  </a:lnTo>
                  <a:lnTo>
                    <a:pt x="10334" y="12169"/>
                  </a:lnTo>
                  <a:lnTo>
                    <a:pt x="10399" y="12187"/>
                  </a:lnTo>
                  <a:lnTo>
                    <a:pt x="10465" y="12204"/>
                  </a:lnTo>
                  <a:lnTo>
                    <a:pt x="10531" y="12223"/>
                  </a:lnTo>
                  <a:lnTo>
                    <a:pt x="10596" y="12242"/>
                  </a:lnTo>
                  <a:lnTo>
                    <a:pt x="10661" y="12262"/>
                  </a:lnTo>
                  <a:lnTo>
                    <a:pt x="10610" y="12363"/>
                  </a:lnTo>
                  <a:lnTo>
                    <a:pt x="10557" y="12462"/>
                  </a:lnTo>
                  <a:lnTo>
                    <a:pt x="10504" y="12561"/>
                  </a:lnTo>
                  <a:lnTo>
                    <a:pt x="10450" y="12659"/>
                  </a:lnTo>
                  <a:lnTo>
                    <a:pt x="10393" y="12757"/>
                  </a:lnTo>
                  <a:lnTo>
                    <a:pt x="10337" y="12853"/>
                  </a:lnTo>
                  <a:lnTo>
                    <a:pt x="10279" y="12948"/>
                  </a:lnTo>
                  <a:lnTo>
                    <a:pt x="10220" y="13042"/>
                  </a:lnTo>
                  <a:lnTo>
                    <a:pt x="10159" y="13135"/>
                  </a:lnTo>
                  <a:lnTo>
                    <a:pt x="10099" y="13228"/>
                  </a:lnTo>
                  <a:lnTo>
                    <a:pt x="10036" y="13319"/>
                  </a:lnTo>
                  <a:lnTo>
                    <a:pt x="9972" y="13410"/>
                  </a:lnTo>
                  <a:lnTo>
                    <a:pt x="9909" y="13499"/>
                  </a:lnTo>
                  <a:lnTo>
                    <a:pt x="9843" y="13588"/>
                  </a:lnTo>
                  <a:lnTo>
                    <a:pt x="9776" y="13675"/>
                  </a:lnTo>
                  <a:lnTo>
                    <a:pt x="9710" y="13761"/>
                  </a:lnTo>
                  <a:lnTo>
                    <a:pt x="9641" y="13846"/>
                  </a:lnTo>
                  <a:lnTo>
                    <a:pt x="9571" y="13930"/>
                  </a:lnTo>
                  <a:lnTo>
                    <a:pt x="9501" y="14012"/>
                  </a:lnTo>
                  <a:lnTo>
                    <a:pt x="9430" y="14095"/>
                  </a:lnTo>
                  <a:lnTo>
                    <a:pt x="9358" y="14175"/>
                  </a:lnTo>
                  <a:lnTo>
                    <a:pt x="9284" y="14255"/>
                  </a:lnTo>
                  <a:lnTo>
                    <a:pt x="9210" y="14333"/>
                  </a:lnTo>
                  <a:lnTo>
                    <a:pt x="9135" y="14410"/>
                  </a:lnTo>
                  <a:lnTo>
                    <a:pt x="9059" y="14487"/>
                  </a:lnTo>
                  <a:lnTo>
                    <a:pt x="8982" y="14562"/>
                  </a:lnTo>
                  <a:lnTo>
                    <a:pt x="8904" y="14636"/>
                  </a:lnTo>
                  <a:lnTo>
                    <a:pt x="8825" y="14708"/>
                  </a:lnTo>
                  <a:lnTo>
                    <a:pt x="8746" y="14779"/>
                  </a:lnTo>
                  <a:lnTo>
                    <a:pt x="8666" y="14850"/>
                  </a:lnTo>
                  <a:lnTo>
                    <a:pt x="8584" y="14918"/>
                  </a:lnTo>
                  <a:lnTo>
                    <a:pt x="8502" y="14987"/>
                  </a:lnTo>
                  <a:lnTo>
                    <a:pt x="8474" y="14988"/>
                  </a:lnTo>
                  <a:close/>
                  <a:moveTo>
                    <a:pt x="7036" y="14898"/>
                  </a:moveTo>
                  <a:lnTo>
                    <a:pt x="6913" y="14877"/>
                  </a:lnTo>
                  <a:lnTo>
                    <a:pt x="6791" y="14854"/>
                  </a:lnTo>
                  <a:lnTo>
                    <a:pt x="6670" y="14829"/>
                  </a:lnTo>
                  <a:lnTo>
                    <a:pt x="6550" y="14802"/>
                  </a:lnTo>
                  <a:lnTo>
                    <a:pt x="6431" y="14774"/>
                  </a:lnTo>
                  <a:lnTo>
                    <a:pt x="6312" y="14743"/>
                  </a:lnTo>
                  <a:lnTo>
                    <a:pt x="6194" y="14710"/>
                  </a:lnTo>
                  <a:lnTo>
                    <a:pt x="6077" y="14676"/>
                  </a:lnTo>
                  <a:lnTo>
                    <a:pt x="5961" y="14639"/>
                  </a:lnTo>
                  <a:lnTo>
                    <a:pt x="5846" y="14601"/>
                  </a:lnTo>
                  <a:lnTo>
                    <a:pt x="5731" y="14561"/>
                  </a:lnTo>
                  <a:lnTo>
                    <a:pt x="5618" y="14519"/>
                  </a:lnTo>
                  <a:lnTo>
                    <a:pt x="5505" y="14475"/>
                  </a:lnTo>
                  <a:lnTo>
                    <a:pt x="5395" y="14429"/>
                  </a:lnTo>
                  <a:lnTo>
                    <a:pt x="5284" y="14382"/>
                  </a:lnTo>
                  <a:lnTo>
                    <a:pt x="5174" y="14333"/>
                  </a:lnTo>
                  <a:lnTo>
                    <a:pt x="5065" y="14282"/>
                  </a:lnTo>
                  <a:lnTo>
                    <a:pt x="4958" y="14229"/>
                  </a:lnTo>
                  <a:lnTo>
                    <a:pt x="4851" y="14175"/>
                  </a:lnTo>
                  <a:lnTo>
                    <a:pt x="4746" y="14119"/>
                  </a:lnTo>
                  <a:lnTo>
                    <a:pt x="4641" y="14062"/>
                  </a:lnTo>
                  <a:lnTo>
                    <a:pt x="4538" y="14001"/>
                  </a:lnTo>
                  <a:lnTo>
                    <a:pt x="4436" y="13940"/>
                  </a:lnTo>
                  <a:lnTo>
                    <a:pt x="4335" y="13878"/>
                  </a:lnTo>
                  <a:lnTo>
                    <a:pt x="4235" y="13814"/>
                  </a:lnTo>
                  <a:lnTo>
                    <a:pt x="4137" y="13748"/>
                  </a:lnTo>
                  <a:lnTo>
                    <a:pt x="4038" y="13681"/>
                  </a:lnTo>
                  <a:lnTo>
                    <a:pt x="3943" y="13612"/>
                  </a:lnTo>
                  <a:lnTo>
                    <a:pt x="3847" y="13540"/>
                  </a:lnTo>
                  <a:lnTo>
                    <a:pt x="3753" y="13469"/>
                  </a:lnTo>
                  <a:lnTo>
                    <a:pt x="3660" y="13395"/>
                  </a:lnTo>
                  <a:lnTo>
                    <a:pt x="3569" y="13320"/>
                  </a:lnTo>
                  <a:lnTo>
                    <a:pt x="3668" y="13255"/>
                  </a:lnTo>
                  <a:lnTo>
                    <a:pt x="3767" y="13191"/>
                  </a:lnTo>
                  <a:lnTo>
                    <a:pt x="3867" y="13127"/>
                  </a:lnTo>
                  <a:lnTo>
                    <a:pt x="3968" y="13065"/>
                  </a:lnTo>
                  <a:lnTo>
                    <a:pt x="4071" y="13005"/>
                  </a:lnTo>
                  <a:lnTo>
                    <a:pt x="4174" y="12946"/>
                  </a:lnTo>
                  <a:lnTo>
                    <a:pt x="4278" y="12889"/>
                  </a:lnTo>
                  <a:lnTo>
                    <a:pt x="4383" y="12833"/>
                  </a:lnTo>
                  <a:lnTo>
                    <a:pt x="4489" y="12779"/>
                  </a:lnTo>
                  <a:lnTo>
                    <a:pt x="4596" y="12726"/>
                  </a:lnTo>
                  <a:lnTo>
                    <a:pt x="4704" y="12674"/>
                  </a:lnTo>
                  <a:lnTo>
                    <a:pt x="4813" y="12624"/>
                  </a:lnTo>
                  <a:lnTo>
                    <a:pt x="4923" y="12575"/>
                  </a:lnTo>
                  <a:lnTo>
                    <a:pt x="5033" y="12529"/>
                  </a:lnTo>
                  <a:lnTo>
                    <a:pt x="5144" y="12484"/>
                  </a:lnTo>
                  <a:lnTo>
                    <a:pt x="5257" y="12440"/>
                  </a:lnTo>
                  <a:lnTo>
                    <a:pt x="5301" y="12528"/>
                  </a:lnTo>
                  <a:lnTo>
                    <a:pt x="5345" y="12614"/>
                  </a:lnTo>
                  <a:lnTo>
                    <a:pt x="5391" y="12701"/>
                  </a:lnTo>
                  <a:lnTo>
                    <a:pt x="5437" y="12786"/>
                  </a:lnTo>
                  <a:lnTo>
                    <a:pt x="5484" y="12871"/>
                  </a:lnTo>
                  <a:lnTo>
                    <a:pt x="5532" y="12955"/>
                  </a:lnTo>
                  <a:lnTo>
                    <a:pt x="5580" y="13039"/>
                  </a:lnTo>
                  <a:lnTo>
                    <a:pt x="5630" y="13121"/>
                  </a:lnTo>
                  <a:lnTo>
                    <a:pt x="5680" y="13204"/>
                  </a:lnTo>
                  <a:lnTo>
                    <a:pt x="5731" y="13286"/>
                  </a:lnTo>
                  <a:lnTo>
                    <a:pt x="5783" y="13367"/>
                  </a:lnTo>
                  <a:lnTo>
                    <a:pt x="5835" y="13447"/>
                  </a:lnTo>
                  <a:lnTo>
                    <a:pt x="5888" y="13526"/>
                  </a:lnTo>
                  <a:lnTo>
                    <a:pt x="5943" y="13606"/>
                  </a:lnTo>
                  <a:lnTo>
                    <a:pt x="5997" y="13684"/>
                  </a:lnTo>
                  <a:lnTo>
                    <a:pt x="6052" y="13761"/>
                  </a:lnTo>
                  <a:lnTo>
                    <a:pt x="6109" y="13837"/>
                  </a:lnTo>
                  <a:lnTo>
                    <a:pt x="6166" y="13913"/>
                  </a:lnTo>
                  <a:lnTo>
                    <a:pt x="6224" y="13988"/>
                  </a:lnTo>
                  <a:lnTo>
                    <a:pt x="6282" y="14064"/>
                  </a:lnTo>
                  <a:lnTo>
                    <a:pt x="6341" y="14137"/>
                  </a:lnTo>
                  <a:lnTo>
                    <a:pt x="6400" y="14210"/>
                  </a:lnTo>
                  <a:lnTo>
                    <a:pt x="6461" y="14282"/>
                  </a:lnTo>
                  <a:lnTo>
                    <a:pt x="6522" y="14354"/>
                  </a:lnTo>
                  <a:lnTo>
                    <a:pt x="6584" y="14424"/>
                  </a:lnTo>
                  <a:lnTo>
                    <a:pt x="6647" y="14495"/>
                  </a:lnTo>
                  <a:lnTo>
                    <a:pt x="6710" y="14564"/>
                  </a:lnTo>
                  <a:lnTo>
                    <a:pt x="6774" y="14633"/>
                  </a:lnTo>
                  <a:lnTo>
                    <a:pt x="6839" y="14700"/>
                  </a:lnTo>
                  <a:lnTo>
                    <a:pt x="6903" y="14767"/>
                  </a:lnTo>
                  <a:lnTo>
                    <a:pt x="6969" y="14833"/>
                  </a:lnTo>
                  <a:lnTo>
                    <a:pt x="7036" y="14898"/>
                  </a:lnTo>
                  <a:close/>
                  <a:moveTo>
                    <a:pt x="7945" y="8277"/>
                  </a:moveTo>
                  <a:lnTo>
                    <a:pt x="7945" y="11394"/>
                  </a:lnTo>
                  <a:lnTo>
                    <a:pt x="7867" y="11396"/>
                  </a:lnTo>
                  <a:lnTo>
                    <a:pt x="7789" y="11400"/>
                  </a:lnTo>
                  <a:lnTo>
                    <a:pt x="7711" y="11404"/>
                  </a:lnTo>
                  <a:lnTo>
                    <a:pt x="7633" y="11408"/>
                  </a:lnTo>
                  <a:lnTo>
                    <a:pt x="7555" y="11413"/>
                  </a:lnTo>
                  <a:lnTo>
                    <a:pt x="7478" y="11419"/>
                  </a:lnTo>
                  <a:lnTo>
                    <a:pt x="7401" y="11425"/>
                  </a:lnTo>
                  <a:lnTo>
                    <a:pt x="7324" y="11433"/>
                  </a:lnTo>
                  <a:lnTo>
                    <a:pt x="7247" y="11440"/>
                  </a:lnTo>
                  <a:lnTo>
                    <a:pt x="7170" y="11449"/>
                  </a:lnTo>
                  <a:lnTo>
                    <a:pt x="7094" y="11458"/>
                  </a:lnTo>
                  <a:lnTo>
                    <a:pt x="7018" y="11467"/>
                  </a:lnTo>
                  <a:lnTo>
                    <a:pt x="6942" y="11477"/>
                  </a:lnTo>
                  <a:lnTo>
                    <a:pt x="6866" y="11488"/>
                  </a:lnTo>
                  <a:lnTo>
                    <a:pt x="6790" y="11500"/>
                  </a:lnTo>
                  <a:lnTo>
                    <a:pt x="6715" y="11512"/>
                  </a:lnTo>
                  <a:lnTo>
                    <a:pt x="6640" y="11525"/>
                  </a:lnTo>
                  <a:lnTo>
                    <a:pt x="6565" y="11538"/>
                  </a:lnTo>
                  <a:lnTo>
                    <a:pt x="6491" y="11552"/>
                  </a:lnTo>
                  <a:lnTo>
                    <a:pt x="6416" y="11566"/>
                  </a:lnTo>
                  <a:lnTo>
                    <a:pt x="6342" y="11582"/>
                  </a:lnTo>
                  <a:lnTo>
                    <a:pt x="6268" y="11598"/>
                  </a:lnTo>
                  <a:lnTo>
                    <a:pt x="6194" y="11614"/>
                  </a:lnTo>
                  <a:lnTo>
                    <a:pt x="6120" y="11631"/>
                  </a:lnTo>
                  <a:lnTo>
                    <a:pt x="6047" y="11649"/>
                  </a:lnTo>
                  <a:lnTo>
                    <a:pt x="5973" y="11667"/>
                  </a:lnTo>
                  <a:lnTo>
                    <a:pt x="5901" y="11686"/>
                  </a:lnTo>
                  <a:lnTo>
                    <a:pt x="5829" y="11706"/>
                  </a:lnTo>
                  <a:lnTo>
                    <a:pt x="5756" y="11726"/>
                  </a:lnTo>
                  <a:lnTo>
                    <a:pt x="5684" y="11747"/>
                  </a:lnTo>
                  <a:lnTo>
                    <a:pt x="5612" y="11768"/>
                  </a:lnTo>
                  <a:lnTo>
                    <a:pt x="5540" y="11791"/>
                  </a:lnTo>
                  <a:lnTo>
                    <a:pt x="5498" y="11690"/>
                  </a:lnTo>
                  <a:lnTo>
                    <a:pt x="5457" y="11590"/>
                  </a:lnTo>
                  <a:lnTo>
                    <a:pt x="5417" y="11488"/>
                  </a:lnTo>
                  <a:lnTo>
                    <a:pt x="5377" y="11386"/>
                  </a:lnTo>
                  <a:lnTo>
                    <a:pt x="5339" y="11282"/>
                  </a:lnTo>
                  <a:lnTo>
                    <a:pt x="5303" y="11178"/>
                  </a:lnTo>
                  <a:lnTo>
                    <a:pt x="5267" y="11074"/>
                  </a:lnTo>
                  <a:lnTo>
                    <a:pt x="5233" y="10969"/>
                  </a:lnTo>
                  <a:lnTo>
                    <a:pt x="5200" y="10863"/>
                  </a:lnTo>
                  <a:lnTo>
                    <a:pt x="5167" y="10757"/>
                  </a:lnTo>
                  <a:lnTo>
                    <a:pt x="5136" y="10650"/>
                  </a:lnTo>
                  <a:lnTo>
                    <a:pt x="5106" y="10543"/>
                  </a:lnTo>
                  <a:lnTo>
                    <a:pt x="5079" y="10434"/>
                  </a:lnTo>
                  <a:lnTo>
                    <a:pt x="5051" y="10325"/>
                  </a:lnTo>
                  <a:lnTo>
                    <a:pt x="5025" y="10216"/>
                  </a:lnTo>
                  <a:lnTo>
                    <a:pt x="5000" y="10106"/>
                  </a:lnTo>
                  <a:lnTo>
                    <a:pt x="4976" y="9995"/>
                  </a:lnTo>
                  <a:lnTo>
                    <a:pt x="4954" y="9884"/>
                  </a:lnTo>
                  <a:lnTo>
                    <a:pt x="4933" y="9773"/>
                  </a:lnTo>
                  <a:lnTo>
                    <a:pt x="4913" y="9661"/>
                  </a:lnTo>
                  <a:lnTo>
                    <a:pt x="4895" y="9548"/>
                  </a:lnTo>
                  <a:lnTo>
                    <a:pt x="4877" y="9435"/>
                  </a:lnTo>
                  <a:lnTo>
                    <a:pt x="4861" y="9321"/>
                  </a:lnTo>
                  <a:lnTo>
                    <a:pt x="4847" y="9207"/>
                  </a:lnTo>
                  <a:lnTo>
                    <a:pt x="4833" y="9092"/>
                  </a:lnTo>
                  <a:lnTo>
                    <a:pt x="4822" y="8977"/>
                  </a:lnTo>
                  <a:lnTo>
                    <a:pt x="4811" y="8862"/>
                  </a:lnTo>
                  <a:lnTo>
                    <a:pt x="4802" y="8746"/>
                  </a:lnTo>
                  <a:lnTo>
                    <a:pt x="4794" y="8628"/>
                  </a:lnTo>
                  <a:lnTo>
                    <a:pt x="4787" y="8512"/>
                  </a:lnTo>
                  <a:lnTo>
                    <a:pt x="4782" y="8394"/>
                  </a:lnTo>
                  <a:lnTo>
                    <a:pt x="4779" y="8277"/>
                  </a:lnTo>
                  <a:lnTo>
                    <a:pt x="7945" y="8277"/>
                  </a:lnTo>
                  <a:close/>
                  <a:moveTo>
                    <a:pt x="5353" y="4695"/>
                  </a:moveTo>
                  <a:lnTo>
                    <a:pt x="5430" y="4721"/>
                  </a:lnTo>
                  <a:lnTo>
                    <a:pt x="5507" y="4746"/>
                  </a:lnTo>
                  <a:lnTo>
                    <a:pt x="5583" y="4770"/>
                  </a:lnTo>
                  <a:lnTo>
                    <a:pt x="5661" y="4793"/>
                  </a:lnTo>
                  <a:lnTo>
                    <a:pt x="5739" y="4816"/>
                  </a:lnTo>
                  <a:lnTo>
                    <a:pt x="5817" y="4838"/>
                  </a:lnTo>
                  <a:lnTo>
                    <a:pt x="5896" y="4860"/>
                  </a:lnTo>
                  <a:lnTo>
                    <a:pt x="5974" y="4880"/>
                  </a:lnTo>
                  <a:lnTo>
                    <a:pt x="6053" y="4900"/>
                  </a:lnTo>
                  <a:lnTo>
                    <a:pt x="6134" y="4920"/>
                  </a:lnTo>
                  <a:lnTo>
                    <a:pt x="6213" y="4938"/>
                  </a:lnTo>
                  <a:lnTo>
                    <a:pt x="6293" y="4956"/>
                  </a:lnTo>
                  <a:lnTo>
                    <a:pt x="6373" y="4973"/>
                  </a:lnTo>
                  <a:lnTo>
                    <a:pt x="6454" y="4990"/>
                  </a:lnTo>
                  <a:lnTo>
                    <a:pt x="6535" y="5005"/>
                  </a:lnTo>
                  <a:lnTo>
                    <a:pt x="6615" y="5020"/>
                  </a:lnTo>
                  <a:lnTo>
                    <a:pt x="6697" y="5035"/>
                  </a:lnTo>
                  <a:lnTo>
                    <a:pt x="6778" y="5048"/>
                  </a:lnTo>
                  <a:lnTo>
                    <a:pt x="6860" y="5061"/>
                  </a:lnTo>
                  <a:lnTo>
                    <a:pt x="6942" y="5073"/>
                  </a:lnTo>
                  <a:lnTo>
                    <a:pt x="7024" y="5084"/>
                  </a:lnTo>
                  <a:lnTo>
                    <a:pt x="7106" y="5095"/>
                  </a:lnTo>
                  <a:lnTo>
                    <a:pt x="7189" y="5105"/>
                  </a:lnTo>
                  <a:lnTo>
                    <a:pt x="7273" y="5114"/>
                  </a:lnTo>
                  <a:lnTo>
                    <a:pt x="7356" y="5122"/>
                  </a:lnTo>
                  <a:lnTo>
                    <a:pt x="7439" y="5131"/>
                  </a:lnTo>
                  <a:lnTo>
                    <a:pt x="7523" y="5137"/>
                  </a:lnTo>
                  <a:lnTo>
                    <a:pt x="7607" y="5143"/>
                  </a:lnTo>
                  <a:lnTo>
                    <a:pt x="7691" y="5149"/>
                  </a:lnTo>
                  <a:lnTo>
                    <a:pt x="7775" y="5153"/>
                  </a:lnTo>
                  <a:lnTo>
                    <a:pt x="7860" y="5157"/>
                  </a:lnTo>
                  <a:lnTo>
                    <a:pt x="7945" y="5160"/>
                  </a:lnTo>
                  <a:lnTo>
                    <a:pt x="7945" y="7759"/>
                  </a:lnTo>
                  <a:lnTo>
                    <a:pt x="4779" y="7759"/>
                  </a:lnTo>
                  <a:lnTo>
                    <a:pt x="4782" y="7658"/>
                  </a:lnTo>
                  <a:lnTo>
                    <a:pt x="4786" y="7557"/>
                  </a:lnTo>
                  <a:lnTo>
                    <a:pt x="4791" y="7456"/>
                  </a:lnTo>
                  <a:lnTo>
                    <a:pt x="4797" y="7356"/>
                  </a:lnTo>
                  <a:lnTo>
                    <a:pt x="4805" y="7255"/>
                  </a:lnTo>
                  <a:lnTo>
                    <a:pt x="4812" y="7155"/>
                  </a:lnTo>
                  <a:lnTo>
                    <a:pt x="4821" y="7056"/>
                  </a:lnTo>
                  <a:lnTo>
                    <a:pt x="4831" y="6957"/>
                  </a:lnTo>
                  <a:lnTo>
                    <a:pt x="4843" y="6857"/>
                  </a:lnTo>
                  <a:lnTo>
                    <a:pt x="4854" y="6759"/>
                  </a:lnTo>
                  <a:lnTo>
                    <a:pt x="4867" y="6661"/>
                  </a:lnTo>
                  <a:lnTo>
                    <a:pt x="4881" y="6563"/>
                  </a:lnTo>
                  <a:lnTo>
                    <a:pt x="4896" y="6466"/>
                  </a:lnTo>
                  <a:lnTo>
                    <a:pt x="4911" y="6368"/>
                  </a:lnTo>
                  <a:lnTo>
                    <a:pt x="4928" y="6272"/>
                  </a:lnTo>
                  <a:lnTo>
                    <a:pt x="4945" y="6176"/>
                  </a:lnTo>
                  <a:lnTo>
                    <a:pt x="4964" y="6080"/>
                  </a:lnTo>
                  <a:lnTo>
                    <a:pt x="4983" y="5984"/>
                  </a:lnTo>
                  <a:lnTo>
                    <a:pt x="5004" y="5889"/>
                  </a:lnTo>
                  <a:lnTo>
                    <a:pt x="5025" y="5795"/>
                  </a:lnTo>
                  <a:lnTo>
                    <a:pt x="5048" y="5701"/>
                  </a:lnTo>
                  <a:lnTo>
                    <a:pt x="5070" y="5607"/>
                  </a:lnTo>
                  <a:lnTo>
                    <a:pt x="5095" y="5513"/>
                  </a:lnTo>
                  <a:lnTo>
                    <a:pt x="5120" y="5420"/>
                  </a:lnTo>
                  <a:lnTo>
                    <a:pt x="5145" y="5328"/>
                  </a:lnTo>
                  <a:lnTo>
                    <a:pt x="5172" y="5236"/>
                  </a:lnTo>
                  <a:lnTo>
                    <a:pt x="5201" y="5145"/>
                  </a:lnTo>
                  <a:lnTo>
                    <a:pt x="5228" y="5053"/>
                  </a:lnTo>
                  <a:lnTo>
                    <a:pt x="5258" y="4963"/>
                  </a:lnTo>
                  <a:lnTo>
                    <a:pt x="5289" y="4873"/>
                  </a:lnTo>
                  <a:lnTo>
                    <a:pt x="5321" y="4784"/>
                  </a:lnTo>
                  <a:lnTo>
                    <a:pt x="5353" y="4695"/>
                  </a:lnTo>
                  <a:close/>
                  <a:moveTo>
                    <a:pt x="5056" y="4040"/>
                  </a:moveTo>
                  <a:lnTo>
                    <a:pt x="4994" y="4015"/>
                  </a:lnTo>
                  <a:lnTo>
                    <a:pt x="4934" y="3989"/>
                  </a:lnTo>
                  <a:lnTo>
                    <a:pt x="4873" y="3963"/>
                  </a:lnTo>
                  <a:lnTo>
                    <a:pt x="4813" y="3936"/>
                  </a:lnTo>
                  <a:lnTo>
                    <a:pt x="4753" y="3909"/>
                  </a:lnTo>
                  <a:lnTo>
                    <a:pt x="4693" y="3882"/>
                  </a:lnTo>
                  <a:lnTo>
                    <a:pt x="4633" y="3854"/>
                  </a:lnTo>
                  <a:lnTo>
                    <a:pt x="4575" y="3825"/>
                  </a:lnTo>
                  <a:lnTo>
                    <a:pt x="4515" y="3796"/>
                  </a:lnTo>
                  <a:lnTo>
                    <a:pt x="4457" y="3766"/>
                  </a:lnTo>
                  <a:lnTo>
                    <a:pt x="4398" y="3736"/>
                  </a:lnTo>
                  <a:lnTo>
                    <a:pt x="4341" y="3705"/>
                  </a:lnTo>
                  <a:lnTo>
                    <a:pt x="4282" y="3674"/>
                  </a:lnTo>
                  <a:lnTo>
                    <a:pt x="4225" y="3643"/>
                  </a:lnTo>
                  <a:lnTo>
                    <a:pt x="4168" y="3611"/>
                  </a:lnTo>
                  <a:lnTo>
                    <a:pt x="4111" y="3579"/>
                  </a:lnTo>
                  <a:lnTo>
                    <a:pt x="3998" y="3513"/>
                  </a:lnTo>
                  <a:lnTo>
                    <a:pt x="3886" y="3446"/>
                  </a:lnTo>
                  <a:lnTo>
                    <a:pt x="3776" y="3377"/>
                  </a:lnTo>
                  <a:lnTo>
                    <a:pt x="3667" y="3305"/>
                  </a:lnTo>
                  <a:lnTo>
                    <a:pt x="3559" y="3233"/>
                  </a:lnTo>
                  <a:lnTo>
                    <a:pt x="3451" y="3159"/>
                  </a:lnTo>
                  <a:lnTo>
                    <a:pt x="3345" y="3084"/>
                  </a:lnTo>
                  <a:lnTo>
                    <a:pt x="3241" y="3007"/>
                  </a:lnTo>
                  <a:lnTo>
                    <a:pt x="3337" y="2917"/>
                  </a:lnTo>
                  <a:lnTo>
                    <a:pt x="3436" y="2829"/>
                  </a:lnTo>
                  <a:lnTo>
                    <a:pt x="3535" y="2743"/>
                  </a:lnTo>
                  <a:lnTo>
                    <a:pt x="3637" y="2659"/>
                  </a:lnTo>
                  <a:lnTo>
                    <a:pt x="3740" y="2576"/>
                  </a:lnTo>
                  <a:lnTo>
                    <a:pt x="3845" y="2496"/>
                  </a:lnTo>
                  <a:lnTo>
                    <a:pt x="3951" y="2417"/>
                  </a:lnTo>
                  <a:lnTo>
                    <a:pt x="4059" y="2340"/>
                  </a:lnTo>
                  <a:lnTo>
                    <a:pt x="4168" y="2266"/>
                  </a:lnTo>
                  <a:lnTo>
                    <a:pt x="4279" y="2193"/>
                  </a:lnTo>
                  <a:lnTo>
                    <a:pt x="4391" y="2122"/>
                  </a:lnTo>
                  <a:lnTo>
                    <a:pt x="4505" y="2054"/>
                  </a:lnTo>
                  <a:lnTo>
                    <a:pt x="4620" y="1986"/>
                  </a:lnTo>
                  <a:lnTo>
                    <a:pt x="4736" y="1921"/>
                  </a:lnTo>
                  <a:lnTo>
                    <a:pt x="4854" y="1859"/>
                  </a:lnTo>
                  <a:lnTo>
                    <a:pt x="4973" y="1799"/>
                  </a:lnTo>
                  <a:lnTo>
                    <a:pt x="5093" y="1740"/>
                  </a:lnTo>
                  <a:lnTo>
                    <a:pt x="5215" y="1684"/>
                  </a:lnTo>
                  <a:lnTo>
                    <a:pt x="5338" y="1630"/>
                  </a:lnTo>
                  <a:lnTo>
                    <a:pt x="5461" y="1579"/>
                  </a:lnTo>
                  <a:lnTo>
                    <a:pt x="5587" y="1528"/>
                  </a:lnTo>
                  <a:lnTo>
                    <a:pt x="5714" y="1481"/>
                  </a:lnTo>
                  <a:lnTo>
                    <a:pt x="5841" y="1436"/>
                  </a:lnTo>
                  <a:lnTo>
                    <a:pt x="5969" y="1393"/>
                  </a:lnTo>
                  <a:lnTo>
                    <a:pt x="6100" y="1353"/>
                  </a:lnTo>
                  <a:lnTo>
                    <a:pt x="6230" y="1315"/>
                  </a:lnTo>
                  <a:lnTo>
                    <a:pt x="6362" y="1279"/>
                  </a:lnTo>
                  <a:lnTo>
                    <a:pt x="6495" y="1246"/>
                  </a:lnTo>
                  <a:lnTo>
                    <a:pt x="6628" y="1215"/>
                  </a:lnTo>
                  <a:lnTo>
                    <a:pt x="6764" y="1187"/>
                  </a:lnTo>
                  <a:lnTo>
                    <a:pt x="6899" y="1161"/>
                  </a:lnTo>
                  <a:lnTo>
                    <a:pt x="7036" y="1137"/>
                  </a:lnTo>
                  <a:lnTo>
                    <a:pt x="6960" y="1213"/>
                  </a:lnTo>
                  <a:lnTo>
                    <a:pt x="6884" y="1289"/>
                  </a:lnTo>
                  <a:lnTo>
                    <a:pt x="6809" y="1367"/>
                  </a:lnTo>
                  <a:lnTo>
                    <a:pt x="6735" y="1446"/>
                  </a:lnTo>
                  <a:lnTo>
                    <a:pt x="6662" y="1525"/>
                  </a:lnTo>
                  <a:lnTo>
                    <a:pt x="6589" y="1607"/>
                  </a:lnTo>
                  <a:lnTo>
                    <a:pt x="6518" y="1689"/>
                  </a:lnTo>
                  <a:lnTo>
                    <a:pt x="6448" y="1771"/>
                  </a:lnTo>
                  <a:lnTo>
                    <a:pt x="6379" y="1855"/>
                  </a:lnTo>
                  <a:lnTo>
                    <a:pt x="6310" y="1940"/>
                  </a:lnTo>
                  <a:lnTo>
                    <a:pt x="6242" y="2027"/>
                  </a:lnTo>
                  <a:lnTo>
                    <a:pt x="6176" y="2113"/>
                  </a:lnTo>
                  <a:lnTo>
                    <a:pt x="6110" y="2201"/>
                  </a:lnTo>
                  <a:lnTo>
                    <a:pt x="6045" y="2290"/>
                  </a:lnTo>
                  <a:lnTo>
                    <a:pt x="5982" y="2379"/>
                  </a:lnTo>
                  <a:lnTo>
                    <a:pt x="5919" y="2471"/>
                  </a:lnTo>
                  <a:lnTo>
                    <a:pt x="5857" y="2562"/>
                  </a:lnTo>
                  <a:lnTo>
                    <a:pt x="5797" y="2654"/>
                  </a:lnTo>
                  <a:lnTo>
                    <a:pt x="5736" y="2748"/>
                  </a:lnTo>
                  <a:lnTo>
                    <a:pt x="5678" y="2842"/>
                  </a:lnTo>
                  <a:lnTo>
                    <a:pt x="5620" y="2938"/>
                  </a:lnTo>
                  <a:lnTo>
                    <a:pt x="5564" y="3034"/>
                  </a:lnTo>
                  <a:lnTo>
                    <a:pt x="5508" y="3130"/>
                  </a:lnTo>
                  <a:lnTo>
                    <a:pt x="5453" y="3228"/>
                  </a:lnTo>
                  <a:lnTo>
                    <a:pt x="5400" y="3326"/>
                  </a:lnTo>
                  <a:lnTo>
                    <a:pt x="5347" y="3427"/>
                  </a:lnTo>
                  <a:lnTo>
                    <a:pt x="5296" y="3527"/>
                  </a:lnTo>
                  <a:lnTo>
                    <a:pt x="5246" y="3628"/>
                  </a:lnTo>
                  <a:lnTo>
                    <a:pt x="5197" y="3729"/>
                  </a:lnTo>
                  <a:lnTo>
                    <a:pt x="5148" y="3833"/>
                  </a:lnTo>
                  <a:lnTo>
                    <a:pt x="5102" y="3936"/>
                  </a:lnTo>
                  <a:lnTo>
                    <a:pt x="5056" y="4040"/>
                  </a:lnTo>
                  <a:close/>
                  <a:moveTo>
                    <a:pt x="7945" y="1047"/>
                  </a:moveTo>
                  <a:lnTo>
                    <a:pt x="7945" y="4642"/>
                  </a:lnTo>
                  <a:lnTo>
                    <a:pt x="7867" y="4639"/>
                  </a:lnTo>
                  <a:lnTo>
                    <a:pt x="7789" y="4635"/>
                  </a:lnTo>
                  <a:lnTo>
                    <a:pt x="7711" y="4631"/>
                  </a:lnTo>
                  <a:lnTo>
                    <a:pt x="7633" y="4626"/>
                  </a:lnTo>
                  <a:lnTo>
                    <a:pt x="7556" y="4621"/>
                  </a:lnTo>
                  <a:lnTo>
                    <a:pt x="7478" y="4614"/>
                  </a:lnTo>
                  <a:lnTo>
                    <a:pt x="7401" y="4607"/>
                  </a:lnTo>
                  <a:lnTo>
                    <a:pt x="7325" y="4600"/>
                  </a:lnTo>
                  <a:lnTo>
                    <a:pt x="7248" y="4591"/>
                  </a:lnTo>
                  <a:lnTo>
                    <a:pt x="7172" y="4582"/>
                  </a:lnTo>
                  <a:lnTo>
                    <a:pt x="7095" y="4573"/>
                  </a:lnTo>
                  <a:lnTo>
                    <a:pt x="7020" y="4562"/>
                  </a:lnTo>
                  <a:lnTo>
                    <a:pt x="6944" y="4551"/>
                  </a:lnTo>
                  <a:lnTo>
                    <a:pt x="6868" y="4540"/>
                  </a:lnTo>
                  <a:lnTo>
                    <a:pt x="6793" y="4527"/>
                  </a:lnTo>
                  <a:lnTo>
                    <a:pt x="6718" y="4514"/>
                  </a:lnTo>
                  <a:lnTo>
                    <a:pt x="6644" y="4501"/>
                  </a:lnTo>
                  <a:lnTo>
                    <a:pt x="6569" y="4486"/>
                  </a:lnTo>
                  <a:lnTo>
                    <a:pt x="6495" y="4471"/>
                  </a:lnTo>
                  <a:lnTo>
                    <a:pt x="6421" y="4456"/>
                  </a:lnTo>
                  <a:lnTo>
                    <a:pt x="6347" y="4439"/>
                  </a:lnTo>
                  <a:lnTo>
                    <a:pt x="6273" y="4423"/>
                  </a:lnTo>
                  <a:lnTo>
                    <a:pt x="6200" y="4405"/>
                  </a:lnTo>
                  <a:lnTo>
                    <a:pt x="6127" y="4387"/>
                  </a:lnTo>
                  <a:lnTo>
                    <a:pt x="6055" y="4368"/>
                  </a:lnTo>
                  <a:lnTo>
                    <a:pt x="5982" y="4348"/>
                  </a:lnTo>
                  <a:lnTo>
                    <a:pt x="5910" y="4328"/>
                  </a:lnTo>
                  <a:lnTo>
                    <a:pt x="5838" y="4308"/>
                  </a:lnTo>
                  <a:lnTo>
                    <a:pt x="5766" y="4286"/>
                  </a:lnTo>
                  <a:lnTo>
                    <a:pt x="5694" y="4264"/>
                  </a:lnTo>
                  <a:lnTo>
                    <a:pt x="5624" y="4242"/>
                  </a:lnTo>
                  <a:lnTo>
                    <a:pt x="5553" y="4217"/>
                  </a:lnTo>
                  <a:lnTo>
                    <a:pt x="5605" y="4099"/>
                  </a:lnTo>
                  <a:lnTo>
                    <a:pt x="5658" y="3982"/>
                  </a:lnTo>
                  <a:lnTo>
                    <a:pt x="5714" y="3866"/>
                  </a:lnTo>
                  <a:lnTo>
                    <a:pt x="5771" y="3750"/>
                  </a:lnTo>
                  <a:lnTo>
                    <a:pt x="5830" y="3637"/>
                  </a:lnTo>
                  <a:lnTo>
                    <a:pt x="5889" y="3524"/>
                  </a:lnTo>
                  <a:lnTo>
                    <a:pt x="5951" y="3412"/>
                  </a:lnTo>
                  <a:lnTo>
                    <a:pt x="6014" y="3301"/>
                  </a:lnTo>
                  <a:lnTo>
                    <a:pt x="6078" y="3192"/>
                  </a:lnTo>
                  <a:lnTo>
                    <a:pt x="6144" y="3084"/>
                  </a:lnTo>
                  <a:lnTo>
                    <a:pt x="6212" y="2978"/>
                  </a:lnTo>
                  <a:lnTo>
                    <a:pt x="6279" y="2871"/>
                  </a:lnTo>
                  <a:lnTo>
                    <a:pt x="6349" y="2767"/>
                  </a:lnTo>
                  <a:lnTo>
                    <a:pt x="6421" y="2664"/>
                  </a:lnTo>
                  <a:lnTo>
                    <a:pt x="6494" y="2563"/>
                  </a:lnTo>
                  <a:lnTo>
                    <a:pt x="6568" y="2463"/>
                  </a:lnTo>
                  <a:lnTo>
                    <a:pt x="6643" y="2363"/>
                  </a:lnTo>
                  <a:lnTo>
                    <a:pt x="6718" y="2265"/>
                  </a:lnTo>
                  <a:lnTo>
                    <a:pt x="6796" y="2169"/>
                  </a:lnTo>
                  <a:lnTo>
                    <a:pt x="6875" y="2074"/>
                  </a:lnTo>
                  <a:lnTo>
                    <a:pt x="6955" y="1980"/>
                  </a:lnTo>
                  <a:lnTo>
                    <a:pt x="7038" y="1888"/>
                  </a:lnTo>
                  <a:lnTo>
                    <a:pt x="7121" y="1798"/>
                  </a:lnTo>
                  <a:lnTo>
                    <a:pt x="7204" y="1709"/>
                  </a:lnTo>
                  <a:lnTo>
                    <a:pt x="7289" y="1621"/>
                  </a:lnTo>
                  <a:lnTo>
                    <a:pt x="7375" y="1534"/>
                  </a:lnTo>
                  <a:lnTo>
                    <a:pt x="7463" y="1449"/>
                  </a:lnTo>
                  <a:lnTo>
                    <a:pt x="7552" y="1366"/>
                  </a:lnTo>
                  <a:lnTo>
                    <a:pt x="7642" y="1285"/>
                  </a:lnTo>
                  <a:lnTo>
                    <a:pt x="7732" y="1205"/>
                  </a:lnTo>
                  <a:lnTo>
                    <a:pt x="7825" y="1126"/>
                  </a:lnTo>
                  <a:lnTo>
                    <a:pt x="7918" y="1049"/>
                  </a:lnTo>
                  <a:lnTo>
                    <a:pt x="7931" y="1048"/>
                  </a:lnTo>
                  <a:lnTo>
                    <a:pt x="7945" y="1047"/>
                  </a:lnTo>
                  <a:close/>
                  <a:moveTo>
                    <a:pt x="9383" y="1137"/>
                  </a:moveTo>
                  <a:lnTo>
                    <a:pt x="9520" y="1161"/>
                  </a:lnTo>
                  <a:lnTo>
                    <a:pt x="9656" y="1187"/>
                  </a:lnTo>
                  <a:lnTo>
                    <a:pt x="9791" y="1215"/>
                  </a:lnTo>
                  <a:lnTo>
                    <a:pt x="9924" y="1246"/>
                  </a:lnTo>
                  <a:lnTo>
                    <a:pt x="10058" y="1279"/>
                  </a:lnTo>
                  <a:lnTo>
                    <a:pt x="10189" y="1315"/>
                  </a:lnTo>
                  <a:lnTo>
                    <a:pt x="10320" y="1353"/>
                  </a:lnTo>
                  <a:lnTo>
                    <a:pt x="10450" y="1393"/>
                  </a:lnTo>
                  <a:lnTo>
                    <a:pt x="10578" y="1436"/>
                  </a:lnTo>
                  <a:lnTo>
                    <a:pt x="10706" y="1481"/>
                  </a:lnTo>
                  <a:lnTo>
                    <a:pt x="10832" y="1528"/>
                  </a:lnTo>
                  <a:lnTo>
                    <a:pt x="10958" y="1579"/>
                  </a:lnTo>
                  <a:lnTo>
                    <a:pt x="11082" y="1630"/>
                  </a:lnTo>
                  <a:lnTo>
                    <a:pt x="11205" y="1684"/>
                  </a:lnTo>
                  <a:lnTo>
                    <a:pt x="11326" y="1740"/>
                  </a:lnTo>
                  <a:lnTo>
                    <a:pt x="11446" y="1799"/>
                  </a:lnTo>
                  <a:lnTo>
                    <a:pt x="11565" y="1859"/>
                  </a:lnTo>
                  <a:lnTo>
                    <a:pt x="11683" y="1921"/>
                  </a:lnTo>
                  <a:lnTo>
                    <a:pt x="11799" y="1986"/>
                  </a:lnTo>
                  <a:lnTo>
                    <a:pt x="11914" y="2054"/>
                  </a:lnTo>
                  <a:lnTo>
                    <a:pt x="12028" y="2122"/>
                  </a:lnTo>
                  <a:lnTo>
                    <a:pt x="12140" y="2193"/>
                  </a:lnTo>
                  <a:lnTo>
                    <a:pt x="12251" y="2266"/>
                  </a:lnTo>
                  <a:lnTo>
                    <a:pt x="12360" y="2340"/>
                  </a:lnTo>
                  <a:lnTo>
                    <a:pt x="12468" y="2417"/>
                  </a:lnTo>
                  <a:lnTo>
                    <a:pt x="12574" y="2496"/>
                  </a:lnTo>
                  <a:lnTo>
                    <a:pt x="12679" y="2576"/>
                  </a:lnTo>
                  <a:lnTo>
                    <a:pt x="12782" y="2659"/>
                  </a:lnTo>
                  <a:lnTo>
                    <a:pt x="12884" y="2743"/>
                  </a:lnTo>
                  <a:lnTo>
                    <a:pt x="12983" y="2829"/>
                  </a:lnTo>
                  <a:lnTo>
                    <a:pt x="13082" y="2917"/>
                  </a:lnTo>
                  <a:lnTo>
                    <a:pt x="13178" y="3007"/>
                  </a:lnTo>
                  <a:lnTo>
                    <a:pt x="13074" y="3084"/>
                  </a:lnTo>
                  <a:lnTo>
                    <a:pt x="12968" y="3159"/>
                  </a:lnTo>
                  <a:lnTo>
                    <a:pt x="12861" y="3233"/>
                  </a:lnTo>
                  <a:lnTo>
                    <a:pt x="12752" y="3305"/>
                  </a:lnTo>
                  <a:lnTo>
                    <a:pt x="12644" y="3377"/>
                  </a:lnTo>
                  <a:lnTo>
                    <a:pt x="12533" y="3446"/>
                  </a:lnTo>
                  <a:lnTo>
                    <a:pt x="12421" y="3513"/>
                  </a:lnTo>
                  <a:lnTo>
                    <a:pt x="12308" y="3579"/>
                  </a:lnTo>
                  <a:lnTo>
                    <a:pt x="12252" y="3611"/>
                  </a:lnTo>
                  <a:lnTo>
                    <a:pt x="12194" y="3643"/>
                  </a:lnTo>
                  <a:lnTo>
                    <a:pt x="12137" y="3674"/>
                  </a:lnTo>
                  <a:lnTo>
                    <a:pt x="12078" y="3705"/>
                  </a:lnTo>
                  <a:lnTo>
                    <a:pt x="12021" y="3736"/>
                  </a:lnTo>
                  <a:lnTo>
                    <a:pt x="11962" y="3766"/>
                  </a:lnTo>
                  <a:lnTo>
                    <a:pt x="11904" y="3796"/>
                  </a:lnTo>
                  <a:lnTo>
                    <a:pt x="11844" y="3825"/>
                  </a:lnTo>
                  <a:lnTo>
                    <a:pt x="11786" y="3854"/>
                  </a:lnTo>
                  <a:lnTo>
                    <a:pt x="11726" y="3882"/>
                  </a:lnTo>
                  <a:lnTo>
                    <a:pt x="11667" y="3909"/>
                  </a:lnTo>
                  <a:lnTo>
                    <a:pt x="11606" y="3936"/>
                  </a:lnTo>
                  <a:lnTo>
                    <a:pt x="11546" y="3963"/>
                  </a:lnTo>
                  <a:lnTo>
                    <a:pt x="11485" y="3989"/>
                  </a:lnTo>
                  <a:lnTo>
                    <a:pt x="11425" y="4015"/>
                  </a:lnTo>
                  <a:lnTo>
                    <a:pt x="11363" y="4040"/>
                  </a:lnTo>
                  <a:lnTo>
                    <a:pt x="11317" y="3936"/>
                  </a:lnTo>
                  <a:lnTo>
                    <a:pt x="11271" y="3833"/>
                  </a:lnTo>
                  <a:lnTo>
                    <a:pt x="11222" y="3729"/>
                  </a:lnTo>
                  <a:lnTo>
                    <a:pt x="11173" y="3628"/>
                  </a:lnTo>
                  <a:lnTo>
                    <a:pt x="11123" y="3527"/>
                  </a:lnTo>
                  <a:lnTo>
                    <a:pt x="11072" y="3427"/>
                  </a:lnTo>
                  <a:lnTo>
                    <a:pt x="11019" y="3326"/>
                  </a:lnTo>
                  <a:lnTo>
                    <a:pt x="10966" y="3228"/>
                  </a:lnTo>
                  <a:lnTo>
                    <a:pt x="10911" y="3130"/>
                  </a:lnTo>
                  <a:lnTo>
                    <a:pt x="10855" y="3034"/>
                  </a:lnTo>
                  <a:lnTo>
                    <a:pt x="10799" y="2938"/>
                  </a:lnTo>
                  <a:lnTo>
                    <a:pt x="10741" y="2842"/>
                  </a:lnTo>
                  <a:lnTo>
                    <a:pt x="10683" y="2748"/>
                  </a:lnTo>
                  <a:lnTo>
                    <a:pt x="10623" y="2654"/>
                  </a:lnTo>
                  <a:lnTo>
                    <a:pt x="10562" y="2562"/>
                  </a:lnTo>
                  <a:lnTo>
                    <a:pt x="10500" y="2471"/>
                  </a:lnTo>
                  <a:lnTo>
                    <a:pt x="10437" y="2379"/>
                  </a:lnTo>
                  <a:lnTo>
                    <a:pt x="10374" y="2290"/>
                  </a:lnTo>
                  <a:lnTo>
                    <a:pt x="10309" y="2201"/>
                  </a:lnTo>
                  <a:lnTo>
                    <a:pt x="10243" y="2113"/>
                  </a:lnTo>
                  <a:lnTo>
                    <a:pt x="10177" y="2027"/>
                  </a:lnTo>
                  <a:lnTo>
                    <a:pt x="10109" y="1940"/>
                  </a:lnTo>
                  <a:lnTo>
                    <a:pt x="10041" y="1855"/>
                  </a:lnTo>
                  <a:lnTo>
                    <a:pt x="9971" y="1771"/>
                  </a:lnTo>
                  <a:lnTo>
                    <a:pt x="9901" y="1689"/>
                  </a:lnTo>
                  <a:lnTo>
                    <a:pt x="9830" y="1607"/>
                  </a:lnTo>
                  <a:lnTo>
                    <a:pt x="9758" y="1525"/>
                  </a:lnTo>
                  <a:lnTo>
                    <a:pt x="9685" y="1446"/>
                  </a:lnTo>
                  <a:lnTo>
                    <a:pt x="9610" y="1367"/>
                  </a:lnTo>
                  <a:lnTo>
                    <a:pt x="9536" y="1289"/>
                  </a:lnTo>
                  <a:lnTo>
                    <a:pt x="9460" y="1213"/>
                  </a:lnTo>
                  <a:lnTo>
                    <a:pt x="9383" y="1137"/>
                  </a:lnTo>
                  <a:close/>
                  <a:moveTo>
                    <a:pt x="8502" y="1049"/>
                  </a:moveTo>
                  <a:lnTo>
                    <a:pt x="8595" y="1126"/>
                  </a:lnTo>
                  <a:lnTo>
                    <a:pt x="8687" y="1205"/>
                  </a:lnTo>
                  <a:lnTo>
                    <a:pt x="8778" y="1285"/>
                  </a:lnTo>
                  <a:lnTo>
                    <a:pt x="8867" y="1366"/>
                  </a:lnTo>
                  <a:lnTo>
                    <a:pt x="8957" y="1449"/>
                  </a:lnTo>
                  <a:lnTo>
                    <a:pt x="9044" y="1534"/>
                  </a:lnTo>
                  <a:lnTo>
                    <a:pt x="9130" y="1621"/>
                  </a:lnTo>
                  <a:lnTo>
                    <a:pt x="9215" y="1709"/>
                  </a:lnTo>
                  <a:lnTo>
                    <a:pt x="9299" y="1798"/>
                  </a:lnTo>
                  <a:lnTo>
                    <a:pt x="9382" y="1888"/>
                  </a:lnTo>
                  <a:lnTo>
                    <a:pt x="9464" y="1980"/>
                  </a:lnTo>
                  <a:lnTo>
                    <a:pt x="9544" y="2074"/>
                  </a:lnTo>
                  <a:lnTo>
                    <a:pt x="9623" y="2169"/>
                  </a:lnTo>
                  <a:lnTo>
                    <a:pt x="9701" y="2265"/>
                  </a:lnTo>
                  <a:lnTo>
                    <a:pt x="9778" y="2363"/>
                  </a:lnTo>
                  <a:lnTo>
                    <a:pt x="9852" y="2463"/>
                  </a:lnTo>
                  <a:lnTo>
                    <a:pt x="9926" y="2563"/>
                  </a:lnTo>
                  <a:lnTo>
                    <a:pt x="9999" y="2664"/>
                  </a:lnTo>
                  <a:lnTo>
                    <a:pt x="10070" y="2767"/>
                  </a:lnTo>
                  <a:lnTo>
                    <a:pt x="10140" y="2871"/>
                  </a:lnTo>
                  <a:lnTo>
                    <a:pt x="10209" y="2978"/>
                  </a:lnTo>
                  <a:lnTo>
                    <a:pt x="10275" y="3084"/>
                  </a:lnTo>
                  <a:lnTo>
                    <a:pt x="10341" y="3192"/>
                  </a:lnTo>
                  <a:lnTo>
                    <a:pt x="10406" y="3301"/>
                  </a:lnTo>
                  <a:lnTo>
                    <a:pt x="10468" y="3412"/>
                  </a:lnTo>
                  <a:lnTo>
                    <a:pt x="10530" y="3524"/>
                  </a:lnTo>
                  <a:lnTo>
                    <a:pt x="10589" y="3637"/>
                  </a:lnTo>
                  <a:lnTo>
                    <a:pt x="10648" y="3750"/>
                  </a:lnTo>
                  <a:lnTo>
                    <a:pt x="10705" y="3866"/>
                  </a:lnTo>
                  <a:lnTo>
                    <a:pt x="10761" y="3982"/>
                  </a:lnTo>
                  <a:lnTo>
                    <a:pt x="10815" y="4099"/>
                  </a:lnTo>
                  <a:lnTo>
                    <a:pt x="10867" y="4217"/>
                  </a:lnTo>
                  <a:lnTo>
                    <a:pt x="10797" y="4242"/>
                  </a:lnTo>
                  <a:lnTo>
                    <a:pt x="10725" y="4264"/>
                  </a:lnTo>
                  <a:lnTo>
                    <a:pt x="10654" y="4286"/>
                  </a:lnTo>
                  <a:lnTo>
                    <a:pt x="10582" y="4308"/>
                  </a:lnTo>
                  <a:lnTo>
                    <a:pt x="10510" y="4328"/>
                  </a:lnTo>
                  <a:lnTo>
                    <a:pt x="10437" y="4348"/>
                  </a:lnTo>
                  <a:lnTo>
                    <a:pt x="10366" y="4368"/>
                  </a:lnTo>
                  <a:lnTo>
                    <a:pt x="10293" y="4387"/>
                  </a:lnTo>
                  <a:lnTo>
                    <a:pt x="10219" y="4405"/>
                  </a:lnTo>
                  <a:lnTo>
                    <a:pt x="10146" y="4423"/>
                  </a:lnTo>
                  <a:lnTo>
                    <a:pt x="10072" y="4439"/>
                  </a:lnTo>
                  <a:lnTo>
                    <a:pt x="9998" y="4456"/>
                  </a:lnTo>
                  <a:lnTo>
                    <a:pt x="9924" y="4471"/>
                  </a:lnTo>
                  <a:lnTo>
                    <a:pt x="9850" y="4486"/>
                  </a:lnTo>
                  <a:lnTo>
                    <a:pt x="9775" y="4501"/>
                  </a:lnTo>
                  <a:lnTo>
                    <a:pt x="9701" y="4514"/>
                  </a:lnTo>
                  <a:lnTo>
                    <a:pt x="9626" y="4527"/>
                  </a:lnTo>
                  <a:lnTo>
                    <a:pt x="9551" y="4540"/>
                  </a:lnTo>
                  <a:lnTo>
                    <a:pt x="9475" y="4551"/>
                  </a:lnTo>
                  <a:lnTo>
                    <a:pt x="9400" y="4562"/>
                  </a:lnTo>
                  <a:lnTo>
                    <a:pt x="9324" y="4573"/>
                  </a:lnTo>
                  <a:lnTo>
                    <a:pt x="9247" y="4582"/>
                  </a:lnTo>
                  <a:lnTo>
                    <a:pt x="9171" y="4591"/>
                  </a:lnTo>
                  <a:lnTo>
                    <a:pt x="9094" y="4600"/>
                  </a:lnTo>
                  <a:lnTo>
                    <a:pt x="9018" y="4607"/>
                  </a:lnTo>
                  <a:lnTo>
                    <a:pt x="8940" y="4614"/>
                  </a:lnTo>
                  <a:lnTo>
                    <a:pt x="8863" y="4621"/>
                  </a:lnTo>
                  <a:lnTo>
                    <a:pt x="8786" y="4626"/>
                  </a:lnTo>
                  <a:lnTo>
                    <a:pt x="8708" y="4631"/>
                  </a:lnTo>
                  <a:lnTo>
                    <a:pt x="8630" y="4635"/>
                  </a:lnTo>
                  <a:lnTo>
                    <a:pt x="8552" y="4639"/>
                  </a:lnTo>
                  <a:lnTo>
                    <a:pt x="8474" y="4642"/>
                  </a:lnTo>
                  <a:lnTo>
                    <a:pt x="8474" y="1047"/>
                  </a:lnTo>
                  <a:lnTo>
                    <a:pt x="8489" y="1048"/>
                  </a:lnTo>
                  <a:lnTo>
                    <a:pt x="8502" y="1049"/>
                  </a:lnTo>
                  <a:close/>
                  <a:moveTo>
                    <a:pt x="7917" y="14987"/>
                  </a:moveTo>
                  <a:lnTo>
                    <a:pt x="7835" y="14918"/>
                  </a:lnTo>
                  <a:lnTo>
                    <a:pt x="7754" y="14850"/>
                  </a:lnTo>
                  <a:lnTo>
                    <a:pt x="7673" y="14779"/>
                  </a:lnTo>
                  <a:lnTo>
                    <a:pt x="7594" y="14708"/>
                  </a:lnTo>
                  <a:lnTo>
                    <a:pt x="7515" y="14636"/>
                  </a:lnTo>
                  <a:lnTo>
                    <a:pt x="7437" y="14562"/>
                  </a:lnTo>
                  <a:lnTo>
                    <a:pt x="7360" y="14487"/>
                  </a:lnTo>
                  <a:lnTo>
                    <a:pt x="7284" y="14410"/>
                  </a:lnTo>
                  <a:lnTo>
                    <a:pt x="7209" y="14333"/>
                  </a:lnTo>
                  <a:lnTo>
                    <a:pt x="7135" y="14255"/>
                  </a:lnTo>
                  <a:lnTo>
                    <a:pt x="7061" y="14175"/>
                  </a:lnTo>
                  <a:lnTo>
                    <a:pt x="6989" y="14095"/>
                  </a:lnTo>
                  <a:lnTo>
                    <a:pt x="6919" y="14012"/>
                  </a:lnTo>
                  <a:lnTo>
                    <a:pt x="6848" y="13930"/>
                  </a:lnTo>
                  <a:lnTo>
                    <a:pt x="6778" y="13846"/>
                  </a:lnTo>
                  <a:lnTo>
                    <a:pt x="6710" y="13761"/>
                  </a:lnTo>
                  <a:lnTo>
                    <a:pt x="6643" y="13675"/>
                  </a:lnTo>
                  <a:lnTo>
                    <a:pt x="6576" y="13588"/>
                  </a:lnTo>
                  <a:lnTo>
                    <a:pt x="6511" y="13499"/>
                  </a:lnTo>
                  <a:lnTo>
                    <a:pt x="6447" y="13410"/>
                  </a:lnTo>
                  <a:lnTo>
                    <a:pt x="6383" y="13319"/>
                  </a:lnTo>
                  <a:lnTo>
                    <a:pt x="6321" y="13228"/>
                  </a:lnTo>
                  <a:lnTo>
                    <a:pt x="6260" y="13135"/>
                  </a:lnTo>
                  <a:lnTo>
                    <a:pt x="6199" y="13042"/>
                  </a:lnTo>
                  <a:lnTo>
                    <a:pt x="6141" y="12948"/>
                  </a:lnTo>
                  <a:lnTo>
                    <a:pt x="6082" y="12853"/>
                  </a:lnTo>
                  <a:lnTo>
                    <a:pt x="6026" y="12757"/>
                  </a:lnTo>
                  <a:lnTo>
                    <a:pt x="5969" y="12659"/>
                  </a:lnTo>
                  <a:lnTo>
                    <a:pt x="5915" y="12561"/>
                  </a:lnTo>
                  <a:lnTo>
                    <a:pt x="5862" y="12462"/>
                  </a:lnTo>
                  <a:lnTo>
                    <a:pt x="5809" y="12363"/>
                  </a:lnTo>
                  <a:lnTo>
                    <a:pt x="5758" y="12262"/>
                  </a:lnTo>
                  <a:lnTo>
                    <a:pt x="5823" y="12242"/>
                  </a:lnTo>
                  <a:lnTo>
                    <a:pt x="5888" y="12223"/>
                  </a:lnTo>
                  <a:lnTo>
                    <a:pt x="5954" y="12204"/>
                  </a:lnTo>
                  <a:lnTo>
                    <a:pt x="6020" y="12187"/>
                  </a:lnTo>
                  <a:lnTo>
                    <a:pt x="6086" y="12169"/>
                  </a:lnTo>
                  <a:lnTo>
                    <a:pt x="6152" y="12153"/>
                  </a:lnTo>
                  <a:lnTo>
                    <a:pt x="6219" y="12136"/>
                  </a:lnTo>
                  <a:lnTo>
                    <a:pt x="6285" y="12121"/>
                  </a:lnTo>
                  <a:lnTo>
                    <a:pt x="6352" y="12106"/>
                  </a:lnTo>
                  <a:lnTo>
                    <a:pt x="6420" y="12091"/>
                  </a:lnTo>
                  <a:lnTo>
                    <a:pt x="6487" y="12077"/>
                  </a:lnTo>
                  <a:lnTo>
                    <a:pt x="6554" y="12064"/>
                  </a:lnTo>
                  <a:lnTo>
                    <a:pt x="6622" y="12051"/>
                  </a:lnTo>
                  <a:lnTo>
                    <a:pt x="6691" y="12039"/>
                  </a:lnTo>
                  <a:lnTo>
                    <a:pt x="6758" y="12027"/>
                  </a:lnTo>
                  <a:lnTo>
                    <a:pt x="6827" y="12016"/>
                  </a:lnTo>
                  <a:lnTo>
                    <a:pt x="6895" y="12005"/>
                  </a:lnTo>
                  <a:lnTo>
                    <a:pt x="6964" y="11995"/>
                  </a:lnTo>
                  <a:lnTo>
                    <a:pt x="7033" y="11986"/>
                  </a:lnTo>
                  <a:lnTo>
                    <a:pt x="7102" y="11976"/>
                  </a:lnTo>
                  <a:lnTo>
                    <a:pt x="7171" y="11968"/>
                  </a:lnTo>
                  <a:lnTo>
                    <a:pt x="7241" y="11960"/>
                  </a:lnTo>
                  <a:lnTo>
                    <a:pt x="7311" y="11953"/>
                  </a:lnTo>
                  <a:lnTo>
                    <a:pt x="7380" y="11946"/>
                  </a:lnTo>
                  <a:lnTo>
                    <a:pt x="7450" y="11940"/>
                  </a:lnTo>
                  <a:lnTo>
                    <a:pt x="7521" y="11934"/>
                  </a:lnTo>
                  <a:lnTo>
                    <a:pt x="7591" y="11929"/>
                  </a:lnTo>
                  <a:lnTo>
                    <a:pt x="7662" y="11924"/>
                  </a:lnTo>
                  <a:lnTo>
                    <a:pt x="7732" y="11920"/>
                  </a:lnTo>
                  <a:lnTo>
                    <a:pt x="7803" y="11916"/>
                  </a:lnTo>
                  <a:lnTo>
                    <a:pt x="7874" y="11913"/>
                  </a:lnTo>
                  <a:lnTo>
                    <a:pt x="7945" y="11911"/>
                  </a:lnTo>
                  <a:lnTo>
                    <a:pt x="7945" y="14988"/>
                  </a:lnTo>
                  <a:lnTo>
                    <a:pt x="7917" y="14987"/>
                  </a:lnTo>
                  <a:close/>
                  <a:moveTo>
                    <a:pt x="15347" y="7759"/>
                  </a:moveTo>
                  <a:lnTo>
                    <a:pt x="12171" y="7759"/>
                  </a:lnTo>
                  <a:lnTo>
                    <a:pt x="12168" y="7652"/>
                  </a:lnTo>
                  <a:lnTo>
                    <a:pt x="12163" y="7545"/>
                  </a:lnTo>
                  <a:lnTo>
                    <a:pt x="12157" y="7439"/>
                  </a:lnTo>
                  <a:lnTo>
                    <a:pt x="12151" y="7332"/>
                  </a:lnTo>
                  <a:lnTo>
                    <a:pt x="12144" y="7226"/>
                  </a:lnTo>
                  <a:lnTo>
                    <a:pt x="12136" y="7120"/>
                  </a:lnTo>
                  <a:lnTo>
                    <a:pt x="12126" y="7015"/>
                  </a:lnTo>
                  <a:lnTo>
                    <a:pt x="12115" y="6911"/>
                  </a:lnTo>
                  <a:lnTo>
                    <a:pt x="12104" y="6805"/>
                  </a:lnTo>
                  <a:lnTo>
                    <a:pt x="12092" y="6701"/>
                  </a:lnTo>
                  <a:lnTo>
                    <a:pt x="12078" y="6598"/>
                  </a:lnTo>
                  <a:lnTo>
                    <a:pt x="12063" y="6494"/>
                  </a:lnTo>
                  <a:lnTo>
                    <a:pt x="12047" y="6391"/>
                  </a:lnTo>
                  <a:lnTo>
                    <a:pt x="12031" y="6288"/>
                  </a:lnTo>
                  <a:lnTo>
                    <a:pt x="12014" y="6186"/>
                  </a:lnTo>
                  <a:lnTo>
                    <a:pt x="11995" y="6084"/>
                  </a:lnTo>
                  <a:lnTo>
                    <a:pt x="11976" y="5982"/>
                  </a:lnTo>
                  <a:lnTo>
                    <a:pt x="11954" y="5881"/>
                  </a:lnTo>
                  <a:lnTo>
                    <a:pt x="11933" y="5781"/>
                  </a:lnTo>
                  <a:lnTo>
                    <a:pt x="11910" y="5681"/>
                  </a:lnTo>
                  <a:lnTo>
                    <a:pt x="11886" y="5582"/>
                  </a:lnTo>
                  <a:lnTo>
                    <a:pt x="11862" y="5482"/>
                  </a:lnTo>
                  <a:lnTo>
                    <a:pt x="11836" y="5383"/>
                  </a:lnTo>
                  <a:lnTo>
                    <a:pt x="11810" y="5285"/>
                  </a:lnTo>
                  <a:lnTo>
                    <a:pt x="11783" y="5188"/>
                  </a:lnTo>
                  <a:lnTo>
                    <a:pt x="11754" y="5090"/>
                  </a:lnTo>
                  <a:lnTo>
                    <a:pt x="11724" y="4993"/>
                  </a:lnTo>
                  <a:lnTo>
                    <a:pt x="11694" y="4897"/>
                  </a:lnTo>
                  <a:lnTo>
                    <a:pt x="11663" y="4801"/>
                  </a:lnTo>
                  <a:lnTo>
                    <a:pt x="11630" y="4706"/>
                  </a:lnTo>
                  <a:lnTo>
                    <a:pt x="11597" y="4611"/>
                  </a:lnTo>
                  <a:lnTo>
                    <a:pt x="11563" y="4517"/>
                  </a:lnTo>
                  <a:lnTo>
                    <a:pt x="11630" y="4489"/>
                  </a:lnTo>
                  <a:lnTo>
                    <a:pt x="11695" y="4461"/>
                  </a:lnTo>
                  <a:lnTo>
                    <a:pt x="11762" y="4432"/>
                  </a:lnTo>
                  <a:lnTo>
                    <a:pt x="11828" y="4403"/>
                  </a:lnTo>
                  <a:lnTo>
                    <a:pt x="11894" y="4374"/>
                  </a:lnTo>
                  <a:lnTo>
                    <a:pt x="11959" y="4343"/>
                  </a:lnTo>
                  <a:lnTo>
                    <a:pt x="12024" y="4312"/>
                  </a:lnTo>
                  <a:lnTo>
                    <a:pt x="12088" y="4281"/>
                  </a:lnTo>
                  <a:lnTo>
                    <a:pt x="12153" y="4249"/>
                  </a:lnTo>
                  <a:lnTo>
                    <a:pt x="12217" y="4216"/>
                  </a:lnTo>
                  <a:lnTo>
                    <a:pt x="12280" y="4183"/>
                  </a:lnTo>
                  <a:lnTo>
                    <a:pt x="12344" y="4150"/>
                  </a:lnTo>
                  <a:lnTo>
                    <a:pt x="12407" y="4116"/>
                  </a:lnTo>
                  <a:lnTo>
                    <a:pt x="12469" y="4081"/>
                  </a:lnTo>
                  <a:lnTo>
                    <a:pt x="12532" y="4046"/>
                  </a:lnTo>
                  <a:lnTo>
                    <a:pt x="12593" y="4011"/>
                  </a:lnTo>
                  <a:lnTo>
                    <a:pt x="12655" y="3975"/>
                  </a:lnTo>
                  <a:lnTo>
                    <a:pt x="12717" y="3939"/>
                  </a:lnTo>
                  <a:lnTo>
                    <a:pt x="12778" y="3902"/>
                  </a:lnTo>
                  <a:lnTo>
                    <a:pt x="12839" y="3865"/>
                  </a:lnTo>
                  <a:lnTo>
                    <a:pt x="12899" y="3827"/>
                  </a:lnTo>
                  <a:lnTo>
                    <a:pt x="12959" y="3789"/>
                  </a:lnTo>
                  <a:lnTo>
                    <a:pt x="13019" y="3749"/>
                  </a:lnTo>
                  <a:lnTo>
                    <a:pt x="13078" y="3710"/>
                  </a:lnTo>
                  <a:lnTo>
                    <a:pt x="13137" y="3670"/>
                  </a:lnTo>
                  <a:lnTo>
                    <a:pt x="13196" y="3630"/>
                  </a:lnTo>
                  <a:lnTo>
                    <a:pt x="13254" y="3590"/>
                  </a:lnTo>
                  <a:lnTo>
                    <a:pt x="13313" y="3549"/>
                  </a:lnTo>
                  <a:lnTo>
                    <a:pt x="13370" y="3507"/>
                  </a:lnTo>
                  <a:lnTo>
                    <a:pt x="13428" y="3466"/>
                  </a:lnTo>
                  <a:lnTo>
                    <a:pt x="13485" y="3423"/>
                  </a:lnTo>
                  <a:lnTo>
                    <a:pt x="13542" y="3381"/>
                  </a:lnTo>
                  <a:lnTo>
                    <a:pt x="13641" y="3492"/>
                  </a:lnTo>
                  <a:lnTo>
                    <a:pt x="13738" y="3605"/>
                  </a:lnTo>
                  <a:lnTo>
                    <a:pt x="13832" y="3719"/>
                  </a:lnTo>
                  <a:lnTo>
                    <a:pt x="13924" y="3837"/>
                  </a:lnTo>
                  <a:lnTo>
                    <a:pt x="14014" y="3956"/>
                  </a:lnTo>
                  <a:lnTo>
                    <a:pt x="14101" y="4076"/>
                  </a:lnTo>
                  <a:lnTo>
                    <a:pt x="14185" y="4199"/>
                  </a:lnTo>
                  <a:lnTo>
                    <a:pt x="14266" y="4324"/>
                  </a:lnTo>
                  <a:lnTo>
                    <a:pt x="14346" y="4450"/>
                  </a:lnTo>
                  <a:lnTo>
                    <a:pt x="14422" y="4578"/>
                  </a:lnTo>
                  <a:lnTo>
                    <a:pt x="14496" y="4708"/>
                  </a:lnTo>
                  <a:lnTo>
                    <a:pt x="14567" y="4839"/>
                  </a:lnTo>
                  <a:lnTo>
                    <a:pt x="14634" y="4972"/>
                  </a:lnTo>
                  <a:lnTo>
                    <a:pt x="14700" y="5106"/>
                  </a:lnTo>
                  <a:lnTo>
                    <a:pt x="14763" y="5243"/>
                  </a:lnTo>
                  <a:lnTo>
                    <a:pt x="14822" y="5380"/>
                  </a:lnTo>
                  <a:lnTo>
                    <a:pt x="14879" y="5519"/>
                  </a:lnTo>
                  <a:lnTo>
                    <a:pt x="14932" y="5660"/>
                  </a:lnTo>
                  <a:lnTo>
                    <a:pt x="14982" y="5802"/>
                  </a:lnTo>
                  <a:lnTo>
                    <a:pt x="15031" y="5945"/>
                  </a:lnTo>
                  <a:lnTo>
                    <a:pt x="15075" y="6090"/>
                  </a:lnTo>
                  <a:lnTo>
                    <a:pt x="15116" y="6236"/>
                  </a:lnTo>
                  <a:lnTo>
                    <a:pt x="15154" y="6383"/>
                  </a:lnTo>
                  <a:lnTo>
                    <a:pt x="15189" y="6532"/>
                  </a:lnTo>
                  <a:lnTo>
                    <a:pt x="15220" y="6681"/>
                  </a:lnTo>
                  <a:lnTo>
                    <a:pt x="15248" y="6832"/>
                  </a:lnTo>
                  <a:lnTo>
                    <a:pt x="15273" y="6984"/>
                  </a:lnTo>
                  <a:lnTo>
                    <a:pt x="15294" y="7137"/>
                  </a:lnTo>
                  <a:lnTo>
                    <a:pt x="15313" y="7291"/>
                  </a:lnTo>
                  <a:lnTo>
                    <a:pt x="15327" y="7446"/>
                  </a:lnTo>
                  <a:lnTo>
                    <a:pt x="15338" y="7602"/>
                  </a:lnTo>
                  <a:lnTo>
                    <a:pt x="15347" y="7759"/>
                  </a:lnTo>
                  <a:close/>
                  <a:moveTo>
                    <a:pt x="8210" y="0"/>
                  </a:moveTo>
                  <a:lnTo>
                    <a:pt x="7787" y="10"/>
                  </a:lnTo>
                  <a:lnTo>
                    <a:pt x="7370" y="41"/>
                  </a:lnTo>
                  <a:lnTo>
                    <a:pt x="6960" y="92"/>
                  </a:lnTo>
                  <a:lnTo>
                    <a:pt x="6555" y="162"/>
                  </a:lnTo>
                  <a:lnTo>
                    <a:pt x="6158" y="253"/>
                  </a:lnTo>
                  <a:lnTo>
                    <a:pt x="5768" y="361"/>
                  </a:lnTo>
                  <a:lnTo>
                    <a:pt x="5386" y="486"/>
                  </a:lnTo>
                  <a:lnTo>
                    <a:pt x="5014" y="630"/>
                  </a:lnTo>
                  <a:lnTo>
                    <a:pt x="4651" y="791"/>
                  </a:lnTo>
                  <a:lnTo>
                    <a:pt x="4297" y="967"/>
                  </a:lnTo>
                  <a:lnTo>
                    <a:pt x="3953" y="1161"/>
                  </a:lnTo>
                  <a:lnTo>
                    <a:pt x="3619" y="1369"/>
                  </a:lnTo>
                  <a:lnTo>
                    <a:pt x="3298" y="1593"/>
                  </a:lnTo>
                  <a:lnTo>
                    <a:pt x="2987" y="1831"/>
                  </a:lnTo>
                  <a:lnTo>
                    <a:pt x="2690" y="2083"/>
                  </a:lnTo>
                  <a:lnTo>
                    <a:pt x="2404" y="2348"/>
                  </a:lnTo>
                  <a:lnTo>
                    <a:pt x="2132" y="2627"/>
                  </a:lnTo>
                  <a:lnTo>
                    <a:pt x="1875" y="2918"/>
                  </a:lnTo>
                  <a:lnTo>
                    <a:pt x="1631" y="3220"/>
                  </a:lnTo>
                  <a:lnTo>
                    <a:pt x="1402" y="3535"/>
                  </a:lnTo>
                  <a:lnTo>
                    <a:pt x="1188" y="3861"/>
                  </a:lnTo>
                  <a:lnTo>
                    <a:pt x="991" y="4195"/>
                  </a:lnTo>
                  <a:lnTo>
                    <a:pt x="810" y="4541"/>
                  </a:lnTo>
                  <a:lnTo>
                    <a:pt x="645" y="4897"/>
                  </a:lnTo>
                  <a:lnTo>
                    <a:pt x="498" y="5261"/>
                  </a:lnTo>
                  <a:lnTo>
                    <a:pt x="369" y="5634"/>
                  </a:lnTo>
                  <a:lnTo>
                    <a:pt x="259" y="6014"/>
                  </a:lnTo>
                  <a:lnTo>
                    <a:pt x="167" y="6402"/>
                  </a:lnTo>
                  <a:lnTo>
                    <a:pt x="94" y="6797"/>
                  </a:lnTo>
                  <a:lnTo>
                    <a:pt x="42" y="7198"/>
                  </a:lnTo>
                  <a:lnTo>
                    <a:pt x="10" y="7605"/>
                  </a:lnTo>
                  <a:lnTo>
                    <a:pt x="0" y="8018"/>
                  </a:lnTo>
                  <a:lnTo>
                    <a:pt x="10" y="8431"/>
                  </a:lnTo>
                  <a:lnTo>
                    <a:pt x="42" y="8838"/>
                  </a:lnTo>
                  <a:lnTo>
                    <a:pt x="94" y="9239"/>
                  </a:lnTo>
                  <a:lnTo>
                    <a:pt x="167" y="9634"/>
                  </a:lnTo>
                  <a:lnTo>
                    <a:pt x="259" y="10021"/>
                  </a:lnTo>
                  <a:lnTo>
                    <a:pt x="369" y="10402"/>
                  </a:lnTo>
                  <a:lnTo>
                    <a:pt x="498" y="10774"/>
                  </a:lnTo>
                  <a:lnTo>
                    <a:pt x="645" y="11139"/>
                  </a:lnTo>
                  <a:lnTo>
                    <a:pt x="810" y="11494"/>
                  </a:lnTo>
                  <a:lnTo>
                    <a:pt x="991" y="11840"/>
                  </a:lnTo>
                  <a:lnTo>
                    <a:pt x="1188" y="12175"/>
                  </a:lnTo>
                  <a:lnTo>
                    <a:pt x="1402" y="12501"/>
                  </a:lnTo>
                  <a:lnTo>
                    <a:pt x="1631" y="12815"/>
                  </a:lnTo>
                  <a:lnTo>
                    <a:pt x="1875" y="13118"/>
                  </a:lnTo>
                  <a:lnTo>
                    <a:pt x="2132" y="13409"/>
                  </a:lnTo>
                  <a:lnTo>
                    <a:pt x="2404" y="13688"/>
                  </a:lnTo>
                  <a:lnTo>
                    <a:pt x="2690" y="13953"/>
                  </a:lnTo>
                  <a:lnTo>
                    <a:pt x="2987" y="14205"/>
                  </a:lnTo>
                  <a:lnTo>
                    <a:pt x="3298" y="14443"/>
                  </a:lnTo>
                  <a:lnTo>
                    <a:pt x="3619" y="14667"/>
                  </a:lnTo>
                  <a:lnTo>
                    <a:pt x="3953" y="14875"/>
                  </a:lnTo>
                  <a:lnTo>
                    <a:pt x="4297" y="15068"/>
                  </a:lnTo>
                  <a:lnTo>
                    <a:pt x="4651" y="15245"/>
                  </a:lnTo>
                  <a:lnTo>
                    <a:pt x="5014" y="15406"/>
                  </a:lnTo>
                  <a:lnTo>
                    <a:pt x="5386" y="15550"/>
                  </a:lnTo>
                  <a:lnTo>
                    <a:pt x="5768" y="15675"/>
                  </a:lnTo>
                  <a:lnTo>
                    <a:pt x="6158" y="15783"/>
                  </a:lnTo>
                  <a:lnTo>
                    <a:pt x="6555" y="15873"/>
                  </a:lnTo>
                  <a:lnTo>
                    <a:pt x="6960" y="15944"/>
                  </a:lnTo>
                  <a:lnTo>
                    <a:pt x="7370" y="15995"/>
                  </a:lnTo>
                  <a:lnTo>
                    <a:pt x="7787" y="16026"/>
                  </a:lnTo>
                  <a:lnTo>
                    <a:pt x="8210" y="16036"/>
                  </a:lnTo>
                  <a:lnTo>
                    <a:pt x="8632" y="16026"/>
                  </a:lnTo>
                  <a:lnTo>
                    <a:pt x="9049" y="15995"/>
                  </a:lnTo>
                  <a:lnTo>
                    <a:pt x="9459" y="15944"/>
                  </a:lnTo>
                  <a:lnTo>
                    <a:pt x="9864" y="15873"/>
                  </a:lnTo>
                  <a:lnTo>
                    <a:pt x="10261" y="15783"/>
                  </a:lnTo>
                  <a:lnTo>
                    <a:pt x="10651" y="15675"/>
                  </a:lnTo>
                  <a:lnTo>
                    <a:pt x="11033" y="15550"/>
                  </a:lnTo>
                  <a:lnTo>
                    <a:pt x="11405" y="15406"/>
                  </a:lnTo>
                  <a:lnTo>
                    <a:pt x="11768" y="15245"/>
                  </a:lnTo>
                  <a:lnTo>
                    <a:pt x="12122" y="15068"/>
                  </a:lnTo>
                  <a:lnTo>
                    <a:pt x="12466" y="14875"/>
                  </a:lnTo>
                  <a:lnTo>
                    <a:pt x="12800" y="14667"/>
                  </a:lnTo>
                  <a:lnTo>
                    <a:pt x="13122" y="14443"/>
                  </a:lnTo>
                  <a:lnTo>
                    <a:pt x="13432" y="14205"/>
                  </a:lnTo>
                  <a:lnTo>
                    <a:pt x="13729" y="13953"/>
                  </a:lnTo>
                  <a:lnTo>
                    <a:pt x="14015" y="13688"/>
                  </a:lnTo>
                  <a:lnTo>
                    <a:pt x="14287" y="13409"/>
                  </a:lnTo>
                  <a:lnTo>
                    <a:pt x="14544" y="13118"/>
                  </a:lnTo>
                  <a:lnTo>
                    <a:pt x="14788" y="12815"/>
                  </a:lnTo>
                  <a:lnTo>
                    <a:pt x="15017" y="12501"/>
                  </a:lnTo>
                  <a:lnTo>
                    <a:pt x="15231" y="12175"/>
                  </a:lnTo>
                  <a:lnTo>
                    <a:pt x="15428" y="11840"/>
                  </a:lnTo>
                  <a:lnTo>
                    <a:pt x="15609" y="11494"/>
                  </a:lnTo>
                  <a:lnTo>
                    <a:pt x="15774" y="11139"/>
                  </a:lnTo>
                  <a:lnTo>
                    <a:pt x="15921" y="10774"/>
                  </a:lnTo>
                  <a:lnTo>
                    <a:pt x="16050" y="10402"/>
                  </a:lnTo>
                  <a:lnTo>
                    <a:pt x="16160" y="10021"/>
                  </a:lnTo>
                  <a:lnTo>
                    <a:pt x="16253" y="9634"/>
                  </a:lnTo>
                  <a:lnTo>
                    <a:pt x="16325" y="9239"/>
                  </a:lnTo>
                  <a:lnTo>
                    <a:pt x="16377" y="8838"/>
                  </a:lnTo>
                  <a:lnTo>
                    <a:pt x="16409" y="8431"/>
                  </a:lnTo>
                  <a:lnTo>
                    <a:pt x="16419" y="8018"/>
                  </a:lnTo>
                  <a:lnTo>
                    <a:pt x="16409" y="7605"/>
                  </a:lnTo>
                  <a:lnTo>
                    <a:pt x="16377" y="7198"/>
                  </a:lnTo>
                  <a:lnTo>
                    <a:pt x="16325" y="6797"/>
                  </a:lnTo>
                  <a:lnTo>
                    <a:pt x="16253" y="6402"/>
                  </a:lnTo>
                  <a:lnTo>
                    <a:pt x="16160" y="6014"/>
                  </a:lnTo>
                  <a:lnTo>
                    <a:pt x="16050" y="5634"/>
                  </a:lnTo>
                  <a:lnTo>
                    <a:pt x="15921" y="5261"/>
                  </a:lnTo>
                  <a:lnTo>
                    <a:pt x="15774" y="4897"/>
                  </a:lnTo>
                  <a:lnTo>
                    <a:pt x="15609" y="4541"/>
                  </a:lnTo>
                  <a:lnTo>
                    <a:pt x="15428" y="4195"/>
                  </a:lnTo>
                  <a:lnTo>
                    <a:pt x="15231" y="3861"/>
                  </a:lnTo>
                  <a:lnTo>
                    <a:pt x="15017" y="3535"/>
                  </a:lnTo>
                  <a:lnTo>
                    <a:pt x="14788" y="3220"/>
                  </a:lnTo>
                  <a:lnTo>
                    <a:pt x="14544" y="2918"/>
                  </a:lnTo>
                  <a:lnTo>
                    <a:pt x="14287" y="2627"/>
                  </a:lnTo>
                  <a:lnTo>
                    <a:pt x="14015" y="2348"/>
                  </a:lnTo>
                  <a:lnTo>
                    <a:pt x="13729" y="2083"/>
                  </a:lnTo>
                  <a:lnTo>
                    <a:pt x="13432" y="1831"/>
                  </a:lnTo>
                  <a:lnTo>
                    <a:pt x="13122" y="1593"/>
                  </a:lnTo>
                  <a:lnTo>
                    <a:pt x="12800" y="1369"/>
                  </a:lnTo>
                  <a:lnTo>
                    <a:pt x="12466" y="1161"/>
                  </a:lnTo>
                  <a:lnTo>
                    <a:pt x="12122" y="967"/>
                  </a:lnTo>
                  <a:lnTo>
                    <a:pt x="11768" y="791"/>
                  </a:lnTo>
                  <a:lnTo>
                    <a:pt x="11405" y="630"/>
                  </a:lnTo>
                  <a:lnTo>
                    <a:pt x="11033" y="486"/>
                  </a:lnTo>
                  <a:lnTo>
                    <a:pt x="10651" y="361"/>
                  </a:lnTo>
                  <a:lnTo>
                    <a:pt x="10261" y="253"/>
                  </a:lnTo>
                  <a:lnTo>
                    <a:pt x="9864" y="162"/>
                  </a:lnTo>
                  <a:lnTo>
                    <a:pt x="9459" y="92"/>
                  </a:lnTo>
                  <a:lnTo>
                    <a:pt x="9049" y="41"/>
                  </a:lnTo>
                  <a:lnTo>
                    <a:pt x="8632" y="10"/>
                  </a:lnTo>
                  <a:lnTo>
                    <a:pt x="821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83" name="íṡḷîḍè">
              <a:extLst>
                <a:ext uri="{FF2B5EF4-FFF2-40B4-BE49-F238E27FC236}">
                  <a16:creationId xmlns:a16="http://schemas.microsoft.com/office/drawing/2014/main" id="{37DCBB88-C2C0-4B8B-BC8D-BC22BA3E5792}"/>
                </a:ext>
              </a:extLst>
            </p:cNvPr>
            <p:cNvSpPr/>
            <p:nvPr/>
          </p:nvSpPr>
          <p:spPr bwMode="auto">
            <a:xfrm>
              <a:off x="5272463" y="1428986"/>
              <a:ext cx="373600" cy="398323"/>
            </a:xfrm>
            <a:custGeom>
              <a:avLst/>
              <a:gdLst>
                <a:gd name="T0" fmla="*/ 14069 w 15096"/>
                <a:gd name="T1" fmla="*/ 14285 h 16095"/>
                <a:gd name="T2" fmla="*/ 13990 w 15096"/>
                <a:gd name="T3" fmla="*/ 14519 h 16095"/>
                <a:gd name="T4" fmla="*/ 13859 w 15096"/>
                <a:gd name="T5" fmla="*/ 14723 h 16095"/>
                <a:gd name="T6" fmla="*/ 13685 w 15096"/>
                <a:gd name="T7" fmla="*/ 14889 h 16095"/>
                <a:gd name="T8" fmla="*/ 13475 w 15096"/>
                <a:gd name="T9" fmla="*/ 15010 h 16095"/>
                <a:gd name="T10" fmla="*/ 13236 w 15096"/>
                <a:gd name="T11" fmla="*/ 15077 h 16095"/>
                <a:gd name="T12" fmla="*/ 1961 w 15096"/>
                <a:gd name="T13" fmla="*/ 15088 h 16095"/>
                <a:gd name="T14" fmla="*/ 1714 w 15096"/>
                <a:gd name="T15" fmla="*/ 15044 h 16095"/>
                <a:gd name="T16" fmla="*/ 1491 w 15096"/>
                <a:gd name="T17" fmla="*/ 14943 h 16095"/>
                <a:gd name="T18" fmla="*/ 1301 w 15096"/>
                <a:gd name="T19" fmla="*/ 14794 h 16095"/>
                <a:gd name="T20" fmla="*/ 1152 w 15096"/>
                <a:gd name="T21" fmla="*/ 14604 h 16095"/>
                <a:gd name="T22" fmla="*/ 1052 w 15096"/>
                <a:gd name="T23" fmla="*/ 14382 h 16095"/>
                <a:gd name="T24" fmla="*/ 1007 w 15096"/>
                <a:gd name="T25" fmla="*/ 14134 h 16095"/>
                <a:gd name="T26" fmla="*/ 1018 w 15096"/>
                <a:gd name="T27" fmla="*/ 1859 h 16095"/>
                <a:gd name="T28" fmla="*/ 1086 w 15096"/>
                <a:gd name="T29" fmla="*/ 1621 h 16095"/>
                <a:gd name="T30" fmla="*/ 1207 w 15096"/>
                <a:gd name="T31" fmla="*/ 1410 h 16095"/>
                <a:gd name="T32" fmla="*/ 1373 w 15096"/>
                <a:gd name="T33" fmla="*/ 1236 h 16095"/>
                <a:gd name="T34" fmla="*/ 1577 w 15096"/>
                <a:gd name="T35" fmla="*/ 1106 h 16095"/>
                <a:gd name="T36" fmla="*/ 1811 w 15096"/>
                <a:gd name="T37" fmla="*/ 1026 h 16095"/>
                <a:gd name="T38" fmla="*/ 13083 w 15096"/>
                <a:gd name="T39" fmla="*/ 1006 h 16095"/>
                <a:gd name="T40" fmla="*/ 13335 w 15096"/>
                <a:gd name="T41" fmla="*/ 1038 h 16095"/>
                <a:gd name="T42" fmla="*/ 13562 w 15096"/>
                <a:gd name="T43" fmla="*/ 1128 h 16095"/>
                <a:gd name="T44" fmla="*/ 13760 w 15096"/>
                <a:gd name="T45" fmla="*/ 1267 h 16095"/>
                <a:gd name="T46" fmla="*/ 13918 w 15096"/>
                <a:gd name="T47" fmla="*/ 1450 h 16095"/>
                <a:gd name="T48" fmla="*/ 14028 w 15096"/>
                <a:gd name="T49" fmla="*/ 1667 h 16095"/>
                <a:gd name="T50" fmla="*/ 14085 w 15096"/>
                <a:gd name="T51" fmla="*/ 1909 h 16095"/>
                <a:gd name="T52" fmla="*/ 2013 w 15096"/>
                <a:gd name="T53" fmla="*/ 0 h 16095"/>
                <a:gd name="T54" fmla="*/ 1510 w 15096"/>
                <a:gd name="T55" fmla="*/ 63 h 16095"/>
                <a:gd name="T56" fmla="*/ 1054 w 15096"/>
                <a:gd name="T57" fmla="*/ 242 h 16095"/>
                <a:gd name="T58" fmla="*/ 659 w 15096"/>
                <a:gd name="T59" fmla="*/ 523 h 16095"/>
                <a:gd name="T60" fmla="*/ 344 w 15096"/>
                <a:gd name="T61" fmla="*/ 887 h 16095"/>
                <a:gd name="T62" fmla="*/ 122 w 15096"/>
                <a:gd name="T63" fmla="*/ 1320 h 16095"/>
                <a:gd name="T64" fmla="*/ 10 w 15096"/>
                <a:gd name="T65" fmla="*/ 1807 h 16095"/>
                <a:gd name="T66" fmla="*/ 10 w 15096"/>
                <a:gd name="T67" fmla="*/ 14289 h 16095"/>
                <a:gd name="T68" fmla="*/ 122 w 15096"/>
                <a:gd name="T69" fmla="*/ 14775 h 16095"/>
                <a:gd name="T70" fmla="*/ 344 w 15096"/>
                <a:gd name="T71" fmla="*/ 15208 h 16095"/>
                <a:gd name="T72" fmla="*/ 659 w 15096"/>
                <a:gd name="T73" fmla="*/ 15572 h 16095"/>
                <a:gd name="T74" fmla="*/ 1054 w 15096"/>
                <a:gd name="T75" fmla="*/ 15853 h 16095"/>
                <a:gd name="T76" fmla="*/ 1510 w 15096"/>
                <a:gd name="T77" fmla="*/ 16032 h 16095"/>
                <a:gd name="T78" fmla="*/ 2013 w 15096"/>
                <a:gd name="T79" fmla="*/ 16095 h 16095"/>
                <a:gd name="T80" fmla="*/ 13489 w 15096"/>
                <a:gd name="T81" fmla="*/ 16054 h 16095"/>
                <a:gd name="T82" fmla="*/ 13956 w 15096"/>
                <a:gd name="T83" fmla="*/ 15897 h 16095"/>
                <a:gd name="T84" fmla="*/ 14363 w 15096"/>
                <a:gd name="T85" fmla="*/ 15635 h 16095"/>
                <a:gd name="T86" fmla="*/ 14696 w 15096"/>
                <a:gd name="T87" fmla="*/ 15287 h 16095"/>
                <a:gd name="T88" fmla="*/ 14938 w 15096"/>
                <a:gd name="T89" fmla="*/ 14867 h 16095"/>
                <a:gd name="T90" fmla="*/ 15073 w 15096"/>
                <a:gd name="T91" fmla="*/ 14390 h 16095"/>
                <a:gd name="T92" fmla="*/ 15093 w 15096"/>
                <a:gd name="T93" fmla="*/ 1908 h 16095"/>
                <a:gd name="T94" fmla="*/ 15005 w 15096"/>
                <a:gd name="T95" fmla="*/ 1413 h 16095"/>
                <a:gd name="T96" fmla="*/ 14804 w 15096"/>
                <a:gd name="T97" fmla="*/ 969 h 16095"/>
                <a:gd name="T98" fmla="*/ 14506 w 15096"/>
                <a:gd name="T99" fmla="*/ 589 h 16095"/>
                <a:gd name="T100" fmla="*/ 14127 w 15096"/>
                <a:gd name="T101" fmla="*/ 292 h 16095"/>
                <a:gd name="T102" fmla="*/ 13682 w 15096"/>
                <a:gd name="T103" fmla="*/ 91 h 16095"/>
                <a:gd name="T104" fmla="*/ 13187 w 15096"/>
                <a:gd name="T105" fmla="*/ 3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096" h="16095">
                  <a:moveTo>
                    <a:pt x="14090" y="14083"/>
                  </a:moveTo>
                  <a:lnTo>
                    <a:pt x="14089" y="14134"/>
                  </a:lnTo>
                  <a:lnTo>
                    <a:pt x="14085" y="14186"/>
                  </a:lnTo>
                  <a:lnTo>
                    <a:pt x="14079" y="14236"/>
                  </a:lnTo>
                  <a:lnTo>
                    <a:pt x="14069" y="14285"/>
                  </a:lnTo>
                  <a:lnTo>
                    <a:pt x="14058" y="14334"/>
                  </a:lnTo>
                  <a:lnTo>
                    <a:pt x="14044" y="14382"/>
                  </a:lnTo>
                  <a:lnTo>
                    <a:pt x="14028" y="14428"/>
                  </a:lnTo>
                  <a:lnTo>
                    <a:pt x="14010" y="14474"/>
                  </a:lnTo>
                  <a:lnTo>
                    <a:pt x="13990" y="14519"/>
                  </a:lnTo>
                  <a:lnTo>
                    <a:pt x="13968" y="14562"/>
                  </a:lnTo>
                  <a:lnTo>
                    <a:pt x="13944" y="14604"/>
                  </a:lnTo>
                  <a:lnTo>
                    <a:pt x="13918" y="14645"/>
                  </a:lnTo>
                  <a:lnTo>
                    <a:pt x="13889" y="14685"/>
                  </a:lnTo>
                  <a:lnTo>
                    <a:pt x="13859" y="14723"/>
                  </a:lnTo>
                  <a:lnTo>
                    <a:pt x="13828" y="14759"/>
                  </a:lnTo>
                  <a:lnTo>
                    <a:pt x="13795" y="14794"/>
                  </a:lnTo>
                  <a:lnTo>
                    <a:pt x="13760" y="14828"/>
                  </a:lnTo>
                  <a:lnTo>
                    <a:pt x="13723" y="14859"/>
                  </a:lnTo>
                  <a:lnTo>
                    <a:pt x="13685" y="14889"/>
                  </a:lnTo>
                  <a:lnTo>
                    <a:pt x="13646" y="14917"/>
                  </a:lnTo>
                  <a:lnTo>
                    <a:pt x="13605" y="14943"/>
                  </a:lnTo>
                  <a:lnTo>
                    <a:pt x="13562" y="14967"/>
                  </a:lnTo>
                  <a:lnTo>
                    <a:pt x="13519" y="14989"/>
                  </a:lnTo>
                  <a:lnTo>
                    <a:pt x="13475" y="15010"/>
                  </a:lnTo>
                  <a:lnTo>
                    <a:pt x="13428" y="15028"/>
                  </a:lnTo>
                  <a:lnTo>
                    <a:pt x="13382" y="15044"/>
                  </a:lnTo>
                  <a:lnTo>
                    <a:pt x="13335" y="15057"/>
                  </a:lnTo>
                  <a:lnTo>
                    <a:pt x="13285" y="15069"/>
                  </a:lnTo>
                  <a:lnTo>
                    <a:pt x="13236" y="15077"/>
                  </a:lnTo>
                  <a:lnTo>
                    <a:pt x="13186" y="15084"/>
                  </a:lnTo>
                  <a:lnTo>
                    <a:pt x="13135" y="15088"/>
                  </a:lnTo>
                  <a:lnTo>
                    <a:pt x="13083" y="15089"/>
                  </a:lnTo>
                  <a:lnTo>
                    <a:pt x="2013" y="15089"/>
                  </a:lnTo>
                  <a:lnTo>
                    <a:pt x="1961" y="15088"/>
                  </a:lnTo>
                  <a:lnTo>
                    <a:pt x="1910" y="15084"/>
                  </a:lnTo>
                  <a:lnTo>
                    <a:pt x="1860" y="15077"/>
                  </a:lnTo>
                  <a:lnTo>
                    <a:pt x="1811" y="15069"/>
                  </a:lnTo>
                  <a:lnTo>
                    <a:pt x="1761" y="15057"/>
                  </a:lnTo>
                  <a:lnTo>
                    <a:pt x="1714" y="15044"/>
                  </a:lnTo>
                  <a:lnTo>
                    <a:pt x="1667" y="15028"/>
                  </a:lnTo>
                  <a:lnTo>
                    <a:pt x="1621" y="15010"/>
                  </a:lnTo>
                  <a:lnTo>
                    <a:pt x="1577" y="14989"/>
                  </a:lnTo>
                  <a:lnTo>
                    <a:pt x="1534" y="14967"/>
                  </a:lnTo>
                  <a:lnTo>
                    <a:pt x="1491" y="14943"/>
                  </a:lnTo>
                  <a:lnTo>
                    <a:pt x="1450" y="14917"/>
                  </a:lnTo>
                  <a:lnTo>
                    <a:pt x="1411" y="14889"/>
                  </a:lnTo>
                  <a:lnTo>
                    <a:pt x="1373" y="14859"/>
                  </a:lnTo>
                  <a:lnTo>
                    <a:pt x="1336" y="14828"/>
                  </a:lnTo>
                  <a:lnTo>
                    <a:pt x="1301" y="14794"/>
                  </a:lnTo>
                  <a:lnTo>
                    <a:pt x="1268" y="14759"/>
                  </a:lnTo>
                  <a:lnTo>
                    <a:pt x="1237" y="14723"/>
                  </a:lnTo>
                  <a:lnTo>
                    <a:pt x="1207" y="14685"/>
                  </a:lnTo>
                  <a:lnTo>
                    <a:pt x="1178" y="14645"/>
                  </a:lnTo>
                  <a:lnTo>
                    <a:pt x="1152" y="14604"/>
                  </a:lnTo>
                  <a:lnTo>
                    <a:pt x="1128" y="14562"/>
                  </a:lnTo>
                  <a:lnTo>
                    <a:pt x="1106" y="14519"/>
                  </a:lnTo>
                  <a:lnTo>
                    <a:pt x="1086" y="14474"/>
                  </a:lnTo>
                  <a:lnTo>
                    <a:pt x="1068" y="14428"/>
                  </a:lnTo>
                  <a:lnTo>
                    <a:pt x="1052" y="14382"/>
                  </a:lnTo>
                  <a:lnTo>
                    <a:pt x="1039" y="14334"/>
                  </a:lnTo>
                  <a:lnTo>
                    <a:pt x="1027" y="14285"/>
                  </a:lnTo>
                  <a:lnTo>
                    <a:pt x="1018" y="14236"/>
                  </a:lnTo>
                  <a:lnTo>
                    <a:pt x="1011" y="14186"/>
                  </a:lnTo>
                  <a:lnTo>
                    <a:pt x="1007" y="14134"/>
                  </a:lnTo>
                  <a:lnTo>
                    <a:pt x="1006" y="14083"/>
                  </a:lnTo>
                  <a:lnTo>
                    <a:pt x="1006" y="2012"/>
                  </a:lnTo>
                  <a:lnTo>
                    <a:pt x="1007" y="1961"/>
                  </a:lnTo>
                  <a:lnTo>
                    <a:pt x="1011" y="1909"/>
                  </a:lnTo>
                  <a:lnTo>
                    <a:pt x="1018" y="1859"/>
                  </a:lnTo>
                  <a:lnTo>
                    <a:pt x="1027" y="1810"/>
                  </a:lnTo>
                  <a:lnTo>
                    <a:pt x="1039" y="1760"/>
                  </a:lnTo>
                  <a:lnTo>
                    <a:pt x="1052" y="1713"/>
                  </a:lnTo>
                  <a:lnTo>
                    <a:pt x="1068" y="1667"/>
                  </a:lnTo>
                  <a:lnTo>
                    <a:pt x="1086" y="1621"/>
                  </a:lnTo>
                  <a:lnTo>
                    <a:pt x="1106" y="1576"/>
                  </a:lnTo>
                  <a:lnTo>
                    <a:pt x="1128" y="1533"/>
                  </a:lnTo>
                  <a:lnTo>
                    <a:pt x="1152" y="1491"/>
                  </a:lnTo>
                  <a:lnTo>
                    <a:pt x="1178" y="1450"/>
                  </a:lnTo>
                  <a:lnTo>
                    <a:pt x="1207" y="1410"/>
                  </a:lnTo>
                  <a:lnTo>
                    <a:pt x="1237" y="1372"/>
                  </a:lnTo>
                  <a:lnTo>
                    <a:pt x="1268" y="1336"/>
                  </a:lnTo>
                  <a:lnTo>
                    <a:pt x="1301" y="1301"/>
                  </a:lnTo>
                  <a:lnTo>
                    <a:pt x="1336" y="1267"/>
                  </a:lnTo>
                  <a:lnTo>
                    <a:pt x="1373" y="1236"/>
                  </a:lnTo>
                  <a:lnTo>
                    <a:pt x="1411" y="1206"/>
                  </a:lnTo>
                  <a:lnTo>
                    <a:pt x="1450" y="1178"/>
                  </a:lnTo>
                  <a:lnTo>
                    <a:pt x="1491" y="1152"/>
                  </a:lnTo>
                  <a:lnTo>
                    <a:pt x="1534" y="1128"/>
                  </a:lnTo>
                  <a:lnTo>
                    <a:pt x="1577" y="1106"/>
                  </a:lnTo>
                  <a:lnTo>
                    <a:pt x="1621" y="1085"/>
                  </a:lnTo>
                  <a:lnTo>
                    <a:pt x="1667" y="1067"/>
                  </a:lnTo>
                  <a:lnTo>
                    <a:pt x="1714" y="1051"/>
                  </a:lnTo>
                  <a:lnTo>
                    <a:pt x="1761" y="1038"/>
                  </a:lnTo>
                  <a:lnTo>
                    <a:pt x="1811" y="1026"/>
                  </a:lnTo>
                  <a:lnTo>
                    <a:pt x="1860" y="1018"/>
                  </a:lnTo>
                  <a:lnTo>
                    <a:pt x="1910" y="1011"/>
                  </a:lnTo>
                  <a:lnTo>
                    <a:pt x="1961" y="1007"/>
                  </a:lnTo>
                  <a:lnTo>
                    <a:pt x="2013" y="1006"/>
                  </a:lnTo>
                  <a:lnTo>
                    <a:pt x="13083" y="1006"/>
                  </a:lnTo>
                  <a:lnTo>
                    <a:pt x="13135" y="1007"/>
                  </a:lnTo>
                  <a:lnTo>
                    <a:pt x="13186" y="1011"/>
                  </a:lnTo>
                  <a:lnTo>
                    <a:pt x="13236" y="1018"/>
                  </a:lnTo>
                  <a:lnTo>
                    <a:pt x="13285" y="1026"/>
                  </a:lnTo>
                  <a:lnTo>
                    <a:pt x="13335" y="1038"/>
                  </a:lnTo>
                  <a:lnTo>
                    <a:pt x="13382" y="1051"/>
                  </a:lnTo>
                  <a:lnTo>
                    <a:pt x="13428" y="1067"/>
                  </a:lnTo>
                  <a:lnTo>
                    <a:pt x="13475" y="1085"/>
                  </a:lnTo>
                  <a:lnTo>
                    <a:pt x="13519" y="1106"/>
                  </a:lnTo>
                  <a:lnTo>
                    <a:pt x="13562" y="1128"/>
                  </a:lnTo>
                  <a:lnTo>
                    <a:pt x="13605" y="1152"/>
                  </a:lnTo>
                  <a:lnTo>
                    <a:pt x="13646" y="1178"/>
                  </a:lnTo>
                  <a:lnTo>
                    <a:pt x="13685" y="1206"/>
                  </a:lnTo>
                  <a:lnTo>
                    <a:pt x="13723" y="1236"/>
                  </a:lnTo>
                  <a:lnTo>
                    <a:pt x="13760" y="1267"/>
                  </a:lnTo>
                  <a:lnTo>
                    <a:pt x="13795" y="1301"/>
                  </a:lnTo>
                  <a:lnTo>
                    <a:pt x="13828" y="1336"/>
                  </a:lnTo>
                  <a:lnTo>
                    <a:pt x="13859" y="1372"/>
                  </a:lnTo>
                  <a:lnTo>
                    <a:pt x="13889" y="1410"/>
                  </a:lnTo>
                  <a:lnTo>
                    <a:pt x="13918" y="1450"/>
                  </a:lnTo>
                  <a:lnTo>
                    <a:pt x="13944" y="1491"/>
                  </a:lnTo>
                  <a:lnTo>
                    <a:pt x="13968" y="1533"/>
                  </a:lnTo>
                  <a:lnTo>
                    <a:pt x="13990" y="1576"/>
                  </a:lnTo>
                  <a:lnTo>
                    <a:pt x="14010" y="1621"/>
                  </a:lnTo>
                  <a:lnTo>
                    <a:pt x="14028" y="1667"/>
                  </a:lnTo>
                  <a:lnTo>
                    <a:pt x="14044" y="1713"/>
                  </a:lnTo>
                  <a:lnTo>
                    <a:pt x="14058" y="1760"/>
                  </a:lnTo>
                  <a:lnTo>
                    <a:pt x="14069" y="1810"/>
                  </a:lnTo>
                  <a:lnTo>
                    <a:pt x="14079" y="1859"/>
                  </a:lnTo>
                  <a:lnTo>
                    <a:pt x="14085" y="1909"/>
                  </a:lnTo>
                  <a:lnTo>
                    <a:pt x="14089" y="1961"/>
                  </a:lnTo>
                  <a:lnTo>
                    <a:pt x="14090" y="2012"/>
                  </a:lnTo>
                  <a:lnTo>
                    <a:pt x="14090" y="14083"/>
                  </a:lnTo>
                  <a:close/>
                  <a:moveTo>
                    <a:pt x="13083" y="0"/>
                  </a:moveTo>
                  <a:lnTo>
                    <a:pt x="2013" y="0"/>
                  </a:lnTo>
                  <a:lnTo>
                    <a:pt x="1909" y="3"/>
                  </a:lnTo>
                  <a:lnTo>
                    <a:pt x="1806" y="10"/>
                  </a:lnTo>
                  <a:lnTo>
                    <a:pt x="1706" y="23"/>
                  </a:lnTo>
                  <a:lnTo>
                    <a:pt x="1607" y="41"/>
                  </a:lnTo>
                  <a:lnTo>
                    <a:pt x="1510" y="63"/>
                  </a:lnTo>
                  <a:lnTo>
                    <a:pt x="1414" y="91"/>
                  </a:lnTo>
                  <a:lnTo>
                    <a:pt x="1320" y="122"/>
                  </a:lnTo>
                  <a:lnTo>
                    <a:pt x="1229" y="158"/>
                  </a:lnTo>
                  <a:lnTo>
                    <a:pt x="1140" y="198"/>
                  </a:lnTo>
                  <a:lnTo>
                    <a:pt x="1054" y="242"/>
                  </a:lnTo>
                  <a:lnTo>
                    <a:pt x="969" y="292"/>
                  </a:lnTo>
                  <a:lnTo>
                    <a:pt x="888" y="344"/>
                  </a:lnTo>
                  <a:lnTo>
                    <a:pt x="808" y="399"/>
                  </a:lnTo>
                  <a:lnTo>
                    <a:pt x="733" y="460"/>
                  </a:lnTo>
                  <a:lnTo>
                    <a:pt x="659" y="523"/>
                  </a:lnTo>
                  <a:lnTo>
                    <a:pt x="590" y="589"/>
                  </a:lnTo>
                  <a:lnTo>
                    <a:pt x="523" y="659"/>
                  </a:lnTo>
                  <a:lnTo>
                    <a:pt x="460" y="732"/>
                  </a:lnTo>
                  <a:lnTo>
                    <a:pt x="400" y="808"/>
                  </a:lnTo>
                  <a:lnTo>
                    <a:pt x="344" y="887"/>
                  </a:lnTo>
                  <a:lnTo>
                    <a:pt x="292" y="969"/>
                  </a:lnTo>
                  <a:lnTo>
                    <a:pt x="243" y="1053"/>
                  </a:lnTo>
                  <a:lnTo>
                    <a:pt x="198" y="1140"/>
                  </a:lnTo>
                  <a:lnTo>
                    <a:pt x="158" y="1229"/>
                  </a:lnTo>
                  <a:lnTo>
                    <a:pt x="122" y="1320"/>
                  </a:lnTo>
                  <a:lnTo>
                    <a:pt x="91" y="1413"/>
                  </a:lnTo>
                  <a:lnTo>
                    <a:pt x="63" y="1509"/>
                  </a:lnTo>
                  <a:lnTo>
                    <a:pt x="41" y="1606"/>
                  </a:lnTo>
                  <a:lnTo>
                    <a:pt x="23" y="1705"/>
                  </a:lnTo>
                  <a:lnTo>
                    <a:pt x="10" y="1807"/>
                  </a:lnTo>
                  <a:lnTo>
                    <a:pt x="3" y="1908"/>
                  </a:lnTo>
                  <a:lnTo>
                    <a:pt x="0" y="2012"/>
                  </a:lnTo>
                  <a:lnTo>
                    <a:pt x="0" y="14083"/>
                  </a:lnTo>
                  <a:lnTo>
                    <a:pt x="3" y="14187"/>
                  </a:lnTo>
                  <a:lnTo>
                    <a:pt x="10" y="14289"/>
                  </a:lnTo>
                  <a:lnTo>
                    <a:pt x="23" y="14390"/>
                  </a:lnTo>
                  <a:lnTo>
                    <a:pt x="41" y="14489"/>
                  </a:lnTo>
                  <a:lnTo>
                    <a:pt x="63" y="14586"/>
                  </a:lnTo>
                  <a:lnTo>
                    <a:pt x="91" y="14682"/>
                  </a:lnTo>
                  <a:lnTo>
                    <a:pt x="122" y="14775"/>
                  </a:lnTo>
                  <a:lnTo>
                    <a:pt x="158" y="14867"/>
                  </a:lnTo>
                  <a:lnTo>
                    <a:pt x="198" y="14955"/>
                  </a:lnTo>
                  <a:lnTo>
                    <a:pt x="243" y="15042"/>
                  </a:lnTo>
                  <a:lnTo>
                    <a:pt x="292" y="15126"/>
                  </a:lnTo>
                  <a:lnTo>
                    <a:pt x="344" y="15208"/>
                  </a:lnTo>
                  <a:lnTo>
                    <a:pt x="400" y="15287"/>
                  </a:lnTo>
                  <a:lnTo>
                    <a:pt x="460" y="15363"/>
                  </a:lnTo>
                  <a:lnTo>
                    <a:pt x="523" y="15436"/>
                  </a:lnTo>
                  <a:lnTo>
                    <a:pt x="590" y="15506"/>
                  </a:lnTo>
                  <a:lnTo>
                    <a:pt x="659" y="15572"/>
                  </a:lnTo>
                  <a:lnTo>
                    <a:pt x="733" y="15635"/>
                  </a:lnTo>
                  <a:lnTo>
                    <a:pt x="808" y="15696"/>
                  </a:lnTo>
                  <a:lnTo>
                    <a:pt x="888" y="15751"/>
                  </a:lnTo>
                  <a:lnTo>
                    <a:pt x="969" y="15803"/>
                  </a:lnTo>
                  <a:lnTo>
                    <a:pt x="1054" y="15853"/>
                  </a:lnTo>
                  <a:lnTo>
                    <a:pt x="1140" y="15897"/>
                  </a:lnTo>
                  <a:lnTo>
                    <a:pt x="1229" y="15937"/>
                  </a:lnTo>
                  <a:lnTo>
                    <a:pt x="1320" y="15973"/>
                  </a:lnTo>
                  <a:lnTo>
                    <a:pt x="1414" y="16004"/>
                  </a:lnTo>
                  <a:lnTo>
                    <a:pt x="1510" y="16032"/>
                  </a:lnTo>
                  <a:lnTo>
                    <a:pt x="1607" y="16054"/>
                  </a:lnTo>
                  <a:lnTo>
                    <a:pt x="1706" y="16072"/>
                  </a:lnTo>
                  <a:lnTo>
                    <a:pt x="1806" y="16085"/>
                  </a:lnTo>
                  <a:lnTo>
                    <a:pt x="1909" y="16092"/>
                  </a:lnTo>
                  <a:lnTo>
                    <a:pt x="2013" y="16095"/>
                  </a:lnTo>
                  <a:lnTo>
                    <a:pt x="13083" y="16095"/>
                  </a:lnTo>
                  <a:lnTo>
                    <a:pt x="13187" y="16092"/>
                  </a:lnTo>
                  <a:lnTo>
                    <a:pt x="13289" y="16085"/>
                  </a:lnTo>
                  <a:lnTo>
                    <a:pt x="13390" y="16072"/>
                  </a:lnTo>
                  <a:lnTo>
                    <a:pt x="13489" y="16054"/>
                  </a:lnTo>
                  <a:lnTo>
                    <a:pt x="13586" y="16032"/>
                  </a:lnTo>
                  <a:lnTo>
                    <a:pt x="13682" y="16004"/>
                  </a:lnTo>
                  <a:lnTo>
                    <a:pt x="13776" y="15973"/>
                  </a:lnTo>
                  <a:lnTo>
                    <a:pt x="13866" y="15937"/>
                  </a:lnTo>
                  <a:lnTo>
                    <a:pt x="13956" y="15897"/>
                  </a:lnTo>
                  <a:lnTo>
                    <a:pt x="14042" y="15853"/>
                  </a:lnTo>
                  <a:lnTo>
                    <a:pt x="14127" y="15803"/>
                  </a:lnTo>
                  <a:lnTo>
                    <a:pt x="14208" y="15751"/>
                  </a:lnTo>
                  <a:lnTo>
                    <a:pt x="14288" y="15696"/>
                  </a:lnTo>
                  <a:lnTo>
                    <a:pt x="14363" y="15635"/>
                  </a:lnTo>
                  <a:lnTo>
                    <a:pt x="14437" y="15572"/>
                  </a:lnTo>
                  <a:lnTo>
                    <a:pt x="14506" y="15506"/>
                  </a:lnTo>
                  <a:lnTo>
                    <a:pt x="14573" y="15436"/>
                  </a:lnTo>
                  <a:lnTo>
                    <a:pt x="14636" y="15363"/>
                  </a:lnTo>
                  <a:lnTo>
                    <a:pt x="14696" y="15287"/>
                  </a:lnTo>
                  <a:lnTo>
                    <a:pt x="14752" y="15208"/>
                  </a:lnTo>
                  <a:lnTo>
                    <a:pt x="14804" y="15126"/>
                  </a:lnTo>
                  <a:lnTo>
                    <a:pt x="14853" y="15042"/>
                  </a:lnTo>
                  <a:lnTo>
                    <a:pt x="14898" y="14955"/>
                  </a:lnTo>
                  <a:lnTo>
                    <a:pt x="14938" y="14867"/>
                  </a:lnTo>
                  <a:lnTo>
                    <a:pt x="14974" y="14775"/>
                  </a:lnTo>
                  <a:lnTo>
                    <a:pt x="15005" y="14682"/>
                  </a:lnTo>
                  <a:lnTo>
                    <a:pt x="15033" y="14586"/>
                  </a:lnTo>
                  <a:lnTo>
                    <a:pt x="15055" y="14489"/>
                  </a:lnTo>
                  <a:lnTo>
                    <a:pt x="15073" y="14390"/>
                  </a:lnTo>
                  <a:lnTo>
                    <a:pt x="15086" y="14289"/>
                  </a:lnTo>
                  <a:lnTo>
                    <a:pt x="15093" y="14187"/>
                  </a:lnTo>
                  <a:lnTo>
                    <a:pt x="15096" y="14083"/>
                  </a:lnTo>
                  <a:lnTo>
                    <a:pt x="15096" y="2012"/>
                  </a:lnTo>
                  <a:lnTo>
                    <a:pt x="15093" y="1908"/>
                  </a:lnTo>
                  <a:lnTo>
                    <a:pt x="15086" y="1807"/>
                  </a:lnTo>
                  <a:lnTo>
                    <a:pt x="15073" y="1705"/>
                  </a:lnTo>
                  <a:lnTo>
                    <a:pt x="15055" y="1606"/>
                  </a:lnTo>
                  <a:lnTo>
                    <a:pt x="15033" y="1509"/>
                  </a:lnTo>
                  <a:lnTo>
                    <a:pt x="15005" y="1413"/>
                  </a:lnTo>
                  <a:lnTo>
                    <a:pt x="14974" y="1320"/>
                  </a:lnTo>
                  <a:lnTo>
                    <a:pt x="14938" y="1229"/>
                  </a:lnTo>
                  <a:lnTo>
                    <a:pt x="14898" y="1140"/>
                  </a:lnTo>
                  <a:lnTo>
                    <a:pt x="14853" y="1053"/>
                  </a:lnTo>
                  <a:lnTo>
                    <a:pt x="14804" y="969"/>
                  </a:lnTo>
                  <a:lnTo>
                    <a:pt x="14752" y="887"/>
                  </a:lnTo>
                  <a:lnTo>
                    <a:pt x="14696" y="808"/>
                  </a:lnTo>
                  <a:lnTo>
                    <a:pt x="14636" y="732"/>
                  </a:lnTo>
                  <a:lnTo>
                    <a:pt x="14573" y="659"/>
                  </a:lnTo>
                  <a:lnTo>
                    <a:pt x="14506" y="589"/>
                  </a:lnTo>
                  <a:lnTo>
                    <a:pt x="14437" y="523"/>
                  </a:lnTo>
                  <a:lnTo>
                    <a:pt x="14363" y="460"/>
                  </a:lnTo>
                  <a:lnTo>
                    <a:pt x="14288" y="399"/>
                  </a:lnTo>
                  <a:lnTo>
                    <a:pt x="14208" y="344"/>
                  </a:lnTo>
                  <a:lnTo>
                    <a:pt x="14127" y="292"/>
                  </a:lnTo>
                  <a:lnTo>
                    <a:pt x="14042" y="242"/>
                  </a:lnTo>
                  <a:lnTo>
                    <a:pt x="13956" y="198"/>
                  </a:lnTo>
                  <a:lnTo>
                    <a:pt x="13866" y="158"/>
                  </a:lnTo>
                  <a:lnTo>
                    <a:pt x="13776" y="122"/>
                  </a:lnTo>
                  <a:lnTo>
                    <a:pt x="13682" y="91"/>
                  </a:lnTo>
                  <a:lnTo>
                    <a:pt x="13586" y="63"/>
                  </a:lnTo>
                  <a:lnTo>
                    <a:pt x="13489" y="41"/>
                  </a:lnTo>
                  <a:lnTo>
                    <a:pt x="13390" y="23"/>
                  </a:lnTo>
                  <a:lnTo>
                    <a:pt x="13289" y="10"/>
                  </a:lnTo>
                  <a:lnTo>
                    <a:pt x="13187" y="3"/>
                  </a:lnTo>
                  <a:lnTo>
                    <a:pt x="1308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84" name="íṩlïḑe">
              <a:extLst>
                <a:ext uri="{FF2B5EF4-FFF2-40B4-BE49-F238E27FC236}">
                  <a16:creationId xmlns:a16="http://schemas.microsoft.com/office/drawing/2014/main" id="{B7095DE3-BB55-442B-B42D-BEA9966191EA}"/>
                </a:ext>
              </a:extLst>
            </p:cNvPr>
            <p:cNvSpPr/>
            <p:nvPr/>
          </p:nvSpPr>
          <p:spPr bwMode="auto">
            <a:xfrm>
              <a:off x="5321910" y="1478433"/>
              <a:ext cx="274706" cy="249066"/>
            </a:xfrm>
            <a:custGeom>
              <a:avLst/>
              <a:gdLst>
                <a:gd name="T0" fmla="*/ 10567 w 11070"/>
                <a:gd name="T1" fmla="*/ 8239 h 10059"/>
                <a:gd name="T2" fmla="*/ 2516 w 11070"/>
                <a:gd name="T3" fmla="*/ 3018 h 10059"/>
                <a:gd name="T4" fmla="*/ 503 w 11070"/>
                <a:gd name="T5" fmla="*/ 9556 h 10059"/>
                <a:gd name="T6" fmla="*/ 8932 w 11070"/>
                <a:gd name="T7" fmla="*/ 5703 h 10059"/>
                <a:gd name="T8" fmla="*/ 8852 w 11070"/>
                <a:gd name="T9" fmla="*/ 5630 h 10059"/>
                <a:gd name="T10" fmla="*/ 8762 w 11070"/>
                <a:gd name="T11" fmla="*/ 5577 h 10059"/>
                <a:gd name="T12" fmla="*/ 8661 w 11070"/>
                <a:gd name="T13" fmla="*/ 5544 h 10059"/>
                <a:gd name="T14" fmla="*/ 8554 w 11070"/>
                <a:gd name="T15" fmla="*/ 5533 h 10059"/>
                <a:gd name="T16" fmla="*/ 8448 w 11070"/>
                <a:gd name="T17" fmla="*/ 5544 h 10059"/>
                <a:gd name="T18" fmla="*/ 8347 w 11070"/>
                <a:gd name="T19" fmla="*/ 5577 h 10059"/>
                <a:gd name="T20" fmla="*/ 8256 w 11070"/>
                <a:gd name="T21" fmla="*/ 5630 h 10059"/>
                <a:gd name="T22" fmla="*/ 8177 w 11070"/>
                <a:gd name="T23" fmla="*/ 5703 h 10059"/>
                <a:gd name="T24" fmla="*/ 2856 w 11070"/>
                <a:gd name="T25" fmla="*/ 2646 h 10059"/>
                <a:gd name="T26" fmla="*/ 2769 w 11070"/>
                <a:gd name="T27" fmla="*/ 2583 h 10059"/>
                <a:gd name="T28" fmla="*/ 2674 w 11070"/>
                <a:gd name="T29" fmla="*/ 2540 h 10059"/>
                <a:gd name="T30" fmla="*/ 2570 w 11070"/>
                <a:gd name="T31" fmla="*/ 2518 h 10059"/>
                <a:gd name="T32" fmla="*/ 2462 w 11070"/>
                <a:gd name="T33" fmla="*/ 2518 h 10059"/>
                <a:gd name="T34" fmla="*/ 2358 w 11070"/>
                <a:gd name="T35" fmla="*/ 2540 h 10059"/>
                <a:gd name="T36" fmla="*/ 2262 w 11070"/>
                <a:gd name="T37" fmla="*/ 2583 h 10059"/>
                <a:gd name="T38" fmla="*/ 2177 w 11070"/>
                <a:gd name="T39" fmla="*/ 2646 h 10059"/>
                <a:gd name="T40" fmla="*/ 503 w 11070"/>
                <a:gd name="T41" fmla="*/ 503 h 10059"/>
                <a:gd name="T42" fmla="*/ 477 w 11070"/>
                <a:gd name="T43" fmla="*/ 1 h 10059"/>
                <a:gd name="T44" fmla="*/ 377 w 11070"/>
                <a:gd name="T45" fmla="*/ 16 h 10059"/>
                <a:gd name="T46" fmla="*/ 285 w 11070"/>
                <a:gd name="T47" fmla="*/ 49 h 10059"/>
                <a:gd name="T48" fmla="*/ 202 w 11070"/>
                <a:gd name="T49" fmla="*/ 99 h 10059"/>
                <a:gd name="T50" fmla="*/ 131 w 11070"/>
                <a:gd name="T51" fmla="*/ 165 h 10059"/>
                <a:gd name="T52" fmla="*/ 72 w 11070"/>
                <a:gd name="T53" fmla="*/ 242 h 10059"/>
                <a:gd name="T54" fmla="*/ 30 w 11070"/>
                <a:gd name="T55" fmla="*/ 330 h 10059"/>
                <a:gd name="T56" fmla="*/ 6 w 11070"/>
                <a:gd name="T57" fmla="*/ 426 h 10059"/>
                <a:gd name="T58" fmla="*/ 0 w 11070"/>
                <a:gd name="T59" fmla="*/ 9556 h 10059"/>
                <a:gd name="T60" fmla="*/ 10 w 11070"/>
                <a:gd name="T61" fmla="*/ 9658 h 10059"/>
                <a:gd name="T62" fmla="*/ 39 w 11070"/>
                <a:gd name="T63" fmla="*/ 9752 h 10059"/>
                <a:gd name="T64" fmla="*/ 85 w 11070"/>
                <a:gd name="T65" fmla="*/ 9838 h 10059"/>
                <a:gd name="T66" fmla="*/ 147 w 11070"/>
                <a:gd name="T67" fmla="*/ 9912 h 10059"/>
                <a:gd name="T68" fmla="*/ 221 w 11070"/>
                <a:gd name="T69" fmla="*/ 9974 h 10059"/>
                <a:gd name="T70" fmla="*/ 307 w 11070"/>
                <a:gd name="T71" fmla="*/ 10020 h 10059"/>
                <a:gd name="T72" fmla="*/ 401 w 11070"/>
                <a:gd name="T73" fmla="*/ 10049 h 10059"/>
                <a:gd name="T74" fmla="*/ 503 w 11070"/>
                <a:gd name="T75" fmla="*/ 10059 h 10059"/>
                <a:gd name="T76" fmla="*/ 10643 w 11070"/>
                <a:gd name="T77" fmla="*/ 10053 h 10059"/>
                <a:gd name="T78" fmla="*/ 10740 w 11070"/>
                <a:gd name="T79" fmla="*/ 10029 h 10059"/>
                <a:gd name="T80" fmla="*/ 10829 w 11070"/>
                <a:gd name="T81" fmla="*/ 9987 h 10059"/>
                <a:gd name="T82" fmla="*/ 10905 w 11070"/>
                <a:gd name="T83" fmla="*/ 9928 h 10059"/>
                <a:gd name="T84" fmla="*/ 10971 w 11070"/>
                <a:gd name="T85" fmla="*/ 9857 h 10059"/>
                <a:gd name="T86" fmla="*/ 11021 w 11070"/>
                <a:gd name="T87" fmla="*/ 9775 h 10059"/>
                <a:gd name="T88" fmla="*/ 11054 w 11070"/>
                <a:gd name="T89" fmla="*/ 9682 h 10059"/>
                <a:gd name="T90" fmla="*/ 11069 w 11070"/>
                <a:gd name="T91" fmla="*/ 9582 h 10059"/>
                <a:gd name="T92" fmla="*/ 11068 w 11070"/>
                <a:gd name="T93" fmla="*/ 452 h 10059"/>
                <a:gd name="T94" fmla="*/ 11048 w 11070"/>
                <a:gd name="T95" fmla="*/ 353 h 10059"/>
                <a:gd name="T96" fmla="*/ 11010 w 11070"/>
                <a:gd name="T97" fmla="*/ 263 h 10059"/>
                <a:gd name="T98" fmla="*/ 10955 w 11070"/>
                <a:gd name="T99" fmla="*/ 183 h 10059"/>
                <a:gd name="T100" fmla="*/ 10887 w 11070"/>
                <a:gd name="T101" fmla="*/ 115 h 10059"/>
                <a:gd name="T102" fmla="*/ 10808 w 11070"/>
                <a:gd name="T103" fmla="*/ 60 h 10059"/>
                <a:gd name="T104" fmla="*/ 10717 w 11070"/>
                <a:gd name="T105" fmla="*/ 22 h 10059"/>
                <a:gd name="T106" fmla="*/ 10618 w 11070"/>
                <a:gd name="T107" fmla="*/ 3 h 10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070" h="10059">
                  <a:moveTo>
                    <a:pt x="8928" y="9556"/>
                  </a:moveTo>
                  <a:lnTo>
                    <a:pt x="7203" y="7568"/>
                  </a:lnTo>
                  <a:lnTo>
                    <a:pt x="8554" y="6036"/>
                  </a:lnTo>
                  <a:lnTo>
                    <a:pt x="10567" y="8239"/>
                  </a:lnTo>
                  <a:lnTo>
                    <a:pt x="10567" y="9556"/>
                  </a:lnTo>
                  <a:lnTo>
                    <a:pt x="8928" y="9556"/>
                  </a:lnTo>
                  <a:close/>
                  <a:moveTo>
                    <a:pt x="503" y="5330"/>
                  </a:moveTo>
                  <a:lnTo>
                    <a:pt x="2516" y="3018"/>
                  </a:lnTo>
                  <a:lnTo>
                    <a:pt x="6575" y="7616"/>
                  </a:lnTo>
                  <a:lnTo>
                    <a:pt x="6866" y="7948"/>
                  </a:lnTo>
                  <a:lnTo>
                    <a:pt x="8256" y="9556"/>
                  </a:lnTo>
                  <a:lnTo>
                    <a:pt x="503" y="9556"/>
                  </a:lnTo>
                  <a:lnTo>
                    <a:pt x="503" y="5330"/>
                  </a:lnTo>
                  <a:close/>
                  <a:moveTo>
                    <a:pt x="10567" y="503"/>
                  </a:moveTo>
                  <a:lnTo>
                    <a:pt x="10567" y="7479"/>
                  </a:lnTo>
                  <a:lnTo>
                    <a:pt x="8932" y="5703"/>
                  </a:lnTo>
                  <a:lnTo>
                    <a:pt x="8913" y="5682"/>
                  </a:lnTo>
                  <a:lnTo>
                    <a:pt x="8894" y="5664"/>
                  </a:lnTo>
                  <a:lnTo>
                    <a:pt x="8873" y="5647"/>
                  </a:lnTo>
                  <a:lnTo>
                    <a:pt x="8852" y="5630"/>
                  </a:lnTo>
                  <a:lnTo>
                    <a:pt x="8831" y="5615"/>
                  </a:lnTo>
                  <a:lnTo>
                    <a:pt x="8808" y="5601"/>
                  </a:lnTo>
                  <a:lnTo>
                    <a:pt x="8785" y="5589"/>
                  </a:lnTo>
                  <a:lnTo>
                    <a:pt x="8762" y="5577"/>
                  </a:lnTo>
                  <a:lnTo>
                    <a:pt x="8736" y="5567"/>
                  </a:lnTo>
                  <a:lnTo>
                    <a:pt x="8712" y="5558"/>
                  </a:lnTo>
                  <a:lnTo>
                    <a:pt x="8686" y="5551"/>
                  </a:lnTo>
                  <a:lnTo>
                    <a:pt x="8661" y="5544"/>
                  </a:lnTo>
                  <a:lnTo>
                    <a:pt x="8635" y="5539"/>
                  </a:lnTo>
                  <a:lnTo>
                    <a:pt x="8608" y="5536"/>
                  </a:lnTo>
                  <a:lnTo>
                    <a:pt x="8581" y="5534"/>
                  </a:lnTo>
                  <a:lnTo>
                    <a:pt x="8554" y="5533"/>
                  </a:lnTo>
                  <a:lnTo>
                    <a:pt x="8527" y="5534"/>
                  </a:lnTo>
                  <a:lnTo>
                    <a:pt x="8501" y="5536"/>
                  </a:lnTo>
                  <a:lnTo>
                    <a:pt x="8474" y="5539"/>
                  </a:lnTo>
                  <a:lnTo>
                    <a:pt x="8448" y="5544"/>
                  </a:lnTo>
                  <a:lnTo>
                    <a:pt x="8422" y="5551"/>
                  </a:lnTo>
                  <a:lnTo>
                    <a:pt x="8396" y="5558"/>
                  </a:lnTo>
                  <a:lnTo>
                    <a:pt x="8372" y="5567"/>
                  </a:lnTo>
                  <a:lnTo>
                    <a:pt x="8347" y="5577"/>
                  </a:lnTo>
                  <a:lnTo>
                    <a:pt x="8324" y="5589"/>
                  </a:lnTo>
                  <a:lnTo>
                    <a:pt x="8301" y="5601"/>
                  </a:lnTo>
                  <a:lnTo>
                    <a:pt x="8277" y="5615"/>
                  </a:lnTo>
                  <a:lnTo>
                    <a:pt x="8256" y="5630"/>
                  </a:lnTo>
                  <a:lnTo>
                    <a:pt x="8235" y="5647"/>
                  </a:lnTo>
                  <a:lnTo>
                    <a:pt x="8215" y="5664"/>
                  </a:lnTo>
                  <a:lnTo>
                    <a:pt x="8195" y="5682"/>
                  </a:lnTo>
                  <a:lnTo>
                    <a:pt x="8177" y="5703"/>
                  </a:lnTo>
                  <a:lnTo>
                    <a:pt x="6867" y="7187"/>
                  </a:lnTo>
                  <a:lnTo>
                    <a:pt x="2893" y="2685"/>
                  </a:lnTo>
                  <a:lnTo>
                    <a:pt x="2875" y="2665"/>
                  </a:lnTo>
                  <a:lnTo>
                    <a:pt x="2856" y="2646"/>
                  </a:lnTo>
                  <a:lnTo>
                    <a:pt x="2835" y="2629"/>
                  </a:lnTo>
                  <a:lnTo>
                    <a:pt x="2814" y="2612"/>
                  </a:lnTo>
                  <a:lnTo>
                    <a:pt x="2793" y="2597"/>
                  </a:lnTo>
                  <a:lnTo>
                    <a:pt x="2769" y="2583"/>
                  </a:lnTo>
                  <a:lnTo>
                    <a:pt x="2746" y="2571"/>
                  </a:lnTo>
                  <a:lnTo>
                    <a:pt x="2723" y="2559"/>
                  </a:lnTo>
                  <a:lnTo>
                    <a:pt x="2698" y="2549"/>
                  </a:lnTo>
                  <a:lnTo>
                    <a:pt x="2674" y="2540"/>
                  </a:lnTo>
                  <a:lnTo>
                    <a:pt x="2648" y="2533"/>
                  </a:lnTo>
                  <a:lnTo>
                    <a:pt x="2622" y="2526"/>
                  </a:lnTo>
                  <a:lnTo>
                    <a:pt x="2596" y="2521"/>
                  </a:lnTo>
                  <a:lnTo>
                    <a:pt x="2570" y="2518"/>
                  </a:lnTo>
                  <a:lnTo>
                    <a:pt x="2543" y="2516"/>
                  </a:lnTo>
                  <a:lnTo>
                    <a:pt x="2516" y="2515"/>
                  </a:lnTo>
                  <a:lnTo>
                    <a:pt x="2489" y="2516"/>
                  </a:lnTo>
                  <a:lnTo>
                    <a:pt x="2462" y="2518"/>
                  </a:lnTo>
                  <a:lnTo>
                    <a:pt x="2435" y="2521"/>
                  </a:lnTo>
                  <a:lnTo>
                    <a:pt x="2409" y="2526"/>
                  </a:lnTo>
                  <a:lnTo>
                    <a:pt x="2384" y="2533"/>
                  </a:lnTo>
                  <a:lnTo>
                    <a:pt x="2358" y="2540"/>
                  </a:lnTo>
                  <a:lnTo>
                    <a:pt x="2334" y="2549"/>
                  </a:lnTo>
                  <a:lnTo>
                    <a:pt x="2308" y="2559"/>
                  </a:lnTo>
                  <a:lnTo>
                    <a:pt x="2285" y="2571"/>
                  </a:lnTo>
                  <a:lnTo>
                    <a:pt x="2262" y="2583"/>
                  </a:lnTo>
                  <a:lnTo>
                    <a:pt x="2239" y="2597"/>
                  </a:lnTo>
                  <a:lnTo>
                    <a:pt x="2218" y="2612"/>
                  </a:lnTo>
                  <a:lnTo>
                    <a:pt x="2197" y="2629"/>
                  </a:lnTo>
                  <a:lnTo>
                    <a:pt x="2177" y="2646"/>
                  </a:lnTo>
                  <a:lnTo>
                    <a:pt x="2157" y="2665"/>
                  </a:lnTo>
                  <a:lnTo>
                    <a:pt x="2138" y="2685"/>
                  </a:lnTo>
                  <a:lnTo>
                    <a:pt x="503" y="4570"/>
                  </a:lnTo>
                  <a:lnTo>
                    <a:pt x="503" y="503"/>
                  </a:lnTo>
                  <a:lnTo>
                    <a:pt x="10567" y="503"/>
                  </a:lnTo>
                  <a:close/>
                  <a:moveTo>
                    <a:pt x="10567" y="0"/>
                  </a:moveTo>
                  <a:lnTo>
                    <a:pt x="503" y="0"/>
                  </a:lnTo>
                  <a:lnTo>
                    <a:pt x="477" y="1"/>
                  </a:lnTo>
                  <a:lnTo>
                    <a:pt x="452" y="3"/>
                  </a:lnTo>
                  <a:lnTo>
                    <a:pt x="427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99" y="202"/>
                  </a:lnTo>
                  <a:lnTo>
                    <a:pt x="85" y="221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3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0" y="9556"/>
                  </a:lnTo>
                  <a:lnTo>
                    <a:pt x="1" y="9582"/>
                  </a:lnTo>
                  <a:lnTo>
                    <a:pt x="3" y="9608"/>
                  </a:lnTo>
                  <a:lnTo>
                    <a:pt x="6" y="9633"/>
                  </a:lnTo>
                  <a:lnTo>
                    <a:pt x="10" y="9658"/>
                  </a:lnTo>
                  <a:lnTo>
                    <a:pt x="16" y="9682"/>
                  </a:lnTo>
                  <a:lnTo>
                    <a:pt x="23" y="9706"/>
                  </a:lnTo>
                  <a:lnTo>
                    <a:pt x="30" y="9729"/>
                  </a:lnTo>
                  <a:lnTo>
                    <a:pt x="39" y="9752"/>
                  </a:lnTo>
                  <a:lnTo>
                    <a:pt x="49" y="9775"/>
                  </a:lnTo>
                  <a:lnTo>
                    <a:pt x="60" y="9797"/>
                  </a:lnTo>
                  <a:lnTo>
                    <a:pt x="72" y="9817"/>
                  </a:lnTo>
                  <a:lnTo>
                    <a:pt x="85" y="9838"/>
                  </a:lnTo>
                  <a:lnTo>
                    <a:pt x="99" y="9857"/>
                  </a:lnTo>
                  <a:lnTo>
                    <a:pt x="115" y="9876"/>
                  </a:lnTo>
                  <a:lnTo>
                    <a:pt x="131" y="9894"/>
                  </a:lnTo>
                  <a:lnTo>
                    <a:pt x="147" y="9912"/>
                  </a:lnTo>
                  <a:lnTo>
                    <a:pt x="165" y="9928"/>
                  </a:lnTo>
                  <a:lnTo>
                    <a:pt x="183" y="9945"/>
                  </a:lnTo>
                  <a:lnTo>
                    <a:pt x="202" y="9960"/>
                  </a:lnTo>
                  <a:lnTo>
                    <a:pt x="221" y="9974"/>
                  </a:lnTo>
                  <a:lnTo>
                    <a:pt x="242" y="9987"/>
                  </a:lnTo>
                  <a:lnTo>
                    <a:pt x="263" y="9999"/>
                  </a:lnTo>
                  <a:lnTo>
                    <a:pt x="285" y="10010"/>
                  </a:lnTo>
                  <a:lnTo>
                    <a:pt x="307" y="10020"/>
                  </a:lnTo>
                  <a:lnTo>
                    <a:pt x="330" y="10029"/>
                  </a:lnTo>
                  <a:lnTo>
                    <a:pt x="353" y="10037"/>
                  </a:lnTo>
                  <a:lnTo>
                    <a:pt x="377" y="10043"/>
                  </a:lnTo>
                  <a:lnTo>
                    <a:pt x="401" y="10049"/>
                  </a:lnTo>
                  <a:lnTo>
                    <a:pt x="427" y="10053"/>
                  </a:lnTo>
                  <a:lnTo>
                    <a:pt x="452" y="10056"/>
                  </a:lnTo>
                  <a:lnTo>
                    <a:pt x="477" y="10058"/>
                  </a:lnTo>
                  <a:lnTo>
                    <a:pt x="503" y="10059"/>
                  </a:lnTo>
                  <a:lnTo>
                    <a:pt x="10567" y="10059"/>
                  </a:lnTo>
                  <a:lnTo>
                    <a:pt x="10593" y="10058"/>
                  </a:lnTo>
                  <a:lnTo>
                    <a:pt x="10618" y="10056"/>
                  </a:lnTo>
                  <a:lnTo>
                    <a:pt x="10643" y="10053"/>
                  </a:lnTo>
                  <a:lnTo>
                    <a:pt x="10669" y="10049"/>
                  </a:lnTo>
                  <a:lnTo>
                    <a:pt x="10693" y="10043"/>
                  </a:lnTo>
                  <a:lnTo>
                    <a:pt x="10717" y="10037"/>
                  </a:lnTo>
                  <a:lnTo>
                    <a:pt x="10740" y="10029"/>
                  </a:lnTo>
                  <a:lnTo>
                    <a:pt x="10763" y="10020"/>
                  </a:lnTo>
                  <a:lnTo>
                    <a:pt x="10785" y="10010"/>
                  </a:lnTo>
                  <a:lnTo>
                    <a:pt x="10808" y="9999"/>
                  </a:lnTo>
                  <a:lnTo>
                    <a:pt x="10829" y="9987"/>
                  </a:lnTo>
                  <a:lnTo>
                    <a:pt x="10849" y="9974"/>
                  </a:lnTo>
                  <a:lnTo>
                    <a:pt x="10868" y="9960"/>
                  </a:lnTo>
                  <a:lnTo>
                    <a:pt x="10887" y="9945"/>
                  </a:lnTo>
                  <a:lnTo>
                    <a:pt x="10905" y="9928"/>
                  </a:lnTo>
                  <a:lnTo>
                    <a:pt x="10923" y="9912"/>
                  </a:lnTo>
                  <a:lnTo>
                    <a:pt x="10939" y="9894"/>
                  </a:lnTo>
                  <a:lnTo>
                    <a:pt x="10955" y="9876"/>
                  </a:lnTo>
                  <a:lnTo>
                    <a:pt x="10971" y="9857"/>
                  </a:lnTo>
                  <a:lnTo>
                    <a:pt x="10985" y="9838"/>
                  </a:lnTo>
                  <a:lnTo>
                    <a:pt x="10998" y="9817"/>
                  </a:lnTo>
                  <a:lnTo>
                    <a:pt x="11010" y="9797"/>
                  </a:lnTo>
                  <a:lnTo>
                    <a:pt x="11021" y="9775"/>
                  </a:lnTo>
                  <a:lnTo>
                    <a:pt x="11031" y="9752"/>
                  </a:lnTo>
                  <a:lnTo>
                    <a:pt x="11040" y="9729"/>
                  </a:lnTo>
                  <a:lnTo>
                    <a:pt x="11048" y="9706"/>
                  </a:lnTo>
                  <a:lnTo>
                    <a:pt x="11054" y="9682"/>
                  </a:lnTo>
                  <a:lnTo>
                    <a:pt x="11060" y="9658"/>
                  </a:lnTo>
                  <a:lnTo>
                    <a:pt x="11064" y="9633"/>
                  </a:lnTo>
                  <a:lnTo>
                    <a:pt x="11068" y="9608"/>
                  </a:lnTo>
                  <a:lnTo>
                    <a:pt x="11069" y="9582"/>
                  </a:lnTo>
                  <a:lnTo>
                    <a:pt x="11070" y="9556"/>
                  </a:lnTo>
                  <a:lnTo>
                    <a:pt x="11070" y="503"/>
                  </a:lnTo>
                  <a:lnTo>
                    <a:pt x="11069" y="477"/>
                  </a:lnTo>
                  <a:lnTo>
                    <a:pt x="11068" y="452"/>
                  </a:lnTo>
                  <a:lnTo>
                    <a:pt x="11064" y="426"/>
                  </a:lnTo>
                  <a:lnTo>
                    <a:pt x="11060" y="401"/>
                  </a:lnTo>
                  <a:lnTo>
                    <a:pt x="11054" y="377"/>
                  </a:lnTo>
                  <a:lnTo>
                    <a:pt x="11048" y="353"/>
                  </a:lnTo>
                  <a:lnTo>
                    <a:pt x="11040" y="330"/>
                  </a:lnTo>
                  <a:lnTo>
                    <a:pt x="11031" y="307"/>
                  </a:lnTo>
                  <a:lnTo>
                    <a:pt x="11021" y="285"/>
                  </a:lnTo>
                  <a:lnTo>
                    <a:pt x="11010" y="263"/>
                  </a:lnTo>
                  <a:lnTo>
                    <a:pt x="10998" y="242"/>
                  </a:lnTo>
                  <a:lnTo>
                    <a:pt x="10985" y="221"/>
                  </a:lnTo>
                  <a:lnTo>
                    <a:pt x="10971" y="202"/>
                  </a:lnTo>
                  <a:lnTo>
                    <a:pt x="10955" y="183"/>
                  </a:lnTo>
                  <a:lnTo>
                    <a:pt x="10939" y="165"/>
                  </a:lnTo>
                  <a:lnTo>
                    <a:pt x="10923" y="147"/>
                  </a:lnTo>
                  <a:lnTo>
                    <a:pt x="10905" y="131"/>
                  </a:lnTo>
                  <a:lnTo>
                    <a:pt x="10887" y="115"/>
                  </a:lnTo>
                  <a:lnTo>
                    <a:pt x="10868" y="99"/>
                  </a:lnTo>
                  <a:lnTo>
                    <a:pt x="10849" y="85"/>
                  </a:lnTo>
                  <a:lnTo>
                    <a:pt x="10829" y="72"/>
                  </a:lnTo>
                  <a:lnTo>
                    <a:pt x="10808" y="60"/>
                  </a:lnTo>
                  <a:lnTo>
                    <a:pt x="10785" y="49"/>
                  </a:lnTo>
                  <a:lnTo>
                    <a:pt x="10763" y="39"/>
                  </a:lnTo>
                  <a:lnTo>
                    <a:pt x="10740" y="30"/>
                  </a:lnTo>
                  <a:lnTo>
                    <a:pt x="10717" y="22"/>
                  </a:lnTo>
                  <a:lnTo>
                    <a:pt x="10693" y="16"/>
                  </a:lnTo>
                  <a:lnTo>
                    <a:pt x="10669" y="10"/>
                  </a:lnTo>
                  <a:lnTo>
                    <a:pt x="10643" y="6"/>
                  </a:lnTo>
                  <a:lnTo>
                    <a:pt x="10618" y="3"/>
                  </a:lnTo>
                  <a:lnTo>
                    <a:pt x="10593" y="1"/>
                  </a:lnTo>
                  <a:lnTo>
                    <a:pt x="105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85" name="íślïḋe">
              <a:extLst>
                <a:ext uri="{FF2B5EF4-FFF2-40B4-BE49-F238E27FC236}">
                  <a16:creationId xmlns:a16="http://schemas.microsoft.com/office/drawing/2014/main" id="{8E12994E-7D74-498D-8DB3-3B358BE64FF2}"/>
                </a:ext>
              </a:extLst>
            </p:cNvPr>
            <p:cNvSpPr/>
            <p:nvPr/>
          </p:nvSpPr>
          <p:spPr bwMode="auto">
            <a:xfrm>
              <a:off x="5472083" y="1515976"/>
              <a:ext cx="74171" cy="75086"/>
            </a:xfrm>
            <a:custGeom>
              <a:avLst/>
              <a:gdLst>
                <a:gd name="T0" fmla="*/ 1712 w 3019"/>
                <a:gd name="T1" fmla="*/ 523 h 3018"/>
                <a:gd name="T2" fmla="*/ 1946 w 3019"/>
                <a:gd name="T3" fmla="*/ 602 h 3018"/>
                <a:gd name="T4" fmla="*/ 2150 w 3019"/>
                <a:gd name="T5" fmla="*/ 732 h 3018"/>
                <a:gd name="T6" fmla="*/ 2316 w 3019"/>
                <a:gd name="T7" fmla="*/ 907 h 3018"/>
                <a:gd name="T8" fmla="*/ 2437 w 3019"/>
                <a:gd name="T9" fmla="*/ 1117 h 3018"/>
                <a:gd name="T10" fmla="*/ 2504 w 3019"/>
                <a:gd name="T11" fmla="*/ 1356 h 3018"/>
                <a:gd name="T12" fmla="*/ 2511 w 3019"/>
                <a:gd name="T13" fmla="*/ 1611 h 3018"/>
                <a:gd name="T14" fmla="*/ 2455 w 3019"/>
                <a:gd name="T15" fmla="*/ 1854 h 3018"/>
                <a:gd name="T16" fmla="*/ 2344 w 3019"/>
                <a:gd name="T17" fmla="*/ 2071 h 3018"/>
                <a:gd name="T18" fmla="*/ 2186 w 3019"/>
                <a:gd name="T19" fmla="*/ 2253 h 3018"/>
                <a:gd name="T20" fmla="*/ 1989 w 3019"/>
                <a:gd name="T21" fmla="*/ 2393 h 3018"/>
                <a:gd name="T22" fmla="*/ 1761 w 3019"/>
                <a:gd name="T23" fmla="*/ 2482 h 3018"/>
                <a:gd name="T24" fmla="*/ 1510 w 3019"/>
                <a:gd name="T25" fmla="*/ 2515 h 3018"/>
                <a:gd name="T26" fmla="*/ 1258 w 3019"/>
                <a:gd name="T27" fmla="*/ 2482 h 3018"/>
                <a:gd name="T28" fmla="*/ 1031 w 3019"/>
                <a:gd name="T29" fmla="*/ 2393 h 3018"/>
                <a:gd name="T30" fmla="*/ 833 w 3019"/>
                <a:gd name="T31" fmla="*/ 2253 h 3018"/>
                <a:gd name="T32" fmla="*/ 675 w 3019"/>
                <a:gd name="T33" fmla="*/ 2071 h 3018"/>
                <a:gd name="T34" fmla="*/ 565 w 3019"/>
                <a:gd name="T35" fmla="*/ 1854 h 3018"/>
                <a:gd name="T36" fmla="*/ 508 w 3019"/>
                <a:gd name="T37" fmla="*/ 1611 h 3018"/>
                <a:gd name="T38" fmla="*/ 514 w 3019"/>
                <a:gd name="T39" fmla="*/ 1356 h 3018"/>
                <a:gd name="T40" fmla="*/ 583 w 3019"/>
                <a:gd name="T41" fmla="*/ 1117 h 3018"/>
                <a:gd name="T42" fmla="*/ 704 w 3019"/>
                <a:gd name="T43" fmla="*/ 907 h 3018"/>
                <a:gd name="T44" fmla="*/ 870 w 3019"/>
                <a:gd name="T45" fmla="*/ 732 h 3018"/>
                <a:gd name="T46" fmla="*/ 1074 w 3019"/>
                <a:gd name="T47" fmla="*/ 602 h 3018"/>
                <a:gd name="T48" fmla="*/ 1308 w 3019"/>
                <a:gd name="T49" fmla="*/ 523 h 3018"/>
                <a:gd name="T50" fmla="*/ 1510 w 3019"/>
                <a:gd name="T51" fmla="*/ 3018 h 3018"/>
                <a:gd name="T52" fmla="*/ 1887 w 3019"/>
                <a:gd name="T53" fmla="*/ 2969 h 3018"/>
                <a:gd name="T54" fmla="*/ 2229 w 3019"/>
                <a:gd name="T55" fmla="*/ 2836 h 3018"/>
                <a:gd name="T56" fmla="*/ 2525 w 3019"/>
                <a:gd name="T57" fmla="*/ 2625 h 3018"/>
                <a:gd name="T58" fmla="*/ 2762 w 3019"/>
                <a:gd name="T59" fmla="*/ 2352 h 3018"/>
                <a:gd name="T60" fmla="*/ 2928 w 3019"/>
                <a:gd name="T61" fmla="*/ 2028 h 3018"/>
                <a:gd name="T62" fmla="*/ 3011 w 3019"/>
                <a:gd name="T63" fmla="*/ 1663 h 3018"/>
                <a:gd name="T64" fmla="*/ 3002 w 3019"/>
                <a:gd name="T65" fmla="*/ 1278 h 3018"/>
                <a:gd name="T66" fmla="*/ 2901 w 3019"/>
                <a:gd name="T67" fmla="*/ 921 h 3018"/>
                <a:gd name="T68" fmla="*/ 2719 w 3019"/>
                <a:gd name="T69" fmla="*/ 605 h 3018"/>
                <a:gd name="T70" fmla="*/ 2470 w 3019"/>
                <a:gd name="T71" fmla="*/ 344 h 3018"/>
                <a:gd name="T72" fmla="*/ 2164 w 3019"/>
                <a:gd name="T73" fmla="*/ 149 h 3018"/>
                <a:gd name="T74" fmla="*/ 1814 w 3019"/>
                <a:gd name="T75" fmla="*/ 30 h 3018"/>
                <a:gd name="T76" fmla="*/ 1432 w 3019"/>
                <a:gd name="T77" fmla="*/ 2 h 3018"/>
                <a:gd name="T78" fmla="*/ 1061 w 3019"/>
                <a:gd name="T79" fmla="*/ 67 h 3018"/>
                <a:gd name="T80" fmla="*/ 727 w 3019"/>
                <a:gd name="T81" fmla="*/ 218 h 3018"/>
                <a:gd name="T82" fmla="*/ 442 w 3019"/>
                <a:gd name="T83" fmla="*/ 441 h 3018"/>
                <a:gd name="T84" fmla="*/ 219 w 3019"/>
                <a:gd name="T85" fmla="*/ 726 h 3018"/>
                <a:gd name="T86" fmla="*/ 68 w 3019"/>
                <a:gd name="T87" fmla="*/ 1060 h 3018"/>
                <a:gd name="T88" fmla="*/ 2 w 3019"/>
                <a:gd name="T89" fmla="*/ 1431 h 3018"/>
                <a:gd name="T90" fmla="*/ 30 w 3019"/>
                <a:gd name="T91" fmla="*/ 1812 h 3018"/>
                <a:gd name="T92" fmla="*/ 149 w 3019"/>
                <a:gd name="T93" fmla="*/ 2163 h 3018"/>
                <a:gd name="T94" fmla="*/ 344 w 3019"/>
                <a:gd name="T95" fmla="*/ 2468 h 3018"/>
                <a:gd name="T96" fmla="*/ 606 w 3019"/>
                <a:gd name="T97" fmla="*/ 2718 h 3018"/>
                <a:gd name="T98" fmla="*/ 922 w 3019"/>
                <a:gd name="T99" fmla="*/ 2899 h 3018"/>
                <a:gd name="T100" fmla="*/ 1280 w 3019"/>
                <a:gd name="T101" fmla="*/ 2999 h 30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019" h="3018">
                  <a:moveTo>
                    <a:pt x="1510" y="503"/>
                  </a:moveTo>
                  <a:lnTo>
                    <a:pt x="1561" y="504"/>
                  </a:lnTo>
                  <a:lnTo>
                    <a:pt x="1612" y="508"/>
                  </a:lnTo>
                  <a:lnTo>
                    <a:pt x="1663" y="514"/>
                  </a:lnTo>
                  <a:lnTo>
                    <a:pt x="1712" y="523"/>
                  </a:lnTo>
                  <a:lnTo>
                    <a:pt x="1761" y="534"/>
                  </a:lnTo>
                  <a:lnTo>
                    <a:pt x="1809" y="548"/>
                  </a:lnTo>
                  <a:lnTo>
                    <a:pt x="1856" y="564"/>
                  </a:lnTo>
                  <a:lnTo>
                    <a:pt x="1901" y="581"/>
                  </a:lnTo>
                  <a:lnTo>
                    <a:pt x="1946" y="602"/>
                  </a:lnTo>
                  <a:lnTo>
                    <a:pt x="1989" y="624"/>
                  </a:lnTo>
                  <a:lnTo>
                    <a:pt x="2031" y="649"/>
                  </a:lnTo>
                  <a:lnTo>
                    <a:pt x="2072" y="675"/>
                  </a:lnTo>
                  <a:lnTo>
                    <a:pt x="2112" y="703"/>
                  </a:lnTo>
                  <a:lnTo>
                    <a:pt x="2150" y="732"/>
                  </a:lnTo>
                  <a:lnTo>
                    <a:pt x="2186" y="764"/>
                  </a:lnTo>
                  <a:lnTo>
                    <a:pt x="2221" y="797"/>
                  </a:lnTo>
                  <a:lnTo>
                    <a:pt x="2255" y="833"/>
                  </a:lnTo>
                  <a:lnTo>
                    <a:pt x="2286" y="869"/>
                  </a:lnTo>
                  <a:lnTo>
                    <a:pt x="2316" y="907"/>
                  </a:lnTo>
                  <a:lnTo>
                    <a:pt x="2344" y="946"/>
                  </a:lnTo>
                  <a:lnTo>
                    <a:pt x="2370" y="988"/>
                  </a:lnTo>
                  <a:lnTo>
                    <a:pt x="2394" y="1029"/>
                  </a:lnTo>
                  <a:lnTo>
                    <a:pt x="2417" y="1073"/>
                  </a:lnTo>
                  <a:lnTo>
                    <a:pt x="2437" y="1117"/>
                  </a:lnTo>
                  <a:lnTo>
                    <a:pt x="2455" y="1163"/>
                  </a:lnTo>
                  <a:lnTo>
                    <a:pt x="2471" y="1210"/>
                  </a:lnTo>
                  <a:lnTo>
                    <a:pt x="2484" y="1257"/>
                  </a:lnTo>
                  <a:lnTo>
                    <a:pt x="2496" y="1305"/>
                  </a:lnTo>
                  <a:lnTo>
                    <a:pt x="2504" y="1356"/>
                  </a:lnTo>
                  <a:lnTo>
                    <a:pt x="2511" y="1406"/>
                  </a:lnTo>
                  <a:lnTo>
                    <a:pt x="2515" y="1456"/>
                  </a:lnTo>
                  <a:lnTo>
                    <a:pt x="2516" y="1509"/>
                  </a:lnTo>
                  <a:lnTo>
                    <a:pt x="2515" y="1560"/>
                  </a:lnTo>
                  <a:lnTo>
                    <a:pt x="2511" y="1611"/>
                  </a:lnTo>
                  <a:lnTo>
                    <a:pt x="2504" y="1662"/>
                  </a:lnTo>
                  <a:lnTo>
                    <a:pt x="2496" y="1711"/>
                  </a:lnTo>
                  <a:lnTo>
                    <a:pt x="2484" y="1759"/>
                  </a:lnTo>
                  <a:lnTo>
                    <a:pt x="2471" y="1807"/>
                  </a:lnTo>
                  <a:lnTo>
                    <a:pt x="2455" y="1854"/>
                  </a:lnTo>
                  <a:lnTo>
                    <a:pt x="2437" y="1900"/>
                  </a:lnTo>
                  <a:lnTo>
                    <a:pt x="2417" y="1944"/>
                  </a:lnTo>
                  <a:lnTo>
                    <a:pt x="2394" y="1988"/>
                  </a:lnTo>
                  <a:lnTo>
                    <a:pt x="2370" y="2030"/>
                  </a:lnTo>
                  <a:lnTo>
                    <a:pt x="2344" y="2071"/>
                  </a:lnTo>
                  <a:lnTo>
                    <a:pt x="2316" y="2110"/>
                  </a:lnTo>
                  <a:lnTo>
                    <a:pt x="2286" y="2148"/>
                  </a:lnTo>
                  <a:lnTo>
                    <a:pt x="2255" y="2185"/>
                  </a:lnTo>
                  <a:lnTo>
                    <a:pt x="2221" y="2220"/>
                  </a:lnTo>
                  <a:lnTo>
                    <a:pt x="2186" y="2253"/>
                  </a:lnTo>
                  <a:lnTo>
                    <a:pt x="2150" y="2284"/>
                  </a:lnTo>
                  <a:lnTo>
                    <a:pt x="2112" y="2314"/>
                  </a:lnTo>
                  <a:lnTo>
                    <a:pt x="2072" y="2343"/>
                  </a:lnTo>
                  <a:lnTo>
                    <a:pt x="2031" y="2369"/>
                  </a:lnTo>
                  <a:lnTo>
                    <a:pt x="1989" y="2393"/>
                  </a:lnTo>
                  <a:lnTo>
                    <a:pt x="1946" y="2415"/>
                  </a:lnTo>
                  <a:lnTo>
                    <a:pt x="1901" y="2435"/>
                  </a:lnTo>
                  <a:lnTo>
                    <a:pt x="1856" y="2453"/>
                  </a:lnTo>
                  <a:lnTo>
                    <a:pt x="1809" y="2469"/>
                  </a:lnTo>
                  <a:lnTo>
                    <a:pt x="1761" y="2482"/>
                  </a:lnTo>
                  <a:lnTo>
                    <a:pt x="1712" y="2494"/>
                  </a:lnTo>
                  <a:lnTo>
                    <a:pt x="1663" y="2503"/>
                  </a:lnTo>
                  <a:lnTo>
                    <a:pt x="1612" y="2510"/>
                  </a:lnTo>
                  <a:lnTo>
                    <a:pt x="1561" y="2514"/>
                  </a:lnTo>
                  <a:lnTo>
                    <a:pt x="1510" y="2515"/>
                  </a:lnTo>
                  <a:lnTo>
                    <a:pt x="1458" y="2514"/>
                  </a:lnTo>
                  <a:lnTo>
                    <a:pt x="1407" y="2510"/>
                  </a:lnTo>
                  <a:lnTo>
                    <a:pt x="1357" y="2503"/>
                  </a:lnTo>
                  <a:lnTo>
                    <a:pt x="1308" y="2494"/>
                  </a:lnTo>
                  <a:lnTo>
                    <a:pt x="1258" y="2482"/>
                  </a:lnTo>
                  <a:lnTo>
                    <a:pt x="1211" y="2469"/>
                  </a:lnTo>
                  <a:lnTo>
                    <a:pt x="1165" y="2453"/>
                  </a:lnTo>
                  <a:lnTo>
                    <a:pt x="1118" y="2435"/>
                  </a:lnTo>
                  <a:lnTo>
                    <a:pt x="1074" y="2415"/>
                  </a:lnTo>
                  <a:lnTo>
                    <a:pt x="1031" y="2393"/>
                  </a:lnTo>
                  <a:lnTo>
                    <a:pt x="988" y="2369"/>
                  </a:lnTo>
                  <a:lnTo>
                    <a:pt x="947" y="2343"/>
                  </a:lnTo>
                  <a:lnTo>
                    <a:pt x="908" y="2314"/>
                  </a:lnTo>
                  <a:lnTo>
                    <a:pt x="870" y="2284"/>
                  </a:lnTo>
                  <a:lnTo>
                    <a:pt x="833" y="2253"/>
                  </a:lnTo>
                  <a:lnTo>
                    <a:pt x="798" y="2220"/>
                  </a:lnTo>
                  <a:lnTo>
                    <a:pt x="765" y="2185"/>
                  </a:lnTo>
                  <a:lnTo>
                    <a:pt x="734" y="2148"/>
                  </a:lnTo>
                  <a:lnTo>
                    <a:pt x="704" y="2110"/>
                  </a:lnTo>
                  <a:lnTo>
                    <a:pt x="675" y="2071"/>
                  </a:lnTo>
                  <a:lnTo>
                    <a:pt x="649" y="2030"/>
                  </a:lnTo>
                  <a:lnTo>
                    <a:pt x="625" y="1988"/>
                  </a:lnTo>
                  <a:lnTo>
                    <a:pt x="603" y="1944"/>
                  </a:lnTo>
                  <a:lnTo>
                    <a:pt x="583" y="1900"/>
                  </a:lnTo>
                  <a:lnTo>
                    <a:pt x="565" y="1854"/>
                  </a:lnTo>
                  <a:lnTo>
                    <a:pt x="549" y="1807"/>
                  </a:lnTo>
                  <a:lnTo>
                    <a:pt x="536" y="1759"/>
                  </a:lnTo>
                  <a:lnTo>
                    <a:pt x="524" y="1711"/>
                  </a:lnTo>
                  <a:lnTo>
                    <a:pt x="514" y="1662"/>
                  </a:lnTo>
                  <a:lnTo>
                    <a:pt x="508" y="1611"/>
                  </a:lnTo>
                  <a:lnTo>
                    <a:pt x="504" y="1560"/>
                  </a:lnTo>
                  <a:lnTo>
                    <a:pt x="503" y="1509"/>
                  </a:lnTo>
                  <a:lnTo>
                    <a:pt x="504" y="1456"/>
                  </a:lnTo>
                  <a:lnTo>
                    <a:pt x="508" y="1406"/>
                  </a:lnTo>
                  <a:lnTo>
                    <a:pt x="514" y="1356"/>
                  </a:lnTo>
                  <a:lnTo>
                    <a:pt x="524" y="1305"/>
                  </a:lnTo>
                  <a:lnTo>
                    <a:pt x="536" y="1257"/>
                  </a:lnTo>
                  <a:lnTo>
                    <a:pt x="549" y="1210"/>
                  </a:lnTo>
                  <a:lnTo>
                    <a:pt x="565" y="1163"/>
                  </a:lnTo>
                  <a:lnTo>
                    <a:pt x="583" y="1117"/>
                  </a:lnTo>
                  <a:lnTo>
                    <a:pt x="603" y="1073"/>
                  </a:lnTo>
                  <a:lnTo>
                    <a:pt x="625" y="1029"/>
                  </a:lnTo>
                  <a:lnTo>
                    <a:pt x="649" y="988"/>
                  </a:lnTo>
                  <a:lnTo>
                    <a:pt x="675" y="946"/>
                  </a:lnTo>
                  <a:lnTo>
                    <a:pt x="704" y="907"/>
                  </a:lnTo>
                  <a:lnTo>
                    <a:pt x="734" y="869"/>
                  </a:lnTo>
                  <a:lnTo>
                    <a:pt x="765" y="833"/>
                  </a:lnTo>
                  <a:lnTo>
                    <a:pt x="798" y="797"/>
                  </a:lnTo>
                  <a:lnTo>
                    <a:pt x="833" y="764"/>
                  </a:lnTo>
                  <a:lnTo>
                    <a:pt x="870" y="732"/>
                  </a:lnTo>
                  <a:lnTo>
                    <a:pt x="908" y="703"/>
                  </a:lnTo>
                  <a:lnTo>
                    <a:pt x="947" y="675"/>
                  </a:lnTo>
                  <a:lnTo>
                    <a:pt x="988" y="649"/>
                  </a:lnTo>
                  <a:lnTo>
                    <a:pt x="1031" y="624"/>
                  </a:lnTo>
                  <a:lnTo>
                    <a:pt x="1074" y="602"/>
                  </a:lnTo>
                  <a:lnTo>
                    <a:pt x="1118" y="581"/>
                  </a:lnTo>
                  <a:lnTo>
                    <a:pt x="1165" y="564"/>
                  </a:lnTo>
                  <a:lnTo>
                    <a:pt x="1211" y="548"/>
                  </a:lnTo>
                  <a:lnTo>
                    <a:pt x="1258" y="534"/>
                  </a:lnTo>
                  <a:lnTo>
                    <a:pt x="1308" y="523"/>
                  </a:lnTo>
                  <a:lnTo>
                    <a:pt x="1357" y="514"/>
                  </a:lnTo>
                  <a:lnTo>
                    <a:pt x="1407" y="508"/>
                  </a:lnTo>
                  <a:lnTo>
                    <a:pt x="1458" y="504"/>
                  </a:lnTo>
                  <a:lnTo>
                    <a:pt x="1510" y="503"/>
                  </a:lnTo>
                  <a:close/>
                  <a:moveTo>
                    <a:pt x="1510" y="3018"/>
                  </a:moveTo>
                  <a:lnTo>
                    <a:pt x="1587" y="3016"/>
                  </a:lnTo>
                  <a:lnTo>
                    <a:pt x="1664" y="3010"/>
                  </a:lnTo>
                  <a:lnTo>
                    <a:pt x="1739" y="2999"/>
                  </a:lnTo>
                  <a:lnTo>
                    <a:pt x="1814" y="2986"/>
                  </a:lnTo>
                  <a:lnTo>
                    <a:pt x="1887" y="2969"/>
                  </a:lnTo>
                  <a:lnTo>
                    <a:pt x="1959" y="2949"/>
                  </a:lnTo>
                  <a:lnTo>
                    <a:pt x="2029" y="2926"/>
                  </a:lnTo>
                  <a:lnTo>
                    <a:pt x="2098" y="2899"/>
                  </a:lnTo>
                  <a:lnTo>
                    <a:pt x="2164" y="2869"/>
                  </a:lnTo>
                  <a:lnTo>
                    <a:pt x="2229" y="2836"/>
                  </a:lnTo>
                  <a:lnTo>
                    <a:pt x="2293" y="2799"/>
                  </a:lnTo>
                  <a:lnTo>
                    <a:pt x="2354" y="2760"/>
                  </a:lnTo>
                  <a:lnTo>
                    <a:pt x="2413" y="2718"/>
                  </a:lnTo>
                  <a:lnTo>
                    <a:pt x="2470" y="2673"/>
                  </a:lnTo>
                  <a:lnTo>
                    <a:pt x="2525" y="2625"/>
                  </a:lnTo>
                  <a:lnTo>
                    <a:pt x="2578" y="2575"/>
                  </a:lnTo>
                  <a:lnTo>
                    <a:pt x="2627" y="2523"/>
                  </a:lnTo>
                  <a:lnTo>
                    <a:pt x="2675" y="2468"/>
                  </a:lnTo>
                  <a:lnTo>
                    <a:pt x="2719" y="2411"/>
                  </a:lnTo>
                  <a:lnTo>
                    <a:pt x="2762" y="2352"/>
                  </a:lnTo>
                  <a:lnTo>
                    <a:pt x="2801" y="2291"/>
                  </a:lnTo>
                  <a:lnTo>
                    <a:pt x="2837" y="2228"/>
                  </a:lnTo>
                  <a:lnTo>
                    <a:pt x="2870" y="2163"/>
                  </a:lnTo>
                  <a:lnTo>
                    <a:pt x="2901" y="2096"/>
                  </a:lnTo>
                  <a:lnTo>
                    <a:pt x="2928" y="2028"/>
                  </a:lnTo>
                  <a:lnTo>
                    <a:pt x="2952" y="1957"/>
                  </a:lnTo>
                  <a:lnTo>
                    <a:pt x="2972" y="1886"/>
                  </a:lnTo>
                  <a:lnTo>
                    <a:pt x="2989" y="1812"/>
                  </a:lnTo>
                  <a:lnTo>
                    <a:pt x="3002" y="1738"/>
                  </a:lnTo>
                  <a:lnTo>
                    <a:pt x="3011" y="1663"/>
                  </a:lnTo>
                  <a:lnTo>
                    <a:pt x="3017" y="1586"/>
                  </a:lnTo>
                  <a:lnTo>
                    <a:pt x="3019" y="1509"/>
                  </a:lnTo>
                  <a:lnTo>
                    <a:pt x="3017" y="1431"/>
                  </a:lnTo>
                  <a:lnTo>
                    <a:pt x="3011" y="1354"/>
                  </a:lnTo>
                  <a:lnTo>
                    <a:pt x="3002" y="1278"/>
                  </a:lnTo>
                  <a:lnTo>
                    <a:pt x="2989" y="1204"/>
                  </a:lnTo>
                  <a:lnTo>
                    <a:pt x="2972" y="1131"/>
                  </a:lnTo>
                  <a:lnTo>
                    <a:pt x="2952" y="1060"/>
                  </a:lnTo>
                  <a:lnTo>
                    <a:pt x="2928" y="990"/>
                  </a:lnTo>
                  <a:lnTo>
                    <a:pt x="2901" y="921"/>
                  </a:lnTo>
                  <a:lnTo>
                    <a:pt x="2870" y="854"/>
                  </a:lnTo>
                  <a:lnTo>
                    <a:pt x="2837" y="789"/>
                  </a:lnTo>
                  <a:lnTo>
                    <a:pt x="2801" y="726"/>
                  </a:lnTo>
                  <a:lnTo>
                    <a:pt x="2762" y="665"/>
                  </a:lnTo>
                  <a:lnTo>
                    <a:pt x="2719" y="605"/>
                  </a:lnTo>
                  <a:lnTo>
                    <a:pt x="2675" y="549"/>
                  </a:lnTo>
                  <a:lnTo>
                    <a:pt x="2627" y="494"/>
                  </a:lnTo>
                  <a:lnTo>
                    <a:pt x="2578" y="441"/>
                  </a:lnTo>
                  <a:lnTo>
                    <a:pt x="2525" y="391"/>
                  </a:lnTo>
                  <a:lnTo>
                    <a:pt x="2470" y="344"/>
                  </a:lnTo>
                  <a:lnTo>
                    <a:pt x="2413" y="300"/>
                  </a:lnTo>
                  <a:lnTo>
                    <a:pt x="2354" y="257"/>
                  </a:lnTo>
                  <a:lnTo>
                    <a:pt x="2293" y="218"/>
                  </a:lnTo>
                  <a:lnTo>
                    <a:pt x="2229" y="182"/>
                  </a:lnTo>
                  <a:lnTo>
                    <a:pt x="2164" y="149"/>
                  </a:lnTo>
                  <a:lnTo>
                    <a:pt x="2098" y="118"/>
                  </a:lnTo>
                  <a:lnTo>
                    <a:pt x="2029" y="91"/>
                  </a:lnTo>
                  <a:lnTo>
                    <a:pt x="1959" y="67"/>
                  </a:lnTo>
                  <a:lnTo>
                    <a:pt x="1887" y="47"/>
                  </a:lnTo>
                  <a:lnTo>
                    <a:pt x="1814" y="30"/>
                  </a:lnTo>
                  <a:lnTo>
                    <a:pt x="1739" y="17"/>
                  </a:lnTo>
                  <a:lnTo>
                    <a:pt x="1664" y="8"/>
                  </a:lnTo>
                  <a:lnTo>
                    <a:pt x="1587" y="2"/>
                  </a:lnTo>
                  <a:lnTo>
                    <a:pt x="1510" y="0"/>
                  </a:lnTo>
                  <a:lnTo>
                    <a:pt x="1432" y="2"/>
                  </a:lnTo>
                  <a:lnTo>
                    <a:pt x="1356" y="8"/>
                  </a:lnTo>
                  <a:lnTo>
                    <a:pt x="1280" y="17"/>
                  </a:lnTo>
                  <a:lnTo>
                    <a:pt x="1206" y="30"/>
                  </a:lnTo>
                  <a:lnTo>
                    <a:pt x="1132" y="47"/>
                  </a:lnTo>
                  <a:lnTo>
                    <a:pt x="1061" y="67"/>
                  </a:lnTo>
                  <a:lnTo>
                    <a:pt x="990" y="91"/>
                  </a:lnTo>
                  <a:lnTo>
                    <a:pt x="922" y="118"/>
                  </a:lnTo>
                  <a:lnTo>
                    <a:pt x="856" y="149"/>
                  </a:lnTo>
                  <a:lnTo>
                    <a:pt x="790" y="182"/>
                  </a:lnTo>
                  <a:lnTo>
                    <a:pt x="727" y="218"/>
                  </a:lnTo>
                  <a:lnTo>
                    <a:pt x="665" y="257"/>
                  </a:lnTo>
                  <a:lnTo>
                    <a:pt x="606" y="300"/>
                  </a:lnTo>
                  <a:lnTo>
                    <a:pt x="550" y="344"/>
                  </a:lnTo>
                  <a:lnTo>
                    <a:pt x="494" y="391"/>
                  </a:lnTo>
                  <a:lnTo>
                    <a:pt x="442" y="441"/>
                  </a:lnTo>
                  <a:lnTo>
                    <a:pt x="393" y="494"/>
                  </a:lnTo>
                  <a:lnTo>
                    <a:pt x="344" y="549"/>
                  </a:lnTo>
                  <a:lnTo>
                    <a:pt x="300" y="605"/>
                  </a:lnTo>
                  <a:lnTo>
                    <a:pt x="258" y="665"/>
                  </a:lnTo>
                  <a:lnTo>
                    <a:pt x="219" y="726"/>
                  </a:lnTo>
                  <a:lnTo>
                    <a:pt x="182" y="789"/>
                  </a:lnTo>
                  <a:lnTo>
                    <a:pt x="149" y="854"/>
                  </a:lnTo>
                  <a:lnTo>
                    <a:pt x="119" y="921"/>
                  </a:lnTo>
                  <a:lnTo>
                    <a:pt x="92" y="990"/>
                  </a:lnTo>
                  <a:lnTo>
                    <a:pt x="68" y="1060"/>
                  </a:lnTo>
                  <a:lnTo>
                    <a:pt x="48" y="1131"/>
                  </a:lnTo>
                  <a:lnTo>
                    <a:pt x="30" y="1204"/>
                  </a:lnTo>
                  <a:lnTo>
                    <a:pt x="17" y="1278"/>
                  </a:lnTo>
                  <a:lnTo>
                    <a:pt x="8" y="1354"/>
                  </a:lnTo>
                  <a:lnTo>
                    <a:pt x="2" y="1431"/>
                  </a:lnTo>
                  <a:lnTo>
                    <a:pt x="0" y="1509"/>
                  </a:lnTo>
                  <a:lnTo>
                    <a:pt x="2" y="1586"/>
                  </a:lnTo>
                  <a:lnTo>
                    <a:pt x="8" y="1663"/>
                  </a:lnTo>
                  <a:lnTo>
                    <a:pt x="17" y="1738"/>
                  </a:lnTo>
                  <a:lnTo>
                    <a:pt x="30" y="1812"/>
                  </a:lnTo>
                  <a:lnTo>
                    <a:pt x="48" y="1886"/>
                  </a:lnTo>
                  <a:lnTo>
                    <a:pt x="68" y="1957"/>
                  </a:lnTo>
                  <a:lnTo>
                    <a:pt x="92" y="2028"/>
                  </a:lnTo>
                  <a:lnTo>
                    <a:pt x="119" y="2096"/>
                  </a:lnTo>
                  <a:lnTo>
                    <a:pt x="149" y="2163"/>
                  </a:lnTo>
                  <a:lnTo>
                    <a:pt x="182" y="2228"/>
                  </a:lnTo>
                  <a:lnTo>
                    <a:pt x="219" y="2291"/>
                  </a:lnTo>
                  <a:lnTo>
                    <a:pt x="258" y="2352"/>
                  </a:lnTo>
                  <a:lnTo>
                    <a:pt x="300" y="2411"/>
                  </a:lnTo>
                  <a:lnTo>
                    <a:pt x="344" y="2468"/>
                  </a:lnTo>
                  <a:lnTo>
                    <a:pt x="393" y="2523"/>
                  </a:lnTo>
                  <a:lnTo>
                    <a:pt x="442" y="2575"/>
                  </a:lnTo>
                  <a:lnTo>
                    <a:pt x="494" y="2625"/>
                  </a:lnTo>
                  <a:lnTo>
                    <a:pt x="550" y="2673"/>
                  </a:lnTo>
                  <a:lnTo>
                    <a:pt x="606" y="2718"/>
                  </a:lnTo>
                  <a:lnTo>
                    <a:pt x="665" y="2760"/>
                  </a:lnTo>
                  <a:lnTo>
                    <a:pt x="727" y="2799"/>
                  </a:lnTo>
                  <a:lnTo>
                    <a:pt x="790" y="2836"/>
                  </a:lnTo>
                  <a:lnTo>
                    <a:pt x="856" y="2869"/>
                  </a:lnTo>
                  <a:lnTo>
                    <a:pt x="922" y="2899"/>
                  </a:lnTo>
                  <a:lnTo>
                    <a:pt x="990" y="2926"/>
                  </a:lnTo>
                  <a:lnTo>
                    <a:pt x="1061" y="2949"/>
                  </a:lnTo>
                  <a:lnTo>
                    <a:pt x="1132" y="2969"/>
                  </a:lnTo>
                  <a:lnTo>
                    <a:pt x="1206" y="2986"/>
                  </a:lnTo>
                  <a:lnTo>
                    <a:pt x="1280" y="2999"/>
                  </a:lnTo>
                  <a:lnTo>
                    <a:pt x="1356" y="3010"/>
                  </a:lnTo>
                  <a:lnTo>
                    <a:pt x="1432" y="3016"/>
                  </a:lnTo>
                  <a:lnTo>
                    <a:pt x="1510" y="30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86" name="íṣľiḓé">
              <a:extLst>
                <a:ext uri="{FF2B5EF4-FFF2-40B4-BE49-F238E27FC236}">
                  <a16:creationId xmlns:a16="http://schemas.microsoft.com/office/drawing/2014/main" id="{947582E0-142C-4C11-B062-44C5CA1052CA}"/>
                </a:ext>
              </a:extLst>
            </p:cNvPr>
            <p:cNvSpPr/>
            <p:nvPr/>
          </p:nvSpPr>
          <p:spPr bwMode="auto">
            <a:xfrm>
              <a:off x="5087248" y="1899537"/>
              <a:ext cx="558350" cy="556940"/>
            </a:xfrm>
            <a:custGeom>
              <a:avLst/>
              <a:gdLst>
                <a:gd name="T0" fmla="*/ 12770 w 14656"/>
                <a:gd name="T1" fmla="*/ 6106 h 14620"/>
                <a:gd name="T2" fmla="*/ 12640 w 14656"/>
                <a:gd name="T3" fmla="*/ 6115 h 14620"/>
                <a:gd name="T4" fmla="*/ 12519 w 14656"/>
                <a:gd name="T5" fmla="*/ 6055 h 14620"/>
                <a:gd name="T6" fmla="*/ 9966 w 14656"/>
                <a:gd name="T7" fmla="*/ 5994 h 14620"/>
                <a:gd name="T8" fmla="*/ 8414 w 14656"/>
                <a:gd name="T9" fmla="*/ 5281 h 14620"/>
                <a:gd name="T10" fmla="*/ 6782 w 14656"/>
                <a:gd name="T11" fmla="*/ 4968 h 14620"/>
                <a:gd name="T12" fmla="*/ 5698 w 14656"/>
                <a:gd name="T13" fmla="*/ 4822 h 14620"/>
                <a:gd name="T14" fmla="*/ 8599 w 14656"/>
                <a:gd name="T15" fmla="*/ 2123 h 14620"/>
                <a:gd name="T16" fmla="*/ 8551 w 14656"/>
                <a:gd name="T17" fmla="*/ 1998 h 14620"/>
                <a:gd name="T18" fmla="*/ 8574 w 14656"/>
                <a:gd name="T19" fmla="*/ 1868 h 14620"/>
                <a:gd name="T20" fmla="*/ 9364 w 14656"/>
                <a:gd name="T21" fmla="*/ 1057 h 14620"/>
                <a:gd name="T22" fmla="*/ 9489 w 14656"/>
                <a:gd name="T23" fmla="*/ 1010 h 14620"/>
                <a:gd name="T24" fmla="*/ 9619 w 14656"/>
                <a:gd name="T25" fmla="*/ 1032 h 14620"/>
                <a:gd name="T26" fmla="*/ 13601 w 14656"/>
                <a:gd name="T27" fmla="*/ 5006 h 14620"/>
                <a:gd name="T28" fmla="*/ 13650 w 14656"/>
                <a:gd name="T29" fmla="*/ 5131 h 14620"/>
                <a:gd name="T30" fmla="*/ 13627 w 14656"/>
                <a:gd name="T31" fmla="*/ 5261 h 14620"/>
                <a:gd name="T32" fmla="*/ 8336 w 14656"/>
                <a:gd name="T33" fmla="*/ 13377 h 14620"/>
                <a:gd name="T34" fmla="*/ 8074 w 14656"/>
                <a:gd name="T35" fmla="*/ 13585 h 14620"/>
                <a:gd name="T36" fmla="*/ 7781 w 14656"/>
                <a:gd name="T37" fmla="*/ 13595 h 14620"/>
                <a:gd name="T38" fmla="*/ 7556 w 14656"/>
                <a:gd name="T39" fmla="*/ 13465 h 14620"/>
                <a:gd name="T40" fmla="*/ 1014 w 14656"/>
                <a:gd name="T41" fmla="*/ 6852 h 14620"/>
                <a:gd name="T42" fmla="*/ 1065 w 14656"/>
                <a:gd name="T43" fmla="*/ 6524 h 14620"/>
                <a:gd name="T44" fmla="*/ 1308 w 14656"/>
                <a:gd name="T45" fmla="*/ 6300 h 14620"/>
                <a:gd name="T46" fmla="*/ 6805 w 14656"/>
                <a:gd name="T47" fmla="*/ 5480 h 14620"/>
                <a:gd name="T48" fmla="*/ 8979 w 14656"/>
                <a:gd name="T49" fmla="*/ 6023 h 14620"/>
                <a:gd name="T50" fmla="*/ 10402 w 14656"/>
                <a:gd name="T51" fmla="*/ 369 h 14620"/>
                <a:gd name="T52" fmla="*/ 10132 w 14656"/>
                <a:gd name="T53" fmla="*/ 163 h 14620"/>
                <a:gd name="T54" fmla="*/ 9820 w 14656"/>
                <a:gd name="T55" fmla="*/ 38 h 14620"/>
                <a:gd name="T56" fmla="*/ 9482 w 14656"/>
                <a:gd name="T57" fmla="*/ 0 h 14620"/>
                <a:gd name="T58" fmla="*/ 9147 w 14656"/>
                <a:gd name="T59" fmla="*/ 55 h 14620"/>
                <a:gd name="T60" fmla="*/ 8841 w 14656"/>
                <a:gd name="T61" fmla="*/ 195 h 14620"/>
                <a:gd name="T62" fmla="*/ 7892 w 14656"/>
                <a:gd name="T63" fmla="*/ 1104 h 14620"/>
                <a:gd name="T64" fmla="*/ 7692 w 14656"/>
                <a:gd name="T65" fmla="*/ 1380 h 14620"/>
                <a:gd name="T66" fmla="*/ 7576 w 14656"/>
                <a:gd name="T67" fmla="*/ 1695 h 14620"/>
                <a:gd name="T68" fmla="*/ 7548 w 14656"/>
                <a:gd name="T69" fmla="*/ 2062 h 14620"/>
                <a:gd name="T70" fmla="*/ 7669 w 14656"/>
                <a:gd name="T71" fmla="*/ 2522 h 14620"/>
                <a:gd name="T72" fmla="*/ 623 w 14656"/>
                <a:gd name="T73" fmla="*/ 5539 h 14620"/>
                <a:gd name="T74" fmla="*/ 274 w 14656"/>
                <a:gd name="T75" fmla="*/ 5894 h 14620"/>
                <a:gd name="T76" fmla="*/ 58 w 14656"/>
                <a:gd name="T77" fmla="*/ 6345 h 14620"/>
                <a:gd name="T78" fmla="*/ 3 w 14656"/>
                <a:gd name="T79" fmla="*/ 6850 h 14620"/>
                <a:gd name="T80" fmla="*/ 114 w 14656"/>
                <a:gd name="T81" fmla="*/ 7337 h 14620"/>
                <a:gd name="T82" fmla="*/ 382 w 14656"/>
                <a:gd name="T83" fmla="*/ 7767 h 14620"/>
                <a:gd name="T84" fmla="*/ 7067 w 14656"/>
                <a:gd name="T85" fmla="*/ 14362 h 14620"/>
                <a:gd name="T86" fmla="*/ 7416 w 14656"/>
                <a:gd name="T87" fmla="*/ 14537 h 14620"/>
                <a:gd name="T88" fmla="*/ 7800 w 14656"/>
                <a:gd name="T89" fmla="*/ 14616 h 14620"/>
                <a:gd name="T90" fmla="*/ 8103 w 14656"/>
                <a:gd name="T91" fmla="*/ 14608 h 14620"/>
                <a:gd name="T92" fmla="*/ 8574 w 14656"/>
                <a:gd name="T93" fmla="*/ 14467 h 14620"/>
                <a:gd name="T94" fmla="*/ 8985 w 14656"/>
                <a:gd name="T95" fmla="*/ 14171 h 14620"/>
                <a:gd name="T96" fmla="*/ 9276 w 14656"/>
                <a:gd name="T97" fmla="*/ 13754 h 14620"/>
                <a:gd name="T98" fmla="*/ 12327 w 14656"/>
                <a:gd name="T99" fmla="*/ 7076 h 14620"/>
                <a:gd name="T100" fmla="*/ 12781 w 14656"/>
                <a:gd name="T101" fmla="*/ 7126 h 14620"/>
                <a:gd name="T102" fmla="*/ 13112 w 14656"/>
                <a:gd name="T103" fmla="*/ 7056 h 14620"/>
                <a:gd name="T104" fmla="*/ 13410 w 14656"/>
                <a:gd name="T105" fmla="*/ 6900 h 14620"/>
                <a:gd name="T106" fmla="*/ 14350 w 14656"/>
                <a:gd name="T107" fmla="*/ 5980 h 14620"/>
                <a:gd name="T108" fmla="*/ 14535 w 14656"/>
                <a:gd name="T109" fmla="*/ 5696 h 14620"/>
                <a:gd name="T110" fmla="*/ 14637 w 14656"/>
                <a:gd name="T111" fmla="*/ 5373 h 14620"/>
                <a:gd name="T112" fmla="*/ 14649 w 14656"/>
                <a:gd name="T113" fmla="*/ 5030 h 14620"/>
                <a:gd name="T114" fmla="*/ 14572 w 14656"/>
                <a:gd name="T115" fmla="*/ 4701 h 14620"/>
                <a:gd name="T116" fmla="*/ 14410 w 14656"/>
                <a:gd name="T117" fmla="*/ 4405 h 14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656" h="14620">
                  <a:moveTo>
                    <a:pt x="13576" y="5334"/>
                  </a:moveTo>
                  <a:lnTo>
                    <a:pt x="12866" y="6046"/>
                  </a:lnTo>
                  <a:lnTo>
                    <a:pt x="12856" y="6055"/>
                  </a:lnTo>
                  <a:lnTo>
                    <a:pt x="12847" y="6064"/>
                  </a:lnTo>
                  <a:lnTo>
                    <a:pt x="12837" y="6071"/>
                  </a:lnTo>
                  <a:lnTo>
                    <a:pt x="12826" y="6079"/>
                  </a:lnTo>
                  <a:lnTo>
                    <a:pt x="12816" y="6085"/>
                  </a:lnTo>
                  <a:lnTo>
                    <a:pt x="12805" y="6091"/>
                  </a:lnTo>
                  <a:lnTo>
                    <a:pt x="12794" y="6097"/>
                  </a:lnTo>
                  <a:lnTo>
                    <a:pt x="12782" y="6102"/>
                  </a:lnTo>
                  <a:lnTo>
                    <a:pt x="12770" y="6106"/>
                  </a:lnTo>
                  <a:lnTo>
                    <a:pt x="12759" y="6110"/>
                  </a:lnTo>
                  <a:lnTo>
                    <a:pt x="12747" y="6113"/>
                  </a:lnTo>
                  <a:lnTo>
                    <a:pt x="12735" y="6115"/>
                  </a:lnTo>
                  <a:lnTo>
                    <a:pt x="12723" y="6117"/>
                  </a:lnTo>
                  <a:lnTo>
                    <a:pt x="12712" y="6119"/>
                  </a:lnTo>
                  <a:lnTo>
                    <a:pt x="12700" y="6120"/>
                  </a:lnTo>
                  <a:lnTo>
                    <a:pt x="12688" y="6120"/>
                  </a:lnTo>
                  <a:lnTo>
                    <a:pt x="12676" y="6120"/>
                  </a:lnTo>
                  <a:lnTo>
                    <a:pt x="12664" y="6119"/>
                  </a:lnTo>
                  <a:lnTo>
                    <a:pt x="12652" y="6117"/>
                  </a:lnTo>
                  <a:lnTo>
                    <a:pt x="12640" y="6115"/>
                  </a:lnTo>
                  <a:lnTo>
                    <a:pt x="12628" y="6113"/>
                  </a:lnTo>
                  <a:lnTo>
                    <a:pt x="12615" y="6110"/>
                  </a:lnTo>
                  <a:lnTo>
                    <a:pt x="12604" y="6106"/>
                  </a:lnTo>
                  <a:lnTo>
                    <a:pt x="12593" y="6102"/>
                  </a:lnTo>
                  <a:lnTo>
                    <a:pt x="12581" y="6097"/>
                  </a:lnTo>
                  <a:lnTo>
                    <a:pt x="12571" y="6091"/>
                  </a:lnTo>
                  <a:lnTo>
                    <a:pt x="12560" y="6085"/>
                  </a:lnTo>
                  <a:lnTo>
                    <a:pt x="12549" y="6079"/>
                  </a:lnTo>
                  <a:lnTo>
                    <a:pt x="12539" y="6071"/>
                  </a:lnTo>
                  <a:lnTo>
                    <a:pt x="12529" y="6064"/>
                  </a:lnTo>
                  <a:lnTo>
                    <a:pt x="12519" y="6055"/>
                  </a:lnTo>
                  <a:lnTo>
                    <a:pt x="12510" y="6046"/>
                  </a:lnTo>
                  <a:lnTo>
                    <a:pt x="11621" y="5156"/>
                  </a:lnTo>
                  <a:lnTo>
                    <a:pt x="10900" y="6965"/>
                  </a:lnTo>
                  <a:lnTo>
                    <a:pt x="10961" y="6813"/>
                  </a:lnTo>
                  <a:lnTo>
                    <a:pt x="10819" y="6674"/>
                  </a:lnTo>
                  <a:lnTo>
                    <a:pt x="10677" y="6544"/>
                  </a:lnTo>
                  <a:lnTo>
                    <a:pt x="10534" y="6420"/>
                  </a:lnTo>
                  <a:lnTo>
                    <a:pt x="10392" y="6304"/>
                  </a:lnTo>
                  <a:lnTo>
                    <a:pt x="10251" y="6194"/>
                  </a:lnTo>
                  <a:lnTo>
                    <a:pt x="10108" y="6091"/>
                  </a:lnTo>
                  <a:lnTo>
                    <a:pt x="9966" y="5994"/>
                  </a:lnTo>
                  <a:lnTo>
                    <a:pt x="9823" y="5905"/>
                  </a:lnTo>
                  <a:lnTo>
                    <a:pt x="9681" y="5820"/>
                  </a:lnTo>
                  <a:lnTo>
                    <a:pt x="9539" y="5740"/>
                  </a:lnTo>
                  <a:lnTo>
                    <a:pt x="9397" y="5667"/>
                  </a:lnTo>
                  <a:lnTo>
                    <a:pt x="9257" y="5598"/>
                  </a:lnTo>
                  <a:lnTo>
                    <a:pt x="9115" y="5535"/>
                  </a:lnTo>
                  <a:lnTo>
                    <a:pt x="8974" y="5475"/>
                  </a:lnTo>
                  <a:lnTo>
                    <a:pt x="8833" y="5421"/>
                  </a:lnTo>
                  <a:lnTo>
                    <a:pt x="8693" y="5370"/>
                  </a:lnTo>
                  <a:lnTo>
                    <a:pt x="8553" y="5324"/>
                  </a:lnTo>
                  <a:lnTo>
                    <a:pt x="8414" y="5281"/>
                  </a:lnTo>
                  <a:lnTo>
                    <a:pt x="8275" y="5241"/>
                  </a:lnTo>
                  <a:lnTo>
                    <a:pt x="8136" y="5205"/>
                  </a:lnTo>
                  <a:lnTo>
                    <a:pt x="7997" y="5172"/>
                  </a:lnTo>
                  <a:lnTo>
                    <a:pt x="7860" y="5141"/>
                  </a:lnTo>
                  <a:lnTo>
                    <a:pt x="7723" y="5113"/>
                  </a:lnTo>
                  <a:lnTo>
                    <a:pt x="7587" y="5088"/>
                  </a:lnTo>
                  <a:lnTo>
                    <a:pt x="7451" y="5065"/>
                  </a:lnTo>
                  <a:lnTo>
                    <a:pt x="7315" y="5043"/>
                  </a:lnTo>
                  <a:lnTo>
                    <a:pt x="7180" y="5022"/>
                  </a:lnTo>
                  <a:lnTo>
                    <a:pt x="7047" y="5003"/>
                  </a:lnTo>
                  <a:lnTo>
                    <a:pt x="6782" y="4968"/>
                  </a:lnTo>
                  <a:lnTo>
                    <a:pt x="6519" y="4936"/>
                  </a:lnTo>
                  <a:lnTo>
                    <a:pt x="6436" y="4926"/>
                  </a:lnTo>
                  <a:lnTo>
                    <a:pt x="6354" y="4915"/>
                  </a:lnTo>
                  <a:lnTo>
                    <a:pt x="6270" y="4905"/>
                  </a:lnTo>
                  <a:lnTo>
                    <a:pt x="6188" y="4893"/>
                  </a:lnTo>
                  <a:lnTo>
                    <a:pt x="6105" y="4882"/>
                  </a:lnTo>
                  <a:lnTo>
                    <a:pt x="6024" y="4871"/>
                  </a:lnTo>
                  <a:lnTo>
                    <a:pt x="5942" y="4859"/>
                  </a:lnTo>
                  <a:lnTo>
                    <a:pt x="5861" y="4847"/>
                  </a:lnTo>
                  <a:lnTo>
                    <a:pt x="5779" y="4835"/>
                  </a:lnTo>
                  <a:lnTo>
                    <a:pt x="5698" y="4822"/>
                  </a:lnTo>
                  <a:lnTo>
                    <a:pt x="5617" y="4809"/>
                  </a:lnTo>
                  <a:lnTo>
                    <a:pt x="5537" y="4795"/>
                  </a:lnTo>
                  <a:lnTo>
                    <a:pt x="5456" y="4779"/>
                  </a:lnTo>
                  <a:lnTo>
                    <a:pt x="5376" y="4764"/>
                  </a:lnTo>
                  <a:lnTo>
                    <a:pt x="5296" y="4748"/>
                  </a:lnTo>
                  <a:lnTo>
                    <a:pt x="5216" y="4731"/>
                  </a:lnTo>
                  <a:lnTo>
                    <a:pt x="9487" y="3017"/>
                  </a:lnTo>
                  <a:lnTo>
                    <a:pt x="8624" y="2152"/>
                  </a:lnTo>
                  <a:lnTo>
                    <a:pt x="8615" y="2143"/>
                  </a:lnTo>
                  <a:lnTo>
                    <a:pt x="8607" y="2133"/>
                  </a:lnTo>
                  <a:lnTo>
                    <a:pt x="8599" y="2123"/>
                  </a:lnTo>
                  <a:lnTo>
                    <a:pt x="8592" y="2113"/>
                  </a:lnTo>
                  <a:lnTo>
                    <a:pt x="8586" y="2102"/>
                  </a:lnTo>
                  <a:lnTo>
                    <a:pt x="8580" y="2091"/>
                  </a:lnTo>
                  <a:lnTo>
                    <a:pt x="8574" y="2080"/>
                  </a:lnTo>
                  <a:lnTo>
                    <a:pt x="8569" y="2068"/>
                  </a:lnTo>
                  <a:lnTo>
                    <a:pt x="8565" y="2057"/>
                  </a:lnTo>
                  <a:lnTo>
                    <a:pt x="8561" y="2046"/>
                  </a:lnTo>
                  <a:lnTo>
                    <a:pt x="8558" y="2034"/>
                  </a:lnTo>
                  <a:lnTo>
                    <a:pt x="8555" y="2022"/>
                  </a:lnTo>
                  <a:lnTo>
                    <a:pt x="8553" y="2010"/>
                  </a:lnTo>
                  <a:lnTo>
                    <a:pt x="8551" y="1998"/>
                  </a:lnTo>
                  <a:lnTo>
                    <a:pt x="8550" y="1986"/>
                  </a:lnTo>
                  <a:lnTo>
                    <a:pt x="8550" y="1974"/>
                  </a:lnTo>
                  <a:lnTo>
                    <a:pt x="8550" y="1961"/>
                  </a:lnTo>
                  <a:lnTo>
                    <a:pt x="8551" y="1949"/>
                  </a:lnTo>
                  <a:lnTo>
                    <a:pt x="8553" y="1938"/>
                  </a:lnTo>
                  <a:lnTo>
                    <a:pt x="8555" y="1926"/>
                  </a:lnTo>
                  <a:lnTo>
                    <a:pt x="8558" y="1914"/>
                  </a:lnTo>
                  <a:lnTo>
                    <a:pt x="8562" y="1902"/>
                  </a:lnTo>
                  <a:lnTo>
                    <a:pt x="8565" y="1891"/>
                  </a:lnTo>
                  <a:lnTo>
                    <a:pt x="8570" y="1879"/>
                  </a:lnTo>
                  <a:lnTo>
                    <a:pt x="8574" y="1868"/>
                  </a:lnTo>
                  <a:lnTo>
                    <a:pt x="8580" y="1857"/>
                  </a:lnTo>
                  <a:lnTo>
                    <a:pt x="8586" y="1845"/>
                  </a:lnTo>
                  <a:lnTo>
                    <a:pt x="8593" y="1835"/>
                  </a:lnTo>
                  <a:lnTo>
                    <a:pt x="8600" y="1825"/>
                  </a:lnTo>
                  <a:lnTo>
                    <a:pt x="8608" y="1815"/>
                  </a:lnTo>
                  <a:lnTo>
                    <a:pt x="8616" y="1805"/>
                  </a:lnTo>
                  <a:lnTo>
                    <a:pt x="8625" y="1796"/>
                  </a:lnTo>
                  <a:lnTo>
                    <a:pt x="9335" y="1082"/>
                  </a:lnTo>
                  <a:lnTo>
                    <a:pt x="9344" y="1073"/>
                  </a:lnTo>
                  <a:lnTo>
                    <a:pt x="9354" y="1065"/>
                  </a:lnTo>
                  <a:lnTo>
                    <a:pt x="9364" y="1057"/>
                  </a:lnTo>
                  <a:lnTo>
                    <a:pt x="9374" y="1050"/>
                  </a:lnTo>
                  <a:lnTo>
                    <a:pt x="9385" y="1043"/>
                  </a:lnTo>
                  <a:lnTo>
                    <a:pt x="9396" y="1037"/>
                  </a:lnTo>
                  <a:lnTo>
                    <a:pt x="9408" y="1032"/>
                  </a:lnTo>
                  <a:lnTo>
                    <a:pt x="9419" y="1027"/>
                  </a:lnTo>
                  <a:lnTo>
                    <a:pt x="9430" y="1023"/>
                  </a:lnTo>
                  <a:lnTo>
                    <a:pt x="9442" y="1019"/>
                  </a:lnTo>
                  <a:lnTo>
                    <a:pt x="9454" y="1016"/>
                  </a:lnTo>
                  <a:lnTo>
                    <a:pt x="9465" y="1013"/>
                  </a:lnTo>
                  <a:lnTo>
                    <a:pt x="9477" y="1011"/>
                  </a:lnTo>
                  <a:lnTo>
                    <a:pt x="9489" y="1010"/>
                  </a:lnTo>
                  <a:lnTo>
                    <a:pt x="9501" y="1009"/>
                  </a:lnTo>
                  <a:lnTo>
                    <a:pt x="9513" y="1009"/>
                  </a:lnTo>
                  <a:lnTo>
                    <a:pt x="9525" y="1009"/>
                  </a:lnTo>
                  <a:lnTo>
                    <a:pt x="9537" y="1010"/>
                  </a:lnTo>
                  <a:lnTo>
                    <a:pt x="9549" y="1011"/>
                  </a:lnTo>
                  <a:lnTo>
                    <a:pt x="9561" y="1013"/>
                  </a:lnTo>
                  <a:lnTo>
                    <a:pt x="9574" y="1016"/>
                  </a:lnTo>
                  <a:lnTo>
                    <a:pt x="9585" y="1019"/>
                  </a:lnTo>
                  <a:lnTo>
                    <a:pt x="9597" y="1023"/>
                  </a:lnTo>
                  <a:lnTo>
                    <a:pt x="9608" y="1027"/>
                  </a:lnTo>
                  <a:lnTo>
                    <a:pt x="9619" y="1032"/>
                  </a:lnTo>
                  <a:lnTo>
                    <a:pt x="9630" y="1037"/>
                  </a:lnTo>
                  <a:lnTo>
                    <a:pt x="9641" y="1043"/>
                  </a:lnTo>
                  <a:lnTo>
                    <a:pt x="9651" y="1050"/>
                  </a:lnTo>
                  <a:lnTo>
                    <a:pt x="9662" y="1057"/>
                  </a:lnTo>
                  <a:lnTo>
                    <a:pt x="9672" y="1065"/>
                  </a:lnTo>
                  <a:lnTo>
                    <a:pt x="9681" y="1073"/>
                  </a:lnTo>
                  <a:lnTo>
                    <a:pt x="9691" y="1082"/>
                  </a:lnTo>
                  <a:lnTo>
                    <a:pt x="13576" y="4978"/>
                  </a:lnTo>
                  <a:lnTo>
                    <a:pt x="13585" y="4987"/>
                  </a:lnTo>
                  <a:lnTo>
                    <a:pt x="13593" y="4996"/>
                  </a:lnTo>
                  <a:lnTo>
                    <a:pt x="13601" y="5006"/>
                  </a:lnTo>
                  <a:lnTo>
                    <a:pt x="13608" y="5017"/>
                  </a:lnTo>
                  <a:lnTo>
                    <a:pt x="13615" y="5028"/>
                  </a:lnTo>
                  <a:lnTo>
                    <a:pt x="13621" y="5039"/>
                  </a:lnTo>
                  <a:lnTo>
                    <a:pt x="13627" y="5050"/>
                  </a:lnTo>
                  <a:lnTo>
                    <a:pt x="13631" y="5061"/>
                  </a:lnTo>
                  <a:lnTo>
                    <a:pt x="13636" y="5073"/>
                  </a:lnTo>
                  <a:lnTo>
                    <a:pt x="13641" y="5084"/>
                  </a:lnTo>
                  <a:lnTo>
                    <a:pt x="13644" y="5096"/>
                  </a:lnTo>
                  <a:lnTo>
                    <a:pt x="13646" y="5107"/>
                  </a:lnTo>
                  <a:lnTo>
                    <a:pt x="13648" y="5119"/>
                  </a:lnTo>
                  <a:lnTo>
                    <a:pt x="13650" y="5131"/>
                  </a:lnTo>
                  <a:lnTo>
                    <a:pt x="13651" y="5143"/>
                  </a:lnTo>
                  <a:lnTo>
                    <a:pt x="13651" y="5156"/>
                  </a:lnTo>
                  <a:lnTo>
                    <a:pt x="13651" y="5168"/>
                  </a:lnTo>
                  <a:lnTo>
                    <a:pt x="13650" y="5180"/>
                  </a:lnTo>
                  <a:lnTo>
                    <a:pt x="13648" y="5192"/>
                  </a:lnTo>
                  <a:lnTo>
                    <a:pt x="13646" y="5204"/>
                  </a:lnTo>
                  <a:lnTo>
                    <a:pt x="13644" y="5216"/>
                  </a:lnTo>
                  <a:lnTo>
                    <a:pt x="13641" y="5227"/>
                  </a:lnTo>
                  <a:lnTo>
                    <a:pt x="13636" y="5239"/>
                  </a:lnTo>
                  <a:lnTo>
                    <a:pt x="13631" y="5250"/>
                  </a:lnTo>
                  <a:lnTo>
                    <a:pt x="13627" y="5261"/>
                  </a:lnTo>
                  <a:lnTo>
                    <a:pt x="13621" y="5273"/>
                  </a:lnTo>
                  <a:lnTo>
                    <a:pt x="13615" y="5284"/>
                  </a:lnTo>
                  <a:lnTo>
                    <a:pt x="13608" y="5295"/>
                  </a:lnTo>
                  <a:lnTo>
                    <a:pt x="13601" y="5305"/>
                  </a:lnTo>
                  <a:lnTo>
                    <a:pt x="13593" y="5315"/>
                  </a:lnTo>
                  <a:lnTo>
                    <a:pt x="13585" y="5325"/>
                  </a:lnTo>
                  <a:lnTo>
                    <a:pt x="13576" y="5334"/>
                  </a:lnTo>
                  <a:close/>
                  <a:moveTo>
                    <a:pt x="8378" y="13292"/>
                  </a:moveTo>
                  <a:lnTo>
                    <a:pt x="8366" y="13321"/>
                  </a:lnTo>
                  <a:lnTo>
                    <a:pt x="8352" y="13350"/>
                  </a:lnTo>
                  <a:lnTo>
                    <a:pt x="8336" y="13377"/>
                  </a:lnTo>
                  <a:lnTo>
                    <a:pt x="8318" y="13403"/>
                  </a:lnTo>
                  <a:lnTo>
                    <a:pt x="8300" y="13427"/>
                  </a:lnTo>
                  <a:lnTo>
                    <a:pt x="8280" y="13450"/>
                  </a:lnTo>
                  <a:lnTo>
                    <a:pt x="8258" y="13473"/>
                  </a:lnTo>
                  <a:lnTo>
                    <a:pt x="8235" y="13494"/>
                  </a:lnTo>
                  <a:lnTo>
                    <a:pt x="8210" y="13513"/>
                  </a:lnTo>
                  <a:lnTo>
                    <a:pt x="8185" y="13530"/>
                  </a:lnTo>
                  <a:lnTo>
                    <a:pt x="8159" y="13546"/>
                  </a:lnTo>
                  <a:lnTo>
                    <a:pt x="8132" y="13560"/>
                  </a:lnTo>
                  <a:lnTo>
                    <a:pt x="8104" y="13573"/>
                  </a:lnTo>
                  <a:lnTo>
                    <a:pt x="8074" y="13585"/>
                  </a:lnTo>
                  <a:lnTo>
                    <a:pt x="8044" y="13594"/>
                  </a:lnTo>
                  <a:lnTo>
                    <a:pt x="8013" y="13601"/>
                  </a:lnTo>
                  <a:lnTo>
                    <a:pt x="7985" y="13607"/>
                  </a:lnTo>
                  <a:lnTo>
                    <a:pt x="7956" y="13610"/>
                  </a:lnTo>
                  <a:lnTo>
                    <a:pt x="7927" y="13612"/>
                  </a:lnTo>
                  <a:lnTo>
                    <a:pt x="7899" y="13612"/>
                  </a:lnTo>
                  <a:lnTo>
                    <a:pt x="7874" y="13611"/>
                  </a:lnTo>
                  <a:lnTo>
                    <a:pt x="7850" y="13609"/>
                  </a:lnTo>
                  <a:lnTo>
                    <a:pt x="7827" y="13605"/>
                  </a:lnTo>
                  <a:lnTo>
                    <a:pt x="7804" y="13601"/>
                  </a:lnTo>
                  <a:lnTo>
                    <a:pt x="7781" y="13595"/>
                  </a:lnTo>
                  <a:lnTo>
                    <a:pt x="7758" y="13589"/>
                  </a:lnTo>
                  <a:lnTo>
                    <a:pt x="7736" y="13580"/>
                  </a:lnTo>
                  <a:lnTo>
                    <a:pt x="7714" y="13571"/>
                  </a:lnTo>
                  <a:lnTo>
                    <a:pt x="7691" y="13562"/>
                  </a:lnTo>
                  <a:lnTo>
                    <a:pt x="7670" y="13551"/>
                  </a:lnTo>
                  <a:lnTo>
                    <a:pt x="7650" y="13539"/>
                  </a:lnTo>
                  <a:lnTo>
                    <a:pt x="7630" y="13526"/>
                  </a:lnTo>
                  <a:lnTo>
                    <a:pt x="7610" y="13512"/>
                  </a:lnTo>
                  <a:lnTo>
                    <a:pt x="7591" y="13497"/>
                  </a:lnTo>
                  <a:lnTo>
                    <a:pt x="7573" y="13482"/>
                  </a:lnTo>
                  <a:lnTo>
                    <a:pt x="7556" y="13465"/>
                  </a:lnTo>
                  <a:lnTo>
                    <a:pt x="1154" y="7119"/>
                  </a:lnTo>
                  <a:lnTo>
                    <a:pt x="1133" y="7096"/>
                  </a:lnTo>
                  <a:lnTo>
                    <a:pt x="1113" y="7072"/>
                  </a:lnTo>
                  <a:lnTo>
                    <a:pt x="1094" y="7048"/>
                  </a:lnTo>
                  <a:lnTo>
                    <a:pt x="1078" y="7022"/>
                  </a:lnTo>
                  <a:lnTo>
                    <a:pt x="1063" y="6996"/>
                  </a:lnTo>
                  <a:lnTo>
                    <a:pt x="1050" y="6967"/>
                  </a:lnTo>
                  <a:lnTo>
                    <a:pt x="1038" y="6940"/>
                  </a:lnTo>
                  <a:lnTo>
                    <a:pt x="1029" y="6911"/>
                  </a:lnTo>
                  <a:lnTo>
                    <a:pt x="1021" y="6882"/>
                  </a:lnTo>
                  <a:lnTo>
                    <a:pt x="1014" y="6852"/>
                  </a:lnTo>
                  <a:lnTo>
                    <a:pt x="1010" y="6822"/>
                  </a:lnTo>
                  <a:lnTo>
                    <a:pt x="1007" y="6792"/>
                  </a:lnTo>
                  <a:lnTo>
                    <a:pt x="1006" y="6761"/>
                  </a:lnTo>
                  <a:lnTo>
                    <a:pt x="1007" y="6730"/>
                  </a:lnTo>
                  <a:lnTo>
                    <a:pt x="1010" y="6699"/>
                  </a:lnTo>
                  <a:lnTo>
                    <a:pt x="1015" y="6668"/>
                  </a:lnTo>
                  <a:lnTo>
                    <a:pt x="1022" y="6638"/>
                  </a:lnTo>
                  <a:lnTo>
                    <a:pt x="1030" y="6608"/>
                  </a:lnTo>
                  <a:lnTo>
                    <a:pt x="1040" y="6579"/>
                  </a:lnTo>
                  <a:lnTo>
                    <a:pt x="1052" y="6551"/>
                  </a:lnTo>
                  <a:lnTo>
                    <a:pt x="1065" y="6524"/>
                  </a:lnTo>
                  <a:lnTo>
                    <a:pt x="1080" y="6498"/>
                  </a:lnTo>
                  <a:lnTo>
                    <a:pt x="1097" y="6472"/>
                  </a:lnTo>
                  <a:lnTo>
                    <a:pt x="1116" y="6448"/>
                  </a:lnTo>
                  <a:lnTo>
                    <a:pt x="1136" y="6425"/>
                  </a:lnTo>
                  <a:lnTo>
                    <a:pt x="1156" y="6403"/>
                  </a:lnTo>
                  <a:lnTo>
                    <a:pt x="1179" y="6383"/>
                  </a:lnTo>
                  <a:lnTo>
                    <a:pt x="1202" y="6363"/>
                  </a:lnTo>
                  <a:lnTo>
                    <a:pt x="1227" y="6345"/>
                  </a:lnTo>
                  <a:lnTo>
                    <a:pt x="1252" y="6329"/>
                  </a:lnTo>
                  <a:lnTo>
                    <a:pt x="1280" y="6314"/>
                  </a:lnTo>
                  <a:lnTo>
                    <a:pt x="1308" y="6300"/>
                  </a:lnTo>
                  <a:lnTo>
                    <a:pt x="4434" y="5046"/>
                  </a:lnTo>
                  <a:lnTo>
                    <a:pt x="4632" y="5107"/>
                  </a:lnTo>
                  <a:lnTo>
                    <a:pt x="4830" y="5162"/>
                  </a:lnTo>
                  <a:lnTo>
                    <a:pt x="5027" y="5210"/>
                  </a:lnTo>
                  <a:lnTo>
                    <a:pt x="5225" y="5252"/>
                  </a:lnTo>
                  <a:lnTo>
                    <a:pt x="5422" y="5290"/>
                  </a:lnTo>
                  <a:lnTo>
                    <a:pt x="5620" y="5323"/>
                  </a:lnTo>
                  <a:lnTo>
                    <a:pt x="5817" y="5353"/>
                  </a:lnTo>
                  <a:lnTo>
                    <a:pt x="6016" y="5380"/>
                  </a:lnTo>
                  <a:lnTo>
                    <a:pt x="6410" y="5431"/>
                  </a:lnTo>
                  <a:lnTo>
                    <a:pt x="6805" y="5480"/>
                  </a:lnTo>
                  <a:lnTo>
                    <a:pt x="7003" y="5507"/>
                  </a:lnTo>
                  <a:lnTo>
                    <a:pt x="7201" y="5536"/>
                  </a:lnTo>
                  <a:lnTo>
                    <a:pt x="7398" y="5568"/>
                  </a:lnTo>
                  <a:lnTo>
                    <a:pt x="7596" y="5603"/>
                  </a:lnTo>
                  <a:lnTo>
                    <a:pt x="7793" y="5643"/>
                  </a:lnTo>
                  <a:lnTo>
                    <a:pt x="7991" y="5688"/>
                  </a:lnTo>
                  <a:lnTo>
                    <a:pt x="8188" y="5739"/>
                  </a:lnTo>
                  <a:lnTo>
                    <a:pt x="8385" y="5798"/>
                  </a:lnTo>
                  <a:lnTo>
                    <a:pt x="8584" y="5864"/>
                  </a:lnTo>
                  <a:lnTo>
                    <a:pt x="8781" y="5939"/>
                  </a:lnTo>
                  <a:lnTo>
                    <a:pt x="8979" y="6023"/>
                  </a:lnTo>
                  <a:lnTo>
                    <a:pt x="9176" y="6116"/>
                  </a:lnTo>
                  <a:lnTo>
                    <a:pt x="9373" y="6221"/>
                  </a:lnTo>
                  <a:lnTo>
                    <a:pt x="9571" y="6337"/>
                  </a:lnTo>
                  <a:lnTo>
                    <a:pt x="9769" y="6466"/>
                  </a:lnTo>
                  <a:lnTo>
                    <a:pt x="9967" y="6608"/>
                  </a:lnTo>
                  <a:lnTo>
                    <a:pt x="10164" y="6765"/>
                  </a:lnTo>
                  <a:lnTo>
                    <a:pt x="10361" y="6935"/>
                  </a:lnTo>
                  <a:lnTo>
                    <a:pt x="10559" y="7122"/>
                  </a:lnTo>
                  <a:lnTo>
                    <a:pt x="10756" y="7324"/>
                  </a:lnTo>
                  <a:lnTo>
                    <a:pt x="8378" y="13292"/>
                  </a:lnTo>
                  <a:close/>
                  <a:moveTo>
                    <a:pt x="10402" y="369"/>
                  </a:moveTo>
                  <a:lnTo>
                    <a:pt x="10379" y="347"/>
                  </a:lnTo>
                  <a:lnTo>
                    <a:pt x="10356" y="326"/>
                  </a:lnTo>
                  <a:lnTo>
                    <a:pt x="10333" y="305"/>
                  </a:lnTo>
                  <a:lnTo>
                    <a:pt x="10310" y="286"/>
                  </a:lnTo>
                  <a:lnTo>
                    <a:pt x="10286" y="266"/>
                  </a:lnTo>
                  <a:lnTo>
                    <a:pt x="10261" y="247"/>
                  </a:lnTo>
                  <a:lnTo>
                    <a:pt x="10235" y="229"/>
                  </a:lnTo>
                  <a:lnTo>
                    <a:pt x="10210" y="211"/>
                  </a:lnTo>
                  <a:lnTo>
                    <a:pt x="10184" y="195"/>
                  </a:lnTo>
                  <a:lnTo>
                    <a:pt x="10158" y="179"/>
                  </a:lnTo>
                  <a:lnTo>
                    <a:pt x="10132" y="163"/>
                  </a:lnTo>
                  <a:lnTo>
                    <a:pt x="10105" y="148"/>
                  </a:lnTo>
                  <a:lnTo>
                    <a:pt x="10077" y="133"/>
                  </a:lnTo>
                  <a:lnTo>
                    <a:pt x="10050" y="120"/>
                  </a:lnTo>
                  <a:lnTo>
                    <a:pt x="10022" y="108"/>
                  </a:lnTo>
                  <a:lnTo>
                    <a:pt x="9994" y="96"/>
                  </a:lnTo>
                  <a:lnTo>
                    <a:pt x="9966" y="84"/>
                  </a:lnTo>
                  <a:lnTo>
                    <a:pt x="9938" y="74"/>
                  </a:lnTo>
                  <a:lnTo>
                    <a:pt x="9908" y="64"/>
                  </a:lnTo>
                  <a:lnTo>
                    <a:pt x="9879" y="55"/>
                  </a:lnTo>
                  <a:lnTo>
                    <a:pt x="9850" y="46"/>
                  </a:lnTo>
                  <a:lnTo>
                    <a:pt x="9820" y="38"/>
                  </a:lnTo>
                  <a:lnTo>
                    <a:pt x="9791" y="31"/>
                  </a:lnTo>
                  <a:lnTo>
                    <a:pt x="9761" y="25"/>
                  </a:lnTo>
                  <a:lnTo>
                    <a:pt x="9730" y="19"/>
                  </a:lnTo>
                  <a:lnTo>
                    <a:pt x="9699" y="14"/>
                  </a:lnTo>
                  <a:lnTo>
                    <a:pt x="9669" y="9"/>
                  </a:lnTo>
                  <a:lnTo>
                    <a:pt x="9638" y="6"/>
                  </a:lnTo>
                  <a:lnTo>
                    <a:pt x="9607" y="3"/>
                  </a:lnTo>
                  <a:lnTo>
                    <a:pt x="9577" y="2"/>
                  </a:lnTo>
                  <a:lnTo>
                    <a:pt x="9544" y="0"/>
                  </a:lnTo>
                  <a:lnTo>
                    <a:pt x="9513" y="0"/>
                  </a:lnTo>
                  <a:lnTo>
                    <a:pt x="9482" y="0"/>
                  </a:lnTo>
                  <a:lnTo>
                    <a:pt x="9451" y="2"/>
                  </a:lnTo>
                  <a:lnTo>
                    <a:pt x="9420" y="3"/>
                  </a:lnTo>
                  <a:lnTo>
                    <a:pt x="9388" y="6"/>
                  </a:lnTo>
                  <a:lnTo>
                    <a:pt x="9357" y="9"/>
                  </a:lnTo>
                  <a:lnTo>
                    <a:pt x="9327" y="14"/>
                  </a:lnTo>
                  <a:lnTo>
                    <a:pt x="9297" y="19"/>
                  </a:lnTo>
                  <a:lnTo>
                    <a:pt x="9266" y="25"/>
                  </a:lnTo>
                  <a:lnTo>
                    <a:pt x="9236" y="31"/>
                  </a:lnTo>
                  <a:lnTo>
                    <a:pt x="9206" y="38"/>
                  </a:lnTo>
                  <a:lnTo>
                    <a:pt x="9176" y="46"/>
                  </a:lnTo>
                  <a:lnTo>
                    <a:pt x="9147" y="55"/>
                  </a:lnTo>
                  <a:lnTo>
                    <a:pt x="9118" y="64"/>
                  </a:lnTo>
                  <a:lnTo>
                    <a:pt x="9089" y="74"/>
                  </a:lnTo>
                  <a:lnTo>
                    <a:pt x="9060" y="84"/>
                  </a:lnTo>
                  <a:lnTo>
                    <a:pt x="9031" y="96"/>
                  </a:lnTo>
                  <a:lnTo>
                    <a:pt x="9003" y="108"/>
                  </a:lnTo>
                  <a:lnTo>
                    <a:pt x="8976" y="120"/>
                  </a:lnTo>
                  <a:lnTo>
                    <a:pt x="8948" y="134"/>
                  </a:lnTo>
                  <a:lnTo>
                    <a:pt x="8921" y="149"/>
                  </a:lnTo>
                  <a:lnTo>
                    <a:pt x="8894" y="163"/>
                  </a:lnTo>
                  <a:lnTo>
                    <a:pt x="8867" y="179"/>
                  </a:lnTo>
                  <a:lnTo>
                    <a:pt x="8841" y="195"/>
                  </a:lnTo>
                  <a:lnTo>
                    <a:pt x="8816" y="211"/>
                  </a:lnTo>
                  <a:lnTo>
                    <a:pt x="8790" y="229"/>
                  </a:lnTo>
                  <a:lnTo>
                    <a:pt x="8766" y="247"/>
                  </a:lnTo>
                  <a:lnTo>
                    <a:pt x="8741" y="267"/>
                  </a:lnTo>
                  <a:lnTo>
                    <a:pt x="8716" y="286"/>
                  </a:lnTo>
                  <a:lnTo>
                    <a:pt x="8692" y="306"/>
                  </a:lnTo>
                  <a:lnTo>
                    <a:pt x="8669" y="326"/>
                  </a:lnTo>
                  <a:lnTo>
                    <a:pt x="8646" y="348"/>
                  </a:lnTo>
                  <a:lnTo>
                    <a:pt x="8624" y="369"/>
                  </a:lnTo>
                  <a:lnTo>
                    <a:pt x="7914" y="1081"/>
                  </a:lnTo>
                  <a:lnTo>
                    <a:pt x="7892" y="1104"/>
                  </a:lnTo>
                  <a:lnTo>
                    <a:pt x="7870" y="1128"/>
                  </a:lnTo>
                  <a:lnTo>
                    <a:pt x="7850" y="1151"/>
                  </a:lnTo>
                  <a:lnTo>
                    <a:pt x="7829" y="1174"/>
                  </a:lnTo>
                  <a:lnTo>
                    <a:pt x="7810" y="1199"/>
                  </a:lnTo>
                  <a:lnTo>
                    <a:pt x="7792" y="1223"/>
                  </a:lnTo>
                  <a:lnTo>
                    <a:pt x="7773" y="1249"/>
                  </a:lnTo>
                  <a:lnTo>
                    <a:pt x="7756" y="1274"/>
                  </a:lnTo>
                  <a:lnTo>
                    <a:pt x="7739" y="1300"/>
                  </a:lnTo>
                  <a:lnTo>
                    <a:pt x="7723" y="1326"/>
                  </a:lnTo>
                  <a:lnTo>
                    <a:pt x="7707" y="1352"/>
                  </a:lnTo>
                  <a:lnTo>
                    <a:pt x="7692" y="1380"/>
                  </a:lnTo>
                  <a:lnTo>
                    <a:pt x="7678" y="1407"/>
                  </a:lnTo>
                  <a:lnTo>
                    <a:pt x="7665" y="1434"/>
                  </a:lnTo>
                  <a:lnTo>
                    <a:pt x="7652" y="1462"/>
                  </a:lnTo>
                  <a:lnTo>
                    <a:pt x="7640" y="1491"/>
                  </a:lnTo>
                  <a:lnTo>
                    <a:pt x="7629" y="1519"/>
                  </a:lnTo>
                  <a:lnTo>
                    <a:pt x="7618" y="1547"/>
                  </a:lnTo>
                  <a:lnTo>
                    <a:pt x="7608" y="1576"/>
                  </a:lnTo>
                  <a:lnTo>
                    <a:pt x="7599" y="1606"/>
                  </a:lnTo>
                  <a:lnTo>
                    <a:pt x="7591" y="1636"/>
                  </a:lnTo>
                  <a:lnTo>
                    <a:pt x="7583" y="1665"/>
                  </a:lnTo>
                  <a:lnTo>
                    <a:pt x="7576" y="1695"/>
                  </a:lnTo>
                  <a:lnTo>
                    <a:pt x="7569" y="1725"/>
                  </a:lnTo>
                  <a:lnTo>
                    <a:pt x="7564" y="1756"/>
                  </a:lnTo>
                  <a:lnTo>
                    <a:pt x="7559" y="1786"/>
                  </a:lnTo>
                  <a:lnTo>
                    <a:pt x="7555" y="1817"/>
                  </a:lnTo>
                  <a:lnTo>
                    <a:pt x="7551" y="1848"/>
                  </a:lnTo>
                  <a:lnTo>
                    <a:pt x="7549" y="1879"/>
                  </a:lnTo>
                  <a:lnTo>
                    <a:pt x="7547" y="1911"/>
                  </a:lnTo>
                  <a:lnTo>
                    <a:pt x="7546" y="1942"/>
                  </a:lnTo>
                  <a:lnTo>
                    <a:pt x="7545" y="1974"/>
                  </a:lnTo>
                  <a:lnTo>
                    <a:pt x="7546" y="2018"/>
                  </a:lnTo>
                  <a:lnTo>
                    <a:pt x="7548" y="2062"/>
                  </a:lnTo>
                  <a:lnTo>
                    <a:pt x="7552" y="2106"/>
                  </a:lnTo>
                  <a:lnTo>
                    <a:pt x="7557" y="2150"/>
                  </a:lnTo>
                  <a:lnTo>
                    <a:pt x="7564" y="2192"/>
                  </a:lnTo>
                  <a:lnTo>
                    <a:pt x="7572" y="2236"/>
                  </a:lnTo>
                  <a:lnTo>
                    <a:pt x="7582" y="2278"/>
                  </a:lnTo>
                  <a:lnTo>
                    <a:pt x="7593" y="2319"/>
                  </a:lnTo>
                  <a:lnTo>
                    <a:pt x="7605" y="2361"/>
                  </a:lnTo>
                  <a:lnTo>
                    <a:pt x="7619" y="2402"/>
                  </a:lnTo>
                  <a:lnTo>
                    <a:pt x="7634" y="2442"/>
                  </a:lnTo>
                  <a:lnTo>
                    <a:pt x="7651" y="2483"/>
                  </a:lnTo>
                  <a:lnTo>
                    <a:pt x="7669" y="2522"/>
                  </a:lnTo>
                  <a:lnTo>
                    <a:pt x="7688" y="2560"/>
                  </a:lnTo>
                  <a:lnTo>
                    <a:pt x="7710" y="2599"/>
                  </a:lnTo>
                  <a:lnTo>
                    <a:pt x="7732" y="2635"/>
                  </a:lnTo>
                  <a:lnTo>
                    <a:pt x="902" y="5377"/>
                  </a:lnTo>
                  <a:lnTo>
                    <a:pt x="860" y="5397"/>
                  </a:lnTo>
                  <a:lnTo>
                    <a:pt x="819" y="5418"/>
                  </a:lnTo>
                  <a:lnTo>
                    <a:pt x="778" y="5440"/>
                  </a:lnTo>
                  <a:lnTo>
                    <a:pt x="737" y="5462"/>
                  </a:lnTo>
                  <a:lnTo>
                    <a:pt x="699" y="5486"/>
                  </a:lnTo>
                  <a:lnTo>
                    <a:pt x="660" y="5511"/>
                  </a:lnTo>
                  <a:lnTo>
                    <a:pt x="623" y="5539"/>
                  </a:lnTo>
                  <a:lnTo>
                    <a:pt x="586" y="5566"/>
                  </a:lnTo>
                  <a:lnTo>
                    <a:pt x="550" y="5594"/>
                  </a:lnTo>
                  <a:lnTo>
                    <a:pt x="516" y="5623"/>
                  </a:lnTo>
                  <a:lnTo>
                    <a:pt x="482" y="5655"/>
                  </a:lnTo>
                  <a:lnTo>
                    <a:pt x="450" y="5686"/>
                  </a:lnTo>
                  <a:lnTo>
                    <a:pt x="417" y="5718"/>
                  </a:lnTo>
                  <a:lnTo>
                    <a:pt x="386" y="5751"/>
                  </a:lnTo>
                  <a:lnTo>
                    <a:pt x="357" y="5786"/>
                  </a:lnTo>
                  <a:lnTo>
                    <a:pt x="328" y="5821"/>
                  </a:lnTo>
                  <a:lnTo>
                    <a:pt x="301" y="5857"/>
                  </a:lnTo>
                  <a:lnTo>
                    <a:pt x="274" y="5894"/>
                  </a:lnTo>
                  <a:lnTo>
                    <a:pt x="248" y="5931"/>
                  </a:lnTo>
                  <a:lnTo>
                    <a:pt x="224" y="5969"/>
                  </a:lnTo>
                  <a:lnTo>
                    <a:pt x="200" y="6009"/>
                  </a:lnTo>
                  <a:lnTo>
                    <a:pt x="179" y="6049"/>
                  </a:lnTo>
                  <a:lnTo>
                    <a:pt x="158" y="6089"/>
                  </a:lnTo>
                  <a:lnTo>
                    <a:pt x="138" y="6131"/>
                  </a:lnTo>
                  <a:lnTo>
                    <a:pt x="120" y="6172"/>
                  </a:lnTo>
                  <a:lnTo>
                    <a:pt x="103" y="6214"/>
                  </a:lnTo>
                  <a:lnTo>
                    <a:pt x="87" y="6258"/>
                  </a:lnTo>
                  <a:lnTo>
                    <a:pt x="71" y="6301"/>
                  </a:lnTo>
                  <a:lnTo>
                    <a:pt x="58" y="6345"/>
                  </a:lnTo>
                  <a:lnTo>
                    <a:pt x="46" y="6390"/>
                  </a:lnTo>
                  <a:lnTo>
                    <a:pt x="36" y="6435"/>
                  </a:lnTo>
                  <a:lnTo>
                    <a:pt x="26" y="6481"/>
                  </a:lnTo>
                  <a:lnTo>
                    <a:pt x="18" y="6527"/>
                  </a:lnTo>
                  <a:lnTo>
                    <a:pt x="12" y="6573"/>
                  </a:lnTo>
                  <a:lnTo>
                    <a:pt x="7" y="6620"/>
                  </a:lnTo>
                  <a:lnTo>
                    <a:pt x="3" y="6666"/>
                  </a:lnTo>
                  <a:lnTo>
                    <a:pt x="1" y="6712"/>
                  </a:lnTo>
                  <a:lnTo>
                    <a:pt x="0" y="6759"/>
                  </a:lnTo>
                  <a:lnTo>
                    <a:pt x="1" y="6804"/>
                  </a:lnTo>
                  <a:lnTo>
                    <a:pt x="3" y="6850"/>
                  </a:lnTo>
                  <a:lnTo>
                    <a:pt x="6" y="6896"/>
                  </a:lnTo>
                  <a:lnTo>
                    <a:pt x="11" y="6941"/>
                  </a:lnTo>
                  <a:lnTo>
                    <a:pt x="17" y="6987"/>
                  </a:lnTo>
                  <a:lnTo>
                    <a:pt x="24" y="7032"/>
                  </a:lnTo>
                  <a:lnTo>
                    <a:pt x="33" y="7076"/>
                  </a:lnTo>
                  <a:lnTo>
                    <a:pt x="43" y="7121"/>
                  </a:lnTo>
                  <a:lnTo>
                    <a:pt x="55" y="7165"/>
                  </a:lnTo>
                  <a:lnTo>
                    <a:pt x="67" y="7209"/>
                  </a:lnTo>
                  <a:lnTo>
                    <a:pt x="81" y="7253"/>
                  </a:lnTo>
                  <a:lnTo>
                    <a:pt x="98" y="7295"/>
                  </a:lnTo>
                  <a:lnTo>
                    <a:pt x="114" y="7337"/>
                  </a:lnTo>
                  <a:lnTo>
                    <a:pt x="132" y="7380"/>
                  </a:lnTo>
                  <a:lnTo>
                    <a:pt x="152" y="7421"/>
                  </a:lnTo>
                  <a:lnTo>
                    <a:pt x="172" y="7462"/>
                  </a:lnTo>
                  <a:lnTo>
                    <a:pt x="194" y="7503"/>
                  </a:lnTo>
                  <a:lnTo>
                    <a:pt x="217" y="7542"/>
                  </a:lnTo>
                  <a:lnTo>
                    <a:pt x="241" y="7581"/>
                  </a:lnTo>
                  <a:lnTo>
                    <a:pt x="268" y="7620"/>
                  </a:lnTo>
                  <a:lnTo>
                    <a:pt x="294" y="7658"/>
                  </a:lnTo>
                  <a:lnTo>
                    <a:pt x="322" y="7695"/>
                  </a:lnTo>
                  <a:lnTo>
                    <a:pt x="351" y="7732"/>
                  </a:lnTo>
                  <a:lnTo>
                    <a:pt x="382" y="7767"/>
                  </a:lnTo>
                  <a:lnTo>
                    <a:pt x="413" y="7801"/>
                  </a:lnTo>
                  <a:lnTo>
                    <a:pt x="447" y="7835"/>
                  </a:lnTo>
                  <a:lnTo>
                    <a:pt x="6844" y="14177"/>
                  </a:lnTo>
                  <a:lnTo>
                    <a:pt x="6871" y="14203"/>
                  </a:lnTo>
                  <a:lnTo>
                    <a:pt x="6897" y="14228"/>
                  </a:lnTo>
                  <a:lnTo>
                    <a:pt x="6924" y="14252"/>
                  </a:lnTo>
                  <a:lnTo>
                    <a:pt x="6952" y="14275"/>
                  </a:lnTo>
                  <a:lnTo>
                    <a:pt x="6979" y="14298"/>
                  </a:lnTo>
                  <a:lnTo>
                    <a:pt x="7008" y="14320"/>
                  </a:lnTo>
                  <a:lnTo>
                    <a:pt x="7038" y="14341"/>
                  </a:lnTo>
                  <a:lnTo>
                    <a:pt x="7067" y="14362"/>
                  </a:lnTo>
                  <a:lnTo>
                    <a:pt x="7097" y="14381"/>
                  </a:lnTo>
                  <a:lnTo>
                    <a:pt x="7127" y="14400"/>
                  </a:lnTo>
                  <a:lnTo>
                    <a:pt x="7157" y="14418"/>
                  </a:lnTo>
                  <a:lnTo>
                    <a:pt x="7188" y="14436"/>
                  </a:lnTo>
                  <a:lnTo>
                    <a:pt x="7221" y="14453"/>
                  </a:lnTo>
                  <a:lnTo>
                    <a:pt x="7252" y="14469"/>
                  </a:lnTo>
                  <a:lnTo>
                    <a:pt x="7284" y="14484"/>
                  </a:lnTo>
                  <a:lnTo>
                    <a:pt x="7316" y="14499"/>
                  </a:lnTo>
                  <a:lnTo>
                    <a:pt x="7349" y="14512"/>
                  </a:lnTo>
                  <a:lnTo>
                    <a:pt x="7383" y="14525"/>
                  </a:lnTo>
                  <a:lnTo>
                    <a:pt x="7416" y="14537"/>
                  </a:lnTo>
                  <a:lnTo>
                    <a:pt x="7450" y="14548"/>
                  </a:lnTo>
                  <a:lnTo>
                    <a:pt x="7484" y="14558"/>
                  </a:lnTo>
                  <a:lnTo>
                    <a:pt x="7518" y="14569"/>
                  </a:lnTo>
                  <a:lnTo>
                    <a:pt x="7553" y="14578"/>
                  </a:lnTo>
                  <a:lnTo>
                    <a:pt x="7588" y="14586"/>
                  </a:lnTo>
                  <a:lnTo>
                    <a:pt x="7623" y="14593"/>
                  </a:lnTo>
                  <a:lnTo>
                    <a:pt x="7657" y="14599"/>
                  </a:lnTo>
                  <a:lnTo>
                    <a:pt x="7693" y="14605"/>
                  </a:lnTo>
                  <a:lnTo>
                    <a:pt x="7729" y="14609"/>
                  </a:lnTo>
                  <a:lnTo>
                    <a:pt x="7765" y="14613"/>
                  </a:lnTo>
                  <a:lnTo>
                    <a:pt x="7800" y="14616"/>
                  </a:lnTo>
                  <a:lnTo>
                    <a:pt x="7836" y="14618"/>
                  </a:lnTo>
                  <a:lnTo>
                    <a:pt x="7872" y="14619"/>
                  </a:lnTo>
                  <a:lnTo>
                    <a:pt x="7882" y="14620"/>
                  </a:lnTo>
                  <a:lnTo>
                    <a:pt x="7892" y="14620"/>
                  </a:lnTo>
                  <a:lnTo>
                    <a:pt x="7903" y="14620"/>
                  </a:lnTo>
                  <a:lnTo>
                    <a:pt x="7911" y="14620"/>
                  </a:lnTo>
                  <a:lnTo>
                    <a:pt x="7949" y="14619"/>
                  </a:lnTo>
                  <a:lnTo>
                    <a:pt x="7987" y="14618"/>
                  </a:lnTo>
                  <a:lnTo>
                    <a:pt x="8025" y="14616"/>
                  </a:lnTo>
                  <a:lnTo>
                    <a:pt x="8065" y="14612"/>
                  </a:lnTo>
                  <a:lnTo>
                    <a:pt x="8103" y="14608"/>
                  </a:lnTo>
                  <a:lnTo>
                    <a:pt x="8141" y="14602"/>
                  </a:lnTo>
                  <a:lnTo>
                    <a:pt x="8179" y="14596"/>
                  </a:lnTo>
                  <a:lnTo>
                    <a:pt x="8219" y="14589"/>
                  </a:lnTo>
                  <a:lnTo>
                    <a:pt x="8265" y="14578"/>
                  </a:lnTo>
                  <a:lnTo>
                    <a:pt x="8311" y="14566"/>
                  </a:lnTo>
                  <a:lnTo>
                    <a:pt x="8356" y="14552"/>
                  </a:lnTo>
                  <a:lnTo>
                    <a:pt x="8401" y="14538"/>
                  </a:lnTo>
                  <a:lnTo>
                    <a:pt x="8445" y="14522"/>
                  </a:lnTo>
                  <a:lnTo>
                    <a:pt x="8489" y="14505"/>
                  </a:lnTo>
                  <a:lnTo>
                    <a:pt x="8531" y="14487"/>
                  </a:lnTo>
                  <a:lnTo>
                    <a:pt x="8574" y="14467"/>
                  </a:lnTo>
                  <a:lnTo>
                    <a:pt x="8616" y="14446"/>
                  </a:lnTo>
                  <a:lnTo>
                    <a:pt x="8656" y="14423"/>
                  </a:lnTo>
                  <a:lnTo>
                    <a:pt x="8696" y="14400"/>
                  </a:lnTo>
                  <a:lnTo>
                    <a:pt x="8736" y="14375"/>
                  </a:lnTo>
                  <a:lnTo>
                    <a:pt x="8774" y="14350"/>
                  </a:lnTo>
                  <a:lnTo>
                    <a:pt x="8811" y="14323"/>
                  </a:lnTo>
                  <a:lnTo>
                    <a:pt x="8847" y="14294"/>
                  </a:lnTo>
                  <a:lnTo>
                    <a:pt x="8883" y="14265"/>
                  </a:lnTo>
                  <a:lnTo>
                    <a:pt x="8918" y="14235"/>
                  </a:lnTo>
                  <a:lnTo>
                    <a:pt x="8952" y="14204"/>
                  </a:lnTo>
                  <a:lnTo>
                    <a:pt x="8985" y="14171"/>
                  </a:lnTo>
                  <a:lnTo>
                    <a:pt x="9017" y="14138"/>
                  </a:lnTo>
                  <a:lnTo>
                    <a:pt x="9047" y="14104"/>
                  </a:lnTo>
                  <a:lnTo>
                    <a:pt x="9078" y="14068"/>
                  </a:lnTo>
                  <a:lnTo>
                    <a:pt x="9106" y="14032"/>
                  </a:lnTo>
                  <a:lnTo>
                    <a:pt x="9134" y="13995"/>
                  </a:lnTo>
                  <a:lnTo>
                    <a:pt x="9160" y="13957"/>
                  </a:lnTo>
                  <a:lnTo>
                    <a:pt x="9186" y="13918"/>
                  </a:lnTo>
                  <a:lnTo>
                    <a:pt x="9210" y="13878"/>
                  </a:lnTo>
                  <a:lnTo>
                    <a:pt x="9232" y="13838"/>
                  </a:lnTo>
                  <a:lnTo>
                    <a:pt x="9255" y="13796"/>
                  </a:lnTo>
                  <a:lnTo>
                    <a:pt x="9276" y="13754"/>
                  </a:lnTo>
                  <a:lnTo>
                    <a:pt x="9295" y="13711"/>
                  </a:lnTo>
                  <a:lnTo>
                    <a:pt x="9313" y="13666"/>
                  </a:lnTo>
                  <a:lnTo>
                    <a:pt x="12000" y="6923"/>
                  </a:lnTo>
                  <a:lnTo>
                    <a:pt x="12038" y="6948"/>
                  </a:lnTo>
                  <a:lnTo>
                    <a:pt x="12077" y="6970"/>
                  </a:lnTo>
                  <a:lnTo>
                    <a:pt x="12118" y="6993"/>
                  </a:lnTo>
                  <a:lnTo>
                    <a:pt x="12158" y="7012"/>
                  </a:lnTo>
                  <a:lnTo>
                    <a:pt x="12199" y="7031"/>
                  </a:lnTo>
                  <a:lnTo>
                    <a:pt x="12241" y="7047"/>
                  </a:lnTo>
                  <a:lnTo>
                    <a:pt x="12284" y="7063"/>
                  </a:lnTo>
                  <a:lnTo>
                    <a:pt x="12327" y="7076"/>
                  </a:lnTo>
                  <a:lnTo>
                    <a:pt x="12370" y="7088"/>
                  </a:lnTo>
                  <a:lnTo>
                    <a:pt x="12414" y="7099"/>
                  </a:lnTo>
                  <a:lnTo>
                    <a:pt x="12459" y="7109"/>
                  </a:lnTo>
                  <a:lnTo>
                    <a:pt x="12504" y="7116"/>
                  </a:lnTo>
                  <a:lnTo>
                    <a:pt x="12549" y="7122"/>
                  </a:lnTo>
                  <a:lnTo>
                    <a:pt x="12595" y="7126"/>
                  </a:lnTo>
                  <a:lnTo>
                    <a:pt x="12642" y="7129"/>
                  </a:lnTo>
                  <a:lnTo>
                    <a:pt x="12688" y="7130"/>
                  </a:lnTo>
                  <a:lnTo>
                    <a:pt x="12719" y="7129"/>
                  </a:lnTo>
                  <a:lnTo>
                    <a:pt x="12750" y="7128"/>
                  </a:lnTo>
                  <a:lnTo>
                    <a:pt x="12781" y="7126"/>
                  </a:lnTo>
                  <a:lnTo>
                    <a:pt x="12813" y="7123"/>
                  </a:lnTo>
                  <a:lnTo>
                    <a:pt x="12844" y="7120"/>
                  </a:lnTo>
                  <a:lnTo>
                    <a:pt x="12874" y="7116"/>
                  </a:lnTo>
                  <a:lnTo>
                    <a:pt x="12905" y="7111"/>
                  </a:lnTo>
                  <a:lnTo>
                    <a:pt x="12935" y="7105"/>
                  </a:lnTo>
                  <a:lnTo>
                    <a:pt x="12966" y="7098"/>
                  </a:lnTo>
                  <a:lnTo>
                    <a:pt x="12995" y="7091"/>
                  </a:lnTo>
                  <a:lnTo>
                    <a:pt x="13025" y="7083"/>
                  </a:lnTo>
                  <a:lnTo>
                    <a:pt x="13054" y="7075"/>
                  </a:lnTo>
                  <a:lnTo>
                    <a:pt x="13083" y="7066"/>
                  </a:lnTo>
                  <a:lnTo>
                    <a:pt x="13112" y="7056"/>
                  </a:lnTo>
                  <a:lnTo>
                    <a:pt x="13141" y="7045"/>
                  </a:lnTo>
                  <a:lnTo>
                    <a:pt x="13170" y="7034"/>
                  </a:lnTo>
                  <a:lnTo>
                    <a:pt x="13198" y="7022"/>
                  </a:lnTo>
                  <a:lnTo>
                    <a:pt x="13225" y="7009"/>
                  </a:lnTo>
                  <a:lnTo>
                    <a:pt x="13253" y="6996"/>
                  </a:lnTo>
                  <a:lnTo>
                    <a:pt x="13280" y="6981"/>
                  </a:lnTo>
                  <a:lnTo>
                    <a:pt x="13307" y="6966"/>
                  </a:lnTo>
                  <a:lnTo>
                    <a:pt x="13334" y="6950"/>
                  </a:lnTo>
                  <a:lnTo>
                    <a:pt x="13360" y="6934"/>
                  </a:lnTo>
                  <a:lnTo>
                    <a:pt x="13385" y="6918"/>
                  </a:lnTo>
                  <a:lnTo>
                    <a:pt x="13410" y="6900"/>
                  </a:lnTo>
                  <a:lnTo>
                    <a:pt x="13435" y="6882"/>
                  </a:lnTo>
                  <a:lnTo>
                    <a:pt x="13460" y="6863"/>
                  </a:lnTo>
                  <a:lnTo>
                    <a:pt x="13485" y="6843"/>
                  </a:lnTo>
                  <a:lnTo>
                    <a:pt x="13508" y="6823"/>
                  </a:lnTo>
                  <a:lnTo>
                    <a:pt x="13532" y="6803"/>
                  </a:lnTo>
                  <a:lnTo>
                    <a:pt x="13554" y="6781"/>
                  </a:lnTo>
                  <a:lnTo>
                    <a:pt x="13577" y="6759"/>
                  </a:lnTo>
                  <a:lnTo>
                    <a:pt x="14285" y="6050"/>
                  </a:lnTo>
                  <a:lnTo>
                    <a:pt x="14307" y="6028"/>
                  </a:lnTo>
                  <a:lnTo>
                    <a:pt x="14329" y="6005"/>
                  </a:lnTo>
                  <a:lnTo>
                    <a:pt x="14350" y="5980"/>
                  </a:lnTo>
                  <a:lnTo>
                    <a:pt x="14370" y="5957"/>
                  </a:lnTo>
                  <a:lnTo>
                    <a:pt x="14389" y="5932"/>
                  </a:lnTo>
                  <a:lnTo>
                    <a:pt x="14408" y="5908"/>
                  </a:lnTo>
                  <a:lnTo>
                    <a:pt x="14426" y="5883"/>
                  </a:lnTo>
                  <a:lnTo>
                    <a:pt x="14444" y="5857"/>
                  </a:lnTo>
                  <a:lnTo>
                    <a:pt x="14460" y="5831"/>
                  </a:lnTo>
                  <a:lnTo>
                    <a:pt x="14477" y="5805"/>
                  </a:lnTo>
                  <a:lnTo>
                    <a:pt x="14493" y="5778"/>
                  </a:lnTo>
                  <a:lnTo>
                    <a:pt x="14508" y="5751"/>
                  </a:lnTo>
                  <a:lnTo>
                    <a:pt x="14522" y="5724"/>
                  </a:lnTo>
                  <a:lnTo>
                    <a:pt x="14535" y="5696"/>
                  </a:lnTo>
                  <a:lnTo>
                    <a:pt x="14548" y="5668"/>
                  </a:lnTo>
                  <a:lnTo>
                    <a:pt x="14560" y="5640"/>
                  </a:lnTo>
                  <a:lnTo>
                    <a:pt x="14572" y="5611"/>
                  </a:lnTo>
                  <a:lnTo>
                    <a:pt x="14582" y="5583"/>
                  </a:lnTo>
                  <a:lnTo>
                    <a:pt x="14592" y="5554"/>
                  </a:lnTo>
                  <a:lnTo>
                    <a:pt x="14602" y="5525"/>
                  </a:lnTo>
                  <a:lnTo>
                    <a:pt x="14610" y="5494"/>
                  </a:lnTo>
                  <a:lnTo>
                    <a:pt x="14618" y="5465"/>
                  </a:lnTo>
                  <a:lnTo>
                    <a:pt x="14625" y="5435"/>
                  </a:lnTo>
                  <a:lnTo>
                    <a:pt x="14631" y="5405"/>
                  </a:lnTo>
                  <a:lnTo>
                    <a:pt x="14637" y="5373"/>
                  </a:lnTo>
                  <a:lnTo>
                    <a:pt x="14642" y="5343"/>
                  </a:lnTo>
                  <a:lnTo>
                    <a:pt x="14646" y="5312"/>
                  </a:lnTo>
                  <a:lnTo>
                    <a:pt x="14649" y="5282"/>
                  </a:lnTo>
                  <a:lnTo>
                    <a:pt x="14652" y="5250"/>
                  </a:lnTo>
                  <a:lnTo>
                    <a:pt x="14654" y="5219"/>
                  </a:lnTo>
                  <a:lnTo>
                    <a:pt x="14656" y="5187"/>
                  </a:lnTo>
                  <a:lnTo>
                    <a:pt x="14656" y="5156"/>
                  </a:lnTo>
                  <a:lnTo>
                    <a:pt x="14656" y="5124"/>
                  </a:lnTo>
                  <a:lnTo>
                    <a:pt x="14654" y="5092"/>
                  </a:lnTo>
                  <a:lnTo>
                    <a:pt x="14652" y="5061"/>
                  </a:lnTo>
                  <a:lnTo>
                    <a:pt x="14649" y="5030"/>
                  </a:lnTo>
                  <a:lnTo>
                    <a:pt x="14646" y="4999"/>
                  </a:lnTo>
                  <a:lnTo>
                    <a:pt x="14642" y="4968"/>
                  </a:lnTo>
                  <a:lnTo>
                    <a:pt x="14637" y="4938"/>
                  </a:lnTo>
                  <a:lnTo>
                    <a:pt x="14631" y="4908"/>
                  </a:lnTo>
                  <a:lnTo>
                    <a:pt x="14625" y="4877"/>
                  </a:lnTo>
                  <a:lnTo>
                    <a:pt x="14618" y="4847"/>
                  </a:lnTo>
                  <a:lnTo>
                    <a:pt x="14610" y="4817"/>
                  </a:lnTo>
                  <a:lnTo>
                    <a:pt x="14602" y="4788"/>
                  </a:lnTo>
                  <a:lnTo>
                    <a:pt x="14592" y="4758"/>
                  </a:lnTo>
                  <a:lnTo>
                    <a:pt x="14583" y="4729"/>
                  </a:lnTo>
                  <a:lnTo>
                    <a:pt x="14572" y="4701"/>
                  </a:lnTo>
                  <a:lnTo>
                    <a:pt x="14561" y="4672"/>
                  </a:lnTo>
                  <a:lnTo>
                    <a:pt x="14549" y="4643"/>
                  </a:lnTo>
                  <a:lnTo>
                    <a:pt x="14536" y="4616"/>
                  </a:lnTo>
                  <a:lnTo>
                    <a:pt x="14523" y="4589"/>
                  </a:lnTo>
                  <a:lnTo>
                    <a:pt x="14509" y="4562"/>
                  </a:lnTo>
                  <a:lnTo>
                    <a:pt x="14494" y="4534"/>
                  </a:lnTo>
                  <a:lnTo>
                    <a:pt x="14478" y="4508"/>
                  </a:lnTo>
                  <a:lnTo>
                    <a:pt x="14462" y="4482"/>
                  </a:lnTo>
                  <a:lnTo>
                    <a:pt x="14445" y="4456"/>
                  </a:lnTo>
                  <a:lnTo>
                    <a:pt x="14428" y="4431"/>
                  </a:lnTo>
                  <a:lnTo>
                    <a:pt x="14410" y="4405"/>
                  </a:lnTo>
                  <a:lnTo>
                    <a:pt x="14391" y="4381"/>
                  </a:lnTo>
                  <a:lnTo>
                    <a:pt x="14372" y="4357"/>
                  </a:lnTo>
                  <a:lnTo>
                    <a:pt x="14352" y="4333"/>
                  </a:lnTo>
                  <a:lnTo>
                    <a:pt x="14331" y="4310"/>
                  </a:lnTo>
                  <a:lnTo>
                    <a:pt x="14309" y="4287"/>
                  </a:lnTo>
                  <a:lnTo>
                    <a:pt x="14288" y="4265"/>
                  </a:lnTo>
                  <a:lnTo>
                    <a:pt x="10402" y="3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87" name="iṥlîḍe">
              <a:extLst>
                <a:ext uri="{FF2B5EF4-FFF2-40B4-BE49-F238E27FC236}">
                  <a16:creationId xmlns:a16="http://schemas.microsoft.com/office/drawing/2014/main" id="{980DE9B9-9D52-4BFF-84F6-CC2B3F0F87D2}"/>
                </a:ext>
              </a:extLst>
            </p:cNvPr>
            <p:cNvSpPr/>
            <p:nvPr/>
          </p:nvSpPr>
          <p:spPr bwMode="auto">
            <a:xfrm>
              <a:off x="5355143" y="2149102"/>
              <a:ext cx="95878" cy="95878"/>
            </a:xfrm>
            <a:custGeom>
              <a:avLst/>
              <a:gdLst>
                <a:gd name="T0" fmla="*/ 1409 w 2514"/>
                <a:gd name="T1" fmla="*/ 519 h 2521"/>
                <a:gd name="T2" fmla="*/ 1584 w 2514"/>
                <a:gd name="T3" fmla="*/ 579 h 2521"/>
                <a:gd name="T4" fmla="*/ 1737 w 2514"/>
                <a:gd name="T5" fmla="*/ 677 h 2521"/>
                <a:gd name="T6" fmla="*/ 1862 w 2514"/>
                <a:gd name="T7" fmla="*/ 808 h 2521"/>
                <a:gd name="T8" fmla="*/ 1952 w 2514"/>
                <a:gd name="T9" fmla="*/ 966 h 2521"/>
                <a:gd name="T10" fmla="*/ 2002 w 2514"/>
                <a:gd name="T11" fmla="*/ 1145 h 2521"/>
                <a:gd name="T12" fmla="*/ 2007 w 2514"/>
                <a:gd name="T13" fmla="*/ 1338 h 2521"/>
                <a:gd name="T14" fmla="*/ 1966 w 2514"/>
                <a:gd name="T15" fmla="*/ 1520 h 2521"/>
                <a:gd name="T16" fmla="*/ 1883 w 2514"/>
                <a:gd name="T17" fmla="*/ 1683 h 2521"/>
                <a:gd name="T18" fmla="*/ 1765 w 2514"/>
                <a:gd name="T19" fmla="*/ 1820 h 2521"/>
                <a:gd name="T20" fmla="*/ 1617 w 2514"/>
                <a:gd name="T21" fmla="*/ 1925 h 2521"/>
                <a:gd name="T22" fmla="*/ 1446 w 2514"/>
                <a:gd name="T23" fmla="*/ 1992 h 2521"/>
                <a:gd name="T24" fmla="*/ 1257 w 2514"/>
                <a:gd name="T25" fmla="*/ 2017 h 2521"/>
                <a:gd name="T26" fmla="*/ 1069 w 2514"/>
                <a:gd name="T27" fmla="*/ 1992 h 2521"/>
                <a:gd name="T28" fmla="*/ 897 w 2514"/>
                <a:gd name="T29" fmla="*/ 1925 h 2521"/>
                <a:gd name="T30" fmla="*/ 750 w 2514"/>
                <a:gd name="T31" fmla="*/ 1820 h 2521"/>
                <a:gd name="T32" fmla="*/ 631 w 2514"/>
                <a:gd name="T33" fmla="*/ 1683 h 2521"/>
                <a:gd name="T34" fmla="*/ 549 w 2514"/>
                <a:gd name="T35" fmla="*/ 1520 h 2521"/>
                <a:gd name="T36" fmla="*/ 507 w 2514"/>
                <a:gd name="T37" fmla="*/ 1338 h 2521"/>
                <a:gd name="T38" fmla="*/ 512 w 2514"/>
                <a:gd name="T39" fmla="*/ 1145 h 2521"/>
                <a:gd name="T40" fmla="*/ 562 w 2514"/>
                <a:gd name="T41" fmla="*/ 966 h 2521"/>
                <a:gd name="T42" fmla="*/ 652 w 2514"/>
                <a:gd name="T43" fmla="*/ 808 h 2521"/>
                <a:gd name="T44" fmla="*/ 777 w 2514"/>
                <a:gd name="T45" fmla="*/ 677 h 2521"/>
                <a:gd name="T46" fmla="*/ 930 w 2514"/>
                <a:gd name="T47" fmla="*/ 579 h 2521"/>
                <a:gd name="T48" fmla="*/ 1105 w 2514"/>
                <a:gd name="T49" fmla="*/ 519 h 2521"/>
                <a:gd name="T50" fmla="*/ 1257 w 2514"/>
                <a:gd name="T51" fmla="*/ 2521 h 2521"/>
                <a:gd name="T52" fmla="*/ 1571 w 2514"/>
                <a:gd name="T53" fmla="*/ 2481 h 2521"/>
                <a:gd name="T54" fmla="*/ 1856 w 2514"/>
                <a:gd name="T55" fmla="*/ 2368 h 2521"/>
                <a:gd name="T56" fmla="*/ 2102 w 2514"/>
                <a:gd name="T57" fmla="*/ 2193 h 2521"/>
                <a:gd name="T58" fmla="*/ 2299 w 2514"/>
                <a:gd name="T59" fmla="*/ 1964 h 2521"/>
                <a:gd name="T60" fmla="*/ 2438 w 2514"/>
                <a:gd name="T61" fmla="*/ 1693 h 2521"/>
                <a:gd name="T62" fmla="*/ 2508 w 2514"/>
                <a:gd name="T63" fmla="*/ 1389 h 2521"/>
                <a:gd name="T64" fmla="*/ 2500 w 2514"/>
                <a:gd name="T65" fmla="*/ 1069 h 2521"/>
                <a:gd name="T66" fmla="*/ 2416 w 2514"/>
                <a:gd name="T67" fmla="*/ 770 h 2521"/>
                <a:gd name="T68" fmla="*/ 2264 w 2514"/>
                <a:gd name="T69" fmla="*/ 506 h 2521"/>
                <a:gd name="T70" fmla="*/ 2057 w 2514"/>
                <a:gd name="T71" fmla="*/ 288 h 2521"/>
                <a:gd name="T72" fmla="*/ 1801 w 2514"/>
                <a:gd name="T73" fmla="*/ 124 h 2521"/>
                <a:gd name="T74" fmla="*/ 1510 w 2514"/>
                <a:gd name="T75" fmla="*/ 25 h 2521"/>
                <a:gd name="T76" fmla="*/ 1193 w 2514"/>
                <a:gd name="T77" fmla="*/ 2 h 2521"/>
                <a:gd name="T78" fmla="*/ 884 w 2514"/>
                <a:gd name="T79" fmla="*/ 56 h 2521"/>
                <a:gd name="T80" fmla="*/ 606 w 2514"/>
                <a:gd name="T81" fmla="*/ 182 h 2521"/>
                <a:gd name="T82" fmla="*/ 369 w 2514"/>
                <a:gd name="T83" fmla="*/ 369 h 2521"/>
                <a:gd name="T84" fmla="*/ 182 w 2514"/>
                <a:gd name="T85" fmla="*/ 607 h 2521"/>
                <a:gd name="T86" fmla="*/ 57 w 2514"/>
                <a:gd name="T87" fmla="*/ 886 h 2521"/>
                <a:gd name="T88" fmla="*/ 2 w 2514"/>
                <a:gd name="T89" fmla="*/ 1196 h 2521"/>
                <a:gd name="T90" fmla="*/ 26 w 2514"/>
                <a:gd name="T91" fmla="*/ 1514 h 2521"/>
                <a:gd name="T92" fmla="*/ 124 w 2514"/>
                <a:gd name="T93" fmla="*/ 1806 h 2521"/>
                <a:gd name="T94" fmla="*/ 287 w 2514"/>
                <a:gd name="T95" fmla="*/ 2062 h 2521"/>
                <a:gd name="T96" fmla="*/ 506 w 2514"/>
                <a:gd name="T97" fmla="*/ 2270 h 2521"/>
                <a:gd name="T98" fmla="*/ 768 w 2514"/>
                <a:gd name="T99" fmla="*/ 2422 h 2521"/>
                <a:gd name="T100" fmla="*/ 1066 w 2514"/>
                <a:gd name="T101" fmla="*/ 2507 h 2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14" h="2521">
                  <a:moveTo>
                    <a:pt x="1257" y="504"/>
                  </a:moveTo>
                  <a:lnTo>
                    <a:pt x="1296" y="505"/>
                  </a:lnTo>
                  <a:lnTo>
                    <a:pt x="1334" y="508"/>
                  </a:lnTo>
                  <a:lnTo>
                    <a:pt x="1372" y="513"/>
                  </a:lnTo>
                  <a:lnTo>
                    <a:pt x="1409" y="519"/>
                  </a:lnTo>
                  <a:lnTo>
                    <a:pt x="1446" y="528"/>
                  </a:lnTo>
                  <a:lnTo>
                    <a:pt x="1481" y="538"/>
                  </a:lnTo>
                  <a:lnTo>
                    <a:pt x="1517" y="551"/>
                  </a:lnTo>
                  <a:lnTo>
                    <a:pt x="1551" y="564"/>
                  </a:lnTo>
                  <a:lnTo>
                    <a:pt x="1584" y="579"/>
                  </a:lnTo>
                  <a:lnTo>
                    <a:pt x="1617" y="596"/>
                  </a:lnTo>
                  <a:lnTo>
                    <a:pt x="1648" y="614"/>
                  </a:lnTo>
                  <a:lnTo>
                    <a:pt x="1679" y="633"/>
                  </a:lnTo>
                  <a:lnTo>
                    <a:pt x="1709" y="654"/>
                  </a:lnTo>
                  <a:lnTo>
                    <a:pt x="1737" y="677"/>
                  </a:lnTo>
                  <a:lnTo>
                    <a:pt x="1765" y="701"/>
                  </a:lnTo>
                  <a:lnTo>
                    <a:pt x="1791" y="726"/>
                  </a:lnTo>
                  <a:lnTo>
                    <a:pt x="1815" y="752"/>
                  </a:lnTo>
                  <a:lnTo>
                    <a:pt x="1839" y="779"/>
                  </a:lnTo>
                  <a:lnTo>
                    <a:pt x="1862" y="808"/>
                  </a:lnTo>
                  <a:lnTo>
                    <a:pt x="1883" y="838"/>
                  </a:lnTo>
                  <a:lnTo>
                    <a:pt x="1903" y="868"/>
                  </a:lnTo>
                  <a:lnTo>
                    <a:pt x="1921" y="900"/>
                  </a:lnTo>
                  <a:lnTo>
                    <a:pt x="1937" y="933"/>
                  </a:lnTo>
                  <a:lnTo>
                    <a:pt x="1952" y="966"/>
                  </a:lnTo>
                  <a:lnTo>
                    <a:pt x="1966" y="1000"/>
                  </a:lnTo>
                  <a:lnTo>
                    <a:pt x="1977" y="1035"/>
                  </a:lnTo>
                  <a:lnTo>
                    <a:pt x="1988" y="1072"/>
                  </a:lnTo>
                  <a:lnTo>
                    <a:pt x="1996" y="1108"/>
                  </a:lnTo>
                  <a:lnTo>
                    <a:pt x="2002" y="1145"/>
                  </a:lnTo>
                  <a:lnTo>
                    <a:pt x="2007" y="1183"/>
                  </a:lnTo>
                  <a:lnTo>
                    <a:pt x="2010" y="1221"/>
                  </a:lnTo>
                  <a:lnTo>
                    <a:pt x="2011" y="1260"/>
                  </a:lnTo>
                  <a:lnTo>
                    <a:pt x="2010" y="1300"/>
                  </a:lnTo>
                  <a:lnTo>
                    <a:pt x="2007" y="1338"/>
                  </a:lnTo>
                  <a:lnTo>
                    <a:pt x="2002" y="1375"/>
                  </a:lnTo>
                  <a:lnTo>
                    <a:pt x="1996" y="1413"/>
                  </a:lnTo>
                  <a:lnTo>
                    <a:pt x="1988" y="1449"/>
                  </a:lnTo>
                  <a:lnTo>
                    <a:pt x="1977" y="1485"/>
                  </a:lnTo>
                  <a:lnTo>
                    <a:pt x="1966" y="1520"/>
                  </a:lnTo>
                  <a:lnTo>
                    <a:pt x="1952" y="1555"/>
                  </a:lnTo>
                  <a:lnTo>
                    <a:pt x="1937" y="1588"/>
                  </a:lnTo>
                  <a:lnTo>
                    <a:pt x="1921" y="1620"/>
                  </a:lnTo>
                  <a:lnTo>
                    <a:pt x="1903" y="1653"/>
                  </a:lnTo>
                  <a:lnTo>
                    <a:pt x="1883" y="1683"/>
                  </a:lnTo>
                  <a:lnTo>
                    <a:pt x="1862" y="1713"/>
                  </a:lnTo>
                  <a:lnTo>
                    <a:pt x="1839" y="1741"/>
                  </a:lnTo>
                  <a:lnTo>
                    <a:pt x="1815" y="1768"/>
                  </a:lnTo>
                  <a:lnTo>
                    <a:pt x="1791" y="1795"/>
                  </a:lnTo>
                  <a:lnTo>
                    <a:pt x="1765" y="1820"/>
                  </a:lnTo>
                  <a:lnTo>
                    <a:pt x="1737" y="1844"/>
                  </a:lnTo>
                  <a:lnTo>
                    <a:pt x="1709" y="1866"/>
                  </a:lnTo>
                  <a:lnTo>
                    <a:pt x="1679" y="1887"/>
                  </a:lnTo>
                  <a:lnTo>
                    <a:pt x="1648" y="1907"/>
                  </a:lnTo>
                  <a:lnTo>
                    <a:pt x="1617" y="1925"/>
                  </a:lnTo>
                  <a:lnTo>
                    <a:pt x="1584" y="1942"/>
                  </a:lnTo>
                  <a:lnTo>
                    <a:pt x="1551" y="1957"/>
                  </a:lnTo>
                  <a:lnTo>
                    <a:pt x="1517" y="1970"/>
                  </a:lnTo>
                  <a:lnTo>
                    <a:pt x="1481" y="1982"/>
                  </a:lnTo>
                  <a:lnTo>
                    <a:pt x="1446" y="1992"/>
                  </a:lnTo>
                  <a:lnTo>
                    <a:pt x="1409" y="2001"/>
                  </a:lnTo>
                  <a:lnTo>
                    <a:pt x="1372" y="2007"/>
                  </a:lnTo>
                  <a:lnTo>
                    <a:pt x="1334" y="2012"/>
                  </a:lnTo>
                  <a:lnTo>
                    <a:pt x="1296" y="2015"/>
                  </a:lnTo>
                  <a:lnTo>
                    <a:pt x="1257" y="2017"/>
                  </a:lnTo>
                  <a:lnTo>
                    <a:pt x="1219" y="2015"/>
                  </a:lnTo>
                  <a:lnTo>
                    <a:pt x="1180" y="2012"/>
                  </a:lnTo>
                  <a:lnTo>
                    <a:pt x="1142" y="2007"/>
                  </a:lnTo>
                  <a:lnTo>
                    <a:pt x="1105" y="2001"/>
                  </a:lnTo>
                  <a:lnTo>
                    <a:pt x="1069" y="1992"/>
                  </a:lnTo>
                  <a:lnTo>
                    <a:pt x="1033" y="1982"/>
                  </a:lnTo>
                  <a:lnTo>
                    <a:pt x="997" y="1970"/>
                  </a:lnTo>
                  <a:lnTo>
                    <a:pt x="963" y="1957"/>
                  </a:lnTo>
                  <a:lnTo>
                    <a:pt x="930" y="1942"/>
                  </a:lnTo>
                  <a:lnTo>
                    <a:pt x="897" y="1925"/>
                  </a:lnTo>
                  <a:lnTo>
                    <a:pt x="866" y="1907"/>
                  </a:lnTo>
                  <a:lnTo>
                    <a:pt x="835" y="1887"/>
                  </a:lnTo>
                  <a:lnTo>
                    <a:pt x="805" y="1866"/>
                  </a:lnTo>
                  <a:lnTo>
                    <a:pt x="777" y="1844"/>
                  </a:lnTo>
                  <a:lnTo>
                    <a:pt x="750" y="1820"/>
                  </a:lnTo>
                  <a:lnTo>
                    <a:pt x="724" y="1795"/>
                  </a:lnTo>
                  <a:lnTo>
                    <a:pt x="699" y="1768"/>
                  </a:lnTo>
                  <a:lnTo>
                    <a:pt x="675" y="1741"/>
                  </a:lnTo>
                  <a:lnTo>
                    <a:pt x="652" y="1713"/>
                  </a:lnTo>
                  <a:lnTo>
                    <a:pt x="631" y="1683"/>
                  </a:lnTo>
                  <a:lnTo>
                    <a:pt x="612" y="1653"/>
                  </a:lnTo>
                  <a:lnTo>
                    <a:pt x="594" y="1620"/>
                  </a:lnTo>
                  <a:lnTo>
                    <a:pt x="577" y="1588"/>
                  </a:lnTo>
                  <a:lnTo>
                    <a:pt x="562" y="1555"/>
                  </a:lnTo>
                  <a:lnTo>
                    <a:pt x="549" y="1520"/>
                  </a:lnTo>
                  <a:lnTo>
                    <a:pt x="537" y="1485"/>
                  </a:lnTo>
                  <a:lnTo>
                    <a:pt x="527" y="1449"/>
                  </a:lnTo>
                  <a:lnTo>
                    <a:pt x="518" y="1413"/>
                  </a:lnTo>
                  <a:lnTo>
                    <a:pt x="512" y="1375"/>
                  </a:lnTo>
                  <a:lnTo>
                    <a:pt x="507" y="1338"/>
                  </a:lnTo>
                  <a:lnTo>
                    <a:pt x="504" y="1300"/>
                  </a:lnTo>
                  <a:lnTo>
                    <a:pt x="503" y="1260"/>
                  </a:lnTo>
                  <a:lnTo>
                    <a:pt x="504" y="1221"/>
                  </a:lnTo>
                  <a:lnTo>
                    <a:pt x="507" y="1183"/>
                  </a:lnTo>
                  <a:lnTo>
                    <a:pt x="512" y="1145"/>
                  </a:lnTo>
                  <a:lnTo>
                    <a:pt x="518" y="1108"/>
                  </a:lnTo>
                  <a:lnTo>
                    <a:pt x="527" y="1072"/>
                  </a:lnTo>
                  <a:lnTo>
                    <a:pt x="537" y="1035"/>
                  </a:lnTo>
                  <a:lnTo>
                    <a:pt x="549" y="1000"/>
                  </a:lnTo>
                  <a:lnTo>
                    <a:pt x="562" y="966"/>
                  </a:lnTo>
                  <a:lnTo>
                    <a:pt x="577" y="933"/>
                  </a:lnTo>
                  <a:lnTo>
                    <a:pt x="594" y="900"/>
                  </a:lnTo>
                  <a:lnTo>
                    <a:pt x="612" y="868"/>
                  </a:lnTo>
                  <a:lnTo>
                    <a:pt x="631" y="838"/>
                  </a:lnTo>
                  <a:lnTo>
                    <a:pt x="652" y="808"/>
                  </a:lnTo>
                  <a:lnTo>
                    <a:pt x="675" y="779"/>
                  </a:lnTo>
                  <a:lnTo>
                    <a:pt x="699" y="752"/>
                  </a:lnTo>
                  <a:lnTo>
                    <a:pt x="724" y="726"/>
                  </a:lnTo>
                  <a:lnTo>
                    <a:pt x="750" y="701"/>
                  </a:lnTo>
                  <a:lnTo>
                    <a:pt x="777" y="677"/>
                  </a:lnTo>
                  <a:lnTo>
                    <a:pt x="805" y="654"/>
                  </a:lnTo>
                  <a:lnTo>
                    <a:pt x="835" y="633"/>
                  </a:lnTo>
                  <a:lnTo>
                    <a:pt x="866" y="614"/>
                  </a:lnTo>
                  <a:lnTo>
                    <a:pt x="897" y="596"/>
                  </a:lnTo>
                  <a:lnTo>
                    <a:pt x="930" y="579"/>
                  </a:lnTo>
                  <a:lnTo>
                    <a:pt x="963" y="564"/>
                  </a:lnTo>
                  <a:lnTo>
                    <a:pt x="997" y="551"/>
                  </a:lnTo>
                  <a:lnTo>
                    <a:pt x="1033" y="538"/>
                  </a:lnTo>
                  <a:lnTo>
                    <a:pt x="1069" y="528"/>
                  </a:lnTo>
                  <a:lnTo>
                    <a:pt x="1105" y="519"/>
                  </a:lnTo>
                  <a:lnTo>
                    <a:pt x="1142" y="513"/>
                  </a:lnTo>
                  <a:lnTo>
                    <a:pt x="1180" y="508"/>
                  </a:lnTo>
                  <a:lnTo>
                    <a:pt x="1219" y="505"/>
                  </a:lnTo>
                  <a:lnTo>
                    <a:pt x="1257" y="504"/>
                  </a:lnTo>
                  <a:close/>
                  <a:moveTo>
                    <a:pt x="1257" y="2521"/>
                  </a:moveTo>
                  <a:lnTo>
                    <a:pt x="1321" y="2519"/>
                  </a:lnTo>
                  <a:lnTo>
                    <a:pt x="1386" y="2515"/>
                  </a:lnTo>
                  <a:lnTo>
                    <a:pt x="1448" y="2507"/>
                  </a:lnTo>
                  <a:lnTo>
                    <a:pt x="1510" y="2495"/>
                  </a:lnTo>
                  <a:lnTo>
                    <a:pt x="1571" y="2481"/>
                  </a:lnTo>
                  <a:lnTo>
                    <a:pt x="1630" y="2464"/>
                  </a:lnTo>
                  <a:lnTo>
                    <a:pt x="1689" y="2444"/>
                  </a:lnTo>
                  <a:lnTo>
                    <a:pt x="1746" y="2422"/>
                  </a:lnTo>
                  <a:lnTo>
                    <a:pt x="1801" y="2396"/>
                  </a:lnTo>
                  <a:lnTo>
                    <a:pt x="1856" y="2368"/>
                  </a:lnTo>
                  <a:lnTo>
                    <a:pt x="1909" y="2338"/>
                  </a:lnTo>
                  <a:lnTo>
                    <a:pt x="1959" y="2305"/>
                  </a:lnTo>
                  <a:lnTo>
                    <a:pt x="2008" y="2270"/>
                  </a:lnTo>
                  <a:lnTo>
                    <a:pt x="2057" y="2232"/>
                  </a:lnTo>
                  <a:lnTo>
                    <a:pt x="2102" y="2193"/>
                  </a:lnTo>
                  <a:lnTo>
                    <a:pt x="2145" y="2151"/>
                  </a:lnTo>
                  <a:lnTo>
                    <a:pt x="2187" y="2107"/>
                  </a:lnTo>
                  <a:lnTo>
                    <a:pt x="2227" y="2062"/>
                  </a:lnTo>
                  <a:lnTo>
                    <a:pt x="2264" y="2013"/>
                  </a:lnTo>
                  <a:lnTo>
                    <a:pt x="2299" y="1964"/>
                  </a:lnTo>
                  <a:lnTo>
                    <a:pt x="2332" y="1914"/>
                  </a:lnTo>
                  <a:lnTo>
                    <a:pt x="2363" y="1860"/>
                  </a:lnTo>
                  <a:lnTo>
                    <a:pt x="2391" y="1806"/>
                  </a:lnTo>
                  <a:lnTo>
                    <a:pt x="2416" y="1750"/>
                  </a:lnTo>
                  <a:lnTo>
                    <a:pt x="2438" y="1693"/>
                  </a:lnTo>
                  <a:lnTo>
                    <a:pt x="2458" y="1634"/>
                  </a:lnTo>
                  <a:lnTo>
                    <a:pt x="2475" y="1575"/>
                  </a:lnTo>
                  <a:lnTo>
                    <a:pt x="2489" y="1514"/>
                  </a:lnTo>
                  <a:lnTo>
                    <a:pt x="2500" y="1452"/>
                  </a:lnTo>
                  <a:lnTo>
                    <a:pt x="2508" y="1389"/>
                  </a:lnTo>
                  <a:lnTo>
                    <a:pt x="2512" y="1325"/>
                  </a:lnTo>
                  <a:lnTo>
                    <a:pt x="2514" y="1260"/>
                  </a:lnTo>
                  <a:lnTo>
                    <a:pt x="2512" y="1196"/>
                  </a:lnTo>
                  <a:lnTo>
                    <a:pt x="2508" y="1131"/>
                  </a:lnTo>
                  <a:lnTo>
                    <a:pt x="2500" y="1069"/>
                  </a:lnTo>
                  <a:lnTo>
                    <a:pt x="2489" y="1006"/>
                  </a:lnTo>
                  <a:lnTo>
                    <a:pt x="2475" y="946"/>
                  </a:lnTo>
                  <a:lnTo>
                    <a:pt x="2458" y="886"/>
                  </a:lnTo>
                  <a:lnTo>
                    <a:pt x="2438" y="828"/>
                  </a:lnTo>
                  <a:lnTo>
                    <a:pt x="2416" y="770"/>
                  </a:lnTo>
                  <a:lnTo>
                    <a:pt x="2391" y="714"/>
                  </a:lnTo>
                  <a:lnTo>
                    <a:pt x="2363" y="659"/>
                  </a:lnTo>
                  <a:lnTo>
                    <a:pt x="2332" y="607"/>
                  </a:lnTo>
                  <a:lnTo>
                    <a:pt x="2299" y="556"/>
                  </a:lnTo>
                  <a:lnTo>
                    <a:pt x="2264" y="506"/>
                  </a:lnTo>
                  <a:lnTo>
                    <a:pt x="2227" y="459"/>
                  </a:lnTo>
                  <a:lnTo>
                    <a:pt x="2187" y="413"/>
                  </a:lnTo>
                  <a:lnTo>
                    <a:pt x="2145" y="369"/>
                  </a:lnTo>
                  <a:lnTo>
                    <a:pt x="2102" y="328"/>
                  </a:lnTo>
                  <a:lnTo>
                    <a:pt x="2057" y="288"/>
                  </a:lnTo>
                  <a:lnTo>
                    <a:pt x="2008" y="251"/>
                  </a:lnTo>
                  <a:lnTo>
                    <a:pt x="1959" y="216"/>
                  </a:lnTo>
                  <a:lnTo>
                    <a:pt x="1909" y="182"/>
                  </a:lnTo>
                  <a:lnTo>
                    <a:pt x="1856" y="152"/>
                  </a:lnTo>
                  <a:lnTo>
                    <a:pt x="1801" y="124"/>
                  </a:lnTo>
                  <a:lnTo>
                    <a:pt x="1746" y="99"/>
                  </a:lnTo>
                  <a:lnTo>
                    <a:pt x="1689" y="77"/>
                  </a:lnTo>
                  <a:lnTo>
                    <a:pt x="1630" y="56"/>
                  </a:lnTo>
                  <a:lnTo>
                    <a:pt x="1571" y="39"/>
                  </a:lnTo>
                  <a:lnTo>
                    <a:pt x="1510" y="25"/>
                  </a:lnTo>
                  <a:lnTo>
                    <a:pt x="1448" y="14"/>
                  </a:lnTo>
                  <a:lnTo>
                    <a:pt x="1386" y="6"/>
                  </a:lnTo>
                  <a:lnTo>
                    <a:pt x="1321" y="2"/>
                  </a:lnTo>
                  <a:lnTo>
                    <a:pt x="1257" y="0"/>
                  </a:lnTo>
                  <a:lnTo>
                    <a:pt x="1193" y="2"/>
                  </a:lnTo>
                  <a:lnTo>
                    <a:pt x="1129" y="6"/>
                  </a:lnTo>
                  <a:lnTo>
                    <a:pt x="1066" y="14"/>
                  </a:lnTo>
                  <a:lnTo>
                    <a:pt x="1004" y="25"/>
                  </a:lnTo>
                  <a:lnTo>
                    <a:pt x="943" y="39"/>
                  </a:lnTo>
                  <a:lnTo>
                    <a:pt x="884" y="56"/>
                  </a:lnTo>
                  <a:lnTo>
                    <a:pt x="825" y="77"/>
                  </a:lnTo>
                  <a:lnTo>
                    <a:pt x="768" y="99"/>
                  </a:lnTo>
                  <a:lnTo>
                    <a:pt x="713" y="124"/>
                  </a:lnTo>
                  <a:lnTo>
                    <a:pt x="658" y="152"/>
                  </a:lnTo>
                  <a:lnTo>
                    <a:pt x="606" y="182"/>
                  </a:lnTo>
                  <a:lnTo>
                    <a:pt x="555" y="216"/>
                  </a:lnTo>
                  <a:lnTo>
                    <a:pt x="506" y="251"/>
                  </a:lnTo>
                  <a:lnTo>
                    <a:pt x="458" y="288"/>
                  </a:lnTo>
                  <a:lnTo>
                    <a:pt x="412" y="328"/>
                  </a:lnTo>
                  <a:lnTo>
                    <a:pt x="369" y="369"/>
                  </a:lnTo>
                  <a:lnTo>
                    <a:pt x="326" y="413"/>
                  </a:lnTo>
                  <a:lnTo>
                    <a:pt x="287" y="459"/>
                  </a:lnTo>
                  <a:lnTo>
                    <a:pt x="250" y="506"/>
                  </a:lnTo>
                  <a:lnTo>
                    <a:pt x="215" y="556"/>
                  </a:lnTo>
                  <a:lnTo>
                    <a:pt x="182" y="607"/>
                  </a:lnTo>
                  <a:lnTo>
                    <a:pt x="151" y="659"/>
                  </a:lnTo>
                  <a:lnTo>
                    <a:pt x="124" y="714"/>
                  </a:lnTo>
                  <a:lnTo>
                    <a:pt x="99" y="770"/>
                  </a:lnTo>
                  <a:lnTo>
                    <a:pt x="76" y="828"/>
                  </a:lnTo>
                  <a:lnTo>
                    <a:pt x="57" y="886"/>
                  </a:lnTo>
                  <a:lnTo>
                    <a:pt x="40" y="946"/>
                  </a:lnTo>
                  <a:lnTo>
                    <a:pt x="26" y="1006"/>
                  </a:lnTo>
                  <a:lnTo>
                    <a:pt x="15" y="1069"/>
                  </a:lnTo>
                  <a:lnTo>
                    <a:pt x="7" y="1131"/>
                  </a:lnTo>
                  <a:lnTo>
                    <a:pt x="2" y="1196"/>
                  </a:lnTo>
                  <a:lnTo>
                    <a:pt x="0" y="1260"/>
                  </a:lnTo>
                  <a:lnTo>
                    <a:pt x="2" y="1325"/>
                  </a:lnTo>
                  <a:lnTo>
                    <a:pt x="7" y="1389"/>
                  </a:lnTo>
                  <a:lnTo>
                    <a:pt x="15" y="1452"/>
                  </a:lnTo>
                  <a:lnTo>
                    <a:pt x="26" y="1514"/>
                  </a:lnTo>
                  <a:lnTo>
                    <a:pt x="40" y="1575"/>
                  </a:lnTo>
                  <a:lnTo>
                    <a:pt x="57" y="1634"/>
                  </a:lnTo>
                  <a:lnTo>
                    <a:pt x="76" y="1693"/>
                  </a:lnTo>
                  <a:lnTo>
                    <a:pt x="99" y="1750"/>
                  </a:lnTo>
                  <a:lnTo>
                    <a:pt x="124" y="1806"/>
                  </a:lnTo>
                  <a:lnTo>
                    <a:pt x="151" y="1860"/>
                  </a:lnTo>
                  <a:lnTo>
                    <a:pt x="182" y="1914"/>
                  </a:lnTo>
                  <a:lnTo>
                    <a:pt x="215" y="1964"/>
                  </a:lnTo>
                  <a:lnTo>
                    <a:pt x="250" y="2013"/>
                  </a:lnTo>
                  <a:lnTo>
                    <a:pt x="287" y="2062"/>
                  </a:lnTo>
                  <a:lnTo>
                    <a:pt x="326" y="2107"/>
                  </a:lnTo>
                  <a:lnTo>
                    <a:pt x="369" y="2151"/>
                  </a:lnTo>
                  <a:lnTo>
                    <a:pt x="412" y="2193"/>
                  </a:lnTo>
                  <a:lnTo>
                    <a:pt x="458" y="2232"/>
                  </a:lnTo>
                  <a:lnTo>
                    <a:pt x="506" y="2270"/>
                  </a:lnTo>
                  <a:lnTo>
                    <a:pt x="555" y="2305"/>
                  </a:lnTo>
                  <a:lnTo>
                    <a:pt x="606" y="2338"/>
                  </a:lnTo>
                  <a:lnTo>
                    <a:pt x="658" y="2368"/>
                  </a:lnTo>
                  <a:lnTo>
                    <a:pt x="713" y="2396"/>
                  </a:lnTo>
                  <a:lnTo>
                    <a:pt x="768" y="2422"/>
                  </a:lnTo>
                  <a:lnTo>
                    <a:pt x="825" y="2444"/>
                  </a:lnTo>
                  <a:lnTo>
                    <a:pt x="884" y="2464"/>
                  </a:lnTo>
                  <a:lnTo>
                    <a:pt x="943" y="2481"/>
                  </a:lnTo>
                  <a:lnTo>
                    <a:pt x="1004" y="2495"/>
                  </a:lnTo>
                  <a:lnTo>
                    <a:pt x="1066" y="2507"/>
                  </a:lnTo>
                  <a:lnTo>
                    <a:pt x="1129" y="2515"/>
                  </a:lnTo>
                  <a:lnTo>
                    <a:pt x="1193" y="2519"/>
                  </a:lnTo>
                  <a:lnTo>
                    <a:pt x="1257" y="25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88" name="îšḻíḋé">
              <a:extLst>
                <a:ext uri="{FF2B5EF4-FFF2-40B4-BE49-F238E27FC236}">
                  <a16:creationId xmlns:a16="http://schemas.microsoft.com/office/drawing/2014/main" id="{4BADB044-8DD8-4681-BC38-D7B45B0CC3F1}"/>
                </a:ext>
              </a:extLst>
            </p:cNvPr>
            <p:cNvSpPr/>
            <p:nvPr/>
          </p:nvSpPr>
          <p:spPr bwMode="auto">
            <a:xfrm>
              <a:off x="5604709" y="1841728"/>
              <a:ext cx="95878" cy="95878"/>
            </a:xfrm>
            <a:custGeom>
              <a:avLst/>
              <a:gdLst>
                <a:gd name="T0" fmla="*/ 1106 w 2515"/>
                <a:gd name="T1" fmla="*/ 2001 h 2521"/>
                <a:gd name="T2" fmla="*/ 931 w 2515"/>
                <a:gd name="T3" fmla="*/ 1942 h 2521"/>
                <a:gd name="T4" fmla="*/ 778 w 2515"/>
                <a:gd name="T5" fmla="*/ 1844 h 2521"/>
                <a:gd name="T6" fmla="*/ 653 w 2515"/>
                <a:gd name="T7" fmla="*/ 1713 h 2521"/>
                <a:gd name="T8" fmla="*/ 562 w 2515"/>
                <a:gd name="T9" fmla="*/ 1555 h 2521"/>
                <a:gd name="T10" fmla="*/ 512 w 2515"/>
                <a:gd name="T11" fmla="*/ 1375 h 2521"/>
                <a:gd name="T12" fmla="*/ 507 w 2515"/>
                <a:gd name="T13" fmla="*/ 1183 h 2521"/>
                <a:gd name="T14" fmla="*/ 548 w 2515"/>
                <a:gd name="T15" fmla="*/ 1000 h 2521"/>
                <a:gd name="T16" fmla="*/ 632 w 2515"/>
                <a:gd name="T17" fmla="*/ 838 h 2521"/>
                <a:gd name="T18" fmla="*/ 751 w 2515"/>
                <a:gd name="T19" fmla="*/ 701 h 2521"/>
                <a:gd name="T20" fmla="*/ 897 w 2515"/>
                <a:gd name="T21" fmla="*/ 596 h 2521"/>
                <a:gd name="T22" fmla="*/ 1068 w 2515"/>
                <a:gd name="T23" fmla="*/ 528 h 2521"/>
                <a:gd name="T24" fmla="*/ 1258 w 2515"/>
                <a:gd name="T25" fmla="*/ 504 h 2521"/>
                <a:gd name="T26" fmla="*/ 1447 w 2515"/>
                <a:gd name="T27" fmla="*/ 528 h 2521"/>
                <a:gd name="T28" fmla="*/ 1618 w 2515"/>
                <a:gd name="T29" fmla="*/ 596 h 2521"/>
                <a:gd name="T30" fmla="*/ 1765 w 2515"/>
                <a:gd name="T31" fmla="*/ 701 h 2521"/>
                <a:gd name="T32" fmla="*/ 1883 w 2515"/>
                <a:gd name="T33" fmla="*/ 838 h 2521"/>
                <a:gd name="T34" fmla="*/ 1967 w 2515"/>
                <a:gd name="T35" fmla="*/ 1000 h 2521"/>
                <a:gd name="T36" fmla="*/ 2008 w 2515"/>
                <a:gd name="T37" fmla="*/ 1183 h 2521"/>
                <a:gd name="T38" fmla="*/ 2003 w 2515"/>
                <a:gd name="T39" fmla="*/ 1375 h 2521"/>
                <a:gd name="T40" fmla="*/ 1953 w 2515"/>
                <a:gd name="T41" fmla="*/ 1555 h 2521"/>
                <a:gd name="T42" fmla="*/ 1862 w 2515"/>
                <a:gd name="T43" fmla="*/ 1713 h 2521"/>
                <a:gd name="T44" fmla="*/ 1737 w 2515"/>
                <a:gd name="T45" fmla="*/ 1844 h 2521"/>
                <a:gd name="T46" fmla="*/ 1585 w 2515"/>
                <a:gd name="T47" fmla="*/ 1942 h 2521"/>
                <a:gd name="T48" fmla="*/ 1409 w 2515"/>
                <a:gd name="T49" fmla="*/ 2001 h 2521"/>
                <a:gd name="T50" fmla="*/ 1258 w 2515"/>
                <a:gd name="T51" fmla="*/ 0 h 2521"/>
                <a:gd name="T52" fmla="*/ 944 w 2515"/>
                <a:gd name="T53" fmla="*/ 39 h 2521"/>
                <a:gd name="T54" fmla="*/ 659 w 2515"/>
                <a:gd name="T55" fmla="*/ 152 h 2521"/>
                <a:gd name="T56" fmla="*/ 413 w 2515"/>
                <a:gd name="T57" fmla="*/ 328 h 2521"/>
                <a:gd name="T58" fmla="*/ 215 w 2515"/>
                <a:gd name="T59" fmla="*/ 556 h 2521"/>
                <a:gd name="T60" fmla="*/ 77 w 2515"/>
                <a:gd name="T61" fmla="*/ 827 h 2521"/>
                <a:gd name="T62" fmla="*/ 7 w 2515"/>
                <a:gd name="T63" fmla="*/ 1131 h 2521"/>
                <a:gd name="T64" fmla="*/ 14 w 2515"/>
                <a:gd name="T65" fmla="*/ 1452 h 2521"/>
                <a:gd name="T66" fmla="*/ 99 w 2515"/>
                <a:gd name="T67" fmla="*/ 1750 h 2521"/>
                <a:gd name="T68" fmla="*/ 251 w 2515"/>
                <a:gd name="T69" fmla="*/ 2014 h 2521"/>
                <a:gd name="T70" fmla="*/ 458 w 2515"/>
                <a:gd name="T71" fmla="*/ 2232 h 2521"/>
                <a:gd name="T72" fmla="*/ 713 w 2515"/>
                <a:gd name="T73" fmla="*/ 2397 h 2521"/>
                <a:gd name="T74" fmla="*/ 1004 w 2515"/>
                <a:gd name="T75" fmla="*/ 2495 h 2521"/>
                <a:gd name="T76" fmla="*/ 1322 w 2515"/>
                <a:gd name="T77" fmla="*/ 2519 h 2521"/>
                <a:gd name="T78" fmla="*/ 1631 w 2515"/>
                <a:gd name="T79" fmla="*/ 2464 h 2521"/>
                <a:gd name="T80" fmla="*/ 1908 w 2515"/>
                <a:gd name="T81" fmla="*/ 2338 h 2521"/>
                <a:gd name="T82" fmla="*/ 2146 w 2515"/>
                <a:gd name="T83" fmla="*/ 2152 h 2521"/>
                <a:gd name="T84" fmla="*/ 2333 w 2515"/>
                <a:gd name="T85" fmla="*/ 1914 h 2521"/>
                <a:gd name="T86" fmla="*/ 2459 w 2515"/>
                <a:gd name="T87" fmla="*/ 1634 h 2521"/>
                <a:gd name="T88" fmla="*/ 2513 w 2515"/>
                <a:gd name="T89" fmla="*/ 1325 h 2521"/>
                <a:gd name="T90" fmla="*/ 2490 w 2515"/>
                <a:gd name="T91" fmla="*/ 1006 h 2521"/>
                <a:gd name="T92" fmla="*/ 2390 w 2515"/>
                <a:gd name="T93" fmla="*/ 714 h 2521"/>
                <a:gd name="T94" fmla="*/ 2227 w 2515"/>
                <a:gd name="T95" fmla="*/ 459 h 2521"/>
                <a:gd name="T96" fmla="*/ 2009 w 2515"/>
                <a:gd name="T97" fmla="*/ 251 h 2521"/>
                <a:gd name="T98" fmla="*/ 1746 w 2515"/>
                <a:gd name="T99" fmla="*/ 99 h 2521"/>
                <a:gd name="T100" fmla="*/ 1449 w 2515"/>
                <a:gd name="T101" fmla="*/ 14 h 2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15" h="2521">
                  <a:moveTo>
                    <a:pt x="1258" y="2017"/>
                  </a:moveTo>
                  <a:lnTo>
                    <a:pt x="1218" y="2015"/>
                  </a:lnTo>
                  <a:lnTo>
                    <a:pt x="1180" y="2012"/>
                  </a:lnTo>
                  <a:lnTo>
                    <a:pt x="1143" y="2007"/>
                  </a:lnTo>
                  <a:lnTo>
                    <a:pt x="1106" y="2001"/>
                  </a:lnTo>
                  <a:lnTo>
                    <a:pt x="1068" y="1992"/>
                  </a:lnTo>
                  <a:lnTo>
                    <a:pt x="1033" y="1982"/>
                  </a:lnTo>
                  <a:lnTo>
                    <a:pt x="998" y="1970"/>
                  </a:lnTo>
                  <a:lnTo>
                    <a:pt x="964" y="1957"/>
                  </a:lnTo>
                  <a:lnTo>
                    <a:pt x="931" y="1942"/>
                  </a:lnTo>
                  <a:lnTo>
                    <a:pt x="897" y="1925"/>
                  </a:lnTo>
                  <a:lnTo>
                    <a:pt x="866" y="1907"/>
                  </a:lnTo>
                  <a:lnTo>
                    <a:pt x="836" y="1887"/>
                  </a:lnTo>
                  <a:lnTo>
                    <a:pt x="806" y="1866"/>
                  </a:lnTo>
                  <a:lnTo>
                    <a:pt x="778" y="1844"/>
                  </a:lnTo>
                  <a:lnTo>
                    <a:pt x="751" y="1820"/>
                  </a:lnTo>
                  <a:lnTo>
                    <a:pt x="723" y="1795"/>
                  </a:lnTo>
                  <a:lnTo>
                    <a:pt x="699" y="1768"/>
                  </a:lnTo>
                  <a:lnTo>
                    <a:pt x="675" y="1741"/>
                  </a:lnTo>
                  <a:lnTo>
                    <a:pt x="653" y="1713"/>
                  </a:lnTo>
                  <a:lnTo>
                    <a:pt x="632" y="1683"/>
                  </a:lnTo>
                  <a:lnTo>
                    <a:pt x="612" y="1653"/>
                  </a:lnTo>
                  <a:lnTo>
                    <a:pt x="594" y="1620"/>
                  </a:lnTo>
                  <a:lnTo>
                    <a:pt x="578" y="1588"/>
                  </a:lnTo>
                  <a:lnTo>
                    <a:pt x="562" y="1555"/>
                  </a:lnTo>
                  <a:lnTo>
                    <a:pt x="548" y="1520"/>
                  </a:lnTo>
                  <a:lnTo>
                    <a:pt x="537" y="1485"/>
                  </a:lnTo>
                  <a:lnTo>
                    <a:pt x="527" y="1449"/>
                  </a:lnTo>
                  <a:lnTo>
                    <a:pt x="518" y="1413"/>
                  </a:lnTo>
                  <a:lnTo>
                    <a:pt x="512" y="1375"/>
                  </a:lnTo>
                  <a:lnTo>
                    <a:pt x="507" y="1338"/>
                  </a:lnTo>
                  <a:lnTo>
                    <a:pt x="504" y="1299"/>
                  </a:lnTo>
                  <a:lnTo>
                    <a:pt x="503" y="1260"/>
                  </a:lnTo>
                  <a:lnTo>
                    <a:pt x="504" y="1221"/>
                  </a:lnTo>
                  <a:lnTo>
                    <a:pt x="507" y="1183"/>
                  </a:lnTo>
                  <a:lnTo>
                    <a:pt x="512" y="1145"/>
                  </a:lnTo>
                  <a:lnTo>
                    <a:pt x="518" y="1108"/>
                  </a:lnTo>
                  <a:lnTo>
                    <a:pt x="527" y="1072"/>
                  </a:lnTo>
                  <a:lnTo>
                    <a:pt x="537" y="1035"/>
                  </a:lnTo>
                  <a:lnTo>
                    <a:pt x="548" y="1000"/>
                  </a:lnTo>
                  <a:lnTo>
                    <a:pt x="562" y="966"/>
                  </a:lnTo>
                  <a:lnTo>
                    <a:pt x="578" y="933"/>
                  </a:lnTo>
                  <a:lnTo>
                    <a:pt x="594" y="900"/>
                  </a:lnTo>
                  <a:lnTo>
                    <a:pt x="612" y="868"/>
                  </a:lnTo>
                  <a:lnTo>
                    <a:pt x="632" y="838"/>
                  </a:lnTo>
                  <a:lnTo>
                    <a:pt x="653" y="808"/>
                  </a:lnTo>
                  <a:lnTo>
                    <a:pt x="675" y="779"/>
                  </a:lnTo>
                  <a:lnTo>
                    <a:pt x="699" y="752"/>
                  </a:lnTo>
                  <a:lnTo>
                    <a:pt x="723" y="726"/>
                  </a:lnTo>
                  <a:lnTo>
                    <a:pt x="751" y="701"/>
                  </a:lnTo>
                  <a:lnTo>
                    <a:pt x="778" y="677"/>
                  </a:lnTo>
                  <a:lnTo>
                    <a:pt x="806" y="654"/>
                  </a:lnTo>
                  <a:lnTo>
                    <a:pt x="836" y="633"/>
                  </a:lnTo>
                  <a:lnTo>
                    <a:pt x="866" y="614"/>
                  </a:lnTo>
                  <a:lnTo>
                    <a:pt x="897" y="596"/>
                  </a:lnTo>
                  <a:lnTo>
                    <a:pt x="931" y="579"/>
                  </a:lnTo>
                  <a:lnTo>
                    <a:pt x="964" y="564"/>
                  </a:lnTo>
                  <a:lnTo>
                    <a:pt x="998" y="549"/>
                  </a:lnTo>
                  <a:lnTo>
                    <a:pt x="1033" y="538"/>
                  </a:lnTo>
                  <a:lnTo>
                    <a:pt x="1068" y="528"/>
                  </a:lnTo>
                  <a:lnTo>
                    <a:pt x="1106" y="519"/>
                  </a:lnTo>
                  <a:lnTo>
                    <a:pt x="1143" y="513"/>
                  </a:lnTo>
                  <a:lnTo>
                    <a:pt x="1180" y="508"/>
                  </a:lnTo>
                  <a:lnTo>
                    <a:pt x="1218" y="505"/>
                  </a:lnTo>
                  <a:lnTo>
                    <a:pt x="1258" y="504"/>
                  </a:lnTo>
                  <a:lnTo>
                    <a:pt x="1297" y="505"/>
                  </a:lnTo>
                  <a:lnTo>
                    <a:pt x="1335" y="508"/>
                  </a:lnTo>
                  <a:lnTo>
                    <a:pt x="1372" y="513"/>
                  </a:lnTo>
                  <a:lnTo>
                    <a:pt x="1409" y="519"/>
                  </a:lnTo>
                  <a:lnTo>
                    <a:pt x="1447" y="528"/>
                  </a:lnTo>
                  <a:lnTo>
                    <a:pt x="1482" y="538"/>
                  </a:lnTo>
                  <a:lnTo>
                    <a:pt x="1517" y="549"/>
                  </a:lnTo>
                  <a:lnTo>
                    <a:pt x="1551" y="564"/>
                  </a:lnTo>
                  <a:lnTo>
                    <a:pt x="1585" y="579"/>
                  </a:lnTo>
                  <a:lnTo>
                    <a:pt x="1618" y="596"/>
                  </a:lnTo>
                  <a:lnTo>
                    <a:pt x="1649" y="614"/>
                  </a:lnTo>
                  <a:lnTo>
                    <a:pt x="1679" y="633"/>
                  </a:lnTo>
                  <a:lnTo>
                    <a:pt x="1709" y="654"/>
                  </a:lnTo>
                  <a:lnTo>
                    <a:pt x="1737" y="677"/>
                  </a:lnTo>
                  <a:lnTo>
                    <a:pt x="1765" y="701"/>
                  </a:lnTo>
                  <a:lnTo>
                    <a:pt x="1791" y="726"/>
                  </a:lnTo>
                  <a:lnTo>
                    <a:pt x="1816" y="752"/>
                  </a:lnTo>
                  <a:lnTo>
                    <a:pt x="1840" y="779"/>
                  </a:lnTo>
                  <a:lnTo>
                    <a:pt x="1862" y="808"/>
                  </a:lnTo>
                  <a:lnTo>
                    <a:pt x="1883" y="838"/>
                  </a:lnTo>
                  <a:lnTo>
                    <a:pt x="1902" y="868"/>
                  </a:lnTo>
                  <a:lnTo>
                    <a:pt x="1920" y="900"/>
                  </a:lnTo>
                  <a:lnTo>
                    <a:pt x="1938" y="933"/>
                  </a:lnTo>
                  <a:lnTo>
                    <a:pt x="1953" y="966"/>
                  </a:lnTo>
                  <a:lnTo>
                    <a:pt x="1967" y="1000"/>
                  </a:lnTo>
                  <a:lnTo>
                    <a:pt x="1978" y="1035"/>
                  </a:lnTo>
                  <a:lnTo>
                    <a:pt x="1988" y="1072"/>
                  </a:lnTo>
                  <a:lnTo>
                    <a:pt x="1997" y="1108"/>
                  </a:lnTo>
                  <a:lnTo>
                    <a:pt x="2003" y="1145"/>
                  </a:lnTo>
                  <a:lnTo>
                    <a:pt x="2008" y="1183"/>
                  </a:lnTo>
                  <a:lnTo>
                    <a:pt x="2011" y="1221"/>
                  </a:lnTo>
                  <a:lnTo>
                    <a:pt x="2012" y="1260"/>
                  </a:lnTo>
                  <a:lnTo>
                    <a:pt x="2011" y="1299"/>
                  </a:lnTo>
                  <a:lnTo>
                    <a:pt x="2008" y="1338"/>
                  </a:lnTo>
                  <a:lnTo>
                    <a:pt x="2003" y="1375"/>
                  </a:lnTo>
                  <a:lnTo>
                    <a:pt x="1997" y="1413"/>
                  </a:lnTo>
                  <a:lnTo>
                    <a:pt x="1988" y="1449"/>
                  </a:lnTo>
                  <a:lnTo>
                    <a:pt x="1978" y="1485"/>
                  </a:lnTo>
                  <a:lnTo>
                    <a:pt x="1967" y="1520"/>
                  </a:lnTo>
                  <a:lnTo>
                    <a:pt x="1953" y="1555"/>
                  </a:lnTo>
                  <a:lnTo>
                    <a:pt x="1938" y="1588"/>
                  </a:lnTo>
                  <a:lnTo>
                    <a:pt x="1920" y="1620"/>
                  </a:lnTo>
                  <a:lnTo>
                    <a:pt x="1902" y="1653"/>
                  </a:lnTo>
                  <a:lnTo>
                    <a:pt x="1883" y="1683"/>
                  </a:lnTo>
                  <a:lnTo>
                    <a:pt x="1862" y="1713"/>
                  </a:lnTo>
                  <a:lnTo>
                    <a:pt x="1840" y="1741"/>
                  </a:lnTo>
                  <a:lnTo>
                    <a:pt x="1816" y="1768"/>
                  </a:lnTo>
                  <a:lnTo>
                    <a:pt x="1791" y="1795"/>
                  </a:lnTo>
                  <a:lnTo>
                    <a:pt x="1765" y="1820"/>
                  </a:lnTo>
                  <a:lnTo>
                    <a:pt x="1737" y="1844"/>
                  </a:lnTo>
                  <a:lnTo>
                    <a:pt x="1709" y="1866"/>
                  </a:lnTo>
                  <a:lnTo>
                    <a:pt x="1679" y="1887"/>
                  </a:lnTo>
                  <a:lnTo>
                    <a:pt x="1649" y="1907"/>
                  </a:lnTo>
                  <a:lnTo>
                    <a:pt x="1618" y="1925"/>
                  </a:lnTo>
                  <a:lnTo>
                    <a:pt x="1585" y="1942"/>
                  </a:lnTo>
                  <a:lnTo>
                    <a:pt x="1551" y="1957"/>
                  </a:lnTo>
                  <a:lnTo>
                    <a:pt x="1517" y="1970"/>
                  </a:lnTo>
                  <a:lnTo>
                    <a:pt x="1482" y="1982"/>
                  </a:lnTo>
                  <a:lnTo>
                    <a:pt x="1447" y="1992"/>
                  </a:lnTo>
                  <a:lnTo>
                    <a:pt x="1409" y="2001"/>
                  </a:lnTo>
                  <a:lnTo>
                    <a:pt x="1372" y="2007"/>
                  </a:lnTo>
                  <a:lnTo>
                    <a:pt x="1335" y="2012"/>
                  </a:lnTo>
                  <a:lnTo>
                    <a:pt x="1297" y="2015"/>
                  </a:lnTo>
                  <a:lnTo>
                    <a:pt x="1258" y="2017"/>
                  </a:lnTo>
                  <a:close/>
                  <a:moveTo>
                    <a:pt x="1258" y="0"/>
                  </a:moveTo>
                  <a:lnTo>
                    <a:pt x="1193" y="2"/>
                  </a:lnTo>
                  <a:lnTo>
                    <a:pt x="1129" y="6"/>
                  </a:lnTo>
                  <a:lnTo>
                    <a:pt x="1066" y="14"/>
                  </a:lnTo>
                  <a:lnTo>
                    <a:pt x="1004" y="25"/>
                  </a:lnTo>
                  <a:lnTo>
                    <a:pt x="944" y="39"/>
                  </a:lnTo>
                  <a:lnTo>
                    <a:pt x="884" y="56"/>
                  </a:lnTo>
                  <a:lnTo>
                    <a:pt x="826" y="77"/>
                  </a:lnTo>
                  <a:lnTo>
                    <a:pt x="769" y="99"/>
                  </a:lnTo>
                  <a:lnTo>
                    <a:pt x="713" y="124"/>
                  </a:lnTo>
                  <a:lnTo>
                    <a:pt x="659" y="152"/>
                  </a:lnTo>
                  <a:lnTo>
                    <a:pt x="606" y="182"/>
                  </a:lnTo>
                  <a:lnTo>
                    <a:pt x="555" y="216"/>
                  </a:lnTo>
                  <a:lnTo>
                    <a:pt x="506" y="251"/>
                  </a:lnTo>
                  <a:lnTo>
                    <a:pt x="458" y="288"/>
                  </a:lnTo>
                  <a:lnTo>
                    <a:pt x="413" y="328"/>
                  </a:lnTo>
                  <a:lnTo>
                    <a:pt x="369" y="369"/>
                  </a:lnTo>
                  <a:lnTo>
                    <a:pt x="327" y="413"/>
                  </a:lnTo>
                  <a:lnTo>
                    <a:pt x="288" y="459"/>
                  </a:lnTo>
                  <a:lnTo>
                    <a:pt x="251" y="506"/>
                  </a:lnTo>
                  <a:lnTo>
                    <a:pt x="215" y="556"/>
                  </a:lnTo>
                  <a:lnTo>
                    <a:pt x="182" y="607"/>
                  </a:lnTo>
                  <a:lnTo>
                    <a:pt x="152" y="659"/>
                  </a:lnTo>
                  <a:lnTo>
                    <a:pt x="124" y="714"/>
                  </a:lnTo>
                  <a:lnTo>
                    <a:pt x="99" y="770"/>
                  </a:lnTo>
                  <a:lnTo>
                    <a:pt x="77" y="827"/>
                  </a:lnTo>
                  <a:lnTo>
                    <a:pt x="56" y="886"/>
                  </a:lnTo>
                  <a:lnTo>
                    <a:pt x="39" y="946"/>
                  </a:lnTo>
                  <a:lnTo>
                    <a:pt x="25" y="1006"/>
                  </a:lnTo>
                  <a:lnTo>
                    <a:pt x="14" y="1069"/>
                  </a:lnTo>
                  <a:lnTo>
                    <a:pt x="7" y="1131"/>
                  </a:lnTo>
                  <a:lnTo>
                    <a:pt x="2" y="1196"/>
                  </a:lnTo>
                  <a:lnTo>
                    <a:pt x="0" y="1260"/>
                  </a:lnTo>
                  <a:lnTo>
                    <a:pt x="2" y="1325"/>
                  </a:lnTo>
                  <a:lnTo>
                    <a:pt x="7" y="1389"/>
                  </a:lnTo>
                  <a:lnTo>
                    <a:pt x="14" y="1452"/>
                  </a:lnTo>
                  <a:lnTo>
                    <a:pt x="25" y="1514"/>
                  </a:lnTo>
                  <a:lnTo>
                    <a:pt x="39" y="1575"/>
                  </a:lnTo>
                  <a:lnTo>
                    <a:pt x="56" y="1634"/>
                  </a:lnTo>
                  <a:lnTo>
                    <a:pt x="77" y="1693"/>
                  </a:lnTo>
                  <a:lnTo>
                    <a:pt x="99" y="1750"/>
                  </a:lnTo>
                  <a:lnTo>
                    <a:pt x="124" y="1806"/>
                  </a:lnTo>
                  <a:lnTo>
                    <a:pt x="152" y="1860"/>
                  </a:lnTo>
                  <a:lnTo>
                    <a:pt x="182" y="1914"/>
                  </a:lnTo>
                  <a:lnTo>
                    <a:pt x="215" y="1964"/>
                  </a:lnTo>
                  <a:lnTo>
                    <a:pt x="251" y="2014"/>
                  </a:lnTo>
                  <a:lnTo>
                    <a:pt x="288" y="2062"/>
                  </a:lnTo>
                  <a:lnTo>
                    <a:pt x="327" y="2107"/>
                  </a:lnTo>
                  <a:lnTo>
                    <a:pt x="369" y="2152"/>
                  </a:lnTo>
                  <a:lnTo>
                    <a:pt x="413" y="2193"/>
                  </a:lnTo>
                  <a:lnTo>
                    <a:pt x="458" y="2232"/>
                  </a:lnTo>
                  <a:lnTo>
                    <a:pt x="506" y="2270"/>
                  </a:lnTo>
                  <a:lnTo>
                    <a:pt x="555" y="2305"/>
                  </a:lnTo>
                  <a:lnTo>
                    <a:pt x="606" y="2338"/>
                  </a:lnTo>
                  <a:lnTo>
                    <a:pt x="659" y="2368"/>
                  </a:lnTo>
                  <a:lnTo>
                    <a:pt x="713" y="2397"/>
                  </a:lnTo>
                  <a:lnTo>
                    <a:pt x="769" y="2422"/>
                  </a:lnTo>
                  <a:lnTo>
                    <a:pt x="826" y="2444"/>
                  </a:lnTo>
                  <a:lnTo>
                    <a:pt x="884" y="2464"/>
                  </a:lnTo>
                  <a:lnTo>
                    <a:pt x="944" y="2481"/>
                  </a:lnTo>
                  <a:lnTo>
                    <a:pt x="1004" y="2495"/>
                  </a:lnTo>
                  <a:lnTo>
                    <a:pt x="1066" y="2507"/>
                  </a:lnTo>
                  <a:lnTo>
                    <a:pt x="1129" y="2515"/>
                  </a:lnTo>
                  <a:lnTo>
                    <a:pt x="1193" y="2519"/>
                  </a:lnTo>
                  <a:lnTo>
                    <a:pt x="1258" y="2521"/>
                  </a:lnTo>
                  <a:lnTo>
                    <a:pt x="1322" y="2519"/>
                  </a:lnTo>
                  <a:lnTo>
                    <a:pt x="1385" y="2515"/>
                  </a:lnTo>
                  <a:lnTo>
                    <a:pt x="1449" y="2507"/>
                  </a:lnTo>
                  <a:lnTo>
                    <a:pt x="1510" y="2495"/>
                  </a:lnTo>
                  <a:lnTo>
                    <a:pt x="1571" y="2481"/>
                  </a:lnTo>
                  <a:lnTo>
                    <a:pt x="1631" y="2464"/>
                  </a:lnTo>
                  <a:lnTo>
                    <a:pt x="1689" y="2444"/>
                  </a:lnTo>
                  <a:lnTo>
                    <a:pt x="1746" y="2422"/>
                  </a:lnTo>
                  <a:lnTo>
                    <a:pt x="1802" y="2397"/>
                  </a:lnTo>
                  <a:lnTo>
                    <a:pt x="1856" y="2368"/>
                  </a:lnTo>
                  <a:lnTo>
                    <a:pt x="1908" y="2338"/>
                  </a:lnTo>
                  <a:lnTo>
                    <a:pt x="1960" y="2305"/>
                  </a:lnTo>
                  <a:lnTo>
                    <a:pt x="2009" y="2270"/>
                  </a:lnTo>
                  <a:lnTo>
                    <a:pt x="2056" y="2232"/>
                  </a:lnTo>
                  <a:lnTo>
                    <a:pt x="2103" y="2193"/>
                  </a:lnTo>
                  <a:lnTo>
                    <a:pt x="2146" y="2152"/>
                  </a:lnTo>
                  <a:lnTo>
                    <a:pt x="2188" y="2107"/>
                  </a:lnTo>
                  <a:lnTo>
                    <a:pt x="2227" y="2062"/>
                  </a:lnTo>
                  <a:lnTo>
                    <a:pt x="2265" y="2014"/>
                  </a:lnTo>
                  <a:lnTo>
                    <a:pt x="2300" y="1964"/>
                  </a:lnTo>
                  <a:lnTo>
                    <a:pt x="2333" y="1914"/>
                  </a:lnTo>
                  <a:lnTo>
                    <a:pt x="2363" y="1860"/>
                  </a:lnTo>
                  <a:lnTo>
                    <a:pt x="2390" y="1806"/>
                  </a:lnTo>
                  <a:lnTo>
                    <a:pt x="2416" y="1750"/>
                  </a:lnTo>
                  <a:lnTo>
                    <a:pt x="2439" y="1693"/>
                  </a:lnTo>
                  <a:lnTo>
                    <a:pt x="2459" y="1634"/>
                  </a:lnTo>
                  <a:lnTo>
                    <a:pt x="2476" y="1575"/>
                  </a:lnTo>
                  <a:lnTo>
                    <a:pt x="2490" y="1514"/>
                  </a:lnTo>
                  <a:lnTo>
                    <a:pt x="2501" y="1452"/>
                  </a:lnTo>
                  <a:lnTo>
                    <a:pt x="2508" y="1389"/>
                  </a:lnTo>
                  <a:lnTo>
                    <a:pt x="2513" y="1325"/>
                  </a:lnTo>
                  <a:lnTo>
                    <a:pt x="2515" y="1260"/>
                  </a:lnTo>
                  <a:lnTo>
                    <a:pt x="2513" y="1196"/>
                  </a:lnTo>
                  <a:lnTo>
                    <a:pt x="2508" y="1131"/>
                  </a:lnTo>
                  <a:lnTo>
                    <a:pt x="2501" y="1069"/>
                  </a:lnTo>
                  <a:lnTo>
                    <a:pt x="2490" y="1006"/>
                  </a:lnTo>
                  <a:lnTo>
                    <a:pt x="2476" y="946"/>
                  </a:lnTo>
                  <a:lnTo>
                    <a:pt x="2459" y="886"/>
                  </a:lnTo>
                  <a:lnTo>
                    <a:pt x="2439" y="827"/>
                  </a:lnTo>
                  <a:lnTo>
                    <a:pt x="2416" y="770"/>
                  </a:lnTo>
                  <a:lnTo>
                    <a:pt x="2390" y="714"/>
                  </a:lnTo>
                  <a:lnTo>
                    <a:pt x="2363" y="659"/>
                  </a:lnTo>
                  <a:lnTo>
                    <a:pt x="2333" y="607"/>
                  </a:lnTo>
                  <a:lnTo>
                    <a:pt x="2300" y="556"/>
                  </a:lnTo>
                  <a:lnTo>
                    <a:pt x="2265" y="506"/>
                  </a:lnTo>
                  <a:lnTo>
                    <a:pt x="2227" y="459"/>
                  </a:lnTo>
                  <a:lnTo>
                    <a:pt x="2188" y="413"/>
                  </a:lnTo>
                  <a:lnTo>
                    <a:pt x="2146" y="369"/>
                  </a:lnTo>
                  <a:lnTo>
                    <a:pt x="2103" y="328"/>
                  </a:lnTo>
                  <a:lnTo>
                    <a:pt x="2056" y="288"/>
                  </a:lnTo>
                  <a:lnTo>
                    <a:pt x="2009" y="251"/>
                  </a:lnTo>
                  <a:lnTo>
                    <a:pt x="1960" y="216"/>
                  </a:lnTo>
                  <a:lnTo>
                    <a:pt x="1908" y="182"/>
                  </a:lnTo>
                  <a:lnTo>
                    <a:pt x="1856" y="152"/>
                  </a:lnTo>
                  <a:lnTo>
                    <a:pt x="1802" y="124"/>
                  </a:lnTo>
                  <a:lnTo>
                    <a:pt x="1746" y="99"/>
                  </a:lnTo>
                  <a:lnTo>
                    <a:pt x="1689" y="77"/>
                  </a:lnTo>
                  <a:lnTo>
                    <a:pt x="1631" y="56"/>
                  </a:lnTo>
                  <a:lnTo>
                    <a:pt x="1571" y="39"/>
                  </a:lnTo>
                  <a:lnTo>
                    <a:pt x="1510" y="25"/>
                  </a:lnTo>
                  <a:lnTo>
                    <a:pt x="1449" y="14"/>
                  </a:lnTo>
                  <a:lnTo>
                    <a:pt x="1385" y="6"/>
                  </a:lnTo>
                  <a:lnTo>
                    <a:pt x="1322" y="2"/>
                  </a:lnTo>
                  <a:lnTo>
                    <a:pt x="125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89" name="íṡḷiḓê">
              <a:extLst>
                <a:ext uri="{FF2B5EF4-FFF2-40B4-BE49-F238E27FC236}">
                  <a16:creationId xmlns:a16="http://schemas.microsoft.com/office/drawing/2014/main" id="{A5C220B6-191E-4237-BB78-D74BAFECC9ED}"/>
                </a:ext>
              </a:extLst>
            </p:cNvPr>
            <p:cNvSpPr/>
            <p:nvPr/>
          </p:nvSpPr>
          <p:spPr bwMode="auto">
            <a:xfrm>
              <a:off x="5240936" y="2129362"/>
              <a:ext cx="76139" cy="77549"/>
            </a:xfrm>
            <a:custGeom>
              <a:avLst/>
              <a:gdLst>
                <a:gd name="T0" fmla="*/ 1107 w 2012"/>
                <a:gd name="T1" fmla="*/ 514 h 2016"/>
                <a:gd name="T2" fmla="*/ 1224 w 2012"/>
                <a:gd name="T3" fmla="*/ 553 h 2016"/>
                <a:gd name="T4" fmla="*/ 1326 w 2012"/>
                <a:gd name="T5" fmla="*/ 619 h 2016"/>
                <a:gd name="T6" fmla="*/ 1409 w 2012"/>
                <a:gd name="T7" fmla="*/ 707 h 2016"/>
                <a:gd name="T8" fmla="*/ 1469 w 2012"/>
                <a:gd name="T9" fmla="*/ 812 h 2016"/>
                <a:gd name="T10" fmla="*/ 1503 w 2012"/>
                <a:gd name="T11" fmla="*/ 931 h 2016"/>
                <a:gd name="T12" fmla="*/ 1507 w 2012"/>
                <a:gd name="T13" fmla="*/ 1060 h 2016"/>
                <a:gd name="T14" fmla="*/ 1478 w 2012"/>
                <a:gd name="T15" fmla="*/ 1182 h 2016"/>
                <a:gd name="T16" fmla="*/ 1423 w 2012"/>
                <a:gd name="T17" fmla="*/ 1290 h 2016"/>
                <a:gd name="T18" fmla="*/ 1344 w 2012"/>
                <a:gd name="T19" fmla="*/ 1381 h 2016"/>
                <a:gd name="T20" fmla="*/ 1245 w 2012"/>
                <a:gd name="T21" fmla="*/ 1452 h 2016"/>
                <a:gd name="T22" fmla="*/ 1131 w 2012"/>
                <a:gd name="T23" fmla="*/ 1496 h 2016"/>
                <a:gd name="T24" fmla="*/ 1006 w 2012"/>
                <a:gd name="T25" fmla="*/ 1512 h 2016"/>
                <a:gd name="T26" fmla="*/ 880 w 2012"/>
                <a:gd name="T27" fmla="*/ 1496 h 2016"/>
                <a:gd name="T28" fmla="*/ 766 w 2012"/>
                <a:gd name="T29" fmla="*/ 1452 h 2016"/>
                <a:gd name="T30" fmla="*/ 668 w 2012"/>
                <a:gd name="T31" fmla="*/ 1381 h 2016"/>
                <a:gd name="T32" fmla="*/ 589 w 2012"/>
                <a:gd name="T33" fmla="*/ 1290 h 2016"/>
                <a:gd name="T34" fmla="*/ 534 w 2012"/>
                <a:gd name="T35" fmla="*/ 1182 h 2016"/>
                <a:gd name="T36" fmla="*/ 506 w 2012"/>
                <a:gd name="T37" fmla="*/ 1060 h 2016"/>
                <a:gd name="T38" fmla="*/ 509 w 2012"/>
                <a:gd name="T39" fmla="*/ 931 h 2016"/>
                <a:gd name="T40" fmla="*/ 543 w 2012"/>
                <a:gd name="T41" fmla="*/ 812 h 2016"/>
                <a:gd name="T42" fmla="*/ 603 w 2012"/>
                <a:gd name="T43" fmla="*/ 707 h 2016"/>
                <a:gd name="T44" fmla="*/ 686 w 2012"/>
                <a:gd name="T45" fmla="*/ 619 h 2016"/>
                <a:gd name="T46" fmla="*/ 787 w 2012"/>
                <a:gd name="T47" fmla="*/ 553 h 2016"/>
                <a:gd name="T48" fmla="*/ 904 w 2012"/>
                <a:gd name="T49" fmla="*/ 514 h 2016"/>
                <a:gd name="T50" fmla="*/ 0 w 2012"/>
                <a:gd name="T51" fmla="*/ 1008 h 2016"/>
                <a:gd name="T52" fmla="*/ 32 w 2012"/>
                <a:gd name="T53" fmla="*/ 1260 h 2016"/>
                <a:gd name="T54" fmla="*/ 121 w 2012"/>
                <a:gd name="T55" fmla="*/ 1488 h 2016"/>
                <a:gd name="T56" fmla="*/ 261 w 2012"/>
                <a:gd name="T57" fmla="*/ 1686 h 2016"/>
                <a:gd name="T58" fmla="*/ 443 w 2012"/>
                <a:gd name="T59" fmla="*/ 1844 h 2016"/>
                <a:gd name="T60" fmla="*/ 661 w 2012"/>
                <a:gd name="T61" fmla="*/ 1955 h 2016"/>
                <a:gd name="T62" fmla="*/ 903 w 2012"/>
                <a:gd name="T63" fmla="*/ 2011 h 2016"/>
                <a:gd name="T64" fmla="*/ 1159 w 2012"/>
                <a:gd name="T65" fmla="*/ 2004 h 2016"/>
                <a:gd name="T66" fmla="*/ 1397 w 2012"/>
                <a:gd name="T67" fmla="*/ 1937 h 2016"/>
                <a:gd name="T68" fmla="*/ 1607 w 2012"/>
                <a:gd name="T69" fmla="*/ 1816 h 2016"/>
                <a:gd name="T70" fmla="*/ 1782 w 2012"/>
                <a:gd name="T71" fmla="*/ 1649 h 2016"/>
                <a:gd name="T72" fmla="*/ 1912 w 2012"/>
                <a:gd name="T73" fmla="*/ 1445 h 2016"/>
                <a:gd name="T74" fmla="*/ 1992 w 2012"/>
                <a:gd name="T75" fmla="*/ 1211 h 2016"/>
                <a:gd name="T76" fmla="*/ 2011 w 2012"/>
                <a:gd name="T77" fmla="*/ 957 h 2016"/>
                <a:gd name="T78" fmla="*/ 1966 w 2012"/>
                <a:gd name="T79" fmla="*/ 709 h 2016"/>
                <a:gd name="T80" fmla="*/ 1866 w 2012"/>
                <a:gd name="T81" fmla="*/ 486 h 2016"/>
                <a:gd name="T82" fmla="*/ 1717 w 2012"/>
                <a:gd name="T83" fmla="*/ 295 h 2016"/>
                <a:gd name="T84" fmla="*/ 1527 w 2012"/>
                <a:gd name="T85" fmla="*/ 146 h 2016"/>
                <a:gd name="T86" fmla="*/ 1304 w 2012"/>
                <a:gd name="T87" fmla="*/ 45 h 2016"/>
                <a:gd name="T88" fmla="*/ 1057 w 2012"/>
                <a:gd name="T89" fmla="*/ 1 h 2016"/>
                <a:gd name="T90" fmla="*/ 803 w 2012"/>
                <a:gd name="T91" fmla="*/ 20 h 2016"/>
                <a:gd name="T92" fmla="*/ 570 w 2012"/>
                <a:gd name="T93" fmla="*/ 100 h 2016"/>
                <a:gd name="T94" fmla="*/ 366 w 2012"/>
                <a:gd name="T95" fmla="*/ 231 h 2016"/>
                <a:gd name="T96" fmla="*/ 200 w 2012"/>
                <a:gd name="T97" fmla="*/ 405 h 2016"/>
                <a:gd name="T98" fmla="*/ 79 w 2012"/>
                <a:gd name="T99" fmla="*/ 616 h 2016"/>
                <a:gd name="T100" fmla="*/ 12 w 2012"/>
                <a:gd name="T101" fmla="*/ 855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012" h="2016">
                  <a:moveTo>
                    <a:pt x="1006" y="504"/>
                  </a:moveTo>
                  <a:lnTo>
                    <a:pt x="1032" y="505"/>
                  </a:lnTo>
                  <a:lnTo>
                    <a:pt x="1057" y="507"/>
                  </a:lnTo>
                  <a:lnTo>
                    <a:pt x="1082" y="510"/>
                  </a:lnTo>
                  <a:lnTo>
                    <a:pt x="1107" y="514"/>
                  </a:lnTo>
                  <a:lnTo>
                    <a:pt x="1131" y="520"/>
                  </a:lnTo>
                  <a:lnTo>
                    <a:pt x="1156" y="526"/>
                  </a:lnTo>
                  <a:lnTo>
                    <a:pt x="1179" y="534"/>
                  </a:lnTo>
                  <a:lnTo>
                    <a:pt x="1202" y="543"/>
                  </a:lnTo>
                  <a:lnTo>
                    <a:pt x="1224" y="553"/>
                  </a:lnTo>
                  <a:lnTo>
                    <a:pt x="1245" y="564"/>
                  </a:lnTo>
                  <a:lnTo>
                    <a:pt x="1266" y="577"/>
                  </a:lnTo>
                  <a:lnTo>
                    <a:pt x="1287" y="590"/>
                  </a:lnTo>
                  <a:lnTo>
                    <a:pt x="1306" y="604"/>
                  </a:lnTo>
                  <a:lnTo>
                    <a:pt x="1326" y="619"/>
                  </a:lnTo>
                  <a:lnTo>
                    <a:pt x="1344" y="635"/>
                  </a:lnTo>
                  <a:lnTo>
                    <a:pt x="1362" y="651"/>
                  </a:lnTo>
                  <a:lnTo>
                    <a:pt x="1378" y="669"/>
                  </a:lnTo>
                  <a:lnTo>
                    <a:pt x="1394" y="688"/>
                  </a:lnTo>
                  <a:lnTo>
                    <a:pt x="1409" y="707"/>
                  </a:lnTo>
                  <a:lnTo>
                    <a:pt x="1423" y="726"/>
                  </a:lnTo>
                  <a:lnTo>
                    <a:pt x="1436" y="747"/>
                  </a:lnTo>
                  <a:lnTo>
                    <a:pt x="1448" y="768"/>
                  </a:lnTo>
                  <a:lnTo>
                    <a:pt x="1459" y="789"/>
                  </a:lnTo>
                  <a:lnTo>
                    <a:pt x="1469" y="812"/>
                  </a:lnTo>
                  <a:lnTo>
                    <a:pt x="1478" y="835"/>
                  </a:lnTo>
                  <a:lnTo>
                    <a:pt x="1487" y="858"/>
                  </a:lnTo>
                  <a:lnTo>
                    <a:pt x="1493" y="882"/>
                  </a:lnTo>
                  <a:lnTo>
                    <a:pt x="1499" y="906"/>
                  </a:lnTo>
                  <a:lnTo>
                    <a:pt x="1503" y="931"/>
                  </a:lnTo>
                  <a:lnTo>
                    <a:pt x="1507" y="957"/>
                  </a:lnTo>
                  <a:lnTo>
                    <a:pt x="1508" y="982"/>
                  </a:lnTo>
                  <a:lnTo>
                    <a:pt x="1509" y="1008"/>
                  </a:lnTo>
                  <a:lnTo>
                    <a:pt x="1508" y="1034"/>
                  </a:lnTo>
                  <a:lnTo>
                    <a:pt x="1507" y="1060"/>
                  </a:lnTo>
                  <a:lnTo>
                    <a:pt x="1503" y="1085"/>
                  </a:lnTo>
                  <a:lnTo>
                    <a:pt x="1499" y="1110"/>
                  </a:lnTo>
                  <a:lnTo>
                    <a:pt x="1493" y="1134"/>
                  </a:lnTo>
                  <a:lnTo>
                    <a:pt x="1487" y="1158"/>
                  </a:lnTo>
                  <a:lnTo>
                    <a:pt x="1478" y="1182"/>
                  </a:lnTo>
                  <a:lnTo>
                    <a:pt x="1469" y="1205"/>
                  </a:lnTo>
                  <a:lnTo>
                    <a:pt x="1459" y="1227"/>
                  </a:lnTo>
                  <a:lnTo>
                    <a:pt x="1448" y="1248"/>
                  </a:lnTo>
                  <a:lnTo>
                    <a:pt x="1436" y="1269"/>
                  </a:lnTo>
                  <a:lnTo>
                    <a:pt x="1423" y="1290"/>
                  </a:lnTo>
                  <a:lnTo>
                    <a:pt x="1409" y="1310"/>
                  </a:lnTo>
                  <a:lnTo>
                    <a:pt x="1394" y="1329"/>
                  </a:lnTo>
                  <a:lnTo>
                    <a:pt x="1378" y="1347"/>
                  </a:lnTo>
                  <a:lnTo>
                    <a:pt x="1362" y="1365"/>
                  </a:lnTo>
                  <a:lnTo>
                    <a:pt x="1344" y="1381"/>
                  </a:lnTo>
                  <a:lnTo>
                    <a:pt x="1326" y="1397"/>
                  </a:lnTo>
                  <a:lnTo>
                    <a:pt x="1306" y="1412"/>
                  </a:lnTo>
                  <a:lnTo>
                    <a:pt x="1287" y="1427"/>
                  </a:lnTo>
                  <a:lnTo>
                    <a:pt x="1266" y="1440"/>
                  </a:lnTo>
                  <a:lnTo>
                    <a:pt x="1245" y="1452"/>
                  </a:lnTo>
                  <a:lnTo>
                    <a:pt x="1224" y="1463"/>
                  </a:lnTo>
                  <a:lnTo>
                    <a:pt x="1202" y="1473"/>
                  </a:lnTo>
                  <a:lnTo>
                    <a:pt x="1179" y="1482"/>
                  </a:lnTo>
                  <a:lnTo>
                    <a:pt x="1156" y="1490"/>
                  </a:lnTo>
                  <a:lnTo>
                    <a:pt x="1131" y="1496"/>
                  </a:lnTo>
                  <a:lnTo>
                    <a:pt x="1107" y="1502"/>
                  </a:lnTo>
                  <a:lnTo>
                    <a:pt x="1082" y="1506"/>
                  </a:lnTo>
                  <a:lnTo>
                    <a:pt x="1057" y="1509"/>
                  </a:lnTo>
                  <a:lnTo>
                    <a:pt x="1032" y="1511"/>
                  </a:lnTo>
                  <a:lnTo>
                    <a:pt x="1006" y="1512"/>
                  </a:lnTo>
                  <a:lnTo>
                    <a:pt x="980" y="1511"/>
                  </a:lnTo>
                  <a:lnTo>
                    <a:pt x="954" y="1509"/>
                  </a:lnTo>
                  <a:lnTo>
                    <a:pt x="929" y="1506"/>
                  </a:lnTo>
                  <a:lnTo>
                    <a:pt x="904" y="1502"/>
                  </a:lnTo>
                  <a:lnTo>
                    <a:pt x="880" y="1496"/>
                  </a:lnTo>
                  <a:lnTo>
                    <a:pt x="856" y="1490"/>
                  </a:lnTo>
                  <a:lnTo>
                    <a:pt x="833" y="1482"/>
                  </a:lnTo>
                  <a:lnTo>
                    <a:pt x="811" y="1473"/>
                  </a:lnTo>
                  <a:lnTo>
                    <a:pt x="787" y="1463"/>
                  </a:lnTo>
                  <a:lnTo>
                    <a:pt x="766" y="1452"/>
                  </a:lnTo>
                  <a:lnTo>
                    <a:pt x="745" y="1440"/>
                  </a:lnTo>
                  <a:lnTo>
                    <a:pt x="725" y="1427"/>
                  </a:lnTo>
                  <a:lnTo>
                    <a:pt x="705" y="1412"/>
                  </a:lnTo>
                  <a:lnTo>
                    <a:pt x="686" y="1397"/>
                  </a:lnTo>
                  <a:lnTo>
                    <a:pt x="668" y="1381"/>
                  </a:lnTo>
                  <a:lnTo>
                    <a:pt x="651" y="1365"/>
                  </a:lnTo>
                  <a:lnTo>
                    <a:pt x="633" y="1347"/>
                  </a:lnTo>
                  <a:lnTo>
                    <a:pt x="617" y="1329"/>
                  </a:lnTo>
                  <a:lnTo>
                    <a:pt x="603" y="1310"/>
                  </a:lnTo>
                  <a:lnTo>
                    <a:pt x="589" y="1290"/>
                  </a:lnTo>
                  <a:lnTo>
                    <a:pt x="576" y="1269"/>
                  </a:lnTo>
                  <a:lnTo>
                    <a:pt x="564" y="1248"/>
                  </a:lnTo>
                  <a:lnTo>
                    <a:pt x="553" y="1227"/>
                  </a:lnTo>
                  <a:lnTo>
                    <a:pt x="543" y="1205"/>
                  </a:lnTo>
                  <a:lnTo>
                    <a:pt x="534" y="1182"/>
                  </a:lnTo>
                  <a:lnTo>
                    <a:pt x="526" y="1158"/>
                  </a:lnTo>
                  <a:lnTo>
                    <a:pt x="519" y="1134"/>
                  </a:lnTo>
                  <a:lnTo>
                    <a:pt x="513" y="1110"/>
                  </a:lnTo>
                  <a:lnTo>
                    <a:pt x="509" y="1085"/>
                  </a:lnTo>
                  <a:lnTo>
                    <a:pt x="506" y="1060"/>
                  </a:lnTo>
                  <a:lnTo>
                    <a:pt x="504" y="1034"/>
                  </a:lnTo>
                  <a:lnTo>
                    <a:pt x="503" y="1008"/>
                  </a:lnTo>
                  <a:lnTo>
                    <a:pt x="504" y="982"/>
                  </a:lnTo>
                  <a:lnTo>
                    <a:pt x="506" y="957"/>
                  </a:lnTo>
                  <a:lnTo>
                    <a:pt x="509" y="931"/>
                  </a:lnTo>
                  <a:lnTo>
                    <a:pt x="513" y="906"/>
                  </a:lnTo>
                  <a:lnTo>
                    <a:pt x="519" y="882"/>
                  </a:lnTo>
                  <a:lnTo>
                    <a:pt x="526" y="858"/>
                  </a:lnTo>
                  <a:lnTo>
                    <a:pt x="534" y="835"/>
                  </a:lnTo>
                  <a:lnTo>
                    <a:pt x="543" y="812"/>
                  </a:lnTo>
                  <a:lnTo>
                    <a:pt x="553" y="789"/>
                  </a:lnTo>
                  <a:lnTo>
                    <a:pt x="564" y="768"/>
                  </a:lnTo>
                  <a:lnTo>
                    <a:pt x="576" y="747"/>
                  </a:lnTo>
                  <a:lnTo>
                    <a:pt x="589" y="726"/>
                  </a:lnTo>
                  <a:lnTo>
                    <a:pt x="603" y="707"/>
                  </a:lnTo>
                  <a:lnTo>
                    <a:pt x="617" y="688"/>
                  </a:lnTo>
                  <a:lnTo>
                    <a:pt x="633" y="669"/>
                  </a:lnTo>
                  <a:lnTo>
                    <a:pt x="651" y="651"/>
                  </a:lnTo>
                  <a:lnTo>
                    <a:pt x="668" y="635"/>
                  </a:lnTo>
                  <a:lnTo>
                    <a:pt x="686" y="619"/>
                  </a:lnTo>
                  <a:lnTo>
                    <a:pt x="705" y="604"/>
                  </a:lnTo>
                  <a:lnTo>
                    <a:pt x="725" y="590"/>
                  </a:lnTo>
                  <a:lnTo>
                    <a:pt x="745" y="577"/>
                  </a:lnTo>
                  <a:lnTo>
                    <a:pt x="766" y="564"/>
                  </a:lnTo>
                  <a:lnTo>
                    <a:pt x="787" y="553"/>
                  </a:lnTo>
                  <a:lnTo>
                    <a:pt x="811" y="543"/>
                  </a:lnTo>
                  <a:lnTo>
                    <a:pt x="833" y="534"/>
                  </a:lnTo>
                  <a:lnTo>
                    <a:pt x="856" y="526"/>
                  </a:lnTo>
                  <a:lnTo>
                    <a:pt x="880" y="520"/>
                  </a:lnTo>
                  <a:lnTo>
                    <a:pt x="904" y="514"/>
                  </a:lnTo>
                  <a:lnTo>
                    <a:pt x="929" y="510"/>
                  </a:lnTo>
                  <a:lnTo>
                    <a:pt x="954" y="507"/>
                  </a:lnTo>
                  <a:lnTo>
                    <a:pt x="980" y="505"/>
                  </a:lnTo>
                  <a:lnTo>
                    <a:pt x="1006" y="504"/>
                  </a:lnTo>
                  <a:close/>
                  <a:moveTo>
                    <a:pt x="0" y="1008"/>
                  </a:moveTo>
                  <a:lnTo>
                    <a:pt x="2" y="1060"/>
                  </a:lnTo>
                  <a:lnTo>
                    <a:pt x="5" y="1111"/>
                  </a:lnTo>
                  <a:lnTo>
                    <a:pt x="12" y="1161"/>
                  </a:lnTo>
                  <a:lnTo>
                    <a:pt x="21" y="1211"/>
                  </a:lnTo>
                  <a:lnTo>
                    <a:pt x="32" y="1260"/>
                  </a:lnTo>
                  <a:lnTo>
                    <a:pt x="45" y="1308"/>
                  </a:lnTo>
                  <a:lnTo>
                    <a:pt x="61" y="1355"/>
                  </a:lnTo>
                  <a:lnTo>
                    <a:pt x="79" y="1400"/>
                  </a:lnTo>
                  <a:lnTo>
                    <a:pt x="99" y="1445"/>
                  </a:lnTo>
                  <a:lnTo>
                    <a:pt x="121" y="1488"/>
                  </a:lnTo>
                  <a:lnTo>
                    <a:pt x="146" y="1530"/>
                  </a:lnTo>
                  <a:lnTo>
                    <a:pt x="172" y="1572"/>
                  </a:lnTo>
                  <a:lnTo>
                    <a:pt x="200" y="1611"/>
                  </a:lnTo>
                  <a:lnTo>
                    <a:pt x="230" y="1649"/>
                  </a:lnTo>
                  <a:lnTo>
                    <a:pt x="261" y="1686"/>
                  </a:lnTo>
                  <a:lnTo>
                    <a:pt x="294" y="1721"/>
                  </a:lnTo>
                  <a:lnTo>
                    <a:pt x="330" y="1754"/>
                  </a:lnTo>
                  <a:lnTo>
                    <a:pt x="366" y="1785"/>
                  </a:lnTo>
                  <a:lnTo>
                    <a:pt x="404" y="1816"/>
                  </a:lnTo>
                  <a:lnTo>
                    <a:pt x="443" y="1844"/>
                  </a:lnTo>
                  <a:lnTo>
                    <a:pt x="485" y="1870"/>
                  </a:lnTo>
                  <a:lnTo>
                    <a:pt x="527" y="1894"/>
                  </a:lnTo>
                  <a:lnTo>
                    <a:pt x="570" y="1917"/>
                  </a:lnTo>
                  <a:lnTo>
                    <a:pt x="614" y="1937"/>
                  </a:lnTo>
                  <a:lnTo>
                    <a:pt x="661" y="1955"/>
                  </a:lnTo>
                  <a:lnTo>
                    <a:pt x="707" y="1971"/>
                  </a:lnTo>
                  <a:lnTo>
                    <a:pt x="754" y="1984"/>
                  </a:lnTo>
                  <a:lnTo>
                    <a:pt x="803" y="1995"/>
                  </a:lnTo>
                  <a:lnTo>
                    <a:pt x="853" y="2004"/>
                  </a:lnTo>
                  <a:lnTo>
                    <a:pt x="903" y="2011"/>
                  </a:lnTo>
                  <a:lnTo>
                    <a:pt x="954" y="2015"/>
                  </a:lnTo>
                  <a:lnTo>
                    <a:pt x="1006" y="2016"/>
                  </a:lnTo>
                  <a:lnTo>
                    <a:pt x="1057" y="2015"/>
                  </a:lnTo>
                  <a:lnTo>
                    <a:pt x="1108" y="2011"/>
                  </a:lnTo>
                  <a:lnTo>
                    <a:pt x="1159" y="2004"/>
                  </a:lnTo>
                  <a:lnTo>
                    <a:pt x="1208" y="1995"/>
                  </a:lnTo>
                  <a:lnTo>
                    <a:pt x="1257" y="1984"/>
                  </a:lnTo>
                  <a:lnTo>
                    <a:pt x="1304" y="1971"/>
                  </a:lnTo>
                  <a:lnTo>
                    <a:pt x="1352" y="1955"/>
                  </a:lnTo>
                  <a:lnTo>
                    <a:pt x="1397" y="1937"/>
                  </a:lnTo>
                  <a:lnTo>
                    <a:pt x="1441" y="1917"/>
                  </a:lnTo>
                  <a:lnTo>
                    <a:pt x="1485" y="1894"/>
                  </a:lnTo>
                  <a:lnTo>
                    <a:pt x="1527" y="1870"/>
                  </a:lnTo>
                  <a:lnTo>
                    <a:pt x="1568" y="1844"/>
                  </a:lnTo>
                  <a:lnTo>
                    <a:pt x="1607" y="1816"/>
                  </a:lnTo>
                  <a:lnTo>
                    <a:pt x="1645" y="1785"/>
                  </a:lnTo>
                  <a:lnTo>
                    <a:pt x="1682" y="1754"/>
                  </a:lnTo>
                  <a:lnTo>
                    <a:pt x="1717" y="1721"/>
                  </a:lnTo>
                  <a:lnTo>
                    <a:pt x="1750" y="1686"/>
                  </a:lnTo>
                  <a:lnTo>
                    <a:pt x="1782" y="1649"/>
                  </a:lnTo>
                  <a:lnTo>
                    <a:pt x="1811" y="1611"/>
                  </a:lnTo>
                  <a:lnTo>
                    <a:pt x="1840" y="1572"/>
                  </a:lnTo>
                  <a:lnTo>
                    <a:pt x="1866" y="1530"/>
                  </a:lnTo>
                  <a:lnTo>
                    <a:pt x="1890" y="1488"/>
                  </a:lnTo>
                  <a:lnTo>
                    <a:pt x="1912" y="1445"/>
                  </a:lnTo>
                  <a:lnTo>
                    <a:pt x="1932" y="1400"/>
                  </a:lnTo>
                  <a:lnTo>
                    <a:pt x="1950" y="1355"/>
                  </a:lnTo>
                  <a:lnTo>
                    <a:pt x="1966" y="1308"/>
                  </a:lnTo>
                  <a:lnTo>
                    <a:pt x="1980" y="1260"/>
                  </a:lnTo>
                  <a:lnTo>
                    <a:pt x="1992" y="1211"/>
                  </a:lnTo>
                  <a:lnTo>
                    <a:pt x="2001" y="1161"/>
                  </a:lnTo>
                  <a:lnTo>
                    <a:pt x="2007" y="1111"/>
                  </a:lnTo>
                  <a:lnTo>
                    <a:pt x="2011" y="1060"/>
                  </a:lnTo>
                  <a:lnTo>
                    <a:pt x="2012" y="1008"/>
                  </a:lnTo>
                  <a:lnTo>
                    <a:pt x="2011" y="957"/>
                  </a:lnTo>
                  <a:lnTo>
                    <a:pt x="2007" y="905"/>
                  </a:lnTo>
                  <a:lnTo>
                    <a:pt x="2001" y="855"/>
                  </a:lnTo>
                  <a:lnTo>
                    <a:pt x="1992" y="805"/>
                  </a:lnTo>
                  <a:lnTo>
                    <a:pt x="1980" y="756"/>
                  </a:lnTo>
                  <a:lnTo>
                    <a:pt x="1966" y="709"/>
                  </a:lnTo>
                  <a:lnTo>
                    <a:pt x="1950" y="661"/>
                  </a:lnTo>
                  <a:lnTo>
                    <a:pt x="1932" y="616"/>
                  </a:lnTo>
                  <a:lnTo>
                    <a:pt x="1912" y="572"/>
                  </a:lnTo>
                  <a:lnTo>
                    <a:pt x="1890" y="528"/>
                  </a:lnTo>
                  <a:lnTo>
                    <a:pt x="1866" y="486"/>
                  </a:lnTo>
                  <a:lnTo>
                    <a:pt x="1840" y="445"/>
                  </a:lnTo>
                  <a:lnTo>
                    <a:pt x="1811" y="405"/>
                  </a:lnTo>
                  <a:lnTo>
                    <a:pt x="1782" y="367"/>
                  </a:lnTo>
                  <a:lnTo>
                    <a:pt x="1750" y="331"/>
                  </a:lnTo>
                  <a:lnTo>
                    <a:pt x="1717" y="295"/>
                  </a:lnTo>
                  <a:lnTo>
                    <a:pt x="1682" y="262"/>
                  </a:lnTo>
                  <a:lnTo>
                    <a:pt x="1645" y="231"/>
                  </a:lnTo>
                  <a:lnTo>
                    <a:pt x="1607" y="201"/>
                  </a:lnTo>
                  <a:lnTo>
                    <a:pt x="1568" y="172"/>
                  </a:lnTo>
                  <a:lnTo>
                    <a:pt x="1527" y="146"/>
                  </a:lnTo>
                  <a:lnTo>
                    <a:pt x="1485" y="122"/>
                  </a:lnTo>
                  <a:lnTo>
                    <a:pt x="1441" y="100"/>
                  </a:lnTo>
                  <a:lnTo>
                    <a:pt x="1397" y="80"/>
                  </a:lnTo>
                  <a:lnTo>
                    <a:pt x="1352" y="61"/>
                  </a:lnTo>
                  <a:lnTo>
                    <a:pt x="1304" y="45"/>
                  </a:lnTo>
                  <a:lnTo>
                    <a:pt x="1257" y="31"/>
                  </a:lnTo>
                  <a:lnTo>
                    <a:pt x="1208" y="20"/>
                  </a:lnTo>
                  <a:lnTo>
                    <a:pt x="1159" y="11"/>
                  </a:lnTo>
                  <a:lnTo>
                    <a:pt x="1108" y="5"/>
                  </a:lnTo>
                  <a:lnTo>
                    <a:pt x="1057" y="1"/>
                  </a:lnTo>
                  <a:lnTo>
                    <a:pt x="1006" y="0"/>
                  </a:lnTo>
                  <a:lnTo>
                    <a:pt x="954" y="1"/>
                  </a:lnTo>
                  <a:lnTo>
                    <a:pt x="903" y="5"/>
                  </a:lnTo>
                  <a:lnTo>
                    <a:pt x="853" y="11"/>
                  </a:lnTo>
                  <a:lnTo>
                    <a:pt x="803" y="20"/>
                  </a:lnTo>
                  <a:lnTo>
                    <a:pt x="754" y="31"/>
                  </a:lnTo>
                  <a:lnTo>
                    <a:pt x="707" y="45"/>
                  </a:lnTo>
                  <a:lnTo>
                    <a:pt x="661" y="61"/>
                  </a:lnTo>
                  <a:lnTo>
                    <a:pt x="614" y="80"/>
                  </a:lnTo>
                  <a:lnTo>
                    <a:pt x="570" y="100"/>
                  </a:lnTo>
                  <a:lnTo>
                    <a:pt x="527" y="122"/>
                  </a:lnTo>
                  <a:lnTo>
                    <a:pt x="485" y="146"/>
                  </a:lnTo>
                  <a:lnTo>
                    <a:pt x="443" y="172"/>
                  </a:lnTo>
                  <a:lnTo>
                    <a:pt x="404" y="201"/>
                  </a:lnTo>
                  <a:lnTo>
                    <a:pt x="366" y="231"/>
                  </a:lnTo>
                  <a:lnTo>
                    <a:pt x="330" y="262"/>
                  </a:lnTo>
                  <a:lnTo>
                    <a:pt x="294" y="295"/>
                  </a:lnTo>
                  <a:lnTo>
                    <a:pt x="261" y="331"/>
                  </a:lnTo>
                  <a:lnTo>
                    <a:pt x="230" y="367"/>
                  </a:lnTo>
                  <a:lnTo>
                    <a:pt x="200" y="405"/>
                  </a:lnTo>
                  <a:lnTo>
                    <a:pt x="172" y="445"/>
                  </a:lnTo>
                  <a:lnTo>
                    <a:pt x="146" y="486"/>
                  </a:lnTo>
                  <a:lnTo>
                    <a:pt x="121" y="528"/>
                  </a:lnTo>
                  <a:lnTo>
                    <a:pt x="99" y="572"/>
                  </a:lnTo>
                  <a:lnTo>
                    <a:pt x="79" y="616"/>
                  </a:lnTo>
                  <a:lnTo>
                    <a:pt x="61" y="661"/>
                  </a:lnTo>
                  <a:lnTo>
                    <a:pt x="45" y="709"/>
                  </a:lnTo>
                  <a:lnTo>
                    <a:pt x="32" y="756"/>
                  </a:lnTo>
                  <a:lnTo>
                    <a:pt x="21" y="805"/>
                  </a:lnTo>
                  <a:lnTo>
                    <a:pt x="12" y="855"/>
                  </a:lnTo>
                  <a:lnTo>
                    <a:pt x="5" y="905"/>
                  </a:lnTo>
                  <a:lnTo>
                    <a:pt x="2" y="957"/>
                  </a:lnTo>
                  <a:lnTo>
                    <a:pt x="0" y="10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90" name="íṡ1íḓê">
              <a:extLst>
                <a:ext uri="{FF2B5EF4-FFF2-40B4-BE49-F238E27FC236}">
                  <a16:creationId xmlns:a16="http://schemas.microsoft.com/office/drawing/2014/main" id="{3E6F822D-CBAB-4FC1-83A0-DD889D624F9E}"/>
                </a:ext>
              </a:extLst>
            </p:cNvPr>
            <p:cNvSpPr/>
            <p:nvPr/>
          </p:nvSpPr>
          <p:spPr bwMode="auto">
            <a:xfrm>
              <a:off x="5317074" y="2264720"/>
              <a:ext cx="38070" cy="38070"/>
            </a:xfrm>
            <a:custGeom>
              <a:avLst/>
              <a:gdLst>
                <a:gd name="T0" fmla="*/ 554 w 1006"/>
                <a:gd name="T1" fmla="*/ 1005 h 1008"/>
                <a:gd name="T2" fmla="*/ 628 w 1006"/>
                <a:gd name="T3" fmla="*/ 992 h 1008"/>
                <a:gd name="T4" fmla="*/ 699 w 1006"/>
                <a:gd name="T5" fmla="*/ 969 h 1008"/>
                <a:gd name="T6" fmla="*/ 763 w 1006"/>
                <a:gd name="T7" fmla="*/ 935 h 1008"/>
                <a:gd name="T8" fmla="*/ 822 w 1006"/>
                <a:gd name="T9" fmla="*/ 893 h 1008"/>
                <a:gd name="T10" fmla="*/ 875 w 1006"/>
                <a:gd name="T11" fmla="*/ 843 h 1008"/>
                <a:gd name="T12" fmla="*/ 920 w 1006"/>
                <a:gd name="T13" fmla="*/ 786 h 1008"/>
                <a:gd name="T14" fmla="*/ 956 w 1006"/>
                <a:gd name="T15" fmla="*/ 723 h 1008"/>
                <a:gd name="T16" fmla="*/ 983 w 1006"/>
                <a:gd name="T17" fmla="*/ 654 h 1008"/>
                <a:gd name="T18" fmla="*/ 1000 w 1006"/>
                <a:gd name="T19" fmla="*/ 581 h 1008"/>
                <a:gd name="T20" fmla="*/ 1006 w 1006"/>
                <a:gd name="T21" fmla="*/ 504 h 1008"/>
                <a:gd name="T22" fmla="*/ 1000 w 1006"/>
                <a:gd name="T23" fmla="*/ 427 h 1008"/>
                <a:gd name="T24" fmla="*/ 983 w 1006"/>
                <a:gd name="T25" fmla="*/ 354 h 1008"/>
                <a:gd name="T26" fmla="*/ 956 w 1006"/>
                <a:gd name="T27" fmla="*/ 285 h 1008"/>
                <a:gd name="T28" fmla="*/ 920 w 1006"/>
                <a:gd name="T29" fmla="*/ 222 h 1008"/>
                <a:gd name="T30" fmla="*/ 875 w 1006"/>
                <a:gd name="T31" fmla="*/ 165 h 1008"/>
                <a:gd name="T32" fmla="*/ 822 w 1006"/>
                <a:gd name="T33" fmla="*/ 115 h 1008"/>
                <a:gd name="T34" fmla="*/ 763 w 1006"/>
                <a:gd name="T35" fmla="*/ 72 h 1008"/>
                <a:gd name="T36" fmla="*/ 699 w 1006"/>
                <a:gd name="T37" fmla="*/ 39 h 1008"/>
                <a:gd name="T38" fmla="*/ 628 w 1006"/>
                <a:gd name="T39" fmla="*/ 16 h 1008"/>
                <a:gd name="T40" fmla="*/ 554 w 1006"/>
                <a:gd name="T41" fmla="*/ 3 h 1008"/>
                <a:gd name="T42" fmla="*/ 476 w 1006"/>
                <a:gd name="T43" fmla="*/ 1 h 1008"/>
                <a:gd name="T44" fmla="*/ 401 w 1006"/>
                <a:gd name="T45" fmla="*/ 10 h 1008"/>
                <a:gd name="T46" fmla="*/ 330 w 1006"/>
                <a:gd name="T47" fmla="*/ 30 h 1008"/>
                <a:gd name="T48" fmla="*/ 263 w 1006"/>
                <a:gd name="T49" fmla="*/ 60 h 1008"/>
                <a:gd name="T50" fmla="*/ 202 w 1006"/>
                <a:gd name="T51" fmla="*/ 100 h 1008"/>
                <a:gd name="T52" fmla="*/ 147 w 1006"/>
                <a:gd name="T53" fmla="*/ 147 h 1008"/>
                <a:gd name="T54" fmla="*/ 99 w 1006"/>
                <a:gd name="T55" fmla="*/ 202 h 1008"/>
                <a:gd name="T56" fmla="*/ 61 w 1006"/>
                <a:gd name="T57" fmla="*/ 264 h 1008"/>
                <a:gd name="T58" fmla="*/ 30 w 1006"/>
                <a:gd name="T59" fmla="*/ 330 h 1008"/>
                <a:gd name="T60" fmla="*/ 10 w 1006"/>
                <a:gd name="T61" fmla="*/ 402 h 1008"/>
                <a:gd name="T62" fmla="*/ 1 w 1006"/>
                <a:gd name="T63" fmla="*/ 478 h 1008"/>
                <a:gd name="T64" fmla="*/ 3 w 1006"/>
                <a:gd name="T65" fmla="*/ 555 h 1008"/>
                <a:gd name="T66" fmla="*/ 16 w 1006"/>
                <a:gd name="T67" fmla="*/ 630 h 1008"/>
                <a:gd name="T68" fmla="*/ 39 w 1006"/>
                <a:gd name="T69" fmla="*/ 700 h 1008"/>
                <a:gd name="T70" fmla="*/ 73 w 1006"/>
                <a:gd name="T71" fmla="*/ 765 h 1008"/>
                <a:gd name="T72" fmla="*/ 114 w 1006"/>
                <a:gd name="T73" fmla="*/ 824 h 1008"/>
                <a:gd name="T74" fmla="*/ 165 w 1006"/>
                <a:gd name="T75" fmla="*/ 877 h 1008"/>
                <a:gd name="T76" fmla="*/ 222 w 1006"/>
                <a:gd name="T77" fmla="*/ 922 h 1008"/>
                <a:gd name="T78" fmla="*/ 284 w 1006"/>
                <a:gd name="T79" fmla="*/ 959 h 1008"/>
                <a:gd name="T80" fmla="*/ 353 w 1006"/>
                <a:gd name="T81" fmla="*/ 985 h 1008"/>
                <a:gd name="T82" fmla="*/ 426 w 1006"/>
                <a:gd name="T83" fmla="*/ 1002 h 1008"/>
                <a:gd name="T84" fmla="*/ 503 w 1006"/>
                <a:gd name="T85" fmla="*/ 1008 h 1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1008">
                  <a:moveTo>
                    <a:pt x="503" y="1008"/>
                  </a:moveTo>
                  <a:lnTo>
                    <a:pt x="529" y="1007"/>
                  </a:lnTo>
                  <a:lnTo>
                    <a:pt x="554" y="1005"/>
                  </a:lnTo>
                  <a:lnTo>
                    <a:pt x="579" y="1002"/>
                  </a:lnTo>
                  <a:lnTo>
                    <a:pt x="604" y="998"/>
                  </a:lnTo>
                  <a:lnTo>
                    <a:pt x="628" y="992"/>
                  </a:lnTo>
                  <a:lnTo>
                    <a:pt x="652" y="985"/>
                  </a:lnTo>
                  <a:lnTo>
                    <a:pt x="676" y="978"/>
                  </a:lnTo>
                  <a:lnTo>
                    <a:pt x="699" y="969"/>
                  </a:lnTo>
                  <a:lnTo>
                    <a:pt x="721" y="959"/>
                  </a:lnTo>
                  <a:lnTo>
                    <a:pt x="742" y="948"/>
                  </a:lnTo>
                  <a:lnTo>
                    <a:pt x="763" y="935"/>
                  </a:lnTo>
                  <a:lnTo>
                    <a:pt x="784" y="922"/>
                  </a:lnTo>
                  <a:lnTo>
                    <a:pt x="803" y="908"/>
                  </a:lnTo>
                  <a:lnTo>
                    <a:pt x="822" y="893"/>
                  </a:lnTo>
                  <a:lnTo>
                    <a:pt x="841" y="877"/>
                  </a:lnTo>
                  <a:lnTo>
                    <a:pt x="859" y="861"/>
                  </a:lnTo>
                  <a:lnTo>
                    <a:pt x="875" y="843"/>
                  </a:lnTo>
                  <a:lnTo>
                    <a:pt x="891" y="824"/>
                  </a:lnTo>
                  <a:lnTo>
                    <a:pt x="906" y="805"/>
                  </a:lnTo>
                  <a:lnTo>
                    <a:pt x="920" y="786"/>
                  </a:lnTo>
                  <a:lnTo>
                    <a:pt x="933" y="765"/>
                  </a:lnTo>
                  <a:lnTo>
                    <a:pt x="945" y="744"/>
                  </a:lnTo>
                  <a:lnTo>
                    <a:pt x="956" y="723"/>
                  </a:lnTo>
                  <a:lnTo>
                    <a:pt x="966" y="700"/>
                  </a:lnTo>
                  <a:lnTo>
                    <a:pt x="975" y="677"/>
                  </a:lnTo>
                  <a:lnTo>
                    <a:pt x="983" y="654"/>
                  </a:lnTo>
                  <a:lnTo>
                    <a:pt x="989" y="630"/>
                  </a:lnTo>
                  <a:lnTo>
                    <a:pt x="996" y="606"/>
                  </a:lnTo>
                  <a:lnTo>
                    <a:pt x="1000" y="581"/>
                  </a:lnTo>
                  <a:lnTo>
                    <a:pt x="1004" y="555"/>
                  </a:lnTo>
                  <a:lnTo>
                    <a:pt x="1006" y="530"/>
                  </a:lnTo>
                  <a:lnTo>
                    <a:pt x="1006" y="504"/>
                  </a:lnTo>
                  <a:lnTo>
                    <a:pt x="1006" y="478"/>
                  </a:lnTo>
                  <a:lnTo>
                    <a:pt x="1004" y="452"/>
                  </a:lnTo>
                  <a:lnTo>
                    <a:pt x="1000" y="427"/>
                  </a:lnTo>
                  <a:lnTo>
                    <a:pt x="996" y="402"/>
                  </a:lnTo>
                  <a:lnTo>
                    <a:pt x="989" y="378"/>
                  </a:lnTo>
                  <a:lnTo>
                    <a:pt x="983" y="354"/>
                  </a:lnTo>
                  <a:lnTo>
                    <a:pt x="975" y="330"/>
                  </a:lnTo>
                  <a:lnTo>
                    <a:pt x="966" y="307"/>
                  </a:lnTo>
                  <a:lnTo>
                    <a:pt x="956" y="285"/>
                  </a:lnTo>
                  <a:lnTo>
                    <a:pt x="945" y="264"/>
                  </a:lnTo>
                  <a:lnTo>
                    <a:pt x="933" y="243"/>
                  </a:lnTo>
                  <a:lnTo>
                    <a:pt x="920" y="222"/>
                  </a:lnTo>
                  <a:lnTo>
                    <a:pt x="906" y="202"/>
                  </a:lnTo>
                  <a:lnTo>
                    <a:pt x="891" y="183"/>
                  </a:lnTo>
                  <a:lnTo>
                    <a:pt x="875" y="165"/>
                  </a:lnTo>
                  <a:lnTo>
                    <a:pt x="859" y="147"/>
                  </a:lnTo>
                  <a:lnTo>
                    <a:pt x="841" y="131"/>
                  </a:lnTo>
                  <a:lnTo>
                    <a:pt x="822" y="115"/>
                  </a:lnTo>
                  <a:lnTo>
                    <a:pt x="803" y="100"/>
                  </a:lnTo>
                  <a:lnTo>
                    <a:pt x="784" y="85"/>
                  </a:lnTo>
                  <a:lnTo>
                    <a:pt x="763" y="72"/>
                  </a:lnTo>
                  <a:lnTo>
                    <a:pt x="742" y="60"/>
                  </a:lnTo>
                  <a:lnTo>
                    <a:pt x="721" y="49"/>
                  </a:lnTo>
                  <a:lnTo>
                    <a:pt x="699" y="39"/>
                  </a:lnTo>
                  <a:lnTo>
                    <a:pt x="676" y="30"/>
                  </a:lnTo>
                  <a:lnTo>
                    <a:pt x="652" y="22"/>
                  </a:lnTo>
                  <a:lnTo>
                    <a:pt x="628" y="16"/>
                  </a:lnTo>
                  <a:lnTo>
                    <a:pt x="604" y="10"/>
                  </a:lnTo>
                  <a:lnTo>
                    <a:pt x="579" y="6"/>
                  </a:lnTo>
                  <a:lnTo>
                    <a:pt x="554" y="3"/>
                  </a:lnTo>
                  <a:lnTo>
                    <a:pt x="529" y="1"/>
                  </a:lnTo>
                  <a:lnTo>
                    <a:pt x="503" y="0"/>
                  </a:lnTo>
                  <a:lnTo>
                    <a:pt x="476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4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2" y="85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0" y="165"/>
                  </a:lnTo>
                  <a:lnTo>
                    <a:pt x="114" y="183"/>
                  </a:lnTo>
                  <a:lnTo>
                    <a:pt x="99" y="202"/>
                  </a:lnTo>
                  <a:lnTo>
                    <a:pt x="86" y="222"/>
                  </a:lnTo>
                  <a:lnTo>
                    <a:pt x="73" y="243"/>
                  </a:lnTo>
                  <a:lnTo>
                    <a:pt x="61" y="264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3" y="354"/>
                  </a:lnTo>
                  <a:lnTo>
                    <a:pt x="16" y="378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2"/>
                  </a:lnTo>
                  <a:lnTo>
                    <a:pt x="1" y="478"/>
                  </a:lnTo>
                  <a:lnTo>
                    <a:pt x="0" y="504"/>
                  </a:lnTo>
                  <a:lnTo>
                    <a:pt x="1" y="530"/>
                  </a:lnTo>
                  <a:lnTo>
                    <a:pt x="3" y="555"/>
                  </a:lnTo>
                  <a:lnTo>
                    <a:pt x="6" y="581"/>
                  </a:lnTo>
                  <a:lnTo>
                    <a:pt x="10" y="606"/>
                  </a:lnTo>
                  <a:lnTo>
                    <a:pt x="16" y="630"/>
                  </a:lnTo>
                  <a:lnTo>
                    <a:pt x="23" y="654"/>
                  </a:lnTo>
                  <a:lnTo>
                    <a:pt x="30" y="677"/>
                  </a:lnTo>
                  <a:lnTo>
                    <a:pt x="39" y="700"/>
                  </a:lnTo>
                  <a:lnTo>
                    <a:pt x="49" y="723"/>
                  </a:lnTo>
                  <a:lnTo>
                    <a:pt x="61" y="744"/>
                  </a:lnTo>
                  <a:lnTo>
                    <a:pt x="73" y="765"/>
                  </a:lnTo>
                  <a:lnTo>
                    <a:pt x="86" y="786"/>
                  </a:lnTo>
                  <a:lnTo>
                    <a:pt x="99" y="805"/>
                  </a:lnTo>
                  <a:lnTo>
                    <a:pt x="114" y="824"/>
                  </a:lnTo>
                  <a:lnTo>
                    <a:pt x="130" y="843"/>
                  </a:lnTo>
                  <a:lnTo>
                    <a:pt x="147" y="861"/>
                  </a:lnTo>
                  <a:lnTo>
                    <a:pt x="165" y="877"/>
                  </a:lnTo>
                  <a:lnTo>
                    <a:pt x="183" y="893"/>
                  </a:lnTo>
                  <a:lnTo>
                    <a:pt x="202" y="908"/>
                  </a:lnTo>
                  <a:lnTo>
                    <a:pt x="222" y="922"/>
                  </a:lnTo>
                  <a:lnTo>
                    <a:pt x="242" y="935"/>
                  </a:lnTo>
                  <a:lnTo>
                    <a:pt x="263" y="948"/>
                  </a:lnTo>
                  <a:lnTo>
                    <a:pt x="284" y="959"/>
                  </a:lnTo>
                  <a:lnTo>
                    <a:pt x="307" y="969"/>
                  </a:lnTo>
                  <a:lnTo>
                    <a:pt x="330" y="978"/>
                  </a:lnTo>
                  <a:lnTo>
                    <a:pt x="353" y="985"/>
                  </a:lnTo>
                  <a:lnTo>
                    <a:pt x="377" y="992"/>
                  </a:lnTo>
                  <a:lnTo>
                    <a:pt x="401" y="998"/>
                  </a:lnTo>
                  <a:lnTo>
                    <a:pt x="426" y="1002"/>
                  </a:lnTo>
                  <a:lnTo>
                    <a:pt x="451" y="1005"/>
                  </a:lnTo>
                  <a:lnTo>
                    <a:pt x="476" y="1007"/>
                  </a:lnTo>
                  <a:lnTo>
                    <a:pt x="503" y="10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91" name="íṣľíḓe">
              <a:extLst>
                <a:ext uri="{FF2B5EF4-FFF2-40B4-BE49-F238E27FC236}">
                  <a16:creationId xmlns:a16="http://schemas.microsoft.com/office/drawing/2014/main" id="{04E79501-45FE-421A-A2A4-73F45CF5F443}"/>
                </a:ext>
              </a:extLst>
            </p:cNvPr>
            <p:cNvSpPr/>
            <p:nvPr/>
          </p:nvSpPr>
          <p:spPr bwMode="auto">
            <a:xfrm>
              <a:off x="5624448" y="1975676"/>
              <a:ext cx="38070" cy="39479"/>
            </a:xfrm>
            <a:custGeom>
              <a:avLst/>
              <a:gdLst>
                <a:gd name="T0" fmla="*/ 452 w 1006"/>
                <a:gd name="T1" fmla="*/ 3 h 1008"/>
                <a:gd name="T2" fmla="*/ 377 w 1006"/>
                <a:gd name="T3" fmla="*/ 16 h 1008"/>
                <a:gd name="T4" fmla="*/ 307 w 1006"/>
                <a:gd name="T5" fmla="*/ 39 h 1008"/>
                <a:gd name="T6" fmla="*/ 243 w 1006"/>
                <a:gd name="T7" fmla="*/ 72 h 1008"/>
                <a:gd name="T8" fmla="*/ 183 w 1006"/>
                <a:gd name="T9" fmla="*/ 115 h 1008"/>
                <a:gd name="T10" fmla="*/ 131 w 1006"/>
                <a:gd name="T11" fmla="*/ 165 h 1008"/>
                <a:gd name="T12" fmla="*/ 86 w 1006"/>
                <a:gd name="T13" fmla="*/ 222 h 1008"/>
                <a:gd name="T14" fmla="*/ 49 w 1006"/>
                <a:gd name="T15" fmla="*/ 285 h 1008"/>
                <a:gd name="T16" fmla="*/ 22 w 1006"/>
                <a:gd name="T17" fmla="*/ 354 h 1008"/>
                <a:gd name="T18" fmla="*/ 6 w 1006"/>
                <a:gd name="T19" fmla="*/ 427 h 1008"/>
                <a:gd name="T20" fmla="*/ 0 w 1006"/>
                <a:gd name="T21" fmla="*/ 504 h 1008"/>
                <a:gd name="T22" fmla="*/ 6 w 1006"/>
                <a:gd name="T23" fmla="*/ 581 h 1008"/>
                <a:gd name="T24" fmla="*/ 22 w 1006"/>
                <a:gd name="T25" fmla="*/ 654 h 1008"/>
                <a:gd name="T26" fmla="*/ 49 w 1006"/>
                <a:gd name="T27" fmla="*/ 723 h 1008"/>
                <a:gd name="T28" fmla="*/ 86 w 1006"/>
                <a:gd name="T29" fmla="*/ 786 h 1008"/>
                <a:gd name="T30" fmla="*/ 131 w 1006"/>
                <a:gd name="T31" fmla="*/ 843 h 1008"/>
                <a:gd name="T32" fmla="*/ 183 w 1006"/>
                <a:gd name="T33" fmla="*/ 893 h 1008"/>
                <a:gd name="T34" fmla="*/ 243 w 1006"/>
                <a:gd name="T35" fmla="*/ 936 h 1008"/>
                <a:gd name="T36" fmla="*/ 307 w 1006"/>
                <a:gd name="T37" fmla="*/ 969 h 1008"/>
                <a:gd name="T38" fmla="*/ 377 w 1006"/>
                <a:gd name="T39" fmla="*/ 992 h 1008"/>
                <a:gd name="T40" fmla="*/ 452 w 1006"/>
                <a:gd name="T41" fmla="*/ 1005 h 1008"/>
                <a:gd name="T42" fmla="*/ 529 w 1006"/>
                <a:gd name="T43" fmla="*/ 1007 h 1008"/>
                <a:gd name="T44" fmla="*/ 605 w 1006"/>
                <a:gd name="T45" fmla="*/ 998 h 1008"/>
                <a:gd name="T46" fmla="*/ 676 w 1006"/>
                <a:gd name="T47" fmla="*/ 978 h 1008"/>
                <a:gd name="T48" fmla="*/ 743 w 1006"/>
                <a:gd name="T49" fmla="*/ 948 h 1008"/>
                <a:gd name="T50" fmla="*/ 804 w 1006"/>
                <a:gd name="T51" fmla="*/ 908 h 1008"/>
                <a:gd name="T52" fmla="*/ 858 w 1006"/>
                <a:gd name="T53" fmla="*/ 861 h 1008"/>
                <a:gd name="T54" fmla="*/ 906 w 1006"/>
                <a:gd name="T55" fmla="*/ 805 h 1008"/>
                <a:gd name="T56" fmla="*/ 946 w 1006"/>
                <a:gd name="T57" fmla="*/ 744 h 1008"/>
                <a:gd name="T58" fmla="*/ 976 w 1006"/>
                <a:gd name="T59" fmla="*/ 677 h 1008"/>
                <a:gd name="T60" fmla="*/ 996 w 1006"/>
                <a:gd name="T61" fmla="*/ 606 h 1008"/>
                <a:gd name="T62" fmla="*/ 1005 w 1006"/>
                <a:gd name="T63" fmla="*/ 530 h 1008"/>
                <a:gd name="T64" fmla="*/ 1003 w 1006"/>
                <a:gd name="T65" fmla="*/ 453 h 1008"/>
                <a:gd name="T66" fmla="*/ 990 w 1006"/>
                <a:gd name="T67" fmla="*/ 378 h 1008"/>
                <a:gd name="T68" fmla="*/ 967 w 1006"/>
                <a:gd name="T69" fmla="*/ 307 h 1008"/>
                <a:gd name="T70" fmla="*/ 934 w 1006"/>
                <a:gd name="T71" fmla="*/ 243 h 1008"/>
                <a:gd name="T72" fmla="*/ 891 w 1006"/>
                <a:gd name="T73" fmla="*/ 183 h 1008"/>
                <a:gd name="T74" fmla="*/ 841 w 1006"/>
                <a:gd name="T75" fmla="*/ 131 h 1008"/>
                <a:gd name="T76" fmla="*/ 784 w 1006"/>
                <a:gd name="T77" fmla="*/ 86 h 1008"/>
                <a:gd name="T78" fmla="*/ 721 w 1006"/>
                <a:gd name="T79" fmla="*/ 49 h 1008"/>
                <a:gd name="T80" fmla="*/ 653 w 1006"/>
                <a:gd name="T81" fmla="*/ 22 h 1008"/>
                <a:gd name="T82" fmla="*/ 580 w 1006"/>
                <a:gd name="T83" fmla="*/ 6 h 1008"/>
                <a:gd name="T84" fmla="*/ 503 w 1006"/>
                <a:gd name="T85" fmla="*/ 0 h 1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1008">
                  <a:moveTo>
                    <a:pt x="503" y="0"/>
                  </a:moveTo>
                  <a:lnTo>
                    <a:pt x="477" y="1"/>
                  </a:lnTo>
                  <a:lnTo>
                    <a:pt x="452" y="3"/>
                  </a:lnTo>
                  <a:lnTo>
                    <a:pt x="427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4" y="60"/>
                  </a:lnTo>
                  <a:lnTo>
                    <a:pt x="243" y="72"/>
                  </a:lnTo>
                  <a:lnTo>
                    <a:pt x="221" y="86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100" y="203"/>
                  </a:lnTo>
                  <a:lnTo>
                    <a:pt x="86" y="222"/>
                  </a:lnTo>
                  <a:lnTo>
                    <a:pt x="73" y="243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1"/>
                  </a:lnTo>
                  <a:lnTo>
                    <a:pt x="22" y="354"/>
                  </a:lnTo>
                  <a:lnTo>
                    <a:pt x="16" y="378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3"/>
                  </a:lnTo>
                  <a:lnTo>
                    <a:pt x="1" y="478"/>
                  </a:lnTo>
                  <a:lnTo>
                    <a:pt x="0" y="504"/>
                  </a:lnTo>
                  <a:lnTo>
                    <a:pt x="1" y="530"/>
                  </a:lnTo>
                  <a:lnTo>
                    <a:pt x="3" y="555"/>
                  </a:lnTo>
                  <a:lnTo>
                    <a:pt x="6" y="581"/>
                  </a:lnTo>
                  <a:lnTo>
                    <a:pt x="10" y="606"/>
                  </a:lnTo>
                  <a:lnTo>
                    <a:pt x="16" y="630"/>
                  </a:lnTo>
                  <a:lnTo>
                    <a:pt x="22" y="654"/>
                  </a:lnTo>
                  <a:lnTo>
                    <a:pt x="30" y="677"/>
                  </a:lnTo>
                  <a:lnTo>
                    <a:pt x="39" y="701"/>
                  </a:lnTo>
                  <a:lnTo>
                    <a:pt x="49" y="723"/>
                  </a:lnTo>
                  <a:lnTo>
                    <a:pt x="60" y="744"/>
                  </a:lnTo>
                  <a:lnTo>
                    <a:pt x="73" y="765"/>
                  </a:lnTo>
                  <a:lnTo>
                    <a:pt x="86" y="786"/>
                  </a:lnTo>
                  <a:lnTo>
                    <a:pt x="100" y="805"/>
                  </a:lnTo>
                  <a:lnTo>
                    <a:pt x="115" y="825"/>
                  </a:lnTo>
                  <a:lnTo>
                    <a:pt x="131" y="843"/>
                  </a:lnTo>
                  <a:lnTo>
                    <a:pt x="147" y="861"/>
                  </a:lnTo>
                  <a:lnTo>
                    <a:pt x="165" y="877"/>
                  </a:lnTo>
                  <a:lnTo>
                    <a:pt x="183" y="893"/>
                  </a:lnTo>
                  <a:lnTo>
                    <a:pt x="202" y="908"/>
                  </a:lnTo>
                  <a:lnTo>
                    <a:pt x="221" y="922"/>
                  </a:lnTo>
                  <a:lnTo>
                    <a:pt x="243" y="936"/>
                  </a:lnTo>
                  <a:lnTo>
                    <a:pt x="264" y="948"/>
                  </a:lnTo>
                  <a:lnTo>
                    <a:pt x="285" y="959"/>
                  </a:lnTo>
                  <a:lnTo>
                    <a:pt x="307" y="969"/>
                  </a:lnTo>
                  <a:lnTo>
                    <a:pt x="330" y="978"/>
                  </a:lnTo>
                  <a:lnTo>
                    <a:pt x="353" y="986"/>
                  </a:lnTo>
                  <a:lnTo>
                    <a:pt x="377" y="992"/>
                  </a:lnTo>
                  <a:lnTo>
                    <a:pt x="401" y="998"/>
                  </a:lnTo>
                  <a:lnTo>
                    <a:pt x="427" y="1002"/>
                  </a:lnTo>
                  <a:lnTo>
                    <a:pt x="452" y="1005"/>
                  </a:lnTo>
                  <a:lnTo>
                    <a:pt x="477" y="1007"/>
                  </a:lnTo>
                  <a:lnTo>
                    <a:pt x="503" y="1008"/>
                  </a:lnTo>
                  <a:lnTo>
                    <a:pt x="529" y="1007"/>
                  </a:lnTo>
                  <a:lnTo>
                    <a:pt x="554" y="1005"/>
                  </a:lnTo>
                  <a:lnTo>
                    <a:pt x="580" y="1002"/>
                  </a:lnTo>
                  <a:lnTo>
                    <a:pt x="605" y="998"/>
                  </a:lnTo>
                  <a:lnTo>
                    <a:pt x="629" y="992"/>
                  </a:lnTo>
                  <a:lnTo>
                    <a:pt x="653" y="986"/>
                  </a:lnTo>
                  <a:lnTo>
                    <a:pt x="676" y="978"/>
                  </a:lnTo>
                  <a:lnTo>
                    <a:pt x="699" y="969"/>
                  </a:lnTo>
                  <a:lnTo>
                    <a:pt x="721" y="959"/>
                  </a:lnTo>
                  <a:lnTo>
                    <a:pt x="743" y="948"/>
                  </a:lnTo>
                  <a:lnTo>
                    <a:pt x="764" y="936"/>
                  </a:lnTo>
                  <a:lnTo>
                    <a:pt x="784" y="922"/>
                  </a:lnTo>
                  <a:lnTo>
                    <a:pt x="804" y="908"/>
                  </a:lnTo>
                  <a:lnTo>
                    <a:pt x="823" y="893"/>
                  </a:lnTo>
                  <a:lnTo>
                    <a:pt x="841" y="877"/>
                  </a:lnTo>
                  <a:lnTo>
                    <a:pt x="858" y="861"/>
                  </a:lnTo>
                  <a:lnTo>
                    <a:pt x="875" y="843"/>
                  </a:lnTo>
                  <a:lnTo>
                    <a:pt x="891" y="825"/>
                  </a:lnTo>
                  <a:lnTo>
                    <a:pt x="906" y="805"/>
                  </a:lnTo>
                  <a:lnTo>
                    <a:pt x="921" y="786"/>
                  </a:lnTo>
                  <a:lnTo>
                    <a:pt x="934" y="765"/>
                  </a:lnTo>
                  <a:lnTo>
                    <a:pt x="946" y="744"/>
                  </a:lnTo>
                  <a:lnTo>
                    <a:pt x="957" y="723"/>
                  </a:lnTo>
                  <a:lnTo>
                    <a:pt x="967" y="701"/>
                  </a:lnTo>
                  <a:lnTo>
                    <a:pt x="976" y="677"/>
                  </a:lnTo>
                  <a:lnTo>
                    <a:pt x="983" y="654"/>
                  </a:lnTo>
                  <a:lnTo>
                    <a:pt x="990" y="630"/>
                  </a:lnTo>
                  <a:lnTo>
                    <a:pt x="996" y="606"/>
                  </a:lnTo>
                  <a:lnTo>
                    <a:pt x="1000" y="581"/>
                  </a:lnTo>
                  <a:lnTo>
                    <a:pt x="1003" y="555"/>
                  </a:lnTo>
                  <a:lnTo>
                    <a:pt x="1005" y="530"/>
                  </a:lnTo>
                  <a:lnTo>
                    <a:pt x="1006" y="504"/>
                  </a:lnTo>
                  <a:lnTo>
                    <a:pt x="1005" y="478"/>
                  </a:lnTo>
                  <a:lnTo>
                    <a:pt x="1003" y="453"/>
                  </a:lnTo>
                  <a:lnTo>
                    <a:pt x="1000" y="427"/>
                  </a:lnTo>
                  <a:lnTo>
                    <a:pt x="996" y="402"/>
                  </a:lnTo>
                  <a:lnTo>
                    <a:pt x="990" y="378"/>
                  </a:lnTo>
                  <a:lnTo>
                    <a:pt x="983" y="354"/>
                  </a:lnTo>
                  <a:lnTo>
                    <a:pt x="976" y="331"/>
                  </a:lnTo>
                  <a:lnTo>
                    <a:pt x="967" y="307"/>
                  </a:lnTo>
                  <a:lnTo>
                    <a:pt x="957" y="285"/>
                  </a:lnTo>
                  <a:lnTo>
                    <a:pt x="946" y="263"/>
                  </a:lnTo>
                  <a:lnTo>
                    <a:pt x="934" y="243"/>
                  </a:lnTo>
                  <a:lnTo>
                    <a:pt x="921" y="222"/>
                  </a:lnTo>
                  <a:lnTo>
                    <a:pt x="906" y="203"/>
                  </a:lnTo>
                  <a:lnTo>
                    <a:pt x="891" y="183"/>
                  </a:lnTo>
                  <a:lnTo>
                    <a:pt x="875" y="165"/>
                  </a:lnTo>
                  <a:lnTo>
                    <a:pt x="858" y="147"/>
                  </a:lnTo>
                  <a:lnTo>
                    <a:pt x="841" y="131"/>
                  </a:lnTo>
                  <a:lnTo>
                    <a:pt x="823" y="115"/>
                  </a:lnTo>
                  <a:lnTo>
                    <a:pt x="804" y="100"/>
                  </a:lnTo>
                  <a:lnTo>
                    <a:pt x="784" y="86"/>
                  </a:lnTo>
                  <a:lnTo>
                    <a:pt x="764" y="72"/>
                  </a:lnTo>
                  <a:lnTo>
                    <a:pt x="743" y="60"/>
                  </a:lnTo>
                  <a:lnTo>
                    <a:pt x="721" y="49"/>
                  </a:lnTo>
                  <a:lnTo>
                    <a:pt x="699" y="39"/>
                  </a:lnTo>
                  <a:lnTo>
                    <a:pt x="676" y="30"/>
                  </a:lnTo>
                  <a:lnTo>
                    <a:pt x="653" y="22"/>
                  </a:lnTo>
                  <a:lnTo>
                    <a:pt x="629" y="16"/>
                  </a:lnTo>
                  <a:lnTo>
                    <a:pt x="605" y="10"/>
                  </a:lnTo>
                  <a:lnTo>
                    <a:pt x="580" y="6"/>
                  </a:lnTo>
                  <a:lnTo>
                    <a:pt x="554" y="3"/>
                  </a:lnTo>
                  <a:lnTo>
                    <a:pt x="529" y="1"/>
                  </a:lnTo>
                  <a:lnTo>
                    <a:pt x="50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92" name="ï$ļiḑê">
              <a:extLst>
                <a:ext uri="{FF2B5EF4-FFF2-40B4-BE49-F238E27FC236}">
                  <a16:creationId xmlns:a16="http://schemas.microsoft.com/office/drawing/2014/main" id="{9991AD0F-3DBE-4939-B6A4-A99214E3F7BA}"/>
                </a:ext>
              </a:extLst>
            </p:cNvPr>
            <p:cNvSpPr/>
            <p:nvPr/>
          </p:nvSpPr>
          <p:spPr bwMode="auto">
            <a:xfrm>
              <a:off x="6810091" y="89716"/>
              <a:ext cx="107841" cy="107841"/>
            </a:xfrm>
            <a:custGeom>
              <a:avLst/>
              <a:gdLst>
                <a:gd name="T0" fmla="*/ 4769 w 5269"/>
                <a:gd name="T1" fmla="*/ 5046 h 5270"/>
                <a:gd name="T2" fmla="*/ 4779 w 5269"/>
                <a:gd name="T3" fmla="*/ 5094 h 5270"/>
                <a:gd name="T4" fmla="*/ 4798 w 5269"/>
                <a:gd name="T5" fmla="*/ 5139 h 5270"/>
                <a:gd name="T6" fmla="*/ 4825 w 5269"/>
                <a:gd name="T7" fmla="*/ 5178 h 5270"/>
                <a:gd name="T8" fmla="*/ 4859 w 5269"/>
                <a:gd name="T9" fmla="*/ 5213 h 5270"/>
                <a:gd name="T10" fmla="*/ 4898 w 5269"/>
                <a:gd name="T11" fmla="*/ 5240 h 5270"/>
                <a:gd name="T12" fmla="*/ 4944 w 5269"/>
                <a:gd name="T13" fmla="*/ 5258 h 5270"/>
                <a:gd name="T14" fmla="*/ 4993 w 5269"/>
                <a:gd name="T15" fmla="*/ 5268 h 5270"/>
                <a:gd name="T16" fmla="*/ 5044 w 5269"/>
                <a:gd name="T17" fmla="*/ 5268 h 5270"/>
                <a:gd name="T18" fmla="*/ 5092 w 5269"/>
                <a:gd name="T19" fmla="*/ 5258 h 5270"/>
                <a:gd name="T20" fmla="*/ 5137 w 5269"/>
                <a:gd name="T21" fmla="*/ 5239 h 5270"/>
                <a:gd name="T22" fmla="*/ 5177 w 5269"/>
                <a:gd name="T23" fmla="*/ 5213 h 5270"/>
                <a:gd name="T24" fmla="*/ 5212 w 5269"/>
                <a:gd name="T25" fmla="*/ 5178 h 5270"/>
                <a:gd name="T26" fmla="*/ 5239 w 5269"/>
                <a:gd name="T27" fmla="*/ 5138 h 5270"/>
                <a:gd name="T28" fmla="*/ 5258 w 5269"/>
                <a:gd name="T29" fmla="*/ 5093 h 5270"/>
                <a:gd name="T30" fmla="*/ 5268 w 5269"/>
                <a:gd name="T31" fmla="*/ 5044 h 5270"/>
                <a:gd name="T32" fmla="*/ 5268 w 5269"/>
                <a:gd name="T33" fmla="*/ 5015 h 5270"/>
                <a:gd name="T34" fmla="*/ 5165 w 5269"/>
                <a:gd name="T35" fmla="*/ 4006 h 5270"/>
                <a:gd name="T36" fmla="*/ 4873 w 5269"/>
                <a:gd name="T37" fmla="*/ 3067 h 5270"/>
                <a:gd name="T38" fmla="*/ 4412 w 5269"/>
                <a:gd name="T39" fmla="*/ 2216 h 5270"/>
                <a:gd name="T40" fmla="*/ 3801 w 5269"/>
                <a:gd name="T41" fmla="*/ 1475 h 5270"/>
                <a:gd name="T42" fmla="*/ 3061 w 5269"/>
                <a:gd name="T43" fmla="*/ 863 h 5270"/>
                <a:gd name="T44" fmla="*/ 2211 w 5269"/>
                <a:gd name="T45" fmla="*/ 401 h 5270"/>
                <a:gd name="T46" fmla="*/ 1272 w 5269"/>
                <a:gd name="T47" fmla="*/ 108 h 5270"/>
                <a:gd name="T48" fmla="*/ 264 w 5269"/>
                <a:gd name="T49" fmla="*/ 3 h 5270"/>
                <a:gd name="T50" fmla="*/ 226 w 5269"/>
                <a:gd name="T51" fmla="*/ 1 h 5270"/>
                <a:gd name="T52" fmla="*/ 176 w 5269"/>
                <a:gd name="T53" fmla="*/ 11 h 5270"/>
                <a:gd name="T54" fmla="*/ 131 w 5269"/>
                <a:gd name="T55" fmla="*/ 30 h 5270"/>
                <a:gd name="T56" fmla="*/ 91 w 5269"/>
                <a:gd name="T57" fmla="*/ 58 h 5270"/>
                <a:gd name="T58" fmla="*/ 57 w 5269"/>
                <a:gd name="T59" fmla="*/ 92 h 5270"/>
                <a:gd name="T60" fmla="*/ 30 w 5269"/>
                <a:gd name="T61" fmla="*/ 132 h 5270"/>
                <a:gd name="T62" fmla="*/ 11 w 5269"/>
                <a:gd name="T63" fmla="*/ 177 h 5270"/>
                <a:gd name="T64" fmla="*/ 2 w 5269"/>
                <a:gd name="T65" fmla="*/ 225 h 5270"/>
                <a:gd name="T66" fmla="*/ 2 w 5269"/>
                <a:gd name="T67" fmla="*/ 276 h 5270"/>
                <a:gd name="T68" fmla="*/ 11 w 5269"/>
                <a:gd name="T69" fmla="*/ 326 h 5270"/>
                <a:gd name="T70" fmla="*/ 30 w 5269"/>
                <a:gd name="T71" fmla="*/ 371 h 5270"/>
                <a:gd name="T72" fmla="*/ 57 w 5269"/>
                <a:gd name="T73" fmla="*/ 411 h 5270"/>
                <a:gd name="T74" fmla="*/ 91 w 5269"/>
                <a:gd name="T75" fmla="*/ 444 h 5270"/>
                <a:gd name="T76" fmla="*/ 131 w 5269"/>
                <a:gd name="T77" fmla="*/ 471 h 5270"/>
                <a:gd name="T78" fmla="*/ 175 w 5269"/>
                <a:gd name="T79" fmla="*/ 490 h 5270"/>
                <a:gd name="T80" fmla="*/ 225 w 5269"/>
                <a:gd name="T81" fmla="*/ 501 h 5270"/>
                <a:gd name="T82" fmla="*/ 481 w 5269"/>
                <a:gd name="T83" fmla="*/ 510 h 5270"/>
                <a:gd name="T84" fmla="*/ 1378 w 5269"/>
                <a:gd name="T85" fmla="*/ 647 h 5270"/>
                <a:gd name="T86" fmla="*/ 2206 w 5269"/>
                <a:gd name="T87" fmla="*/ 950 h 5270"/>
                <a:gd name="T88" fmla="*/ 2950 w 5269"/>
                <a:gd name="T89" fmla="*/ 1403 h 5270"/>
                <a:gd name="T90" fmla="*/ 3592 w 5269"/>
                <a:gd name="T91" fmla="*/ 1986 h 5270"/>
                <a:gd name="T92" fmla="*/ 4112 w 5269"/>
                <a:gd name="T93" fmla="*/ 2680 h 5270"/>
                <a:gd name="T94" fmla="*/ 4492 w 5269"/>
                <a:gd name="T95" fmla="*/ 3469 h 5270"/>
                <a:gd name="T96" fmla="*/ 4714 w 5269"/>
                <a:gd name="T97" fmla="*/ 4333 h 5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269" h="5270">
                  <a:moveTo>
                    <a:pt x="4766" y="5021"/>
                  </a:moveTo>
                  <a:lnTo>
                    <a:pt x="4767" y="5021"/>
                  </a:lnTo>
                  <a:lnTo>
                    <a:pt x="4768" y="5033"/>
                  </a:lnTo>
                  <a:lnTo>
                    <a:pt x="4769" y="5046"/>
                  </a:lnTo>
                  <a:lnTo>
                    <a:pt x="4770" y="5058"/>
                  </a:lnTo>
                  <a:lnTo>
                    <a:pt x="4773" y="5071"/>
                  </a:lnTo>
                  <a:lnTo>
                    <a:pt x="4775" y="5083"/>
                  </a:lnTo>
                  <a:lnTo>
                    <a:pt x="4779" y="5094"/>
                  </a:lnTo>
                  <a:lnTo>
                    <a:pt x="4783" y="5106"/>
                  </a:lnTo>
                  <a:lnTo>
                    <a:pt x="4787" y="5117"/>
                  </a:lnTo>
                  <a:lnTo>
                    <a:pt x="4792" y="5128"/>
                  </a:lnTo>
                  <a:lnTo>
                    <a:pt x="4798" y="5139"/>
                  </a:lnTo>
                  <a:lnTo>
                    <a:pt x="4804" y="5149"/>
                  </a:lnTo>
                  <a:lnTo>
                    <a:pt x="4810" y="5159"/>
                  </a:lnTo>
                  <a:lnTo>
                    <a:pt x="4817" y="5169"/>
                  </a:lnTo>
                  <a:lnTo>
                    <a:pt x="4825" y="5178"/>
                  </a:lnTo>
                  <a:lnTo>
                    <a:pt x="4833" y="5187"/>
                  </a:lnTo>
                  <a:lnTo>
                    <a:pt x="4841" y="5196"/>
                  </a:lnTo>
                  <a:lnTo>
                    <a:pt x="4850" y="5204"/>
                  </a:lnTo>
                  <a:lnTo>
                    <a:pt x="4859" y="5213"/>
                  </a:lnTo>
                  <a:lnTo>
                    <a:pt x="4868" y="5220"/>
                  </a:lnTo>
                  <a:lnTo>
                    <a:pt x="4878" y="5227"/>
                  </a:lnTo>
                  <a:lnTo>
                    <a:pt x="4888" y="5234"/>
                  </a:lnTo>
                  <a:lnTo>
                    <a:pt x="4898" y="5240"/>
                  </a:lnTo>
                  <a:lnTo>
                    <a:pt x="4909" y="5245"/>
                  </a:lnTo>
                  <a:lnTo>
                    <a:pt x="4920" y="5250"/>
                  </a:lnTo>
                  <a:lnTo>
                    <a:pt x="4932" y="5255"/>
                  </a:lnTo>
                  <a:lnTo>
                    <a:pt x="4944" y="5258"/>
                  </a:lnTo>
                  <a:lnTo>
                    <a:pt x="4956" y="5262"/>
                  </a:lnTo>
                  <a:lnTo>
                    <a:pt x="4968" y="5265"/>
                  </a:lnTo>
                  <a:lnTo>
                    <a:pt x="4980" y="5267"/>
                  </a:lnTo>
                  <a:lnTo>
                    <a:pt x="4993" y="5268"/>
                  </a:lnTo>
                  <a:lnTo>
                    <a:pt x="5005" y="5269"/>
                  </a:lnTo>
                  <a:lnTo>
                    <a:pt x="5018" y="5270"/>
                  </a:lnTo>
                  <a:lnTo>
                    <a:pt x="5031" y="5269"/>
                  </a:lnTo>
                  <a:lnTo>
                    <a:pt x="5044" y="5268"/>
                  </a:lnTo>
                  <a:lnTo>
                    <a:pt x="5056" y="5267"/>
                  </a:lnTo>
                  <a:lnTo>
                    <a:pt x="5068" y="5264"/>
                  </a:lnTo>
                  <a:lnTo>
                    <a:pt x="5080" y="5262"/>
                  </a:lnTo>
                  <a:lnTo>
                    <a:pt x="5092" y="5258"/>
                  </a:lnTo>
                  <a:lnTo>
                    <a:pt x="5104" y="5254"/>
                  </a:lnTo>
                  <a:lnTo>
                    <a:pt x="5115" y="5250"/>
                  </a:lnTo>
                  <a:lnTo>
                    <a:pt x="5126" y="5245"/>
                  </a:lnTo>
                  <a:lnTo>
                    <a:pt x="5137" y="5239"/>
                  </a:lnTo>
                  <a:lnTo>
                    <a:pt x="5148" y="5233"/>
                  </a:lnTo>
                  <a:lnTo>
                    <a:pt x="5158" y="5227"/>
                  </a:lnTo>
                  <a:lnTo>
                    <a:pt x="5167" y="5220"/>
                  </a:lnTo>
                  <a:lnTo>
                    <a:pt x="5177" y="5213"/>
                  </a:lnTo>
                  <a:lnTo>
                    <a:pt x="5186" y="5204"/>
                  </a:lnTo>
                  <a:lnTo>
                    <a:pt x="5195" y="5195"/>
                  </a:lnTo>
                  <a:lnTo>
                    <a:pt x="5204" y="5187"/>
                  </a:lnTo>
                  <a:lnTo>
                    <a:pt x="5212" y="5178"/>
                  </a:lnTo>
                  <a:lnTo>
                    <a:pt x="5219" y="5168"/>
                  </a:lnTo>
                  <a:lnTo>
                    <a:pt x="5226" y="5158"/>
                  </a:lnTo>
                  <a:lnTo>
                    <a:pt x="5233" y="5148"/>
                  </a:lnTo>
                  <a:lnTo>
                    <a:pt x="5239" y="5138"/>
                  </a:lnTo>
                  <a:lnTo>
                    <a:pt x="5244" y="5127"/>
                  </a:lnTo>
                  <a:lnTo>
                    <a:pt x="5249" y="5116"/>
                  </a:lnTo>
                  <a:lnTo>
                    <a:pt x="5254" y="5105"/>
                  </a:lnTo>
                  <a:lnTo>
                    <a:pt x="5258" y="5093"/>
                  </a:lnTo>
                  <a:lnTo>
                    <a:pt x="5261" y="5081"/>
                  </a:lnTo>
                  <a:lnTo>
                    <a:pt x="5264" y="5069"/>
                  </a:lnTo>
                  <a:lnTo>
                    <a:pt x="5266" y="5057"/>
                  </a:lnTo>
                  <a:lnTo>
                    <a:pt x="5268" y="5044"/>
                  </a:lnTo>
                  <a:lnTo>
                    <a:pt x="5269" y="5031"/>
                  </a:lnTo>
                  <a:lnTo>
                    <a:pt x="5269" y="5019"/>
                  </a:lnTo>
                  <a:lnTo>
                    <a:pt x="5269" y="5017"/>
                  </a:lnTo>
                  <a:lnTo>
                    <a:pt x="5268" y="5015"/>
                  </a:lnTo>
                  <a:lnTo>
                    <a:pt x="5261" y="4757"/>
                  </a:lnTo>
                  <a:lnTo>
                    <a:pt x="5242" y="4503"/>
                  </a:lnTo>
                  <a:lnTo>
                    <a:pt x="5210" y="4252"/>
                  </a:lnTo>
                  <a:lnTo>
                    <a:pt x="5165" y="4006"/>
                  </a:lnTo>
                  <a:lnTo>
                    <a:pt x="5109" y="3763"/>
                  </a:lnTo>
                  <a:lnTo>
                    <a:pt x="5042" y="3526"/>
                  </a:lnTo>
                  <a:lnTo>
                    <a:pt x="4963" y="3293"/>
                  </a:lnTo>
                  <a:lnTo>
                    <a:pt x="4873" y="3067"/>
                  </a:lnTo>
                  <a:lnTo>
                    <a:pt x="4773" y="2845"/>
                  </a:lnTo>
                  <a:lnTo>
                    <a:pt x="4663" y="2629"/>
                  </a:lnTo>
                  <a:lnTo>
                    <a:pt x="4542" y="2419"/>
                  </a:lnTo>
                  <a:lnTo>
                    <a:pt x="4412" y="2216"/>
                  </a:lnTo>
                  <a:lnTo>
                    <a:pt x="4272" y="2020"/>
                  </a:lnTo>
                  <a:lnTo>
                    <a:pt x="4124" y="1830"/>
                  </a:lnTo>
                  <a:lnTo>
                    <a:pt x="3967" y="1648"/>
                  </a:lnTo>
                  <a:lnTo>
                    <a:pt x="3801" y="1475"/>
                  </a:lnTo>
                  <a:lnTo>
                    <a:pt x="3627" y="1309"/>
                  </a:lnTo>
                  <a:lnTo>
                    <a:pt x="3446" y="1152"/>
                  </a:lnTo>
                  <a:lnTo>
                    <a:pt x="3256" y="1003"/>
                  </a:lnTo>
                  <a:lnTo>
                    <a:pt x="3061" y="863"/>
                  </a:lnTo>
                  <a:lnTo>
                    <a:pt x="2858" y="733"/>
                  </a:lnTo>
                  <a:lnTo>
                    <a:pt x="2648" y="612"/>
                  </a:lnTo>
                  <a:lnTo>
                    <a:pt x="2433" y="501"/>
                  </a:lnTo>
                  <a:lnTo>
                    <a:pt x="2211" y="401"/>
                  </a:lnTo>
                  <a:lnTo>
                    <a:pt x="1984" y="311"/>
                  </a:lnTo>
                  <a:lnTo>
                    <a:pt x="1751" y="231"/>
                  </a:lnTo>
                  <a:lnTo>
                    <a:pt x="1514" y="164"/>
                  </a:lnTo>
                  <a:lnTo>
                    <a:pt x="1272" y="108"/>
                  </a:lnTo>
                  <a:lnTo>
                    <a:pt x="1025" y="63"/>
                  </a:lnTo>
                  <a:lnTo>
                    <a:pt x="776" y="30"/>
                  </a:lnTo>
                  <a:lnTo>
                    <a:pt x="521" y="10"/>
                  </a:lnTo>
                  <a:lnTo>
                    <a:pt x="264" y="3"/>
                  </a:lnTo>
                  <a:lnTo>
                    <a:pt x="258" y="1"/>
                  </a:lnTo>
                  <a:lnTo>
                    <a:pt x="251" y="0"/>
                  </a:lnTo>
                  <a:lnTo>
                    <a:pt x="238" y="0"/>
                  </a:lnTo>
                  <a:lnTo>
                    <a:pt x="226" y="1"/>
                  </a:lnTo>
                  <a:lnTo>
                    <a:pt x="212" y="3"/>
                  </a:lnTo>
                  <a:lnTo>
                    <a:pt x="200" y="5"/>
                  </a:lnTo>
                  <a:lnTo>
                    <a:pt x="188" y="8"/>
                  </a:lnTo>
                  <a:lnTo>
                    <a:pt x="176" y="11"/>
                  </a:lnTo>
                  <a:lnTo>
                    <a:pt x="164" y="15"/>
                  </a:lnTo>
                  <a:lnTo>
                    <a:pt x="153" y="20"/>
                  </a:lnTo>
                  <a:lnTo>
                    <a:pt x="142" y="25"/>
                  </a:lnTo>
                  <a:lnTo>
                    <a:pt x="131" y="30"/>
                  </a:lnTo>
                  <a:lnTo>
                    <a:pt x="121" y="37"/>
                  </a:lnTo>
                  <a:lnTo>
                    <a:pt x="110" y="44"/>
                  </a:lnTo>
                  <a:lnTo>
                    <a:pt x="101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1"/>
                  </a:lnTo>
                  <a:lnTo>
                    <a:pt x="43" y="111"/>
                  </a:lnTo>
                  <a:lnTo>
                    <a:pt x="36" y="121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5" y="301"/>
                  </a:lnTo>
                  <a:lnTo>
                    <a:pt x="8" y="314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1"/>
                  </a:lnTo>
                  <a:lnTo>
                    <a:pt x="36" y="381"/>
                  </a:lnTo>
                  <a:lnTo>
                    <a:pt x="43" y="391"/>
                  </a:lnTo>
                  <a:lnTo>
                    <a:pt x="50" y="401"/>
                  </a:lnTo>
                  <a:lnTo>
                    <a:pt x="57" y="411"/>
                  </a:lnTo>
                  <a:lnTo>
                    <a:pt x="65" y="420"/>
                  </a:lnTo>
                  <a:lnTo>
                    <a:pt x="73" y="428"/>
                  </a:lnTo>
                  <a:lnTo>
                    <a:pt x="82" y="437"/>
                  </a:lnTo>
                  <a:lnTo>
                    <a:pt x="91" y="444"/>
                  </a:lnTo>
                  <a:lnTo>
                    <a:pt x="100" y="452"/>
                  </a:lnTo>
                  <a:lnTo>
                    <a:pt x="110" y="459"/>
                  </a:lnTo>
                  <a:lnTo>
                    <a:pt x="120" y="465"/>
                  </a:lnTo>
                  <a:lnTo>
                    <a:pt x="131" y="471"/>
                  </a:lnTo>
                  <a:lnTo>
                    <a:pt x="141" y="477"/>
                  </a:lnTo>
                  <a:lnTo>
                    <a:pt x="152" y="482"/>
                  </a:lnTo>
                  <a:lnTo>
                    <a:pt x="164" y="486"/>
                  </a:lnTo>
                  <a:lnTo>
                    <a:pt x="175" y="490"/>
                  </a:lnTo>
                  <a:lnTo>
                    <a:pt x="187" y="494"/>
                  </a:lnTo>
                  <a:lnTo>
                    <a:pt x="199" y="497"/>
                  </a:lnTo>
                  <a:lnTo>
                    <a:pt x="211" y="499"/>
                  </a:lnTo>
                  <a:lnTo>
                    <a:pt x="225" y="501"/>
                  </a:lnTo>
                  <a:lnTo>
                    <a:pt x="237" y="502"/>
                  </a:lnTo>
                  <a:lnTo>
                    <a:pt x="250" y="502"/>
                  </a:lnTo>
                  <a:lnTo>
                    <a:pt x="250" y="504"/>
                  </a:lnTo>
                  <a:lnTo>
                    <a:pt x="481" y="510"/>
                  </a:lnTo>
                  <a:lnTo>
                    <a:pt x="711" y="527"/>
                  </a:lnTo>
                  <a:lnTo>
                    <a:pt x="937" y="556"/>
                  </a:lnTo>
                  <a:lnTo>
                    <a:pt x="1159" y="597"/>
                  </a:lnTo>
                  <a:lnTo>
                    <a:pt x="1378" y="647"/>
                  </a:lnTo>
                  <a:lnTo>
                    <a:pt x="1591" y="708"/>
                  </a:lnTo>
                  <a:lnTo>
                    <a:pt x="1801" y="778"/>
                  </a:lnTo>
                  <a:lnTo>
                    <a:pt x="2006" y="860"/>
                  </a:lnTo>
                  <a:lnTo>
                    <a:pt x="2206" y="950"/>
                  </a:lnTo>
                  <a:lnTo>
                    <a:pt x="2400" y="1050"/>
                  </a:lnTo>
                  <a:lnTo>
                    <a:pt x="2590" y="1159"/>
                  </a:lnTo>
                  <a:lnTo>
                    <a:pt x="2774" y="1276"/>
                  </a:lnTo>
                  <a:lnTo>
                    <a:pt x="2950" y="1403"/>
                  </a:lnTo>
                  <a:lnTo>
                    <a:pt x="3121" y="1537"/>
                  </a:lnTo>
                  <a:lnTo>
                    <a:pt x="3285" y="1679"/>
                  </a:lnTo>
                  <a:lnTo>
                    <a:pt x="3442" y="1828"/>
                  </a:lnTo>
                  <a:lnTo>
                    <a:pt x="3592" y="1986"/>
                  </a:lnTo>
                  <a:lnTo>
                    <a:pt x="3733" y="2149"/>
                  </a:lnTo>
                  <a:lnTo>
                    <a:pt x="3868" y="2320"/>
                  </a:lnTo>
                  <a:lnTo>
                    <a:pt x="3994" y="2498"/>
                  </a:lnTo>
                  <a:lnTo>
                    <a:pt x="4112" y="2680"/>
                  </a:lnTo>
                  <a:lnTo>
                    <a:pt x="4220" y="2870"/>
                  </a:lnTo>
                  <a:lnTo>
                    <a:pt x="4320" y="3064"/>
                  </a:lnTo>
                  <a:lnTo>
                    <a:pt x="4411" y="3264"/>
                  </a:lnTo>
                  <a:lnTo>
                    <a:pt x="4492" y="3469"/>
                  </a:lnTo>
                  <a:lnTo>
                    <a:pt x="4562" y="3679"/>
                  </a:lnTo>
                  <a:lnTo>
                    <a:pt x="4623" y="3893"/>
                  </a:lnTo>
                  <a:lnTo>
                    <a:pt x="4674" y="4111"/>
                  </a:lnTo>
                  <a:lnTo>
                    <a:pt x="4714" y="4333"/>
                  </a:lnTo>
                  <a:lnTo>
                    <a:pt x="4743" y="4559"/>
                  </a:lnTo>
                  <a:lnTo>
                    <a:pt x="4760" y="4788"/>
                  </a:lnTo>
                  <a:lnTo>
                    <a:pt x="4766" y="50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93" name="íṧ1iḋé">
              <a:extLst>
                <a:ext uri="{FF2B5EF4-FFF2-40B4-BE49-F238E27FC236}">
                  <a16:creationId xmlns:a16="http://schemas.microsoft.com/office/drawing/2014/main" id="{F045F73F-C7CF-49F5-92FF-7865204B620D}"/>
                </a:ext>
              </a:extLst>
            </p:cNvPr>
            <p:cNvSpPr/>
            <p:nvPr/>
          </p:nvSpPr>
          <p:spPr bwMode="auto">
            <a:xfrm>
              <a:off x="6631361" y="48993"/>
              <a:ext cx="327294" cy="327293"/>
            </a:xfrm>
            <a:custGeom>
              <a:avLst/>
              <a:gdLst>
                <a:gd name="T0" fmla="*/ 14950 w 16057"/>
                <a:gd name="T1" fmla="*/ 12851 h 16058"/>
                <a:gd name="T2" fmla="*/ 14846 w 16057"/>
                <a:gd name="T3" fmla="*/ 12953 h 16058"/>
                <a:gd name="T4" fmla="*/ 14717 w 16057"/>
                <a:gd name="T5" fmla="*/ 13020 h 16058"/>
                <a:gd name="T6" fmla="*/ 14571 w 16057"/>
                <a:gd name="T7" fmla="*/ 13047 h 16058"/>
                <a:gd name="T8" fmla="*/ 3017 w 16057"/>
                <a:gd name="T9" fmla="*/ 1430 h 16058"/>
                <a:gd name="T10" fmla="*/ 3059 w 16057"/>
                <a:gd name="T11" fmla="*/ 1290 h 16058"/>
                <a:gd name="T12" fmla="*/ 3139 w 16057"/>
                <a:gd name="T13" fmla="*/ 1169 h 16058"/>
                <a:gd name="T14" fmla="*/ 3253 w 16057"/>
                <a:gd name="T15" fmla="*/ 1076 h 16058"/>
                <a:gd name="T16" fmla="*/ 3414 w 16057"/>
                <a:gd name="T17" fmla="*/ 1014 h 16058"/>
                <a:gd name="T18" fmla="*/ 3611 w 16057"/>
                <a:gd name="T19" fmla="*/ 1014 h 16058"/>
                <a:gd name="T20" fmla="*/ 3791 w 16057"/>
                <a:gd name="T21" fmla="*/ 1088 h 16058"/>
                <a:gd name="T22" fmla="*/ 14944 w 16057"/>
                <a:gd name="T23" fmla="*/ 12233 h 16058"/>
                <a:gd name="T24" fmla="*/ 15018 w 16057"/>
                <a:gd name="T25" fmla="*/ 12360 h 16058"/>
                <a:gd name="T26" fmla="*/ 15052 w 16057"/>
                <a:gd name="T27" fmla="*/ 12502 h 16058"/>
                <a:gd name="T28" fmla="*/ 15043 w 16057"/>
                <a:gd name="T29" fmla="*/ 12647 h 16058"/>
                <a:gd name="T30" fmla="*/ 7620 w 16057"/>
                <a:gd name="T31" fmla="*/ 13048 h 16058"/>
                <a:gd name="T32" fmla="*/ 7425 w 16057"/>
                <a:gd name="T33" fmla="*/ 13092 h 16058"/>
                <a:gd name="T34" fmla="*/ 3008 w 16057"/>
                <a:gd name="T35" fmla="*/ 8452 h 16058"/>
                <a:gd name="T36" fmla="*/ 5373 w 16057"/>
                <a:gd name="T37" fmla="*/ 14908 h 16058"/>
                <a:gd name="T38" fmla="*/ 5225 w 16057"/>
                <a:gd name="T39" fmla="*/ 15010 h 16058"/>
                <a:gd name="T40" fmla="*/ 5050 w 16057"/>
                <a:gd name="T41" fmla="*/ 15053 h 16058"/>
                <a:gd name="T42" fmla="*/ 4906 w 16057"/>
                <a:gd name="T43" fmla="*/ 15041 h 16058"/>
                <a:gd name="T44" fmla="*/ 4712 w 16057"/>
                <a:gd name="T45" fmla="*/ 14951 h 16058"/>
                <a:gd name="T46" fmla="*/ 1117 w 16057"/>
                <a:gd name="T47" fmla="*/ 11358 h 16058"/>
                <a:gd name="T48" fmla="*/ 1022 w 16057"/>
                <a:gd name="T49" fmla="*/ 11175 h 16058"/>
                <a:gd name="T50" fmla="*/ 1004 w 16057"/>
                <a:gd name="T51" fmla="*/ 11025 h 16058"/>
                <a:gd name="T52" fmla="*/ 1038 w 16057"/>
                <a:gd name="T53" fmla="*/ 10858 h 16058"/>
                <a:gd name="T54" fmla="*/ 1139 w 16057"/>
                <a:gd name="T55" fmla="*/ 10697 h 16058"/>
                <a:gd name="T56" fmla="*/ 4578 w 16057"/>
                <a:gd name="T57" fmla="*/ 442 h 16058"/>
                <a:gd name="T58" fmla="*/ 4345 w 16057"/>
                <a:gd name="T59" fmla="*/ 251 h 16058"/>
                <a:gd name="T60" fmla="*/ 4084 w 16057"/>
                <a:gd name="T61" fmla="*/ 112 h 16058"/>
                <a:gd name="T62" fmla="*/ 3804 w 16057"/>
                <a:gd name="T63" fmla="*/ 28 h 16058"/>
                <a:gd name="T64" fmla="*/ 3513 w 16057"/>
                <a:gd name="T65" fmla="*/ 0 h 16058"/>
                <a:gd name="T66" fmla="*/ 3222 w 16057"/>
                <a:gd name="T67" fmla="*/ 28 h 16058"/>
                <a:gd name="T68" fmla="*/ 2938 w 16057"/>
                <a:gd name="T69" fmla="*/ 115 h 16058"/>
                <a:gd name="T70" fmla="*/ 2554 w 16057"/>
                <a:gd name="T71" fmla="*/ 344 h 16058"/>
                <a:gd name="T72" fmla="*/ 2261 w 16057"/>
                <a:gd name="T73" fmla="*/ 669 h 16058"/>
                <a:gd name="T74" fmla="*/ 2073 w 16057"/>
                <a:gd name="T75" fmla="*/ 1064 h 16058"/>
                <a:gd name="T76" fmla="*/ 2007 w 16057"/>
                <a:gd name="T77" fmla="*/ 1506 h 16058"/>
                <a:gd name="T78" fmla="*/ 173 w 16057"/>
                <a:gd name="T79" fmla="*/ 10340 h 16058"/>
                <a:gd name="T80" fmla="*/ 7 w 16057"/>
                <a:gd name="T81" fmla="*/ 10896 h 16058"/>
                <a:gd name="T82" fmla="*/ 62 w 16057"/>
                <a:gd name="T83" fmla="*/ 11468 h 16058"/>
                <a:gd name="T84" fmla="*/ 338 w 16057"/>
                <a:gd name="T85" fmla="*/ 11990 h 16058"/>
                <a:gd name="T86" fmla="*/ 4098 w 16057"/>
                <a:gd name="T87" fmla="*/ 15744 h 16058"/>
                <a:gd name="T88" fmla="*/ 4352 w 16057"/>
                <a:gd name="T89" fmla="*/ 15902 h 16058"/>
                <a:gd name="T90" fmla="*/ 4625 w 16057"/>
                <a:gd name="T91" fmla="*/ 16006 h 16058"/>
                <a:gd name="T92" fmla="*/ 4911 w 16057"/>
                <a:gd name="T93" fmla="*/ 16054 h 16058"/>
                <a:gd name="T94" fmla="*/ 5199 w 16057"/>
                <a:gd name="T95" fmla="*/ 16047 h 16058"/>
                <a:gd name="T96" fmla="*/ 5482 w 16057"/>
                <a:gd name="T97" fmla="*/ 15986 h 16058"/>
                <a:gd name="T98" fmla="*/ 5751 w 16057"/>
                <a:gd name="T99" fmla="*/ 15868 h 16058"/>
                <a:gd name="T100" fmla="*/ 5998 w 16057"/>
                <a:gd name="T101" fmla="*/ 15696 h 16058"/>
                <a:gd name="T102" fmla="*/ 14721 w 16057"/>
                <a:gd name="T103" fmla="*/ 14042 h 16058"/>
                <a:gd name="T104" fmla="*/ 15149 w 16057"/>
                <a:gd name="T105" fmla="*/ 13928 h 16058"/>
                <a:gd name="T106" fmla="*/ 15520 w 16057"/>
                <a:gd name="T107" fmla="*/ 13699 h 16058"/>
                <a:gd name="T108" fmla="*/ 15811 w 16057"/>
                <a:gd name="T109" fmla="*/ 13371 h 16058"/>
                <a:gd name="T110" fmla="*/ 15999 w 16057"/>
                <a:gd name="T111" fmla="*/ 12962 h 16058"/>
                <a:gd name="T112" fmla="*/ 16057 w 16057"/>
                <a:gd name="T113" fmla="*/ 12524 h 16058"/>
                <a:gd name="T114" fmla="*/ 15988 w 16057"/>
                <a:gd name="T115" fmla="*/ 12093 h 16058"/>
                <a:gd name="T116" fmla="*/ 15796 w 16057"/>
                <a:gd name="T117" fmla="*/ 11698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057" h="16058">
                  <a:moveTo>
                    <a:pt x="15015" y="12738"/>
                  </a:moveTo>
                  <a:lnTo>
                    <a:pt x="15007" y="12755"/>
                  </a:lnTo>
                  <a:lnTo>
                    <a:pt x="14999" y="12772"/>
                  </a:lnTo>
                  <a:lnTo>
                    <a:pt x="14991" y="12789"/>
                  </a:lnTo>
                  <a:lnTo>
                    <a:pt x="14981" y="12805"/>
                  </a:lnTo>
                  <a:lnTo>
                    <a:pt x="14972" y="12821"/>
                  </a:lnTo>
                  <a:lnTo>
                    <a:pt x="14961" y="12836"/>
                  </a:lnTo>
                  <a:lnTo>
                    <a:pt x="14950" y="12851"/>
                  </a:lnTo>
                  <a:lnTo>
                    <a:pt x="14939" y="12865"/>
                  </a:lnTo>
                  <a:lnTo>
                    <a:pt x="14927" y="12879"/>
                  </a:lnTo>
                  <a:lnTo>
                    <a:pt x="14915" y="12892"/>
                  </a:lnTo>
                  <a:lnTo>
                    <a:pt x="14902" y="12905"/>
                  </a:lnTo>
                  <a:lnTo>
                    <a:pt x="14889" y="12918"/>
                  </a:lnTo>
                  <a:lnTo>
                    <a:pt x="14875" y="12931"/>
                  </a:lnTo>
                  <a:lnTo>
                    <a:pt x="14861" y="12942"/>
                  </a:lnTo>
                  <a:lnTo>
                    <a:pt x="14846" y="12953"/>
                  </a:lnTo>
                  <a:lnTo>
                    <a:pt x="14831" y="12963"/>
                  </a:lnTo>
                  <a:lnTo>
                    <a:pt x="14816" y="12973"/>
                  </a:lnTo>
                  <a:lnTo>
                    <a:pt x="14799" y="12982"/>
                  </a:lnTo>
                  <a:lnTo>
                    <a:pt x="14783" y="12991"/>
                  </a:lnTo>
                  <a:lnTo>
                    <a:pt x="14767" y="12999"/>
                  </a:lnTo>
                  <a:lnTo>
                    <a:pt x="14751" y="13007"/>
                  </a:lnTo>
                  <a:lnTo>
                    <a:pt x="14734" y="13013"/>
                  </a:lnTo>
                  <a:lnTo>
                    <a:pt x="14717" y="13020"/>
                  </a:lnTo>
                  <a:lnTo>
                    <a:pt x="14699" y="13025"/>
                  </a:lnTo>
                  <a:lnTo>
                    <a:pt x="14681" y="13030"/>
                  </a:lnTo>
                  <a:lnTo>
                    <a:pt x="14663" y="13035"/>
                  </a:lnTo>
                  <a:lnTo>
                    <a:pt x="14645" y="13038"/>
                  </a:lnTo>
                  <a:lnTo>
                    <a:pt x="14627" y="13042"/>
                  </a:lnTo>
                  <a:lnTo>
                    <a:pt x="14609" y="13044"/>
                  </a:lnTo>
                  <a:lnTo>
                    <a:pt x="14590" y="13046"/>
                  </a:lnTo>
                  <a:lnTo>
                    <a:pt x="14571" y="13047"/>
                  </a:lnTo>
                  <a:lnTo>
                    <a:pt x="14552" y="13047"/>
                  </a:lnTo>
                  <a:lnTo>
                    <a:pt x="14403" y="13047"/>
                  </a:lnTo>
                  <a:lnTo>
                    <a:pt x="3011" y="1655"/>
                  </a:lnTo>
                  <a:lnTo>
                    <a:pt x="3011" y="1506"/>
                  </a:lnTo>
                  <a:lnTo>
                    <a:pt x="3011" y="1486"/>
                  </a:lnTo>
                  <a:lnTo>
                    <a:pt x="3012" y="1467"/>
                  </a:lnTo>
                  <a:lnTo>
                    <a:pt x="3014" y="1449"/>
                  </a:lnTo>
                  <a:lnTo>
                    <a:pt x="3017" y="1430"/>
                  </a:lnTo>
                  <a:lnTo>
                    <a:pt x="3020" y="1412"/>
                  </a:lnTo>
                  <a:lnTo>
                    <a:pt x="3023" y="1394"/>
                  </a:lnTo>
                  <a:lnTo>
                    <a:pt x="3028" y="1376"/>
                  </a:lnTo>
                  <a:lnTo>
                    <a:pt x="3033" y="1358"/>
                  </a:lnTo>
                  <a:lnTo>
                    <a:pt x="3038" y="1341"/>
                  </a:lnTo>
                  <a:lnTo>
                    <a:pt x="3045" y="1324"/>
                  </a:lnTo>
                  <a:lnTo>
                    <a:pt x="3052" y="1307"/>
                  </a:lnTo>
                  <a:lnTo>
                    <a:pt x="3059" y="1290"/>
                  </a:lnTo>
                  <a:lnTo>
                    <a:pt x="3067" y="1274"/>
                  </a:lnTo>
                  <a:lnTo>
                    <a:pt x="3076" y="1258"/>
                  </a:lnTo>
                  <a:lnTo>
                    <a:pt x="3085" y="1242"/>
                  </a:lnTo>
                  <a:lnTo>
                    <a:pt x="3095" y="1227"/>
                  </a:lnTo>
                  <a:lnTo>
                    <a:pt x="3105" y="1211"/>
                  </a:lnTo>
                  <a:lnTo>
                    <a:pt x="3116" y="1197"/>
                  </a:lnTo>
                  <a:lnTo>
                    <a:pt x="3128" y="1183"/>
                  </a:lnTo>
                  <a:lnTo>
                    <a:pt x="3139" y="1169"/>
                  </a:lnTo>
                  <a:lnTo>
                    <a:pt x="3152" y="1156"/>
                  </a:lnTo>
                  <a:lnTo>
                    <a:pt x="3165" y="1143"/>
                  </a:lnTo>
                  <a:lnTo>
                    <a:pt x="3178" y="1130"/>
                  </a:lnTo>
                  <a:lnTo>
                    <a:pt x="3193" y="1118"/>
                  </a:lnTo>
                  <a:lnTo>
                    <a:pt x="3208" y="1107"/>
                  </a:lnTo>
                  <a:lnTo>
                    <a:pt x="3222" y="1096"/>
                  </a:lnTo>
                  <a:lnTo>
                    <a:pt x="3238" y="1086"/>
                  </a:lnTo>
                  <a:lnTo>
                    <a:pt x="3253" y="1076"/>
                  </a:lnTo>
                  <a:lnTo>
                    <a:pt x="3270" y="1067"/>
                  </a:lnTo>
                  <a:lnTo>
                    <a:pt x="3286" y="1058"/>
                  </a:lnTo>
                  <a:lnTo>
                    <a:pt x="3303" y="1050"/>
                  </a:lnTo>
                  <a:lnTo>
                    <a:pt x="3320" y="1042"/>
                  </a:lnTo>
                  <a:lnTo>
                    <a:pt x="3344" y="1033"/>
                  </a:lnTo>
                  <a:lnTo>
                    <a:pt x="3367" y="1026"/>
                  </a:lnTo>
                  <a:lnTo>
                    <a:pt x="3391" y="1019"/>
                  </a:lnTo>
                  <a:lnTo>
                    <a:pt x="3414" y="1014"/>
                  </a:lnTo>
                  <a:lnTo>
                    <a:pt x="3438" y="1009"/>
                  </a:lnTo>
                  <a:lnTo>
                    <a:pt x="3464" y="1006"/>
                  </a:lnTo>
                  <a:lnTo>
                    <a:pt x="3488" y="1005"/>
                  </a:lnTo>
                  <a:lnTo>
                    <a:pt x="3513" y="1004"/>
                  </a:lnTo>
                  <a:lnTo>
                    <a:pt x="3538" y="1005"/>
                  </a:lnTo>
                  <a:lnTo>
                    <a:pt x="3562" y="1006"/>
                  </a:lnTo>
                  <a:lnTo>
                    <a:pt x="3587" y="1009"/>
                  </a:lnTo>
                  <a:lnTo>
                    <a:pt x="3611" y="1014"/>
                  </a:lnTo>
                  <a:lnTo>
                    <a:pt x="3635" y="1019"/>
                  </a:lnTo>
                  <a:lnTo>
                    <a:pt x="3658" y="1025"/>
                  </a:lnTo>
                  <a:lnTo>
                    <a:pt x="3682" y="1033"/>
                  </a:lnTo>
                  <a:lnTo>
                    <a:pt x="3704" y="1042"/>
                  </a:lnTo>
                  <a:lnTo>
                    <a:pt x="3726" y="1052"/>
                  </a:lnTo>
                  <a:lnTo>
                    <a:pt x="3749" y="1063"/>
                  </a:lnTo>
                  <a:lnTo>
                    <a:pt x="3770" y="1075"/>
                  </a:lnTo>
                  <a:lnTo>
                    <a:pt x="3791" y="1088"/>
                  </a:lnTo>
                  <a:lnTo>
                    <a:pt x="3811" y="1102"/>
                  </a:lnTo>
                  <a:lnTo>
                    <a:pt x="3830" y="1117"/>
                  </a:lnTo>
                  <a:lnTo>
                    <a:pt x="3849" y="1133"/>
                  </a:lnTo>
                  <a:lnTo>
                    <a:pt x="3867" y="1150"/>
                  </a:lnTo>
                  <a:lnTo>
                    <a:pt x="14907" y="12191"/>
                  </a:lnTo>
                  <a:lnTo>
                    <a:pt x="14920" y="12205"/>
                  </a:lnTo>
                  <a:lnTo>
                    <a:pt x="14932" y="12219"/>
                  </a:lnTo>
                  <a:lnTo>
                    <a:pt x="14944" y="12233"/>
                  </a:lnTo>
                  <a:lnTo>
                    <a:pt x="14956" y="12248"/>
                  </a:lnTo>
                  <a:lnTo>
                    <a:pt x="14966" y="12263"/>
                  </a:lnTo>
                  <a:lnTo>
                    <a:pt x="14977" y="12278"/>
                  </a:lnTo>
                  <a:lnTo>
                    <a:pt x="14986" y="12294"/>
                  </a:lnTo>
                  <a:lnTo>
                    <a:pt x="14995" y="12310"/>
                  </a:lnTo>
                  <a:lnTo>
                    <a:pt x="15003" y="12326"/>
                  </a:lnTo>
                  <a:lnTo>
                    <a:pt x="15011" y="12343"/>
                  </a:lnTo>
                  <a:lnTo>
                    <a:pt x="15018" y="12360"/>
                  </a:lnTo>
                  <a:lnTo>
                    <a:pt x="15024" y="12377"/>
                  </a:lnTo>
                  <a:lnTo>
                    <a:pt x="15030" y="12395"/>
                  </a:lnTo>
                  <a:lnTo>
                    <a:pt x="15035" y="12412"/>
                  </a:lnTo>
                  <a:lnTo>
                    <a:pt x="15040" y="12430"/>
                  </a:lnTo>
                  <a:lnTo>
                    <a:pt x="15044" y="12448"/>
                  </a:lnTo>
                  <a:lnTo>
                    <a:pt x="15047" y="12466"/>
                  </a:lnTo>
                  <a:lnTo>
                    <a:pt x="15050" y="12484"/>
                  </a:lnTo>
                  <a:lnTo>
                    <a:pt x="15052" y="12502"/>
                  </a:lnTo>
                  <a:lnTo>
                    <a:pt x="15053" y="12520"/>
                  </a:lnTo>
                  <a:lnTo>
                    <a:pt x="15053" y="12538"/>
                  </a:lnTo>
                  <a:lnTo>
                    <a:pt x="15053" y="12556"/>
                  </a:lnTo>
                  <a:lnTo>
                    <a:pt x="15053" y="12574"/>
                  </a:lnTo>
                  <a:lnTo>
                    <a:pt x="15051" y="12593"/>
                  </a:lnTo>
                  <a:lnTo>
                    <a:pt x="15049" y="12611"/>
                  </a:lnTo>
                  <a:lnTo>
                    <a:pt x="15046" y="12629"/>
                  </a:lnTo>
                  <a:lnTo>
                    <a:pt x="15043" y="12647"/>
                  </a:lnTo>
                  <a:lnTo>
                    <a:pt x="15039" y="12666"/>
                  </a:lnTo>
                  <a:lnTo>
                    <a:pt x="15034" y="12684"/>
                  </a:lnTo>
                  <a:lnTo>
                    <a:pt x="15028" y="12702"/>
                  </a:lnTo>
                  <a:lnTo>
                    <a:pt x="15022" y="12720"/>
                  </a:lnTo>
                  <a:lnTo>
                    <a:pt x="15015" y="12738"/>
                  </a:lnTo>
                  <a:close/>
                  <a:moveTo>
                    <a:pt x="7649" y="13047"/>
                  </a:moveTo>
                  <a:lnTo>
                    <a:pt x="7635" y="13047"/>
                  </a:lnTo>
                  <a:lnTo>
                    <a:pt x="7620" y="13048"/>
                  </a:lnTo>
                  <a:lnTo>
                    <a:pt x="7605" y="13050"/>
                  </a:lnTo>
                  <a:lnTo>
                    <a:pt x="7591" y="13052"/>
                  </a:lnTo>
                  <a:lnTo>
                    <a:pt x="7563" y="13057"/>
                  </a:lnTo>
                  <a:lnTo>
                    <a:pt x="7535" y="13063"/>
                  </a:lnTo>
                  <a:lnTo>
                    <a:pt x="7507" y="13070"/>
                  </a:lnTo>
                  <a:lnTo>
                    <a:pt x="7480" y="13078"/>
                  </a:lnTo>
                  <a:lnTo>
                    <a:pt x="7452" y="13085"/>
                  </a:lnTo>
                  <a:lnTo>
                    <a:pt x="7425" y="13092"/>
                  </a:lnTo>
                  <a:lnTo>
                    <a:pt x="2966" y="8633"/>
                  </a:lnTo>
                  <a:lnTo>
                    <a:pt x="2973" y="8606"/>
                  </a:lnTo>
                  <a:lnTo>
                    <a:pt x="2980" y="8578"/>
                  </a:lnTo>
                  <a:lnTo>
                    <a:pt x="2988" y="8550"/>
                  </a:lnTo>
                  <a:lnTo>
                    <a:pt x="2995" y="8522"/>
                  </a:lnTo>
                  <a:lnTo>
                    <a:pt x="3001" y="8494"/>
                  </a:lnTo>
                  <a:lnTo>
                    <a:pt x="3006" y="8466"/>
                  </a:lnTo>
                  <a:lnTo>
                    <a:pt x="3008" y="8452"/>
                  </a:lnTo>
                  <a:lnTo>
                    <a:pt x="3009" y="8438"/>
                  </a:lnTo>
                  <a:lnTo>
                    <a:pt x="3010" y="8424"/>
                  </a:lnTo>
                  <a:lnTo>
                    <a:pt x="3011" y="8410"/>
                  </a:lnTo>
                  <a:lnTo>
                    <a:pt x="3011" y="2365"/>
                  </a:lnTo>
                  <a:lnTo>
                    <a:pt x="13693" y="13047"/>
                  </a:lnTo>
                  <a:lnTo>
                    <a:pt x="7649" y="13047"/>
                  </a:lnTo>
                  <a:close/>
                  <a:moveTo>
                    <a:pt x="6939" y="13341"/>
                  </a:moveTo>
                  <a:lnTo>
                    <a:pt x="5373" y="14908"/>
                  </a:lnTo>
                  <a:lnTo>
                    <a:pt x="5361" y="14919"/>
                  </a:lnTo>
                  <a:lnTo>
                    <a:pt x="5349" y="14930"/>
                  </a:lnTo>
                  <a:lnTo>
                    <a:pt x="5336" y="14941"/>
                  </a:lnTo>
                  <a:lnTo>
                    <a:pt x="5324" y="14951"/>
                  </a:lnTo>
                  <a:lnTo>
                    <a:pt x="5299" y="14969"/>
                  </a:lnTo>
                  <a:lnTo>
                    <a:pt x="5274" y="14984"/>
                  </a:lnTo>
                  <a:lnTo>
                    <a:pt x="5250" y="14998"/>
                  </a:lnTo>
                  <a:lnTo>
                    <a:pt x="5225" y="15010"/>
                  </a:lnTo>
                  <a:lnTo>
                    <a:pt x="5201" y="15020"/>
                  </a:lnTo>
                  <a:lnTo>
                    <a:pt x="5177" y="15029"/>
                  </a:lnTo>
                  <a:lnTo>
                    <a:pt x="5154" y="15036"/>
                  </a:lnTo>
                  <a:lnTo>
                    <a:pt x="5131" y="15041"/>
                  </a:lnTo>
                  <a:lnTo>
                    <a:pt x="5109" y="15046"/>
                  </a:lnTo>
                  <a:lnTo>
                    <a:pt x="5088" y="15049"/>
                  </a:lnTo>
                  <a:lnTo>
                    <a:pt x="5069" y="15052"/>
                  </a:lnTo>
                  <a:lnTo>
                    <a:pt x="5050" y="15053"/>
                  </a:lnTo>
                  <a:lnTo>
                    <a:pt x="5034" y="15054"/>
                  </a:lnTo>
                  <a:lnTo>
                    <a:pt x="5018" y="15054"/>
                  </a:lnTo>
                  <a:lnTo>
                    <a:pt x="5003" y="15054"/>
                  </a:lnTo>
                  <a:lnTo>
                    <a:pt x="4986" y="15053"/>
                  </a:lnTo>
                  <a:lnTo>
                    <a:pt x="4968" y="15052"/>
                  </a:lnTo>
                  <a:lnTo>
                    <a:pt x="4949" y="15049"/>
                  </a:lnTo>
                  <a:lnTo>
                    <a:pt x="4928" y="15046"/>
                  </a:lnTo>
                  <a:lnTo>
                    <a:pt x="4906" y="15041"/>
                  </a:lnTo>
                  <a:lnTo>
                    <a:pt x="4884" y="15036"/>
                  </a:lnTo>
                  <a:lnTo>
                    <a:pt x="4860" y="15029"/>
                  </a:lnTo>
                  <a:lnTo>
                    <a:pt x="4836" y="15020"/>
                  </a:lnTo>
                  <a:lnTo>
                    <a:pt x="4811" y="15010"/>
                  </a:lnTo>
                  <a:lnTo>
                    <a:pt x="4787" y="14998"/>
                  </a:lnTo>
                  <a:lnTo>
                    <a:pt x="4762" y="14984"/>
                  </a:lnTo>
                  <a:lnTo>
                    <a:pt x="4737" y="14969"/>
                  </a:lnTo>
                  <a:lnTo>
                    <a:pt x="4712" y="14951"/>
                  </a:lnTo>
                  <a:lnTo>
                    <a:pt x="4700" y="14941"/>
                  </a:lnTo>
                  <a:lnTo>
                    <a:pt x="4688" y="14930"/>
                  </a:lnTo>
                  <a:lnTo>
                    <a:pt x="4676" y="14919"/>
                  </a:lnTo>
                  <a:lnTo>
                    <a:pt x="4664" y="14908"/>
                  </a:lnTo>
                  <a:lnTo>
                    <a:pt x="1151" y="11395"/>
                  </a:lnTo>
                  <a:lnTo>
                    <a:pt x="1139" y="11383"/>
                  </a:lnTo>
                  <a:lnTo>
                    <a:pt x="1128" y="11371"/>
                  </a:lnTo>
                  <a:lnTo>
                    <a:pt x="1117" y="11358"/>
                  </a:lnTo>
                  <a:lnTo>
                    <a:pt x="1108" y="11346"/>
                  </a:lnTo>
                  <a:lnTo>
                    <a:pt x="1090" y="11321"/>
                  </a:lnTo>
                  <a:lnTo>
                    <a:pt x="1074" y="11297"/>
                  </a:lnTo>
                  <a:lnTo>
                    <a:pt x="1060" y="11271"/>
                  </a:lnTo>
                  <a:lnTo>
                    <a:pt x="1048" y="11246"/>
                  </a:lnTo>
                  <a:lnTo>
                    <a:pt x="1038" y="11222"/>
                  </a:lnTo>
                  <a:lnTo>
                    <a:pt x="1029" y="11198"/>
                  </a:lnTo>
                  <a:lnTo>
                    <a:pt x="1022" y="11175"/>
                  </a:lnTo>
                  <a:lnTo>
                    <a:pt x="1017" y="11152"/>
                  </a:lnTo>
                  <a:lnTo>
                    <a:pt x="1012" y="11131"/>
                  </a:lnTo>
                  <a:lnTo>
                    <a:pt x="1009" y="11110"/>
                  </a:lnTo>
                  <a:lnTo>
                    <a:pt x="1007" y="11091"/>
                  </a:lnTo>
                  <a:lnTo>
                    <a:pt x="1005" y="11072"/>
                  </a:lnTo>
                  <a:lnTo>
                    <a:pt x="1004" y="11056"/>
                  </a:lnTo>
                  <a:lnTo>
                    <a:pt x="1004" y="11040"/>
                  </a:lnTo>
                  <a:lnTo>
                    <a:pt x="1004" y="11025"/>
                  </a:lnTo>
                  <a:lnTo>
                    <a:pt x="1005" y="11007"/>
                  </a:lnTo>
                  <a:lnTo>
                    <a:pt x="1007" y="10989"/>
                  </a:lnTo>
                  <a:lnTo>
                    <a:pt x="1009" y="10970"/>
                  </a:lnTo>
                  <a:lnTo>
                    <a:pt x="1012" y="10949"/>
                  </a:lnTo>
                  <a:lnTo>
                    <a:pt x="1017" y="10927"/>
                  </a:lnTo>
                  <a:lnTo>
                    <a:pt x="1022" y="10905"/>
                  </a:lnTo>
                  <a:lnTo>
                    <a:pt x="1029" y="10882"/>
                  </a:lnTo>
                  <a:lnTo>
                    <a:pt x="1038" y="10858"/>
                  </a:lnTo>
                  <a:lnTo>
                    <a:pt x="1048" y="10834"/>
                  </a:lnTo>
                  <a:lnTo>
                    <a:pt x="1060" y="10809"/>
                  </a:lnTo>
                  <a:lnTo>
                    <a:pt x="1074" y="10784"/>
                  </a:lnTo>
                  <a:lnTo>
                    <a:pt x="1090" y="10760"/>
                  </a:lnTo>
                  <a:lnTo>
                    <a:pt x="1108" y="10734"/>
                  </a:lnTo>
                  <a:lnTo>
                    <a:pt x="1117" y="10722"/>
                  </a:lnTo>
                  <a:lnTo>
                    <a:pt x="1128" y="10709"/>
                  </a:lnTo>
                  <a:lnTo>
                    <a:pt x="1139" y="10697"/>
                  </a:lnTo>
                  <a:lnTo>
                    <a:pt x="1151" y="10685"/>
                  </a:lnTo>
                  <a:lnTo>
                    <a:pt x="2717" y="9119"/>
                  </a:lnTo>
                  <a:lnTo>
                    <a:pt x="2722" y="9111"/>
                  </a:lnTo>
                  <a:lnTo>
                    <a:pt x="2727" y="9103"/>
                  </a:lnTo>
                  <a:lnTo>
                    <a:pt x="6954" y="13332"/>
                  </a:lnTo>
                  <a:lnTo>
                    <a:pt x="6947" y="13336"/>
                  </a:lnTo>
                  <a:lnTo>
                    <a:pt x="6939" y="13341"/>
                  </a:lnTo>
                  <a:close/>
                  <a:moveTo>
                    <a:pt x="4578" y="442"/>
                  </a:moveTo>
                  <a:lnTo>
                    <a:pt x="4550" y="415"/>
                  </a:lnTo>
                  <a:lnTo>
                    <a:pt x="4522" y="388"/>
                  </a:lnTo>
                  <a:lnTo>
                    <a:pt x="4494" y="363"/>
                  </a:lnTo>
                  <a:lnTo>
                    <a:pt x="4465" y="339"/>
                  </a:lnTo>
                  <a:lnTo>
                    <a:pt x="4436" y="316"/>
                  </a:lnTo>
                  <a:lnTo>
                    <a:pt x="4406" y="293"/>
                  </a:lnTo>
                  <a:lnTo>
                    <a:pt x="4376" y="272"/>
                  </a:lnTo>
                  <a:lnTo>
                    <a:pt x="4345" y="251"/>
                  </a:lnTo>
                  <a:lnTo>
                    <a:pt x="4314" y="231"/>
                  </a:lnTo>
                  <a:lnTo>
                    <a:pt x="4281" y="211"/>
                  </a:lnTo>
                  <a:lnTo>
                    <a:pt x="4249" y="193"/>
                  </a:lnTo>
                  <a:lnTo>
                    <a:pt x="4217" y="175"/>
                  </a:lnTo>
                  <a:lnTo>
                    <a:pt x="4184" y="158"/>
                  </a:lnTo>
                  <a:lnTo>
                    <a:pt x="4151" y="143"/>
                  </a:lnTo>
                  <a:lnTo>
                    <a:pt x="4118" y="126"/>
                  </a:lnTo>
                  <a:lnTo>
                    <a:pt x="4084" y="112"/>
                  </a:lnTo>
                  <a:lnTo>
                    <a:pt x="4050" y="99"/>
                  </a:lnTo>
                  <a:lnTo>
                    <a:pt x="4016" y="86"/>
                  </a:lnTo>
                  <a:lnTo>
                    <a:pt x="3980" y="74"/>
                  </a:lnTo>
                  <a:lnTo>
                    <a:pt x="3945" y="63"/>
                  </a:lnTo>
                  <a:lnTo>
                    <a:pt x="3910" y="53"/>
                  </a:lnTo>
                  <a:lnTo>
                    <a:pt x="3875" y="44"/>
                  </a:lnTo>
                  <a:lnTo>
                    <a:pt x="3839" y="36"/>
                  </a:lnTo>
                  <a:lnTo>
                    <a:pt x="3804" y="28"/>
                  </a:lnTo>
                  <a:lnTo>
                    <a:pt x="3768" y="22"/>
                  </a:lnTo>
                  <a:lnTo>
                    <a:pt x="3731" y="16"/>
                  </a:lnTo>
                  <a:lnTo>
                    <a:pt x="3695" y="11"/>
                  </a:lnTo>
                  <a:lnTo>
                    <a:pt x="3658" y="7"/>
                  </a:lnTo>
                  <a:lnTo>
                    <a:pt x="3622" y="4"/>
                  </a:lnTo>
                  <a:lnTo>
                    <a:pt x="3586" y="2"/>
                  </a:lnTo>
                  <a:lnTo>
                    <a:pt x="3549" y="0"/>
                  </a:lnTo>
                  <a:lnTo>
                    <a:pt x="3513" y="0"/>
                  </a:lnTo>
                  <a:lnTo>
                    <a:pt x="3476" y="0"/>
                  </a:lnTo>
                  <a:lnTo>
                    <a:pt x="3439" y="2"/>
                  </a:lnTo>
                  <a:lnTo>
                    <a:pt x="3403" y="4"/>
                  </a:lnTo>
                  <a:lnTo>
                    <a:pt x="3367" y="7"/>
                  </a:lnTo>
                  <a:lnTo>
                    <a:pt x="3330" y="11"/>
                  </a:lnTo>
                  <a:lnTo>
                    <a:pt x="3294" y="16"/>
                  </a:lnTo>
                  <a:lnTo>
                    <a:pt x="3258" y="22"/>
                  </a:lnTo>
                  <a:lnTo>
                    <a:pt x="3222" y="28"/>
                  </a:lnTo>
                  <a:lnTo>
                    <a:pt x="3186" y="36"/>
                  </a:lnTo>
                  <a:lnTo>
                    <a:pt x="3149" y="44"/>
                  </a:lnTo>
                  <a:lnTo>
                    <a:pt x="3114" y="54"/>
                  </a:lnTo>
                  <a:lnTo>
                    <a:pt x="3078" y="64"/>
                  </a:lnTo>
                  <a:lnTo>
                    <a:pt x="3043" y="75"/>
                  </a:lnTo>
                  <a:lnTo>
                    <a:pt x="3008" y="87"/>
                  </a:lnTo>
                  <a:lnTo>
                    <a:pt x="2972" y="100"/>
                  </a:lnTo>
                  <a:lnTo>
                    <a:pt x="2938" y="115"/>
                  </a:lnTo>
                  <a:lnTo>
                    <a:pt x="2885" y="138"/>
                  </a:lnTo>
                  <a:lnTo>
                    <a:pt x="2834" y="163"/>
                  </a:lnTo>
                  <a:lnTo>
                    <a:pt x="2784" y="189"/>
                  </a:lnTo>
                  <a:lnTo>
                    <a:pt x="2736" y="217"/>
                  </a:lnTo>
                  <a:lnTo>
                    <a:pt x="2689" y="246"/>
                  </a:lnTo>
                  <a:lnTo>
                    <a:pt x="2643" y="278"/>
                  </a:lnTo>
                  <a:lnTo>
                    <a:pt x="2597" y="310"/>
                  </a:lnTo>
                  <a:lnTo>
                    <a:pt x="2554" y="344"/>
                  </a:lnTo>
                  <a:lnTo>
                    <a:pt x="2513" y="380"/>
                  </a:lnTo>
                  <a:lnTo>
                    <a:pt x="2472" y="418"/>
                  </a:lnTo>
                  <a:lnTo>
                    <a:pt x="2433" y="457"/>
                  </a:lnTo>
                  <a:lnTo>
                    <a:pt x="2396" y="497"/>
                  </a:lnTo>
                  <a:lnTo>
                    <a:pt x="2360" y="538"/>
                  </a:lnTo>
                  <a:lnTo>
                    <a:pt x="2325" y="580"/>
                  </a:lnTo>
                  <a:lnTo>
                    <a:pt x="2292" y="624"/>
                  </a:lnTo>
                  <a:lnTo>
                    <a:pt x="2261" y="669"/>
                  </a:lnTo>
                  <a:lnTo>
                    <a:pt x="2232" y="715"/>
                  </a:lnTo>
                  <a:lnTo>
                    <a:pt x="2204" y="762"/>
                  </a:lnTo>
                  <a:lnTo>
                    <a:pt x="2178" y="810"/>
                  </a:lnTo>
                  <a:lnTo>
                    <a:pt x="2153" y="859"/>
                  </a:lnTo>
                  <a:lnTo>
                    <a:pt x="2131" y="909"/>
                  </a:lnTo>
                  <a:lnTo>
                    <a:pt x="2110" y="960"/>
                  </a:lnTo>
                  <a:lnTo>
                    <a:pt x="2091" y="1012"/>
                  </a:lnTo>
                  <a:lnTo>
                    <a:pt x="2073" y="1064"/>
                  </a:lnTo>
                  <a:lnTo>
                    <a:pt x="2058" y="1117"/>
                  </a:lnTo>
                  <a:lnTo>
                    <a:pt x="2044" y="1171"/>
                  </a:lnTo>
                  <a:lnTo>
                    <a:pt x="2033" y="1226"/>
                  </a:lnTo>
                  <a:lnTo>
                    <a:pt x="2024" y="1281"/>
                  </a:lnTo>
                  <a:lnTo>
                    <a:pt x="2017" y="1336"/>
                  </a:lnTo>
                  <a:lnTo>
                    <a:pt x="2011" y="1392"/>
                  </a:lnTo>
                  <a:lnTo>
                    <a:pt x="2008" y="1448"/>
                  </a:lnTo>
                  <a:lnTo>
                    <a:pt x="2007" y="1506"/>
                  </a:lnTo>
                  <a:lnTo>
                    <a:pt x="2006" y="8410"/>
                  </a:lnTo>
                  <a:lnTo>
                    <a:pt x="442" y="9976"/>
                  </a:lnTo>
                  <a:lnTo>
                    <a:pt x="387" y="10032"/>
                  </a:lnTo>
                  <a:lnTo>
                    <a:pt x="338" y="10090"/>
                  </a:lnTo>
                  <a:lnTo>
                    <a:pt x="291" y="10150"/>
                  </a:lnTo>
                  <a:lnTo>
                    <a:pt x="248" y="10212"/>
                  </a:lnTo>
                  <a:lnTo>
                    <a:pt x="209" y="10275"/>
                  </a:lnTo>
                  <a:lnTo>
                    <a:pt x="173" y="10340"/>
                  </a:lnTo>
                  <a:lnTo>
                    <a:pt x="140" y="10406"/>
                  </a:lnTo>
                  <a:lnTo>
                    <a:pt x="110" y="10473"/>
                  </a:lnTo>
                  <a:lnTo>
                    <a:pt x="84" y="10542"/>
                  </a:lnTo>
                  <a:lnTo>
                    <a:pt x="62" y="10611"/>
                  </a:lnTo>
                  <a:lnTo>
                    <a:pt x="43" y="10681"/>
                  </a:lnTo>
                  <a:lnTo>
                    <a:pt x="28" y="10753"/>
                  </a:lnTo>
                  <a:lnTo>
                    <a:pt x="16" y="10824"/>
                  </a:lnTo>
                  <a:lnTo>
                    <a:pt x="7" y="10896"/>
                  </a:lnTo>
                  <a:lnTo>
                    <a:pt x="2" y="10967"/>
                  </a:lnTo>
                  <a:lnTo>
                    <a:pt x="0" y="11040"/>
                  </a:lnTo>
                  <a:lnTo>
                    <a:pt x="2" y="11112"/>
                  </a:lnTo>
                  <a:lnTo>
                    <a:pt x="7" y="11184"/>
                  </a:lnTo>
                  <a:lnTo>
                    <a:pt x="16" y="11256"/>
                  </a:lnTo>
                  <a:lnTo>
                    <a:pt x="28" y="11328"/>
                  </a:lnTo>
                  <a:lnTo>
                    <a:pt x="43" y="11398"/>
                  </a:lnTo>
                  <a:lnTo>
                    <a:pt x="62" y="11468"/>
                  </a:lnTo>
                  <a:lnTo>
                    <a:pt x="84" y="11538"/>
                  </a:lnTo>
                  <a:lnTo>
                    <a:pt x="110" y="11607"/>
                  </a:lnTo>
                  <a:lnTo>
                    <a:pt x="140" y="11674"/>
                  </a:lnTo>
                  <a:lnTo>
                    <a:pt x="173" y="11740"/>
                  </a:lnTo>
                  <a:lnTo>
                    <a:pt x="209" y="11804"/>
                  </a:lnTo>
                  <a:lnTo>
                    <a:pt x="248" y="11869"/>
                  </a:lnTo>
                  <a:lnTo>
                    <a:pt x="291" y="11930"/>
                  </a:lnTo>
                  <a:lnTo>
                    <a:pt x="338" y="11990"/>
                  </a:lnTo>
                  <a:lnTo>
                    <a:pt x="387" y="12048"/>
                  </a:lnTo>
                  <a:lnTo>
                    <a:pt x="442" y="12104"/>
                  </a:lnTo>
                  <a:lnTo>
                    <a:pt x="3953" y="15617"/>
                  </a:lnTo>
                  <a:lnTo>
                    <a:pt x="3981" y="15644"/>
                  </a:lnTo>
                  <a:lnTo>
                    <a:pt x="4009" y="15671"/>
                  </a:lnTo>
                  <a:lnTo>
                    <a:pt x="4039" y="15696"/>
                  </a:lnTo>
                  <a:lnTo>
                    <a:pt x="4069" y="15721"/>
                  </a:lnTo>
                  <a:lnTo>
                    <a:pt x="4098" y="15744"/>
                  </a:lnTo>
                  <a:lnTo>
                    <a:pt x="4128" y="15767"/>
                  </a:lnTo>
                  <a:lnTo>
                    <a:pt x="4159" y="15789"/>
                  </a:lnTo>
                  <a:lnTo>
                    <a:pt x="4190" y="15810"/>
                  </a:lnTo>
                  <a:lnTo>
                    <a:pt x="4222" y="15830"/>
                  </a:lnTo>
                  <a:lnTo>
                    <a:pt x="4253" y="15849"/>
                  </a:lnTo>
                  <a:lnTo>
                    <a:pt x="4286" y="15868"/>
                  </a:lnTo>
                  <a:lnTo>
                    <a:pt x="4319" y="15885"/>
                  </a:lnTo>
                  <a:lnTo>
                    <a:pt x="4352" y="15902"/>
                  </a:lnTo>
                  <a:lnTo>
                    <a:pt x="4385" y="15918"/>
                  </a:lnTo>
                  <a:lnTo>
                    <a:pt x="4418" y="15934"/>
                  </a:lnTo>
                  <a:lnTo>
                    <a:pt x="4452" y="15948"/>
                  </a:lnTo>
                  <a:lnTo>
                    <a:pt x="4486" y="15961"/>
                  </a:lnTo>
                  <a:lnTo>
                    <a:pt x="4520" y="15974"/>
                  </a:lnTo>
                  <a:lnTo>
                    <a:pt x="4555" y="15986"/>
                  </a:lnTo>
                  <a:lnTo>
                    <a:pt x="4591" y="15996"/>
                  </a:lnTo>
                  <a:lnTo>
                    <a:pt x="4625" y="16006"/>
                  </a:lnTo>
                  <a:lnTo>
                    <a:pt x="4660" y="16015"/>
                  </a:lnTo>
                  <a:lnTo>
                    <a:pt x="4696" y="16023"/>
                  </a:lnTo>
                  <a:lnTo>
                    <a:pt x="4731" y="16031"/>
                  </a:lnTo>
                  <a:lnTo>
                    <a:pt x="4767" y="16037"/>
                  </a:lnTo>
                  <a:lnTo>
                    <a:pt x="4802" y="16043"/>
                  </a:lnTo>
                  <a:lnTo>
                    <a:pt x="4838" y="16047"/>
                  </a:lnTo>
                  <a:lnTo>
                    <a:pt x="4875" y="16051"/>
                  </a:lnTo>
                  <a:lnTo>
                    <a:pt x="4911" y="16054"/>
                  </a:lnTo>
                  <a:lnTo>
                    <a:pt x="4946" y="16056"/>
                  </a:lnTo>
                  <a:lnTo>
                    <a:pt x="4982" y="16058"/>
                  </a:lnTo>
                  <a:lnTo>
                    <a:pt x="5018" y="16058"/>
                  </a:lnTo>
                  <a:lnTo>
                    <a:pt x="5054" y="16058"/>
                  </a:lnTo>
                  <a:lnTo>
                    <a:pt x="5090" y="16056"/>
                  </a:lnTo>
                  <a:lnTo>
                    <a:pt x="5127" y="16054"/>
                  </a:lnTo>
                  <a:lnTo>
                    <a:pt x="5163" y="16051"/>
                  </a:lnTo>
                  <a:lnTo>
                    <a:pt x="5199" y="16047"/>
                  </a:lnTo>
                  <a:lnTo>
                    <a:pt x="5235" y="16043"/>
                  </a:lnTo>
                  <a:lnTo>
                    <a:pt x="5270" y="16037"/>
                  </a:lnTo>
                  <a:lnTo>
                    <a:pt x="5306" y="16031"/>
                  </a:lnTo>
                  <a:lnTo>
                    <a:pt x="5341" y="16023"/>
                  </a:lnTo>
                  <a:lnTo>
                    <a:pt x="5376" y="16015"/>
                  </a:lnTo>
                  <a:lnTo>
                    <a:pt x="5413" y="16006"/>
                  </a:lnTo>
                  <a:lnTo>
                    <a:pt x="5447" y="15996"/>
                  </a:lnTo>
                  <a:lnTo>
                    <a:pt x="5482" y="15986"/>
                  </a:lnTo>
                  <a:lnTo>
                    <a:pt x="5517" y="15974"/>
                  </a:lnTo>
                  <a:lnTo>
                    <a:pt x="5551" y="15961"/>
                  </a:lnTo>
                  <a:lnTo>
                    <a:pt x="5585" y="15948"/>
                  </a:lnTo>
                  <a:lnTo>
                    <a:pt x="5618" y="15934"/>
                  </a:lnTo>
                  <a:lnTo>
                    <a:pt x="5652" y="15918"/>
                  </a:lnTo>
                  <a:lnTo>
                    <a:pt x="5686" y="15902"/>
                  </a:lnTo>
                  <a:lnTo>
                    <a:pt x="5719" y="15885"/>
                  </a:lnTo>
                  <a:lnTo>
                    <a:pt x="5751" y="15868"/>
                  </a:lnTo>
                  <a:lnTo>
                    <a:pt x="5783" y="15849"/>
                  </a:lnTo>
                  <a:lnTo>
                    <a:pt x="5815" y="15830"/>
                  </a:lnTo>
                  <a:lnTo>
                    <a:pt x="5846" y="15810"/>
                  </a:lnTo>
                  <a:lnTo>
                    <a:pt x="5877" y="15789"/>
                  </a:lnTo>
                  <a:lnTo>
                    <a:pt x="5908" y="15767"/>
                  </a:lnTo>
                  <a:lnTo>
                    <a:pt x="5938" y="15744"/>
                  </a:lnTo>
                  <a:lnTo>
                    <a:pt x="5969" y="15721"/>
                  </a:lnTo>
                  <a:lnTo>
                    <a:pt x="5998" y="15696"/>
                  </a:lnTo>
                  <a:lnTo>
                    <a:pt x="6027" y="15671"/>
                  </a:lnTo>
                  <a:lnTo>
                    <a:pt x="6055" y="15644"/>
                  </a:lnTo>
                  <a:lnTo>
                    <a:pt x="6083" y="15617"/>
                  </a:lnTo>
                  <a:lnTo>
                    <a:pt x="7649" y="14051"/>
                  </a:lnTo>
                  <a:lnTo>
                    <a:pt x="14552" y="14051"/>
                  </a:lnTo>
                  <a:lnTo>
                    <a:pt x="14609" y="14050"/>
                  </a:lnTo>
                  <a:lnTo>
                    <a:pt x="14665" y="14047"/>
                  </a:lnTo>
                  <a:lnTo>
                    <a:pt x="14721" y="14042"/>
                  </a:lnTo>
                  <a:lnTo>
                    <a:pt x="14777" y="14034"/>
                  </a:lnTo>
                  <a:lnTo>
                    <a:pt x="14832" y="14025"/>
                  </a:lnTo>
                  <a:lnTo>
                    <a:pt x="14887" y="14013"/>
                  </a:lnTo>
                  <a:lnTo>
                    <a:pt x="14940" y="14000"/>
                  </a:lnTo>
                  <a:lnTo>
                    <a:pt x="14993" y="13984"/>
                  </a:lnTo>
                  <a:lnTo>
                    <a:pt x="15046" y="13967"/>
                  </a:lnTo>
                  <a:lnTo>
                    <a:pt x="15098" y="13948"/>
                  </a:lnTo>
                  <a:lnTo>
                    <a:pt x="15149" y="13928"/>
                  </a:lnTo>
                  <a:lnTo>
                    <a:pt x="15198" y="13905"/>
                  </a:lnTo>
                  <a:lnTo>
                    <a:pt x="15247" y="13881"/>
                  </a:lnTo>
                  <a:lnTo>
                    <a:pt x="15295" y="13855"/>
                  </a:lnTo>
                  <a:lnTo>
                    <a:pt x="15342" y="13827"/>
                  </a:lnTo>
                  <a:lnTo>
                    <a:pt x="15389" y="13798"/>
                  </a:lnTo>
                  <a:lnTo>
                    <a:pt x="15434" y="13767"/>
                  </a:lnTo>
                  <a:lnTo>
                    <a:pt x="15477" y="13733"/>
                  </a:lnTo>
                  <a:lnTo>
                    <a:pt x="15520" y="13699"/>
                  </a:lnTo>
                  <a:lnTo>
                    <a:pt x="15561" y="13663"/>
                  </a:lnTo>
                  <a:lnTo>
                    <a:pt x="15601" y="13626"/>
                  </a:lnTo>
                  <a:lnTo>
                    <a:pt x="15639" y="13587"/>
                  </a:lnTo>
                  <a:lnTo>
                    <a:pt x="15677" y="13546"/>
                  </a:lnTo>
                  <a:lnTo>
                    <a:pt x="15713" y="13505"/>
                  </a:lnTo>
                  <a:lnTo>
                    <a:pt x="15747" y="13461"/>
                  </a:lnTo>
                  <a:lnTo>
                    <a:pt x="15780" y="13416"/>
                  </a:lnTo>
                  <a:lnTo>
                    <a:pt x="15811" y="13371"/>
                  </a:lnTo>
                  <a:lnTo>
                    <a:pt x="15841" y="13323"/>
                  </a:lnTo>
                  <a:lnTo>
                    <a:pt x="15869" y="13275"/>
                  </a:lnTo>
                  <a:lnTo>
                    <a:pt x="15895" y="13225"/>
                  </a:lnTo>
                  <a:lnTo>
                    <a:pt x="15919" y="13174"/>
                  </a:lnTo>
                  <a:lnTo>
                    <a:pt x="15943" y="13122"/>
                  </a:lnTo>
                  <a:lnTo>
                    <a:pt x="15964" y="13069"/>
                  </a:lnTo>
                  <a:lnTo>
                    <a:pt x="15982" y="13016"/>
                  </a:lnTo>
                  <a:lnTo>
                    <a:pt x="15999" y="12962"/>
                  </a:lnTo>
                  <a:lnTo>
                    <a:pt x="16013" y="12907"/>
                  </a:lnTo>
                  <a:lnTo>
                    <a:pt x="16026" y="12853"/>
                  </a:lnTo>
                  <a:lnTo>
                    <a:pt x="16036" y="12798"/>
                  </a:lnTo>
                  <a:lnTo>
                    <a:pt x="16044" y="12744"/>
                  </a:lnTo>
                  <a:lnTo>
                    <a:pt x="16051" y="12689"/>
                  </a:lnTo>
                  <a:lnTo>
                    <a:pt x="16055" y="12633"/>
                  </a:lnTo>
                  <a:lnTo>
                    <a:pt x="16057" y="12579"/>
                  </a:lnTo>
                  <a:lnTo>
                    <a:pt x="16057" y="12524"/>
                  </a:lnTo>
                  <a:lnTo>
                    <a:pt x="16056" y="12469"/>
                  </a:lnTo>
                  <a:lnTo>
                    <a:pt x="16052" y="12415"/>
                  </a:lnTo>
                  <a:lnTo>
                    <a:pt x="16046" y="12359"/>
                  </a:lnTo>
                  <a:lnTo>
                    <a:pt x="16038" y="12306"/>
                  </a:lnTo>
                  <a:lnTo>
                    <a:pt x="16029" y="12252"/>
                  </a:lnTo>
                  <a:lnTo>
                    <a:pt x="16017" y="12199"/>
                  </a:lnTo>
                  <a:lnTo>
                    <a:pt x="16004" y="12146"/>
                  </a:lnTo>
                  <a:lnTo>
                    <a:pt x="15988" y="12093"/>
                  </a:lnTo>
                  <a:lnTo>
                    <a:pt x="15971" y="12041"/>
                  </a:lnTo>
                  <a:lnTo>
                    <a:pt x="15951" y="11990"/>
                  </a:lnTo>
                  <a:lnTo>
                    <a:pt x="15930" y="11939"/>
                  </a:lnTo>
                  <a:lnTo>
                    <a:pt x="15906" y="11889"/>
                  </a:lnTo>
                  <a:lnTo>
                    <a:pt x="15881" y="11840"/>
                  </a:lnTo>
                  <a:lnTo>
                    <a:pt x="15855" y="11791"/>
                  </a:lnTo>
                  <a:lnTo>
                    <a:pt x="15826" y="11744"/>
                  </a:lnTo>
                  <a:lnTo>
                    <a:pt x="15796" y="11698"/>
                  </a:lnTo>
                  <a:lnTo>
                    <a:pt x="15763" y="11652"/>
                  </a:lnTo>
                  <a:lnTo>
                    <a:pt x="15729" y="11608"/>
                  </a:lnTo>
                  <a:lnTo>
                    <a:pt x="15694" y="11564"/>
                  </a:lnTo>
                  <a:lnTo>
                    <a:pt x="15656" y="11522"/>
                  </a:lnTo>
                  <a:lnTo>
                    <a:pt x="15615" y="11481"/>
                  </a:lnTo>
                  <a:lnTo>
                    <a:pt x="4578" y="4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7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94" name="iš1îḍê">
              <a:extLst>
                <a:ext uri="{FF2B5EF4-FFF2-40B4-BE49-F238E27FC236}">
                  <a16:creationId xmlns:a16="http://schemas.microsoft.com/office/drawing/2014/main" id="{61DDB54F-C4A8-438A-8519-96090B6F02A8}"/>
                </a:ext>
              </a:extLst>
            </p:cNvPr>
            <p:cNvSpPr/>
            <p:nvPr/>
          </p:nvSpPr>
          <p:spPr bwMode="auto">
            <a:xfrm>
              <a:off x="6805566" y="48993"/>
              <a:ext cx="153089" cy="153089"/>
            </a:xfrm>
            <a:custGeom>
              <a:avLst/>
              <a:gdLst>
                <a:gd name="T0" fmla="*/ 1116 w 7527"/>
                <a:gd name="T1" fmla="*/ 1037 h 7528"/>
                <a:gd name="T2" fmla="*/ 2289 w 7527"/>
                <a:gd name="T3" fmla="*/ 1277 h 7528"/>
                <a:gd name="T4" fmla="*/ 3369 w 7527"/>
                <a:gd name="T5" fmla="*/ 1733 h 7528"/>
                <a:gd name="T6" fmla="*/ 4329 w 7527"/>
                <a:gd name="T7" fmla="*/ 2383 h 7528"/>
                <a:gd name="T8" fmla="*/ 5145 w 7527"/>
                <a:gd name="T9" fmla="*/ 3200 h 7528"/>
                <a:gd name="T10" fmla="*/ 5795 w 7527"/>
                <a:gd name="T11" fmla="*/ 4159 h 7528"/>
                <a:gd name="T12" fmla="*/ 6251 w 7527"/>
                <a:gd name="T13" fmla="*/ 5239 h 7528"/>
                <a:gd name="T14" fmla="*/ 6491 w 7527"/>
                <a:gd name="T15" fmla="*/ 6413 h 7528"/>
                <a:gd name="T16" fmla="*/ 6524 w 7527"/>
                <a:gd name="T17" fmla="*/ 7053 h 7528"/>
                <a:gd name="T18" fmla="*/ 6539 w 7527"/>
                <a:gd name="T19" fmla="*/ 7152 h 7528"/>
                <a:gd name="T20" fmla="*/ 6574 w 7527"/>
                <a:gd name="T21" fmla="*/ 7245 h 7528"/>
                <a:gd name="T22" fmla="*/ 6624 w 7527"/>
                <a:gd name="T23" fmla="*/ 7327 h 7528"/>
                <a:gd name="T24" fmla="*/ 6689 w 7527"/>
                <a:gd name="T25" fmla="*/ 7398 h 7528"/>
                <a:gd name="T26" fmla="*/ 6765 w 7527"/>
                <a:gd name="T27" fmla="*/ 7455 h 7528"/>
                <a:gd name="T28" fmla="*/ 6854 w 7527"/>
                <a:gd name="T29" fmla="*/ 7498 h 7528"/>
                <a:gd name="T30" fmla="*/ 6949 w 7527"/>
                <a:gd name="T31" fmla="*/ 7522 h 7528"/>
                <a:gd name="T32" fmla="*/ 7051 w 7527"/>
                <a:gd name="T33" fmla="*/ 7527 h 7528"/>
                <a:gd name="T34" fmla="*/ 7151 w 7527"/>
                <a:gd name="T35" fmla="*/ 7512 h 7528"/>
                <a:gd name="T36" fmla="*/ 7243 w 7527"/>
                <a:gd name="T37" fmla="*/ 7478 h 7528"/>
                <a:gd name="T38" fmla="*/ 7325 w 7527"/>
                <a:gd name="T39" fmla="*/ 7428 h 7528"/>
                <a:gd name="T40" fmla="*/ 7397 w 7527"/>
                <a:gd name="T41" fmla="*/ 7363 h 7528"/>
                <a:gd name="T42" fmla="*/ 7455 w 7527"/>
                <a:gd name="T43" fmla="*/ 7286 h 7528"/>
                <a:gd name="T44" fmla="*/ 7497 w 7527"/>
                <a:gd name="T45" fmla="*/ 7198 h 7528"/>
                <a:gd name="T46" fmla="*/ 7521 w 7527"/>
                <a:gd name="T47" fmla="*/ 7102 h 7528"/>
                <a:gd name="T48" fmla="*/ 7526 w 7527"/>
                <a:gd name="T49" fmla="*/ 7024 h 7528"/>
                <a:gd name="T50" fmla="*/ 7445 w 7527"/>
                <a:gd name="T51" fmla="*/ 5954 h 7528"/>
                <a:gd name="T52" fmla="*/ 7099 w 7527"/>
                <a:gd name="T53" fmla="*/ 4610 h 7528"/>
                <a:gd name="T54" fmla="*/ 6509 w 7527"/>
                <a:gd name="T55" fmla="*/ 3385 h 7528"/>
                <a:gd name="T56" fmla="*/ 5703 w 7527"/>
                <a:gd name="T57" fmla="*/ 2306 h 7528"/>
                <a:gd name="T58" fmla="*/ 4709 w 7527"/>
                <a:gd name="T59" fmla="*/ 1401 h 7528"/>
                <a:gd name="T60" fmla="*/ 3554 w 7527"/>
                <a:gd name="T61" fmla="*/ 699 h 7528"/>
                <a:gd name="T62" fmla="*/ 2267 w 7527"/>
                <a:gd name="T63" fmla="*/ 227 h 7528"/>
                <a:gd name="T64" fmla="*/ 875 w 7527"/>
                <a:gd name="T65" fmla="*/ 13 h 7528"/>
                <a:gd name="T66" fmla="*/ 477 w 7527"/>
                <a:gd name="T67" fmla="*/ 1 h 7528"/>
                <a:gd name="T68" fmla="*/ 376 w 7527"/>
                <a:gd name="T69" fmla="*/ 16 h 7528"/>
                <a:gd name="T70" fmla="*/ 284 w 7527"/>
                <a:gd name="T71" fmla="*/ 49 h 7528"/>
                <a:gd name="T72" fmla="*/ 202 w 7527"/>
                <a:gd name="T73" fmla="*/ 99 h 7528"/>
                <a:gd name="T74" fmla="*/ 130 w 7527"/>
                <a:gd name="T75" fmla="*/ 165 h 7528"/>
                <a:gd name="T76" fmla="*/ 73 w 7527"/>
                <a:gd name="T77" fmla="*/ 242 h 7528"/>
                <a:gd name="T78" fmla="*/ 31 w 7527"/>
                <a:gd name="T79" fmla="*/ 329 h 7528"/>
                <a:gd name="T80" fmla="*/ 6 w 7527"/>
                <a:gd name="T81" fmla="*/ 426 h 7528"/>
                <a:gd name="T82" fmla="*/ 1 w 7527"/>
                <a:gd name="T83" fmla="*/ 528 h 7528"/>
                <a:gd name="T84" fmla="*/ 16 w 7527"/>
                <a:gd name="T85" fmla="*/ 627 h 7528"/>
                <a:gd name="T86" fmla="*/ 50 w 7527"/>
                <a:gd name="T87" fmla="*/ 720 h 7528"/>
                <a:gd name="T88" fmla="*/ 100 w 7527"/>
                <a:gd name="T89" fmla="*/ 802 h 7528"/>
                <a:gd name="T90" fmla="*/ 164 w 7527"/>
                <a:gd name="T91" fmla="*/ 873 h 7528"/>
                <a:gd name="T92" fmla="*/ 242 w 7527"/>
                <a:gd name="T93" fmla="*/ 930 h 7528"/>
                <a:gd name="T94" fmla="*/ 329 w 7527"/>
                <a:gd name="T95" fmla="*/ 974 h 7528"/>
                <a:gd name="T96" fmla="*/ 424 w 7527"/>
                <a:gd name="T97" fmla="*/ 998 h 7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527" h="7528">
                  <a:moveTo>
                    <a:pt x="501" y="1004"/>
                  </a:moveTo>
                  <a:lnTo>
                    <a:pt x="501" y="1006"/>
                  </a:lnTo>
                  <a:lnTo>
                    <a:pt x="811" y="1014"/>
                  </a:lnTo>
                  <a:lnTo>
                    <a:pt x="1116" y="1037"/>
                  </a:lnTo>
                  <a:lnTo>
                    <a:pt x="1417" y="1075"/>
                  </a:lnTo>
                  <a:lnTo>
                    <a:pt x="1713" y="1128"/>
                  </a:lnTo>
                  <a:lnTo>
                    <a:pt x="2004" y="1195"/>
                  </a:lnTo>
                  <a:lnTo>
                    <a:pt x="2289" y="1277"/>
                  </a:lnTo>
                  <a:lnTo>
                    <a:pt x="2569" y="1372"/>
                  </a:lnTo>
                  <a:lnTo>
                    <a:pt x="2843" y="1479"/>
                  </a:lnTo>
                  <a:lnTo>
                    <a:pt x="3109" y="1601"/>
                  </a:lnTo>
                  <a:lnTo>
                    <a:pt x="3369" y="1733"/>
                  </a:lnTo>
                  <a:lnTo>
                    <a:pt x="3621" y="1879"/>
                  </a:lnTo>
                  <a:lnTo>
                    <a:pt x="3866" y="2035"/>
                  </a:lnTo>
                  <a:lnTo>
                    <a:pt x="4102" y="2204"/>
                  </a:lnTo>
                  <a:lnTo>
                    <a:pt x="4329" y="2383"/>
                  </a:lnTo>
                  <a:lnTo>
                    <a:pt x="4547" y="2572"/>
                  </a:lnTo>
                  <a:lnTo>
                    <a:pt x="4757" y="2771"/>
                  </a:lnTo>
                  <a:lnTo>
                    <a:pt x="4957" y="2981"/>
                  </a:lnTo>
                  <a:lnTo>
                    <a:pt x="5145" y="3200"/>
                  </a:lnTo>
                  <a:lnTo>
                    <a:pt x="5325" y="3427"/>
                  </a:lnTo>
                  <a:lnTo>
                    <a:pt x="5493" y="3663"/>
                  </a:lnTo>
                  <a:lnTo>
                    <a:pt x="5649" y="3907"/>
                  </a:lnTo>
                  <a:lnTo>
                    <a:pt x="5795" y="4159"/>
                  </a:lnTo>
                  <a:lnTo>
                    <a:pt x="5928" y="4419"/>
                  </a:lnTo>
                  <a:lnTo>
                    <a:pt x="6049" y="4686"/>
                  </a:lnTo>
                  <a:lnTo>
                    <a:pt x="6156" y="4959"/>
                  </a:lnTo>
                  <a:lnTo>
                    <a:pt x="6251" y="5239"/>
                  </a:lnTo>
                  <a:lnTo>
                    <a:pt x="6333" y="5524"/>
                  </a:lnTo>
                  <a:lnTo>
                    <a:pt x="6400" y="5815"/>
                  </a:lnTo>
                  <a:lnTo>
                    <a:pt x="6453" y="6111"/>
                  </a:lnTo>
                  <a:lnTo>
                    <a:pt x="6491" y="6413"/>
                  </a:lnTo>
                  <a:lnTo>
                    <a:pt x="6514" y="6718"/>
                  </a:lnTo>
                  <a:lnTo>
                    <a:pt x="6522" y="7028"/>
                  </a:lnTo>
                  <a:lnTo>
                    <a:pt x="6523" y="7028"/>
                  </a:lnTo>
                  <a:lnTo>
                    <a:pt x="6524" y="7053"/>
                  </a:lnTo>
                  <a:lnTo>
                    <a:pt x="6526" y="7079"/>
                  </a:lnTo>
                  <a:lnTo>
                    <a:pt x="6529" y="7104"/>
                  </a:lnTo>
                  <a:lnTo>
                    <a:pt x="6534" y="7128"/>
                  </a:lnTo>
                  <a:lnTo>
                    <a:pt x="6539" y="7152"/>
                  </a:lnTo>
                  <a:lnTo>
                    <a:pt x="6546" y="7176"/>
                  </a:lnTo>
                  <a:lnTo>
                    <a:pt x="6554" y="7199"/>
                  </a:lnTo>
                  <a:lnTo>
                    <a:pt x="6564" y="7223"/>
                  </a:lnTo>
                  <a:lnTo>
                    <a:pt x="6574" y="7245"/>
                  </a:lnTo>
                  <a:lnTo>
                    <a:pt x="6585" y="7266"/>
                  </a:lnTo>
                  <a:lnTo>
                    <a:pt x="6597" y="7287"/>
                  </a:lnTo>
                  <a:lnTo>
                    <a:pt x="6610" y="7307"/>
                  </a:lnTo>
                  <a:lnTo>
                    <a:pt x="6624" y="7327"/>
                  </a:lnTo>
                  <a:lnTo>
                    <a:pt x="6639" y="7346"/>
                  </a:lnTo>
                  <a:lnTo>
                    <a:pt x="6655" y="7364"/>
                  </a:lnTo>
                  <a:lnTo>
                    <a:pt x="6671" y="7381"/>
                  </a:lnTo>
                  <a:lnTo>
                    <a:pt x="6689" y="7398"/>
                  </a:lnTo>
                  <a:lnTo>
                    <a:pt x="6707" y="7413"/>
                  </a:lnTo>
                  <a:lnTo>
                    <a:pt x="6725" y="7428"/>
                  </a:lnTo>
                  <a:lnTo>
                    <a:pt x="6745" y="7442"/>
                  </a:lnTo>
                  <a:lnTo>
                    <a:pt x="6765" y="7455"/>
                  </a:lnTo>
                  <a:lnTo>
                    <a:pt x="6786" y="7467"/>
                  </a:lnTo>
                  <a:lnTo>
                    <a:pt x="6808" y="7478"/>
                  </a:lnTo>
                  <a:lnTo>
                    <a:pt x="6830" y="7489"/>
                  </a:lnTo>
                  <a:lnTo>
                    <a:pt x="6854" y="7498"/>
                  </a:lnTo>
                  <a:lnTo>
                    <a:pt x="6877" y="7505"/>
                  </a:lnTo>
                  <a:lnTo>
                    <a:pt x="6900" y="7512"/>
                  </a:lnTo>
                  <a:lnTo>
                    <a:pt x="6925" y="7518"/>
                  </a:lnTo>
                  <a:lnTo>
                    <a:pt x="6949" y="7522"/>
                  </a:lnTo>
                  <a:lnTo>
                    <a:pt x="6974" y="7525"/>
                  </a:lnTo>
                  <a:lnTo>
                    <a:pt x="6999" y="7527"/>
                  </a:lnTo>
                  <a:lnTo>
                    <a:pt x="7025" y="7528"/>
                  </a:lnTo>
                  <a:lnTo>
                    <a:pt x="7051" y="7527"/>
                  </a:lnTo>
                  <a:lnTo>
                    <a:pt x="7076" y="7525"/>
                  </a:lnTo>
                  <a:lnTo>
                    <a:pt x="7101" y="7522"/>
                  </a:lnTo>
                  <a:lnTo>
                    <a:pt x="7127" y="7518"/>
                  </a:lnTo>
                  <a:lnTo>
                    <a:pt x="7151" y="7512"/>
                  </a:lnTo>
                  <a:lnTo>
                    <a:pt x="7175" y="7505"/>
                  </a:lnTo>
                  <a:lnTo>
                    <a:pt x="7198" y="7497"/>
                  </a:lnTo>
                  <a:lnTo>
                    <a:pt x="7221" y="7489"/>
                  </a:lnTo>
                  <a:lnTo>
                    <a:pt x="7243" y="7478"/>
                  </a:lnTo>
                  <a:lnTo>
                    <a:pt x="7265" y="7466"/>
                  </a:lnTo>
                  <a:lnTo>
                    <a:pt x="7286" y="7454"/>
                  </a:lnTo>
                  <a:lnTo>
                    <a:pt x="7306" y="7441"/>
                  </a:lnTo>
                  <a:lnTo>
                    <a:pt x="7325" y="7428"/>
                  </a:lnTo>
                  <a:lnTo>
                    <a:pt x="7344" y="7413"/>
                  </a:lnTo>
                  <a:lnTo>
                    <a:pt x="7362" y="7397"/>
                  </a:lnTo>
                  <a:lnTo>
                    <a:pt x="7380" y="7380"/>
                  </a:lnTo>
                  <a:lnTo>
                    <a:pt x="7397" y="7363"/>
                  </a:lnTo>
                  <a:lnTo>
                    <a:pt x="7413" y="7345"/>
                  </a:lnTo>
                  <a:lnTo>
                    <a:pt x="7428" y="7326"/>
                  </a:lnTo>
                  <a:lnTo>
                    <a:pt x="7442" y="7306"/>
                  </a:lnTo>
                  <a:lnTo>
                    <a:pt x="7455" y="7286"/>
                  </a:lnTo>
                  <a:lnTo>
                    <a:pt x="7467" y="7265"/>
                  </a:lnTo>
                  <a:lnTo>
                    <a:pt x="7478" y="7244"/>
                  </a:lnTo>
                  <a:lnTo>
                    <a:pt x="7488" y="7222"/>
                  </a:lnTo>
                  <a:lnTo>
                    <a:pt x="7497" y="7198"/>
                  </a:lnTo>
                  <a:lnTo>
                    <a:pt x="7505" y="7175"/>
                  </a:lnTo>
                  <a:lnTo>
                    <a:pt x="7511" y="7151"/>
                  </a:lnTo>
                  <a:lnTo>
                    <a:pt x="7517" y="7127"/>
                  </a:lnTo>
                  <a:lnTo>
                    <a:pt x="7521" y="7102"/>
                  </a:lnTo>
                  <a:lnTo>
                    <a:pt x="7524" y="7077"/>
                  </a:lnTo>
                  <a:lnTo>
                    <a:pt x="7526" y="7052"/>
                  </a:lnTo>
                  <a:lnTo>
                    <a:pt x="7527" y="7026"/>
                  </a:lnTo>
                  <a:lnTo>
                    <a:pt x="7526" y="7024"/>
                  </a:lnTo>
                  <a:lnTo>
                    <a:pt x="7526" y="7022"/>
                  </a:lnTo>
                  <a:lnTo>
                    <a:pt x="7517" y="6660"/>
                  </a:lnTo>
                  <a:lnTo>
                    <a:pt x="7489" y="6304"/>
                  </a:lnTo>
                  <a:lnTo>
                    <a:pt x="7445" y="5954"/>
                  </a:lnTo>
                  <a:lnTo>
                    <a:pt x="7382" y="5609"/>
                  </a:lnTo>
                  <a:lnTo>
                    <a:pt x="7304" y="5269"/>
                  </a:lnTo>
                  <a:lnTo>
                    <a:pt x="7210" y="4936"/>
                  </a:lnTo>
                  <a:lnTo>
                    <a:pt x="7099" y="4610"/>
                  </a:lnTo>
                  <a:lnTo>
                    <a:pt x="6974" y="4292"/>
                  </a:lnTo>
                  <a:lnTo>
                    <a:pt x="6833" y="3982"/>
                  </a:lnTo>
                  <a:lnTo>
                    <a:pt x="6679" y="3679"/>
                  </a:lnTo>
                  <a:lnTo>
                    <a:pt x="6509" y="3385"/>
                  </a:lnTo>
                  <a:lnTo>
                    <a:pt x="6328" y="3100"/>
                  </a:lnTo>
                  <a:lnTo>
                    <a:pt x="6132" y="2825"/>
                  </a:lnTo>
                  <a:lnTo>
                    <a:pt x="5923" y="2560"/>
                  </a:lnTo>
                  <a:lnTo>
                    <a:pt x="5703" y="2306"/>
                  </a:lnTo>
                  <a:lnTo>
                    <a:pt x="5472" y="2063"/>
                  </a:lnTo>
                  <a:lnTo>
                    <a:pt x="5228" y="1830"/>
                  </a:lnTo>
                  <a:lnTo>
                    <a:pt x="4974" y="1610"/>
                  </a:lnTo>
                  <a:lnTo>
                    <a:pt x="4709" y="1401"/>
                  </a:lnTo>
                  <a:lnTo>
                    <a:pt x="4434" y="1205"/>
                  </a:lnTo>
                  <a:lnTo>
                    <a:pt x="4150" y="1023"/>
                  </a:lnTo>
                  <a:lnTo>
                    <a:pt x="3856" y="854"/>
                  </a:lnTo>
                  <a:lnTo>
                    <a:pt x="3554" y="699"/>
                  </a:lnTo>
                  <a:lnTo>
                    <a:pt x="3244" y="558"/>
                  </a:lnTo>
                  <a:lnTo>
                    <a:pt x="2925" y="433"/>
                  </a:lnTo>
                  <a:lnTo>
                    <a:pt x="2599" y="321"/>
                  </a:lnTo>
                  <a:lnTo>
                    <a:pt x="2267" y="227"/>
                  </a:lnTo>
                  <a:lnTo>
                    <a:pt x="1928" y="148"/>
                  </a:lnTo>
                  <a:lnTo>
                    <a:pt x="1583" y="85"/>
                  </a:lnTo>
                  <a:lnTo>
                    <a:pt x="1231" y="40"/>
                  </a:lnTo>
                  <a:lnTo>
                    <a:pt x="875" y="13"/>
                  </a:lnTo>
                  <a:lnTo>
                    <a:pt x="515" y="3"/>
                  </a:lnTo>
                  <a:lnTo>
                    <a:pt x="509" y="2"/>
                  </a:lnTo>
                  <a:lnTo>
                    <a:pt x="502" y="0"/>
                  </a:lnTo>
                  <a:lnTo>
                    <a:pt x="477" y="1"/>
                  </a:lnTo>
                  <a:lnTo>
                    <a:pt x="450" y="3"/>
                  </a:lnTo>
                  <a:lnTo>
                    <a:pt x="425" y="6"/>
                  </a:lnTo>
                  <a:lnTo>
                    <a:pt x="401" y="10"/>
                  </a:lnTo>
                  <a:lnTo>
                    <a:pt x="376" y="16"/>
                  </a:lnTo>
                  <a:lnTo>
                    <a:pt x="353" y="23"/>
                  </a:lnTo>
                  <a:lnTo>
                    <a:pt x="329" y="30"/>
                  </a:lnTo>
                  <a:lnTo>
                    <a:pt x="307" y="39"/>
                  </a:lnTo>
                  <a:lnTo>
                    <a:pt x="284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2" y="85"/>
                  </a:lnTo>
                  <a:lnTo>
                    <a:pt x="202" y="99"/>
                  </a:lnTo>
                  <a:lnTo>
                    <a:pt x="182" y="114"/>
                  </a:lnTo>
                  <a:lnTo>
                    <a:pt x="164" y="130"/>
                  </a:lnTo>
                  <a:lnTo>
                    <a:pt x="147" y="147"/>
                  </a:lnTo>
                  <a:lnTo>
                    <a:pt x="130" y="165"/>
                  </a:lnTo>
                  <a:lnTo>
                    <a:pt x="114" y="183"/>
                  </a:lnTo>
                  <a:lnTo>
                    <a:pt x="100" y="202"/>
                  </a:lnTo>
                  <a:lnTo>
                    <a:pt x="86" y="221"/>
                  </a:lnTo>
                  <a:lnTo>
                    <a:pt x="73" y="242"/>
                  </a:lnTo>
                  <a:lnTo>
                    <a:pt x="61" y="263"/>
                  </a:lnTo>
                  <a:lnTo>
                    <a:pt x="50" y="284"/>
                  </a:lnTo>
                  <a:lnTo>
                    <a:pt x="40" y="306"/>
                  </a:lnTo>
                  <a:lnTo>
                    <a:pt x="31" y="329"/>
                  </a:lnTo>
                  <a:lnTo>
                    <a:pt x="23" y="352"/>
                  </a:lnTo>
                  <a:lnTo>
                    <a:pt x="16" y="376"/>
                  </a:lnTo>
                  <a:lnTo>
                    <a:pt x="10" y="400"/>
                  </a:lnTo>
                  <a:lnTo>
                    <a:pt x="6" y="426"/>
                  </a:lnTo>
                  <a:lnTo>
                    <a:pt x="3" y="451"/>
                  </a:lnTo>
                  <a:lnTo>
                    <a:pt x="1" y="476"/>
                  </a:lnTo>
                  <a:lnTo>
                    <a:pt x="0" y="502"/>
                  </a:lnTo>
                  <a:lnTo>
                    <a:pt x="1" y="528"/>
                  </a:lnTo>
                  <a:lnTo>
                    <a:pt x="3" y="553"/>
                  </a:lnTo>
                  <a:lnTo>
                    <a:pt x="6" y="578"/>
                  </a:lnTo>
                  <a:lnTo>
                    <a:pt x="10" y="603"/>
                  </a:lnTo>
                  <a:lnTo>
                    <a:pt x="16" y="627"/>
                  </a:lnTo>
                  <a:lnTo>
                    <a:pt x="23" y="651"/>
                  </a:lnTo>
                  <a:lnTo>
                    <a:pt x="31" y="674"/>
                  </a:lnTo>
                  <a:lnTo>
                    <a:pt x="40" y="698"/>
                  </a:lnTo>
                  <a:lnTo>
                    <a:pt x="50" y="720"/>
                  </a:lnTo>
                  <a:lnTo>
                    <a:pt x="61" y="741"/>
                  </a:lnTo>
                  <a:lnTo>
                    <a:pt x="73" y="762"/>
                  </a:lnTo>
                  <a:lnTo>
                    <a:pt x="86" y="782"/>
                  </a:lnTo>
                  <a:lnTo>
                    <a:pt x="100" y="802"/>
                  </a:lnTo>
                  <a:lnTo>
                    <a:pt x="114" y="821"/>
                  </a:lnTo>
                  <a:lnTo>
                    <a:pt x="130" y="839"/>
                  </a:lnTo>
                  <a:lnTo>
                    <a:pt x="147" y="856"/>
                  </a:lnTo>
                  <a:lnTo>
                    <a:pt x="164" y="873"/>
                  </a:lnTo>
                  <a:lnTo>
                    <a:pt x="182" y="889"/>
                  </a:lnTo>
                  <a:lnTo>
                    <a:pt x="202" y="904"/>
                  </a:lnTo>
                  <a:lnTo>
                    <a:pt x="221" y="917"/>
                  </a:lnTo>
                  <a:lnTo>
                    <a:pt x="242" y="930"/>
                  </a:lnTo>
                  <a:lnTo>
                    <a:pt x="262" y="942"/>
                  </a:lnTo>
                  <a:lnTo>
                    <a:pt x="284" y="955"/>
                  </a:lnTo>
                  <a:lnTo>
                    <a:pt x="306" y="965"/>
                  </a:lnTo>
                  <a:lnTo>
                    <a:pt x="329" y="974"/>
                  </a:lnTo>
                  <a:lnTo>
                    <a:pt x="352" y="981"/>
                  </a:lnTo>
                  <a:lnTo>
                    <a:pt x="376" y="988"/>
                  </a:lnTo>
                  <a:lnTo>
                    <a:pt x="400" y="994"/>
                  </a:lnTo>
                  <a:lnTo>
                    <a:pt x="424" y="998"/>
                  </a:lnTo>
                  <a:lnTo>
                    <a:pt x="449" y="1001"/>
                  </a:lnTo>
                  <a:lnTo>
                    <a:pt x="476" y="1003"/>
                  </a:lnTo>
                  <a:lnTo>
                    <a:pt x="501" y="10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95" name="ísḻîḓè">
              <a:extLst>
                <a:ext uri="{FF2B5EF4-FFF2-40B4-BE49-F238E27FC236}">
                  <a16:creationId xmlns:a16="http://schemas.microsoft.com/office/drawing/2014/main" id="{36330551-30DD-4B84-A21B-E92EBA4B90D1}"/>
                </a:ext>
              </a:extLst>
            </p:cNvPr>
            <p:cNvSpPr/>
            <p:nvPr/>
          </p:nvSpPr>
          <p:spPr bwMode="auto">
            <a:xfrm>
              <a:off x="6926271" y="1010027"/>
              <a:ext cx="415238" cy="402829"/>
            </a:xfrm>
            <a:custGeom>
              <a:avLst/>
              <a:gdLst>
                <a:gd name="T0" fmla="*/ 11715 w 16095"/>
                <a:gd name="T1" fmla="*/ 9432 h 15614"/>
                <a:gd name="T2" fmla="*/ 11598 w 16095"/>
                <a:gd name="T3" fmla="*/ 9669 h 15614"/>
                <a:gd name="T4" fmla="*/ 11540 w 16095"/>
                <a:gd name="T5" fmla="*/ 9924 h 15614"/>
                <a:gd name="T6" fmla="*/ 11544 w 16095"/>
                <a:gd name="T7" fmla="*/ 10189 h 15614"/>
                <a:gd name="T8" fmla="*/ 8441 w 16095"/>
                <a:gd name="T9" fmla="*/ 12438 h 15614"/>
                <a:gd name="T10" fmla="*/ 8156 w 16095"/>
                <a:gd name="T11" fmla="*/ 12375 h 15614"/>
                <a:gd name="T12" fmla="*/ 7866 w 16095"/>
                <a:gd name="T13" fmla="*/ 12384 h 15614"/>
                <a:gd name="T14" fmla="*/ 7586 w 16095"/>
                <a:gd name="T15" fmla="*/ 12464 h 15614"/>
                <a:gd name="T16" fmla="*/ 4558 w 16095"/>
                <a:gd name="T17" fmla="*/ 10123 h 15614"/>
                <a:gd name="T18" fmla="*/ 4547 w 16095"/>
                <a:gd name="T19" fmla="*/ 9859 h 15614"/>
                <a:gd name="T20" fmla="*/ 4473 w 16095"/>
                <a:gd name="T21" fmla="*/ 9607 h 15614"/>
                <a:gd name="T22" fmla="*/ 4342 w 16095"/>
                <a:gd name="T23" fmla="*/ 9376 h 15614"/>
                <a:gd name="T24" fmla="*/ 5386 w 16095"/>
                <a:gd name="T25" fmla="*/ 5551 h 15614"/>
                <a:gd name="T26" fmla="*/ 5658 w 16095"/>
                <a:gd name="T27" fmla="*/ 5467 h 15614"/>
                <a:gd name="T28" fmla="*/ 5899 w 16095"/>
                <a:gd name="T29" fmla="*/ 5323 h 15614"/>
                <a:gd name="T30" fmla="*/ 6097 w 16095"/>
                <a:gd name="T31" fmla="*/ 5126 h 15614"/>
                <a:gd name="T32" fmla="*/ 8048 w 16095"/>
                <a:gd name="T33" fmla="*/ 1134 h 15614"/>
                <a:gd name="T34" fmla="*/ 9998 w 16095"/>
                <a:gd name="T35" fmla="*/ 5126 h 15614"/>
                <a:gd name="T36" fmla="*/ 10196 w 16095"/>
                <a:gd name="T37" fmla="*/ 5323 h 15614"/>
                <a:gd name="T38" fmla="*/ 10437 w 16095"/>
                <a:gd name="T39" fmla="*/ 5467 h 15614"/>
                <a:gd name="T40" fmla="*/ 10708 w 16095"/>
                <a:gd name="T41" fmla="*/ 5551 h 15614"/>
                <a:gd name="T42" fmla="*/ 15973 w 16095"/>
                <a:gd name="T43" fmla="*/ 5675 h 15614"/>
                <a:gd name="T44" fmla="*/ 15794 w 16095"/>
                <a:gd name="T45" fmla="*/ 5421 h 15614"/>
                <a:gd name="T46" fmla="*/ 15554 w 16095"/>
                <a:gd name="T47" fmla="*/ 5223 h 15614"/>
                <a:gd name="T48" fmla="*/ 15266 w 16095"/>
                <a:gd name="T49" fmla="*/ 5094 h 15614"/>
                <a:gd name="T50" fmla="*/ 9061 w 16095"/>
                <a:gd name="T51" fmla="*/ 579 h 15614"/>
                <a:gd name="T52" fmla="*/ 8861 w 16095"/>
                <a:gd name="T53" fmla="*/ 324 h 15614"/>
                <a:gd name="T54" fmla="*/ 8601 w 16095"/>
                <a:gd name="T55" fmla="*/ 137 h 15614"/>
                <a:gd name="T56" fmla="*/ 8296 w 16095"/>
                <a:gd name="T57" fmla="*/ 26 h 15614"/>
                <a:gd name="T58" fmla="*/ 7963 w 16095"/>
                <a:gd name="T59" fmla="*/ 3 h 15614"/>
                <a:gd name="T60" fmla="*/ 7642 w 16095"/>
                <a:gd name="T61" fmla="*/ 72 h 15614"/>
                <a:gd name="T62" fmla="*/ 7357 w 16095"/>
                <a:gd name="T63" fmla="*/ 222 h 15614"/>
                <a:gd name="T64" fmla="*/ 7125 w 16095"/>
                <a:gd name="T65" fmla="*/ 444 h 15614"/>
                <a:gd name="T66" fmla="*/ 987 w 16095"/>
                <a:gd name="T67" fmla="*/ 5060 h 15614"/>
                <a:gd name="T68" fmla="*/ 680 w 16095"/>
                <a:gd name="T69" fmla="*/ 5150 h 15614"/>
                <a:gd name="T70" fmla="*/ 414 w 16095"/>
                <a:gd name="T71" fmla="*/ 5314 h 15614"/>
                <a:gd name="T72" fmla="*/ 203 w 16095"/>
                <a:gd name="T73" fmla="*/ 5541 h 15614"/>
                <a:gd name="T74" fmla="*/ 60 w 16095"/>
                <a:gd name="T75" fmla="*/ 5820 h 15614"/>
                <a:gd name="T76" fmla="*/ 1 w 16095"/>
                <a:gd name="T77" fmla="*/ 6128 h 15614"/>
                <a:gd name="T78" fmla="*/ 29 w 16095"/>
                <a:gd name="T79" fmla="*/ 6434 h 15614"/>
                <a:gd name="T80" fmla="*/ 141 w 16095"/>
                <a:gd name="T81" fmla="*/ 6721 h 15614"/>
                <a:gd name="T82" fmla="*/ 330 w 16095"/>
                <a:gd name="T83" fmla="*/ 6972 h 15614"/>
                <a:gd name="T84" fmla="*/ 2674 w 16095"/>
                <a:gd name="T85" fmla="*/ 14537 h 15614"/>
                <a:gd name="T86" fmla="*/ 2734 w 16095"/>
                <a:gd name="T87" fmla="*/ 14845 h 15614"/>
                <a:gd name="T88" fmla="*/ 2878 w 16095"/>
                <a:gd name="T89" fmla="*/ 15124 h 15614"/>
                <a:gd name="T90" fmla="*/ 3098 w 16095"/>
                <a:gd name="T91" fmla="*/ 15358 h 15614"/>
                <a:gd name="T92" fmla="*/ 3402 w 16095"/>
                <a:gd name="T93" fmla="*/ 15532 h 15614"/>
                <a:gd name="T94" fmla="*/ 3746 w 16095"/>
                <a:gd name="T95" fmla="*/ 15611 h 15614"/>
                <a:gd name="T96" fmla="*/ 4051 w 16095"/>
                <a:gd name="T97" fmla="*/ 15594 h 15614"/>
                <a:gd name="T98" fmla="*/ 4330 w 16095"/>
                <a:gd name="T99" fmla="*/ 15505 h 15614"/>
                <a:gd name="T100" fmla="*/ 11834 w 16095"/>
                <a:gd name="T101" fmla="*/ 15534 h 15614"/>
                <a:gd name="T102" fmla="*/ 12117 w 16095"/>
                <a:gd name="T103" fmla="*/ 15605 h 15614"/>
                <a:gd name="T104" fmla="*/ 12436 w 16095"/>
                <a:gd name="T105" fmla="*/ 15601 h 15614"/>
                <a:gd name="T106" fmla="*/ 12774 w 16095"/>
                <a:gd name="T107" fmla="*/ 15497 h 15614"/>
                <a:gd name="T108" fmla="*/ 13058 w 16095"/>
                <a:gd name="T109" fmla="*/ 15305 h 15614"/>
                <a:gd name="T110" fmla="*/ 13260 w 16095"/>
                <a:gd name="T111" fmla="*/ 15059 h 15614"/>
                <a:gd name="T112" fmla="*/ 13384 w 16095"/>
                <a:gd name="T113" fmla="*/ 14771 h 15614"/>
                <a:gd name="T114" fmla="*/ 13422 w 16095"/>
                <a:gd name="T115" fmla="*/ 14458 h 15614"/>
                <a:gd name="T116" fmla="*/ 15819 w 16095"/>
                <a:gd name="T117" fmla="*/ 6913 h 15614"/>
                <a:gd name="T118" fmla="*/ 15989 w 16095"/>
                <a:gd name="T119" fmla="*/ 6652 h 15614"/>
                <a:gd name="T120" fmla="*/ 16080 w 16095"/>
                <a:gd name="T121" fmla="*/ 6358 h 15614"/>
                <a:gd name="T122" fmla="*/ 16087 w 16095"/>
                <a:gd name="T123" fmla="*/ 6050 h 15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095" h="15614">
                  <a:moveTo>
                    <a:pt x="11864" y="9250"/>
                  </a:moveTo>
                  <a:lnTo>
                    <a:pt x="11840" y="9274"/>
                  </a:lnTo>
                  <a:lnTo>
                    <a:pt x="11817" y="9299"/>
                  </a:lnTo>
                  <a:lnTo>
                    <a:pt x="11796" y="9324"/>
                  </a:lnTo>
                  <a:lnTo>
                    <a:pt x="11773" y="9350"/>
                  </a:lnTo>
                  <a:lnTo>
                    <a:pt x="11753" y="9376"/>
                  </a:lnTo>
                  <a:lnTo>
                    <a:pt x="11734" y="9404"/>
                  </a:lnTo>
                  <a:lnTo>
                    <a:pt x="11715" y="9432"/>
                  </a:lnTo>
                  <a:lnTo>
                    <a:pt x="11698" y="9460"/>
                  </a:lnTo>
                  <a:lnTo>
                    <a:pt x="11681" y="9488"/>
                  </a:lnTo>
                  <a:lnTo>
                    <a:pt x="11665" y="9517"/>
                  </a:lnTo>
                  <a:lnTo>
                    <a:pt x="11650" y="9547"/>
                  </a:lnTo>
                  <a:lnTo>
                    <a:pt x="11636" y="9577"/>
                  </a:lnTo>
                  <a:lnTo>
                    <a:pt x="11623" y="9607"/>
                  </a:lnTo>
                  <a:lnTo>
                    <a:pt x="11610" y="9637"/>
                  </a:lnTo>
                  <a:lnTo>
                    <a:pt x="11598" y="9669"/>
                  </a:lnTo>
                  <a:lnTo>
                    <a:pt x="11587" y="9700"/>
                  </a:lnTo>
                  <a:lnTo>
                    <a:pt x="11578" y="9731"/>
                  </a:lnTo>
                  <a:lnTo>
                    <a:pt x="11569" y="9762"/>
                  </a:lnTo>
                  <a:lnTo>
                    <a:pt x="11561" y="9795"/>
                  </a:lnTo>
                  <a:lnTo>
                    <a:pt x="11554" y="9827"/>
                  </a:lnTo>
                  <a:lnTo>
                    <a:pt x="11549" y="9859"/>
                  </a:lnTo>
                  <a:lnTo>
                    <a:pt x="11544" y="9891"/>
                  </a:lnTo>
                  <a:lnTo>
                    <a:pt x="11540" y="9924"/>
                  </a:lnTo>
                  <a:lnTo>
                    <a:pt x="11537" y="9958"/>
                  </a:lnTo>
                  <a:lnTo>
                    <a:pt x="11535" y="9990"/>
                  </a:lnTo>
                  <a:lnTo>
                    <a:pt x="11534" y="10023"/>
                  </a:lnTo>
                  <a:lnTo>
                    <a:pt x="11534" y="10056"/>
                  </a:lnTo>
                  <a:lnTo>
                    <a:pt x="11535" y="10090"/>
                  </a:lnTo>
                  <a:lnTo>
                    <a:pt x="11537" y="10123"/>
                  </a:lnTo>
                  <a:lnTo>
                    <a:pt x="11540" y="10156"/>
                  </a:lnTo>
                  <a:lnTo>
                    <a:pt x="11544" y="10189"/>
                  </a:lnTo>
                  <a:lnTo>
                    <a:pt x="11549" y="10223"/>
                  </a:lnTo>
                  <a:lnTo>
                    <a:pt x="12260" y="14481"/>
                  </a:lnTo>
                  <a:lnTo>
                    <a:pt x="8610" y="12512"/>
                  </a:lnTo>
                  <a:lnTo>
                    <a:pt x="8577" y="12495"/>
                  </a:lnTo>
                  <a:lnTo>
                    <a:pt x="8543" y="12479"/>
                  </a:lnTo>
                  <a:lnTo>
                    <a:pt x="8509" y="12464"/>
                  </a:lnTo>
                  <a:lnTo>
                    <a:pt x="8475" y="12450"/>
                  </a:lnTo>
                  <a:lnTo>
                    <a:pt x="8441" y="12438"/>
                  </a:lnTo>
                  <a:lnTo>
                    <a:pt x="8406" y="12426"/>
                  </a:lnTo>
                  <a:lnTo>
                    <a:pt x="8370" y="12416"/>
                  </a:lnTo>
                  <a:lnTo>
                    <a:pt x="8335" y="12406"/>
                  </a:lnTo>
                  <a:lnTo>
                    <a:pt x="8300" y="12398"/>
                  </a:lnTo>
                  <a:lnTo>
                    <a:pt x="8264" y="12390"/>
                  </a:lnTo>
                  <a:lnTo>
                    <a:pt x="8229" y="12384"/>
                  </a:lnTo>
                  <a:lnTo>
                    <a:pt x="8192" y="12379"/>
                  </a:lnTo>
                  <a:lnTo>
                    <a:pt x="8156" y="12375"/>
                  </a:lnTo>
                  <a:lnTo>
                    <a:pt x="8120" y="12372"/>
                  </a:lnTo>
                  <a:lnTo>
                    <a:pt x="8084" y="12371"/>
                  </a:lnTo>
                  <a:lnTo>
                    <a:pt x="8048" y="12370"/>
                  </a:lnTo>
                  <a:lnTo>
                    <a:pt x="8011" y="12371"/>
                  </a:lnTo>
                  <a:lnTo>
                    <a:pt x="7975" y="12372"/>
                  </a:lnTo>
                  <a:lnTo>
                    <a:pt x="7939" y="12375"/>
                  </a:lnTo>
                  <a:lnTo>
                    <a:pt x="7903" y="12379"/>
                  </a:lnTo>
                  <a:lnTo>
                    <a:pt x="7866" y="12384"/>
                  </a:lnTo>
                  <a:lnTo>
                    <a:pt x="7831" y="12390"/>
                  </a:lnTo>
                  <a:lnTo>
                    <a:pt x="7795" y="12398"/>
                  </a:lnTo>
                  <a:lnTo>
                    <a:pt x="7760" y="12406"/>
                  </a:lnTo>
                  <a:lnTo>
                    <a:pt x="7725" y="12416"/>
                  </a:lnTo>
                  <a:lnTo>
                    <a:pt x="7689" y="12426"/>
                  </a:lnTo>
                  <a:lnTo>
                    <a:pt x="7655" y="12438"/>
                  </a:lnTo>
                  <a:lnTo>
                    <a:pt x="7620" y="12450"/>
                  </a:lnTo>
                  <a:lnTo>
                    <a:pt x="7586" y="12464"/>
                  </a:lnTo>
                  <a:lnTo>
                    <a:pt x="7553" y="12479"/>
                  </a:lnTo>
                  <a:lnTo>
                    <a:pt x="7518" y="12495"/>
                  </a:lnTo>
                  <a:lnTo>
                    <a:pt x="7485" y="12512"/>
                  </a:lnTo>
                  <a:lnTo>
                    <a:pt x="3834" y="14481"/>
                  </a:lnTo>
                  <a:lnTo>
                    <a:pt x="4546" y="10223"/>
                  </a:lnTo>
                  <a:lnTo>
                    <a:pt x="4551" y="10189"/>
                  </a:lnTo>
                  <a:lnTo>
                    <a:pt x="4555" y="10156"/>
                  </a:lnTo>
                  <a:lnTo>
                    <a:pt x="4558" y="10123"/>
                  </a:lnTo>
                  <a:lnTo>
                    <a:pt x="4560" y="10090"/>
                  </a:lnTo>
                  <a:lnTo>
                    <a:pt x="4561" y="10056"/>
                  </a:lnTo>
                  <a:lnTo>
                    <a:pt x="4561" y="10023"/>
                  </a:lnTo>
                  <a:lnTo>
                    <a:pt x="4560" y="9990"/>
                  </a:lnTo>
                  <a:lnTo>
                    <a:pt x="4558" y="9958"/>
                  </a:lnTo>
                  <a:lnTo>
                    <a:pt x="4555" y="9924"/>
                  </a:lnTo>
                  <a:lnTo>
                    <a:pt x="4551" y="9891"/>
                  </a:lnTo>
                  <a:lnTo>
                    <a:pt x="4547" y="9859"/>
                  </a:lnTo>
                  <a:lnTo>
                    <a:pt x="4541" y="9827"/>
                  </a:lnTo>
                  <a:lnTo>
                    <a:pt x="4534" y="9795"/>
                  </a:lnTo>
                  <a:lnTo>
                    <a:pt x="4526" y="9762"/>
                  </a:lnTo>
                  <a:lnTo>
                    <a:pt x="4518" y="9731"/>
                  </a:lnTo>
                  <a:lnTo>
                    <a:pt x="4508" y="9700"/>
                  </a:lnTo>
                  <a:lnTo>
                    <a:pt x="4497" y="9669"/>
                  </a:lnTo>
                  <a:lnTo>
                    <a:pt x="4485" y="9637"/>
                  </a:lnTo>
                  <a:lnTo>
                    <a:pt x="4473" y="9607"/>
                  </a:lnTo>
                  <a:lnTo>
                    <a:pt x="4459" y="9577"/>
                  </a:lnTo>
                  <a:lnTo>
                    <a:pt x="4445" y="9547"/>
                  </a:lnTo>
                  <a:lnTo>
                    <a:pt x="4430" y="9517"/>
                  </a:lnTo>
                  <a:lnTo>
                    <a:pt x="4414" y="9488"/>
                  </a:lnTo>
                  <a:lnTo>
                    <a:pt x="4398" y="9460"/>
                  </a:lnTo>
                  <a:lnTo>
                    <a:pt x="4380" y="9432"/>
                  </a:lnTo>
                  <a:lnTo>
                    <a:pt x="4361" y="9404"/>
                  </a:lnTo>
                  <a:lnTo>
                    <a:pt x="4342" y="9376"/>
                  </a:lnTo>
                  <a:lnTo>
                    <a:pt x="4322" y="9350"/>
                  </a:lnTo>
                  <a:lnTo>
                    <a:pt x="4300" y="9324"/>
                  </a:lnTo>
                  <a:lnTo>
                    <a:pt x="4278" y="9299"/>
                  </a:lnTo>
                  <a:lnTo>
                    <a:pt x="4255" y="9274"/>
                  </a:lnTo>
                  <a:lnTo>
                    <a:pt x="4231" y="9250"/>
                  </a:lnTo>
                  <a:lnTo>
                    <a:pt x="1163" y="6180"/>
                  </a:lnTo>
                  <a:lnTo>
                    <a:pt x="5351" y="5557"/>
                  </a:lnTo>
                  <a:lnTo>
                    <a:pt x="5386" y="5551"/>
                  </a:lnTo>
                  <a:lnTo>
                    <a:pt x="5422" y="5543"/>
                  </a:lnTo>
                  <a:lnTo>
                    <a:pt x="5456" y="5535"/>
                  </a:lnTo>
                  <a:lnTo>
                    <a:pt x="5491" y="5526"/>
                  </a:lnTo>
                  <a:lnTo>
                    <a:pt x="5526" y="5516"/>
                  </a:lnTo>
                  <a:lnTo>
                    <a:pt x="5560" y="5505"/>
                  </a:lnTo>
                  <a:lnTo>
                    <a:pt x="5593" y="5493"/>
                  </a:lnTo>
                  <a:lnTo>
                    <a:pt x="5626" y="5480"/>
                  </a:lnTo>
                  <a:lnTo>
                    <a:pt x="5658" y="5467"/>
                  </a:lnTo>
                  <a:lnTo>
                    <a:pt x="5691" y="5452"/>
                  </a:lnTo>
                  <a:lnTo>
                    <a:pt x="5722" y="5436"/>
                  </a:lnTo>
                  <a:lnTo>
                    <a:pt x="5753" y="5420"/>
                  </a:lnTo>
                  <a:lnTo>
                    <a:pt x="5783" y="5401"/>
                  </a:lnTo>
                  <a:lnTo>
                    <a:pt x="5813" y="5383"/>
                  </a:lnTo>
                  <a:lnTo>
                    <a:pt x="5842" y="5364"/>
                  </a:lnTo>
                  <a:lnTo>
                    <a:pt x="5871" y="5344"/>
                  </a:lnTo>
                  <a:lnTo>
                    <a:pt x="5899" y="5323"/>
                  </a:lnTo>
                  <a:lnTo>
                    <a:pt x="5926" y="5301"/>
                  </a:lnTo>
                  <a:lnTo>
                    <a:pt x="5952" y="5279"/>
                  </a:lnTo>
                  <a:lnTo>
                    <a:pt x="5978" y="5254"/>
                  </a:lnTo>
                  <a:lnTo>
                    <a:pt x="6003" y="5230"/>
                  </a:lnTo>
                  <a:lnTo>
                    <a:pt x="6028" y="5206"/>
                  </a:lnTo>
                  <a:lnTo>
                    <a:pt x="6052" y="5180"/>
                  </a:lnTo>
                  <a:lnTo>
                    <a:pt x="6075" y="5154"/>
                  </a:lnTo>
                  <a:lnTo>
                    <a:pt x="6097" y="5126"/>
                  </a:lnTo>
                  <a:lnTo>
                    <a:pt x="6118" y="5098"/>
                  </a:lnTo>
                  <a:lnTo>
                    <a:pt x="6138" y="5070"/>
                  </a:lnTo>
                  <a:lnTo>
                    <a:pt x="6158" y="5041"/>
                  </a:lnTo>
                  <a:lnTo>
                    <a:pt x="6176" y="5011"/>
                  </a:lnTo>
                  <a:lnTo>
                    <a:pt x="6195" y="4980"/>
                  </a:lnTo>
                  <a:lnTo>
                    <a:pt x="6212" y="4949"/>
                  </a:lnTo>
                  <a:lnTo>
                    <a:pt x="6227" y="4918"/>
                  </a:lnTo>
                  <a:lnTo>
                    <a:pt x="8048" y="1134"/>
                  </a:lnTo>
                  <a:lnTo>
                    <a:pt x="9868" y="4918"/>
                  </a:lnTo>
                  <a:lnTo>
                    <a:pt x="9884" y="4949"/>
                  </a:lnTo>
                  <a:lnTo>
                    <a:pt x="9900" y="4980"/>
                  </a:lnTo>
                  <a:lnTo>
                    <a:pt x="9919" y="5011"/>
                  </a:lnTo>
                  <a:lnTo>
                    <a:pt x="9938" y="5041"/>
                  </a:lnTo>
                  <a:lnTo>
                    <a:pt x="9957" y="5070"/>
                  </a:lnTo>
                  <a:lnTo>
                    <a:pt x="9977" y="5098"/>
                  </a:lnTo>
                  <a:lnTo>
                    <a:pt x="9998" y="5126"/>
                  </a:lnTo>
                  <a:lnTo>
                    <a:pt x="10020" y="5154"/>
                  </a:lnTo>
                  <a:lnTo>
                    <a:pt x="10043" y="5180"/>
                  </a:lnTo>
                  <a:lnTo>
                    <a:pt x="10067" y="5206"/>
                  </a:lnTo>
                  <a:lnTo>
                    <a:pt x="10092" y="5230"/>
                  </a:lnTo>
                  <a:lnTo>
                    <a:pt x="10117" y="5254"/>
                  </a:lnTo>
                  <a:lnTo>
                    <a:pt x="10143" y="5279"/>
                  </a:lnTo>
                  <a:lnTo>
                    <a:pt x="10169" y="5301"/>
                  </a:lnTo>
                  <a:lnTo>
                    <a:pt x="10196" y="5323"/>
                  </a:lnTo>
                  <a:lnTo>
                    <a:pt x="10224" y="5344"/>
                  </a:lnTo>
                  <a:lnTo>
                    <a:pt x="10254" y="5364"/>
                  </a:lnTo>
                  <a:lnTo>
                    <a:pt x="10282" y="5383"/>
                  </a:lnTo>
                  <a:lnTo>
                    <a:pt x="10312" y="5401"/>
                  </a:lnTo>
                  <a:lnTo>
                    <a:pt x="10342" y="5420"/>
                  </a:lnTo>
                  <a:lnTo>
                    <a:pt x="10373" y="5436"/>
                  </a:lnTo>
                  <a:lnTo>
                    <a:pt x="10404" y="5452"/>
                  </a:lnTo>
                  <a:lnTo>
                    <a:pt x="10437" y="5467"/>
                  </a:lnTo>
                  <a:lnTo>
                    <a:pt x="10469" y="5480"/>
                  </a:lnTo>
                  <a:lnTo>
                    <a:pt x="10502" y="5493"/>
                  </a:lnTo>
                  <a:lnTo>
                    <a:pt x="10535" y="5505"/>
                  </a:lnTo>
                  <a:lnTo>
                    <a:pt x="10569" y="5516"/>
                  </a:lnTo>
                  <a:lnTo>
                    <a:pt x="10604" y="5526"/>
                  </a:lnTo>
                  <a:lnTo>
                    <a:pt x="10638" y="5535"/>
                  </a:lnTo>
                  <a:lnTo>
                    <a:pt x="10673" y="5543"/>
                  </a:lnTo>
                  <a:lnTo>
                    <a:pt x="10708" y="5551"/>
                  </a:lnTo>
                  <a:lnTo>
                    <a:pt x="10744" y="5557"/>
                  </a:lnTo>
                  <a:lnTo>
                    <a:pt x="14933" y="6180"/>
                  </a:lnTo>
                  <a:lnTo>
                    <a:pt x="11864" y="9250"/>
                  </a:lnTo>
                  <a:close/>
                  <a:moveTo>
                    <a:pt x="16035" y="5820"/>
                  </a:moveTo>
                  <a:lnTo>
                    <a:pt x="16022" y="5783"/>
                  </a:lnTo>
                  <a:lnTo>
                    <a:pt x="16006" y="5746"/>
                  </a:lnTo>
                  <a:lnTo>
                    <a:pt x="15990" y="5711"/>
                  </a:lnTo>
                  <a:lnTo>
                    <a:pt x="15973" y="5675"/>
                  </a:lnTo>
                  <a:lnTo>
                    <a:pt x="15954" y="5640"/>
                  </a:lnTo>
                  <a:lnTo>
                    <a:pt x="15935" y="5607"/>
                  </a:lnTo>
                  <a:lnTo>
                    <a:pt x="15914" y="5574"/>
                  </a:lnTo>
                  <a:lnTo>
                    <a:pt x="15892" y="5541"/>
                  </a:lnTo>
                  <a:lnTo>
                    <a:pt x="15869" y="5509"/>
                  </a:lnTo>
                  <a:lnTo>
                    <a:pt x="15846" y="5479"/>
                  </a:lnTo>
                  <a:lnTo>
                    <a:pt x="15820" y="5449"/>
                  </a:lnTo>
                  <a:lnTo>
                    <a:pt x="15794" y="5421"/>
                  </a:lnTo>
                  <a:lnTo>
                    <a:pt x="15767" y="5392"/>
                  </a:lnTo>
                  <a:lnTo>
                    <a:pt x="15739" y="5365"/>
                  </a:lnTo>
                  <a:lnTo>
                    <a:pt x="15711" y="5339"/>
                  </a:lnTo>
                  <a:lnTo>
                    <a:pt x="15681" y="5314"/>
                  </a:lnTo>
                  <a:lnTo>
                    <a:pt x="15650" y="5290"/>
                  </a:lnTo>
                  <a:lnTo>
                    <a:pt x="15619" y="5266"/>
                  </a:lnTo>
                  <a:lnTo>
                    <a:pt x="15587" y="5244"/>
                  </a:lnTo>
                  <a:lnTo>
                    <a:pt x="15554" y="5223"/>
                  </a:lnTo>
                  <a:lnTo>
                    <a:pt x="15521" y="5203"/>
                  </a:lnTo>
                  <a:lnTo>
                    <a:pt x="15485" y="5184"/>
                  </a:lnTo>
                  <a:lnTo>
                    <a:pt x="15450" y="5166"/>
                  </a:lnTo>
                  <a:lnTo>
                    <a:pt x="15415" y="5150"/>
                  </a:lnTo>
                  <a:lnTo>
                    <a:pt x="15379" y="5133"/>
                  </a:lnTo>
                  <a:lnTo>
                    <a:pt x="15342" y="5119"/>
                  </a:lnTo>
                  <a:lnTo>
                    <a:pt x="15304" y="5106"/>
                  </a:lnTo>
                  <a:lnTo>
                    <a:pt x="15266" y="5094"/>
                  </a:lnTo>
                  <a:lnTo>
                    <a:pt x="15227" y="5084"/>
                  </a:lnTo>
                  <a:lnTo>
                    <a:pt x="15188" y="5075"/>
                  </a:lnTo>
                  <a:lnTo>
                    <a:pt x="15148" y="5067"/>
                  </a:lnTo>
                  <a:lnTo>
                    <a:pt x="15108" y="5060"/>
                  </a:lnTo>
                  <a:lnTo>
                    <a:pt x="10920" y="4436"/>
                  </a:lnTo>
                  <a:lnTo>
                    <a:pt x="9100" y="652"/>
                  </a:lnTo>
                  <a:lnTo>
                    <a:pt x="9081" y="615"/>
                  </a:lnTo>
                  <a:lnTo>
                    <a:pt x="9061" y="579"/>
                  </a:lnTo>
                  <a:lnTo>
                    <a:pt x="9040" y="544"/>
                  </a:lnTo>
                  <a:lnTo>
                    <a:pt x="9018" y="510"/>
                  </a:lnTo>
                  <a:lnTo>
                    <a:pt x="8995" y="476"/>
                  </a:lnTo>
                  <a:lnTo>
                    <a:pt x="8970" y="444"/>
                  </a:lnTo>
                  <a:lnTo>
                    <a:pt x="8945" y="413"/>
                  </a:lnTo>
                  <a:lnTo>
                    <a:pt x="8918" y="383"/>
                  </a:lnTo>
                  <a:lnTo>
                    <a:pt x="8890" y="353"/>
                  </a:lnTo>
                  <a:lnTo>
                    <a:pt x="8861" y="324"/>
                  </a:lnTo>
                  <a:lnTo>
                    <a:pt x="8832" y="297"/>
                  </a:lnTo>
                  <a:lnTo>
                    <a:pt x="8802" y="271"/>
                  </a:lnTo>
                  <a:lnTo>
                    <a:pt x="8770" y="246"/>
                  </a:lnTo>
                  <a:lnTo>
                    <a:pt x="8738" y="222"/>
                  </a:lnTo>
                  <a:lnTo>
                    <a:pt x="8704" y="198"/>
                  </a:lnTo>
                  <a:lnTo>
                    <a:pt x="8671" y="177"/>
                  </a:lnTo>
                  <a:lnTo>
                    <a:pt x="8636" y="156"/>
                  </a:lnTo>
                  <a:lnTo>
                    <a:pt x="8601" y="137"/>
                  </a:lnTo>
                  <a:lnTo>
                    <a:pt x="8565" y="119"/>
                  </a:lnTo>
                  <a:lnTo>
                    <a:pt x="8528" y="102"/>
                  </a:lnTo>
                  <a:lnTo>
                    <a:pt x="8491" y="86"/>
                  </a:lnTo>
                  <a:lnTo>
                    <a:pt x="8453" y="72"/>
                  </a:lnTo>
                  <a:lnTo>
                    <a:pt x="8415" y="57"/>
                  </a:lnTo>
                  <a:lnTo>
                    <a:pt x="8375" y="46"/>
                  </a:lnTo>
                  <a:lnTo>
                    <a:pt x="8335" y="35"/>
                  </a:lnTo>
                  <a:lnTo>
                    <a:pt x="8296" y="26"/>
                  </a:lnTo>
                  <a:lnTo>
                    <a:pt x="8255" y="18"/>
                  </a:lnTo>
                  <a:lnTo>
                    <a:pt x="8214" y="12"/>
                  </a:lnTo>
                  <a:lnTo>
                    <a:pt x="8173" y="7"/>
                  </a:lnTo>
                  <a:lnTo>
                    <a:pt x="8131" y="3"/>
                  </a:lnTo>
                  <a:lnTo>
                    <a:pt x="8090" y="1"/>
                  </a:lnTo>
                  <a:lnTo>
                    <a:pt x="8048" y="0"/>
                  </a:lnTo>
                  <a:lnTo>
                    <a:pt x="8005" y="1"/>
                  </a:lnTo>
                  <a:lnTo>
                    <a:pt x="7963" y="3"/>
                  </a:lnTo>
                  <a:lnTo>
                    <a:pt x="7922" y="7"/>
                  </a:lnTo>
                  <a:lnTo>
                    <a:pt x="7881" y="12"/>
                  </a:lnTo>
                  <a:lnTo>
                    <a:pt x="7840" y="18"/>
                  </a:lnTo>
                  <a:lnTo>
                    <a:pt x="7799" y="26"/>
                  </a:lnTo>
                  <a:lnTo>
                    <a:pt x="7760" y="35"/>
                  </a:lnTo>
                  <a:lnTo>
                    <a:pt x="7720" y="46"/>
                  </a:lnTo>
                  <a:lnTo>
                    <a:pt x="7681" y="57"/>
                  </a:lnTo>
                  <a:lnTo>
                    <a:pt x="7642" y="72"/>
                  </a:lnTo>
                  <a:lnTo>
                    <a:pt x="7605" y="86"/>
                  </a:lnTo>
                  <a:lnTo>
                    <a:pt x="7567" y="102"/>
                  </a:lnTo>
                  <a:lnTo>
                    <a:pt x="7530" y="119"/>
                  </a:lnTo>
                  <a:lnTo>
                    <a:pt x="7494" y="137"/>
                  </a:lnTo>
                  <a:lnTo>
                    <a:pt x="7459" y="156"/>
                  </a:lnTo>
                  <a:lnTo>
                    <a:pt x="7424" y="177"/>
                  </a:lnTo>
                  <a:lnTo>
                    <a:pt x="7391" y="198"/>
                  </a:lnTo>
                  <a:lnTo>
                    <a:pt x="7357" y="222"/>
                  </a:lnTo>
                  <a:lnTo>
                    <a:pt x="7325" y="246"/>
                  </a:lnTo>
                  <a:lnTo>
                    <a:pt x="7293" y="271"/>
                  </a:lnTo>
                  <a:lnTo>
                    <a:pt x="7263" y="297"/>
                  </a:lnTo>
                  <a:lnTo>
                    <a:pt x="7234" y="324"/>
                  </a:lnTo>
                  <a:lnTo>
                    <a:pt x="7205" y="353"/>
                  </a:lnTo>
                  <a:lnTo>
                    <a:pt x="7177" y="383"/>
                  </a:lnTo>
                  <a:lnTo>
                    <a:pt x="7150" y="413"/>
                  </a:lnTo>
                  <a:lnTo>
                    <a:pt x="7125" y="444"/>
                  </a:lnTo>
                  <a:lnTo>
                    <a:pt x="7100" y="476"/>
                  </a:lnTo>
                  <a:lnTo>
                    <a:pt x="7077" y="510"/>
                  </a:lnTo>
                  <a:lnTo>
                    <a:pt x="7055" y="544"/>
                  </a:lnTo>
                  <a:lnTo>
                    <a:pt x="7034" y="579"/>
                  </a:lnTo>
                  <a:lnTo>
                    <a:pt x="7013" y="615"/>
                  </a:lnTo>
                  <a:lnTo>
                    <a:pt x="6995" y="652"/>
                  </a:lnTo>
                  <a:lnTo>
                    <a:pt x="5175" y="4436"/>
                  </a:lnTo>
                  <a:lnTo>
                    <a:pt x="987" y="5060"/>
                  </a:lnTo>
                  <a:lnTo>
                    <a:pt x="947" y="5067"/>
                  </a:lnTo>
                  <a:lnTo>
                    <a:pt x="907" y="5075"/>
                  </a:lnTo>
                  <a:lnTo>
                    <a:pt x="868" y="5084"/>
                  </a:lnTo>
                  <a:lnTo>
                    <a:pt x="829" y="5094"/>
                  </a:lnTo>
                  <a:lnTo>
                    <a:pt x="791" y="5106"/>
                  </a:lnTo>
                  <a:lnTo>
                    <a:pt x="753" y="5119"/>
                  </a:lnTo>
                  <a:lnTo>
                    <a:pt x="716" y="5133"/>
                  </a:lnTo>
                  <a:lnTo>
                    <a:pt x="680" y="5150"/>
                  </a:lnTo>
                  <a:lnTo>
                    <a:pt x="644" y="5166"/>
                  </a:lnTo>
                  <a:lnTo>
                    <a:pt x="610" y="5184"/>
                  </a:lnTo>
                  <a:lnTo>
                    <a:pt x="574" y="5203"/>
                  </a:lnTo>
                  <a:lnTo>
                    <a:pt x="541" y="5223"/>
                  </a:lnTo>
                  <a:lnTo>
                    <a:pt x="508" y="5244"/>
                  </a:lnTo>
                  <a:lnTo>
                    <a:pt x="476" y="5266"/>
                  </a:lnTo>
                  <a:lnTo>
                    <a:pt x="445" y="5290"/>
                  </a:lnTo>
                  <a:lnTo>
                    <a:pt x="414" y="5314"/>
                  </a:lnTo>
                  <a:lnTo>
                    <a:pt x="384" y="5339"/>
                  </a:lnTo>
                  <a:lnTo>
                    <a:pt x="356" y="5365"/>
                  </a:lnTo>
                  <a:lnTo>
                    <a:pt x="328" y="5392"/>
                  </a:lnTo>
                  <a:lnTo>
                    <a:pt x="301" y="5421"/>
                  </a:lnTo>
                  <a:lnTo>
                    <a:pt x="275" y="5449"/>
                  </a:lnTo>
                  <a:lnTo>
                    <a:pt x="250" y="5479"/>
                  </a:lnTo>
                  <a:lnTo>
                    <a:pt x="226" y="5509"/>
                  </a:lnTo>
                  <a:lnTo>
                    <a:pt x="203" y="5541"/>
                  </a:lnTo>
                  <a:lnTo>
                    <a:pt x="181" y="5574"/>
                  </a:lnTo>
                  <a:lnTo>
                    <a:pt x="160" y="5607"/>
                  </a:lnTo>
                  <a:lnTo>
                    <a:pt x="141" y="5640"/>
                  </a:lnTo>
                  <a:lnTo>
                    <a:pt x="122" y="5675"/>
                  </a:lnTo>
                  <a:lnTo>
                    <a:pt x="105" y="5711"/>
                  </a:lnTo>
                  <a:lnTo>
                    <a:pt x="89" y="5746"/>
                  </a:lnTo>
                  <a:lnTo>
                    <a:pt x="73" y="5783"/>
                  </a:lnTo>
                  <a:lnTo>
                    <a:pt x="60" y="5820"/>
                  </a:lnTo>
                  <a:lnTo>
                    <a:pt x="48" y="5859"/>
                  </a:lnTo>
                  <a:lnTo>
                    <a:pt x="37" y="5897"/>
                  </a:lnTo>
                  <a:lnTo>
                    <a:pt x="27" y="5935"/>
                  </a:lnTo>
                  <a:lnTo>
                    <a:pt x="20" y="5974"/>
                  </a:lnTo>
                  <a:lnTo>
                    <a:pt x="13" y="6012"/>
                  </a:lnTo>
                  <a:lnTo>
                    <a:pt x="8" y="6050"/>
                  </a:lnTo>
                  <a:lnTo>
                    <a:pt x="4" y="6089"/>
                  </a:lnTo>
                  <a:lnTo>
                    <a:pt x="1" y="6128"/>
                  </a:lnTo>
                  <a:lnTo>
                    <a:pt x="0" y="6167"/>
                  </a:lnTo>
                  <a:lnTo>
                    <a:pt x="0" y="6205"/>
                  </a:lnTo>
                  <a:lnTo>
                    <a:pt x="2" y="6244"/>
                  </a:lnTo>
                  <a:lnTo>
                    <a:pt x="5" y="6282"/>
                  </a:lnTo>
                  <a:lnTo>
                    <a:pt x="9" y="6320"/>
                  </a:lnTo>
                  <a:lnTo>
                    <a:pt x="14" y="6358"/>
                  </a:lnTo>
                  <a:lnTo>
                    <a:pt x="21" y="6396"/>
                  </a:lnTo>
                  <a:lnTo>
                    <a:pt x="29" y="6434"/>
                  </a:lnTo>
                  <a:lnTo>
                    <a:pt x="39" y="6471"/>
                  </a:lnTo>
                  <a:lnTo>
                    <a:pt x="49" y="6508"/>
                  </a:lnTo>
                  <a:lnTo>
                    <a:pt x="61" y="6545"/>
                  </a:lnTo>
                  <a:lnTo>
                    <a:pt x="74" y="6580"/>
                  </a:lnTo>
                  <a:lnTo>
                    <a:pt x="90" y="6616"/>
                  </a:lnTo>
                  <a:lnTo>
                    <a:pt x="106" y="6652"/>
                  </a:lnTo>
                  <a:lnTo>
                    <a:pt x="123" y="6687"/>
                  </a:lnTo>
                  <a:lnTo>
                    <a:pt x="141" y="6721"/>
                  </a:lnTo>
                  <a:lnTo>
                    <a:pt x="160" y="6754"/>
                  </a:lnTo>
                  <a:lnTo>
                    <a:pt x="181" y="6788"/>
                  </a:lnTo>
                  <a:lnTo>
                    <a:pt x="203" y="6820"/>
                  </a:lnTo>
                  <a:lnTo>
                    <a:pt x="225" y="6852"/>
                  </a:lnTo>
                  <a:lnTo>
                    <a:pt x="250" y="6883"/>
                  </a:lnTo>
                  <a:lnTo>
                    <a:pt x="276" y="6913"/>
                  </a:lnTo>
                  <a:lnTo>
                    <a:pt x="303" y="6943"/>
                  </a:lnTo>
                  <a:lnTo>
                    <a:pt x="330" y="6972"/>
                  </a:lnTo>
                  <a:lnTo>
                    <a:pt x="3399" y="10040"/>
                  </a:lnTo>
                  <a:lnTo>
                    <a:pt x="2688" y="14297"/>
                  </a:lnTo>
                  <a:lnTo>
                    <a:pt x="2682" y="14337"/>
                  </a:lnTo>
                  <a:lnTo>
                    <a:pt x="2677" y="14377"/>
                  </a:lnTo>
                  <a:lnTo>
                    <a:pt x="2674" y="14417"/>
                  </a:lnTo>
                  <a:lnTo>
                    <a:pt x="2673" y="14458"/>
                  </a:lnTo>
                  <a:lnTo>
                    <a:pt x="2673" y="14497"/>
                  </a:lnTo>
                  <a:lnTo>
                    <a:pt x="2674" y="14537"/>
                  </a:lnTo>
                  <a:lnTo>
                    <a:pt x="2677" y="14576"/>
                  </a:lnTo>
                  <a:lnTo>
                    <a:pt x="2681" y="14616"/>
                  </a:lnTo>
                  <a:lnTo>
                    <a:pt x="2686" y="14655"/>
                  </a:lnTo>
                  <a:lnTo>
                    <a:pt x="2693" y="14694"/>
                  </a:lnTo>
                  <a:lnTo>
                    <a:pt x="2701" y="14733"/>
                  </a:lnTo>
                  <a:lnTo>
                    <a:pt x="2711" y="14771"/>
                  </a:lnTo>
                  <a:lnTo>
                    <a:pt x="2722" y="14808"/>
                  </a:lnTo>
                  <a:lnTo>
                    <a:pt x="2734" y="14845"/>
                  </a:lnTo>
                  <a:lnTo>
                    <a:pt x="2747" y="14883"/>
                  </a:lnTo>
                  <a:lnTo>
                    <a:pt x="2762" y="14919"/>
                  </a:lnTo>
                  <a:lnTo>
                    <a:pt x="2778" y="14954"/>
                  </a:lnTo>
                  <a:lnTo>
                    <a:pt x="2797" y="14989"/>
                  </a:lnTo>
                  <a:lnTo>
                    <a:pt x="2815" y="15025"/>
                  </a:lnTo>
                  <a:lnTo>
                    <a:pt x="2835" y="15059"/>
                  </a:lnTo>
                  <a:lnTo>
                    <a:pt x="2856" y="15092"/>
                  </a:lnTo>
                  <a:lnTo>
                    <a:pt x="2878" y="15124"/>
                  </a:lnTo>
                  <a:lnTo>
                    <a:pt x="2902" y="15157"/>
                  </a:lnTo>
                  <a:lnTo>
                    <a:pt x="2926" y="15188"/>
                  </a:lnTo>
                  <a:lnTo>
                    <a:pt x="2952" y="15218"/>
                  </a:lnTo>
                  <a:lnTo>
                    <a:pt x="2980" y="15248"/>
                  </a:lnTo>
                  <a:lnTo>
                    <a:pt x="3008" y="15277"/>
                  </a:lnTo>
                  <a:lnTo>
                    <a:pt x="3037" y="15305"/>
                  </a:lnTo>
                  <a:lnTo>
                    <a:pt x="3067" y="15332"/>
                  </a:lnTo>
                  <a:lnTo>
                    <a:pt x="3098" y="15358"/>
                  </a:lnTo>
                  <a:lnTo>
                    <a:pt x="3131" y="15383"/>
                  </a:lnTo>
                  <a:lnTo>
                    <a:pt x="3165" y="15407"/>
                  </a:lnTo>
                  <a:lnTo>
                    <a:pt x="3203" y="15432"/>
                  </a:lnTo>
                  <a:lnTo>
                    <a:pt x="3241" y="15455"/>
                  </a:lnTo>
                  <a:lnTo>
                    <a:pt x="3280" y="15477"/>
                  </a:lnTo>
                  <a:lnTo>
                    <a:pt x="3321" y="15497"/>
                  </a:lnTo>
                  <a:lnTo>
                    <a:pt x="3361" y="15515"/>
                  </a:lnTo>
                  <a:lnTo>
                    <a:pt x="3402" y="15532"/>
                  </a:lnTo>
                  <a:lnTo>
                    <a:pt x="3444" y="15549"/>
                  </a:lnTo>
                  <a:lnTo>
                    <a:pt x="3487" y="15562"/>
                  </a:lnTo>
                  <a:lnTo>
                    <a:pt x="3529" y="15574"/>
                  </a:lnTo>
                  <a:lnTo>
                    <a:pt x="3572" y="15585"/>
                  </a:lnTo>
                  <a:lnTo>
                    <a:pt x="3615" y="15594"/>
                  </a:lnTo>
                  <a:lnTo>
                    <a:pt x="3659" y="15601"/>
                  </a:lnTo>
                  <a:lnTo>
                    <a:pt x="3702" y="15607"/>
                  </a:lnTo>
                  <a:lnTo>
                    <a:pt x="3746" y="15611"/>
                  </a:lnTo>
                  <a:lnTo>
                    <a:pt x="3790" y="15613"/>
                  </a:lnTo>
                  <a:lnTo>
                    <a:pt x="3834" y="15614"/>
                  </a:lnTo>
                  <a:lnTo>
                    <a:pt x="3870" y="15613"/>
                  </a:lnTo>
                  <a:lnTo>
                    <a:pt x="3906" y="15612"/>
                  </a:lnTo>
                  <a:lnTo>
                    <a:pt x="3942" y="15609"/>
                  </a:lnTo>
                  <a:lnTo>
                    <a:pt x="3978" y="15605"/>
                  </a:lnTo>
                  <a:lnTo>
                    <a:pt x="4015" y="15600"/>
                  </a:lnTo>
                  <a:lnTo>
                    <a:pt x="4051" y="15594"/>
                  </a:lnTo>
                  <a:lnTo>
                    <a:pt x="4086" y="15587"/>
                  </a:lnTo>
                  <a:lnTo>
                    <a:pt x="4121" y="15579"/>
                  </a:lnTo>
                  <a:lnTo>
                    <a:pt x="4158" y="15570"/>
                  </a:lnTo>
                  <a:lnTo>
                    <a:pt x="4192" y="15559"/>
                  </a:lnTo>
                  <a:lnTo>
                    <a:pt x="4227" y="15548"/>
                  </a:lnTo>
                  <a:lnTo>
                    <a:pt x="4261" y="15534"/>
                  </a:lnTo>
                  <a:lnTo>
                    <a:pt x="4295" y="15520"/>
                  </a:lnTo>
                  <a:lnTo>
                    <a:pt x="4330" y="15505"/>
                  </a:lnTo>
                  <a:lnTo>
                    <a:pt x="4363" y="15490"/>
                  </a:lnTo>
                  <a:lnTo>
                    <a:pt x="4396" y="15473"/>
                  </a:lnTo>
                  <a:lnTo>
                    <a:pt x="8048" y="13505"/>
                  </a:lnTo>
                  <a:lnTo>
                    <a:pt x="11699" y="15473"/>
                  </a:lnTo>
                  <a:lnTo>
                    <a:pt x="11732" y="15490"/>
                  </a:lnTo>
                  <a:lnTo>
                    <a:pt x="11765" y="15505"/>
                  </a:lnTo>
                  <a:lnTo>
                    <a:pt x="11800" y="15520"/>
                  </a:lnTo>
                  <a:lnTo>
                    <a:pt x="11834" y="15534"/>
                  </a:lnTo>
                  <a:lnTo>
                    <a:pt x="11868" y="15548"/>
                  </a:lnTo>
                  <a:lnTo>
                    <a:pt x="11903" y="15559"/>
                  </a:lnTo>
                  <a:lnTo>
                    <a:pt x="11938" y="15570"/>
                  </a:lnTo>
                  <a:lnTo>
                    <a:pt x="11974" y="15579"/>
                  </a:lnTo>
                  <a:lnTo>
                    <a:pt x="12009" y="15587"/>
                  </a:lnTo>
                  <a:lnTo>
                    <a:pt x="12044" y="15594"/>
                  </a:lnTo>
                  <a:lnTo>
                    <a:pt x="12080" y="15600"/>
                  </a:lnTo>
                  <a:lnTo>
                    <a:pt x="12117" y="15605"/>
                  </a:lnTo>
                  <a:lnTo>
                    <a:pt x="12153" y="15609"/>
                  </a:lnTo>
                  <a:lnTo>
                    <a:pt x="12189" y="15612"/>
                  </a:lnTo>
                  <a:lnTo>
                    <a:pt x="12224" y="15613"/>
                  </a:lnTo>
                  <a:lnTo>
                    <a:pt x="12260" y="15614"/>
                  </a:lnTo>
                  <a:lnTo>
                    <a:pt x="12305" y="15613"/>
                  </a:lnTo>
                  <a:lnTo>
                    <a:pt x="12349" y="15611"/>
                  </a:lnTo>
                  <a:lnTo>
                    <a:pt x="12393" y="15607"/>
                  </a:lnTo>
                  <a:lnTo>
                    <a:pt x="12436" y="15601"/>
                  </a:lnTo>
                  <a:lnTo>
                    <a:pt x="12480" y="15594"/>
                  </a:lnTo>
                  <a:lnTo>
                    <a:pt x="12523" y="15585"/>
                  </a:lnTo>
                  <a:lnTo>
                    <a:pt x="12566" y="15574"/>
                  </a:lnTo>
                  <a:lnTo>
                    <a:pt x="12608" y="15562"/>
                  </a:lnTo>
                  <a:lnTo>
                    <a:pt x="12651" y="15549"/>
                  </a:lnTo>
                  <a:lnTo>
                    <a:pt x="12693" y="15532"/>
                  </a:lnTo>
                  <a:lnTo>
                    <a:pt x="12734" y="15515"/>
                  </a:lnTo>
                  <a:lnTo>
                    <a:pt x="12774" y="15497"/>
                  </a:lnTo>
                  <a:lnTo>
                    <a:pt x="12815" y="15477"/>
                  </a:lnTo>
                  <a:lnTo>
                    <a:pt x="12854" y="15455"/>
                  </a:lnTo>
                  <a:lnTo>
                    <a:pt x="12893" y="15432"/>
                  </a:lnTo>
                  <a:lnTo>
                    <a:pt x="12930" y="15407"/>
                  </a:lnTo>
                  <a:lnTo>
                    <a:pt x="12965" y="15383"/>
                  </a:lnTo>
                  <a:lnTo>
                    <a:pt x="12997" y="15358"/>
                  </a:lnTo>
                  <a:lnTo>
                    <a:pt x="13028" y="15332"/>
                  </a:lnTo>
                  <a:lnTo>
                    <a:pt x="13058" y="15305"/>
                  </a:lnTo>
                  <a:lnTo>
                    <a:pt x="13087" y="15277"/>
                  </a:lnTo>
                  <a:lnTo>
                    <a:pt x="13115" y="15248"/>
                  </a:lnTo>
                  <a:lnTo>
                    <a:pt x="13143" y="15218"/>
                  </a:lnTo>
                  <a:lnTo>
                    <a:pt x="13169" y="15188"/>
                  </a:lnTo>
                  <a:lnTo>
                    <a:pt x="13194" y="15157"/>
                  </a:lnTo>
                  <a:lnTo>
                    <a:pt x="13217" y="15124"/>
                  </a:lnTo>
                  <a:lnTo>
                    <a:pt x="13239" y="15092"/>
                  </a:lnTo>
                  <a:lnTo>
                    <a:pt x="13260" y="15059"/>
                  </a:lnTo>
                  <a:lnTo>
                    <a:pt x="13280" y="15025"/>
                  </a:lnTo>
                  <a:lnTo>
                    <a:pt x="13298" y="14989"/>
                  </a:lnTo>
                  <a:lnTo>
                    <a:pt x="13317" y="14954"/>
                  </a:lnTo>
                  <a:lnTo>
                    <a:pt x="13333" y="14919"/>
                  </a:lnTo>
                  <a:lnTo>
                    <a:pt x="13347" y="14883"/>
                  </a:lnTo>
                  <a:lnTo>
                    <a:pt x="13361" y="14845"/>
                  </a:lnTo>
                  <a:lnTo>
                    <a:pt x="13373" y="14808"/>
                  </a:lnTo>
                  <a:lnTo>
                    <a:pt x="13384" y="14771"/>
                  </a:lnTo>
                  <a:lnTo>
                    <a:pt x="13394" y="14733"/>
                  </a:lnTo>
                  <a:lnTo>
                    <a:pt x="13402" y="14694"/>
                  </a:lnTo>
                  <a:lnTo>
                    <a:pt x="13409" y="14655"/>
                  </a:lnTo>
                  <a:lnTo>
                    <a:pt x="13414" y="14616"/>
                  </a:lnTo>
                  <a:lnTo>
                    <a:pt x="13418" y="14576"/>
                  </a:lnTo>
                  <a:lnTo>
                    <a:pt x="13421" y="14537"/>
                  </a:lnTo>
                  <a:lnTo>
                    <a:pt x="13422" y="14497"/>
                  </a:lnTo>
                  <a:lnTo>
                    <a:pt x="13422" y="14458"/>
                  </a:lnTo>
                  <a:lnTo>
                    <a:pt x="13421" y="14417"/>
                  </a:lnTo>
                  <a:lnTo>
                    <a:pt x="13418" y="14377"/>
                  </a:lnTo>
                  <a:lnTo>
                    <a:pt x="13413" y="14337"/>
                  </a:lnTo>
                  <a:lnTo>
                    <a:pt x="13407" y="14297"/>
                  </a:lnTo>
                  <a:lnTo>
                    <a:pt x="12695" y="10040"/>
                  </a:lnTo>
                  <a:lnTo>
                    <a:pt x="15765" y="6972"/>
                  </a:lnTo>
                  <a:lnTo>
                    <a:pt x="15793" y="6943"/>
                  </a:lnTo>
                  <a:lnTo>
                    <a:pt x="15819" y="6913"/>
                  </a:lnTo>
                  <a:lnTo>
                    <a:pt x="15845" y="6883"/>
                  </a:lnTo>
                  <a:lnTo>
                    <a:pt x="15870" y="6852"/>
                  </a:lnTo>
                  <a:lnTo>
                    <a:pt x="15893" y="6820"/>
                  </a:lnTo>
                  <a:lnTo>
                    <a:pt x="15914" y="6788"/>
                  </a:lnTo>
                  <a:lnTo>
                    <a:pt x="15935" y="6754"/>
                  </a:lnTo>
                  <a:lnTo>
                    <a:pt x="15954" y="6721"/>
                  </a:lnTo>
                  <a:lnTo>
                    <a:pt x="15973" y="6687"/>
                  </a:lnTo>
                  <a:lnTo>
                    <a:pt x="15989" y="6652"/>
                  </a:lnTo>
                  <a:lnTo>
                    <a:pt x="16005" y="6616"/>
                  </a:lnTo>
                  <a:lnTo>
                    <a:pt x="16021" y="6580"/>
                  </a:lnTo>
                  <a:lnTo>
                    <a:pt x="16034" y="6545"/>
                  </a:lnTo>
                  <a:lnTo>
                    <a:pt x="16046" y="6508"/>
                  </a:lnTo>
                  <a:lnTo>
                    <a:pt x="16056" y="6471"/>
                  </a:lnTo>
                  <a:lnTo>
                    <a:pt x="16066" y="6434"/>
                  </a:lnTo>
                  <a:lnTo>
                    <a:pt x="16074" y="6396"/>
                  </a:lnTo>
                  <a:lnTo>
                    <a:pt x="16080" y="6358"/>
                  </a:lnTo>
                  <a:lnTo>
                    <a:pt x="16086" y="6320"/>
                  </a:lnTo>
                  <a:lnTo>
                    <a:pt x="16090" y="6282"/>
                  </a:lnTo>
                  <a:lnTo>
                    <a:pt x="16093" y="6244"/>
                  </a:lnTo>
                  <a:lnTo>
                    <a:pt x="16095" y="6205"/>
                  </a:lnTo>
                  <a:lnTo>
                    <a:pt x="16095" y="6167"/>
                  </a:lnTo>
                  <a:lnTo>
                    <a:pt x="16094" y="6128"/>
                  </a:lnTo>
                  <a:lnTo>
                    <a:pt x="16091" y="6089"/>
                  </a:lnTo>
                  <a:lnTo>
                    <a:pt x="16087" y="6050"/>
                  </a:lnTo>
                  <a:lnTo>
                    <a:pt x="16082" y="6012"/>
                  </a:lnTo>
                  <a:lnTo>
                    <a:pt x="16075" y="5974"/>
                  </a:lnTo>
                  <a:lnTo>
                    <a:pt x="16067" y="5935"/>
                  </a:lnTo>
                  <a:lnTo>
                    <a:pt x="16058" y="5897"/>
                  </a:lnTo>
                  <a:lnTo>
                    <a:pt x="16047" y="5859"/>
                  </a:lnTo>
                  <a:lnTo>
                    <a:pt x="16035" y="58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96" name="îŝḷíḋê">
              <a:extLst>
                <a:ext uri="{FF2B5EF4-FFF2-40B4-BE49-F238E27FC236}">
                  <a16:creationId xmlns:a16="http://schemas.microsoft.com/office/drawing/2014/main" id="{EA32E7B1-6A4D-4D84-B1B5-D266117CFED8}"/>
                </a:ext>
              </a:extLst>
            </p:cNvPr>
            <p:cNvSpPr/>
            <p:nvPr/>
          </p:nvSpPr>
          <p:spPr bwMode="auto">
            <a:xfrm>
              <a:off x="8795931" y="50286"/>
              <a:ext cx="265011" cy="190515"/>
            </a:xfrm>
            <a:custGeom>
              <a:avLst/>
              <a:gdLst>
                <a:gd name="T0" fmla="*/ 2486 w 16058"/>
                <a:gd name="T1" fmla="*/ 10403 h 11544"/>
                <a:gd name="T2" fmla="*/ 1591 w 16058"/>
                <a:gd name="T3" fmla="*/ 9798 h 11544"/>
                <a:gd name="T4" fmla="*/ 1075 w 16058"/>
                <a:gd name="T5" fmla="*/ 8845 h 11544"/>
                <a:gd name="T6" fmla="*/ 1034 w 16058"/>
                <a:gd name="T7" fmla="*/ 7911 h 11544"/>
                <a:gd name="T8" fmla="*/ 1269 w 16058"/>
                <a:gd name="T9" fmla="*/ 7227 h 11544"/>
                <a:gd name="T10" fmla="*/ 1712 w 16058"/>
                <a:gd name="T11" fmla="*/ 6654 h 11544"/>
                <a:gd name="T12" fmla="*/ 2311 w 16058"/>
                <a:gd name="T13" fmla="*/ 6236 h 11544"/>
                <a:gd name="T14" fmla="*/ 2677 w 16058"/>
                <a:gd name="T15" fmla="*/ 5951 h 11544"/>
                <a:gd name="T16" fmla="*/ 2739 w 16058"/>
                <a:gd name="T17" fmla="*/ 5626 h 11544"/>
                <a:gd name="T18" fmla="*/ 2564 w 16058"/>
                <a:gd name="T19" fmla="*/ 5102 h 11544"/>
                <a:gd name="T20" fmla="*/ 2509 w 16058"/>
                <a:gd name="T21" fmla="*/ 4790 h 11544"/>
                <a:gd name="T22" fmla="*/ 2634 w 16058"/>
                <a:gd name="T23" fmla="*/ 4225 h 11544"/>
                <a:gd name="T24" fmla="*/ 3014 w 16058"/>
                <a:gd name="T25" fmla="*/ 3763 h 11544"/>
                <a:gd name="T26" fmla="*/ 3573 w 16058"/>
                <a:gd name="T27" fmla="*/ 3528 h 11544"/>
                <a:gd name="T28" fmla="*/ 4022 w 16058"/>
                <a:gd name="T29" fmla="*/ 3524 h 11544"/>
                <a:gd name="T30" fmla="*/ 4410 w 16058"/>
                <a:gd name="T31" fmla="*/ 3616 h 11544"/>
                <a:gd name="T32" fmla="*/ 4822 w 16058"/>
                <a:gd name="T33" fmla="*/ 3718 h 11544"/>
                <a:gd name="T34" fmla="*/ 5077 w 16058"/>
                <a:gd name="T35" fmla="*/ 3578 h 11544"/>
                <a:gd name="T36" fmla="*/ 5304 w 16058"/>
                <a:gd name="T37" fmla="*/ 3154 h 11544"/>
                <a:gd name="T38" fmla="*/ 5986 w 16058"/>
                <a:gd name="T39" fmla="*/ 2112 h 11544"/>
                <a:gd name="T40" fmla="*/ 6970 w 16058"/>
                <a:gd name="T41" fmla="*/ 1377 h 11544"/>
                <a:gd name="T42" fmla="*/ 8153 w 16058"/>
                <a:gd name="T43" fmla="*/ 1025 h 11544"/>
                <a:gd name="T44" fmla="*/ 9661 w 16058"/>
                <a:gd name="T45" fmla="*/ 1190 h 11544"/>
                <a:gd name="T46" fmla="*/ 10994 w 16058"/>
                <a:gd name="T47" fmla="*/ 2023 h 11544"/>
                <a:gd name="T48" fmla="*/ 11831 w 16058"/>
                <a:gd name="T49" fmla="*/ 3370 h 11544"/>
                <a:gd name="T50" fmla="*/ 12046 w 16058"/>
                <a:gd name="T51" fmla="*/ 4561 h 11544"/>
                <a:gd name="T52" fmla="*/ 12173 w 16058"/>
                <a:gd name="T53" fmla="*/ 4853 h 11544"/>
                <a:gd name="T54" fmla="*/ 12517 w 16058"/>
                <a:gd name="T55" fmla="*/ 5002 h 11544"/>
                <a:gd name="T56" fmla="*/ 13610 w 16058"/>
                <a:gd name="T57" fmla="*/ 5356 h 11544"/>
                <a:gd name="T58" fmla="*/ 14494 w 16058"/>
                <a:gd name="T59" fmla="*/ 6116 h 11544"/>
                <a:gd name="T60" fmla="*/ 14988 w 16058"/>
                <a:gd name="T61" fmla="*/ 7177 h 11544"/>
                <a:gd name="T62" fmla="*/ 14968 w 16058"/>
                <a:gd name="T63" fmla="*/ 8469 h 11544"/>
                <a:gd name="T64" fmla="*/ 14337 w 16058"/>
                <a:gd name="T65" fmla="*/ 9634 h 11544"/>
                <a:gd name="T66" fmla="*/ 13243 w 16058"/>
                <a:gd name="T67" fmla="*/ 10372 h 11544"/>
                <a:gd name="T68" fmla="*/ 12944 w 16058"/>
                <a:gd name="T69" fmla="*/ 3664 h 11544"/>
                <a:gd name="T70" fmla="*/ 12111 w 16058"/>
                <a:gd name="T71" fmla="*/ 1788 h 11544"/>
                <a:gd name="T72" fmla="*/ 10564 w 16058"/>
                <a:gd name="T73" fmla="*/ 487 h 11544"/>
                <a:gd name="T74" fmla="*/ 8531 w 16058"/>
                <a:gd name="T75" fmla="*/ 0 h 11544"/>
                <a:gd name="T76" fmla="*/ 6922 w 16058"/>
                <a:gd name="T77" fmla="*/ 297 h 11544"/>
                <a:gd name="T78" fmla="*/ 5572 w 16058"/>
                <a:gd name="T79" fmla="*/ 1115 h 11544"/>
                <a:gd name="T80" fmla="*/ 4587 w 16058"/>
                <a:gd name="T81" fmla="*/ 2341 h 11544"/>
                <a:gd name="T82" fmla="*/ 4112 w 16058"/>
                <a:gd name="T83" fmla="*/ 2541 h 11544"/>
                <a:gd name="T84" fmla="*/ 3533 w 16058"/>
                <a:gd name="T85" fmla="*/ 2521 h 11544"/>
                <a:gd name="T86" fmla="*/ 2501 w 16058"/>
                <a:gd name="T87" fmla="*/ 2896 h 11544"/>
                <a:gd name="T88" fmla="*/ 1778 w 16058"/>
                <a:gd name="T89" fmla="*/ 3692 h 11544"/>
                <a:gd name="T90" fmla="*/ 1505 w 16058"/>
                <a:gd name="T91" fmla="*/ 4768 h 11544"/>
                <a:gd name="T92" fmla="*/ 1558 w 16058"/>
                <a:gd name="T93" fmla="*/ 5217 h 11544"/>
                <a:gd name="T94" fmla="*/ 1281 w 16058"/>
                <a:gd name="T95" fmla="*/ 5706 h 11544"/>
                <a:gd name="T96" fmla="*/ 564 w 16058"/>
                <a:gd name="T97" fmla="*/ 6461 h 11544"/>
                <a:gd name="T98" fmla="*/ 118 w 16058"/>
                <a:gd name="T99" fmla="*/ 7414 h 11544"/>
                <a:gd name="T100" fmla="*/ 17 w 16058"/>
                <a:gd name="T101" fmla="*/ 8615 h 11544"/>
                <a:gd name="T102" fmla="*/ 557 w 16058"/>
                <a:gd name="T103" fmla="*/ 10106 h 11544"/>
                <a:gd name="T104" fmla="*/ 1707 w 16058"/>
                <a:gd name="T105" fmla="*/ 11150 h 11544"/>
                <a:gd name="T106" fmla="*/ 3262 w 16058"/>
                <a:gd name="T107" fmla="*/ 11543 h 11544"/>
                <a:gd name="T108" fmla="*/ 13589 w 16058"/>
                <a:gd name="T109" fmla="*/ 11315 h 11544"/>
                <a:gd name="T110" fmla="*/ 15080 w 16058"/>
                <a:gd name="T111" fmla="*/ 10310 h 11544"/>
                <a:gd name="T112" fmla="*/ 15940 w 16058"/>
                <a:gd name="T113" fmla="*/ 8720 h 11544"/>
                <a:gd name="T114" fmla="*/ 15965 w 16058"/>
                <a:gd name="T115" fmla="*/ 6945 h 11544"/>
                <a:gd name="T116" fmla="*/ 15283 w 16058"/>
                <a:gd name="T117" fmla="*/ 5493 h 11544"/>
                <a:gd name="T118" fmla="*/ 14075 w 16058"/>
                <a:gd name="T119" fmla="*/ 4467 h 11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58" h="11544">
                  <a:moveTo>
                    <a:pt x="12294" y="10539"/>
                  </a:moveTo>
                  <a:lnTo>
                    <a:pt x="12294" y="10540"/>
                  </a:lnTo>
                  <a:lnTo>
                    <a:pt x="3262" y="10540"/>
                  </a:lnTo>
                  <a:lnTo>
                    <a:pt x="3145" y="10537"/>
                  </a:lnTo>
                  <a:lnTo>
                    <a:pt x="3031" y="10528"/>
                  </a:lnTo>
                  <a:lnTo>
                    <a:pt x="2919" y="10514"/>
                  </a:lnTo>
                  <a:lnTo>
                    <a:pt x="2807" y="10494"/>
                  </a:lnTo>
                  <a:lnTo>
                    <a:pt x="2698" y="10469"/>
                  </a:lnTo>
                  <a:lnTo>
                    <a:pt x="2591" y="10438"/>
                  </a:lnTo>
                  <a:lnTo>
                    <a:pt x="2486" y="10403"/>
                  </a:lnTo>
                  <a:lnTo>
                    <a:pt x="2384" y="10363"/>
                  </a:lnTo>
                  <a:lnTo>
                    <a:pt x="2284" y="10316"/>
                  </a:lnTo>
                  <a:lnTo>
                    <a:pt x="2187" y="10267"/>
                  </a:lnTo>
                  <a:lnTo>
                    <a:pt x="2092" y="10212"/>
                  </a:lnTo>
                  <a:lnTo>
                    <a:pt x="2000" y="10154"/>
                  </a:lnTo>
                  <a:lnTo>
                    <a:pt x="1912" y="10091"/>
                  </a:lnTo>
                  <a:lnTo>
                    <a:pt x="1827" y="10023"/>
                  </a:lnTo>
                  <a:lnTo>
                    <a:pt x="1744" y="9952"/>
                  </a:lnTo>
                  <a:lnTo>
                    <a:pt x="1666" y="9878"/>
                  </a:lnTo>
                  <a:lnTo>
                    <a:pt x="1591" y="9798"/>
                  </a:lnTo>
                  <a:lnTo>
                    <a:pt x="1520" y="9717"/>
                  </a:lnTo>
                  <a:lnTo>
                    <a:pt x="1453" y="9632"/>
                  </a:lnTo>
                  <a:lnTo>
                    <a:pt x="1390" y="9543"/>
                  </a:lnTo>
                  <a:lnTo>
                    <a:pt x="1331" y="9451"/>
                  </a:lnTo>
                  <a:lnTo>
                    <a:pt x="1277" y="9357"/>
                  </a:lnTo>
                  <a:lnTo>
                    <a:pt x="1226" y="9259"/>
                  </a:lnTo>
                  <a:lnTo>
                    <a:pt x="1181" y="9159"/>
                  </a:lnTo>
                  <a:lnTo>
                    <a:pt x="1141" y="9057"/>
                  </a:lnTo>
                  <a:lnTo>
                    <a:pt x="1105" y="8952"/>
                  </a:lnTo>
                  <a:lnTo>
                    <a:pt x="1075" y="8845"/>
                  </a:lnTo>
                  <a:lnTo>
                    <a:pt x="1050" y="8736"/>
                  </a:lnTo>
                  <a:lnTo>
                    <a:pt x="1030" y="8624"/>
                  </a:lnTo>
                  <a:lnTo>
                    <a:pt x="1016" y="8512"/>
                  </a:lnTo>
                  <a:lnTo>
                    <a:pt x="1007" y="8397"/>
                  </a:lnTo>
                  <a:lnTo>
                    <a:pt x="1004" y="8281"/>
                  </a:lnTo>
                  <a:lnTo>
                    <a:pt x="1005" y="8207"/>
                  </a:lnTo>
                  <a:lnTo>
                    <a:pt x="1009" y="8131"/>
                  </a:lnTo>
                  <a:lnTo>
                    <a:pt x="1015" y="8057"/>
                  </a:lnTo>
                  <a:lnTo>
                    <a:pt x="1024" y="7984"/>
                  </a:lnTo>
                  <a:lnTo>
                    <a:pt x="1034" y="7911"/>
                  </a:lnTo>
                  <a:lnTo>
                    <a:pt x="1048" y="7839"/>
                  </a:lnTo>
                  <a:lnTo>
                    <a:pt x="1063" y="7768"/>
                  </a:lnTo>
                  <a:lnTo>
                    <a:pt x="1081" y="7697"/>
                  </a:lnTo>
                  <a:lnTo>
                    <a:pt x="1101" y="7627"/>
                  </a:lnTo>
                  <a:lnTo>
                    <a:pt x="1123" y="7558"/>
                  </a:lnTo>
                  <a:lnTo>
                    <a:pt x="1148" y="7490"/>
                  </a:lnTo>
                  <a:lnTo>
                    <a:pt x="1175" y="7423"/>
                  </a:lnTo>
                  <a:lnTo>
                    <a:pt x="1203" y="7356"/>
                  </a:lnTo>
                  <a:lnTo>
                    <a:pt x="1235" y="7291"/>
                  </a:lnTo>
                  <a:lnTo>
                    <a:pt x="1269" y="7227"/>
                  </a:lnTo>
                  <a:lnTo>
                    <a:pt x="1304" y="7165"/>
                  </a:lnTo>
                  <a:lnTo>
                    <a:pt x="1341" y="7102"/>
                  </a:lnTo>
                  <a:lnTo>
                    <a:pt x="1381" y="7041"/>
                  </a:lnTo>
                  <a:lnTo>
                    <a:pt x="1422" y="6982"/>
                  </a:lnTo>
                  <a:lnTo>
                    <a:pt x="1465" y="6924"/>
                  </a:lnTo>
                  <a:lnTo>
                    <a:pt x="1511" y="6867"/>
                  </a:lnTo>
                  <a:lnTo>
                    <a:pt x="1559" y="6811"/>
                  </a:lnTo>
                  <a:lnTo>
                    <a:pt x="1608" y="6757"/>
                  </a:lnTo>
                  <a:lnTo>
                    <a:pt x="1659" y="6705"/>
                  </a:lnTo>
                  <a:lnTo>
                    <a:pt x="1712" y="6654"/>
                  </a:lnTo>
                  <a:lnTo>
                    <a:pt x="1767" y="6604"/>
                  </a:lnTo>
                  <a:lnTo>
                    <a:pt x="1825" y="6555"/>
                  </a:lnTo>
                  <a:lnTo>
                    <a:pt x="1883" y="6509"/>
                  </a:lnTo>
                  <a:lnTo>
                    <a:pt x="1943" y="6464"/>
                  </a:lnTo>
                  <a:lnTo>
                    <a:pt x="2005" y="6421"/>
                  </a:lnTo>
                  <a:lnTo>
                    <a:pt x="2069" y="6380"/>
                  </a:lnTo>
                  <a:lnTo>
                    <a:pt x="2135" y="6341"/>
                  </a:lnTo>
                  <a:lnTo>
                    <a:pt x="2198" y="6304"/>
                  </a:lnTo>
                  <a:lnTo>
                    <a:pt x="2256" y="6269"/>
                  </a:lnTo>
                  <a:lnTo>
                    <a:pt x="2311" y="6236"/>
                  </a:lnTo>
                  <a:lnTo>
                    <a:pt x="2364" y="6205"/>
                  </a:lnTo>
                  <a:lnTo>
                    <a:pt x="2412" y="6174"/>
                  </a:lnTo>
                  <a:lnTo>
                    <a:pt x="2456" y="6145"/>
                  </a:lnTo>
                  <a:lnTo>
                    <a:pt x="2498" y="6116"/>
                  </a:lnTo>
                  <a:lnTo>
                    <a:pt x="2535" y="6088"/>
                  </a:lnTo>
                  <a:lnTo>
                    <a:pt x="2570" y="6061"/>
                  </a:lnTo>
                  <a:lnTo>
                    <a:pt x="2601" y="6033"/>
                  </a:lnTo>
                  <a:lnTo>
                    <a:pt x="2629" y="6006"/>
                  </a:lnTo>
                  <a:lnTo>
                    <a:pt x="2655" y="5979"/>
                  </a:lnTo>
                  <a:lnTo>
                    <a:pt x="2677" y="5951"/>
                  </a:lnTo>
                  <a:lnTo>
                    <a:pt x="2696" y="5923"/>
                  </a:lnTo>
                  <a:lnTo>
                    <a:pt x="2712" y="5895"/>
                  </a:lnTo>
                  <a:lnTo>
                    <a:pt x="2725" y="5866"/>
                  </a:lnTo>
                  <a:lnTo>
                    <a:pt x="2735" y="5836"/>
                  </a:lnTo>
                  <a:lnTo>
                    <a:pt x="2742" y="5805"/>
                  </a:lnTo>
                  <a:lnTo>
                    <a:pt x="2747" y="5773"/>
                  </a:lnTo>
                  <a:lnTo>
                    <a:pt x="2748" y="5738"/>
                  </a:lnTo>
                  <a:lnTo>
                    <a:pt x="2748" y="5703"/>
                  </a:lnTo>
                  <a:lnTo>
                    <a:pt x="2744" y="5665"/>
                  </a:lnTo>
                  <a:lnTo>
                    <a:pt x="2739" y="5626"/>
                  </a:lnTo>
                  <a:lnTo>
                    <a:pt x="2730" y="5585"/>
                  </a:lnTo>
                  <a:lnTo>
                    <a:pt x="2720" y="5542"/>
                  </a:lnTo>
                  <a:lnTo>
                    <a:pt x="2707" y="5495"/>
                  </a:lnTo>
                  <a:lnTo>
                    <a:pt x="2691" y="5446"/>
                  </a:lnTo>
                  <a:lnTo>
                    <a:pt x="2674" y="5395"/>
                  </a:lnTo>
                  <a:lnTo>
                    <a:pt x="2654" y="5340"/>
                  </a:lnTo>
                  <a:lnTo>
                    <a:pt x="2632" y="5282"/>
                  </a:lnTo>
                  <a:lnTo>
                    <a:pt x="2607" y="5220"/>
                  </a:lnTo>
                  <a:lnTo>
                    <a:pt x="2581" y="5156"/>
                  </a:lnTo>
                  <a:lnTo>
                    <a:pt x="2564" y="5102"/>
                  </a:lnTo>
                  <a:lnTo>
                    <a:pt x="2549" y="5050"/>
                  </a:lnTo>
                  <a:lnTo>
                    <a:pt x="2537" y="5000"/>
                  </a:lnTo>
                  <a:lnTo>
                    <a:pt x="2527" y="4950"/>
                  </a:lnTo>
                  <a:lnTo>
                    <a:pt x="2523" y="4926"/>
                  </a:lnTo>
                  <a:lnTo>
                    <a:pt x="2519" y="4903"/>
                  </a:lnTo>
                  <a:lnTo>
                    <a:pt x="2516" y="4880"/>
                  </a:lnTo>
                  <a:lnTo>
                    <a:pt x="2514" y="4857"/>
                  </a:lnTo>
                  <a:lnTo>
                    <a:pt x="2512" y="4834"/>
                  </a:lnTo>
                  <a:lnTo>
                    <a:pt x="2510" y="4812"/>
                  </a:lnTo>
                  <a:lnTo>
                    <a:pt x="2509" y="4790"/>
                  </a:lnTo>
                  <a:lnTo>
                    <a:pt x="2509" y="4768"/>
                  </a:lnTo>
                  <a:lnTo>
                    <a:pt x="2511" y="4704"/>
                  </a:lnTo>
                  <a:lnTo>
                    <a:pt x="2516" y="4640"/>
                  </a:lnTo>
                  <a:lnTo>
                    <a:pt x="2524" y="4577"/>
                  </a:lnTo>
                  <a:lnTo>
                    <a:pt x="2535" y="4516"/>
                  </a:lnTo>
                  <a:lnTo>
                    <a:pt x="2549" y="4455"/>
                  </a:lnTo>
                  <a:lnTo>
                    <a:pt x="2565" y="4395"/>
                  </a:lnTo>
                  <a:lnTo>
                    <a:pt x="2585" y="4337"/>
                  </a:lnTo>
                  <a:lnTo>
                    <a:pt x="2608" y="4280"/>
                  </a:lnTo>
                  <a:lnTo>
                    <a:pt x="2634" y="4225"/>
                  </a:lnTo>
                  <a:lnTo>
                    <a:pt x="2661" y="4171"/>
                  </a:lnTo>
                  <a:lnTo>
                    <a:pt x="2691" y="4118"/>
                  </a:lnTo>
                  <a:lnTo>
                    <a:pt x="2724" y="4067"/>
                  </a:lnTo>
                  <a:lnTo>
                    <a:pt x="2759" y="4018"/>
                  </a:lnTo>
                  <a:lnTo>
                    <a:pt x="2796" y="3971"/>
                  </a:lnTo>
                  <a:lnTo>
                    <a:pt x="2835" y="3925"/>
                  </a:lnTo>
                  <a:lnTo>
                    <a:pt x="2877" y="3881"/>
                  </a:lnTo>
                  <a:lnTo>
                    <a:pt x="2921" y="3839"/>
                  </a:lnTo>
                  <a:lnTo>
                    <a:pt x="2966" y="3800"/>
                  </a:lnTo>
                  <a:lnTo>
                    <a:pt x="3014" y="3763"/>
                  </a:lnTo>
                  <a:lnTo>
                    <a:pt x="3063" y="3728"/>
                  </a:lnTo>
                  <a:lnTo>
                    <a:pt x="3113" y="3696"/>
                  </a:lnTo>
                  <a:lnTo>
                    <a:pt x="3166" y="3665"/>
                  </a:lnTo>
                  <a:lnTo>
                    <a:pt x="3221" y="3638"/>
                  </a:lnTo>
                  <a:lnTo>
                    <a:pt x="3276" y="3612"/>
                  </a:lnTo>
                  <a:lnTo>
                    <a:pt x="3333" y="3589"/>
                  </a:lnTo>
                  <a:lnTo>
                    <a:pt x="3391" y="3570"/>
                  </a:lnTo>
                  <a:lnTo>
                    <a:pt x="3450" y="3553"/>
                  </a:lnTo>
                  <a:lnTo>
                    <a:pt x="3512" y="3539"/>
                  </a:lnTo>
                  <a:lnTo>
                    <a:pt x="3573" y="3528"/>
                  </a:lnTo>
                  <a:lnTo>
                    <a:pt x="3636" y="3520"/>
                  </a:lnTo>
                  <a:lnTo>
                    <a:pt x="3699" y="3515"/>
                  </a:lnTo>
                  <a:lnTo>
                    <a:pt x="3764" y="3513"/>
                  </a:lnTo>
                  <a:lnTo>
                    <a:pt x="3779" y="3513"/>
                  </a:lnTo>
                  <a:lnTo>
                    <a:pt x="3821" y="3512"/>
                  </a:lnTo>
                  <a:lnTo>
                    <a:pt x="3851" y="3512"/>
                  </a:lnTo>
                  <a:lnTo>
                    <a:pt x="3886" y="3513"/>
                  </a:lnTo>
                  <a:lnTo>
                    <a:pt x="3927" y="3515"/>
                  </a:lnTo>
                  <a:lnTo>
                    <a:pt x="3972" y="3519"/>
                  </a:lnTo>
                  <a:lnTo>
                    <a:pt x="4022" y="3524"/>
                  </a:lnTo>
                  <a:lnTo>
                    <a:pt x="4074" y="3531"/>
                  </a:lnTo>
                  <a:lnTo>
                    <a:pt x="4130" y="3540"/>
                  </a:lnTo>
                  <a:lnTo>
                    <a:pt x="4189" y="3552"/>
                  </a:lnTo>
                  <a:lnTo>
                    <a:pt x="4219" y="3559"/>
                  </a:lnTo>
                  <a:lnTo>
                    <a:pt x="4250" y="3566"/>
                  </a:lnTo>
                  <a:lnTo>
                    <a:pt x="4281" y="3575"/>
                  </a:lnTo>
                  <a:lnTo>
                    <a:pt x="4314" y="3584"/>
                  </a:lnTo>
                  <a:lnTo>
                    <a:pt x="4345" y="3594"/>
                  </a:lnTo>
                  <a:lnTo>
                    <a:pt x="4378" y="3604"/>
                  </a:lnTo>
                  <a:lnTo>
                    <a:pt x="4410" y="3616"/>
                  </a:lnTo>
                  <a:lnTo>
                    <a:pt x="4443" y="3629"/>
                  </a:lnTo>
                  <a:lnTo>
                    <a:pt x="4495" y="3649"/>
                  </a:lnTo>
                  <a:lnTo>
                    <a:pt x="4544" y="3667"/>
                  </a:lnTo>
                  <a:lnTo>
                    <a:pt x="4592" y="3682"/>
                  </a:lnTo>
                  <a:lnTo>
                    <a:pt x="4636" y="3694"/>
                  </a:lnTo>
                  <a:lnTo>
                    <a:pt x="4678" y="3704"/>
                  </a:lnTo>
                  <a:lnTo>
                    <a:pt x="4717" y="3711"/>
                  </a:lnTo>
                  <a:lnTo>
                    <a:pt x="4754" y="3716"/>
                  </a:lnTo>
                  <a:lnTo>
                    <a:pt x="4789" y="3718"/>
                  </a:lnTo>
                  <a:lnTo>
                    <a:pt x="4822" y="3718"/>
                  </a:lnTo>
                  <a:lnTo>
                    <a:pt x="4855" y="3715"/>
                  </a:lnTo>
                  <a:lnTo>
                    <a:pt x="4884" y="3710"/>
                  </a:lnTo>
                  <a:lnTo>
                    <a:pt x="4912" y="3702"/>
                  </a:lnTo>
                  <a:lnTo>
                    <a:pt x="4939" y="3692"/>
                  </a:lnTo>
                  <a:lnTo>
                    <a:pt x="4964" y="3679"/>
                  </a:lnTo>
                  <a:lnTo>
                    <a:pt x="4989" y="3664"/>
                  </a:lnTo>
                  <a:lnTo>
                    <a:pt x="5012" y="3646"/>
                  </a:lnTo>
                  <a:lnTo>
                    <a:pt x="5034" y="3626"/>
                  </a:lnTo>
                  <a:lnTo>
                    <a:pt x="5056" y="3603"/>
                  </a:lnTo>
                  <a:lnTo>
                    <a:pt x="5077" y="3578"/>
                  </a:lnTo>
                  <a:lnTo>
                    <a:pt x="5097" y="3551"/>
                  </a:lnTo>
                  <a:lnTo>
                    <a:pt x="5117" y="3522"/>
                  </a:lnTo>
                  <a:lnTo>
                    <a:pt x="5138" y="3490"/>
                  </a:lnTo>
                  <a:lnTo>
                    <a:pt x="5158" y="3456"/>
                  </a:lnTo>
                  <a:lnTo>
                    <a:pt x="5177" y="3420"/>
                  </a:lnTo>
                  <a:lnTo>
                    <a:pt x="5197" y="3382"/>
                  </a:lnTo>
                  <a:lnTo>
                    <a:pt x="5218" y="3340"/>
                  </a:lnTo>
                  <a:lnTo>
                    <a:pt x="5238" y="3297"/>
                  </a:lnTo>
                  <a:lnTo>
                    <a:pt x="5260" y="3251"/>
                  </a:lnTo>
                  <a:lnTo>
                    <a:pt x="5304" y="3154"/>
                  </a:lnTo>
                  <a:lnTo>
                    <a:pt x="5353" y="3047"/>
                  </a:lnTo>
                  <a:lnTo>
                    <a:pt x="5409" y="2932"/>
                  </a:lnTo>
                  <a:lnTo>
                    <a:pt x="5469" y="2820"/>
                  </a:lnTo>
                  <a:lnTo>
                    <a:pt x="5532" y="2710"/>
                  </a:lnTo>
                  <a:lnTo>
                    <a:pt x="5599" y="2603"/>
                  </a:lnTo>
                  <a:lnTo>
                    <a:pt x="5669" y="2499"/>
                  </a:lnTo>
                  <a:lnTo>
                    <a:pt x="5744" y="2398"/>
                  </a:lnTo>
                  <a:lnTo>
                    <a:pt x="5821" y="2300"/>
                  </a:lnTo>
                  <a:lnTo>
                    <a:pt x="5902" y="2204"/>
                  </a:lnTo>
                  <a:lnTo>
                    <a:pt x="5986" y="2112"/>
                  </a:lnTo>
                  <a:lnTo>
                    <a:pt x="6072" y="2024"/>
                  </a:lnTo>
                  <a:lnTo>
                    <a:pt x="6161" y="1938"/>
                  </a:lnTo>
                  <a:lnTo>
                    <a:pt x="6255" y="1856"/>
                  </a:lnTo>
                  <a:lnTo>
                    <a:pt x="6349" y="1777"/>
                  </a:lnTo>
                  <a:lnTo>
                    <a:pt x="6447" y="1701"/>
                  </a:lnTo>
                  <a:lnTo>
                    <a:pt x="6547" y="1629"/>
                  </a:lnTo>
                  <a:lnTo>
                    <a:pt x="6650" y="1560"/>
                  </a:lnTo>
                  <a:lnTo>
                    <a:pt x="6754" y="1496"/>
                  </a:lnTo>
                  <a:lnTo>
                    <a:pt x="6862" y="1434"/>
                  </a:lnTo>
                  <a:lnTo>
                    <a:pt x="6970" y="1377"/>
                  </a:lnTo>
                  <a:lnTo>
                    <a:pt x="7082" y="1323"/>
                  </a:lnTo>
                  <a:lnTo>
                    <a:pt x="7195" y="1274"/>
                  </a:lnTo>
                  <a:lnTo>
                    <a:pt x="7309" y="1228"/>
                  </a:lnTo>
                  <a:lnTo>
                    <a:pt x="7426" y="1186"/>
                  </a:lnTo>
                  <a:lnTo>
                    <a:pt x="7543" y="1148"/>
                  </a:lnTo>
                  <a:lnTo>
                    <a:pt x="7663" y="1115"/>
                  </a:lnTo>
                  <a:lnTo>
                    <a:pt x="7784" y="1086"/>
                  </a:lnTo>
                  <a:lnTo>
                    <a:pt x="7906" y="1061"/>
                  </a:lnTo>
                  <a:lnTo>
                    <a:pt x="8029" y="1041"/>
                  </a:lnTo>
                  <a:lnTo>
                    <a:pt x="8153" y="1025"/>
                  </a:lnTo>
                  <a:lnTo>
                    <a:pt x="8278" y="1013"/>
                  </a:lnTo>
                  <a:lnTo>
                    <a:pt x="8404" y="1007"/>
                  </a:lnTo>
                  <a:lnTo>
                    <a:pt x="8531" y="1004"/>
                  </a:lnTo>
                  <a:lnTo>
                    <a:pt x="8699" y="1008"/>
                  </a:lnTo>
                  <a:lnTo>
                    <a:pt x="8866" y="1020"/>
                  </a:lnTo>
                  <a:lnTo>
                    <a:pt x="9030" y="1039"/>
                  </a:lnTo>
                  <a:lnTo>
                    <a:pt x="9192" y="1066"/>
                  </a:lnTo>
                  <a:lnTo>
                    <a:pt x="9351" y="1100"/>
                  </a:lnTo>
                  <a:lnTo>
                    <a:pt x="9507" y="1142"/>
                  </a:lnTo>
                  <a:lnTo>
                    <a:pt x="9661" y="1190"/>
                  </a:lnTo>
                  <a:lnTo>
                    <a:pt x="9811" y="1246"/>
                  </a:lnTo>
                  <a:lnTo>
                    <a:pt x="9959" y="1308"/>
                  </a:lnTo>
                  <a:lnTo>
                    <a:pt x="10102" y="1376"/>
                  </a:lnTo>
                  <a:lnTo>
                    <a:pt x="10242" y="1451"/>
                  </a:lnTo>
                  <a:lnTo>
                    <a:pt x="10378" y="1532"/>
                  </a:lnTo>
                  <a:lnTo>
                    <a:pt x="10510" y="1619"/>
                  </a:lnTo>
                  <a:lnTo>
                    <a:pt x="10638" y="1711"/>
                  </a:lnTo>
                  <a:lnTo>
                    <a:pt x="10761" y="1810"/>
                  </a:lnTo>
                  <a:lnTo>
                    <a:pt x="10880" y="1914"/>
                  </a:lnTo>
                  <a:lnTo>
                    <a:pt x="10994" y="2023"/>
                  </a:lnTo>
                  <a:lnTo>
                    <a:pt x="11103" y="2137"/>
                  </a:lnTo>
                  <a:lnTo>
                    <a:pt x="11207" y="2256"/>
                  </a:lnTo>
                  <a:lnTo>
                    <a:pt x="11306" y="2381"/>
                  </a:lnTo>
                  <a:lnTo>
                    <a:pt x="11398" y="2509"/>
                  </a:lnTo>
                  <a:lnTo>
                    <a:pt x="11486" y="2643"/>
                  </a:lnTo>
                  <a:lnTo>
                    <a:pt x="11568" y="2780"/>
                  </a:lnTo>
                  <a:lnTo>
                    <a:pt x="11643" y="2922"/>
                  </a:lnTo>
                  <a:lnTo>
                    <a:pt x="11712" y="3067"/>
                  </a:lnTo>
                  <a:lnTo>
                    <a:pt x="11775" y="3217"/>
                  </a:lnTo>
                  <a:lnTo>
                    <a:pt x="11831" y="3370"/>
                  </a:lnTo>
                  <a:lnTo>
                    <a:pt x="11880" y="3526"/>
                  </a:lnTo>
                  <a:lnTo>
                    <a:pt x="11922" y="3686"/>
                  </a:lnTo>
                  <a:lnTo>
                    <a:pt x="11957" y="3848"/>
                  </a:lnTo>
                  <a:lnTo>
                    <a:pt x="11985" y="4014"/>
                  </a:lnTo>
                  <a:lnTo>
                    <a:pt x="12005" y="4183"/>
                  </a:lnTo>
                  <a:lnTo>
                    <a:pt x="12016" y="4309"/>
                  </a:lnTo>
                  <a:lnTo>
                    <a:pt x="12027" y="4420"/>
                  </a:lnTo>
                  <a:lnTo>
                    <a:pt x="12032" y="4471"/>
                  </a:lnTo>
                  <a:lnTo>
                    <a:pt x="12038" y="4517"/>
                  </a:lnTo>
                  <a:lnTo>
                    <a:pt x="12046" y="4561"/>
                  </a:lnTo>
                  <a:lnTo>
                    <a:pt x="12053" y="4601"/>
                  </a:lnTo>
                  <a:lnTo>
                    <a:pt x="12061" y="4638"/>
                  </a:lnTo>
                  <a:lnTo>
                    <a:pt x="12070" y="4673"/>
                  </a:lnTo>
                  <a:lnTo>
                    <a:pt x="12081" y="4706"/>
                  </a:lnTo>
                  <a:lnTo>
                    <a:pt x="12092" y="4736"/>
                  </a:lnTo>
                  <a:lnTo>
                    <a:pt x="12105" y="4763"/>
                  </a:lnTo>
                  <a:lnTo>
                    <a:pt x="12119" y="4788"/>
                  </a:lnTo>
                  <a:lnTo>
                    <a:pt x="12135" y="4812"/>
                  </a:lnTo>
                  <a:lnTo>
                    <a:pt x="12153" y="4833"/>
                  </a:lnTo>
                  <a:lnTo>
                    <a:pt x="12173" y="4853"/>
                  </a:lnTo>
                  <a:lnTo>
                    <a:pt x="12195" y="4872"/>
                  </a:lnTo>
                  <a:lnTo>
                    <a:pt x="12220" y="4889"/>
                  </a:lnTo>
                  <a:lnTo>
                    <a:pt x="12247" y="4905"/>
                  </a:lnTo>
                  <a:lnTo>
                    <a:pt x="12276" y="4920"/>
                  </a:lnTo>
                  <a:lnTo>
                    <a:pt x="12308" y="4935"/>
                  </a:lnTo>
                  <a:lnTo>
                    <a:pt x="12344" y="4949"/>
                  </a:lnTo>
                  <a:lnTo>
                    <a:pt x="12383" y="4962"/>
                  </a:lnTo>
                  <a:lnTo>
                    <a:pt x="12424" y="4976"/>
                  </a:lnTo>
                  <a:lnTo>
                    <a:pt x="12468" y="4989"/>
                  </a:lnTo>
                  <a:lnTo>
                    <a:pt x="12517" y="5002"/>
                  </a:lnTo>
                  <a:lnTo>
                    <a:pt x="12568" y="5015"/>
                  </a:lnTo>
                  <a:lnTo>
                    <a:pt x="12684" y="5043"/>
                  </a:lnTo>
                  <a:lnTo>
                    <a:pt x="12816" y="5073"/>
                  </a:lnTo>
                  <a:lnTo>
                    <a:pt x="12937" y="5099"/>
                  </a:lnTo>
                  <a:lnTo>
                    <a:pt x="13055" y="5129"/>
                  </a:lnTo>
                  <a:lnTo>
                    <a:pt x="13171" y="5165"/>
                  </a:lnTo>
                  <a:lnTo>
                    <a:pt x="13285" y="5206"/>
                  </a:lnTo>
                  <a:lnTo>
                    <a:pt x="13395" y="5252"/>
                  </a:lnTo>
                  <a:lnTo>
                    <a:pt x="13505" y="5302"/>
                  </a:lnTo>
                  <a:lnTo>
                    <a:pt x="13610" y="5356"/>
                  </a:lnTo>
                  <a:lnTo>
                    <a:pt x="13714" y="5415"/>
                  </a:lnTo>
                  <a:lnTo>
                    <a:pt x="13813" y="5477"/>
                  </a:lnTo>
                  <a:lnTo>
                    <a:pt x="13910" y="5545"/>
                  </a:lnTo>
                  <a:lnTo>
                    <a:pt x="14004" y="5615"/>
                  </a:lnTo>
                  <a:lnTo>
                    <a:pt x="14095" y="5690"/>
                  </a:lnTo>
                  <a:lnTo>
                    <a:pt x="14181" y="5768"/>
                  </a:lnTo>
                  <a:lnTo>
                    <a:pt x="14266" y="5850"/>
                  </a:lnTo>
                  <a:lnTo>
                    <a:pt x="14346" y="5935"/>
                  </a:lnTo>
                  <a:lnTo>
                    <a:pt x="14422" y="6024"/>
                  </a:lnTo>
                  <a:lnTo>
                    <a:pt x="14494" y="6116"/>
                  </a:lnTo>
                  <a:lnTo>
                    <a:pt x="14564" y="6210"/>
                  </a:lnTo>
                  <a:lnTo>
                    <a:pt x="14628" y="6307"/>
                  </a:lnTo>
                  <a:lnTo>
                    <a:pt x="14689" y="6408"/>
                  </a:lnTo>
                  <a:lnTo>
                    <a:pt x="14745" y="6511"/>
                  </a:lnTo>
                  <a:lnTo>
                    <a:pt x="14796" y="6617"/>
                  </a:lnTo>
                  <a:lnTo>
                    <a:pt x="14845" y="6724"/>
                  </a:lnTo>
                  <a:lnTo>
                    <a:pt x="14888" y="6834"/>
                  </a:lnTo>
                  <a:lnTo>
                    <a:pt x="14926" y="6947"/>
                  </a:lnTo>
                  <a:lnTo>
                    <a:pt x="14959" y="7060"/>
                  </a:lnTo>
                  <a:lnTo>
                    <a:pt x="14988" y="7177"/>
                  </a:lnTo>
                  <a:lnTo>
                    <a:pt x="15012" y="7294"/>
                  </a:lnTo>
                  <a:lnTo>
                    <a:pt x="15030" y="7414"/>
                  </a:lnTo>
                  <a:lnTo>
                    <a:pt x="15044" y="7534"/>
                  </a:lnTo>
                  <a:lnTo>
                    <a:pt x="15052" y="7656"/>
                  </a:lnTo>
                  <a:lnTo>
                    <a:pt x="15055" y="7779"/>
                  </a:lnTo>
                  <a:lnTo>
                    <a:pt x="15051" y="7922"/>
                  </a:lnTo>
                  <a:lnTo>
                    <a:pt x="15040" y="8061"/>
                  </a:lnTo>
                  <a:lnTo>
                    <a:pt x="15023" y="8199"/>
                  </a:lnTo>
                  <a:lnTo>
                    <a:pt x="14999" y="8335"/>
                  </a:lnTo>
                  <a:lnTo>
                    <a:pt x="14968" y="8469"/>
                  </a:lnTo>
                  <a:lnTo>
                    <a:pt x="14931" y="8599"/>
                  </a:lnTo>
                  <a:lnTo>
                    <a:pt x="14887" y="8728"/>
                  </a:lnTo>
                  <a:lnTo>
                    <a:pt x="14838" y="8853"/>
                  </a:lnTo>
                  <a:lnTo>
                    <a:pt x="14782" y="8975"/>
                  </a:lnTo>
                  <a:lnTo>
                    <a:pt x="14721" y="9094"/>
                  </a:lnTo>
                  <a:lnTo>
                    <a:pt x="14655" y="9209"/>
                  </a:lnTo>
                  <a:lnTo>
                    <a:pt x="14583" y="9322"/>
                  </a:lnTo>
                  <a:lnTo>
                    <a:pt x="14505" y="9430"/>
                  </a:lnTo>
                  <a:lnTo>
                    <a:pt x="14424" y="9535"/>
                  </a:lnTo>
                  <a:lnTo>
                    <a:pt x="14337" y="9634"/>
                  </a:lnTo>
                  <a:lnTo>
                    <a:pt x="14245" y="9730"/>
                  </a:lnTo>
                  <a:lnTo>
                    <a:pt x="14150" y="9822"/>
                  </a:lnTo>
                  <a:lnTo>
                    <a:pt x="14050" y="9909"/>
                  </a:lnTo>
                  <a:lnTo>
                    <a:pt x="13945" y="9990"/>
                  </a:lnTo>
                  <a:lnTo>
                    <a:pt x="13837" y="10068"/>
                  </a:lnTo>
                  <a:lnTo>
                    <a:pt x="13725" y="10140"/>
                  </a:lnTo>
                  <a:lnTo>
                    <a:pt x="13609" y="10206"/>
                  </a:lnTo>
                  <a:lnTo>
                    <a:pt x="13491" y="10267"/>
                  </a:lnTo>
                  <a:lnTo>
                    <a:pt x="13368" y="10322"/>
                  </a:lnTo>
                  <a:lnTo>
                    <a:pt x="13243" y="10372"/>
                  </a:lnTo>
                  <a:lnTo>
                    <a:pt x="13114" y="10416"/>
                  </a:lnTo>
                  <a:lnTo>
                    <a:pt x="12984" y="10453"/>
                  </a:lnTo>
                  <a:lnTo>
                    <a:pt x="12850" y="10484"/>
                  </a:lnTo>
                  <a:lnTo>
                    <a:pt x="12715" y="10508"/>
                  </a:lnTo>
                  <a:lnTo>
                    <a:pt x="12576" y="10525"/>
                  </a:lnTo>
                  <a:lnTo>
                    <a:pt x="12437" y="10536"/>
                  </a:lnTo>
                  <a:lnTo>
                    <a:pt x="12294" y="10539"/>
                  </a:lnTo>
                  <a:close/>
                  <a:moveTo>
                    <a:pt x="13004" y="4087"/>
                  </a:moveTo>
                  <a:lnTo>
                    <a:pt x="12979" y="3874"/>
                  </a:lnTo>
                  <a:lnTo>
                    <a:pt x="12944" y="3664"/>
                  </a:lnTo>
                  <a:lnTo>
                    <a:pt x="12899" y="3457"/>
                  </a:lnTo>
                  <a:lnTo>
                    <a:pt x="12845" y="3254"/>
                  </a:lnTo>
                  <a:lnTo>
                    <a:pt x="12782" y="3054"/>
                  </a:lnTo>
                  <a:lnTo>
                    <a:pt x="12711" y="2860"/>
                  </a:lnTo>
                  <a:lnTo>
                    <a:pt x="12631" y="2669"/>
                  </a:lnTo>
                  <a:lnTo>
                    <a:pt x="12542" y="2482"/>
                  </a:lnTo>
                  <a:lnTo>
                    <a:pt x="12446" y="2301"/>
                  </a:lnTo>
                  <a:lnTo>
                    <a:pt x="12343" y="2124"/>
                  </a:lnTo>
                  <a:lnTo>
                    <a:pt x="12230" y="1953"/>
                  </a:lnTo>
                  <a:lnTo>
                    <a:pt x="12111" y="1788"/>
                  </a:lnTo>
                  <a:lnTo>
                    <a:pt x="11985" y="1628"/>
                  </a:lnTo>
                  <a:lnTo>
                    <a:pt x="11852" y="1473"/>
                  </a:lnTo>
                  <a:lnTo>
                    <a:pt x="11711" y="1326"/>
                  </a:lnTo>
                  <a:lnTo>
                    <a:pt x="11566" y="1184"/>
                  </a:lnTo>
                  <a:lnTo>
                    <a:pt x="11413" y="1050"/>
                  </a:lnTo>
                  <a:lnTo>
                    <a:pt x="11254" y="922"/>
                  </a:lnTo>
                  <a:lnTo>
                    <a:pt x="11090" y="802"/>
                  </a:lnTo>
                  <a:lnTo>
                    <a:pt x="10919" y="690"/>
                  </a:lnTo>
                  <a:lnTo>
                    <a:pt x="10745" y="584"/>
                  </a:lnTo>
                  <a:lnTo>
                    <a:pt x="10564" y="487"/>
                  </a:lnTo>
                  <a:lnTo>
                    <a:pt x="10378" y="397"/>
                  </a:lnTo>
                  <a:lnTo>
                    <a:pt x="10189" y="316"/>
                  </a:lnTo>
                  <a:lnTo>
                    <a:pt x="9995" y="244"/>
                  </a:lnTo>
                  <a:lnTo>
                    <a:pt x="9796" y="181"/>
                  </a:lnTo>
                  <a:lnTo>
                    <a:pt x="9594" y="126"/>
                  </a:lnTo>
                  <a:lnTo>
                    <a:pt x="9388" y="81"/>
                  </a:lnTo>
                  <a:lnTo>
                    <a:pt x="9178" y="46"/>
                  </a:lnTo>
                  <a:lnTo>
                    <a:pt x="8965" y="21"/>
                  </a:lnTo>
                  <a:lnTo>
                    <a:pt x="8750" y="5"/>
                  </a:lnTo>
                  <a:lnTo>
                    <a:pt x="8531" y="0"/>
                  </a:lnTo>
                  <a:lnTo>
                    <a:pt x="8361" y="3"/>
                  </a:lnTo>
                  <a:lnTo>
                    <a:pt x="8194" y="12"/>
                  </a:lnTo>
                  <a:lnTo>
                    <a:pt x="8027" y="28"/>
                  </a:lnTo>
                  <a:lnTo>
                    <a:pt x="7863" y="49"/>
                  </a:lnTo>
                  <a:lnTo>
                    <a:pt x="7701" y="76"/>
                  </a:lnTo>
                  <a:lnTo>
                    <a:pt x="7540" y="109"/>
                  </a:lnTo>
                  <a:lnTo>
                    <a:pt x="7383" y="149"/>
                  </a:lnTo>
                  <a:lnTo>
                    <a:pt x="7227" y="193"/>
                  </a:lnTo>
                  <a:lnTo>
                    <a:pt x="7074" y="242"/>
                  </a:lnTo>
                  <a:lnTo>
                    <a:pt x="6922" y="297"/>
                  </a:lnTo>
                  <a:lnTo>
                    <a:pt x="6773" y="357"/>
                  </a:lnTo>
                  <a:lnTo>
                    <a:pt x="6628" y="423"/>
                  </a:lnTo>
                  <a:lnTo>
                    <a:pt x="6485" y="493"/>
                  </a:lnTo>
                  <a:lnTo>
                    <a:pt x="6345" y="568"/>
                  </a:lnTo>
                  <a:lnTo>
                    <a:pt x="6208" y="648"/>
                  </a:lnTo>
                  <a:lnTo>
                    <a:pt x="6075" y="733"/>
                  </a:lnTo>
                  <a:lnTo>
                    <a:pt x="5943" y="821"/>
                  </a:lnTo>
                  <a:lnTo>
                    <a:pt x="5817" y="915"/>
                  </a:lnTo>
                  <a:lnTo>
                    <a:pt x="5693" y="1013"/>
                  </a:lnTo>
                  <a:lnTo>
                    <a:pt x="5572" y="1115"/>
                  </a:lnTo>
                  <a:lnTo>
                    <a:pt x="5456" y="1221"/>
                  </a:lnTo>
                  <a:lnTo>
                    <a:pt x="5342" y="1331"/>
                  </a:lnTo>
                  <a:lnTo>
                    <a:pt x="5234" y="1444"/>
                  </a:lnTo>
                  <a:lnTo>
                    <a:pt x="5129" y="1562"/>
                  </a:lnTo>
                  <a:lnTo>
                    <a:pt x="5027" y="1683"/>
                  </a:lnTo>
                  <a:lnTo>
                    <a:pt x="4931" y="1809"/>
                  </a:lnTo>
                  <a:lnTo>
                    <a:pt x="4837" y="1936"/>
                  </a:lnTo>
                  <a:lnTo>
                    <a:pt x="4750" y="2068"/>
                  </a:lnTo>
                  <a:lnTo>
                    <a:pt x="4666" y="2203"/>
                  </a:lnTo>
                  <a:lnTo>
                    <a:pt x="4587" y="2341"/>
                  </a:lnTo>
                  <a:lnTo>
                    <a:pt x="4512" y="2481"/>
                  </a:lnTo>
                  <a:lnTo>
                    <a:pt x="4443" y="2625"/>
                  </a:lnTo>
                  <a:lnTo>
                    <a:pt x="4402" y="2613"/>
                  </a:lnTo>
                  <a:lnTo>
                    <a:pt x="4362" y="2601"/>
                  </a:lnTo>
                  <a:lnTo>
                    <a:pt x="4321" y="2589"/>
                  </a:lnTo>
                  <a:lnTo>
                    <a:pt x="4279" y="2579"/>
                  </a:lnTo>
                  <a:lnTo>
                    <a:pt x="4237" y="2568"/>
                  </a:lnTo>
                  <a:lnTo>
                    <a:pt x="4196" y="2559"/>
                  </a:lnTo>
                  <a:lnTo>
                    <a:pt x="4154" y="2549"/>
                  </a:lnTo>
                  <a:lnTo>
                    <a:pt x="4112" y="2541"/>
                  </a:lnTo>
                  <a:lnTo>
                    <a:pt x="4070" y="2534"/>
                  </a:lnTo>
                  <a:lnTo>
                    <a:pt x="4027" y="2528"/>
                  </a:lnTo>
                  <a:lnTo>
                    <a:pt x="3983" y="2522"/>
                  </a:lnTo>
                  <a:lnTo>
                    <a:pt x="3940" y="2518"/>
                  </a:lnTo>
                  <a:lnTo>
                    <a:pt x="3896" y="2514"/>
                  </a:lnTo>
                  <a:lnTo>
                    <a:pt x="3853" y="2511"/>
                  </a:lnTo>
                  <a:lnTo>
                    <a:pt x="3809" y="2510"/>
                  </a:lnTo>
                  <a:lnTo>
                    <a:pt x="3764" y="2509"/>
                  </a:lnTo>
                  <a:lnTo>
                    <a:pt x="3647" y="2512"/>
                  </a:lnTo>
                  <a:lnTo>
                    <a:pt x="3533" y="2521"/>
                  </a:lnTo>
                  <a:lnTo>
                    <a:pt x="3420" y="2535"/>
                  </a:lnTo>
                  <a:lnTo>
                    <a:pt x="3309" y="2556"/>
                  </a:lnTo>
                  <a:lnTo>
                    <a:pt x="3200" y="2581"/>
                  </a:lnTo>
                  <a:lnTo>
                    <a:pt x="3092" y="2611"/>
                  </a:lnTo>
                  <a:lnTo>
                    <a:pt x="2988" y="2647"/>
                  </a:lnTo>
                  <a:lnTo>
                    <a:pt x="2884" y="2687"/>
                  </a:lnTo>
                  <a:lnTo>
                    <a:pt x="2785" y="2732"/>
                  </a:lnTo>
                  <a:lnTo>
                    <a:pt x="2688" y="2782"/>
                  </a:lnTo>
                  <a:lnTo>
                    <a:pt x="2593" y="2837"/>
                  </a:lnTo>
                  <a:lnTo>
                    <a:pt x="2501" y="2896"/>
                  </a:lnTo>
                  <a:lnTo>
                    <a:pt x="2413" y="2958"/>
                  </a:lnTo>
                  <a:lnTo>
                    <a:pt x="2327" y="3025"/>
                  </a:lnTo>
                  <a:lnTo>
                    <a:pt x="2245" y="3097"/>
                  </a:lnTo>
                  <a:lnTo>
                    <a:pt x="2167" y="3172"/>
                  </a:lnTo>
                  <a:lnTo>
                    <a:pt x="2093" y="3250"/>
                  </a:lnTo>
                  <a:lnTo>
                    <a:pt x="2021" y="3331"/>
                  </a:lnTo>
                  <a:lnTo>
                    <a:pt x="1954" y="3417"/>
                  </a:lnTo>
                  <a:lnTo>
                    <a:pt x="1891" y="3506"/>
                  </a:lnTo>
                  <a:lnTo>
                    <a:pt x="1833" y="3597"/>
                  </a:lnTo>
                  <a:lnTo>
                    <a:pt x="1778" y="3692"/>
                  </a:lnTo>
                  <a:lnTo>
                    <a:pt x="1728" y="3789"/>
                  </a:lnTo>
                  <a:lnTo>
                    <a:pt x="1683" y="3889"/>
                  </a:lnTo>
                  <a:lnTo>
                    <a:pt x="1643" y="3992"/>
                  </a:lnTo>
                  <a:lnTo>
                    <a:pt x="1607" y="4097"/>
                  </a:lnTo>
                  <a:lnTo>
                    <a:pt x="1577" y="4204"/>
                  </a:lnTo>
                  <a:lnTo>
                    <a:pt x="1552" y="4313"/>
                  </a:lnTo>
                  <a:lnTo>
                    <a:pt x="1532" y="4424"/>
                  </a:lnTo>
                  <a:lnTo>
                    <a:pt x="1517" y="4537"/>
                  </a:lnTo>
                  <a:lnTo>
                    <a:pt x="1508" y="4652"/>
                  </a:lnTo>
                  <a:lnTo>
                    <a:pt x="1505" y="4768"/>
                  </a:lnTo>
                  <a:lnTo>
                    <a:pt x="1506" y="4815"/>
                  </a:lnTo>
                  <a:lnTo>
                    <a:pt x="1507" y="4860"/>
                  </a:lnTo>
                  <a:lnTo>
                    <a:pt x="1510" y="4906"/>
                  </a:lnTo>
                  <a:lnTo>
                    <a:pt x="1514" y="4951"/>
                  </a:lnTo>
                  <a:lnTo>
                    <a:pt x="1519" y="4997"/>
                  </a:lnTo>
                  <a:lnTo>
                    <a:pt x="1526" y="5042"/>
                  </a:lnTo>
                  <a:lnTo>
                    <a:pt x="1532" y="5086"/>
                  </a:lnTo>
                  <a:lnTo>
                    <a:pt x="1540" y="5130"/>
                  </a:lnTo>
                  <a:lnTo>
                    <a:pt x="1548" y="5174"/>
                  </a:lnTo>
                  <a:lnTo>
                    <a:pt x="1558" y="5217"/>
                  </a:lnTo>
                  <a:lnTo>
                    <a:pt x="1568" y="5261"/>
                  </a:lnTo>
                  <a:lnTo>
                    <a:pt x="1579" y="5304"/>
                  </a:lnTo>
                  <a:lnTo>
                    <a:pt x="1590" y="5347"/>
                  </a:lnTo>
                  <a:lnTo>
                    <a:pt x="1603" y="5389"/>
                  </a:lnTo>
                  <a:lnTo>
                    <a:pt x="1616" y="5431"/>
                  </a:lnTo>
                  <a:lnTo>
                    <a:pt x="1629" y="5473"/>
                  </a:lnTo>
                  <a:lnTo>
                    <a:pt x="1539" y="5528"/>
                  </a:lnTo>
                  <a:lnTo>
                    <a:pt x="1451" y="5585"/>
                  </a:lnTo>
                  <a:lnTo>
                    <a:pt x="1365" y="5644"/>
                  </a:lnTo>
                  <a:lnTo>
                    <a:pt x="1281" y="5706"/>
                  </a:lnTo>
                  <a:lnTo>
                    <a:pt x="1198" y="5771"/>
                  </a:lnTo>
                  <a:lnTo>
                    <a:pt x="1118" y="5839"/>
                  </a:lnTo>
                  <a:lnTo>
                    <a:pt x="1041" y="5909"/>
                  </a:lnTo>
                  <a:lnTo>
                    <a:pt x="965" y="5981"/>
                  </a:lnTo>
                  <a:lnTo>
                    <a:pt x="892" y="6056"/>
                  </a:lnTo>
                  <a:lnTo>
                    <a:pt x="821" y="6133"/>
                  </a:lnTo>
                  <a:lnTo>
                    <a:pt x="753" y="6211"/>
                  </a:lnTo>
                  <a:lnTo>
                    <a:pt x="687" y="6292"/>
                  </a:lnTo>
                  <a:lnTo>
                    <a:pt x="624" y="6376"/>
                  </a:lnTo>
                  <a:lnTo>
                    <a:pt x="564" y="6461"/>
                  </a:lnTo>
                  <a:lnTo>
                    <a:pt x="506" y="6548"/>
                  </a:lnTo>
                  <a:lnTo>
                    <a:pt x="451" y="6638"/>
                  </a:lnTo>
                  <a:lnTo>
                    <a:pt x="398" y="6729"/>
                  </a:lnTo>
                  <a:lnTo>
                    <a:pt x="349" y="6821"/>
                  </a:lnTo>
                  <a:lnTo>
                    <a:pt x="303" y="6917"/>
                  </a:lnTo>
                  <a:lnTo>
                    <a:pt x="260" y="7013"/>
                  </a:lnTo>
                  <a:lnTo>
                    <a:pt x="220" y="7110"/>
                  </a:lnTo>
                  <a:lnTo>
                    <a:pt x="183" y="7210"/>
                  </a:lnTo>
                  <a:lnTo>
                    <a:pt x="149" y="7311"/>
                  </a:lnTo>
                  <a:lnTo>
                    <a:pt x="118" y="7414"/>
                  </a:lnTo>
                  <a:lnTo>
                    <a:pt x="91" y="7518"/>
                  </a:lnTo>
                  <a:lnTo>
                    <a:pt x="67" y="7623"/>
                  </a:lnTo>
                  <a:lnTo>
                    <a:pt x="47" y="7730"/>
                  </a:lnTo>
                  <a:lnTo>
                    <a:pt x="30" y="7838"/>
                  </a:lnTo>
                  <a:lnTo>
                    <a:pt x="17" y="7948"/>
                  </a:lnTo>
                  <a:lnTo>
                    <a:pt x="8" y="8057"/>
                  </a:lnTo>
                  <a:lnTo>
                    <a:pt x="2" y="8168"/>
                  </a:lnTo>
                  <a:lnTo>
                    <a:pt x="0" y="8281"/>
                  </a:lnTo>
                  <a:lnTo>
                    <a:pt x="4" y="8449"/>
                  </a:lnTo>
                  <a:lnTo>
                    <a:pt x="17" y="8615"/>
                  </a:lnTo>
                  <a:lnTo>
                    <a:pt x="37" y="8778"/>
                  </a:lnTo>
                  <a:lnTo>
                    <a:pt x="66" y="8938"/>
                  </a:lnTo>
                  <a:lnTo>
                    <a:pt x="102" y="9097"/>
                  </a:lnTo>
                  <a:lnTo>
                    <a:pt x="147" y="9251"/>
                  </a:lnTo>
                  <a:lnTo>
                    <a:pt x="198" y="9403"/>
                  </a:lnTo>
                  <a:lnTo>
                    <a:pt x="256" y="9551"/>
                  </a:lnTo>
                  <a:lnTo>
                    <a:pt x="322" y="9695"/>
                  </a:lnTo>
                  <a:lnTo>
                    <a:pt x="393" y="9837"/>
                  </a:lnTo>
                  <a:lnTo>
                    <a:pt x="473" y="9973"/>
                  </a:lnTo>
                  <a:lnTo>
                    <a:pt x="557" y="10106"/>
                  </a:lnTo>
                  <a:lnTo>
                    <a:pt x="648" y="10233"/>
                  </a:lnTo>
                  <a:lnTo>
                    <a:pt x="745" y="10357"/>
                  </a:lnTo>
                  <a:lnTo>
                    <a:pt x="847" y="10475"/>
                  </a:lnTo>
                  <a:lnTo>
                    <a:pt x="955" y="10588"/>
                  </a:lnTo>
                  <a:lnTo>
                    <a:pt x="1069" y="10696"/>
                  </a:lnTo>
                  <a:lnTo>
                    <a:pt x="1187" y="10798"/>
                  </a:lnTo>
                  <a:lnTo>
                    <a:pt x="1310" y="10896"/>
                  </a:lnTo>
                  <a:lnTo>
                    <a:pt x="1438" y="10986"/>
                  </a:lnTo>
                  <a:lnTo>
                    <a:pt x="1571" y="11071"/>
                  </a:lnTo>
                  <a:lnTo>
                    <a:pt x="1707" y="11150"/>
                  </a:lnTo>
                  <a:lnTo>
                    <a:pt x="1848" y="11222"/>
                  </a:lnTo>
                  <a:lnTo>
                    <a:pt x="1992" y="11287"/>
                  </a:lnTo>
                  <a:lnTo>
                    <a:pt x="2141" y="11345"/>
                  </a:lnTo>
                  <a:lnTo>
                    <a:pt x="2292" y="11396"/>
                  </a:lnTo>
                  <a:lnTo>
                    <a:pt x="2447" y="11441"/>
                  </a:lnTo>
                  <a:lnTo>
                    <a:pt x="2604" y="11478"/>
                  </a:lnTo>
                  <a:lnTo>
                    <a:pt x="2765" y="11506"/>
                  </a:lnTo>
                  <a:lnTo>
                    <a:pt x="2929" y="11527"/>
                  </a:lnTo>
                  <a:lnTo>
                    <a:pt x="3094" y="11539"/>
                  </a:lnTo>
                  <a:lnTo>
                    <a:pt x="3262" y="11543"/>
                  </a:lnTo>
                  <a:lnTo>
                    <a:pt x="3262" y="11544"/>
                  </a:lnTo>
                  <a:lnTo>
                    <a:pt x="12294" y="11544"/>
                  </a:lnTo>
                  <a:lnTo>
                    <a:pt x="12294" y="11543"/>
                  </a:lnTo>
                  <a:lnTo>
                    <a:pt x="12488" y="11539"/>
                  </a:lnTo>
                  <a:lnTo>
                    <a:pt x="12680" y="11524"/>
                  </a:lnTo>
                  <a:lnTo>
                    <a:pt x="12867" y="11500"/>
                  </a:lnTo>
                  <a:lnTo>
                    <a:pt x="13053" y="11467"/>
                  </a:lnTo>
                  <a:lnTo>
                    <a:pt x="13236" y="11425"/>
                  </a:lnTo>
                  <a:lnTo>
                    <a:pt x="13414" y="11374"/>
                  </a:lnTo>
                  <a:lnTo>
                    <a:pt x="13589" y="11315"/>
                  </a:lnTo>
                  <a:lnTo>
                    <a:pt x="13760" y="11248"/>
                  </a:lnTo>
                  <a:lnTo>
                    <a:pt x="13926" y="11173"/>
                  </a:lnTo>
                  <a:lnTo>
                    <a:pt x="14089" y="11089"/>
                  </a:lnTo>
                  <a:lnTo>
                    <a:pt x="14246" y="10999"/>
                  </a:lnTo>
                  <a:lnTo>
                    <a:pt x="14399" y="10901"/>
                  </a:lnTo>
                  <a:lnTo>
                    <a:pt x="14547" y="10796"/>
                  </a:lnTo>
                  <a:lnTo>
                    <a:pt x="14689" y="10684"/>
                  </a:lnTo>
                  <a:lnTo>
                    <a:pt x="14826" y="10565"/>
                  </a:lnTo>
                  <a:lnTo>
                    <a:pt x="14956" y="10441"/>
                  </a:lnTo>
                  <a:lnTo>
                    <a:pt x="15080" y="10310"/>
                  </a:lnTo>
                  <a:lnTo>
                    <a:pt x="15199" y="10174"/>
                  </a:lnTo>
                  <a:lnTo>
                    <a:pt x="15310" y="10031"/>
                  </a:lnTo>
                  <a:lnTo>
                    <a:pt x="15416" y="9884"/>
                  </a:lnTo>
                  <a:lnTo>
                    <a:pt x="15513" y="9731"/>
                  </a:lnTo>
                  <a:lnTo>
                    <a:pt x="15604" y="9574"/>
                  </a:lnTo>
                  <a:lnTo>
                    <a:pt x="15687" y="9411"/>
                  </a:lnTo>
                  <a:lnTo>
                    <a:pt x="15762" y="9244"/>
                  </a:lnTo>
                  <a:lnTo>
                    <a:pt x="15830" y="9074"/>
                  </a:lnTo>
                  <a:lnTo>
                    <a:pt x="15888" y="8899"/>
                  </a:lnTo>
                  <a:lnTo>
                    <a:pt x="15940" y="8720"/>
                  </a:lnTo>
                  <a:lnTo>
                    <a:pt x="15982" y="8538"/>
                  </a:lnTo>
                  <a:lnTo>
                    <a:pt x="16015" y="8352"/>
                  </a:lnTo>
                  <a:lnTo>
                    <a:pt x="16039" y="8164"/>
                  </a:lnTo>
                  <a:lnTo>
                    <a:pt x="16053" y="7973"/>
                  </a:lnTo>
                  <a:lnTo>
                    <a:pt x="16058" y="7779"/>
                  </a:lnTo>
                  <a:lnTo>
                    <a:pt x="16054" y="7608"/>
                  </a:lnTo>
                  <a:lnTo>
                    <a:pt x="16043" y="7439"/>
                  </a:lnTo>
                  <a:lnTo>
                    <a:pt x="16024" y="7272"/>
                  </a:lnTo>
                  <a:lnTo>
                    <a:pt x="15998" y="7107"/>
                  </a:lnTo>
                  <a:lnTo>
                    <a:pt x="15965" y="6945"/>
                  </a:lnTo>
                  <a:lnTo>
                    <a:pt x="15926" y="6785"/>
                  </a:lnTo>
                  <a:lnTo>
                    <a:pt x="15878" y="6629"/>
                  </a:lnTo>
                  <a:lnTo>
                    <a:pt x="15825" y="6475"/>
                  </a:lnTo>
                  <a:lnTo>
                    <a:pt x="15766" y="6324"/>
                  </a:lnTo>
                  <a:lnTo>
                    <a:pt x="15700" y="6176"/>
                  </a:lnTo>
                  <a:lnTo>
                    <a:pt x="15628" y="6032"/>
                  </a:lnTo>
                  <a:lnTo>
                    <a:pt x="15550" y="5892"/>
                  </a:lnTo>
                  <a:lnTo>
                    <a:pt x="15467" y="5755"/>
                  </a:lnTo>
                  <a:lnTo>
                    <a:pt x="15378" y="5623"/>
                  </a:lnTo>
                  <a:lnTo>
                    <a:pt x="15283" y="5493"/>
                  </a:lnTo>
                  <a:lnTo>
                    <a:pt x="15183" y="5369"/>
                  </a:lnTo>
                  <a:lnTo>
                    <a:pt x="15078" y="5250"/>
                  </a:lnTo>
                  <a:lnTo>
                    <a:pt x="14968" y="5134"/>
                  </a:lnTo>
                  <a:lnTo>
                    <a:pt x="14854" y="5023"/>
                  </a:lnTo>
                  <a:lnTo>
                    <a:pt x="14734" y="4917"/>
                  </a:lnTo>
                  <a:lnTo>
                    <a:pt x="14611" y="4817"/>
                  </a:lnTo>
                  <a:lnTo>
                    <a:pt x="14483" y="4721"/>
                  </a:lnTo>
                  <a:lnTo>
                    <a:pt x="14351" y="4630"/>
                  </a:lnTo>
                  <a:lnTo>
                    <a:pt x="14215" y="4546"/>
                  </a:lnTo>
                  <a:lnTo>
                    <a:pt x="14075" y="4467"/>
                  </a:lnTo>
                  <a:lnTo>
                    <a:pt x="13931" y="4394"/>
                  </a:lnTo>
                  <a:lnTo>
                    <a:pt x="13785" y="4327"/>
                  </a:lnTo>
                  <a:lnTo>
                    <a:pt x="13634" y="4266"/>
                  </a:lnTo>
                  <a:lnTo>
                    <a:pt x="13482" y="4212"/>
                  </a:lnTo>
                  <a:lnTo>
                    <a:pt x="13325" y="4164"/>
                  </a:lnTo>
                  <a:lnTo>
                    <a:pt x="13166" y="4121"/>
                  </a:lnTo>
                  <a:lnTo>
                    <a:pt x="13004" y="408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97" name="îs1ïḓê">
              <a:extLst>
                <a:ext uri="{FF2B5EF4-FFF2-40B4-BE49-F238E27FC236}">
                  <a16:creationId xmlns:a16="http://schemas.microsoft.com/office/drawing/2014/main" id="{F44304F2-6DBC-4CD2-BFBB-0C6B3BC49E43}"/>
                </a:ext>
              </a:extLst>
            </p:cNvPr>
            <p:cNvSpPr/>
            <p:nvPr/>
          </p:nvSpPr>
          <p:spPr bwMode="auto">
            <a:xfrm>
              <a:off x="6725319" y="360183"/>
              <a:ext cx="611928" cy="383513"/>
            </a:xfrm>
            <a:custGeom>
              <a:avLst/>
              <a:gdLst>
                <a:gd name="T0" fmla="*/ 6716 w 16058"/>
                <a:gd name="T1" fmla="*/ 8942 h 10064"/>
                <a:gd name="T2" fmla="*/ 5195 w 16058"/>
                <a:gd name="T3" fmla="*/ 8519 h 10064"/>
                <a:gd name="T4" fmla="*/ 3782 w 16058"/>
                <a:gd name="T5" fmla="*/ 7815 h 10064"/>
                <a:gd name="T6" fmla="*/ 2529 w 16058"/>
                <a:gd name="T7" fmla="*/ 6861 h 10064"/>
                <a:gd name="T8" fmla="*/ 1491 w 16058"/>
                <a:gd name="T9" fmla="*/ 5689 h 10064"/>
                <a:gd name="T10" fmla="*/ 1492 w 16058"/>
                <a:gd name="T11" fmla="*/ 4372 h 10064"/>
                <a:gd name="T12" fmla="*/ 2533 w 16058"/>
                <a:gd name="T13" fmla="*/ 3199 h 10064"/>
                <a:gd name="T14" fmla="*/ 3786 w 16058"/>
                <a:gd name="T15" fmla="*/ 2246 h 10064"/>
                <a:gd name="T16" fmla="*/ 5198 w 16058"/>
                <a:gd name="T17" fmla="*/ 1543 h 10064"/>
                <a:gd name="T18" fmla="*/ 6717 w 16058"/>
                <a:gd name="T19" fmla="*/ 1121 h 10064"/>
                <a:gd name="T20" fmla="*/ 8293 w 16058"/>
                <a:gd name="T21" fmla="*/ 1012 h 10064"/>
                <a:gd name="T22" fmla="*/ 9859 w 16058"/>
                <a:gd name="T23" fmla="*/ 1230 h 10064"/>
                <a:gd name="T24" fmla="*/ 11349 w 16058"/>
                <a:gd name="T25" fmla="*/ 1750 h 10064"/>
                <a:gd name="T26" fmla="*/ 12715 w 16058"/>
                <a:gd name="T27" fmla="*/ 2540 h 10064"/>
                <a:gd name="T28" fmla="*/ 13901 w 16058"/>
                <a:gd name="T29" fmla="*/ 3571 h 10064"/>
                <a:gd name="T30" fmla="*/ 14857 w 16058"/>
                <a:gd name="T31" fmla="*/ 4809 h 10064"/>
                <a:gd name="T32" fmla="*/ 14245 w 16058"/>
                <a:gd name="T33" fmla="*/ 6106 h 10064"/>
                <a:gd name="T34" fmla="*/ 13128 w 16058"/>
                <a:gd name="T35" fmla="*/ 7208 h 10064"/>
                <a:gd name="T36" fmla="*/ 11817 w 16058"/>
                <a:gd name="T37" fmla="*/ 8082 h 10064"/>
                <a:gd name="T38" fmla="*/ 10363 w 16058"/>
                <a:gd name="T39" fmla="*/ 8694 h 10064"/>
                <a:gd name="T40" fmla="*/ 8819 w 16058"/>
                <a:gd name="T41" fmla="*/ 9015 h 10064"/>
                <a:gd name="T42" fmla="*/ 16037 w 16058"/>
                <a:gd name="T43" fmla="*/ 4889 h 10064"/>
                <a:gd name="T44" fmla="*/ 16017 w 16058"/>
                <a:gd name="T45" fmla="*/ 4835 h 10064"/>
                <a:gd name="T46" fmla="*/ 15713 w 16058"/>
                <a:gd name="T47" fmla="*/ 4283 h 10064"/>
                <a:gd name="T48" fmla="*/ 14616 w 16058"/>
                <a:gd name="T49" fmla="*/ 2869 h 10064"/>
                <a:gd name="T50" fmla="*/ 13237 w 16058"/>
                <a:gd name="T51" fmla="*/ 1686 h 10064"/>
                <a:gd name="T52" fmla="*/ 11639 w 16058"/>
                <a:gd name="T53" fmla="*/ 781 h 10064"/>
                <a:gd name="T54" fmla="*/ 9883 w 16058"/>
                <a:gd name="T55" fmla="*/ 203 h 10064"/>
                <a:gd name="T56" fmla="*/ 8029 w 16058"/>
                <a:gd name="T57" fmla="*/ 0 h 10064"/>
                <a:gd name="T58" fmla="*/ 6175 w 16058"/>
                <a:gd name="T59" fmla="*/ 203 h 10064"/>
                <a:gd name="T60" fmla="*/ 4419 w 16058"/>
                <a:gd name="T61" fmla="*/ 780 h 10064"/>
                <a:gd name="T62" fmla="*/ 2821 w 16058"/>
                <a:gd name="T63" fmla="*/ 1684 h 10064"/>
                <a:gd name="T64" fmla="*/ 1443 w 16058"/>
                <a:gd name="T65" fmla="*/ 2866 h 10064"/>
                <a:gd name="T66" fmla="*/ 345 w 16058"/>
                <a:gd name="T67" fmla="*/ 4280 h 10064"/>
                <a:gd name="T68" fmla="*/ 41 w 16058"/>
                <a:gd name="T69" fmla="*/ 4831 h 10064"/>
                <a:gd name="T70" fmla="*/ 22 w 16058"/>
                <a:gd name="T71" fmla="*/ 4885 h 10064"/>
                <a:gd name="T72" fmla="*/ 2 w 16058"/>
                <a:gd name="T73" fmla="*/ 5001 h 10064"/>
                <a:gd name="T74" fmla="*/ 6 w 16058"/>
                <a:gd name="T75" fmla="*/ 5087 h 10064"/>
                <a:gd name="T76" fmla="*/ 23 w 16058"/>
                <a:gd name="T77" fmla="*/ 5191 h 10064"/>
                <a:gd name="T78" fmla="*/ 46 w 16058"/>
                <a:gd name="T79" fmla="*/ 5248 h 10064"/>
                <a:gd name="T80" fmla="*/ 675 w 16058"/>
                <a:gd name="T81" fmla="*/ 6275 h 10064"/>
                <a:gd name="T82" fmla="*/ 1874 w 16058"/>
                <a:gd name="T83" fmla="*/ 7617 h 10064"/>
                <a:gd name="T84" fmla="*/ 3332 w 16058"/>
                <a:gd name="T85" fmla="*/ 8713 h 10064"/>
                <a:gd name="T86" fmla="*/ 4990 w 16058"/>
                <a:gd name="T87" fmla="*/ 9514 h 10064"/>
                <a:gd name="T88" fmla="*/ 6786 w 16058"/>
                <a:gd name="T89" fmla="*/ 9972 h 10064"/>
                <a:gd name="T90" fmla="*/ 8654 w 16058"/>
                <a:gd name="T91" fmla="*/ 10041 h 10064"/>
                <a:gd name="T92" fmla="*/ 10483 w 16058"/>
                <a:gd name="T93" fmla="*/ 9708 h 10064"/>
                <a:gd name="T94" fmla="*/ 12193 w 16058"/>
                <a:gd name="T95" fmla="*/ 9017 h 10064"/>
                <a:gd name="T96" fmla="*/ 13724 w 16058"/>
                <a:gd name="T97" fmla="*/ 8014 h 10064"/>
                <a:gd name="T98" fmla="*/ 15015 w 16058"/>
                <a:gd name="T99" fmla="*/ 6749 h 10064"/>
                <a:gd name="T100" fmla="*/ 16007 w 16058"/>
                <a:gd name="T101" fmla="*/ 5270 h 10064"/>
                <a:gd name="T102" fmla="*/ 16031 w 16058"/>
                <a:gd name="T103" fmla="*/ 5211 h 10064"/>
                <a:gd name="T104" fmla="*/ 16040 w 16058"/>
                <a:gd name="T105" fmla="*/ 5146 h 10064"/>
                <a:gd name="T106" fmla="*/ 16058 w 16058"/>
                <a:gd name="T107" fmla="*/ 5034 h 10064"/>
                <a:gd name="T108" fmla="*/ 16040 w 16058"/>
                <a:gd name="T109" fmla="*/ 4921 h 10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058" h="10064">
                  <a:moveTo>
                    <a:pt x="8029" y="9056"/>
                  </a:moveTo>
                  <a:lnTo>
                    <a:pt x="7765" y="9052"/>
                  </a:lnTo>
                  <a:lnTo>
                    <a:pt x="7501" y="9038"/>
                  </a:lnTo>
                  <a:lnTo>
                    <a:pt x="7238" y="9015"/>
                  </a:lnTo>
                  <a:lnTo>
                    <a:pt x="6976" y="8983"/>
                  </a:lnTo>
                  <a:lnTo>
                    <a:pt x="6716" y="8942"/>
                  </a:lnTo>
                  <a:lnTo>
                    <a:pt x="6457" y="8892"/>
                  </a:lnTo>
                  <a:lnTo>
                    <a:pt x="6200" y="8834"/>
                  </a:lnTo>
                  <a:lnTo>
                    <a:pt x="5944" y="8768"/>
                  </a:lnTo>
                  <a:lnTo>
                    <a:pt x="5693" y="8693"/>
                  </a:lnTo>
                  <a:lnTo>
                    <a:pt x="5442" y="8610"/>
                  </a:lnTo>
                  <a:lnTo>
                    <a:pt x="5195" y="8519"/>
                  </a:lnTo>
                  <a:lnTo>
                    <a:pt x="4950" y="8421"/>
                  </a:lnTo>
                  <a:lnTo>
                    <a:pt x="4709" y="8314"/>
                  </a:lnTo>
                  <a:lnTo>
                    <a:pt x="4471" y="8200"/>
                  </a:lnTo>
                  <a:lnTo>
                    <a:pt x="4237" y="8079"/>
                  </a:lnTo>
                  <a:lnTo>
                    <a:pt x="4007" y="7951"/>
                  </a:lnTo>
                  <a:lnTo>
                    <a:pt x="3782" y="7815"/>
                  </a:lnTo>
                  <a:lnTo>
                    <a:pt x="3560" y="7672"/>
                  </a:lnTo>
                  <a:lnTo>
                    <a:pt x="3343" y="7524"/>
                  </a:lnTo>
                  <a:lnTo>
                    <a:pt x="3132" y="7368"/>
                  </a:lnTo>
                  <a:lnTo>
                    <a:pt x="2926" y="7205"/>
                  </a:lnTo>
                  <a:lnTo>
                    <a:pt x="2725" y="7036"/>
                  </a:lnTo>
                  <a:lnTo>
                    <a:pt x="2529" y="6861"/>
                  </a:lnTo>
                  <a:lnTo>
                    <a:pt x="2340" y="6680"/>
                  </a:lnTo>
                  <a:lnTo>
                    <a:pt x="2157" y="6493"/>
                  </a:lnTo>
                  <a:lnTo>
                    <a:pt x="1980" y="6301"/>
                  </a:lnTo>
                  <a:lnTo>
                    <a:pt x="1811" y="6102"/>
                  </a:lnTo>
                  <a:lnTo>
                    <a:pt x="1647" y="5898"/>
                  </a:lnTo>
                  <a:lnTo>
                    <a:pt x="1491" y="5689"/>
                  </a:lnTo>
                  <a:lnTo>
                    <a:pt x="1343" y="5475"/>
                  </a:lnTo>
                  <a:lnTo>
                    <a:pt x="1201" y="5255"/>
                  </a:lnTo>
                  <a:lnTo>
                    <a:pt x="1069" y="5030"/>
                  </a:lnTo>
                  <a:lnTo>
                    <a:pt x="1202" y="4806"/>
                  </a:lnTo>
                  <a:lnTo>
                    <a:pt x="1344" y="4586"/>
                  </a:lnTo>
                  <a:lnTo>
                    <a:pt x="1492" y="4372"/>
                  </a:lnTo>
                  <a:lnTo>
                    <a:pt x="1649" y="4163"/>
                  </a:lnTo>
                  <a:lnTo>
                    <a:pt x="1813" y="3958"/>
                  </a:lnTo>
                  <a:lnTo>
                    <a:pt x="1983" y="3760"/>
                  </a:lnTo>
                  <a:lnTo>
                    <a:pt x="2160" y="3567"/>
                  </a:lnTo>
                  <a:lnTo>
                    <a:pt x="2343" y="3380"/>
                  </a:lnTo>
                  <a:lnTo>
                    <a:pt x="2533" y="3199"/>
                  </a:lnTo>
                  <a:lnTo>
                    <a:pt x="2729" y="3024"/>
                  </a:lnTo>
                  <a:lnTo>
                    <a:pt x="2930" y="2855"/>
                  </a:lnTo>
                  <a:lnTo>
                    <a:pt x="3136" y="2693"/>
                  </a:lnTo>
                  <a:lnTo>
                    <a:pt x="3348" y="2537"/>
                  </a:lnTo>
                  <a:lnTo>
                    <a:pt x="3564" y="2389"/>
                  </a:lnTo>
                  <a:lnTo>
                    <a:pt x="3786" y="2246"/>
                  </a:lnTo>
                  <a:lnTo>
                    <a:pt x="4011" y="2111"/>
                  </a:lnTo>
                  <a:lnTo>
                    <a:pt x="4241" y="1982"/>
                  </a:lnTo>
                  <a:lnTo>
                    <a:pt x="4475" y="1862"/>
                  </a:lnTo>
                  <a:lnTo>
                    <a:pt x="4712" y="1748"/>
                  </a:lnTo>
                  <a:lnTo>
                    <a:pt x="4953" y="1641"/>
                  </a:lnTo>
                  <a:lnTo>
                    <a:pt x="5198" y="1543"/>
                  </a:lnTo>
                  <a:lnTo>
                    <a:pt x="5445" y="1452"/>
                  </a:lnTo>
                  <a:lnTo>
                    <a:pt x="5695" y="1370"/>
                  </a:lnTo>
                  <a:lnTo>
                    <a:pt x="5947" y="1295"/>
                  </a:lnTo>
                  <a:lnTo>
                    <a:pt x="6202" y="1229"/>
                  </a:lnTo>
                  <a:lnTo>
                    <a:pt x="6459" y="1171"/>
                  </a:lnTo>
                  <a:lnTo>
                    <a:pt x="6717" y="1121"/>
                  </a:lnTo>
                  <a:lnTo>
                    <a:pt x="6978" y="1081"/>
                  </a:lnTo>
                  <a:lnTo>
                    <a:pt x="7239" y="1049"/>
                  </a:lnTo>
                  <a:lnTo>
                    <a:pt x="7502" y="1026"/>
                  </a:lnTo>
                  <a:lnTo>
                    <a:pt x="7765" y="1012"/>
                  </a:lnTo>
                  <a:lnTo>
                    <a:pt x="8029" y="1008"/>
                  </a:lnTo>
                  <a:lnTo>
                    <a:pt x="8293" y="1012"/>
                  </a:lnTo>
                  <a:lnTo>
                    <a:pt x="8557" y="1026"/>
                  </a:lnTo>
                  <a:lnTo>
                    <a:pt x="8820" y="1049"/>
                  </a:lnTo>
                  <a:lnTo>
                    <a:pt x="9082" y="1081"/>
                  </a:lnTo>
                  <a:lnTo>
                    <a:pt x="9342" y="1122"/>
                  </a:lnTo>
                  <a:lnTo>
                    <a:pt x="9601" y="1172"/>
                  </a:lnTo>
                  <a:lnTo>
                    <a:pt x="9859" y="1230"/>
                  </a:lnTo>
                  <a:lnTo>
                    <a:pt x="10114" y="1296"/>
                  </a:lnTo>
                  <a:lnTo>
                    <a:pt x="10366" y="1371"/>
                  </a:lnTo>
                  <a:lnTo>
                    <a:pt x="10616" y="1454"/>
                  </a:lnTo>
                  <a:lnTo>
                    <a:pt x="10863" y="1545"/>
                  </a:lnTo>
                  <a:lnTo>
                    <a:pt x="11108" y="1643"/>
                  </a:lnTo>
                  <a:lnTo>
                    <a:pt x="11349" y="1750"/>
                  </a:lnTo>
                  <a:lnTo>
                    <a:pt x="11587" y="1864"/>
                  </a:lnTo>
                  <a:lnTo>
                    <a:pt x="11821" y="1985"/>
                  </a:lnTo>
                  <a:lnTo>
                    <a:pt x="12051" y="2113"/>
                  </a:lnTo>
                  <a:lnTo>
                    <a:pt x="12276" y="2249"/>
                  </a:lnTo>
                  <a:lnTo>
                    <a:pt x="12498" y="2392"/>
                  </a:lnTo>
                  <a:lnTo>
                    <a:pt x="12715" y="2540"/>
                  </a:lnTo>
                  <a:lnTo>
                    <a:pt x="12926" y="2696"/>
                  </a:lnTo>
                  <a:lnTo>
                    <a:pt x="13132" y="2859"/>
                  </a:lnTo>
                  <a:lnTo>
                    <a:pt x="13333" y="3028"/>
                  </a:lnTo>
                  <a:lnTo>
                    <a:pt x="13529" y="3203"/>
                  </a:lnTo>
                  <a:lnTo>
                    <a:pt x="13718" y="3384"/>
                  </a:lnTo>
                  <a:lnTo>
                    <a:pt x="13901" y="3571"/>
                  </a:lnTo>
                  <a:lnTo>
                    <a:pt x="14078" y="3763"/>
                  </a:lnTo>
                  <a:lnTo>
                    <a:pt x="14247" y="3962"/>
                  </a:lnTo>
                  <a:lnTo>
                    <a:pt x="14411" y="4166"/>
                  </a:lnTo>
                  <a:lnTo>
                    <a:pt x="14567" y="4375"/>
                  </a:lnTo>
                  <a:lnTo>
                    <a:pt x="14715" y="4589"/>
                  </a:lnTo>
                  <a:lnTo>
                    <a:pt x="14857" y="4809"/>
                  </a:lnTo>
                  <a:lnTo>
                    <a:pt x="14989" y="5034"/>
                  </a:lnTo>
                  <a:lnTo>
                    <a:pt x="14856" y="5258"/>
                  </a:lnTo>
                  <a:lnTo>
                    <a:pt x="14714" y="5477"/>
                  </a:lnTo>
                  <a:lnTo>
                    <a:pt x="14566" y="5692"/>
                  </a:lnTo>
                  <a:lnTo>
                    <a:pt x="14409" y="5901"/>
                  </a:lnTo>
                  <a:lnTo>
                    <a:pt x="14245" y="6106"/>
                  </a:lnTo>
                  <a:lnTo>
                    <a:pt x="14075" y="6304"/>
                  </a:lnTo>
                  <a:lnTo>
                    <a:pt x="13898" y="6497"/>
                  </a:lnTo>
                  <a:lnTo>
                    <a:pt x="13715" y="6684"/>
                  </a:lnTo>
                  <a:lnTo>
                    <a:pt x="13525" y="6865"/>
                  </a:lnTo>
                  <a:lnTo>
                    <a:pt x="13329" y="7040"/>
                  </a:lnTo>
                  <a:lnTo>
                    <a:pt x="13128" y="7208"/>
                  </a:lnTo>
                  <a:lnTo>
                    <a:pt x="12922" y="7371"/>
                  </a:lnTo>
                  <a:lnTo>
                    <a:pt x="12711" y="7527"/>
                  </a:lnTo>
                  <a:lnTo>
                    <a:pt x="12494" y="7675"/>
                  </a:lnTo>
                  <a:lnTo>
                    <a:pt x="12272" y="7818"/>
                  </a:lnTo>
                  <a:lnTo>
                    <a:pt x="12047" y="7953"/>
                  </a:lnTo>
                  <a:lnTo>
                    <a:pt x="11817" y="8082"/>
                  </a:lnTo>
                  <a:lnTo>
                    <a:pt x="11584" y="8202"/>
                  </a:lnTo>
                  <a:lnTo>
                    <a:pt x="11346" y="8316"/>
                  </a:lnTo>
                  <a:lnTo>
                    <a:pt x="11105" y="8423"/>
                  </a:lnTo>
                  <a:lnTo>
                    <a:pt x="10860" y="8520"/>
                  </a:lnTo>
                  <a:lnTo>
                    <a:pt x="10613" y="8612"/>
                  </a:lnTo>
                  <a:lnTo>
                    <a:pt x="10363" y="8694"/>
                  </a:lnTo>
                  <a:lnTo>
                    <a:pt x="10111" y="8769"/>
                  </a:lnTo>
                  <a:lnTo>
                    <a:pt x="9856" y="8835"/>
                  </a:lnTo>
                  <a:lnTo>
                    <a:pt x="9599" y="8893"/>
                  </a:lnTo>
                  <a:lnTo>
                    <a:pt x="9341" y="8943"/>
                  </a:lnTo>
                  <a:lnTo>
                    <a:pt x="9081" y="8983"/>
                  </a:lnTo>
                  <a:lnTo>
                    <a:pt x="8819" y="9015"/>
                  </a:lnTo>
                  <a:lnTo>
                    <a:pt x="8556" y="9038"/>
                  </a:lnTo>
                  <a:lnTo>
                    <a:pt x="8293" y="9052"/>
                  </a:lnTo>
                  <a:lnTo>
                    <a:pt x="8029" y="9056"/>
                  </a:lnTo>
                  <a:close/>
                  <a:moveTo>
                    <a:pt x="16040" y="4921"/>
                  </a:moveTo>
                  <a:lnTo>
                    <a:pt x="16038" y="4905"/>
                  </a:lnTo>
                  <a:lnTo>
                    <a:pt x="16037" y="4889"/>
                  </a:lnTo>
                  <a:lnTo>
                    <a:pt x="16036" y="4881"/>
                  </a:lnTo>
                  <a:lnTo>
                    <a:pt x="16035" y="4873"/>
                  </a:lnTo>
                  <a:lnTo>
                    <a:pt x="16033" y="4865"/>
                  </a:lnTo>
                  <a:lnTo>
                    <a:pt x="16031" y="4857"/>
                  </a:lnTo>
                  <a:lnTo>
                    <a:pt x="16024" y="4846"/>
                  </a:lnTo>
                  <a:lnTo>
                    <a:pt x="16017" y="4835"/>
                  </a:lnTo>
                  <a:lnTo>
                    <a:pt x="16014" y="4826"/>
                  </a:lnTo>
                  <a:lnTo>
                    <a:pt x="16012" y="4816"/>
                  </a:lnTo>
                  <a:lnTo>
                    <a:pt x="16010" y="4807"/>
                  </a:lnTo>
                  <a:lnTo>
                    <a:pt x="16007" y="4798"/>
                  </a:lnTo>
                  <a:lnTo>
                    <a:pt x="15864" y="4539"/>
                  </a:lnTo>
                  <a:lnTo>
                    <a:pt x="15713" y="4283"/>
                  </a:lnTo>
                  <a:lnTo>
                    <a:pt x="15552" y="4034"/>
                  </a:lnTo>
                  <a:lnTo>
                    <a:pt x="15383" y="3789"/>
                  </a:lnTo>
                  <a:lnTo>
                    <a:pt x="15203" y="3550"/>
                  </a:lnTo>
                  <a:lnTo>
                    <a:pt x="15015" y="3318"/>
                  </a:lnTo>
                  <a:lnTo>
                    <a:pt x="14820" y="3091"/>
                  </a:lnTo>
                  <a:lnTo>
                    <a:pt x="14616" y="2869"/>
                  </a:lnTo>
                  <a:lnTo>
                    <a:pt x="14404" y="2654"/>
                  </a:lnTo>
                  <a:lnTo>
                    <a:pt x="14184" y="2447"/>
                  </a:lnTo>
                  <a:lnTo>
                    <a:pt x="13957" y="2246"/>
                  </a:lnTo>
                  <a:lnTo>
                    <a:pt x="13724" y="2052"/>
                  </a:lnTo>
                  <a:lnTo>
                    <a:pt x="13484" y="1865"/>
                  </a:lnTo>
                  <a:lnTo>
                    <a:pt x="13237" y="1686"/>
                  </a:lnTo>
                  <a:lnTo>
                    <a:pt x="12985" y="1515"/>
                  </a:lnTo>
                  <a:lnTo>
                    <a:pt x="12726" y="1351"/>
                  </a:lnTo>
                  <a:lnTo>
                    <a:pt x="12462" y="1196"/>
                  </a:lnTo>
                  <a:lnTo>
                    <a:pt x="12193" y="1049"/>
                  </a:lnTo>
                  <a:lnTo>
                    <a:pt x="11918" y="910"/>
                  </a:lnTo>
                  <a:lnTo>
                    <a:pt x="11639" y="781"/>
                  </a:lnTo>
                  <a:lnTo>
                    <a:pt x="11356" y="661"/>
                  </a:lnTo>
                  <a:lnTo>
                    <a:pt x="11069" y="550"/>
                  </a:lnTo>
                  <a:lnTo>
                    <a:pt x="10777" y="449"/>
                  </a:lnTo>
                  <a:lnTo>
                    <a:pt x="10483" y="357"/>
                  </a:lnTo>
                  <a:lnTo>
                    <a:pt x="10185" y="275"/>
                  </a:lnTo>
                  <a:lnTo>
                    <a:pt x="9883" y="203"/>
                  </a:lnTo>
                  <a:lnTo>
                    <a:pt x="9580" y="142"/>
                  </a:lnTo>
                  <a:lnTo>
                    <a:pt x="9273" y="92"/>
                  </a:lnTo>
                  <a:lnTo>
                    <a:pt x="8964" y="52"/>
                  </a:lnTo>
                  <a:lnTo>
                    <a:pt x="8654" y="23"/>
                  </a:lnTo>
                  <a:lnTo>
                    <a:pt x="8342" y="6"/>
                  </a:lnTo>
                  <a:lnTo>
                    <a:pt x="8029" y="0"/>
                  </a:lnTo>
                  <a:lnTo>
                    <a:pt x="7716" y="6"/>
                  </a:lnTo>
                  <a:lnTo>
                    <a:pt x="7404" y="23"/>
                  </a:lnTo>
                  <a:lnTo>
                    <a:pt x="7094" y="51"/>
                  </a:lnTo>
                  <a:lnTo>
                    <a:pt x="6786" y="92"/>
                  </a:lnTo>
                  <a:lnTo>
                    <a:pt x="6478" y="142"/>
                  </a:lnTo>
                  <a:lnTo>
                    <a:pt x="6175" y="203"/>
                  </a:lnTo>
                  <a:lnTo>
                    <a:pt x="5874" y="275"/>
                  </a:lnTo>
                  <a:lnTo>
                    <a:pt x="5576" y="356"/>
                  </a:lnTo>
                  <a:lnTo>
                    <a:pt x="5281" y="448"/>
                  </a:lnTo>
                  <a:lnTo>
                    <a:pt x="4990" y="549"/>
                  </a:lnTo>
                  <a:lnTo>
                    <a:pt x="4702" y="660"/>
                  </a:lnTo>
                  <a:lnTo>
                    <a:pt x="4419" y="780"/>
                  </a:lnTo>
                  <a:lnTo>
                    <a:pt x="4140" y="909"/>
                  </a:lnTo>
                  <a:lnTo>
                    <a:pt x="3866" y="1047"/>
                  </a:lnTo>
                  <a:lnTo>
                    <a:pt x="3596" y="1194"/>
                  </a:lnTo>
                  <a:lnTo>
                    <a:pt x="3332" y="1349"/>
                  </a:lnTo>
                  <a:lnTo>
                    <a:pt x="3073" y="1513"/>
                  </a:lnTo>
                  <a:lnTo>
                    <a:pt x="2821" y="1684"/>
                  </a:lnTo>
                  <a:lnTo>
                    <a:pt x="2574" y="1863"/>
                  </a:lnTo>
                  <a:lnTo>
                    <a:pt x="2334" y="2050"/>
                  </a:lnTo>
                  <a:lnTo>
                    <a:pt x="2101" y="2243"/>
                  </a:lnTo>
                  <a:lnTo>
                    <a:pt x="1874" y="2444"/>
                  </a:lnTo>
                  <a:lnTo>
                    <a:pt x="1655" y="2652"/>
                  </a:lnTo>
                  <a:lnTo>
                    <a:pt x="1443" y="2866"/>
                  </a:lnTo>
                  <a:lnTo>
                    <a:pt x="1238" y="3087"/>
                  </a:lnTo>
                  <a:lnTo>
                    <a:pt x="1043" y="3314"/>
                  </a:lnTo>
                  <a:lnTo>
                    <a:pt x="855" y="3547"/>
                  </a:lnTo>
                  <a:lnTo>
                    <a:pt x="675" y="3785"/>
                  </a:lnTo>
                  <a:lnTo>
                    <a:pt x="506" y="4031"/>
                  </a:lnTo>
                  <a:lnTo>
                    <a:pt x="345" y="4280"/>
                  </a:lnTo>
                  <a:lnTo>
                    <a:pt x="194" y="4535"/>
                  </a:lnTo>
                  <a:lnTo>
                    <a:pt x="52" y="4794"/>
                  </a:lnTo>
                  <a:lnTo>
                    <a:pt x="48" y="4804"/>
                  </a:lnTo>
                  <a:lnTo>
                    <a:pt x="46" y="4813"/>
                  </a:lnTo>
                  <a:lnTo>
                    <a:pt x="44" y="4822"/>
                  </a:lnTo>
                  <a:lnTo>
                    <a:pt x="41" y="4831"/>
                  </a:lnTo>
                  <a:lnTo>
                    <a:pt x="34" y="4842"/>
                  </a:lnTo>
                  <a:lnTo>
                    <a:pt x="28" y="4853"/>
                  </a:lnTo>
                  <a:lnTo>
                    <a:pt x="25" y="4861"/>
                  </a:lnTo>
                  <a:lnTo>
                    <a:pt x="23" y="4869"/>
                  </a:lnTo>
                  <a:lnTo>
                    <a:pt x="22" y="4877"/>
                  </a:lnTo>
                  <a:lnTo>
                    <a:pt x="22" y="4885"/>
                  </a:lnTo>
                  <a:lnTo>
                    <a:pt x="20" y="4902"/>
                  </a:lnTo>
                  <a:lnTo>
                    <a:pt x="18" y="4918"/>
                  </a:lnTo>
                  <a:lnTo>
                    <a:pt x="11" y="4946"/>
                  </a:lnTo>
                  <a:lnTo>
                    <a:pt x="6" y="4973"/>
                  </a:lnTo>
                  <a:lnTo>
                    <a:pt x="3" y="4987"/>
                  </a:lnTo>
                  <a:lnTo>
                    <a:pt x="2" y="5001"/>
                  </a:lnTo>
                  <a:lnTo>
                    <a:pt x="0" y="5016"/>
                  </a:lnTo>
                  <a:lnTo>
                    <a:pt x="0" y="5030"/>
                  </a:lnTo>
                  <a:lnTo>
                    <a:pt x="0" y="5045"/>
                  </a:lnTo>
                  <a:lnTo>
                    <a:pt x="2" y="5059"/>
                  </a:lnTo>
                  <a:lnTo>
                    <a:pt x="3" y="5073"/>
                  </a:lnTo>
                  <a:lnTo>
                    <a:pt x="6" y="5087"/>
                  </a:lnTo>
                  <a:lnTo>
                    <a:pt x="11" y="5115"/>
                  </a:lnTo>
                  <a:lnTo>
                    <a:pt x="18" y="5143"/>
                  </a:lnTo>
                  <a:lnTo>
                    <a:pt x="20" y="5159"/>
                  </a:lnTo>
                  <a:lnTo>
                    <a:pt x="22" y="5175"/>
                  </a:lnTo>
                  <a:lnTo>
                    <a:pt x="22" y="5183"/>
                  </a:lnTo>
                  <a:lnTo>
                    <a:pt x="23" y="5191"/>
                  </a:lnTo>
                  <a:lnTo>
                    <a:pt x="25" y="5199"/>
                  </a:lnTo>
                  <a:lnTo>
                    <a:pt x="28" y="5207"/>
                  </a:lnTo>
                  <a:lnTo>
                    <a:pt x="34" y="5218"/>
                  </a:lnTo>
                  <a:lnTo>
                    <a:pt x="41" y="5229"/>
                  </a:lnTo>
                  <a:lnTo>
                    <a:pt x="44" y="5238"/>
                  </a:lnTo>
                  <a:lnTo>
                    <a:pt x="46" y="5248"/>
                  </a:lnTo>
                  <a:lnTo>
                    <a:pt x="48" y="5257"/>
                  </a:lnTo>
                  <a:lnTo>
                    <a:pt x="52" y="5266"/>
                  </a:lnTo>
                  <a:lnTo>
                    <a:pt x="194" y="5525"/>
                  </a:lnTo>
                  <a:lnTo>
                    <a:pt x="345" y="5781"/>
                  </a:lnTo>
                  <a:lnTo>
                    <a:pt x="506" y="6030"/>
                  </a:lnTo>
                  <a:lnTo>
                    <a:pt x="675" y="6275"/>
                  </a:lnTo>
                  <a:lnTo>
                    <a:pt x="855" y="6513"/>
                  </a:lnTo>
                  <a:lnTo>
                    <a:pt x="1043" y="6746"/>
                  </a:lnTo>
                  <a:lnTo>
                    <a:pt x="1238" y="6973"/>
                  </a:lnTo>
                  <a:lnTo>
                    <a:pt x="1443" y="7195"/>
                  </a:lnTo>
                  <a:lnTo>
                    <a:pt x="1655" y="7409"/>
                  </a:lnTo>
                  <a:lnTo>
                    <a:pt x="1874" y="7617"/>
                  </a:lnTo>
                  <a:lnTo>
                    <a:pt x="2101" y="7818"/>
                  </a:lnTo>
                  <a:lnTo>
                    <a:pt x="2334" y="8012"/>
                  </a:lnTo>
                  <a:lnTo>
                    <a:pt x="2574" y="8198"/>
                  </a:lnTo>
                  <a:lnTo>
                    <a:pt x="2821" y="8378"/>
                  </a:lnTo>
                  <a:lnTo>
                    <a:pt x="3073" y="8549"/>
                  </a:lnTo>
                  <a:lnTo>
                    <a:pt x="3332" y="8713"/>
                  </a:lnTo>
                  <a:lnTo>
                    <a:pt x="3596" y="8868"/>
                  </a:lnTo>
                  <a:lnTo>
                    <a:pt x="3866" y="9015"/>
                  </a:lnTo>
                  <a:lnTo>
                    <a:pt x="4140" y="9154"/>
                  </a:lnTo>
                  <a:lnTo>
                    <a:pt x="4419" y="9283"/>
                  </a:lnTo>
                  <a:lnTo>
                    <a:pt x="4702" y="9403"/>
                  </a:lnTo>
                  <a:lnTo>
                    <a:pt x="4990" y="9514"/>
                  </a:lnTo>
                  <a:lnTo>
                    <a:pt x="5281" y="9615"/>
                  </a:lnTo>
                  <a:lnTo>
                    <a:pt x="5576" y="9707"/>
                  </a:lnTo>
                  <a:lnTo>
                    <a:pt x="5874" y="9789"/>
                  </a:lnTo>
                  <a:lnTo>
                    <a:pt x="6175" y="9861"/>
                  </a:lnTo>
                  <a:lnTo>
                    <a:pt x="6478" y="9922"/>
                  </a:lnTo>
                  <a:lnTo>
                    <a:pt x="6786" y="9972"/>
                  </a:lnTo>
                  <a:lnTo>
                    <a:pt x="7094" y="10012"/>
                  </a:lnTo>
                  <a:lnTo>
                    <a:pt x="7404" y="10041"/>
                  </a:lnTo>
                  <a:lnTo>
                    <a:pt x="7716" y="10058"/>
                  </a:lnTo>
                  <a:lnTo>
                    <a:pt x="8029" y="10064"/>
                  </a:lnTo>
                  <a:lnTo>
                    <a:pt x="8342" y="10058"/>
                  </a:lnTo>
                  <a:lnTo>
                    <a:pt x="8654" y="10041"/>
                  </a:lnTo>
                  <a:lnTo>
                    <a:pt x="8964" y="10013"/>
                  </a:lnTo>
                  <a:lnTo>
                    <a:pt x="9273" y="9972"/>
                  </a:lnTo>
                  <a:lnTo>
                    <a:pt x="9580" y="9922"/>
                  </a:lnTo>
                  <a:lnTo>
                    <a:pt x="9883" y="9861"/>
                  </a:lnTo>
                  <a:lnTo>
                    <a:pt x="10185" y="9789"/>
                  </a:lnTo>
                  <a:lnTo>
                    <a:pt x="10483" y="9708"/>
                  </a:lnTo>
                  <a:lnTo>
                    <a:pt x="10777" y="9616"/>
                  </a:lnTo>
                  <a:lnTo>
                    <a:pt x="11069" y="9515"/>
                  </a:lnTo>
                  <a:lnTo>
                    <a:pt x="11356" y="9404"/>
                  </a:lnTo>
                  <a:lnTo>
                    <a:pt x="11639" y="9284"/>
                  </a:lnTo>
                  <a:lnTo>
                    <a:pt x="11918" y="9155"/>
                  </a:lnTo>
                  <a:lnTo>
                    <a:pt x="12193" y="9017"/>
                  </a:lnTo>
                  <a:lnTo>
                    <a:pt x="12462" y="8870"/>
                  </a:lnTo>
                  <a:lnTo>
                    <a:pt x="12726" y="8714"/>
                  </a:lnTo>
                  <a:lnTo>
                    <a:pt x="12985" y="8551"/>
                  </a:lnTo>
                  <a:lnTo>
                    <a:pt x="13237" y="8380"/>
                  </a:lnTo>
                  <a:lnTo>
                    <a:pt x="13484" y="8201"/>
                  </a:lnTo>
                  <a:lnTo>
                    <a:pt x="13724" y="8014"/>
                  </a:lnTo>
                  <a:lnTo>
                    <a:pt x="13957" y="7821"/>
                  </a:lnTo>
                  <a:lnTo>
                    <a:pt x="14184" y="7620"/>
                  </a:lnTo>
                  <a:lnTo>
                    <a:pt x="14404" y="7412"/>
                  </a:lnTo>
                  <a:lnTo>
                    <a:pt x="14616" y="7198"/>
                  </a:lnTo>
                  <a:lnTo>
                    <a:pt x="14820" y="6977"/>
                  </a:lnTo>
                  <a:lnTo>
                    <a:pt x="15015" y="6749"/>
                  </a:lnTo>
                  <a:lnTo>
                    <a:pt x="15203" y="6517"/>
                  </a:lnTo>
                  <a:lnTo>
                    <a:pt x="15383" y="6278"/>
                  </a:lnTo>
                  <a:lnTo>
                    <a:pt x="15552" y="6033"/>
                  </a:lnTo>
                  <a:lnTo>
                    <a:pt x="15713" y="5784"/>
                  </a:lnTo>
                  <a:lnTo>
                    <a:pt x="15864" y="5529"/>
                  </a:lnTo>
                  <a:lnTo>
                    <a:pt x="16007" y="5270"/>
                  </a:lnTo>
                  <a:lnTo>
                    <a:pt x="16010" y="5260"/>
                  </a:lnTo>
                  <a:lnTo>
                    <a:pt x="16012" y="5251"/>
                  </a:lnTo>
                  <a:lnTo>
                    <a:pt x="16014" y="5242"/>
                  </a:lnTo>
                  <a:lnTo>
                    <a:pt x="16017" y="5232"/>
                  </a:lnTo>
                  <a:lnTo>
                    <a:pt x="16024" y="5222"/>
                  </a:lnTo>
                  <a:lnTo>
                    <a:pt x="16031" y="5211"/>
                  </a:lnTo>
                  <a:lnTo>
                    <a:pt x="16033" y="5202"/>
                  </a:lnTo>
                  <a:lnTo>
                    <a:pt x="16035" y="5194"/>
                  </a:lnTo>
                  <a:lnTo>
                    <a:pt x="16036" y="5186"/>
                  </a:lnTo>
                  <a:lnTo>
                    <a:pt x="16037" y="5178"/>
                  </a:lnTo>
                  <a:lnTo>
                    <a:pt x="16038" y="5162"/>
                  </a:lnTo>
                  <a:lnTo>
                    <a:pt x="16040" y="5146"/>
                  </a:lnTo>
                  <a:lnTo>
                    <a:pt x="16047" y="5118"/>
                  </a:lnTo>
                  <a:lnTo>
                    <a:pt x="16052" y="5090"/>
                  </a:lnTo>
                  <a:lnTo>
                    <a:pt x="16055" y="5076"/>
                  </a:lnTo>
                  <a:lnTo>
                    <a:pt x="16056" y="5063"/>
                  </a:lnTo>
                  <a:lnTo>
                    <a:pt x="16058" y="5048"/>
                  </a:lnTo>
                  <a:lnTo>
                    <a:pt x="16058" y="5034"/>
                  </a:lnTo>
                  <a:lnTo>
                    <a:pt x="16058" y="5019"/>
                  </a:lnTo>
                  <a:lnTo>
                    <a:pt x="16056" y="5005"/>
                  </a:lnTo>
                  <a:lnTo>
                    <a:pt x="16055" y="4991"/>
                  </a:lnTo>
                  <a:lnTo>
                    <a:pt x="16052" y="4977"/>
                  </a:lnTo>
                  <a:lnTo>
                    <a:pt x="16047" y="4949"/>
                  </a:lnTo>
                  <a:lnTo>
                    <a:pt x="16040" y="49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98" name="ï$ḻïďê">
              <a:extLst>
                <a:ext uri="{FF2B5EF4-FFF2-40B4-BE49-F238E27FC236}">
                  <a16:creationId xmlns:a16="http://schemas.microsoft.com/office/drawing/2014/main" id="{71A27C20-B981-4CD3-9522-5275ABF3B747}"/>
                </a:ext>
              </a:extLst>
            </p:cNvPr>
            <p:cNvSpPr/>
            <p:nvPr/>
          </p:nvSpPr>
          <p:spPr bwMode="auto">
            <a:xfrm>
              <a:off x="6955145" y="475801"/>
              <a:ext cx="86009" cy="86009"/>
            </a:xfrm>
            <a:custGeom>
              <a:avLst/>
              <a:gdLst>
                <a:gd name="T0" fmla="*/ 1902 w 2259"/>
                <a:gd name="T1" fmla="*/ 3 h 2264"/>
                <a:gd name="T2" fmla="*/ 1504 w 2259"/>
                <a:gd name="T3" fmla="*/ 64 h 2264"/>
                <a:gd name="T4" fmla="*/ 1136 w 2259"/>
                <a:gd name="T5" fmla="*/ 200 h 2264"/>
                <a:gd name="T6" fmla="*/ 805 w 2259"/>
                <a:gd name="T7" fmla="*/ 401 h 2264"/>
                <a:gd name="T8" fmla="*/ 521 w 2259"/>
                <a:gd name="T9" fmla="*/ 661 h 2264"/>
                <a:gd name="T10" fmla="*/ 290 w 2259"/>
                <a:gd name="T11" fmla="*/ 970 h 2264"/>
                <a:gd name="T12" fmla="*/ 121 w 2259"/>
                <a:gd name="T13" fmla="*/ 1322 h 2264"/>
                <a:gd name="T14" fmla="*/ 23 w 2259"/>
                <a:gd name="T15" fmla="*/ 1707 h 2264"/>
                <a:gd name="T16" fmla="*/ 0 w 2259"/>
                <a:gd name="T17" fmla="*/ 2026 h 2264"/>
                <a:gd name="T18" fmla="*/ 8 w 2259"/>
                <a:gd name="T19" fmla="*/ 2076 h 2264"/>
                <a:gd name="T20" fmla="*/ 24 w 2259"/>
                <a:gd name="T21" fmla="*/ 2122 h 2264"/>
                <a:gd name="T22" fmla="*/ 49 w 2259"/>
                <a:gd name="T23" fmla="*/ 2163 h 2264"/>
                <a:gd name="T24" fmla="*/ 82 w 2259"/>
                <a:gd name="T25" fmla="*/ 2199 h 2264"/>
                <a:gd name="T26" fmla="*/ 120 w 2259"/>
                <a:gd name="T27" fmla="*/ 2228 h 2264"/>
                <a:gd name="T28" fmla="*/ 164 w 2259"/>
                <a:gd name="T29" fmla="*/ 2249 h 2264"/>
                <a:gd name="T30" fmla="*/ 213 w 2259"/>
                <a:gd name="T31" fmla="*/ 2262 h 2264"/>
                <a:gd name="T32" fmla="*/ 264 w 2259"/>
                <a:gd name="T33" fmla="*/ 2264 h 2264"/>
                <a:gd name="T34" fmla="*/ 313 w 2259"/>
                <a:gd name="T35" fmla="*/ 2257 h 2264"/>
                <a:gd name="T36" fmla="*/ 359 w 2259"/>
                <a:gd name="T37" fmla="*/ 2240 h 2264"/>
                <a:gd name="T38" fmla="*/ 400 w 2259"/>
                <a:gd name="T39" fmla="*/ 2215 h 2264"/>
                <a:gd name="T40" fmla="*/ 436 w 2259"/>
                <a:gd name="T41" fmla="*/ 2181 h 2264"/>
                <a:gd name="T42" fmla="*/ 465 w 2259"/>
                <a:gd name="T43" fmla="*/ 2143 h 2264"/>
                <a:gd name="T44" fmla="*/ 487 w 2259"/>
                <a:gd name="T45" fmla="*/ 2099 h 2264"/>
                <a:gd name="T46" fmla="*/ 499 w 2259"/>
                <a:gd name="T47" fmla="*/ 2051 h 2264"/>
                <a:gd name="T48" fmla="*/ 504 w 2259"/>
                <a:gd name="T49" fmla="*/ 1935 h 2264"/>
                <a:gd name="T50" fmla="*/ 549 w 2259"/>
                <a:gd name="T51" fmla="*/ 1636 h 2264"/>
                <a:gd name="T52" fmla="*/ 650 w 2259"/>
                <a:gd name="T53" fmla="*/ 1359 h 2264"/>
                <a:gd name="T54" fmla="*/ 801 w 2259"/>
                <a:gd name="T55" fmla="*/ 1110 h 2264"/>
                <a:gd name="T56" fmla="*/ 995 w 2259"/>
                <a:gd name="T57" fmla="*/ 896 h 2264"/>
                <a:gd name="T58" fmla="*/ 1227 w 2259"/>
                <a:gd name="T59" fmla="*/ 722 h 2264"/>
                <a:gd name="T60" fmla="*/ 1490 w 2259"/>
                <a:gd name="T61" fmla="*/ 595 h 2264"/>
                <a:gd name="T62" fmla="*/ 1779 w 2259"/>
                <a:gd name="T63" fmla="*/ 521 h 2264"/>
                <a:gd name="T64" fmla="*/ 2008 w 2259"/>
                <a:gd name="T65" fmla="*/ 503 h 2264"/>
                <a:gd name="T66" fmla="*/ 2058 w 2259"/>
                <a:gd name="T67" fmla="*/ 498 h 2264"/>
                <a:gd name="T68" fmla="*/ 2105 w 2259"/>
                <a:gd name="T69" fmla="*/ 483 h 2264"/>
                <a:gd name="T70" fmla="*/ 2149 w 2259"/>
                <a:gd name="T71" fmla="*/ 460 h 2264"/>
                <a:gd name="T72" fmla="*/ 2186 w 2259"/>
                <a:gd name="T73" fmla="*/ 430 h 2264"/>
                <a:gd name="T74" fmla="*/ 2216 w 2259"/>
                <a:gd name="T75" fmla="*/ 392 h 2264"/>
                <a:gd name="T76" fmla="*/ 2239 w 2259"/>
                <a:gd name="T77" fmla="*/ 349 h 2264"/>
                <a:gd name="T78" fmla="*/ 2254 w 2259"/>
                <a:gd name="T79" fmla="*/ 302 h 2264"/>
                <a:gd name="T80" fmla="*/ 2259 w 2259"/>
                <a:gd name="T81" fmla="*/ 252 h 2264"/>
                <a:gd name="T82" fmla="*/ 2254 w 2259"/>
                <a:gd name="T83" fmla="*/ 201 h 2264"/>
                <a:gd name="T84" fmla="*/ 2239 w 2259"/>
                <a:gd name="T85" fmla="*/ 154 h 2264"/>
                <a:gd name="T86" fmla="*/ 2216 w 2259"/>
                <a:gd name="T87" fmla="*/ 111 h 2264"/>
                <a:gd name="T88" fmla="*/ 2186 w 2259"/>
                <a:gd name="T89" fmla="*/ 74 h 2264"/>
                <a:gd name="T90" fmla="*/ 2149 w 2259"/>
                <a:gd name="T91" fmla="*/ 42 h 2264"/>
                <a:gd name="T92" fmla="*/ 2105 w 2259"/>
                <a:gd name="T93" fmla="*/ 19 h 2264"/>
                <a:gd name="T94" fmla="*/ 2058 w 2259"/>
                <a:gd name="T95" fmla="*/ 5 h 2264"/>
                <a:gd name="T96" fmla="*/ 2008 w 2259"/>
                <a:gd name="T97" fmla="*/ 0 h 2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59" h="2264">
                  <a:moveTo>
                    <a:pt x="2008" y="0"/>
                  </a:moveTo>
                  <a:lnTo>
                    <a:pt x="2006" y="0"/>
                  </a:lnTo>
                  <a:lnTo>
                    <a:pt x="2005" y="0"/>
                  </a:lnTo>
                  <a:lnTo>
                    <a:pt x="1902" y="3"/>
                  </a:lnTo>
                  <a:lnTo>
                    <a:pt x="1800" y="11"/>
                  </a:lnTo>
                  <a:lnTo>
                    <a:pt x="1700" y="24"/>
                  </a:lnTo>
                  <a:lnTo>
                    <a:pt x="1601" y="42"/>
                  </a:lnTo>
                  <a:lnTo>
                    <a:pt x="1504" y="64"/>
                  </a:lnTo>
                  <a:lnTo>
                    <a:pt x="1409" y="92"/>
                  </a:lnTo>
                  <a:lnTo>
                    <a:pt x="1315" y="124"/>
                  </a:lnTo>
                  <a:lnTo>
                    <a:pt x="1224" y="159"/>
                  </a:lnTo>
                  <a:lnTo>
                    <a:pt x="1136" y="200"/>
                  </a:lnTo>
                  <a:lnTo>
                    <a:pt x="1049" y="244"/>
                  </a:lnTo>
                  <a:lnTo>
                    <a:pt x="965" y="293"/>
                  </a:lnTo>
                  <a:lnTo>
                    <a:pt x="884" y="345"/>
                  </a:lnTo>
                  <a:lnTo>
                    <a:pt x="805" y="401"/>
                  </a:lnTo>
                  <a:lnTo>
                    <a:pt x="729" y="461"/>
                  </a:lnTo>
                  <a:lnTo>
                    <a:pt x="656" y="524"/>
                  </a:lnTo>
                  <a:lnTo>
                    <a:pt x="587" y="590"/>
                  </a:lnTo>
                  <a:lnTo>
                    <a:pt x="521" y="661"/>
                  </a:lnTo>
                  <a:lnTo>
                    <a:pt x="457" y="733"/>
                  </a:lnTo>
                  <a:lnTo>
                    <a:pt x="398" y="810"/>
                  </a:lnTo>
                  <a:lnTo>
                    <a:pt x="342" y="888"/>
                  </a:lnTo>
                  <a:lnTo>
                    <a:pt x="290" y="970"/>
                  </a:lnTo>
                  <a:lnTo>
                    <a:pt x="242" y="1054"/>
                  </a:lnTo>
                  <a:lnTo>
                    <a:pt x="197" y="1141"/>
                  </a:lnTo>
                  <a:lnTo>
                    <a:pt x="157" y="1230"/>
                  </a:lnTo>
                  <a:lnTo>
                    <a:pt x="121" y="1322"/>
                  </a:lnTo>
                  <a:lnTo>
                    <a:pt x="90" y="1415"/>
                  </a:lnTo>
                  <a:lnTo>
                    <a:pt x="63" y="1510"/>
                  </a:lnTo>
                  <a:lnTo>
                    <a:pt x="40" y="1607"/>
                  </a:lnTo>
                  <a:lnTo>
                    <a:pt x="23" y="1707"/>
                  </a:lnTo>
                  <a:lnTo>
                    <a:pt x="10" y="1807"/>
                  </a:lnTo>
                  <a:lnTo>
                    <a:pt x="2" y="1909"/>
                  </a:lnTo>
                  <a:lnTo>
                    <a:pt x="0" y="2012"/>
                  </a:lnTo>
                  <a:lnTo>
                    <a:pt x="0" y="2026"/>
                  </a:lnTo>
                  <a:lnTo>
                    <a:pt x="1" y="2039"/>
                  </a:lnTo>
                  <a:lnTo>
                    <a:pt x="3" y="2051"/>
                  </a:lnTo>
                  <a:lnTo>
                    <a:pt x="5" y="2064"/>
                  </a:lnTo>
                  <a:lnTo>
                    <a:pt x="8" y="2076"/>
                  </a:lnTo>
                  <a:lnTo>
                    <a:pt x="11" y="2088"/>
                  </a:lnTo>
                  <a:lnTo>
                    <a:pt x="15" y="2099"/>
                  </a:lnTo>
                  <a:lnTo>
                    <a:pt x="19" y="2111"/>
                  </a:lnTo>
                  <a:lnTo>
                    <a:pt x="24" y="2122"/>
                  </a:lnTo>
                  <a:lnTo>
                    <a:pt x="30" y="2132"/>
                  </a:lnTo>
                  <a:lnTo>
                    <a:pt x="36" y="2143"/>
                  </a:lnTo>
                  <a:lnTo>
                    <a:pt x="42" y="2153"/>
                  </a:lnTo>
                  <a:lnTo>
                    <a:pt x="49" y="2163"/>
                  </a:lnTo>
                  <a:lnTo>
                    <a:pt x="57" y="2172"/>
                  </a:lnTo>
                  <a:lnTo>
                    <a:pt x="65" y="2181"/>
                  </a:lnTo>
                  <a:lnTo>
                    <a:pt x="73" y="2191"/>
                  </a:lnTo>
                  <a:lnTo>
                    <a:pt x="82" y="2199"/>
                  </a:lnTo>
                  <a:lnTo>
                    <a:pt x="91" y="2207"/>
                  </a:lnTo>
                  <a:lnTo>
                    <a:pt x="100" y="2215"/>
                  </a:lnTo>
                  <a:lnTo>
                    <a:pt x="110" y="2222"/>
                  </a:lnTo>
                  <a:lnTo>
                    <a:pt x="120" y="2228"/>
                  </a:lnTo>
                  <a:lnTo>
                    <a:pt x="131" y="2234"/>
                  </a:lnTo>
                  <a:lnTo>
                    <a:pt x="142" y="2240"/>
                  </a:lnTo>
                  <a:lnTo>
                    <a:pt x="153" y="2245"/>
                  </a:lnTo>
                  <a:lnTo>
                    <a:pt x="164" y="2249"/>
                  </a:lnTo>
                  <a:lnTo>
                    <a:pt x="176" y="2253"/>
                  </a:lnTo>
                  <a:lnTo>
                    <a:pt x="187" y="2257"/>
                  </a:lnTo>
                  <a:lnTo>
                    <a:pt x="200" y="2259"/>
                  </a:lnTo>
                  <a:lnTo>
                    <a:pt x="213" y="2262"/>
                  </a:lnTo>
                  <a:lnTo>
                    <a:pt x="225" y="2263"/>
                  </a:lnTo>
                  <a:lnTo>
                    <a:pt x="238" y="2264"/>
                  </a:lnTo>
                  <a:lnTo>
                    <a:pt x="251" y="2264"/>
                  </a:lnTo>
                  <a:lnTo>
                    <a:pt x="264" y="2264"/>
                  </a:lnTo>
                  <a:lnTo>
                    <a:pt x="277" y="2263"/>
                  </a:lnTo>
                  <a:lnTo>
                    <a:pt x="289" y="2262"/>
                  </a:lnTo>
                  <a:lnTo>
                    <a:pt x="301" y="2259"/>
                  </a:lnTo>
                  <a:lnTo>
                    <a:pt x="313" y="2257"/>
                  </a:lnTo>
                  <a:lnTo>
                    <a:pt x="325" y="2253"/>
                  </a:lnTo>
                  <a:lnTo>
                    <a:pt x="337" y="2249"/>
                  </a:lnTo>
                  <a:lnTo>
                    <a:pt x="348" y="2245"/>
                  </a:lnTo>
                  <a:lnTo>
                    <a:pt x="359" y="2240"/>
                  </a:lnTo>
                  <a:lnTo>
                    <a:pt x="370" y="2234"/>
                  </a:lnTo>
                  <a:lnTo>
                    <a:pt x="380" y="2228"/>
                  </a:lnTo>
                  <a:lnTo>
                    <a:pt x="391" y="2222"/>
                  </a:lnTo>
                  <a:lnTo>
                    <a:pt x="400" y="2215"/>
                  </a:lnTo>
                  <a:lnTo>
                    <a:pt x="410" y="2207"/>
                  </a:lnTo>
                  <a:lnTo>
                    <a:pt x="419" y="2199"/>
                  </a:lnTo>
                  <a:lnTo>
                    <a:pt x="428" y="2191"/>
                  </a:lnTo>
                  <a:lnTo>
                    <a:pt x="436" y="2181"/>
                  </a:lnTo>
                  <a:lnTo>
                    <a:pt x="444" y="2172"/>
                  </a:lnTo>
                  <a:lnTo>
                    <a:pt x="451" y="2163"/>
                  </a:lnTo>
                  <a:lnTo>
                    <a:pt x="458" y="2153"/>
                  </a:lnTo>
                  <a:lnTo>
                    <a:pt x="465" y="2143"/>
                  </a:lnTo>
                  <a:lnTo>
                    <a:pt x="471" y="2132"/>
                  </a:lnTo>
                  <a:lnTo>
                    <a:pt x="476" y="2122"/>
                  </a:lnTo>
                  <a:lnTo>
                    <a:pt x="481" y="2111"/>
                  </a:lnTo>
                  <a:lnTo>
                    <a:pt x="487" y="2099"/>
                  </a:lnTo>
                  <a:lnTo>
                    <a:pt x="491" y="2088"/>
                  </a:lnTo>
                  <a:lnTo>
                    <a:pt x="494" y="2076"/>
                  </a:lnTo>
                  <a:lnTo>
                    <a:pt x="497" y="2064"/>
                  </a:lnTo>
                  <a:lnTo>
                    <a:pt x="499" y="2051"/>
                  </a:lnTo>
                  <a:lnTo>
                    <a:pt x="501" y="2039"/>
                  </a:lnTo>
                  <a:lnTo>
                    <a:pt x="501" y="2026"/>
                  </a:lnTo>
                  <a:lnTo>
                    <a:pt x="502" y="2012"/>
                  </a:lnTo>
                  <a:lnTo>
                    <a:pt x="504" y="1935"/>
                  </a:lnTo>
                  <a:lnTo>
                    <a:pt x="510" y="1859"/>
                  </a:lnTo>
                  <a:lnTo>
                    <a:pt x="519" y="1783"/>
                  </a:lnTo>
                  <a:lnTo>
                    <a:pt x="532" y="1709"/>
                  </a:lnTo>
                  <a:lnTo>
                    <a:pt x="549" y="1636"/>
                  </a:lnTo>
                  <a:lnTo>
                    <a:pt x="569" y="1564"/>
                  </a:lnTo>
                  <a:lnTo>
                    <a:pt x="593" y="1495"/>
                  </a:lnTo>
                  <a:lnTo>
                    <a:pt x="620" y="1426"/>
                  </a:lnTo>
                  <a:lnTo>
                    <a:pt x="650" y="1359"/>
                  </a:lnTo>
                  <a:lnTo>
                    <a:pt x="683" y="1294"/>
                  </a:lnTo>
                  <a:lnTo>
                    <a:pt x="719" y="1231"/>
                  </a:lnTo>
                  <a:lnTo>
                    <a:pt x="759" y="1170"/>
                  </a:lnTo>
                  <a:lnTo>
                    <a:pt x="801" y="1110"/>
                  </a:lnTo>
                  <a:lnTo>
                    <a:pt x="846" y="1053"/>
                  </a:lnTo>
                  <a:lnTo>
                    <a:pt x="893" y="999"/>
                  </a:lnTo>
                  <a:lnTo>
                    <a:pt x="943" y="946"/>
                  </a:lnTo>
                  <a:lnTo>
                    <a:pt x="995" y="896"/>
                  </a:lnTo>
                  <a:lnTo>
                    <a:pt x="1051" y="849"/>
                  </a:lnTo>
                  <a:lnTo>
                    <a:pt x="1107" y="804"/>
                  </a:lnTo>
                  <a:lnTo>
                    <a:pt x="1166" y="761"/>
                  </a:lnTo>
                  <a:lnTo>
                    <a:pt x="1227" y="722"/>
                  </a:lnTo>
                  <a:lnTo>
                    <a:pt x="1290" y="686"/>
                  </a:lnTo>
                  <a:lnTo>
                    <a:pt x="1356" y="653"/>
                  </a:lnTo>
                  <a:lnTo>
                    <a:pt x="1422" y="623"/>
                  </a:lnTo>
                  <a:lnTo>
                    <a:pt x="1490" y="595"/>
                  </a:lnTo>
                  <a:lnTo>
                    <a:pt x="1560" y="571"/>
                  </a:lnTo>
                  <a:lnTo>
                    <a:pt x="1632" y="551"/>
                  </a:lnTo>
                  <a:lnTo>
                    <a:pt x="1705" y="534"/>
                  </a:lnTo>
                  <a:lnTo>
                    <a:pt x="1779" y="521"/>
                  </a:lnTo>
                  <a:lnTo>
                    <a:pt x="1854" y="511"/>
                  </a:lnTo>
                  <a:lnTo>
                    <a:pt x="1931" y="505"/>
                  </a:lnTo>
                  <a:lnTo>
                    <a:pt x="2008" y="503"/>
                  </a:lnTo>
                  <a:lnTo>
                    <a:pt x="2008" y="503"/>
                  </a:lnTo>
                  <a:lnTo>
                    <a:pt x="2021" y="503"/>
                  </a:lnTo>
                  <a:lnTo>
                    <a:pt x="2034" y="502"/>
                  </a:lnTo>
                  <a:lnTo>
                    <a:pt x="2046" y="500"/>
                  </a:lnTo>
                  <a:lnTo>
                    <a:pt x="2058" y="498"/>
                  </a:lnTo>
                  <a:lnTo>
                    <a:pt x="2070" y="495"/>
                  </a:lnTo>
                  <a:lnTo>
                    <a:pt x="2082" y="492"/>
                  </a:lnTo>
                  <a:lnTo>
                    <a:pt x="2094" y="488"/>
                  </a:lnTo>
                  <a:lnTo>
                    <a:pt x="2105" y="483"/>
                  </a:lnTo>
                  <a:lnTo>
                    <a:pt x="2116" y="478"/>
                  </a:lnTo>
                  <a:lnTo>
                    <a:pt x="2127" y="473"/>
                  </a:lnTo>
                  <a:lnTo>
                    <a:pt x="2137" y="467"/>
                  </a:lnTo>
                  <a:lnTo>
                    <a:pt x="2149" y="460"/>
                  </a:lnTo>
                  <a:lnTo>
                    <a:pt x="2158" y="453"/>
                  </a:lnTo>
                  <a:lnTo>
                    <a:pt x="2168" y="446"/>
                  </a:lnTo>
                  <a:lnTo>
                    <a:pt x="2177" y="438"/>
                  </a:lnTo>
                  <a:lnTo>
                    <a:pt x="2186" y="430"/>
                  </a:lnTo>
                  <a:lnTo>
                    <a:pt x="2194" y="420"/>
                  </a:lnTo>
                  <a:lnTo>
                    <a:pt x="2202" y="411"/>
                  </a:lnTo>
                  <a:lnTo>
                    <a:pt x="2209" y="401"/>
                  </a:lnTo>
                  <a:lnTo>
                    <a:pt x="2216" y="392"/>
                  </a:lnTo>
                  <a:lnTo>
                    <a:pt x="2223" y="381"/>
                  </a:lnTo>
                  <a:lnTo>
                    <a:pt x="2229" y="371"/>
                  </a:lnTo>
                  <a:lnTo>
                    <a:pt x="2234" y="360"/>
                  </a:lnTo>
                  <a:lnTo>
                    <a:pt x="2239" y="349"/>
                  </a:lnTo>
                  <a:lnTo>
                    <a:pt x="2244" y="338"/>
                  </a:lnTo>
                  <a:lnTo>
                    <a:pt x="2248" y="326"/>
                  </a:lnTo>
                  <a:lnTo>
                    <a:pt x="2251" y="314"/>
                  </a:lnTo>
                  <a:lnTo>
                    <a:pt x="2254" y="302"/>
                  </a:lnTo>
                  <a:lnTo>
                    <a:pt x="2256" y="290"/>
                  </a:lnTo>
                  <a:lnTo>
                    <a:pt x="2258" y="278"/>
                  </a:lnTo>
                  <a:lnTo>
                    <a:pt x="2259" y="265"/>
                  </a:lnTo>
                  <a:lnTo>
                    <a:pt x="2259" y="252"/>
                  </a:lnTo>
                  <a:lnTo>
                    <a:pt x="2259" y="238"/>
                  </a:lnTo>
                  <a:lnTo>
                    <a:pt x="2258" y="226"/>
                  </a:lnTo>
                  <a:lnTo>
                    <a:pt x="2256" y="213"/>
                  </a:lnTo>
                  <a:lnTo>
                    <a:pt x="2254" y="201"/>
                  </a:lnTo>
                  <a:lnTo>
                    <a:pt x="2251" y="189"/>
                  </a:lnTo>
                  <a:lnTo>
                    <a:pt x="2248" y="177"/>
                  </a:lnTo>
                  <a:lnTo>
                    <a:pt x="2244" y="165"/>
                  </a:lnTo>
                  <a:lnTo>
                    <a:pt x="2239" y="154"/>
                  </a:lnTo>
                  <a:lnTo>
                    <a:pt x="2234" y="143"/>
                  </a:lnTo>
                  <a:lnTo>
                    <a:pt x="2229" y="132"/>
                  </a:lnTo>
                  <a:lnTo>
                    <a:pt x="2223" y="121"/>
                  </a:lnTo>
                  <a:lnTo>
                    <a:pt x="2216" y="111"/>
                  </a:lnTo>
                  <a:lnTo>
                    <a:pt x="2209" y="101"/>
                  </a:lnTo>
                  <a:lnTo>
                    <a:pt x="2202" y="92"/>
                  </a:lnTo>
                  <a:lnTo>
                    <a:pt x="2194" y="83"/>
                  </a:lnTo>
                  <a:lnTo>
                    <a:pt x="2186" y="74"/>
                  </a:lnTo>
                  <a:lnTo>
                    <a:pt x="2177" y="65"/>
                  </a:lnTo>
                  <a:lnTo>
                    <a:pt x="2168" y="57"/>
                  </a:lnTo>
                  <a:lnTo>
                    <a:pt x="2158" y="49"/>
                  </a:lnTo>
                  <a:lnTo>
                    <a:pt x="2149" y="42"/>
                  </a:lnTo>
                  <a:lnTo>
                    <a:pt x="2137" y="36"/>
                  </a:lnTo>
                  <a:lnTo>
                    <a:pt x="2127" y="30"/>
                  </a:lnTo>
                  <a:lnTo>
                    <a:pt x="2116" y="24"/>
                  </a:lnTo>
                  <a:lnTo>
                    <a:pt x="2105" y="19"/>
                  </a:lnTo>
                  <a:lnTo>
                    <a:pt x="2094" y="15"/>
                  </a:lnTo>
                  <a:lnTo>
                    <a:pt x="2082" y="11"/>
                  </a:lnTo>
                  <a:lnTo>
                    <a:pt x="2070" y="8"/>
                  </a:lnTo>
                  <a:lnTo>
                    <a:pt x="2058" y="5"/>
                  </a:lnTo>
                  <a:lnTo>
                    <a:pt x="2046" y="3"/>
                  </a:lnTo>
                  <a:lnTo>
                    <a:pt x="2034" y="1"/>
                  </a:lnTo>
                  <a:lnTo>
                    <a:pt x="2021" y="0"/>
                  </a:lnTo>
                  <a:lnTo>
                    <a:pt x="20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99" name="ïs1íḋê">
              <a:extLst>
                <a:ext uri="{FF2B5EF4-FFF2-40B4-BE49-F238E27FC236}">
                  <a16:creationId xmlns:a16="http://schemas.microsoft.com/office/drawing/2014/main" id="{FCBAB853-3775-4CCB-AD1D-927BCDD9DEF2}"/>
                </a:ext>
              </a:extLst>
            </p:cNvPr>
            <p:cNvSpPr/>
            <p:nvPr/>
          </p:nvSpPr>
          <p:spPr bwMode="auto">
            <a:xfrm>
              <a:off x="6897336" y="417992"/>
              <a:ext cx="267895" cy="267895"/>
            </a:xfrm>
            <a:custGeom>
              <a:avLst/>
              <a:gdLst>
                <a:gd name="T0" fmla="*/ 2911 w 7036"/>
                <a:gd name="T1" fmla="*/ 6484 h 7049"/>
                <a:gd name="T2" fmla="*/ 2212 w 7036"/>
                <a:gd name="T3" fmla="*/ 6248 h 7049"/>
                <a:gd name="T4" fmla="*/ 1601 w 7036"/>
                <a:gd name="T5" fmla="*/ 5856 h 7049"/>
                <a:gd name="T6" fmla="*/ 1102 w 7036"/>
                <a:gd name="T7" fmla="*/ 5332 h 7049"/>
                <a:gd name="T8" fmla="*/ 740 w 7036"/>
                <a:gd name="T9" fmla="*/ 4699 h 7049"/>
                <a:gd name="T10" fmla="*/ 538 w 7036"/>
                <a:gd name="T11" fmla="*/ 3984 h 7049"/>
                <a:gd name="T12" fmla="*/ 518 w 7036"/>
                <a:gd name="T13" fmla="*/ 3216 h 7049"/>
                <a:gd name="T14" fmla="*/ 686 w 7036"/>
                <a:gd name="T15" fmla="*/ 2487 h 7049"/>
                <a:gd name="T16" fmla="*/ 1019 w 7036"/>
                <a:gd name="T17" fmla="*/ 1836 h 7049"/>
                <a:gd name="T18" fmla="*/ 1492 w 7036"/>
                <a:gd name="T19" fmla="*/ 1289 h 7049"/>
                <a:gd name="T20" fmla="*/ 2082 w 7036"/>
                <a:gd name="T21" fmla="*/ 868 h 7049"/>
                <a:gd name="T22" fmla="*/ 2765 w 7036"/>
                <a:gd name="T23" fmla="*/ 598 h 7049"/>
                <a:gd name="T24" fmla="*/ 3518 w 7036"/>
                <a:gd name="T25" fmla="*/ 503 h 7049"/>
                <a:gd name="T26" fmla="*/ 4271 w 7036"/>
                <a:gd name="T27" fmla="*/ 598 h 7049"/>
                <a:gd name="T28" fmla="*/ 4954 w 7036"/>
                <a:gd name="T29" fmla="*/ 868 h 7049"/>
                <a:gd name="T30" fmla="*/ 5544 w 7036"/>
                <a:gd name="T31" fmla="*/ 1289 h 7049"/>
                <a:gd name="T32" fmla="*/ 6018 w 7036"/>
                <a:gd name="T33" fmla="*/ 1836 h 7049"/>
                <a:gd name="T34" fmla="*/ 6350 w 7036"/>
                <a:gd name="T35" fmla="*/ 2487 h 7049"/>
                <a:gd name="T36" fmla="*/ 6518 w 7036"/>
                <a:gd name="T37" fmla="*/ 3216 h 7049"/>
                <a:gd name="T38" fmla="*/ 6499 w 7036"/>
                <a:gd name="T39" fmla="*/ 3984 h 7049"/>
                <a:gd name="T40" fmla="*/ 6296 w 7036"/>
                <a:gd name="T41" fmla="*/ 4699 h 7049"/>
                <a:gd name="T42" fmla="*/ 5934 w 7036"/>
                <a:gd name="T43" fmla="*/ 5332 h 7049"/>
                <a:gd name="T44" fmla="*/ 5435 w 7036"/>
                <a:gd name="T45" fmla="*/ 5856 h 7049"/>
                <a:gd name="T46" fmla="*/ 4825 w 7036"/>
                <a:gd name="T47" fmla="*/ 6248 h 7049"/>
                <a:gd name="T48" fmla="*/ 4125 w 7036"/>
                <a:gd name="T49" fmla="*/ 6484 h 7049"/>
                <a:gd name="T50" fmla="*/ 3518 w 7036"/>
                <a:gd name="T51" fmla="*/ 0 h 7049"/>
                <a:gd name="T52" fmla="*/ 2639 w 7036"/>
                <a:gd name="T53" fmla="*/ 110 h 7049"/>
                <a:gd name="T54" fmla="*/ 1842 w 7036"/>
                <a:gd name="T55" fmla="*/ 425 h 7049"/>
                <a:gd name="T56" fmla="*/ 1153 w 7036"/>
                <a:gd name="T57" fmla="*/ 916 h 7049"/>
                <a:gd name="T58" fmla="*/ 601 w 7036"/>
                <a:gd name="T59" fmla="*/ 1553 h 7049"/>
                <a:gd name="T60" fmla="*/ 214 w 7036"/>
                <a:gd name="T61" fmla="*/ 2313 h 7049"/>
                <a:gd name="T62" fmla="*/ 18 w 7036"/>
                <a:gd name="T63" fmla="*/ 3164 h 7049"/>
                <a:gd name="T64" fmla="*/ 41 w 7036"/>
                <a:gd name="T65" fmla="*/ 4062 h 7049"/>
                <a:gd name="T66" fmla="*/ 277 w 7036"/>
                <a:gd name="T67" fmla="*/ 4896 h 7049"/>
                <a:gd name="T68" fmla="*/ 700 w 7036"/>
                <a:gd name="T69" fmla="*/ 5633 h 7049"/>
                <a:gd name="T70" fmla="*/ 1281 w 7036"/>
                <a:gd name="T71" fmla="*/ 6245 h 7049"/>
                <a:gd name="T72" fmla="*/ 1993 w 7036"/>
                <a:gd name="T73" fmla="*/ 6703 h 7049"/>
                <a:gd name="T74" fmla="*/ 2809 w 7036"/>
                <a:gd name="T75" fmla="*/ 6978 h 7049"/>
                <a:gd name="T76" fmla="*/ 3700 w 7036"/>
                <a:gd name="T77" fmla="*/ 7045 h 7049"/>
                <a:gd name="T78" fmla="*/ 4565 w 7036"/>
                <a:gd name="T79" fmla="*/ 6892 h 7049"/>
                <a:gd name="T80" fmla="*/ 5343 w 7036"/>
                <a:gd name="T81" fmla="*/ 6540 h 7049"/>
                <a:gd name="T82" fmla="*/ 6006 w 7036"/>
                <a:gd name="T83" fmla="*/ 6018 h 7049"/>
                <a:gd name="T84" fmla="*/ 6527 w 7036"/>
                <a:gd name="T85" fmla="*/ 5353 h 7049"/>
                <a:gd name="T86" fmla="*/ 6878 w 7036"/>
                <a:gd name="T87" fmla="*/ 4572 h 7049"/>
                <a:gd name="T88" fmla="*/ 7032 w 7036"/>
                <a:gd name="T89" fmla="*/ 3706 h 7049"/>
                <a:gd name="T90" fmla="*/ 6964 w 7036"/>
                <a:gd name="T91" fmla="*/ 2814 h 7049"/>
                <a:gd name="T92" fmla="*/ 6689 w 7036"/>
                <a:gd name="T93" fmla="*/ 1997 h 7049"/>
                <a:gd name="T94" fmla="*/ 6233 w 7036"/>
                <a:gd name="T95" fmla="*/ 1283 h 7049"/>
                <a:gd name="T96" fmla="*/ 5623 w 7036"/>
                <a:gd name="T97" fmla="*/ 700 h 7049"/>
                <a:gd name="T98" fmla="*/ 4888 w 7036"/>
                <a:gd name="T99" fmla="*/ 277 h 7049"/>
                <a:gd name="T100" fmla="*/ 4054 w 7036"/>
                <a:gd name="T101" fmla="*/ 40 h 70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036" h="7049">
                  <a:moveTo>
                    <a:pt x="3518" y="6547"/>
                  </a:moveTo>
                  <a:lnTo>
                    <a:pt x="3363" y="6543"/>
                  </a:lnTo>
                  <a:lnTo>
                    <a:pt x="3210" y="6531"/>
                  </a:lnTo>
                  <a:lnTo>
                    <a:pt x="3059" y="6511"/>
                  </a:lnTo>
                  <a:lnTo>
                    <a:pt x="2911" y="6484"/>
                  </a:lnTo>
                  <a:lnTo>
                    <a:pt x="2765" y="6451"/>
                  </a:lnTo>
                  <a:lnTo>
                    <a:pt x="2623" y="6410"/>
                  </a:lnTo>
                  <a:lnTo>
                    <a:pt x="2482" y="6363"/>
                  </a:lnTo>
                  <a:lnTo>
                    <a:pt x="2346" y="6308"/>
                  </a:lnTo>
                  <a:lnTo>
                    <a:pt x="2212" y="6248"/>
                  </a:lnTo>
                  <a:lnTo>
                    <a:pt x="2082" y="6181"/>
                  </a:lnTo>
                  <a:lnTo>
                    <a:pt x="1955" y="6108"/>
                  </a:lnTo>
                  <a:lnTo>
                    <a:pt x="1834" y="6030"/>
                  </a:lnTo>
                  <a:lnTo>
                    <a:pt x="1715" y="5945"/>
                  </a:lnTo>
                  <a:lnTo>
                    <a:pt x="1601" y="5856"/>
                  </a:lnTo>
                  <a:lnTo>
                    <a:pt x="1492" y="5760"/>
                  </a:lnTo>
                  <a:lnTo>
                    <a:pt x="1387" y="5661"/>
                  </a:lnTo>
                  <a:lnTo>
                    <a:pt x="1287" y="5555"/>
                  </a:lnTo>
                  <a:lnTo>
                    <a:pt x="1193" y="5445"/>
                  </a:lnTo>
                  <a:lnTo>
                    <a:pt x="1102" y="5332"/>
                  </a:lnTo>
                  <a:lnTo>
                    <a:pt x="1019" y="5213"/>
                  </a:lnTo>
                  <a:lnTo>
                    <a:pt x="940" y="5090"/>
                  </a:lnTo>
                  <a:lnTo>
                    <a:pt x="867" y="4964"/>
                  </a:lnTo>
                  <a:lnTo>
                    <a:pt x="801" y="4834"/>
                  </a:lnTo>
                  <a:lnTo>
                    <a:pt x="740" y="4699"/>
                  </a:lnTo>
                  <a:lnTo>
                    <a:pt x="686" y="4562"/>
                  </a:lnTo>
                  <a:lnTo>
                    <a:pt x="639" y="4423"/>
                  </a:lnTo>
                  <a:lnTo>
                    <a:pt x="598" y="4279"/>
                  </a:lnTo>
                  <a:lnTo>
                    <a:pt x="564" y="4133"/>
                  </a:lnTo>
                  <a:lnTo>
                    <a:pt x="538" y="3984"/>
                  </a:lnTo>
                  <a:lnTo>
                    <a:pt x="518" y="3833"/>
                  </a:lnTo>
                  <a:lnTo>
                    <a:pt x="507" y="3680"/>
                  </a:lnTo>
                  <a:lnTo>
                    <a:pt x="503" y="3525"/>
                  </a:lnTo>
                  <a:lnTo>
                    <a:pt x="507" y="3370"/>
                  </a:lnTo>
                  <a:lnTo>
                    <a:pt x="518" y="3216"/>
                  </a:lnTo>
                  <a:lnTo>
                    <a:pt x="538" y="3065"/>
                  </a:lnTo>
                  <a:lnTo>
                    <a:pt x="564" y="2916"/>
                  </a:lnTo>
                  <a:lnTo>
                    <a:pt x="598" y="2770"/>
                  </a:lnTo>
                  <a:lnTo>
                    <a:pt x="639" y="2627"/>
                  </a:lnTo>
                  <a:lnTo>
                    <a:pt x="686" y="2487"/>
                  </a:lnTo>
                  <a:lnTo>
                    <a:pt x="740" y="2350"/>
                  </a:lnTo>
                  <a:lnTo>
                    <a:pt x="801" y="2216"/>
                  </a:lnTo>
                  <a:lnTo>
                    <a:pt x="867" y="2085"/>
                  </a:lnTo>
                  <a:lnTo>
                    <a:pt x="940" y="1959"/>
                  </a:lnTo>
                  <a:lnTo>
                    <a:pt x="1019" y="1836"/>
                  </a:lnTo>
                  <a:lnTo>
                    <a:pt x="1102" y="1718"/>
                  </a:lnTo>
                  <a:lnTo>
                    <a:pt x="1193" y="1604"/>
                  </a:lnTo>
                  <a:lnTo>
                    <a:pt x="1287" y="1494"/>
                  </a:lnTo>
                  <a:lnTo>
                    <a:pt x="1387" y="1389"/>
                  </a:lnTo>
                  <a:lnTo>
                    <a:pt x="1492" y="1289"/>
                  </a:lnTo>
                  <a:lnTo>
                    <a:pt x="1601" y="1194"/>
                  </a:lnTo>
                  <a:lnTo>
                    <a:pt x="1715" y="1104"/>
                  </a:lnTo>
                  <a:lnTo>
                    <a:pt x="1834" y="1020"/>
                  </a:lnTo>
                  <a:lnTo>
                    <a:pt x="1955" y="941"/>
                  </a:lnTo>
                  <a:lnTo>
                    <a:pt x="2082" y="868"/>
                  </a:lnTo>
                  <a:lnTo>
                    <a:pt x="2212" y="801"/>
                  </a:lnTo>
                  <a:lnTo>
                    <a:pt x="2346" y="741"/>
                  </a:lnTo>
                  <a:lnTo>
                    <a:pt x="2482" y="686"/>
                  </a:lnTo>
                  <a:lnTo>
                    <a:pt x="2623" y="639"/>
                  </a:lnTo>
                  <a:lnTo>
                    <a:pt x="2765" y="598"/>
                  </a:lnTo>
                  <a:lnTo>
                    <a:pt x="2911" y="565"/>
                  </a:lnTo>
                  <a:lnTo>
                    <a:pt x="3059" y="538"/>
                  </a:lnTo>
                  <a:lnTo>
                    <a:pt x="3210" y="518"/>
                  </a:lnTo>
                  <a:lnTo>
                    <a:pt x="3363" y="507"/>
                  </a:lnTo>
                  <a:lnTo>
                    <a:pt x="3518" y="503"/>
                  </a:lnTo>
                  <a:lnTo>
                    <a:pt x="3674" y="507"/>
                  </a:lnTo>
                  <a:lnTo>
                    <a:pt x="3826" y="518"/>
                  </a:lnTo>
                  <a:lnTo>
                    <a:pt x="3977" y="538"/>
                  </a:lnTo>
                  <a:lnTo>
                    <a:pt x="4125" y="565"/>
                  </a:lnTo>
                  <a:lnTo>
                    <a:pt x="4271" y="598"/>
                  </a:lnTo>
                  <a:lnTo>
                    <a:pt x="4414" y="639"/>
                  </a:lnTo>
                  <a:lnTo>
                    <a:pt x="4554" y="686"/>
                  </a:lnTo>
                  <a:lnTo>
                    <a:pt x="4691" y="741"/>
                  </a:lnTo>
                  <a:lnTo>
                    <a:pt x="4825" y="801"/>
                  </a:lnTo>
                  <a:lnTo>
                    <a:pt x="4954" y="868"/>
                  </a:lnTo>
                  <a:lnTo>
                    <a:pt x="5081" y="941"/>
                  </a:lnTo>
                  <a:lnTo>
                    <a:pt x="5203" y="1020"/>
                  </a:lnTo>
                  <a:lnTo>
                    <a:pt x="5321" y="1104"/>
                  </a:lnTo>
                  <a:lnTo>
                    <a:pt x="5435" y="1194"/>
                  </a:lnTo>
                  <a:lnTo>
                    <a:pt x="5544" y="1289"/>
                  </a:lnTo>
                  <a:lnTo>
                    <a:pt x="5650" y="1389"/>
                  </a:lnTo>
                  <a:lnTo>
                    <a:pt x="5749" y="1494"/>
                  </a:lnTo>
                  <a:lnTo>
                    <a:pt x="5844" y="1604"/>
                  </a:lnTo>
                  <a:lnTo>
                    <a:pt x="5934" y="1718"/>
                  </a:lnTo>
                  <a:lnTo>
                    <a:pt x="6018" y="1836"/>
                  </a:lnTo>
                  <a:lnTo>
                    <a:pt x="6096" y="1959"/>
                  </a:lnTo>
                  <a:lnTo>
                    <a:pt x="6169" y="2085"/>
                  </a:lnTo>
                  <a:lnTo>
                    <a:pt x="6236" y="2216"/>
                  </a:lnTo>
                  <a:lnTo>
                    <a:pt x="6296" y="2350"/>
                  </a:lnTo>
                  <a:lnTo>
                    <a:pt x="6350" y="2487"/>
                  </a:lnTo>
                  <a:lnTo>
                    <a:pt x="6397" y="2627"/>
                  </a:lnTo>
                  <a:lnTo>
                    <a:pt x="6439" y="2770"/>
                  </a:lnTo>
                  <a:lnTo>
                    <a:pt x="6472" y="2916"/>
                  </a:lnTo>
                  <a:lnTo>
                    <a:pt x="6499" y="3065"/>
                  </a:lnTo>
                  <a:lnTo>
                    <a:pt x="6518" y="3216"/>
                  </a:lnTo>
                  <a:lnTo>
                    <a:pt x="6530" y="3370"/>
                  </a:lnTo>
                  <a:lnTo>
                    <a:pt x="6533" y="3525"/>
                  </a:lnTo>
                  <a:lnTo>
                    <a:pt x="6530" y="3680"/>
                  </a:lnTo>
                  <a:lnTo>
                    <a:pt x="6518" y="3833"/>
                  </a:lnTo>
                  <a:lnTo>
                    <a:pt x="6499" y="3984"/>
                  </a:lnTo>
                  <a:lnTo>
                    <a:pt x="6472" y="4133"/>
                  </a:lnTo>
                  <a:lnTo>
                    <a:pt x="6439" y="4279"/>
                  </a:lnTo>
                  <a:lnTo>
                    <a:pt x="6397" y="4423"/>
                  </a:lnTo>
                  <a:lnTo>
                    <a:pt x="6350" y="4562"/>
                  </a:lnTo>
                  <a:lnTo>
                    <a:pt x="6296" y="4699"/>
                  </a:lnTo>
                  <a:lnTo>
                    <a:pt x="6236" y="4834"/>
                  </a:lnTo>
                  <a:lnTo>
                    <a:pt x="6169" y="4964"/>
                  </a:lnTo>
                  <a:lnTo>
                    <a:pt x="6096" y="5090"/>
                  </a:lnTo>
                  <a:lnTo>
                    <a:pt x="6018" y="5213"/>
                  </a:lnTo>
                  <a:lnTo>
                    <a:pt x="5934" y="5332"/>
                  </a:lnTo>
                  <a:lnTo>
                    <a:pt x="5844" y="5445"/>
                  </a:lnTo>
                  <a:lnTo>
                    <a:pt x="5749" y="5555"/>
                  </a:lnTo>
                  <a:lnTo>
                    <a:pt x="5650" y="5661"/>
                  </a:lnTo>
                  <a:lnTo>
                    <a:pt x="5544" y="5760"/>
                  </a:lnTo>
                  <a:lnTo>
                    <a:pt x="5435" y="5856"/>
                  </a:lnTo>
                  <a:lnTo>
                    <a:pt x="5321" y="5945"/>
                  </a:lnTo>
                  <a:lnTo>
                    <a:pt x="5203" y="6030"/>
                  </a:lnTo>
                  <a:lnTo>
                    <a:pt x="5081" y="6108"/>
                  </a:lnTo>
                  <a:lnTo>
                    <a:pt x="4954" y="6181"/>
                  </a:lnTo>
                  <a:lnTo>
                    <a:pt x="4825" y="6248"/>
                  </a:lnTo>
                  <a:lnTo>
                    <a:pt x="4691" y="6308"/>
                  </a:lnTo>
                  <a:lnTo>
                    <a:pt x="4554" y="6363"/>
                  </a:lnTo>
                  <a:lnTo>
                    <a:pt x="4414" y="6410"/>
                  </a:lnTo>
                  <a:lnTo>
                    <a:pt x="4271" y="6451"/>
                  </a:lnTo>
                  <a:lnTo>
                    <a:pt x="4125" y="6484"/>
                  </a:lnTo>
                  <a:lnTo>
                    <a:pt x="3977" y="6511"/>
                  </a:lnTo>
                  <a:lnTo>
                    <a:pt x="3826" y="6531"/>
                  </a:lnTo>
                  <a:lnTo>
                    <a:pt x="3674" y="6543"/>
                  </a:lnTo>
                  <a:lnTo>
                    <a:pt x="3518" y="6547"/>
                  </a:lnTo>
                  <a:close/>
                  <a:moveTo>
                    <a:pt x="3518" y="0"/>
                  </a:moveTo>
                  <a:lnTo>
                    <a:pt x="3337" y="5"/>
                  </a:lnTo>
                  <a:lnTo>
                    <a:pt x="3159" y="18"/>
                  </a:lnTo>
                  <a:lnTo>
                    <a:pt x="2982" y="40"/>
                  </a:lnTo>
                  <a:lnTo>
                    <a:pt x="2809" y="71"/>
                  </a:lnTo>
                  <a:lnTo>
                    <a:pt x="2639" y="110"/>
                  </a:lnTo>
                  <a:lnTo>
                    <a:pt x="2472" y="158"/>
                  </a:lnTo>
                  <a:lnTo>
                    <a:pt x="2309" y="214"/>
                  </a:lnTo>
                  <a:lnTo>
                    <a:pt x="2149" y="277"/>
                  </a:lnTo>
                  <a:lnTo>
                    <a:pt x="1993" y="348"/>
                  </a:lnTo>
                  <a:lnTo>
                    <a:pt x="1842" y="425"/>
                  </a:lnTo>
                  <a:lnTo>
                    <a:pt x="1694" y="510"/>
                  </a:lnTo>
                  <a:lnTo>
                    <a:pt x="1552" y="602"/>
                  </a:lnTo>
                  <a:lnTo>
                    <a:pt x="1413" y="700"/>
                  </a:lnTo>
                  <a:lnTo>
                    <a:pt x="1281" y="804"/>
                  </a:lnTo>
                  <a:lnTo>
                    <a:pt x="1153" y="916"/>
                  </a:lnTo>
                  <a:lnTo>
                    <a:pt x="1031" y="1032"/>
                  </a:lnTo>
                  <a:lnTo>
                    <a:pt x="915" y="1154"/>
                  </a:lnTo>
                  <a:lnTo>
                    <a:pt x="804" y="1283"/>
                  </a:lnTo>
                  <a:lnTo>
                    <a:pt x="700" y="1416"/>
                  </a:lnTo>
                  <a:lnTo>
                    <a:pt x="601" y="1553"/>
                  </a:lnTo>
                  <a:lnTo>
                    <a:pt x="510" y="1697"/>
                  </a:lnTo>
                  <a:lnTo>
                    <a:pt x="425" y="1844"/>
                  </a:lnTo>
                  <a:lnTo>
                    <a:pt x="348" y="1997"/>
                  </a:lnTo>
                  <a:lnTo>
                    <a:pt x="277" y="2153"/>
                  </a:lnTo>
                  <a:lnTo>
                    <a:pt x="214" y="2313"/>
                  </a:lnTo>
                  <a:lnTo>
                    <a:pt x="159" y="2477"/>
                  </a:lnTo>
                  <a:lnTo>
                    <a:pt x="112" y="2644"/>
                  </a:lnTo>
                  <a:lnTo>
                    <a:pt x="72" y="2814"/>
                  </a:lnTo>
                  <a:lnTo>
                    <a:pt x="41" y="2987"/>
                  </a:lnTo>
                  <a:lnTo>
                    <a:pt x="18" y="3164"/>
                  </a:lnTo>
                  <a:lnTo>
                    <a:pt x="5" y="3343"/>
                  </a:lnTo>
                  <a:lnTo>
                    <a:pt x="0" y="3525"/>
                  </a:lnTo>
                  <a:lnTo>
                    <a:pt x="5" y="3706"/>
                  </a:lnTo>
                  <a:lnTo>
                    <a:pt x="18" y="3886"/>
                  </a:lnTo>
                  <a:lnTo>
                    <a:pt x="41" y="4062"/>
                  </a:lnTo>
                  <a:lnTo>
                    <a:pt x="72" y="4236"/>
                  </a:lnTo>
                  <a:lnTo>
                    <a:pt x="112" y="4405"/>
                  </a:lnTo>
                  <a:lnTo>
                    <a:pt x="159" y="4572"/>
                  </a:lnTo>
                  <a:lnTo>
                    <a:pt x="214" y="4736"/>
                  </a:lnTo>
                  <a:lnTo>
                    <a:pt x="277" y="4896"/>
                  </a:lnTo>
                  <a:lnTo>
                    <a:pt x="348" y="5053"/>
                  </a:lnTo>
                  <a:lnTo>
                    <a:pt x="425" y="5205"/>
                  </a:lnTo>
                  <a:lnTo>
                    <a:pt x="510" y="5353"/>
                  </a:lnTo>
                  <a:lnTo>
                    <a:pt x="601" y="5496"/>
                  </a:lnTo>
                  <a:lnTo>
                    <a:pt x="700" y="5633"/>
                  </a:lnTo>
                  <a:lnTo>
                    <a:pt x="804" y="5767"/>
                  </a:lnTo>
                  <a:lnTo>
                    <a:pt x="915" y="5895"/>
                  </a:lnTo>
                  <a:lnTo>
                    <a:pt x="1031" y="6018"/>
                  </a:lnTo>
                  <a:lnTo>
                    <a:pt x="1153" y="6134"/>
                  </a:lnTo>
                  <a:lnTo>
                    <a:pt x="1281" y="6245"/>
                  </a:lnTo>
                  <a:lnTo>
                    <a:pt x="1413" y="6350"/>
                  </a:lnTo>
                  <a:lnTo>
                    <a:pt x="1552" y="6448"/>
                  </a:lnTo>
                  <a:lnTo>
                    <a:pt x="1694" y="6540"/>
                  </a:lnTo>
                  <a:lnTo>
                    <a:pt x="1842" y="6624"/>
                  </a:lnTo>
                  <a:lnTo>
                    <a:pt x="1993" y="6703"/>
                  </a:lnTo>
                  <a:lnTo>
                    <a:pt x="2149" y="6773"/>
                  </a:lnTo>
                  <a:lnTo>
                    <a:pt x="2309" y="6835"/>
                  </a:lnTo>
                  <a:lnTo>
                    <a:pt x="2472" y="6892"/>
                  </a:lnTo>
                  <a:lnTo>
                    <a:pt x="2639" y="6939"/>
                  </a:lnTo>
                  <a:lnTo>
                    <a:pt x="2809" y="6978"/>
                  </a:lnTo>
                  <a:lnTo>
                    <a:pt x="2982" y="7009"/>
                  </a:lnTo>
                  <a:lnTo>
                    <a:pt x="3159" y="7031"/>
                  </a:lnTo>
                  <a:lnTo>
                    <a:pt x="3337" y="7045"/>
                  </a:lnTo>
                  <a:lnTo>
                    <a:pt x="3518" y="7049"/>
                  </a:lnTo>
                  <a:lnTo>
                    <a:pt x="3700" y="7045"/>
                  </a:lnTo>
                  <a:lnTo>
                    <a:pt x="3878" y="7031"/>
                  </a:lnTo>
                  <a:lnTo>
                    <a:pt x="4054" y="7009"/>
                  </a:lnTo>
                  <a:lnTo>
                    <a:pt x="4228" y="6978"/>
                  </a:lnTo>
                  <a:lnTo>
                    <a:pt x="4397" y="6939"/>
                  </a:lnTo>
                  <a:lnTo>
                    <a:pt x="4565" y="6892"/>
                  </a:lnTo>
                  <a:lnTo>
                    <a:pt x="4727" y="6835"/>
                  </a:lnTo>
                  <a:lnTo>
                    <a:pt x="4888" y="6773"/>
                  </a:lnTo>
                  <a:lnTo>
                    <a:pt x="5043" y="6703"/>
                  </a:lnTo>
                  <a:lnTo>
                    <a:pt x="5195" y="6624"/>
                  </a:lnTo>
                  <a:lnTo>
                    <a:pt x="5343" y="6540"/>
                  </a:lnTo>
                  <a:lnTo>
                    <a:pt x="5485" y="6448"/>
                  </a:lnTo>
                  <a:lnTo>
                    <a:pt x="5623" y="6350"/>
                  </a:lnTo>
                  <a:lnTo>
                    <a:pt x="5756" y="6245"/>
                  </a:lnTo>
                  <a:lnTo>
                    <a:pt x="5884" y="6134"/>
                  </a:lnTo>
                  <a:lnTo>
                    <a:pt x="6006" y="6018"/>
                  </a:lnTo>
                  <a:lnTo>
                    <a:pt x="6122" y="5895"/>
                  </a:lnTo>
                  <a:lnTo>
                    <a:pt x="6233" y="5767"/>
                  </a:lnTo>
                  <a:lnTo>
                    <a:pt x="6337" y="5633"/>
                  </a:lnTo>
                  <a:lnTo>
                    <a:pt x="6435" y="5496"/>
                  </a:lnTo>
                  <a:lnTo>
                    <a:pt x="6527" y="5353"/>
                  </a:lnTo>
                  <a:lnTo>
                    <a:pt x="6611" y="5205"/>
                  </a:lnTo>
                  <a:lnTo>
                    <a:pt x="6689" y="5053"/>
                  </a:lnTo>
                  <a:lnTo>
                    <a:pt x="6760" y="4896"/>
                  </a:lnTo>
                  <a:lnTo>
                    <a:pt x="6823" y="4736"/>
                  </a:lnTo>
                  <a:lnTo>
                    <a:pt x="6878" y="4572"/>
                  </a:lnTo>
                  <a:lnTo>
                    <a:pt x="6925" y="4405"/>
                  </a:lnTo>
                  <a:lnTo>
                    <a:pt x="6964" y="4236"/>
                  </a:lnTo>
                  <a:lnTo>
                    <a:pt x="6996" y="4062"/>
                  </a:lnTo>
                  <a:lnTo>
                    <a:pt x="7018" y="3886"/>
                  </a:lnTo>
                  <a:lnTo>
                    <a:pt x="7032" y="3706"/>
                  </a:lnTo>
                  <a:lnTo>
                    <a:pt x="7036" y="3525"/>
                  </a:lnTo>
                  <a:lnTo>
                    <a:pt x="7032" y="3343"/>
                  </a:lnTo>
                  <a:lnTo>
                    <a:pt x="7018" y="3164"/>
                  </a:lnTo>
                  <a:lnTo>
                    <a:pt x="6996" y="2987"/>
                  </a:lnTo>
                  <a:lnTo>
                    <a:pt x="6964" y="2814"/>
                  </a:lnTo>
                  <a:lnTo>
                    <a:pt x="6925" y="2644"/>
                  </a:lnTo>
                  <a:lnTo>
                    <a:pt x="6878" y="2477"/>
                  </a:lnTo>
                  <a:lnTo>
                    <a:pt x="6823" y="2313"/>
                  </a:lnTo>
                  <a:lnTo>
                    <a:pt x="6760" y="2153"/>
                  </a:lnTo>
                  <a:lnTo>
                    <a:pt x="6689" y="1997"/>
                  </a:lnTo>
                  <a:lnTo>
                    <a:pt x="6611" y="1844"/>
                  </a:lnTo>
                  <a:lnTo>
                    <a:pt x="6527" y="1697"/>
                  </a:lnTo>
                  <a:lnTo>
                    <a:pt x="6435" y="1553"/>
                  </a:lnTo>
                  <a:lnTo>
                    <a:pt x="6337" y="1416"/>
                  </a:lnTo>
                  <a:lnTo>
                    <a:pt x="6233" y="1283"/>
                  </a:lnTo>
                  <a:lnTo>
                    <a:pt x="6122" y="1154"/>
                  </a:lnTo>
                  <a:lnTo>
                    <a:pt x="6006" y="1032"/>
                  </a:lnTo>
                  <a:lnTo>
                    <a:pt x="5884" y="916"/>
                  </a:lnTo>
                  <a:lnTo>
                    <a:pt x="5756" y="804"/>
                  </a:lnTo>
                  <a:lnTo>
                    <a:pt x="5623" y="700"/>
                  </a:lnTo>
                  <a:lnTo>
                    <a:pt x="5485" y="602"/>
                  </a:lnTo>
                  <a:lnTo>
                    <a:pt x="5343" y="510"/>
                  </a:lnTo>
                  <a:lnTo>
                    <a:pt x="5195" y="425"/>
                  </a:lnTo>
                  <a:lnTo>
                    <a:pt x="5043" y="348"/>
                  </a:lnTo>
                  <a:lnTo>
                    <a:pt x="4888" y="277"/>
                  </a:lnTo>
                  <a:lnTo>
                    <a:pt x="4727" y="214"/>
                  </a:lnTo>
                  <a:lnTo>
                    <a:pt x="4565" y="158"/>
                  </a:lnTo>
                  <a:lnTo>
                    <a:pt x="4397" y="110"/>
                  </a:lnTo>
                  <a:lnTo>
                    <a:pt x="4228" y="71"/>
                  </a:lnTo>
                  <a:lnTo>
                    <a:pt x="4054" y="40"/>
                  </a:lnTo>
                  <a:lnTo>
                    <a:pt x="3878" y="18"/>
                  </a:lnTo>
                  <a:lnTo>
                    <a:pt x="3700" y="5"/>
                  </a:lnTo>
                  <a:lnTo>
                    <a:pt x="35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7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00" name="ïṣ1îḋé">
              <a:extLst>
                <a:ext uri="{FF2B5EF4-FFF2-40B4-BE49-F238E27FC236}">
                  <a16:creationId xmlns:a16="http://schemas.microsoft.com/office/drawing/2014/main" id="{CEB45053-4478-4AF3-806D-B9805B69D66D}"/>
                </a:ext>
              </a:extLst>
            </p:cNvPr>
            <p:cNvSpPr/>
            <p:nvPr/>
          </p:nvSpPr>
          <p:spPr bwMode="auto">
            <a:xfrm>
              <a:off x="6817553" y="835601"/>
              <a:ext cx="131262" cy="131262"/>
            </a:xfrm>
            <a:custGeom>
              <a:avLst/>
              <a:gdLst>
                <a:gd name="T0" fmla="*/ 3521 w 6031"/>
                <a:gd name="T1" fmla="*/ 553 h 6022"/>
                <a:gd name="T2" fmla="*/ 4104 w 6031"/>
                <a:gd name="T3" fmla="*/ 750 h 6022"/>
                <a:gd name="T4" fmla="*/ 4613 w 6031"/>
                <a:gd name="T5" fmla="*/ 1076 h 6022"/>
                <a:gd name="T6" fmla="*/ 5029 w 6031"/>
                <a:gd name="T7" fmla="*/ 1511 h 6022"/>
                <a:gd name="T8" fmla="*/ 5330 w 6031"/>
                <a:gd name="T9" fmla="*/ 2036 h 6022"/>
                <a:gd name="T10" fmla="*/ 5499 w 6031"/>
                <a:gd name="T11" fmla="*/ 2630 h 6022"/>
                <a:gd name="T12" fmla="*/ 5515 w 6031"/>
                <a:gd name="T13" fmla="*/ 3268 h 6022"/>
                <a:gd name="T14" fmla="*/ 5375 w 6031"/>
                <a:gd name="T15" fmla="*/ 3873 h 6022"/>
                <a:gd name="T16" fmla="*/ 5098 w 6031"/>
                <a:gd name="T17" fmla="*/ 4413 h 6022"/>
                <a:gd name="T18" fmla="*/ 4704 w 6031"/>
                <a:gd name="T19" fmla="*/ 4868 h 6022"/>
                <a:gd name="T20" fmla="*/ 4213 w 6031"/>
                <a:gd name="T21" fmla="*/ 5217 h 6022"/>
                <a:gd name="T22" fmla="*/ 3643 w 6031"/>
                <a:gd name="T23" fmla="*/ 5441 h 6022"/>
                <a:gd name="T24" fmla="*/ 3016 w 6031"/>
                <a:gd name="T25" fmla="*/ 5520 h 6022"/>
                <a:gd name="T26" fmla="*/ 2388 w 6031"/>
                <a:gd name="T27" fmla="*/ 5441 h 6022"/>
                <a:gd name="T28" fmla="*/ 1818 w 6031"/>
                <a:gd name="T29" fmla="*/ 5217 h 6022"/>
                <a:gd name="T30" fmla="*/ 1327 w 6031"/>
                <a:gd name="T31" fmla="*/ 4868 h 6022"/>
                <a:gd name="T32" fmla="*/ 932 w 6031"/>
                <a:gd name="T33" fmla="*/ 4413 h 6022"/>
                <a:gd name="T34" fmla="*/ 656 w 6031"/>
                <a:gd name="T35" fmla="*/ 3873 h 6022"/>
                <a:gd name="T36" fmla="*/ 516 w 6031"/>
                <a:gd name="T37" fmla="*/ 3268 h 6022"/>
                <a:gd name="T38" fmla="*/ 532 w 6031"/>
                <a:gd name="T39" fmla="*/ 2630 h 6022"/>
                <a:gd name="T40" fmla="*/ 701 w 6031"/>
                <a:gd name="T41" fmla="*/ 2036 h 6022"/>
                <a:gd name="T42" fmla="*/ 1002 w 6031"/>
                <a:gd name="T43" fmla="*/ 1511 h 6022"/>
                <a:gd name="T44" fmla="*/ 1417 w 6031"/>
                <a:gd name="T45" fmla="*/ 1076 h 6022"/>
                <a:gd name="T46" fmla="*/ 1927 w 6031"/>
                <a:gd name="T47" fmla="*/ 750 h 6022"/>
                <a:gd name="T48" fmla="*/ 2510 w 6031"/>
                <a:gd name="T49" fmla="*/ 553 h 6022"/>
                <a:gd name="T50" fmla="*/ 3016 w 6031"/>
                <a:gd name="T51" fmla="*/ 6022 h 6022"/>
                <a:gd name="T52" fmla="*/ 3768 w 6031"/>
                <a:gd name="T53" fmla="*/ 5928 h 6022"/>
                <a:gd name="T54" fmla="*/ 4452 w 6031"/>
                <a:gd name="T55" fmla="*/ 5659 h 6022"/>
                <a:gd name="T56" fmla="*/ 5042 w 6031"/>
                <a:gd name="T57" fmla="*/ 5239 h 6022"/>
                <a:gd name="T58" fmla="*/ 5515 w 6031"/>
                <a:gd name="T59" fmla="*/ 4693 h 6022"/>
                <a:gd name="T60" fmla="*/ 5848 w 6031"/>
                <a:gd name="T61" fmla="*/ 4046 h 6022"/>
                <a:gd name="T62" fmla="*/ 6015 w 6031"/>
                <a:gd name="T63" fmla="*/ 3318 h 6022"/>
                <a:gd name="T64" fmla="*/ 5996 w 6031"/>
                <a:gd name="T65" fmla="*/ 2554 h 6022"/>
                <a:gd name="T66" fmla="*/ 5794 w 6031"/>
                <a:gd name="T67" fmla="*/ 1840 h 6022"/>
                <a:gd name="T68" fmla="*/ 5431 w 6031"/>
                <a:gd name="T69" fmla="*/ 1211 h 6022"/>
                <a:gd name="T70" fmla="*/ 4932 w 6031"/>
                <a:gd name="T71" fmla="*/ 689 h 6022"/>
                <a:gd name="T72" fmla="*/ 4322 w 6031"/>
                <a:gd name="T73" fmla="*/ 297 h 6022"/>
                <a:gd name="T74" fmla="*/ 3623 w 6031"/>
                <a:gd name="T75" fmla="*/ 62 h 6022"/>
                <a:gd name="T76" fmla="*/ 2861 w 6031"/>
                <a:gd name="T77" fmla="*/ 4 h 6022"/>
                <a:gd name="T78" fmla="*/ 2120 w 6031"/>
                <a:gd name="T79" fmla="*/ 136 h 6022"/>
                <a:gd name="T80" fmla="*/ 1453 w 6031"/>
                <a:gd name="T81" fmla="*/ 437 h 6022"/>
                <a:gd name="T82" fmla="*/ 884 w 6031"/>
                <a:gd name="T83" fmla="*/ 884 h 6022"/>
                <a:gd name="T84" fmla="*/ 437 w 6031"/>
                <a:gd name="T85" fmla="*/ 1452 h 6022"/>
                <a:gd name="T86" fmla="*/ 136 w 6031"/>
                <a:gd name="T87" fmla="*/ 2117 h 6022"/>
                <a:gd name="T88" fmla="*/ 4 w 6031"/>
                <a:gd name="T89" fmla="*/ 2857 h 6022"/>
                <a:gd name="T90" fmla="*/ 62 w 6031"/>
                <a:gd name="T91" fmla="*/ 3617 h 6022"/>
                <a:gd name="T92" fmla="*/ 298 w 6031"/>
                <a:gd name="T93" fmla="*/ 4316 h 6022"/>
                <a:gd name="T94" fmla="*/ 690 w 6031"/>
                <a:gd name="T95" fmla="*/ 4925 h 6022"/>
                <a:gd name="T96" fmla="*/ 1212 w 6031"/>
                <a:gd name="T97" fmla="*/ 5424 h 6022"/>
                <a:gd name="T98" fmla="*/ 1843 w 6031"/>
                <a:gd name="T99" fmla="*/ 5785 h 6022"/>
                <a:gd name="T100" fmla="*/ 2557 w 6031"/>
                <a:gd name="T101" fmla="*/ 5988 h 6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31" h="6022">
                  <a:moveTo>
                    <a:pt x="3016" y="502"/>
                  </a:moveTo>
                  <a:lnTo>
                    <a:pt x="3144" y="505"/>
                  </a:lnTo>
                  <a:lnTo>
                    <a:pt x="3272" y="515"/>
                  </a:lnTo>
                  <a:lnTo>
                    <a:pt x="3397" y="531"/>
                  </a:lnTo>
                  <a:lnTo>
                    <a:pt x="3521" y="553"/>
                  </a:lnTo>
                  <a:lnTo>
                    <a:pt x="3643" y="582"/>
                  </a:lnTo>
                  <a:lnTo>
                    <a:pt x="3762" y="616"/>
                  </a:lnTo>
                  <a:lnTo>
                    <a:pt x="3879" y="655"/>
                  </a:lnTo>
                  <a:lnTo>
                    <a:pt x="3992" y="700"/>
                  </a:lnTo>
                  <a:lnTo>
                    <a:pt x="4104" y="750"/>
                  </a:lnTo>
                  <a:lnTo>
                    <a:pt x="4213" y="805"/>
                  </a:lnTo>
                  <a:lnTo>
                    <a:pt x="4318" y="866"/>
                  </a:lnTo>
                  <a:lnTo>
                    <a:pt x="4420" y="932"/>
                  </a:lnTo>
                  <a:lnTo>
                    <a:pt x="4518" y="1001"/>
                  </a:lnTo>
                  <a:lnTo>
                    <a:pt x="4613" y="1076"/>
                  </a:lnTo>
                  <a:lnTo>
                    <a:pt x="4704" y="1155"/>
                  </a:lnTo>
                  <a:lnTo>
                    <a:pt x="4791" y="1238"/>
                  </a:lnTo>
                  <a:lnTo>
                    <a:pt x="4875" y="1325"/>
                  </a:lnTo>
                  <a:lnTo>
                    <a:pt x="4954" y="1417"/>
                  </a:lnTo>
                  <a:lnTo>
                    <a:pt x="5029" y="1511"/>
                  </a:lnTo>
                  <a:lnTo>
                    <a:pt x="5098" y="1609"/>
                  </a:lnTo>
                  <a:lnTo>
                    <a:pt x="5164" y="1712"/>
                  </a:lnTo>
                  <a:lnTo>
                    <a:pt x="5225" y="1816"/>
                  </a:lnTo>
                  <a:lnTo>
                    <a:pt x="5280" y="1924"/>
                  </a:lnTo>
                  <a:lnTo>
                    <a:pt x="5330" y="2036"/>
                  </a:lnTo>
                  <a:lnTo>
                    <a:pt x="5375" y="2149"/>
                  </a:lnTo>
                  <a:lnTo>
                    <a:pt x="5415" y="2266"/>
                  </a:lnTo>
                  <a:lnTo>
                    <a:pt x="5449" y="2385"/>
                  </a:lnTo>
                  <a:lnTo>
                    <a:pt x="5477" y="2506"/>
                  </a:lnTo>
                  <a:lnTo>
                    <a:pt x="5499" y="2630"/>
                  </a:lnTo>
                  <a:lnTo>
                    <a:pt x="5515" y="2755"/>
                  </a:lnTo>
                  <a:lnTo>
                    <a:pt x="5525" y="2883"/>
                  </a:lnTo>
                  <a:lnTo>
                    <a:pt x="5528" y="3011"/>
                  </a:lnTo>
                  <a:lnTo>
                    <a:pt x="5525" y="3141"/>
                  </a:lnTo>
                  <a:lnTo>
                    <a:pt x="5515" y="3268"/>
                  </a:lnTo>
                  <a:lnTo>
                    <a:pt x="5499" y="3394"/>
                  </a:lnTo>
                  <a:lnTo>
                    <a:pt x="5477" y="3517"/>
                  </a:lnTo>
                  <a:lnTo>
                    <a:pt x="5449" y="3638"/>
                  </a:lnTo>
                  <a:lnTo>
                    <a:pt x="5415" y="3757"/>
                  </a:lnTo>
                  <a:lnTo>
                    <a:pt x="5375" y="3873"/>
                  </a:lnTo>
                  <a:lnTo>
                    <a:pt x="5330" y="3988"/>
                  </a:lnTo>
                  <a:lnTo>
                    <a:pt x="5280" y="4098"/>
                  </a:lnTo>
                  <a:lnTo>
                    <a:pt x="5225" y="4207"/>
                  </a:lnTo>
                  <a:lnTo>
                    <a:pt x="5164" y="4312"/>
                  </a:lnTo>
                  <a:lnTo>
                    <a:pt x="5098" y="4413"/>
                  </a:lnTo>
                  <a:lnTo>
                    <a:pt x="5029" y="4512"/>
                  </a:lnTo>
                  <a:lnTo>
                    <a:pt x="4954" y="4607"/>
                  </a:lnTo>
                  <a:lnTo>
                    <a:pt x="4875" y="4697"/>
                  </a:lnTo>
                  <a:lnTo>
                    <a:pt x="4791" y="4785"/>
                  </a:lnTo>
                  <a:lnTo>
                    <a:pt x="4704" y="4868"/>
                  </a:lnTo>
                  <a:lnTo>
                    <a:pt x="4613" y="4947"/>
                  </a:lnTo>
                  <a:lnTo>
                    <a:pt x="4518" y="5022"/>
                  </a:lnTo>
                  <a:lnTo>
                    <a:pt x="4420" y="5092"/>
                  </a:lnTo>
                  <a:lnTo>
                    <a:pt x="4318" y="5157"/>
                  </a:lnTo>
                  <a:lnTo>
                    <a:pt x="4213" y="5217"/>
                  </a:lnTo>
                  <a:lnTo>
                    <a:pt x="4104" y="5272"/>
                  </a:lnTo>
                  <a:lnTo>
                    <a:pt x="3992" y="5324"/>
                  </a:lnTo>
                  <a:lnTo>
                    <a:pt x="3879" y="5368"/>
                  </a:lnTo>
                  <a:lnTo>
                    <a:pt x="3762" y="5408"/>
                  </a:lnTo>
                  <a:lnTo>
                    <a:pt x="3643" y="5441"/>
                  </a:lnTo>
                  <a:lnTo>
                    <a:pt x="3521" y="5469"/>
                  </a:lnTo>
                  <a:lnTo>
                    <a:pt x="3397" y="5491"/>
                  </a:lnTo>
                  <a:lnTo>
                    <a:pt x="3272" y="5507"/>
                  </a:lnTo>
                  <a:lnTo>
                    <a:pt x="3144" y="5517"/>
                  </a:lnTo>
                  <a:lnTo>
                    <a:pt x="3016" y="5520"/>
                  </a:lnTo>
                  <a:lnTo>
                    <a:pt x="2886" y="5517"/>
                  </a:lnTo>
                  <a:lnTo>
                    <a:pt x="2759" y="5507"/>
                  </a:lnTo>
                  <a:lnTo>
                    <a:pt x="2634" y="5491"/>
                  </a:lnTo>
                  <a:lnTo>
                    <a:pt x="2510" y="5469"/>
                  </a:lnTo>
                  <a:lnTo>
                    <a:pt x="2388" y="5441"/>
                  </a:lnTo>
                  <a:lnTo>
                    <a:pt x="2269" y="5408"/>
                  </a:lnTo>
                  <a:lnTo>
                    <a:pt x="2152" y="5368"/>
                  </a:lnTo>
                  <a:lnTo>
                    <a:pt x="2039" y="5324"/>
                  </a:lnTo>
                  <a:lnTo>
                    <a:pt x="1927" y="5272"/>
                  </a:lnTo>
                  <a:lnTo>
                    <a:pt x="1818" y="5217"/>
                  </a:lnTo>
                  <a:lnTo>
                    <a:pt x="1713" y="5157"/>
                  </a:lnTo>
                  <a:lnTo>
                    <a:pt x="1611" y="5092"/>
                  </a:lnTo>
                  <a:lnTo>
                    <a:pt x="1513" y="5022"/>
                  </a:lnTo>
                  <a:lnTo>
                    <a:pt x="1417" y="4947"/>
                  </a:lnTo>
                  <a:lnTo>
                    <a:pt x="1327" y="4868"/>
                  </a:lnTo>
                  <a:lnTo>
                    <a:pt x="1240" y="4785"/>
                  </a:lnTo>
                  <a:lnTo>
                    <a:pt x="1156" y="4697"/>
                  </a:lnTo>
                  <a:lnTo>
                    <a:pt x="1077" y="4607"/>
                  </a:lnTo>
                  <a:lnTo>
                    <a:pt x="1002" y="4512"/>
                  </a:lnTo>
                  <a:lnTo>
                    <a:pt x="932" y="4413"/>
                  </a:lnTo>
                  <a:lnTo>
                    <a:pt x="867" y="4312"/>
                  </a:lnTo>
                  <a:lnTo>
                    <a:pt x="806" y="4207"/>
                  </a:lnTo>
                  <a:lnTo>
                    <a:pt x="751" y="4098"/>
                  </a:lnTo>
                  <a:lnTo>
                    <a:pt x="701" y="3988"/>
                  </a:lnTo>
                  <a:lnTo>
                    <a:pt x="656" y="3873"/>
                  </a:lnTo>
                  <a:lnTo>
                    <a:pt x="615" y="3757"/>
                  </a:lnTo>
                  <a:lnTo>
                    <a:pt x="582" y="3638"/>
                  </a:lnTo>
                  <a:lnTo>
                    <a:pt x="554" y="3517"/>
                  </a:lnTo>
                  <a:lnTo>
                    <a:pt x="532" y="3394"/>
                  </a:lnTo>
                  <a:lnTo>
                    <a:pt x="516" y="3268"/>
                  </a:lnTo>
                  <a:lnTo>
                    <a:pt x="506" y="3141"/>
                  </a:lnTo>
                  <a:lnTo>
                    <a:pt x="503" y="3011"/>
                  </a:lnTo>
                  <a:lnTo>
                    <a:pt x="506" y="2883"/>
                  </a:lnTo>
                  <a:lnTo>
                    <a:pt x="516" y="2755"/>
                  </a:lnTo>
                  <a:lnTo>
                    <a:pt x="532" y="2630"/>
                  </a:lnTo>
                  <a:lnTo>
                    <a:pt x="554" y="2506"/>
                  </a:lnTo>
                  <a:lnTo>
                    <a:pt x="582" y="2385"/>
                  </a:lnTo>
                  <a:lnTo>
                    <a:pt x="615" y="2266"/>
                  </a:lnTo>
                  <a:lnTo>
                    <a:pt x="656" y="2149"/>
                  </a:lnTo>
                  <a:lnTo>
                    <a:pt x="701" y="2036"/>
                  </a:lnTo>
                  <a:lnTo>
                    <a:pt x="751" y="1924"/>
                  </a:lnTo>
                  <a:lnTo>
                    <a:pt x="806" y="1816"/>
                  </a:lnTo>
                  <a:lnTo>
                    <a:pt x="867" y="1712"/>
                  </a:lnTo>
                  <a:lnTo>
                    <a:pt x="932" y="1609"/>
                  </a:lnTo>
                  <a:lnTo>
                    <a:pt x="1002" y="1511"/>
                  </a:lnTo>
                  <a:lnTo>
                    <a:pt x="1077" y="1417"/>
                  </a:lnTo>
                  <a:lnTo>
                    <a:pt x="1156" y="1325"/>
                  </a:lnTo>
                  <a:lnTo>
                    <a:pt x="1240" y="1238"/>
                  </a:lnTo>
                  <a:lnTo>
                    <a:pt x="1327" y="1155"/>
                  </a:lnTo>
                  <a:lnTo>
                    <a:pt x="1417" y="1076"/>
                  </a:lnTo>
                  <a:lnTo>
                    <a:pt x="1513" y="1001"/>
                  </a:lnTo>
                  <a:lnTo>
                    <a:pt x="1611" y="932"/>
                  </a:lnTo>
                  <a:lnTo>
                    <a:pt x="1713" y="866"/>
                  </a:lnTo>
                  <a:lnTo>
                    <a:pt x="1818" y="805"/>
                  </a:lnTo>
                  <a:lnTo>
                    <a:pt x="1927" y="750"/>
                  </a:lnTo>
                  <a:lnTo>
                    <a:pt x="2039" y="700"/>
                  </a:lnTo>
                  <a:lnTo>
                    <a:pt x="2152" y="655"/>
                  </a:lnTo>
                  <a:lnTo>
                    <a:pt x="2269" y="616"/>
                  </a:lnTo>
                  <a:lnTo>
                    <a:pt x="2388" y="582"/>
                  </a:lnTo>
                  <a:lnTo>
                    <a:pt x="2510" y="553"/>
                  </a:lnTo>
                  <a:lnTo>
                    <a:pt x="2634" y="531"/>
                  </a:lnTo>
                  <a:lnTo>
                    <a:pt x="2759" y="515"/>
                  </a:lnTo>
                  <a:lnTo>
                    <a:pt x="2886" y="505"/>
                  </a:lnTo>
                  <a:lnTo>
                    <a:pt x="3016" y="502"/>
                  </a:lnTo>
                  <a:close/>
                  <a:moveTo>
                    <a:pt x="3016" y="6022"/>
                  </a:moveTo>
                  <a:lnTo>
                    <a:pt x="3170" y="6018"/>
                  </a:lnTo>
                  <a:lnTo>
                    <a:pt x="3323" y="6007"/>
                  </a:lnTo>
                  <a:lnTo>
                    <a:pt x="3474" y="5988"/>
                  </a:lnTo>
                  <a:lnTo>
                    <a:pt x="3623" y="5961"/>
                  </a:lnTo>
                  <a:lnTo>
                    <a:pt x="3768" y="5928"/>
                  </a:lnTo>
                  <a:lnTo>
                    <a:pt x="3911" y="5887"/>
                  </a:lnTo>
                  <a:lnTo>
                    <a:pt x="4052" y="5840"/>
                  </a:lnTo>
                  <a:lnTo>
                    <a:pt x="4188" y="5785"/>
                  </a:lnTo>
                  <a:lnTo>
                    <a:pt x="4322" y="5725"/>
                  </a:lnTo>
                  <a:lnTo>
                    <a:pt x="4452" y="5659"/>
                  </a:lnTo>
                  <a:lnTo>
                    <a:pt x="4577" y="5586"/>
                  </a:lnTo>
                  <a:lnTo>
                    <a:pt x="4700" y="5507"/>
                  </a:lnTo>
                  <a:lnTo>
                    <a:pt x="4819" y="5424"/>
                  </a:lnTo>
                  <a:lnTo>
                    <a:pt x="4932" y="5334"/>
                  </a:lnTo>
                  <a:lnTo>
                    <a:pt x="5042" y="5239"/>
                  </a:lnTo>
                  <a:lnTo>
                    <a:pt x="5146" y="5140"/>
                  </a:lnTo>
                  <a:lnTo>
                    <a:pt x="5247" y="5035"/>
                  </a:lnTo>
                  <a:lnTo>
                    <a:pt x="5341" y="4925"/>
                  </a:lnTo>
                  <a:lnTo>
                    <a:pt x="5431" y="4812"/>
                  </a:lnTo>
                  <a:lnTo>
                    <a:pt x="5515" y="4693"/>
                  </a:lnTo>
                  <a:lnTo>
                    <a:pt x="5594" y="4572"/>
                  </a:lnTo>
                  <a:lnTo>
                    <a:pt x="5666" y="4445"/>
                  </a:lnTo>
                  <a:lnTo>
                    <a:pt x="5733" y="4316"/>
                  </a:lnTo>
                  <a:lnTo>
                    <a:pt x="5794" y="4183"/>
                  </a:lnTo>
                  <a:lnTo>
                    <a:pt x="5848" y="4046"/>
                  </a:lnTo>
                  <a:lnTo>
                    <a:pt x="5895" y="3906"/>
                  </a:lnTo>
                  <a:lnTo>
                    <a:pt x="5935" y="3763"/>
                  </a:lnTo>
                  <a:lnTo>
                    <a:pt x="5969" y="3617"/>
                  </a:lnTo>
                  <a:lnTo>
                    <a:pt x="5996" y="3469"/>
                  </a:lnTo>
                  <a:lnTo>
                    <a:pt x="6015" y="3318"/>
                  </a:lnTo>
                  <a:lnTo>
                    <a:pt x="6027" y="3166"/>
                  </a:lnTo>
                  <a:lnTo>
                    <a:pt x="6031" y="3011"/>
                  </a:lnTo>
                  <a:lnTo>
                    <a:pt x="6027" y="2857"/>
                  </a:lnTo>
                  <a:lnTo>
                    <a:pt x="6015" y="2704"/>
                  </a:lnTo>
                  <a:lnTo>
                    <a:pt x="5996" y="2554"/>
                  </a:lnTo>
                  <a:lnTo>
                    <a:pt x="5969" y="2405"/>
                  </a:lnTo>
                  <a:lnTo>
                    <a:pt x="5935" y="2260"/>
                  </a:lnTo>
                  <a:lnTo>
                    <a:pt x="5895" y="2117"/>
                  </a:lnTo>
                  <a:lnTo>
                    <a:pt x="5848" y="1978"/>
                  </a:lnTo>
                  <a:lnTo>
                    <a:pt x="5794" y="1840"/>
                  </a:lnTo>
                  <a:lnTo>
                    <a:pt x="5733" y="1708"/>
                  </a:lnTo>
                  <a:lnTo>
                    <a:pt x="5666" y="1577"/>
                  </a:lnTo>
                  <a:lnTo>
                    <a:pt x="5594" y="1452"/>
                  </a:lnTo>
                  <a:lnTo>
                    <a:pt x="5515" y="1329"/>
                  </a:lnTo>
                  <a:lnTo>
                    <a:pt x="5431" y="1211"/>
                  </a:lnTo>
                  <a:lnTo>
                    <a:pt x="5341" y="1097"/>
                  </a:lnTo>
                  <a:lnTo>
                    <a:pt x="5247" y="988"/>
                  </a:lnTo>
                  <a:lnTo>
                    <a:pt x="5146" y="884"/>
                  </a:lnTo>
                  <a:lnTo>
                    <a:pt x="5042" y="783"/>
                  </a:lnTo>
                  <a:lnTo>
                    <a:pt x="4932" y="689"/>
                  </a:lnTo>
                  <a:lnTo>
                    <a:pt x="4819" y="600"/>
                  </a:lnTo>
                  <a:lnTo>
                    <a:pt x="4700" y="515"/>
                  </a:lnTo>
                  <a:lnTo>
                    <a:pt x="4577" y="437"/>
                  </a:lnTo>
                  <a:lnTo>
                    <a:pt x="4452" y="365"/>
                  </a:lnTo>
                  <a:lnTo>
                    <a:pt x="4322" y="297"/>
                  </a:lnTo>
                  <a:lnTo>
                    <a:pt x="4188" y="237"/>
                  </a:lnTo>
                  <a:lnTo>
                    <a:pt x="4052" y="183"/>
                  </a:lnTo>
                  <a:lnTo>
                    <a:pt x="3911" y="136"/>
                  </a:lnTo>
                  <a:lnTo>
                    <a:pt x="3768" y="96"/>
                  </a:lnTo>
                  <a:lnTo>
                    <a:pt x="3623" y="62"/>
                  </a:lnTo>
                  <a:lnTo>
                    <a:pt x="3474" y="36"/>
                  </a:lnTo>
                  <a:lnTo>
                    <a:pt x="3323" y="16"/>
                  </a:lnTo>
                  <a:lnTo>
                    <a:pt x="3170" y="4"/>
                  </a:lnTo>
                  <a:lnTo>
                    <a:pt x="3016" y="0"/>
                  </a:lnTo>
                  <a:lnTo>
                    <a:pt x="2861" y="4"/>
                  </a:lnTo>
                  <a:lnTo>
                    <a:pt x="2708" y="16"/>
                  </a:lnTo>
                  <a:lnTo>
                    <a:pt x="2557" y="36"/>
                  </a:lnTo>
                  <a:lnTo>
                    <a:pt x="2408" y="62"/>
                  </a:lnTo>
                  <a:lnTo>
                    <a:pt x="2263" y="96"/>
                  </a:lnTo>
                  <a:lnTo>
                    <a:pt x="2120" y="136"/>
                  </a:lnTo>
                  <a:lnTo>
                    <a:pt x="1979" y="183"/>
                  </a:lnTo>
                  <a:lnTo>
                    <a:pt x="1843" y="237"/>
                  </a:lnTo>
                  <a:lnTo>
                    <a:pt x="1709" y="297"/>
                  </a:lnTo>
                  <a:lnTo>
                    <a:pt x="1579" y="365"/>
                  </a:lnTo>
                  <a:lnTo>
                    <a:pt x="1453" y="437"/>
                  </a:lnTo>
                  <a:lnTo>
                    <a:pt x="1331" y="515"/>
                  </a:lnTo>
                  <a:lnTo>
                    <a:pt x="1212" y="600"/>
                  </a:lnTo>
                  <a:lnTo>
                    <a:pt x="1099" y="689"/>
                  </a:lnTo>
                  <a:lnTo>
                    <a:pt x="989" y="783"/>
                  </a:lnTo>
                  <a:lnTo>
                    <a:pt x="884" y="884"/>
                  </a:lnTo>
                  <a:lnTo>
                    <a:pt x="784" y="988"/>
                  </a:lnTo>
                  <a:lnTo>
                    <a:pt x="690" y="1097"/>
                  </a:lnTo>
                  <a:lnTo>
                    <a:pt x="600" y="1211"/>
                  </a:lnTo>
                  <a:lnTo>
                    <a:pt x="516" y="1329"/>
                  </a:lnTo>
                  <a:lnTo>
                    <a:pt x="437" y="1452"/>
                  </a:lnTo>
                  <a:lnTo>
                    <a:pt x="364" y="1577"/>
                  </a:lnTo>
                  <a:lnTo>
                    <a:pt x="298" y="1708"/>
                  </a:lnTo>
                  <a:lnTo>
                    <a:pt x="237" y="1840"/>
                  </a:lnTo>
                  <a:lnTo>
                    <a:pt x="183" y="1978"/>
                  </a:lnTo>
                  <a:lnTo>
                    <a:pt x="136" y="2117"/>
                  </a:lnTo>
                  <a:lnTo>
                    <a:pt x="95" y="2260"/>
                  </a:lnTo>
                  <a:lnTo>
                    <a:pt x="62" y="2405"/>
                  </a:lnTo>
                  <a:lnTo>
                    <a:pt x="35" y="2554"/>
                  </a:lnTo>
                  <a:lnTo>
                    <a:pt x="15" y="2704"/>
                  </a:lnTo>
                  <a:lnTo>
                    <a:pt x="4" y="2857"/>
                  </a:lnTo>
                  <a:lnTo>
                    <a:pt x="0" y="3011"/>
                  </a:lnTo>
                  <a:lnTo>
                    <a:pt x="4" y="3166"/>
                  </a:lnTo>
                  <a:lnTo>
                    <a:pt x="15" y="3318"/>
                  </a:lnTo>
                  <a:lnTo>
                    <a:pt x="35" y="3469"/>
                  </a:lnTo>
                  <a:lnTo>
                    <a:pt x="62" y="3617"/>
                  </a:lnTo>
                  <a:lnTo>
                    <a:pt x="95" y="3763"/>
                  </a:lnTo>
                  <a:lnTo>
                    <a:pt x="136" y="3906"/>
                  </a:lnTo>
                  <a:lnTo>
                    <a:pt x="183" y="4046"/>
                  </a:lnTo>
                  <a:lnTo>
                    <a:pt x="237" y="4183"/>
                  </a:lnTo>
                  <a:lnTo>
                    <a:pt x="298" y="4316"/>
                  </a:lnTo>
                  <a:lnTo>
                    <a:pt x="364" y="4445"/>
                  </a:lnTo>
                  <a:lnTo>
                    <a:pt x="437" y="4572"/>
                  </a:lnTo>
                  <a:lnTo>
                    <a:pt x="516" y="4693"/>
                  </a:lnTo>
                  <a:lnTo>
                    <a:pt x="600" y="4812"/>
                  </a:lnTo>
                  <a:lnTo>
                    <a:pt x="690" y="4925"/>
                  </a:lnTo>
                  <a:lnTo>
                    <a:pt x="784" y="5035"/>
                  </a:lnTo>
                  <a:lnTo>
                    <a:pt x="884" y="5140"/>
                  </a:lnTo>
                  <a:lnTo>
                    <a:pt x="989" y="5239"/>
                  </a:lnTo>
                  <a:lnTo>
                    <a:pt x="1099" y="5334"/>
                  </a:lnTo>
                  <a:lnTo>
                    <a:pt x="1212" y="5424"/>
                  </a:lnTo>
                  <a:lnTo>
                    <a:pt x="1331" y="5507"/>
                  </a:lnTo>
                  <a:lnTo>
                    <a:pt x="1453" y="5586"/>
                  </a:lnTo>
                  <a:lnTo>
                    <a:pt x="1579" y="5659"/>
                  </a:lnTo>
                  <a:lnTo>
                    <a:pt x="1709" y="5725"/>
                  </a:lnTo>
                  <a:lnTo>
                    <a:pt x="1843" y="5785"/>
                  </a:lnTo>
                  <a:lnTo>
                    <a:pt x="1979" y="5840"/>
                  </a:lnTo>
                  <a:lnTo>
                    <a:pt x="2120" y="5887"/>
                  </a:lnTo>
                  <a:lnTo>
                    <a:pt x="2263" y="5928"/>
                  </a:lnTo>
                  <a:lnTo>
                    <a:pt x="2408" y="5961"/>
                  </a:lnTo>
                  <a:lnTo>
                    <a:pt x="2557" y="5988"/>
                  </a:lnTo>
                  <a:lnTo>
                    <a:pt x="2708" y="6007"/>
                  </a:lnTo>
                  <a:lnTo>
                    <a:pt x="2861" y="6018"/>
                  </a:lnTo>
                  <a:lnTo>
                    <a:pt x="3016" y="60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01" name="í$ľíḓê">
              <a:extLst>
                <a:ext uri="{FF2B5EF4-FFF2-40B4-BE49-F238E27FC236}">
                  <a16:creationId xmlns:a16="http://schemas.microsoft.com/office/drawing/2014/main" id="{8CE14C00-5C50-44C5-9360-46D7D71352C7}"/>
                </a:ext>
              </a:extLst>
            </p:cNvPr>
            <p:cNvSpPr/>
            <p:nvPr/>
          </p:nvSpPr>
          <p:spPr bwMode="auto">
            <a:xfrm>
              <a:off x="6751519" y="772789"/>
              <a:ext cx="262524" cy="349494"/>
            </a:xfrm>
            <a:custGeom>
              <a:avLst/>
              <a:gdLst>
                <a:gd name="T0" fmla="*/ 6018 w 12062"/>
                <a:gd name="T1" fmla="*/ 15039 h 16058"/>
                <a:gd name="T2" fmla="*/ 5780 w 12062"/>
                <a:gd name="T3" fmla="*/ 14775 h 16058"/>
                <a:gd name="T4" fmla="*/ 4611 w 12062"/>
                <a:gd name="T5" fmla="*/ 13399 h 16058"/>
                <a:gd name="T6" fmla="*/ 3378 w 12062"/>
                <a:gd name="T7" fmla="*/ 11797 h 16058"/>
                <a:gd name="T8" fmla="*/ 2251 w 12062"/>
                <a:gd name="T9" fmla="*/ 10038 h 16058"/>
                <a:gd name="T10" fmla="*/ 1406 w 12062"/>
                <a:gd name="T11" fmla="*/ 8193 h 16058"/>
                <a:gd name="T12" fmla="*/ 1014 w 12062"/>
                <a:gd name="T13" fmla="*/ 6330 h 16058"/>
                <a:gd name="T14" fmla="*/ 1164 w 12062"/>
                <a:gd name="T15" fmla="*/ 4770 h 16058"/>
                <a:gd name="T16" fmla="*/ 1734 w 12062"/>
                <a:gd name="T17" fmla="*/ 3422 h 16058"/>
                <a:gd name="T18" fmla="*/ 2653 w 12062"/>
                <a:gd name="T19" fmla="*/ 2309 h 16058"/>
                <a:gd name="T20" fmla="*/ 3854 w 12062"/>
                <a:gd name="T21" fmla="*/ 1499 h 16058"/>
                <a:gd name="T22" fmla="*/ 5267 w 12062"/>
                <a:gd name="T23" fmla="*/ 1062 h 16058"/>
                <a:gd name="T24" fmla="*/ 6795 w 12062"/>
                <a:gd name="T25" fmla="*/ 1062 h 16058"/>
                <a:gd name="T26" fmla="*/ 8208 w 12062"/>
                <a:gd name="T27" fmla="*/ 1499 h 16058"/>
                <a:gd name="T28" fmla="*/ 9409 w 12062"/>
                <a:gd name="T29" fmla="*/ 2309 h 16058"/>
                <a:gd name="T30" fmla="*/ 10328 w 12062"/>
                <a:gd name="T31" fmla="*/ 3422 h 16058"/>
                <a:gd name="T32" fmla="*/ 10898 w 12062"/>
                <a:gd name="T33" fmla="*/ 4770 h 16058"/>
                <a:gd name="T34" fmla="*/ 11048 w 12062"/>
                <a:gd name="T35" fmla="*/ 6330 h 16058"/>
                <a:gd name="T36" fmla="*/ 10656 w 12062"/>
                <a:gd name="T37" fmla="*/ 8193 h 16058"/>
                <a:gd name="T38" fmla="*/ 9810 w 12062"/>
                <a:gd name="T39" fmla="*/ 10039 h 16058"/>
                <a:gd name="T40" fmla="*/ 8681 w 12062"/>
                <a:gd name="T41" fmla="*/ 11801 h 16058"/>
                <a:gd name="T42" fmla="*/ 7443 w 12062"/>
                <a:gd name="T43" fmla="*/ 13407 h 16058"/>
                <a:gd name="T44" fmla="*/ 6267 w 12062"/>
                <a:gd name="T45" fmla="*/ 14791 h 16058"/>
                <a:gd name="T46" fmla="*/ 4817 w 12062"/>
                <a:gd name="T47" fmla="*/ 121 h 16058"/>
                <a:gd name="T48" fmla="*/ 3159 w 12062"/>
                <a:gd name="T49" fmla="*/ 722 h 16058"/>
                <a:gd name="T50" fmla="*/ 1768 w 12062"/>
                <a:gd name="T51" fmla="*/ 1753 h 16058"/>
                <a:gd name="T52" fmla="*/ 729 w 12062"/>
                <a:gd name="T53" fmla="*/ 3139 h 16058"/>
                <a:gd name="T54" fmla="*/ 123 w 12062"/>
                <a:gd name="T55" fmla="*/ 4801 h 16058"/>
                <a:gd name="T56" fmla="*/ 34 w 12062"/>
                <a:gd name="T57" fmla="*/ 6682 h 16058"/>
                <a:gd name="T58" fmla="*/ 506 w 12062"/>
                <a:gd name="T59" fmla="*/ 8654 h 16058"/>
                <a:gd name="T60" fmla="*/ 1411 w 12062"/>
                <a:gd name="T61" fmla="*/ 10583 h 16058"/>
                <a:gd name="T62" fmla="*/ 2598 w 12062"/>
                <a:gd name="T63" fmla="*/ 12423 h 16058"/>
                <a:gd name="T64" fmla="*/ 3917 w 12062"/>
                <a:gd name="T65" fmla="*/ 14129 h 16058"/>
                <a:gd name="T66" fmla="*/ 5214 w 12062"/>
                <a:gd name="T67" fmla="*/ 15655 h 16058"/>
                <a:gd name="T68" fmla="*/ 5355 w 12062"/>
                <a:gd name="T69" fmla="*/ 15786 h 16058"/>
                <a:gd name="T70" fmla="*/ 5509 w 12062"/>
                <a:gd name="T71" fmla="*/ 15897 h 16058"/>
                <a:gd name="T72" fmla="*/ 5705 w 12062"/>
                <a:gd name="T73" fmla="*/ 15997 h 16058"/>
                <a:gd name="T74" fmla="*/ 5931 w 12062"/>
                <a:gd name="T75" fmla="*/ 16054 h 16058"/>
                <a:gd name="T76" fmla="*/ 6170 w 12062"/>
                <a:gd name="T77" fmla="*/ 16048 h 16058"/>
                <a:gd name="T78" fmla="*/ 6392 w 12062"/>
                <a:gd name="T79" fmla="*/ 15982 h 16058"/>
                <a:gd name="T80" fmla="*/ 6581 w 12062"/>
                <a:gd name="T81" fmla="*/ 15878 h 16058"/>
                <a:gd name="T82" fmla="*/ 6747 w 12062"/>
                <a:gd name="T83" fmla="*/ 15752 h 16058"/>
                <a:gd name="T84" fmla="*/ 7056 w 12062"/>
                <a:gd name="T85" fmla="*/ 15415 h 16058"/>
                <a:gd name="T86" fmla="*/ 8368 w 12062"/>
                <a:gd name="T87" fmla="*/ 13856 h 16058"/>
                <a:gd name="T88" fmla="*/ 9675 w 12062"/>
                <a:gd name="T89" fmla="*/ 12125 h 16058"/>
                <a:gd name="T90" fmla="*/ 10826 w 12062"/>
                <a:gd name="T91" fmla="*/ 10267 h 16058"/>
                <a:gd name="T92" fmla="*/ 11669 w 12062"/>
                <a:gd name="T93" fmla="*/ 8328 h 16058"/>
                <a:gd name="T94" fmla="*/ 12053 w 12062"/>
                <a:gd name="T95" fmla="*/ 6352 h 16058"/>
                <a:gd name="T96" fmla="*/ 11872 w 12062"/>
                <a:gd name="T97" fmla="*/ 4508 h 16058"/>
                <a:gd name="T98" fmla="*/ 11188 w 12062"/>
                <a:gd name="T99" fmla="*/ 2887 h 16058"/>
                <a:gd name="T100" fmla="*/ 10084 w 12062"/>
                <a:gd name="T101" fmla="*/ 1555 h 16058"/>
                <a:gd name="T102" fmla="*/ 8644 w 12062"/>
                <a:gd name="T103" fmla="*/ 589 h 16058"/>
                <a:gd name="T104" fmla="*/ 6948 w 12062"/>
                <a:gd name="T105" fmla="*/ 68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062" h="16058">
                  <a:moveTo>
                    <a:pt x="6090" y="14996"/>
                  </a:moveTo>
                  <a:lnTo>
                    <a:pt x="6078" y="15005"/>
                  </a:lnTo>
                  <a:lnTo>
                    <a:pt x="6062" y="15018"/>
                  </a:lnTo>
                  <a:lnTo>
                    <a:pt x="6042" y="15032"/>
                  </a:lnTo>
                  <a:lnTo>
                    <a:pt x="6021" y="15045"/>
                  </a:lnTo>
                  <a:lnTo>
                    <a:pt x="6018" y="15039"/>
                  </a:lnTo>
                  <a:lnTo>
                    <a:pt x="6012" y="15032"/>
                  </a:lnTo>
                  <a:lnTo>
                    <a:pt x="6004" y="15024"/>
                  </a:lnTo>
                  <a:lnTo>
                    <a:pt x="5995" y="15015"/>
                  </a:lnTo>
                  <a:lnTo>
                    <a:pt x="5975" y="14996"/>
                  </a:lnTo>
                  <a:lnTo>
                    <a:pt x="5956" y="14978"/>
                  </a:lnTo>
                  <a:lnTo>
                    <a:pt x="5780" y="14775"/>
                  </a:lnTo>
                  <a:lnTo>
                    <a:pt x="5597" y="14565"/>
                  </a:lnTo>
                  <a:lnTo>
                    <a:pt x="5408" y="14346"/>
                  </a:lnTo>
                  <a:lnTo>
                    <a:pt x="5215" y="14120"/>
                  </a:lnTo>
                  <a:lnTo>
                    <a:pt x="5017" y="13886"/>
                  </a:lnTo>
                  <a:lnTo>
                    <a:pt x="4815" y="13646"/>
                  </a:lnTo>
                  <a:lnTo>
                    <a:pt x="4611" y="13399"/>
                  </a:lnTo>
                  <a:lnTo>
                    <a:pt x="4406" y="13145"/>
                  </a:lnTo>
                  <a:lnTo>
                    <a:pt x="4199" y="12887"/>
                  </a:lnTo>
                  <a:lnTo>
                    <a:pt x="3992" y="12622"/>
                  </a:lnTo>
                  <a:lnTo>
                    <a:pt x="3785" y="12352"/>
                  </a:lnTo>
                  <a:lnTo>
                    <a:pt x="3580" y="12077"/>
                  </a:lnTo>
                  <a:lnTo>
                    <a:pt x="3378" y="11797"/>
                  </a:lnTo>
                  <a:lnTo>
                    <a:pt x="3178" y="11513"/>
                  </a:lnTo>
                  <a:lnTo>
                    <a:pt x="2982" y="11225"/>
                  </a:lnTo>
                  <a:lnTo>
                    <a:pt x="2790" y="10932"/>
                  </a:lnTo>
                  <a:lnTo>
                    <a:pt x="2604" y="10637"/>
                  </a:lnTo>
                  <a:lnTo>
                    <a:pt x="2424" y="10339"/>
                  </a:lnTo>
                  <a:lnTo>
                    <a:pt x="2251" y="10038"/>
                  </a:lnTo>
                  <a:lnTo>
                    <a:pt x="2087" y="9734"/>
                  </a:lnTo>
                  <a:lnTo>
                    <a:pt x="1930" y="9429"/>
                  </a:lnTo>
                  <a:lnTo>
                    <a:pt x="1782" y="9122"/>
                  </a:lnTo>
                  <a:lnTo>
                    <a:pt x="1645" y="8813"/>
                  </a:lnTo>
                  <a:lnTo>
                    <a:pt x="1520" y="8504"/>
                  </a:lnTo>
                  <a:lnTo>
                    <a:pt x="1406" y="8193"/>
                  </a:lnTo>
                  <a:lnTo>
                    <a:pt x="1305" y="7881"/>
                  </a:lnTo>
                  <a:lnTo>
                    <a:pt x="1216" y="7570"/>
                  </a:lnTo>
                  <a:lnTo>
                    <a:pt x="1142" y="7259"/>
                  </a:lnTo>
                  <a:lnTo>
                    <a:pt x="1083" y="6948"/>
                  </a:lnTo>
                  <a:lnTo>
                    <a:pt x="1040" y="6639"/>
                  </a:lnTo>
                  <a:lnTo>
                    <a:pt x="1014" y="6330"/>
                  </a:lnTo>
                  <a:lnTo>
                    <a:pt x="1005" y="6023"/>
                  </a:lnTo>
                  <a:lnTo>
                    <a:pt x="1011" y="5765"/>
                  </a:lnTo>
                  <a:lnTo>
                    <a:pt x="1031" y="5510"/>
                  </a:lnTo>
                  <a:lnTo>
                    <a:pt x="1063" y="5259"/>
                  </a:lnTo>
                  <a:lnTo>
                    <a:pt x="1108" y="5012"/>
                  </a:lnTo>
                  <a:lnTo>
                    <a:pt x="1164" y="4770"/>
                  </a:lnTo>
                  <a:lnTo>
                    <a:pt x="1231" y="4532"/>
                  </a:lnTo>
                  <a:lnTo>
                    <a:pt x="1311" y="4299"/>
                  </a:lnTo>
                  <a:lnTo>
                    <a:pt x="1401" y="4071"/>
                  </a:lnTo>
                  <a:lnTo>
                    <a:pt x="1502" y="3849"/>
                  </a:lnTo>
                  <a:lnTo>
                    <a:pt x="1612" y="3632"/>
                  </a:lnTo>
                  <a:lnTo>
                    <a:pt x="1734" y="3422"/>
                  </a:lnTo>
                  <a:lnTo>
                    <a:pt x="1864" y="3219"/>
                  </a:lnTo>
                  <a:lnTo>
                    <a:pt x="2005" y="3022"/>
                  </a:lnTo>
                  <a:lnTo>
                    <a:pt x="2154" y="2832"/>
                  </a:lnTo>
                  <a:lnTo>
                    <a:pt x="2313" y="2650"/>
                  </a:lnTo>
                  <a:lnTo>
                    <a:pt x="2479" y="2475"/>
                  </a:lnTo>
                  <a:lnTo>
                    <a:pt x="2653" y="2309"/>
                  </a:lnTo>
                  <a:lnTo>
                    <a:pt x="2836" y="2151"/>
                  </a:lnTo>
                  <a:lnTo>
                    <a:pt x="3026" y="2002"/>
                  </a:lnTo>
                  <a:lnTo>
                    <a:pt x="3223" y="1862"/>
                  </a:lnTo>
                  <a:lnTo>
                    <a:pt x="3427" y="1731"/>
                  </a:lnTo>
                  <a:lnTo>
                    <a:pt x="3637" y="1610"/>
                  </a:lnTo>
                  <a:lnTo>
                    <a:pt x="3854" y="1499"/>
                  </a:lnTo>
                  <a:lnTo>
                    <a:pt x="4077" y="1399"/>
                  </a:lnTo>
                  <a:lnTo>
                    <a:pt x="4305" y="1309"/>
                  </a:lnTo>
                  <a:lnTo>
                    <a:pt x="4538" y="1229"/>
                  </a:lnTo>
                  <a:lnTo>
                    <a:pt x="4776" y="1162"/>
                  </a:lnTo>
                  <a:lnTo>
                    <a:pt x="5019" y="1106"/>
                  </a:lnTo>
                  <a:lnTo>
                    <a:pt x="5267" y="1062"/>
                  </a:lnTo>
                  <a:lnTo>
                    <a:pt x="5518" y="1030"/>
                  </a:lnTo>
                  <a:lnTo>
                    <a:pt x="5773" y="1010"/>
                  </a:lnTo>
                  <a:lnTo>
                    <a:pt x="6032" y="1004"/>
                  </a:lnTo>
                  <a:lnTo>
                    <a:pt x="6289" y="1010"/>
                  </a:lnTo>
                  <a:lnTo>
                    <a:pt x="6544" y="1030"/>
                  </a:lnTo>
                  <a:lnTo>
                    <a:pt x="6795" y="1062"/>
                  </a:lnTo>
                  <a:lnTo>
                    <a:pt x="7043" y="1106"/>
                  </a:lnTo>
                  <a:lnTo>
                    <a:pt x="7286" y="1162"/>
                  </a:lnTo>
                  <a:lnTo>
                    <a:pt x="7524" y="1229"/>
                  </a:lnTo>
                  <a:lnTo>
                    <a:pt x="7757" y="1309"/>
                  </a:lnTo>
                  <a:lnTo>
                    <a:pt x="7985" y="1399"/>
                  </a:lnTo>
                  <a:lnTo>
                    <a:pt x="8208" y="1499"/>
                  </a:lnTo>
                  <a:lnTo>
                    <a:pt x="8425" y="1610"/>
                  </a:lnTo>
                  <a:lnTo>
                    <a:pt x="8635" y="1731"/>
                  </a:lnTo>
                  <a:lnTo>
                    <a:pt x="8839" y="1862"/>
                  </a:lnTo>
                  <a:lnTo>
                    <a:pt x="9036" y="2002"/>
                  </a:lnTo>
                  <a:lnTo>
                    <a:pt x="9226" y="2151"/>
                  </a:lnTo>
                  <a:lnTo>
                    <a:pt x="9409" y="2309"/>
                  </a:lnTo>
                  <a:lnTo>
                    <a:pt x="9583" y="2475"/>
                  </a:lnTo>
                  <a:lnTo>
                    <a:pt x="9749" y="2650"/>
                  </a:lnTo>
                  <a:lnTo>
                    <a:pt x="9908" y="2832"/>
                  </a:lnTo>
                  <a:lnTo>
                    <a:pt x="10057" y="3022"/>
                  </a:lnTo>
                  <a:lnTo>
                    <a:pt x="10198" y="3219"/>
                  </a:lnTo>
                  <a:lnTo>
                    <a:pt x="10328" y="3422"/>
                  </a:lnTo>
                  <a:lnTo>
                    <a:pt x="10450" y="3632"/>
                  </a:lnTo>
                  <a:lnTo>
                    <a:pt x="10560" y="3849"/>
                  </a:lnTo>
                  <a:lnTo>
                    <a:pt x="10661" y="4071"/>
                  </a:lnTo>
                  <a:lnTo>
                    <a:pt x="10751" y="4299"/>
                  </a:lnTo>
                  <a:lnTo>
                    <a:pt x="10831" y="4532"/>
                  </a:lnTo>
                  <a:lnTo>
                    <a:pt x="10898" y="4770"/>
                  </a:lnTo>
                  <a:lnTo>
                    <a:pt x="10954" y="5012"/>
                  </a:lnTo>
                  <a:lnTo>
                    <a:pt x="10999" y="5259"/>
                  </a:lnTo>
                  <a:lnTo>
                    <a:pt x="11031" y="5510"/>
                  </a:lnTo>
                  <a:lnTo>
                    <a:pt x="11051" y="5765"/>
                  </a:lnTo>
                  <a:lnTo>
                    <a:pt x="11057" y="6023"/>
                  </a:lnTo>
                  <a:lnTo>
                    <a:pt x="11048" y="6330"/>
                  </a:lnTo>
                  <a:lnTo>
                    <a:pt x="11022" y="6639"/>
                  </a:lnTo>
                  <a:lnTo>
                    <a:pt x="10979" y="6948"/>
                  </a:lnTo>
                  <a:lnTo>
                    <a:pt x="10920" y="7259"/>
                  </a:lnTo>
                  <a:lnTo>
                    <a:pt x="10846" y="7570"/>
                  </a:lnTo>
                  <a:lnTo>
                    <a:pt x="10757" y="7881"/>
                  </a:lnTo>
                  <a:lnTo>
                    <a:pt x="10656" y="8193"/>
                  </a:lnTo>
                  <a:lnTo>
                    <a:pt x="10542" y="8504"/>
                  </a:lnTo>
                  <a:lnTo>
                    <a:pt x="10416" y="8814"/>
                  </a:lnTo>
                  <a:lnTo>
                    <a:pt x="10279" y="9122"/>
                  </a:lnTo>
                  <a:lnTo>
                    <a:pt x="10132" y="9430"/>
                  </a:lnTo>
                  <a:lnTo>
                    <a:pt x="9975" y="9735"/>
                  </a:lnTo>
                  <a:lnTo>
                    <a:pt x="9810" y="10039"/>
                  </a:lnTo>
                  <a:lnTo>
                    <a:pt x="9637" y="10340"/>
                  </a:lnTo>
                  <a:lnTo>
                    <a:pt x="9457" y="10639"/>
                  </a:lnTo>
                  <a:lnTo>
                    <a:pt x="9270" y="10934"/>
                  </a:lnTo>
                  <a:lnTo>
                    <a:pt x="9078" y="11227"/>
                  </a:lnTo>
                  <a:lnTo>
                    <a:pt x="8882" y="11516"/>
                  </a:lnTo>
                  <a:lnTo>
                    <a:pt x="8681" y="11801"/>
                  </a:lnTo>
                  <a:lnTo>
                    <a:pt x="8478" y="12081"/>
                  </a:lnTo>
                  <a:lnTo>
                    <a:pt x="8272" y="12357"/>
                  </a:lnTo>
                  <a:lnTo>
                    <a:pt x="8065" y="12628"/>
                  </a:lnTo>
                  <a:lnTo>
                    <a:pt x="7857" y="12893"/>
                  </a:lnTo>
                  <a:lnTo>
                    <a:pt x="7650" y="13154"/>
                  </a:lnTo>
                  <a:lnTo>
                    <a:pt x="7443" y="13407"/>
                  </a:lnTo>
                  <a:lnTo>
                    <a:pt x="7238" y="13655"/>
                  </a:lnTo>
                  <a:lnTo>
                    <a:pt x="7036" y="13897"/>
                  </a:lnTo>
                  <a:lnTo>
                    <a:pt x="6837" y="14132"/>
                  </a:lnTo>
                  <a:lnTo>
                    <a:pt x="6642" y="14359"/>
                  </a:lnTo>
                  <a:lnTo>
                    <a:pt x="6452" y="14579"/>
                  </a:lnTo>
                  <a:lnTo>
                    <a:pt x="6267" y="14791"/>
                  </a:lnTo>
                  <a:lnTo>
                    <a:pt x="6090" y="14996"/>
                  </a:lnTo>
                  <a:close/>
                  <a:moveTo>
                    <a:pt x="6032" y="0"/>
                  </a:moveTo>
                  <a:lnTo>
                    <a:pt x="5721" y="8"/>
                  </a:lnTo>
                  <a:lnTo>
                    <a:pt x="5415" y="31"/>
                  </a:lnTo>
                  <a:lnTo>
                    <a:pt x="5114" y="68"/>
                  </a:lnTo>
                  <a:lnTo>
                    <a:pt x="4817" y="121"/>
                  </a:lnTo>
                  <a:lnTo>
                    <a:pt x="4526" y="188"/>
                  </a:lnTo>
                  <a:lnTo>
                    <a:pt x="4239" y="268"/>
                  </a:lnTo>
                  <a:lnTo>
                    <a:pt x="3959" y="362"/>
                  </a:lnTo>
                  <a:lnTo>
                    <a:pt x="3686" y="470"/>
                  </a:lnTo>
                  <a:lnTo>
                    <a:pt x="3418" y="589"/>
                  </a:lnTo>
                  <a:lnTo>
                    <a:pt x="3159" y="722"/>
                  </a:lnTo>
                  <a:lnTo>
                    <a:pt x="2906" y="865"/>
                  </a:lnTo>
                  <a:lnTo>
                    <a:pt x="2661" y="1021"/>
                  </a:lnTo>
                  <a:lnTo>
                    <a:pt x="2424" y="1188"/>
                  </a:lnTo>
                  <a:lnTo>
                    <a:pt x="2197" y="1366"/>
                  </a:lnTo>
                  <a:lnTo>
                    <a:pt x="1978" y="1555"/>
                  </a:lnTo>
                  <a:lnTo>
                    <a:pt x="1768" y="1753"/>
                  </a:lnTo>
                  <a:lnTo>
                    <a:pt x="1569" y="1962"/>
                  </a:lnTo>
                  <a:lnTo>
                    <a:pt x="1379" y="2180"/>
                  </a:lnTo>
                  <a:lnTo>
                    <a:pt x="1200" y="2407"/>
                  </a:lnTo>
                  <a:lnTo>
                    <a:pt x="1031" y="2643"/>
                  </a:lnTo>
                  <a:lnTo>
                    <a:pt x="874" y="2887"/>
                  </a:lnTo>
                  <a:lnTo>
                    <a:pt x="729" y="3139"/>
                  </a:lnTo>
                  <a:lnTo>
                    <a:pt x="596" y="3399"/>
                  </a:lnTo>
                  <a:lnTo>
                    <a:pt x="474" y="3666"/>
                  </a:lnTo>
                  <a:lnTo>
                    <a:pt x="367" y="3940"/>
                  </a:lnTo>
                  <a:lnTo>
                    <a:pt x="271" y="4221"/>
                  </a:lnTo>
                  <a:lnTo>
                    <a:pt x="190" y="4508"/>
                  </a:lnTo>
                  <a:lnTo>
                    <a:pt x="123" y="4801"/>
                  </a:lnTo>
                  <a:lnTo>
                    <a:pt x="69" y="5099"/>
                  </a:lnTo>
                  <a:lnTo>
                    <a:pt x="31" y="5403"/>
                  </a:lnTo>
                  <a:lnTo>
                    <a:pt x="8" y="5711"/>
                  </a:lnTo>
                  <a:lnTo>
                    <a:pt x="0" y="6023"/>
                  </a:lnTo>
                  <a:lnTo>
                    <a:pt x="9" y="6352"/>
                  </a:lnTo>
                  <a:lnTo>
                    <a:pt x="34" y="6682"/>
                  </a:lnTo>
                  <a:lnTo>
                    <a:pt x="76" y="7012"/>
                  </a:lnTo>
                  <a:lnTo>
                    <a:pt x="134" y="7342"/>
                  </a:lnTo>
                  <a:lnTo>
                    <a:pt x="206" y="7671"/>
                  </a:lnTo>
                  <a:lnTo>
                    <a:pt x="292" y="8000"/>
                  </a:lnTo>
                  <a:lnTo>
                    <a:pt x="393" y="8328"/>
                  </a:lnTo>
                  <a:lnTo>
                    <a:pt x="506" y="8654"/>
                  </a:lnTo>
                  <a:lnTo>
                    <a:pt x="630" y="8980"/>
                  </a:lnTo>
                  <a:lnTo>
                    <a:pt x="767" y="9305"/>
                  </a:lnTo>
                  <a:lnTo>
                    <a:pt x="914" y="9628"/>
                  </a:lnTo>
                  <a:lnTo>
                    <a:pt x="1070" y="9948"/>
                  </a:lnTo>
                  <a:lnTo>
                    <a:pt x="1236" y="10267"/>
                  </a:lnTo>
                  <a:lnTo>
                    <a:pt x="1411" y="10583"/>
                  </a:lnTo>
                  <a:lnTo>
                    <a:pt x="1593" y="10897"/>
                  </a:lnTo>
                  <a:lnTo>
                    <a:pt x="1783" y="11208"/>
                  </a:lnTo>
                  <a:lnTo>
                    <a:pt x="1979" y="11518"/>
                  </a:lnTo>
                  <a:lnTo>
                    <a:pt x="2180" y="11823"/>
                  </a:lnTo>
                  <a:lnTo>
                    <a:pt x="2387" y="12125"/>
                  </a:lnTo>
                  <a:lnTo>
                    <a:pt x="2598" y="12423"/>
                  </a:lnTo>
                  <a:lnTo>
                    <a:pt x="2813" y="12718"/>
                  </a:lnTo>
                  <a:lnTo>
                    <a:pt x="3030" y="13009"/>
                  </a:lnTo>
                  <a:lnTo>
                    <a:pt x="3250" y="13296"/>
                  </a:lnTo>
                  <a:lnTo>
                    <a:pt x="3473" y="13578"/>
                  </a:lnTo>
                  <a:lnTo>
                    <a:pt x="3695" y="13856"/>
                  </a:lnTo>
                  <a:lnTo>
                    <a:pt x="3917" y="14129"/>
                  </a:lnTo>
                  <a:lnTo>
                    <a:pt x="4139" y="14397"/>
                  </a:lnTo>
                  <a:lnTo>
                    <a:pt x="4359" y="14659"/>
                  </a:lnTo>
                  <a:lnTo>
                    <a:pt x="4577" y="14917"/>
                  </a:lnTo>
                  <a:lnTo>
                    <a:pt x="4793" y="15169"/>
                  </a:lnTo>
                  <a:lnTo>
                    <a:pt x="5006" y="15415"/>
                  </a:lnTo>
                  <a:lnTo>
                    <a:pt x="5214" y="15655"/>
                  </a:lnTo>
                  <a:lnTo>
                    <a:pt x="5219" y="15661"/>
                  </a:lnTo>
                  <a:lnTo>
                    <a:pt x="5233" y="15675"/>
                  </a:lnTo>
                  <a:lnTo>
                    <a:pt x="5254" y="15695"/>
                  </a:lnTo>
                  <a:lnTo>
                    <a:pt x="5281" y="15722"/>
                  </a:lnTo>
                  <a:lnTo>
                    <a:pt x="5315" y="15752"/>
                  </a:lnTo>
                  <a:lnTo>
                    <a:pt x="5355" y="15786"/>
                  </a:lnTo>
                  <a:lnTo>
                    <a:pt x="5377" y="15804"/>
                  </a:lnTo>
                  <a:lnTo>
                    <a:pt x="5401" y="15822"/>
                  </a:lnTo>
                  <a:lnTo>
                    <a:pt x="5426" y="15841"/>
                  </a:lnTo>
                  <a:lnTo>
                    <a:pt x="5453" y="15860"/>
                  </a:lnTo>
                  <a:lnTo>
                    <a:pt x="5480" y="15878"/>
                  </a:lnTo>
                  <a:lnTo>
                    <a:pt x="5509" y="15897"/>
                  </a:lnTo>
                  <a:lnTo>
                    <a:pt x="5539" y="15915"/>
                  </a:lnTo>
                  <a:lnTo>
                    <a:pt x="5570" y="15933"/>
                  </a:lnTo>
                  <a:lnTo>
                    <a:pt x="5602" y="15950"/>
                  </a:lnTo>
                  <a:lnTo>
                    <a:pt x="5635" y="15967"/>
                  </a:lnTo>
                  <a:lnTo>
                    <a:pt x="5670" y="15982"/>
                  </a:lnTo>
                  <a:lnTo>
                    <a:pt x="5705" y="15997"/>
                  </a:lnTo>
                  <a:lnTo>
                    <a:pt x="5740" y="16010"/>
                  </a:lnTo>
                  <a:lnTo>
                    <a:pt x="5777" y="16022"/>
                  </a:lnTo>
                  <a:lnTo>
                    <a:pt x="5814" y="16032"/>
                  </a:lnTo>
                  <a:lnTo>
                    <a:pt x="5853" y="16041"/>
                  </a:lnTo>
                  <a:lnTo>
                    <a:pt x="5892" y="16048"/>
                  </a:lnTo>
                  <a:lnTo>
                    <a:pt x="5931" y="16054"/>
                  </a:lnTo>
                  <a:lnTo>
                    <a:pt x="5971" y="16057"/>
                  </a:lnTo>
                  <a:lnTo>
                    <a:pt x="6011" y="16058"/>
                  </a:lnTo>
                  <a:lnTo>
                    <a:pt x="6051" y="16058"/>
                  </a:lnTo>
                  <a:lnTo>
                    <a:pt x="6091" y="16057"/>
                  </a:lnTo>
                  <a:lnTo>
                    <a:pt x="6131" y="16054"/>
                  </a:lnTo>
                  <a:lnTo>
                    <a:pt x="6170" y="16048"/>
                  </a:lnTo>
                  <a:lnTo>
                    <a:pt x="6209" y="16041"/>
                  </a:lnTo>
                  <a:lnTo>
                    <a:pt x="6248" y="16032"/>
                  </a:lnTo>
                  <a:lnTo>
                    <a:pt x="6285" y="16022"/>
                  </a:lnTo>
                  <a:lnTo>
                    <a:pt x="6322" y="16010"/>
                  </a:lnTo>
                  <a:lnTo>
                    <a:pt x="6357" y="15997"/>
                  </a:lnTo>
                  <a:lnTo>
                    <a:pt x="6392" y="15982"/>
                  </a:lnTo>
                  <a:lnTo>
                    <a:pt x="6427" y="15967"/>
                  </a:lnTo>
                  <a:lnTo>
                    <a:pt x="6460" y="15950"/>
                  </a:lnTo>
                  <a:lnTo>
                    <a:pt x="6492" y="15933"/>
                  </a:lnTo>
                  <a:lnTo>
                    <a:pt x="6523" y="15915"/>
                  </a:lnTo>
                  <a:lnTo>
                    <a:pt x="6553" y="15897"/>
                  </a:lnTo>
                  <a:lnTo>
                    <a:pt x="6581" y="15878"/>
                  </a:lnTo>
                  <a:lnTo>
                    <a:pt x="6609" y="15860"/>
                  </a:lnTo>
                  <a:lnTo>
                    <a:pt x="6636" y="15841"/>
                  </a:lnTo>
                  <a:lnTo>
                    <a:pt x="6661" y="15822"/>
                  </a:lnTo>
                  <a:lnTo>
                    <a:pt x="6684" y="15804"/>
                  </a:lnTo>
                  <a:lnTo>
                    <a:pt x="6707" y="15786"/>
                  </a:lnTo>
                  <a:lnTo>
                    <a:pt x="6747" y="15752"/>
                  </a:lnTo>
                  <a:lnTo>
                    <a:pt x="6780" y="15722"/>
                  </a:lnTo>
                  <a:lnTo>
                    <a:pt x="6808" y="15695"/>
                  </a:lnTo>
                  <a:lnTo>
                    <a:pt x="6829" y="15675"/>
                  </a:lnTo>
                  <a:lnTo>
                    <a:pt x="6842" y="15661"/>
                  </a:lnTo>
                  <a:lnTo>
                    <a:pt x="6848" y="15655"/>
                  </a:lnTo>
                  <a:lnTo>
                    <a:pt x="7056" y="15415"/>
                  </a:lnTo>
                  <a:lnTo>
                    <a:pt x="7269" y="15169"/>
                  </a:lnTo>
                  <a:lnTo>
                    <a:pt x="7485" y="14917"/>
                  </a:lnTo>
                  <a:lnTo>
                    <a:pt x="7703" y="14659"/>
                  </a:lnTo>
                  <a:lnTo>
                    <a:pt x="7924" y="14397"/>
                  </a:lnTo>
                  <a:lnTo>
                    <a:pt x="8145" y="14129"/>
                  </a:lnTo>
                  <a:lnTo>
                    <a:pt x="8368" y="13856"/>
                  </a:lnTo>
                  <a:lnTo>
                    <a:pt x="8590" y="13578"/>
                  </a:lnTo>
                  <a:lnTo>
                    <a:pt x="8812" y="13296"/>
                  </a:lnTo>
                  <a:lnTo>
                    <a:pt x="9032" y="13009"/>
                  </a:lnTo>
                  <a:lnTo>
                    <a:pt x="9249" y="12718"/>
                  </a:lnTo>
                  <a:lnTo>
                    <a:pt x="9464" y="12423"/>
                  </a:lnTo>
                  <a:lnTo>
                    <a:pt x="9675" y="12125"/>
                  </a:lnTo>
                  <a:lnTo>
                    <a:pt x="9882" y="11823"/>
                  </a:lnTo>
                  <a:lnTo>
                    <a:pt x="10084" y="11518"/>
                  </a:lnTo>
                  <a:lnTo>
                    <a:pt x="10280" y="11208"/>
                  </a:lnTo>
                  <a:lnTo>
                    <a:pt x="10469" y="10897"/>
                  </a:lnTo>
                  <a:lnTo>
                    <a:pt x="10652" y="10583"/>
                  </a:lnTo>
                  <a:lnTo>
                    <a:pt x="10826" y="10267"/>
                  </a:lnTo>
                  <a:lnTo>
                    <a:pt x="10992" y="9948"/>
                  </a:lnTo>
                  <a:lnTo>
                    <a:pt x="11148" y="9628"/>
                  </a:lnTo>
                  <a:lnTo>
                    <a:pt x="11295" y="9305"/>
                  </a:lnTo>
                  <a:lnTo>
                    <a:pt x="11432" y="8980"/>
                  </a:lnTo>
                  <a:lnTo>
                    <a:pt x="11556" y="8654"/>
                  </a:lnTo>
                  <a:lnTo>
                    <a:pt x="11669" y="8328"/>
                  </a:lnTo>
                  <a:lnTo>
                    <a:pt x="11770" y="8000"/>
                  </a:lnTo>
                  <a:lnTo>
                    <a:pt x="11856" y="7671"/>
                  </a:lnTo>
                  <a:lnTo>
                    <a:pt x="11928" y="7342"/>
                  </a:lnTo>
                  <a:lnTo>
                    <a:pt x="11986" y="7012"/>
                  </a:lnTo>
                  <a:lnTo>
                    <a:pt x="12028" y="6682"/>
                  </a:lnTo>
                  <a:lnTo>
                    <a:pt x="12053" y="6352"/>
                  </a:lnTo>
                  <a:lnTo>
                    <a:pt x="12062" y="6023"/>
                  </a:lnTo>
                  <a:lnTo>
                    <a:pt x="12054" y="5711"/>
                  </a:lnTo>
                  <a:lnTo>
                    <a:pt x="12031" y="5403"/>
                  </a:lnTo>
                  <a:lnTo>
                    <a:pt x="11993" y="5099"/>
                  </a:lnTo>
                  <a:lnTo>
                    <a:pt x="11939" y="4801"/>
                  </a:lnTo>
                  <a:lnTo>
                    <a:pt x="11872" y="4508"/>
                  </a:lnTo>
                  <a:lnTo>
                    <a:pt x="11791" y="4221"/>
                  </a:lnTo>
                  <a:lnTo>
                    <a:pt x="11695" y="3940"/>
                  </a:lnTo>
                  <a:lnTo>
                    <a:pt x="11588" y="3666"/>
                  </a:lnTo>
                  <a:lnTo>
                    <a:pt x="11466" y="3399"/>
                  </a:lnTo>
                  <a:lnTo>
                    <a:pt x="11333" y="3139"/>
                  </a:lnTo>
                  <a:lnTo>
                    <a:pt x="11188" y="2887"/>
                  </a:lnTo>
                  <a:lnTo>
                    <a:pt x="11031" y="2643"/>
                  </a:lnTo>
                  <a:lnTo>
                    <a:pt x="10862" y="2407"/>
                  </a:lnTo>
                  <a:lnTo>
                    <a:pt x="10683" y="2180"/>
                  </a:lnTo>
                  <a:lnTo>
                    <a:pt x="10493" y="1962"/>
                  </a:lnTo>
                  <a:lnTo>
                    <a:pt x="10294" y="1753"/>
                  </a:lnTo>
                  <a:lnTo>
                    <a:pt x="10084" y="1555"/>
                  </a:lnTo>
                  <a:lnTo>
                    <a:pt x="9865" y="1366"/>
                  </a:lnTo>
                  <a:lnTo>
                    <a:pt x="9638" y="1188"/>
                  </a:lnTo>
                  <a:lnTo>
                    <a:pt x="9401" y="1021"/>
                  </a:lnTo>
                  <a:lnTo>
                    <a:pt x="9156" y="865"/>
                  </a:lnTo>
                  <a:lnTo>
                    <a:pt x="8903" y="722"/>
                  </a:lnTo>
                  <a:lnTo>
                    <a:pt x="8644" y="589"/>
                  </a:lnTo>
                  <a:lnTo>
                    <a:pt x="8376" y="470"/>
                  </a:lnTo>
                  <a:lnTo>
                    <a:pt x="8103" y="362"/>
                  </a:lnTo>
                  <a:lnTo>
                    <a:pt x="7823" y="268"/>
                  </a:lnTo>
                  <a:lnTo>
                    <a:pt x="7536" y="188"/>
                  </a:lnTo>
                  <a:lnTo>
                    <a:pt x="7245" y="121"/>
                  </a:lnTo>
                  <a:lnTo>
                    <a:pt x="6948" y="68"/>
                  </a:lnTo>
                  <a:lnTo>
                    <a:pt x="6647" y="31"/>
                  </a:lnTo>
                  <a:lnTo>
                    <a:pt x="6341" y="8"/>
                  </a:lnTo>
                  <a:lnTo>
                    <a:pt x="60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02" name="işľiḑe">
              <a:extLst>
                <a:ext uri="{FF2B5EF4-FFF2-40B4-BE49-F238E27FC236}">
                  <a16:creationId xmlns:a16="http://schemas.microsoft.com/office/drawing/2014/main" id="{40220C21-0221-4780-8A4F-938226F40627}"/>
                </a:ext>
              </a:extLst>
            </p:cNvPr>
            <p:cNvSpPr/>
            <p:nvPr/>
          </p:nvSpPr>
          <p:spPr bwMode="auto">
            <a:xfrm>
              <a:off x="8347248" y="732952"/>
              <a:ext cx="363600" cy="362763"/>
            </a:xfrm>
            <a:custGeom>
              <a:avLst/>
              <a:gdLst>
                <a:gd name="T0" fmla="*/ 13537 w 16094"/>
                <a:gd name="T1" fmla="*/ 6059 h 16058"/>
                <a:gd name="T2" fmla="*/ 13105 w 16094"/>
                <a:gd name="T3" fmla="*/ 4843 h 16058"/>
                <a:gd name="T4" fmla="*/ 12309 w 16094"/>
                <a:gd name="T5" fmla="*/ 3778 h 16058"/>
                <a:gd name="T6" fmla="*/ 11103 w 16094"/>
                <a:gd name="T7" fmla="*/ 2914 h 16058"/>
                <a:gd name="T8" fmla="*/ 9730 w 16094"/>
                <a:gd name="T9" fmla="*/ 2510 h 16058"/>
                <a:gd name="T10" fmla="*/ 10548 w 16094"/>
                <a:gd name="T11" fmla="*/ 1344 h 16058"/>
                <a:gd name="T12" fmla="*/ 11273 w 16094"/>
                <a:gd name="T13" fmla="*/ 1058 h 16058"/>
                <a:gd name="T14" fmla="*/ 12175 w 16094"/>
                <a:gd name="T15" fmla="*/ 1030 h 16058"/>
                <a:gd name="T16" fmla="*/ 13215 w 16094"/>
                <a:gd name="T17" fmla="*/ 1370 h 16058"/>
                <a:gd name="T18" fmla="*/ 14130 w 16094"/>
                <a:gd name="T19" fmla="*/ 2061 h 16058"/>
                <a:gd name="T20" fmla="*/ 14752 w 16094"/>
                <a:gd name="T21" fmla="*/ 2927 h 16058"/>
                <a:gd name="T22" fmla="*/ 15061 w 16094"/>
                <a:gd name="T23" fmla="*/ 3885 h 16058"/>
                <a:gd name="T24" fmla="*/ 15035 w 16094"/>
                <a:gd name="T25" fmla="*/ 4794 h 16058"/>
                <a:gd name="T26" fmla="*/ 14704 w 16094"/>
                <a:gd name="T27" fmla="*/ 5577 h 16058"/>
                <a:gd name="T28" fmla="*/ 4429 w 16094"/>
                <a:gd name="T29" fmla="*/ 13990 h 16058"/>
                <a:gd name="T30" fmla="*/ 4128 w 16094"/>
                <a:gd name="T31" fmla="*/ 13119 h 16058"/>
                <a:gd name="T32" fmla="*/ 3522 w 16094"/>
                <a:gd name="T33" fmla="*/ 12349 h 16058"/>
                <a:gd name="T34" fmla="*/ 2735 w 16094"/>
                <a:gd name="T35" fmla="*/ 11832 h 16058"/>
                <a:gd name="T36" fmla="*/ 1857 w 16094"/>
                <a:gd name="T37" fmla="*/ 11600 h 16058"/>
                <a:gd name="T38" fmla="*/ 2349 w 16094"/>
                <a:gd name="T39" fmla="*/ 9539 h 16058"/>
                <a:gd name="T40" fmla="*/ 3383 w 16094"/>
                <a:gd name="T41" fmla="*/ 9051 h 16058"/>
                <a:gd name="T42" fmla="*/ 5065 w 16094"/>
                <a:gd name="T43" fmla="*/ 9305 h 16058"/>
                <a:gd name="T44" fmla="*/ 6529 w 16094"/>
                <a:gd name="T45" fmla="*/ 10574 h 16058"/>
                <a:gd name="T46" fmla="*/ 7057 w 16094"/>
                <a:gd name="T47" fmla="*/ 12341 h 16058"/>
                <a:gd name="T48" fmla="*/ 6481 w 16094"/>
                <a:gd name="T49" fmla="*/ 13816 h 16058"/>
                <a:gd name="T50" fmla="*/ 1899 w 16094"/>
                <a:gd name="T51" fmla="*/ 15034 h 16058"/>
                <a:gd name="T52" fmla="*/ 1430 w 16094"/>
                <a:gd name="T53" fmla="*/ 14978 h 16058"/>
                <a:gd name="T54" fmla="*/ 1080 w 16094"/>
                <a:gd name="T55" fmla="*/ 14626 h 16058"/>
                <a:gd name="T56" fmla="*/ 1037 w 16094"/>
                <a:gd name="T57" fmla="*/ 14110 h 16058"/>
                <a:gd name="T58" fmla="*/ 2133 w 16094"/>
                <a:gd name="T59" fmla="*/ 12161 h 16058"/>
                <a:gd name="T60" fmla="*/ 2879 w 16094"/>
                <a:gd name="T61" fmla="*/ 12483 h 16058"/>
                <a:gd name="T62" fmla="*/ 3517 w 16094"/>
                <a:gd name="T63" fmla="*/ 13089 h 16058"/>
                <a:gd name="T64" fmla="*/ 3887 w 16094"/>
                <a:gd name="T65" fmla="*/ 13837 h 16058"/>
                <a:gd name="T66" fmla="*/ 5275 w 16094"/>
                <a:gd name="T67" fmla="*/ 8311 h 16058"/>
                <a:gd name="T68" fmla="*/ 4471 w 16094"/>
                <a:gd name="T69" fmla="*/ 8075 h 16058"/>
                <a:gd name="T70" fmla="*/ 3832 w 16094"/>
                <a:gd name="T71" fmla="*/ 8011 h 16058"/>
                <a:gd name="T72" fmla="*/ 8544 w 16094"/>
                <a:gd name="T73" fmla="*/ 3613 h 16058"/>
                <a:gd name="T74" fmla="*/ 9615 w 16094"/>
                <a:gd name="T75" fmla="*/ 3512 h 16058"/>
                <a:gd name="T76" fmla="*/ 7177 w 16094"/>
                <a:gd name="T77" fmla="*/ 9768 h 16058"/>
                <a:gd name="T78" fmla="*/ 6475 w 16094"/>
                <a:gd name="T79" fmla="*/ 9029 h 16058"/>
                <a:gd name="T80" fmla="*/ 10683 w 16094"/>
                <a:gd name="T81" fmla="*/ 3831 h 16058"/>
                <a:gd name="T82" fmla="*/ 11597 w 16094"/>
                <a:gd name="T83" fmla="*/ 4487 h 16058"/>
                <a:gd name="T84" fmla="*/ 12178 w 16094"/>
                <a:gd name="T85" fmla="*/ 5258 h 16058"/>
                <a:gd name="T86" fmla="*/ 7882 w 16094"/>
                <a:gd name="T87" fmla="*/ 11105 h 16058"/>
                <a:gd name="T88" fmla="*/ 12576 w 16094"/>
                <a:gd name="T89" fmla="*/ 6482 h 16058"/>
                <a:gd name="T90" fmla="*/ 12439 w 16094"/>
                <a:gd name="T91" fmla="*/ 7635 h 16058"/>
                <a:gd name="T92" fmla="*/ 11948 w 16094"/>
                <a:gd name="T93" fmla="*/ 8406 h 16058"/>
                <a:gd name="T94" fmla="*/ 14463 w 16094"/>
                <a:gd name="T95" fmla="*/ 1003 h 16058"/>
                <a:gd name="T96" fmla="*/ 13190 w 16094"/>
                <a:gd name="T97" fmla="*/ 260 h 16058"/>
                <a:gd name="T98" fmla="*/ 11795 w 16094"/>
                <a:gd name="T99" fmla="*/ 0 h 16058"/>
                <a:gd name="T100" fmla="*/ 10660 w 16094"/>
                <a:gd name="T101" fmla="*/ 187 h 16058"/>
                <a:gd name="T102" fmla="*/ 9684 w 16094"/>
                <a:gd name="T103" fmla="*/ 727 h 16058"/>
                <a:gd name="T104" fmla="*/ 1704 w 16094"/>
                <a:gd name="T105" fmla="*/ 8728 h 16058"/>
                <a:gd name="T106" fmla="*/ 1279 w 16094"/>
                <a:gd name="T107" fmla="*/ 9454 h 16058"/>
                <a:gd name="T108" fmla="*/ 0 w 16094"/>
                <a:gd name="T109" fmla="*/ 14302 h 16058"/>
                <a:gd name="T110" fmla="*/ 402 w 16094"/>
                <a:gd name="T111" fmla="*/ 15419 h 16058"/>
                <a:gd name="T112" fmla="*/ 1407 w 16094"/>
                <a:gd name="T113" fmla="*/ 16022 h 16058"/>
                <a:gd name="T114" fmla="*/ 2275 w 16094"/>
                <a:gd name="T115" fmla="*/ 15980 h 16058"/>
                <a:gd name="T116" fmla="*/ 7227 w 16094"/>
                <a:gd name="T117" fmla="*/ 14541 h 16058"/>
                <a:gd name="T118" fmla="*/ 15901 w 16094"/>
                <a:gd name="T119" fmla="*/ 5421 h 16058"/>
                <a:gd name="T120" fmla="*/ 15857 w 16094"/>
                <a:gd name="T121" fmla="*/ 2953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094" h="16058">
                  <a:moveTo>
                    <a:pt x="14431" y="5907"/>
                  </a:moveTo>
                  <a:lnTo>
                    <a:pt x="13584" y="6759"/>
                  </a:lnTo>
                  <a:lnTo>
                    <a:pt x="13585" y="6717"/>
                  </a:lnTo>
                  <a:lnTo>
                    <a:pt x="13586" y="6675"/>
                  </a:lnTo>
                  <a:lnTo>
                    <a:pt x="13588" y="6633"/>
                  </a:lnTo>
                  <a:lnTo>
                    <a:pt x="13590" y="6591"/>
                  </a:lnTo>
                  <a:lnTo>
                    <a:pt x="13591" y="6549"/>
                  </a:lnTo>
                  <a:lnTo>
                    <a:pt x="13591" y="6507"/>
                  </a:lnTo>
                  <a:lnTo>
                    <a:pt x="13590" y="6464"/>
                  </a:lnTo>
                  <a:lnTo>
                    <a:pt x="13587" y="6420"/>
                  </a:lnTo>
                  <a:lnTo>
                    <a:pt x="13578" y="6330"/>
                  </a:lnTo>
                  <a:lnTo>
                    <a:pt x="13566" y="6240"/>
                  </a:lnTo>
                  <a:lnTo>
                    <a:pt x="13553" y="6148"/>
                  </a:lnTo>
                  <a:lnTo>
                    <a:pt x="13537" y="6059"/>
                  </a:lnTo>
                  <a:lnTo>
                    <a:pt x="13520" y="5969"/>
                  </a:lnTo>
                  <a:lnTo>
                    <a:pt x="13500" y="5879"/>
                  </a:lnTo>
                  <a:lnTo>
                    <a:pt x="13478" y="5790"/>
                  </a:lnTo>
                  <a:lnTo>
                    <a:pt x="13453" y="5702"/>
                  </a:lnTo>
                  <a:lnTo>
                    <a:pt x="13427" y="5613"/>
                  </a:lnTo>
                  <a:lnTo>
                    <a:pt x="13400" y="5525"/>
                  </a:lnTo>
                  <a:lnTo>
                    <a:pt x="13370" y="5439"/>
                  </a:lnTo>
                  <a:lnTo>
                    <a:pt x="13338" y="5351"/>
                  </a:lnTo>
                  <a:lnTo>
                    <a:pt x="13305" y="5265"/>
                  </a:lnTo>
                  <a:lnTo>
                    <a:pt x="13268" y="5180"/>
                  </a:lnTo>
                  <a:lnTo>
                    <a:pt x="13230" y="5094"/>
                  </a:lnTo>
                  <a:lnTo>
                    <a:pt x="13191" y="5010"/>
                  </a:lnTo>
                  <a:lnTo>
                    <a:pt x="13150" y="4927"/>
                  </a:lnTo>
                  <a:lnTo>
                    <a:pt x="13105" y="4843"/>
                  </a:lnTo>
                  <a:lnTo>
                    <a:pt x="13060" y="4761"/>
                  </a:lnTo>
                  <a:lnTo>
                    <a:pt x="13014" y="4680"/>
                  </a:lnTo>
                  <a:lnTo>
                    <a:pt x="12965" y="4600"/>
                  </a:lnTo>
                  <a:lnTo>
                    <a:pt x="12913" y="4520"/>
                  </a:lnTo>
                  <a:lnTo>
                    <a:pt x="12861" y="4441"/>
                  </a:lnTo>
                  <a:lnTo>
                    <a:pt x="12807" y="4364"/>
                  </a:lnTo>
                  <a:lnTo>
                    <a:pt x="12750" y="4286"/>
                  </a:lnTo>
                  <a:lnTo>
                    <a:pt x="12692" y="4210"/>
                  </a:lnTo>
                  <a:lnTo>
                    <a:pt x="12633" y="4136"/>
                  </a:lnTo>
                  <a:lnTo>
                    <a:pt x="12571" y="4062"/>
                  </a:lnTo>
                  <a:lnTo>
                    <a:pt x="12508" y="3989"/>
                  </a:lnTo>
                  <a:lnTo>
                    <a:pt x="12443" y="3917"/>
                  </a:lnTo>
                  <a:lnTo>
                    <a:pt x="12376" y="3847"/>
                  </a:lnTo>
                  <a:lnTo>
                    <a:pt x="12309" y="3778"/>
                  </a:lnTo>
                  <a:lnTo>
                    <a:pt x="12230" y="3701"/>
                  </a:lnTo>
                  <a:lnTo>
                    <a:pt x="12152" y="3628"/>
                  </a:lnTo>
                  <a:lnTo>
                    <a:pt x="12071" y="3557"/>
                  </a:lnTo>
                  <a:lnTo>
                    <a:pt x="11989" y="3487"/>
                  </a:lnTo>
                  <a:lnTo>
                    <a:pt x="11905" y="3419"/>
                  </a:lnTo>
                  <a:lnTo>
                    <a:pt x="11821" y="3354"/>
                  </a:lnTo>
                  <a:lnTo>
                    <a:pt x="11735" y="3292"/>
                  </a:lnTo>
                  <a:lnTo>
                    <a:pt x="11648" y="3231"/>
                  </a:lnTo>
                  <a:lnTo>
                    <a:pt x="11560" y="3172"/>
                  </a:lnTo>
                  <a:lnTo>
                    <a:pt x="11471" y="3116"/>
                  </a:lnTo>
                  <a:lnTo>
                    <a:pt x="11380" y="3062"/>
                  </a:lnTo>
                  <a:lnTo>
                    <a:pt x="11289" y="3010"/>
                  </a:lnTo>
                  <a:lnTo>
                    <a:pt x="11196" y="2961"/>
                  </a:lnTo>
                  <a:lnTo>
                    <a:pt x="11103" y="2914"/>
                  </a:lnTo>
                  <a:lnTo>
                    <a:pt x="11009" y="2868"/>
                  </a:lnTo>
                  <a:lnTo>
                    <a:pt x="10913" y="2826"/>
                  </a:lnTo>
                  <a:lnTo>
                    <a:pt x="10818" y="2786"/>
                  </a:lnTo>
                  <a:lnTo>
                    <a:pt x="10721" y="2749"/>
                  </a:lnTo>
                  <a:lnTo>
                    <a:pt x="10625" y="2714"/>
                  </a:lnTo>
                  <a:lnTo>
                    <a:pt x="10527" y="2681"/>
                  </a:lnTo>
                  <a:lnTo>
                    <a:pt x="10429" y="2651"/>
                  </a:lnTo>
                  <a:lnTo>
                    <a:pt x="10330" y="2622"/>
                  </a:lnTo>
                  <a:lnTo>
                    <a:pt x="10231" y="2597"/>
                  </a:lnTo>
                  <a:lnTo>
                    <a:pt x="10132" y="2574"/>
                  </a:lnTo>
                  <a:lnTo>
                    <a:pt x="10031" y="2554"/>
                  </a:lnTo>
                  <a:lnTo>
                    <a:pt x="9932" y="2537"/>
                  </a:lnTo>
                  <a:lnTo>
                    <a:pt x="9831" y="2522"/>
                  </a:lnTo>
                  <a:lnTo>
                    <a:pt x="9730" y="2510"/>
                  </a:lnTo>
                  <a:lnTo>
                    <a:pt x="9630" y="2500"/>
                  </a:lnTo>
                  <a:lnTo>
                    <a:pt x="9529" y="2493"/>
                  </a:lnTo>
                  <a:lnTo>
                    <a:pt x="9428" y="2489"/>
                  </a:lnTo>
                  <a:lnTo>
                    <a:pt x="9327" y="2487"/>
                  </a:lnTo>
                  <a:lnTo>
                    <a:pt x="10160" y="1649"/>
                  </a:lnTo>
                  <a:lnTo>
                    <a:pt x="10199" y="1611"/>
                  </a:lnTo>
                  <a:lnTo>
                    <a:pt x="10240" y="1574"/>
                  </a:lnTo>
                  <a:lnTo>
                    <a:pt x="10282" y="1538"/>
                  </a:lnTo>
                  <a:lnTo>
                    <a:pt x="10324" y="1502"/>
                  </a:lnTo>
                  <a:lnTo>
                    <a:pt x="10367" y="1468"/>
                  </a:lnTo>
                  <a:lnTo>
                    <a:pt x="10411" y="1435"/>
                  </a:lnTo>
                  <a:lnTo>
                    <a:pt x="10456" y="1404"/>
                  </a:lnTo>
                  <a:lnTo>
                    <a:pt x="10502" y="1373"/>
                  </a:lnTo>
                  <a:lnTo>
                    <a:pt x="10548" y="1344"/>
                  </a:lnTo>
                  <a:lnTo>
                    <a:pt x="10596" y="1316"/>
                  </a:lnTo>
                  <a:lnTo>
                    <a:pt x="10644" y="1289"/>
                  </a:lnTo>
                  <a:lnTo>
                    <a:pt x="10692" y="1263"/>
                  </a:lnTo>
                  <a:lnTo>
                    <a:pt x="10742" y="1237"/>
                  </a:lnTo>
                  <a:lnTo>
                    <a:pt x="10793" y="1214"/>
                  </a:lnTo>
                  <a:lnTo>
                    <a:pt x="10843" y="1192"/>
                  </a:lnTo>
                  <a:lnTo>
                    <a:pt x="10894" y="1171"/>
                  </a:lnTo>
                  <a:lnTo>
                    <a:pt x="10947" y="1151"/>
                  </a:lnTo>
                  <a:lnTo>
                    <a:pt x="11000" y="1132"/>
                  </a:lnTo>
                  <a:lnTo>
                    <a:pt x="11053" y="1115"/>
                  </a:lnTo>
                  <a:lnTo>
                    <a:pt x="11108" y="1099"/>
                  </a:lnTo>
                  <a:lnTo>
                    <a:pt x="11162" y="1084"/>
                  </a:lnTo>
                  <a:lnTo>
                    <a:pt x="11217" y="1070"/>
                  </a:lnTo>
                  <a:lnTo>
                    <a:pt x="11273" y="1058"/>
                  </a:lnTo>
                  <a:lnTo>
                    <a:pt x="11329" y="1046"/>
                  </a:lnTo>
                  <a:lnTo>
                    <a:pt x="11386" y="1037"/>
                  </a:lnTo>
                  <a:lnTo>
                    <a:pt x="11444" y="1028"/>
                  </a:lnTo>
                  <a:lnTo>
                    <a:pt x="11501" y="1021"/>
                  </a:lnTo>
                  <a:lnTo>
                    <a:pt x="11559" y="1015"/>
                  </a:lnTo>
                  <a:lnTo>
                    <a:pt x="11618" y="1010"/>
                  </a:lnTo>
                  <a:lnTo>
                    <a:pt x="11676" y="1007"/>
                  </a:lnTo>
                  <a:lnTo>
                    <a:pt x="11735" y="1005"/>
                  </a:lnTo>
                  <a:lnTo>
                    <a:pt x="11795" y="1004"/>
                  </a:lnTo>
                  <a:lnTo>
                    <a:pt x="11871" y="1005"/>
                  </a:lnTo>
                  <a:lnTo>
                    <a:pt x="11947" y="1008"/>
                  </a:lnTo>
                  <a:lnTo>
                    <a:pt x="12023" y="1014"/>
                  </a:lnTo>
                  <a:lnTo>
                    <a:pt x="12098" y="1021"/>
                  </a:lnTo>
                  <a:lnTo>
                    <a:pt x="12175" y="1030"/>
                  </a:lnTo>
                  <a:lnTo>
                    <a:pt x="12251" y="1042"/>
                  </a:lnTo>
                  <a:lnTo>
                    <a:pt x="12327" y="1055"/>
                  </a:lnTo>
                  <a:lnTo>
                    <a:pt x="12402" y="1071"/>
                  </a:lnTo>
                  <a:lnTo>
                    <a:pt x="12478" y="1088"/>
                  </a:lnTo>
                  <a:lnTo>
                    <a:pt x="12553" y="1108"/>
                  </a:lnTo>
                  <a:lnTo>
                    <a:pt x="12629" y="1129"/>
                  </a:lnTo>
                  <a:lnTo>
                    <a:pt x="12703" y="1153"/>
                  </a:lnTo>
                  <a:lnTo>
                    <a:pt x="12777" y="1178"/>
                  </a:lnTo>
                  <a:lnTo>
                    <a:pt x="12852" y="1205"/>
                  </a:lnTo>
                  <a:lnTo>
                    <a:pt x="12925" y="1234"/>
                  </a:lnTo>
                  <a:lnTo>
                    <a:pt x="12999" y="1266"/>
                  </a:lnTo>
                  <a:lnTo>
                    <a:pt x="13071" y="1299"/>
                  </a:lnTo>
                  <a:lnTo>
                    <a:pt x="13144" y="1334"/>
                  </a:lnTo>
                  <a:lnTo>
                    <a:pt x="13215" y="1370"/>
                  </a:lnTo>
                  <a:lnTo>
                    <a:pt x="13285" y="1408"/>
                  </a:lnTo>
                  <a:lnTo>
                    <a:pt x="13356" y="1448"/>
                  </a:lnTo>
                  <a:lnTo>
                    <a:pt x="13425" y="1490"/>
                  </a:lnTo>
                  <a:lnTo>
                    <a:pt x="13495" y="1535"/>
                  </a:lnTo>
                  <a:lnTo>
                    <a:pt x="13562" y="1580"/>
                  </a:lnTo>
                  <a:lnTo>
                    <a:pt x="13629" y="1627"/>
                  </a:lnTo>
                  <a:lnTo>
                    <a:pt x="13696" y="1676"/>
                  </a:lnTo>
                  <a:lnTo>
                    <a:pt x="13761" y="1727"/>
                  </a:lnTo>
                  <a:lnTo>
                    <a:pt x="13827" y="1779"/>
                  </a:lnTo>
                  <a:lnTo>
                    <a:pt x="13890" y="1834"/>
                  </a:lnTo>
                  <a:lnTo>
                    <a:pt x="13952" y="1889"/>
                  </a:lnTo>
                  <a:lnTo>
                    <a:pt x="14014" y="1946"/>
                  </a:lnTo>
                  <a:lnTo>
                    <a:pt x="14075" y="2005"/>
                  </a:lnTo>
                  <a:lnTo>
                    <a:pt x="14130" y="2061"/>
                  </a:lnTo>
                  <a:lnTo>
                    <a:pt x="14185" y="2119"/>
                  </a:lnTo>
                  <a:lnTo>
                    <a:pt x="14237" y="2177"/>
                  </a:lnTo>
                  <a:lnTo>
                    <a:pt x="14288" y="2235"/>
                  </a:lnTo>
                  <a:lnTo>
                    <a:pt x="14338" y="2295"/>
                  </a:lnTo>
                  <a:lnTo>
                    <a:pt x="14386" y="2356"/>
                  </a:lnTo>
                  <a:lnTo>
                    <a:pt x="14433" y="2417"/>
                  </a:lnTo>
                  <a:lnTo>
                    <a:pt x="14478" y="2478"/>
                  </a:lnTo>
                  <a:lnTo>
                    <a:pt x="14522" y="2540"/>
                  </a:lnTo>
                  <a:lnTo>
                    <a:pt x="14564" y="2603"/>
                  </a:lnTo>
                  <a:lnTo>
                    <a:pt x="14605" y="2667"/>
                  </a:lnTo>
                  <a:lnTo>
                    <a:pt x="14644" y="2731"/>
                  </a:lnTo>
                  <a:lnTo>
                    <a:pt x="14682" y="2796"/>
                  </a:lnTo>
                  <a:lnTo>
                    <a:pt x="14718" y="2861"/>
                  </a:lnTo>
                  <a:lnTo>
                    <a:pt x="14752" y="2927"/>
                  </a:lnTo>
                  <a:lnTo>
                    <a:pt x="14785" y="2993"/>
                  </a:lnTo>
                  <a:lnTo>
                    <a:pt x="14816" y="3060"/>
                  </a:lnTo>
                  <a:lnTo>
                    <a:pt x="14846" y="3126"/>
                  </a:lnTo>
                  <a:lnTo>
                    <a:pt x="14874" y="3195"/>
                  </a:lnTo>
                  <a:lnTo>
                    <a:pt x="14900" y="3262"/>
                  </a:lnTo>
                  <a:lnTo>
                    <a:pt x="14925" y="3330"/>
                  </a:lnTo>
                  <a:lnTo>
                    <a:pt x="14948" y="3398"/>
                  </a:lnTo>
                  <a:lnTo>
                    <a:pt x="14969" y="3468"/>
                  </a:lnTo>
                  <a:lnTo>
                    <a:pt x="14988" y="3537"/>
                  </a:lnTo>
                  <a:lnTo>
                    <a:pt x="15007" y="3606"/>
                  </a:lnTo>
                  <a:lnTo>
                    <a:pt x="15023" y="3675"/>
                  </a:lnTo>
                  <a:lnTo>
                    <a:pt x="15038" y="3746"/>
                  </a:lnTo>
                  <a:lnTo>
                    <a:pt x="15050" y="3816"/>
                  </a:lnTo>
                  <a:lnTo>
                    <a:pt x="15061" y="3885"/>
                  </a:lnTo>
                  <a:lnTo>
                    <a:pt x="15070" y="3955"/>
                  </a:lnTo>
                  <a:lnTo>
                    <a:pt x="15078" y="4026"/>
                  </a:lnTo>
                  <a:lnTo>
                    <a:pt x="15084" y="4097"/>
                  </a:lnTo>
                  <a:lnTo>
                    <a:pt x="15087" y="4162"/>
                  </a:lnTo>
                  <a:lnTo>
                    <a:pt x="15089" y="4227"/>
                  </a:lnTo>
                  <a:lnTo>
                    <a:pt x="15089" y="4292"/>
                  </a:lnTo>
                  <a:lnTo>
                    <a:pt x="15088" y="4357"/>
                  </a:lnTo>
                  <a:lnTo>
                    <a:pt x="15085" y="4420"/>
                  </a:lnTo>
                  <a:lnTo>
                    <a:pt x="15081" y="4484"/>
                  </a:lnTo>
                  <a:lnTo>
                    <a:pt x="15075" y="4546"/>
                  </a:lnTo>
                  <a:lnTo>
                    <a:pt x="15067" y="4610"/>
                  </a:lnTo>
                  <a:lnTo>
                    <a:pt x="15058" y="4672"/>
                  </a:lnTo>
                  <a:lnTo>
                    <a:pt x="15048" y="4733"/>
                  </a:lnTo>
                  <a:lnTo>
                    <a:pt x="15035" y="4794"/>
                  </a:lnTo>
                  <a:lnTo>
                    <a:pt x="15022" y="4855"/>
                  </a:lnTo>
                  <a:lnTo>
                    <a:pt x="15006" y="4914"/>
                  </a:lnTo>
                  <a:lnTo>
                    <a:pt x="14989" y="4973"/>
                  </a:lnTo>
                  <a:lnTo>
                    <a:pt x="14970" y="5032"/>
                  </a:lnTo>
                  <a:lnTo>
                    <a:pt x="14950" y="5089"/>
                  </a:lnTo>
                  <a:lnTo>
                    <a:pt x="14929" y="5147"/>
                  </a:lnTo>
                  <a:lnTo>
                    <a:pt x="14906" y="5203"/>
                  </a:lnTo>
                  <a:lnTo>
                    <a:pt x="14882" y="5259"/>
                  </a:lnTo>
                  <a:lnTo>
                    <a:pt x="14856" y="5314"/>
                  </a:lnTo>
                  <a:lnTo>
                    <a:pt x="14829" y="5368"/>
                  </a:lnTo>
                  <a:lnTo>
                    <a:pt x="14799" y="5422"/>
                  </a:lnTo>
                  <a:lnTo>
                    <a:pt x="14769" y="5474"/>
                  </a:lnTo>
                  <a:lnTo>
                    <a:pt x="14737" y="5526"/>
                  </a:lnTo>
                  <a:lnTo>
                    <a:pt x="14704" y="5577"/>
                  </a:lnTo>
                  <a:lnTo>
                    <a:pt x="14670" y="5627"/>
                  </a:lnTo>
                  <a:lnTo>
                    <a:pt x="14633" y="5675"/>
                  </a:lnTo>
                  <a:lnTo>
                    <a:pt x="14595" y="5724"/>
                  </a:lnTo>
                  <a:lnTo>
                    <a:pt x="14557" y="5772"/>
                  </a:lnTo>
                  <a:lnTo>
                    <a:pt x="14516" y="5818"/>
                  </a:lnTo>
                  <a:lnTo>
                    <a:pt x="14474" y="5863"/>
                  </a:lnTo>
                  <a:lnTo>
                    <a:pt x="14431" y="5907"/>
                  </a:lnTo>
                  <a:close/>
                  <a:moveTo>
                    <a:pt x="4463" y="14370"/>
                  </a:moveTo>
                  <a:lnTo>
                    <a:pt x="4461" y="14307"/>
                  </a:lnTo>
                  <a:lnTo>
                    <a:pt x="4458" y="14243"/>
                  </a:lnTo>
                  <a:lnTo>
                    <a:pt x="4453" y="14180"/>
                  </a:lnTo>
                  <a:lnTo>
                    <a:pt x="4446" y="14117"/>
                  </a:lnTo>
                  <a:lnTo>
                    <a:pt x="4438" y="14053"/>
                  </a:lnTo>
                  <a:lnTo>
                    <a:pt x="4429" y="13990"/>
                  </a:lnTo>
                  <a:lnTo>
                    <a:pt x="4417" y="13926"/>
                  </a:lnTo>
                  <a:lnTo>
                    <a:pt x="4405" y="13863"/>
                  </a:lnTo>
                  <a:lnTo>
                    <a:pt x="4391" y="13800"/>
                  </a:lnTo>
                  <a:lnTo>
                    <a:pt x="4375" y="13737"/>
                  </a:lnTo>
                  <a:lnTo>
                    <a:pt x="4357" y="13673"/>
                  </a:lnTo>
                  <a:lnTo>
                    <a:pt x="4338" y="13610"/>
                  </a:lnTo>
                  <a:lnTo>
                    <a:pt x="4317" y="13548"/>
                  </a:lnTo>
                  <a:lnTo>
                    <a:pt x="4295" y="13486"/>
                  </a:lnTo>
                  <a:lnTo>
                    <a:pt x="4271" y="13423"/>
                  </a:lnTo>
                  <a:lnTo>
                    <a:pt x="4246" y="13362"/>
                  </a:lnTo>
                  <a:lnTo>
                    <a:pt x="4219" y="13300"/>
                  </a:lnTo>
                  <a:lnTo>
                    <a:pt x="4191" y="13240"/>
                  </a:lnTo>
                  <a:lnTo>
                    <a:pt x="4161" y="13179"/>
                  </a:lnTo>
                  <a:lnTo>
                    <a:pt x="4128" y="13119"/>
                  </a:lnTo>
                  <a:lnTo>
                    <a:pt x="4095" y="13059"/>
                  </a:lnTo>
                  <a:lnTo>
                    <a:pt x="4060" y="13000"/>
                  </a:lnTo>
                  <a:lnTo>
                    <a:pt x="4024" y="12942"/>
                  </a:lnTo>
                  <a:lnTo>
                    <a:pt x="3986" y="12884"/>
                  </a:lnTo>
                  <a:lnTo>
                    <a:pt x="3946" y="12826"/>
                  </a:lnTo>
                  <a:lnTo>
                    <a:pt x="3905" y="12769"/>
                  </a:lnTo>
                  <a:lnTo>
                    <a:pt x="3862" y="12714"/>
                  </a:lnTo>
                  <a:lnTo>
                    <a:pt x="3818" y="12658"/>
                  </a:lnTo>
                  <a:lnTo>
                    <a:pt x="3771" y="12604"/>
                  </a:lnTo>
                  <a:lnTo>
                    <a:pt x="3723" y="12549"/>
                  </a:lnTo>
                  <a:lnTo>
                    <a:pt x="3674" y="12497"/>
                  </a:lnTo>
                  <a:lnTo>
                    <a:pt x="3622" y="12445"/>
                  </a:lnTo>
                  <a:lnTo>
                    <a:pt x="3573" y="12396"/>
                  </a:lnTo>
                  <a:lnTo>
                    <a:pt x="3522" y="12349"/>
                  </a:lnTo>
                  <a:lnTo>
                    <a:pt x="3470" y="12303"/>
                  </a:lnTo>
                  <a:lnTo>
                    <a:pt x="3418" y="12258"/>
                  </a:lnTo>
                  <a:lnTo>
                    <a:pt x="3366" y="12215"/>
                  </a:lnTo>
                  <a:lnTo>
                    <a:pt x="3312" y="12174"/>
                  </a:lnTo>
                  <a:lnTo>
                    <a:pt x="3257" y="12133"/>
                  </a:lnTo>
                  <a:lnTo>
                    <a:pt x="3202" y="12094"/>
                  </a:lnTo>
                  <a:lnTo>
                    <a:pt x="3146" y="12057"/>
                  </a:lnTo>
                  <a:lnTo>
                    <a:pt x="3088" y="12020"/>
                  </a:lnTo>
                  <a:lnTo>
                    <a:pt x="3031" y="11985"/>
                  </a:lnTo>
                  <a:lnTo>
                    <a:pt x="2974" y="11952"/>
                  </a:lnTo>
                  <a:lnTo>
                    <a:pt x="2914" y="11920"/>
                  </a:lnTo>
                  <a:lnTo>
                    <a:pt x="2855" y="11889"/>
                  </a:lnTo>
                  <a:lnTo>
                    <a:pt x="2796" y="11860"/>
                  </a:lnTo>
                  <a:lnTo>
                    <a:pt x="2735" y="11832"/>
                  </a:lnTo>
                  <a:lnTo>
                    <a:pt x="2675" y="11806"/>
                  </a:lnTo>
                  <a:lnTo>
                    <a:pt x="2613" y="11781"/>
                  </a:lnTo>
                  <a:lnTo>
                    <a:pt x="2552" y="11757"/>
                  </a:lnTo>
                  <a:lnTo>
                    <a:pt x="2490" y="11735"/>
                  </a:lnTo>
                  <a:lnTo>
                    <a:pt x="2427" y="11715"/>
                  </a:lnTo>
                  <a:lnTo>
                    <a:pt x="2365" y="11696"/>
                  </a:lnTo>
                  <a:lnTo>
                    <a:pt x="2303" y="11679"/>
                  </a:lnTo>
                  <a:lnTo>
                    <a:pt x="2239" y="11663"/>
                  </a:lnTo>
                  <a:lnTo>
                    <a:pt x="2176" y="11648"/>
                  </a:lnTo>
                  <a:lnTo>
                    <a:pt x="2112" y="11636"/>
                  </a:lnTo>
                  <a:lnTo>
                    <a:pt x="2048" y="11625"/>
                  </a:lnTo>
                  <a:lnTo>
                    <a:pt x="1985" y="11615"/>
                  </a:lnTo>
                  <a:lnTo>
                    <a:pt x="1920" y="11607"/>
                  </a:lnTo>
                  <a:lnTo>
                    <a:pt x="1857" y="11600"/>
                  </a:lnTo>
                  <a:lnTo>
                    <a:pt x="1793" y="11595"/>
                  </a:lnTo>
                  <a:lnTo>
                    <a:pt x="1728" y="11592"/>
                  </a:lnTo>
                  <a:lnTo>
                    <a:pt x="2229" y="9781"/>
                  </a:lnTo>
                  <a:lnTo>
                    <a:pt x="2236" y="9759"/>
                  </a:lnTo>
                  <a:lnTo>
                    <a:pt x="2244" y="9736"/>
                  </a:lnTo>
                  <a:lnTo>
                    <a:pt x="2253" y="9714"/>
                  </a:lnTo>
                  <a:lnTo>
                    <a:pt x="2263" y="9692"/>
                  </a:lnTo>
                  <a:lnTo>
                    <a:pt x="2273" y="9670"/>
                  </a:lnTo>
                  <a:lnTo>
                    <a:pt x="2284" y="9648"/>
                  </a:lnTo>
                  <a:lnTo>
                    <a:pt x="2296" y="9626"/>
                  </a:lnTo>
                  <a:lnTo>
                    <a:pt x="2308" y="9604"/>
                  </a:lnTo>
                  <a:lnTo>
                    <a:pt x="2321" y="9583"/>
                  </a:lnTo>
                  <a:lnTo>
                    <a:pt x="2335" y="9561"/>
                  </a:lnTo>
                  <a:lnTo>
                    <a:pt x="2349" y="9539"/>
                  </a:lnTo>
                  <a:lnTo>
                    <a:pt x="2363" y="9518"/>
                  </a:lnTo>
                  <a:lnTo>
                    <a:pt x="2378" y="9498"/>
                  </a:lnTo>
                  <a:lnTo>
                    <a:pt x="2393" y="9478"/>
                  </a:lnTo>
                  <a:lnTo>
                    <a:pt x="2409" y="9458"/>
                  </a:lnTo>
                  <a:lnTo>
                    <a:pt x="2426" y="9438"/>
                  </a:lnTo>
                  <a:lnTo>
                    <a:pt x="2522" y="9374"/>
                  </a:lnTo>
                  <a:lnTo>
                    <a:pt x="2621" y="9314"/>
                  </a:lnTo>
                  <a:lnTo>
                    <a:pt x="2723" y="9260"/>
                  </a:lnTo>
                  <a:lnTo>
                    <a:pt x="2828" y="9211"/>
                  </a:lnTo>
                  <a:lnTo>
                    <a:pt x="2934" y="9169"/>
                  </a:lnTo>
                  <a:lnTo>
                    <a:pt x="3044" y="9131"/>
                  </a:lnTo>
                  <a:lnTo>
                    <a:pt x="3156" y="9099"/>
                  </a:lnTo>
                  <a:lnTo>
                    <a:pt x="3268" y="9072"/>
                  </a:lnTo>
                  <a:lnTo>
                    <a:pt x="3383" y="9051"/>
                  </a:lnTo>
                  <a:lnTo>
                    <a:pt x="3500" y="9034"/>
                  </a:lnTo>
                  <a:lnTo>
                    <a:pt x="3617" y="9024"/>
                  </a:lnTo>
                  <a:lnTo>
                    <a:pt x="3736" y="9018"/>
                  </a:lnTo>
                  <a:lnTo>
                    <a:pt x="3857" y="9018"/>
                  </a:lnTo>
                  <a:lnTo>
                    <a:pt x="3976" y="9023"/>
                  </a:lnTo>
                  <a:lnTo>
                    <a:pt x="4098" y="9033"/>
                  </a:lnTo>
                  <a:lnTo>
                    <a:pt x="4220" y="9049"/>
                  </a:lnTo>
                  <a:lnTo>
                    <a:pt x="4342" y="9070"/>
                  </a:lnTo>
                  <a:lnTo>
                    <a:pt x="4463" y="9096"/>
                  </a:lnTo>
                  <a:lnTo>
                    <a:pt x="4584" y="9127"/>
                  </a:lnTo>
                  <a:lnTo>
                    <a:pt x="4706" y="9164"/>
                  </a:lnTo>
                  <a:lnTo>
                    <a:pt x="4826" y="9206"/>
                  </a:lnTo>
                  <a:lnTo>
                    <a:pt x="4946" y="9252"/>
                  </a:lnTo>
                  <a:lnTo>
                    <a:pt x="5065" y="9305"/>
                  </a:lnTo>
                  <a:lnTo>
                    <a:pt x="5184" y="9363"/>
                  </a:lnTo>
                  <a:lnTo>
                    <a:pt x="5300" y="9425"/>
                  </a:lnTo>
                  <a:lnTo>
                    <a:pt x="5415" y="9493"/>
                  </a:lnTo>
                  <a:lnTo>
                    <a:pt x="5529" y="9566"/>
                  </a:lnTo>
                  <a:lnTo>
                    <a:pt x="5640" y="9644"/>
                  </a:lnTo>
                  <a:lnTo>
                    <a:pt x="5750" y="9727"/>
                  </a:lnTo>
                  <a:lnTo>
                    <a:pt x="5857" y="9815"/>
                  </a:lnTo>
                  <a:lnTo>
                    <a:pt x="5962" y="9909"/>
                  </a:lnTo>
                  <a:lnTo>
                    <a:pt x="6065" y="10007"/>
                  </a:lnTo>
                  <a:lnTo>
                    <a:pt x="6168" y="10115"/>
                  </a:lnTo>
                  <a:lnTo>
                    <a:pt x="6267" y="10226"/>
                  </a:lnTo>
                  <a:lnTo>
                    <a:pt x="6360" y="10339"/>
                  </a:lnTo>
                  <a:lnTo>
                    <a:pt x="6447" y="10456"/>
                  </a:lnTo>
                  <a:lnTo>
                    <a:pt x="6529" y="10574"/>
                  </a:lnTo>
                  <a:lnTo>
                    <a:pt x="6604" y="10695"/>
                  </a:lnTo>
                  <a:lnTo>
                    <a:pt x="6673" y="10816"/>
                  </a:lnTo>
                  <a:lnTo>
                    <a:pt x="6738" y="10941"/>
                  </a:lnTo>
                  <a:lnTo>
                    <a:pt x="6796" y="11065"/>
                  </a:lnTo>
                  <a:lnTo>
                    <a:pt x="6848" y="11191"/>
                  </a:lnTo>
                  <a:lnTo>
                    <a:pt x="6895" y="11318"/>
                  </a:lnTo>
                  <a:lnTo>
                    <a:pt x="6936" y="11446"/>
                  </a:lnTo>
                  <a:lnTo>
                    <a:pt x="6971" y="11574"/>
                  </a:lnTo>
                  <a:lnTo>
                    <a:pt x="7000" y="11702"/>
                  </a:lnTo>
                  <a:lnTo>
                    <a:pt x="7023" y="11831"/>
                  </a:lnTo>
                  <a:lnTo>
                    <a:pt x="7041" y="11959"/>
                  </a:lnTo>
                  <a:lnTo>
                    <a:pt x="7052" y="12087"/>
                  </a:lnTo>
                  <a:lnTo>
                    <a:pt x="7058" y="12214"/>
                  </a:lnTo>
                  <a:lnTo>
                    <a:pt x="7057" y="12341"/>
                  </a:lnTo>
                  <a:lnTo>
                    <a:pt x="7051" y="12466"/>
                  </a:lnTo>
                  <a:lnTo>
                    <a:pt x="7039" y="12589"/>
                  </a:lnTo>
                  <a:lnTo>
                    <a:pt x="7019" y="12712"/>
                  </a:lnTo>
                  <a:lnTo>
                    <a:pt x="6995" y="12832"/>
                  </a:lnTo>
                  <a:lnTo>
                    <a:pt x="6965" y="12952"/>
                  </a:lnTo>
                  <a:lnTo>
                    <a:pt x="6929" y="13068"/>
                  </a:lnTo>
                  <a:lnTo>
                    <a:pt x="6886" y="13183"/>
                  </a:lnTo>
                  <a:lnTo>
                    <a:pt x="6837" y="13294"/>
                  </a:lnTo>
                  <a:lnTo>
                    <a:pt x="6783" y="13402"/>
                  </a:lnTo>
                  <a:lnTo>
                    <a:pt x="6722" y="13508"/>
                  </a:lnTo>
                  <a:lnTo>
                    <a:pt x="6655" y="13610"/>
                  </a:lnTo>
                  <a:lnTo>
                    <a:pt x="6582" y="13710"/>
                  </a:lnTo>
                  <a:lnTo>
                    <a:pt x="6502" y="13805"/>
                  </a:lnTo>
                  <a:lnTo>
                    <a:pt x="6481" y="13816"/>
                  </a:lnTo>
                  <a:lnTo>
                    <a:pt x="6459" y="13827"/>
                  </a:lnTo>
                  <a:lnTo>
                    <a:pt x="6437" y="13838"/>
                  </a:lnTo>
                  <a:lnTo>
                    <a:pt x="6415" y="13848"/>
                  </a:lnTo>
                  <a:lnTo>
                    <a:pt x="6392" y="13858"/>
                  </a:lnTo>
                  <a:lnTo>
                    <a:pt x="6369" y="13867"/>
                  </a:lnTo>
                  <a:lnTo>
                    <a:pt x="6345" y="13876"/>
                  </a:lnTo>
                  <a:lnTo>
                    <a:pt x="6322" y="13884"/>
                  </a:lnTo>
                  <a:lnTo>
                    <a:pt x="4463" y="14370"/>
                  </a:lnTo>
                  <a:close/>
                  <a:moveTo>
                    <a:pt x="2096" y="14991"/>
                  </a:moveTo>
                  <a:lnTo>
                    <a:pt x="2070" y="14997"/>
                  </a:lnTo>
                  <a:lnTo>
                    <a:pt x="2036" y="15005"/>
                  </a:lnTo>
                  <a:lnTo>
                    <a:pt x="1995" y="15014"/>
                  </a:lnTo>
                  <a:lnTo>
                    <a:pt x="1949" y="15024"/>
                  </a:lnTo>
                  <a:lnTo>
                    <a:pt x="1899" y="15034"/>
                  </a:lnTo>
                  <a:lnTo>
                    <a:pt x="1849" y="15043"/>
                  </a:lnTo>
                  <a:lnTo>
                    <a:pt x="1825" y="15046"/>
                  </a:lnTo>
                  <a:lnTo>
                    <a:pt x="1801" y="15050"/>
                  </a:lnTo>
                  <a:lnTo>
                    <a:pt x="1777" y="15052"/>
                  </a:lnTo>
                  <a:lnTo>
                    <a:pt x="1755" y="15054"/>
                  </a:lnTo>
                  <a:lnTo>
                    <a:pt x="1716" y="15053"/>
                  </a:lnTo>
                  <a:lnTo>
                    <a:pt x="1679" y="15049"/>
                  </a:lnTo>
                  <a:lnTo>
                    <a:pt x="1641" y="15044"/>
                  </a:lnTo>
                  <a:lnTo>
                    <a:pt x="1604" y="15037"/>
                  </a:lnTo>
                  <a:lnTo>
                    <a:pt x="1568" y="15029"/>
                  </a:lnTo>
                  <a:lnTo>
                    <a:pt x="1532" y="15018"/>
                  </a:lnTo>
                  <a:lnTo>
                    <a:pt x="1498" y="15006"/>
                  </a:lnTo>
                  <a:lnTo>
                    <a:pt x="1464" y="14993"/>
                  </a:lnTo>
                  <a:lnTo>
                    <a:pt x="1430" y="14978"/>
                  </a:lnTo>
                  <a:lnTo>
                    <a:pt x="1398" y="14961"/>
                  </a:lnTo>
                  <a:lnTo>
                    <a:pt x="1367" y="14943"/>
                  </a:lnTo>
                  <a:lnTo>
                    <a:pt x="1336" y="14923"/>
                  </a:lnTo>
                  <a:lnTo>
                    <a:pt x="1307" y="14902"/>
                  </a:lnTo>
                  <a:lnTo>
                    <a:pt x="1279" y="14880"/>
                  </a:lnTo>
                  <a:lnTo>
                    <a:pt x="1251" y="14856"/>
                  </a:lnTo>
                  <a:lnTo>
                    <a:pt x="1225" y="14832"/>
                  </a:lnTo>
                  <a:lnTo>
                    <a:pt x="1201" y="14804"/>
                  </a:lnTo>
                  <a:lnTo>
                    <a:pt x="1177" y="14777"/>
                  </a:lnTo>
                  <a:lnTo>
                    <a:pt x="1155" y="14749"/>
                  </a:lnTo>
                  <a:lnTo>
                    <a:pt x="1134" y="14720"/>
                  </a:lnTo>
                  <a:lnTo>
                    <a:pt x="1115" y="14689"/>
                  </a:lnTo>
                  <a:lnTo>
                    <a:pt x="1096" y="14658"/>
                  </a:lnTo>
                  <a:lnTo>
                    <a:pt x="1080" y="14626"/>
                  </a:lnTo>
                  <a:lnTo>
                    <a:pt x="1065" y="14593"/>
                  </a:lnTo>
                  <a:lnTo>
                    <a:pt x="1051" y="14559"/>
                  </a:lnTo>
                  <a:lnTo>
                    <a:pt x="1040" y="14524"/>
                  </a:lnTo>
                  <a:lnTo>
                    <a:pt x="1030" y="14488"/>
                  </a:lnTo>
                  <a:lnTo>
                    <a:pt x="1021" y="14452"/>
                  </a:lnTo>
                  <a:lnTo>
                    <a:pt x="1015" y="14415"/>
                  </a:lnTo>
                  <a:lnTo>
                    <a:pt x="1010" y="14378"/>
                  </a:lnTo>
                  <a:lnTo>
                    <a:pt x="1007" y="14340"/>
                  </a:lnTo>
                  <a:lnTo>
                    <a:pt x="1006" y="14302"/>
                  </a:lnTo>
                  <a:lnTo>
                    <a:pt x="1009" y="14268"/>
                  </a:lnTo>
                  <a:lnTo>
                    <a:pt x="1015" y="14229"/>
                  </a:lnTo>
                  <a:lnTo>
                    <a:pt x="1022" y="14189"/>
                  </a:lnTo>
                  <a:lnTo>
                    <a:pt x="1029" y="14149"/>
                  </a:lnTo>
                  <a:lnTo>
                    <a:pt x="1037" y="14110"/>
                  </a:lnTo>
                  <a:lnTo>
                    <a:pt x="1045" y="14074"/>
                  </a:lnTo>
                  <a:lnTo>
                    <a:pt x="1051" y="14043"/>
                  </a:lnTo>
                  <a:lnTo>
                    <a:pt x="1056" y="14020"/>
                  </a:lnTo>
                  <a:lnTo>
                    <a:pt x="1586" y="12106"/>
                  </a:lnTo>
                  <a:lnTo>
                    <a:pt x="1641" y="12105"/>
                  </a:lnTo>
                  <a:lnTo>
                    <a:pt x="1695" y="12105"/>
                  </a:lnTo>
                  <a:lnTo>
                    <a:pt x="1749" y="12107"/>
                  </a:lnTo>
                  <a:lnTo>
                    <a:pt x="1804" y="12111"/>
                  </a:lnTo>
                  <a:lnTo>
                    <a:pt x="1858" y="12116"/>
                  </a:lnTo>
                  <a:lnTo>
                    <a:pt x="1913" y="12122"/>
                  </a:lnTo>
                  <a:lnTo>
                    <a:pt x="1968" y="12130"/>
                  </a:lnTo>
                  <a:lnTo>
                    <a:pt x="2023" y="12139"/>
                  </a:lnTo>
                  <a:lnTo>
                    <a:pt x="2077" y="12149"/>
                  </a:lnTo>
                  <a:lnTo>
                    <a:pt x="2133" y="12161"/>
                  </a:lnTo>
                  <a:lnTo>
                    <a:pt x="2187" y="12175"/>
                  </a:lnTo>
                  <a:lnTo>
                    <a:pt x="2242" y="12190"/>
                  </a:lnTo>
                  <a:lnTo>
                    <a:pt x="2297" y="12206"/>
                  </a:lnTo>
                  <a:lnTo>
                    <a:pt x="2351" y="12224"/>
                  </a:lnTo>
                  <a:lnTo>
                    <a:pt x="2405" y="12243"/>
                  </a:lnTo>
                  <a:lnTo>
                    <a:pt x="2460" y="12264"/>
                  </a:lnTo>
                  <a:lnTo>
                    <a:pt x="2513" y="12286"/>
                  </a:lnTo>
                  <a:lnTo>
                    <a:pt x="2566" y="12309"/>
                  </a:lnTo>
                  <a:lnTo>
                    <a:pt x="2619" y="12335"/>
                  </a:lnTo>
                  <a:lnTo>
                    <a:pt x="2673" y="12362"/>
                  </a:lnTo>
                  <a:lnTo>
                    <a:pt x="2725" y="12390"/>
                  </a:lnTo>
                  <a:lnTo>
                    <a:pt x="2776" y="12420"/>
                  </a:lnTo>
                  <a:lnTo>
                    <a:pt x="2829" y="12451"/>
                  </a:lnTo>
                  <a:lnTo>
                    <a:pt x="2879" y="12483"/>
                  </a:lnTo>
                  <a:lnTo>
                    <a:pt x="2930" y="12517"/>
                  </a:lnTo>
                  <a:lnTo>
                    <a:pt x="2980" y="12553"/>
                  </a:lnTo>
                  <a:lnTo>
                    <a:pt x="3029" y="12590"/>
                  </a:lnTo>
                  <a:lnTo>
                    <a:pt x="3078" y="12629"/>
                  </a:lnTo>
                  <a:lnTo>
                    <a:pt x="3126" y="12669"/>
                  </a:lnTo>
                  <a:lnTo>
                    <a:pt x="3174" y="12711"/>
                  </a:lnTo>
                  <a:lnTo>
                    <a:pt x="3220" y="12754"/>
                  </a:lnTo>
                  <a:lnTo>
                    <a:pt x="3266" y="12799"/>
                  </a:lnTo>
                  <a:lnTo>
                    <a:pt x="3312" y="12845"/>
                  </a:lnTo>
                  <a:lnTo>
                    <a:pt x="3356" y="12893"/>
                  </a:lnTo>
                  <a:lnTo>
                    <a:pt x="3398" y="12941"/>
                  </a:lnTo>
                  <a:lnTo>
                    <a:pt x="3439" y="12990"/>
                  </a:lnTo>
                  <a:lnTo>
                    <a:pt x="3479" y="13039"/>
                  </a:lnTo>
                  <a:lnTo>
                    <a:pt x="3517" y="13089"/>
                  </a:lnTo>
                  <a:lnTo>
                    <a:pt x="3553" y="13139"/>
                  </a:lnTo>
                  <a:lnTo>
                    <a:pt x="3588" y="13191"/>
                  </a:lnTo>
                  <a:lnTo>
                    <a:pt x="3621" y="13243"/>
                  </a:lnTo>
                  <a:lnTo>
                    <a:pt x="3653" y="13295"/>
                  </a:lnTo>
                  <a:lnTo>
                    <a:pt x="3683" y="13348"/>
                  </a:lnTo>
                  <a:lnTo>
                    <a:pt x="3712" y="13401"/>
                  </a:lnTo>
                  <a:lnTo>
                    <a:pt x="3739" y="13455"/>
                  </a:lnTo>
                  <a:lnTo>
                    <a:pt x="3765" y="13509"/>
                  </a:lnTo>
                  <a:lnTo>
                    <a:pt x="3788" y="13563"/>
                  </a:lnTo>
                  <a:lnTo>
                    <a:pt x="3811" y="13617"/>
                  </a:lnTo>
                  <a:lnTo>
                    <a:pt x="3833" y="13671"/>
                  </a:lnTo>
                  <a:lnTo>
                    <a:pt x="3852" y="13727"/>
                  </a:lnTo>
                  <a:lnTo>
                    <a:pt x="3870" y="13782"/>
                  </a:lnTo>
                  <a:lnTo>
                    <a:pt x="3887" y="13837"/>
                  </a:lnTo>
                  <a:lnTo>
                    <a:pt x="3902" y="13892"/>
                  </a:lnTo>
                  <a:lnTo>
                    <a:pt x="3915" y="13948"/>
                  </a:lnTo>
                  <a:lnTo>
                    <a:pt x="3927" y="14004"/>
                  </a:lnTo>
                  <a:lnTo>
                    <a:pt x="3938" y="14060"/>
                  </a:lnTo>
                  <a:lnTo>
                    <a:pt x="3946" y="14115"/>
                  </a:lnTo>
                  <a:lnTo>
                    <a:pt x="3954" y="14170"/>
                  </a:lnTo>
                  <a:lnTo>
                    <a:pt x="3960" y="14225"/>
                  </a:lnTo>
                  <a:lnTo>
                    <a:pt x="3964" y="14282"/>
                  </a:lnTo>
                  <a:lnTo>
                    <a:pt x="3967" y="14337"/>
                  </a:lnTo>
                  <a:lnTo>
                    <a:pt x="3968" y="14391"/>
                  </a:lnTo>
                  <a:lnTo>
                    <a:pt x="3968" y="14446"/>
                  </a:lnTo>
                  <a:lnTo>
                    <a:pt x="3967" y="14500"/>
                  </a:lnTo>
                  <a:lnTo>
                    <a:pt x="2096" y="14991"/>
                  </a:lnTo>
                  <a:close/>
                  <a:moveTo>
                    <a:pt x="5275" y="8311"/>
                  </a:moveTo>
                  <a:lnTo>
                    <a:pt x="5187" y="8277"/>
                  </a:lnTo>
                  <a:lnTo>
                    <a:pt x="5099" y="8245"/>
                  </a:lnTo>
                  <a:lnTo>
                    <a:pt x="5011" y="8215"/>
                  </a:lnTo>
                  <a:lnTo>
                    <a:pt x="4921" y="8186"/>
                  </a:lnTo>
                  <a:lnTo>
                    <a:pt x="4877" y="8173"/>
                  </a:lnTo>
                  <a:lnTo>
                    <a:pt x="4833" y="8159"/>
                  </a:lnTo>
                  <a:lnTo>
                    <a:pt x="4787" y="8147"/>
                  </a:lnTo>
                  <a:lnTo>
                    <a:pt x="4742" y="8135"/>
                  </a:lnTo>
                  <a:lnTo>
                    <a:pt x="4698" y="8124"/>
                  </a:lnTo>
                  <a:lnTo>
                    <a:pt x="4652" y="8113"/>
                  </a:lnTo>
                  <a:lnTo>
                    <a:pt x="4607" y="8103"/>
                  </a:lnTo>
                  <a:lnTo>
                    <a:pt x="4562" y="8093"/>
                  </a:lnTo>
                  <a:lnTo>
                    <a:pt x="4517" y="8084"/>
                  </a:lnTo>
                  <a:lnTo>
                    <a:pt x="4471" y="8075"/>
                  </a:lnTo>
                  <a:lnTo>
                    <a:pt x="4426" y="8067"/>
                  </a:lnTo>
                  <a:lnTo>
                    <a:pt x="4380" y="8059"/>
                  </a:lnTo>
                  <a:lnTo>
                    <a:pt x="4335" y="8052"/>
                  </a:lnTo>
                  <a:lnTo>
                    <a:pt x="4289" y="8045"/>
                  </a:lnTo>
                  <a:lnTo>
                    <a:pt x="4243" y="8039"/>
                  </a:lnTo>
                  <a:lnTo>
                    <a:pt x="4198" y="8034"/>
                  </a:lnTo>
                  <a:lnTo>
                    <a:pt x="4153" y="8029"/>
                  </a:lnTo>
                  <a:lnTo>
                    <a:pt x="4106" y="8025"/>
                  </a:lnTo>
                  <a:lnTo>
                    <a:pt x="4061" y="8021"/>
                  </a:lnTo>
                  <a:lnTo>
                    <a:pt x="4015" y="8018"/>
                  </a:lnTo>
                  <a:lnTo>
                    <a:pt x="3969" y="8015"/>
                  </a:lnTo>
                  <a:lnTo>
                    <a:pt x="3923" y="8013"/>
                  </a:lnTo>
                  <a:lnTo>
                    <a:pt x="3878" y="8011"/>
                  </a:lnTo>
                  <a:lnTo>
                    <a:pt x="3832" y="8011"/>
                  </a:lnTo>
                  <a:lnTo>
                    <a:pt x="7706" y="4116"/>
                  </a:lnTo>
                  <a:lnTo>
                    <a:pt x="7763" y="4063"/>
                  </a:lnTo>
                  <a:lnTo>
                    <a:pt x="7820" y="4012"/>
                  </a:lnTo>
                  <a:lnTo>
                    <a:pt x="7880" y="3964"/>
                  </a:lnTo>
                  <a:lnTo>
                    <a:pt x="7941" y="3918"/>
                  </a:lnTo>
                  <a:lnTo>
                    <a:pt x="8003" y="3875"/>
                  </a:lnTo>
                  <a:lnTo>
                    <a:pt x="8067" y="3834"/>
                  </a:lnTo>
                  <a:lnTo>
                    <a:pt x="8131" y="3796"/>
                  </a:lnTo>
                  <a:lnTo>
                    <a:pt x="8197" y="3760"/>
                  </a:lnTo>
                  <a:lnTo>
                    <a:pt x="8265" y="3725"/>
                  </a:lnTo>
                  <a:lnTo>
                    <a:pt x="8333" y="3694"/>
                  </a:lnTo>
                  <a:lnTo>
                    <a:pt x="8403" y="3665"/>
                  </a:lnTo>
                  <a:lnTo>
                    <a:pt x="8473" y="3638"/>
                  </a:lnTo>
                  <a:lnTo>
                    <a:pt x="8544" y="3613"/>
                  </a:lnTo>
                  <a:lnTo>
                    <a:pt x="8616" y="3591"/>
                  </a:lnTo>
                  <a:lnTo>
                    <a:pt x="8689" y="3571"/>
                  </a:lnTo>
                  <a:lnTo>
                    <a:pt x="8764" y="3554"/>
                  </a:lnTo>
                  <a:lnTo>
                    <a:pt x="8838" y="3539"/>
                  </a:lnTo>
                  <a:lnTo>
                    <a:pt x="8914" y="3526"/>
                  </a:lnTo>
                  <a:lnTo>
                    <a:pt x="8989" y="3515"/>
                  </a:lnTo>
                  <a:lnTo>
                    <a:pt x="9067" y="3507"/>
                  </a:lnTo>
                  <a:lnTo>
                    <a:pt x="9143" y="3501"/>
                  </a:lnTo>
                  <a:lnTo>
                    <a:pt x="9220" y="3497"/>
                  </a:lnTo>
                  <a:lnTo>
                    <a:pt x="9299" y="3496"/>
                  </a:lnTo>
                  <a:lnTo>
                    <a:pt x="9377" y="3497"/>
                  </a:lnTo>
                  <a:lnTo>
                    <a:pt x="9457" y="3500"/>
                  </a:lnTo>
                  <a:lnTo>
                    <a:pt x="9535" y="3505"/>
                  </a:lnTo>
                  <a:lnTo>
                    <a:pt x="9615" y="3512"/>
                  </a:lnTo>
                  <a:lnTo>
                    <a:pt x="9694" y="3522"/>
                  </a:lnTo>
                  <a:lnTo>
                    <a:pt x="9775" y="3534"/>
                  </a:lnTo>
                  <a:lnTo>
                    <a:pt x="9854" y="3548"/>
                  </a:lnTo>
                  <a:lnTo>
                    <a:pt x="9934" y="3565"/>
                  </a:lnTo>
                  <a:lnTo>
                    <a:pt x="10014" y="3583"/>
                  </a:lnTo>
                  <a:lnTo>
                    <a:pt x="5275" y="8311"/>
                  </a:lnTo>
                  <a:close/>
                  <a:moveTo>
                    <a:pt x="7441" y="10165"/>
                  </a:moveTo>
                  <a:lnTo>
                    <a:pt x="7406" y="10107"/>
                  </a:lnTo>
                  <a:lnTo>
                    <a:pt x="7369" y="10049"/>
                  </a:lnTo>
                  <a:lnTo>
                    <a:pt x="7332" y="9992"/>
                  </a:lnTo>
                  <a:lnTo>
                    <a:pt x="7295" y="9936"/>
                  </a:lnTo>
                  <a:lnTo>
                    <a:pt x="7257" y="9880"/>
                  </a:lnTo>
                  <a:lnTo>
                    <a:pt x="7218" y="9824"/>
                  </a:lnTo>
                  <a:lnTo>
                    <a:pt x="7177" y="9768"/>
                  </a:lnTo>
                  <a:lnTo>
                    <a:pt x="7137" y="9714"/>
                  </a:lnTo>
                  <a:lnTo>
                    <a:pt x="7096" y="9660"/>
                  </a:lnTo>
                  <a:lnTo>
                    <a:pt x="7053" y="9606"/>
                  </a:lnTo>
                  <a:lnTo>
                    <a:pt x="7009" y="9553"/>
                  </a:lnTo>
                  <a:lnTo>
                    <a:pt x="6965" y="9500"/>
                  </a:lnTo>
                  <a:lnTo>
                    <a:pt x="6919" y="9448"/>
                  </a:lnTo>
                  <a:lnTo>
                    <a:pt x="6873" y="9397"/>
                  </a:lnTo>
                  <a:lnTo>
                    <a:pt x="6824" y="9347"/>
                  </a:lnTo>
                  <a:lnTo>
                    <a:pt x="6776" y="9297"/>
                  </a:lnTo>
                  <a:lnTo>
                    <a:pt x="6718" y="9240"/>
                  </a:lnTo>
                  <a:lnTo>
                    <a:pt x="6658" y="9185"/>
                  </a:lnTo>
                  <a:lnTo>
                    <a:pt x="6598" y="9131"/>
                  </a:lnTo>
                  <a:lnTo>
                    <a:pt x="6538" y="9079"/>
                  </a:lnTo>
                  <a:lnTo>
                    <a:pt x="6475" y="9029"/>
                  </a:lnTo>
                  <a:lnTo>
                    <a:pt x="6412" y="8978"/>
                  </a:lnTo>
                  <a:lnTo>
                    <a:pt x="6348" y="8930"/>
                  </a:lnTo>
                  <a:lnTo>
                    <a:pt x="6284" y="8884"/>
                  </a:lnTo>
                  <a:lnTo>
                    <a:pt x="6220" y="8838"/>
                  </a:lnTo>
                  <a:lnTo>
                    <a:pt x="6153" y="8794"/>
                  </a:lnTo>
                  <a:lnTo>
                    <a:pt x="6087" y="8750"/>
                  </a:lnTo>
                  <a:lnTo>
                    <a:pt x="6021" y="8707"/>
                  </a:lnTo>
                  <a:lnTo>
                    <a:pt x="5953" y="8666"/>
                  </a:lnTo>
                  <a:lnTo>
                    <a:pt x="5885" y="8626"/>
                  </a:lnTo>
                  <a:lnTo>
                    <a:pt x="5816" y="8587"/>
                  </a:lnTo>
                  <a:lnTo>
                    <a:pt x="5748" y="8549"/>
                  </a:lnTo>
                  <a:lnTo>
                    <a:pt x="10542" y="3766"/>
                  </a:lnTo>
                  <a:lnTo>
                    <a:pt x="10613" y="3798"/>
                  </a:lnTo>
                  <a:lnTo>
                    <a:pt x="10683" y="3831"/>
                  </a:lnTo>
                  <a:lnTo>
                    <a:pt x="10752" y="3866"/>
                  </a:lnTo>
                  <a:lnTo>
                    <a:pt x="10821" y="3903"/>
                  </a:lnTo>
                  <a:lnTo>
                    <a:pt x="10889" y="3942"/>
                  </a:lnTo>
                  <a:lnTo>
                    <a:pt x="10958" y="3983"/>
                  </a:lnTo>
                  <a:lnTo>
                    <a:pt x="11025" y="4026"/>
                  </a:lnTo>
                  <a:lnTo>
                    <a:pt x="11091" y="4070"/>
                  </a:lnTo>
                  <a:lnTo>
                    <a:pt x="11157" y="4115"/>
                  </a:lnTo>
                  <a:lnTo>
                    <a:pt x="11222" y="4163"/>
                  </a:lnTo>
                  <a:lnTo>
                    <a:pt x="11287" y="4212"/>
                  </a:lnTo>
                  <a:lnTo>
                    <a:pt x="11351" y="4263"/>
                  </a:lnTo>
                  <a:lnTo>
                    <a:pt x="11413" y="4317"/>
                  </a:lnTo>
                  <a:lnTo>
                    <a:pt x="11476" y="4372"/>
                  </a:lnTo>
                  <a:lnTo>
                    <a:pt x="11537" y="4428"/>
                  </a:lnTo>
                  <a:lnTo>
                    <a:pt x="11597" y="4487"/>
                  </a:lnTo>
                  <a:lnTo>
                    <a:pt x="11648" y="4537"/>
                  </a:lnTo>
                  <a:lnTo>
                    <a:pt x="11696" y="4590"/>
                  </a:lnTo>
                  <a:lnTo>
                    <a:pt x="11743" y="4642"/>
                  </a:lnTo>
                  <a:lnTo>
                    <a:pt x="11790" y="4696"/>
                  </a:lnTo>
                  <a:lnTo>
                    <a:pt x="11835" y="4749"/>
                  </a:lnTo>
                  <a:lnTo>
                    <a:pt x="11878" y="4803"/>
                  </a:lnTo>
                  <a:lnTo>
                    <a:pt x="11919" y="4859"/>
                  </a:lnTo>
                  <a:lnTo>
                    <a:pt x="11961" y="4915"/>
                  </a:lnTo>
                  <a:lnTo>
                    <a:pt x="12000" y="4970"/>
                  </a:lnTo>
                  <a:lnTo>
                    <a:pt x="12038" y="5027"/>
                  </a:lnTo>
                  <a:lnTo>
                    <a:pt x="12075" y="5084"/>
                  </a:lnTo>
                  <a:lnTo>
                    <a:pt x="12110" y="5142"/>
                  </a:lnTo>
                  <a:lnTo>
                    <a:pt x="12145" y="5200"/>
                  </a:lnTo>
                  <a:lnTo>
                    <a:pt x="12178" y="5258"/>
                  </a:lnTo>
                  <a:lnTo>
                    <a:pt x="12210" y="5316"/>
                  </a:lnTo>
                  <a:lnTo>
                    <a:pt x="12241" y="5375"/>
                  </a:lnTo>
                  <a:lnTo>
                    <a:pt x="7441" y="10165"/>
                  </a:lnTo>
                  <a:close/>
                  <a:moveTo>
                    <a:pt x="8055" y="11941"/>
                  </a:moveTo>
                  <a:lnTo>
                    <a:pt x="8045" y="11856"/>
                  </a:lnTo>
                  <a:lnTo>
                    <a:pt x="8035" y="11772"/>
                  </a:lnTo>
                  <a:lnTo>
                    <a:pt x="8022" y="11687"/>
                  </a:lnTo>
                  <a:lnTo>
                    <a:pt x="8008" y="11603"/>
                  </a:lnTo>
                  <a:lnTo>
                    <a:pt x="7991" y="11519"/>
                  </a:lnTo>
                  <a:lnTo>
                    <a:pt x="7973" y="11435"/>
                  </a:lnTo>
                  <a:lnTo>
                    <a:pt x="7953" y="11352"/>
                  </a:lnTo>
                  <a:lnTo>
                    <a:pt x="7931" y="11270"/>
                  </a:lnTo>
                  <a:lnTo>
                    <a:pt x="7907" y="11187"/>
                  </a:lnTo>
                  <a:lnTo>
                    <a:pt x="7882" y="11105"/>
                  </a:lnTo>
                  <a:lnTo>
                    <a:pt x="7854" y="11024"/>
                  </a:lnTo>
                  <a:lnTo>
                    <a:pt x="7825" y="10943"/>
                  </a:lnTo>
                  <a:lnTo>
                    <a:pt x="7795" y="10861"/>
                  </a:lnTo>
                  <a:lnTo>
                    <a:pt x="7763" y="10781"/>
                  </a:lnTo>
                  <a:lnTo>
                    <a:pt x="7729" y="10702"/>
                  </a:lnTo>
                  <a:lnTo>
                    <a:pt x="7693" y="10622"/>
                  </a:lnTo>
                  <a:lnTo>
                    <a:pt x="12448" y="5878"/>
                  </a:lnTo>
                  <a:lnTo>
                    <a:pt x="12475" y="5965"/>
                  </a:lnTo>
                  <a:lnTo>
                    <a:pt x="12499" y="6051"/>
                  </a:lnTo>
                  <a:lnTo>
                    <a:pt x="12519" y="6137"/>
                  </a:lnTo>
                  <a:lnTo>
                    <a:pt x="12537" y="6223"/>
                  </a:lnTo>
                  <a:lnTo>
                    <a:pt x="12553" y="6310"/>
                  </a:lnTo>
                  <a:lnTo>
                    <a:pt x="12566" y="6396"/>
                  </a:lnTo>
                  <a:lnTo>
                    <a:pt x="12576" y="6482"/>
                  </a:lnTo>
                  <a:lnTo>
                    <a:pt x="12583" y="6568"/>
                  </a:lnTo>
                  <a:lnTo>
                    <a:pt x="12588" y="6654"/>
                  </a:lnTo>
                  <a:lnTo>
                    <a:pt x="12591" y="6739"/>
                  </a:lnTo>
                  <a:lnTo>
                    <a:pt x="12591" y="6824"/>
                  </a:lnTo>
                  <a:lnTo>
                    <a:pt x="12588" y="6908"/>
                  </a:lnTo>
                  <a:lnTo>
                    <a:pt x="12582" y="6992"/>
                  </a:lnTo>
                  <a:lnTo>
                    <a:pt x="12574" y="7075"/>
                  </a:lnTo>
                  <a:lnTo>
                    <a:pt x="12563" y="7158"/>
                  </a:lnTo>
                  <a:lnTo>
                    <a:pt x="12549" y="7239"/>
                  </a:lnTo>
                  <a:lnTo>
                    <a:pt x="12533" y="7320"/>
                  </a:lnTo>
                  <a:lnTo>
                    <a:pt x="12513" y="7400"/>
                  </a:lnTo>
                  <a:lnTo>
                    <a:pt x="12492" y="7479"/>
                  </a:lnTo>
                  <a:lnTo>
                    <a:pt x="12467" y="7557"/>
                  </a:lnTo>
                  <a:lnTo>
                    <a:pt x="12439" y="7635"/>
                  </a:lnTo>
                  <a:lnTo>
                    <a:pt x="12409" y="7710"/>
                  </a:lnTo>
                  <a:lnTo>
                    <a:pt x="12376" y="7784"/>
                  </a:lnTo>
                  <a:lnTo>
                    <a:pt x="12340" y="7857"/>
                  </a:lnTo>
                  <a:lnTo>
                    <a:pt x="12302" y="7930"/>
                  </a:lnTo>
                  <a:lnTo>
                    <a:pt x="12260" y="8000"/>
                  </a:lnTo>
                  <a:lnTo>
                    <a:pt x="12216" y="8069"/>
                  </a:lnTo>
                  <a:lnTo>
                    <a:pt x="12169" y="8136"/>
                  </a:lnTo>
                  <a:lnTo>
                    <a:pt x="12120" y="8203"/>
                  </a:lnTo>
                  <a:lnTo>
                    <a:pt x="12066" y="8267"/>
                  </a:lnTo>
                  <a:lnTo>
                    <a:pt x="12011" y="8329"/>
                  </a:lnTo>
                  <a:lnTo>
                    <a:pt x="11953" y="8389"/>
                  </a:lnTo>
                  <a:lnTo>
                    <a:pt x="11947" y="8394"/>
                  </a:lnTo>
                  <a:lnTo>
                    <a:pt x="11940" y="8400"/>
                  </a:lnTo>
                  <a:lnTo>
                    <a:pt x="11948" y="8406"/>
                  </a:lnTo>
                  <a:lnTo>
                    <a:pt x="8060" y="12314"/>
                  </a:lnTo>
                  <a:lnTo>
                    <a:pt x="8061" y="12268"/>
                  </a:lnTo>
                  <a:lnTo>
                    <a:pt x="8061" y="12222"/>
                  </a:lnTo>
                  <a:lnTo>
                    <a:pt x="8062" y="12175"/>
                  </a:lnTo>
                  <a:lnTo>
                    <a:pt x="8062" y="12129"/>
                  </a:lnTo>
                  <a:lnTo>
                    <a:pt x="8062" y="12082"/>
                  </a:lnTo>
                  <a:lnTo>
                    <a:pt x="8061" y="12035"/>
                  </a:lnTo>
                  <a:lnTo>
                    <a:pt x="8059" y="11988"/>
                  </a:lnTo>
                  <a:lnTo>
                    <a:pt x="8055" y="11941"/>
                  </a:lnTo>
                  <a:close/>
                  <a:moveTo>
                    <a:pt x="14785" y="1295"/>
                  </a:moveTo>
                  <a:lnTo>
                    <a:pt x="14707" y="1218"/>
                  </a:lnTo>
                  <a:lnTo>
                    <a:pt x="14626" y="1144"/>
                  </a:lnTo>
                  <a:lnTo>
                    <a:pt x="14546" y="1072"/>
                  </a:lnTo>
                  <a:lnTo>
                    <a:pt x="14463" y="1003"/>
                  </a:lnTo>
                  <a:lnTo>
                    <a:pt x="14379" y="934"/>
                  </a:lnTo>
                  <a:lnTo>
                    <a:pt x="14294" y="869"/>
                  </a:lnTo>
                  <a:lnTo>
                    <a:pt x="14208" y="806"/>
                  </a:lnTo>
                  <a:lnTo>
                    <a:pt x="14119" y="745"/>
                  </a:lnTo>
                  <a:lnTo>
                    <a:pt x="14031" y="685"/>
                  </a:lnTo>
                  <a:lnTo>
                    <a:pt x="13941" y="629"/>
                  </a:lnTo>
                  <a:lnTo>
                    <a:pt x="13851" y="575"/>
                  </a:lnTo>
                  <a:lnTo>
                    <a:pt x="13758" y="523"/>
                  </a:lnTo>
                  <a:lnTo>
                    <a:pt x="13666" y="473"/>
                  </a:lnTo>
                  <a:lnTo>
                    <a:pt x="13572" y="426"/>
                  </a:lnTo>
                  <a:lnTo>
                    <a:pt x="13478" y="380"/>
                  </a:lnTo>
                  <a:lnTo>
                    <a:pt x="13382" y="338"/>
                  </a:lnTo>
                  <a:lnTo>
                    <a:pt x="13286" y="298"/>
                  </a:lnTo>
                  <a:lnTo>
                    <a:pt x="13190" y="260"/>
                  </a:lnTo>
                  <a:lnTo>
                    <a:pt x="13092" y="225"/>
                  </a:lnTo>
                  <a:lnTo>
                    <a:pt x="12995" y="193"/>
                  </a:lnTo>
                  <a:lnTo>
                    <a:pt x="12896" y="162"/>
                  </a:lnTo>
                  <a:lnTo>
                    <a:pt x="12798" y="134"/>
                  </a:lnTo>
                  <a:lnTo>
                    <a:pt x="12698" y="109"/>
                  </a:lnTo>
                  <a:lnTo>
                    <a:pt x="12598" y="86"/>
                  </a:lnTo>
                  <a:lnTo>
                    <a:pt x="12499" y="66"/>
                  </a:lnTo>
                  <a:lnTo>
                    <a:pt x="12398" y="49"/>
                  </a:lnTo>
                  <a:lnTo>
                    <a:pt x="12299" y="34"/>
                  </a:lnTo>
                  <a:lnTo>
                    <a:pt x="12198" y="22"/>
                  </a:lnTo>
                  <a:lnTo>
                    <a:pt x="12097" y="12"/>
                  </a:lnTo>
                  <a:lnTo>
                    <a:pt x="11996" y="5"/>
                  </a:lnTo>
                  <a:lnTo>
                    <a:pt x="11895" y="1"/>
                  </a:lnTo>
                  <a:lnTo>
                    <a:pt x="11795" y="0"/>
                  </a:lnTo>
                  <a:lnTo>
                    <a:pt x="11710" y="1"/>
                  </a:lnTo>
                  <a:lnTo>
                    <a:pt x="11626" y="4"/>
                  </a:lnTo>
                  <a:lnTo>
                    <a:pt x="11542" y="9"/>
                  </a:lnTo>
                  <a:lnTo>
                    <a:pt x="11459" y="16"/>
                  </a:lnTo>
                  <a:lnTo>
                    <a:pt x="11376" y="24"/>
                  </a:lnTo>
                  <a:lnTo>
                    <a:pt x="11294" y="35"/>
                  </a:lnTo>
                  <a:lnTo>
                    <a:pt x="11212" y="47"/>
                  </a:lnTo>
                  <a:lnTo>
                    <a:pt x="11131" y="62"/>
                  </a:lnTo>
                  <a:lnTo>
                    <a:pt x="11051" y="78"/>
                  </a:lnTo>
                  <a:lnTo>
                    <a:pt x="10971" y="96"/>
                  </a:lnTo>
                  <a:lnTo>
                    <a:pt x="10892" y="116"/>
                  </a:lnTo>
                  <a:lnTo>
                    <a:pt x="10814" y="139"/>
                  </a:lnTo>
                  <a:lnTo>
                    <a:pt x="10736" y="162"/>
                  </a:lnTo>
                  <a:lnTo>
                    <a:pt x="10660" y="187"/>
                  </a:lnTo>
                  <a:lnTo>
                    <a:pt x="10584" y="215"/>
                  </a:lnTo>
                  <a:lnTo>
                    <a:pt x="10509" y="243"/>
                  </a:lnTo>
                  <a:lnTo>
                    <a:pt x="10435" y="274"/>
                  </a:lnTo>
                  <a:lnTo>
                    <a:pt x="10361" y="307"/>
                  </a:lnTo>
                  <a:lnTo>
                    <a:pt x="10289" y="341"/>
                  </a:lnTo>
                  <a:lnTo>
                    <a:pt x="10217" y="377"/>
                  </a:lnTo>
                  <a:lnTo>
                    <a:pt x="10147" y="416"/>
                  </a:lnTo>
                  <a:lnTo>
                    <a:pt x="10078" y="455"/>
                  </a:lnTo>
                  <a:lnTo>
                    <a:pt x="10010" y="496"/>
                  </a:lnTo>
                  <a:lnTo>
                    <a:pt x="9943" y="539"/>
                  </a:lnTo>
                  <a:lnTo>
                    <a:pt x="9876" y="583"/>
                  </a:lnTo>
                  <a:lnTo>
                    <a:pt x="9811" y="629"/>
                  </a:lnTo>
                  <a:lnTo>
                    <a:pt x="9748" y="677"/>
                  </a:lnTo>
                  <a:lnTo>
                    <a:pt x="9684" y="727"/>
                  </a:lnTo>
                  <a:lnTo>
                    <a:pt x="9623" y="778"/>
                  </a:lnTo>
                  <a:lnTo>
                    <a:pt x="9562" y="831"/>
                  </a:lnTo>
                  <a:lnTo>
                    <a:pt x="9503" y="885"/>
                  </a:lnTo>
                  <a:lnTo>
                    <a:pt x="9446" y="941"/>
                  </a:lnTo>
                  <a:lnTo>
                    <a:pt x="6997" y="3403"/>
                  </a:lnTo>
                  <a:lnTo>
                    <a:pt x="6986" y="3412"/>
                  </a:lnTo>
                  <a:lnTo>
                    <a:pt x="6974" y="3422"/>
                  </a:lnTo>
                  <a:lnTo>
                    <a:pt x="6969" y="3428"/>
                  </a:lnTo>
                  <a:lnTo>
                    <a:pt x="6964" y="3435"/>
                  </a:lnTo>
                  <a:lnTo>
                    <a:pt x="6965" y="3436"/>
                  </a:lnTo>
                  <a:lnTo>
                    <a:pt x="1769" y="8659"/>
                  </a:lnTo>
                  <a:lnTo>
                    <a:pt x="1747" y="8681"/>
                  </a:lnTo>
                  <a:lnTo>
                    <a:pt x="1725" y="8704"/>
                  </a:lnTo>
                  <a:lnTo>
                    <a:pt x="1704" y="8728"/>
                  </a:lnTo>
                  <a:lnTo>
                    <a:pt x="1683" y="8751"/>
                  </a:lnTo>
                  <a:lnTo>
                    <a:pt x="1642" y="8799"/>
                  </a:lnTo>
                  <a:lnTo>
                    <a:pt x="1602" y="8847"/>
                  </a:lnTo>
                  <a:lnTo>
                    <a:pt x="1564" y="8897"/>
                  </a:lnTo>
                  <a:lnTo>
                    <a:pt x="1528" y="8949"/>
                  </a:lnTo>
                  <a:lnTo>
                    <a:pt x="1494" y="9002"/>
                  </a:lnTo>
                  <a:lnTo>
                    <a:pt x="1461" y="9055"/>
                  </a:lnTo>
                  <a:lnTo>
                    <a:pt x="1429" y="9109"/>
                  </a:lnTo>
                  <a:lnTo>
                    <a:pt x="1400" y="9165"/>
                  </a:lnTo>
                  <a:lnTo>
                    <a:pt x="1372" y="9221"/>
                  </a:lnTo>
                  <a:lnTo>
                    <a:pt x="1347" y="9279"/>
                  </a:lnTo>
                  <a:lnTo>
                    <a:pt x="1322" y="9336"/>
                  </a:lnTo>
                  <a:lnTo>
                    <a:pt x="1300" y="9395"/>
                  </a:lnTo>
                  <a:lnTo>
                    <a:pt x="1279" y="9454"/>
                  </a:lnTo>
                  <a:lnTo>
                    <a:pt x="1260" y="9514"/>
                  </a:lnTo>
                  <a:lnTo>
                    <a:pt x="78" y="13784"/>
                  </a:lnTo>
                  <a:lnTo>
                    <a:pt x="74" y="13803"/>
                  </a:lnTo>
                  <a:lnTo>
                    <a:pt x="65" y="13846"/>
                  </a:lnTo>
                  <a:lnTo>
                    <a:pt x="53" y="13908"/>
                  </a:lnTo>
                  <a:lnTo>
                    <a:pt x="38" y="13984"/>
                  </a:lnTo>
                  <a:lnTo>
                    <a:pt x="31" y="14025"/>
                  </a:lnTo>
                  <a:lnTo>
                    <a:pt x="24" y="14066"/>
                  </a:lnTo>
                  <a:lnTo>
                    <a:pt x="18" y="14109"/>
                  </a:lnTo>
                  <a:lnTo>
                    <a:pt x="12" y="14151"/>
                  </a:lnTo>
                  <a:lnTo>
                    <a:pt x="7" y="14192"/>
                  </a:lnTo>
                  <a:lnTo>
                    <a:pt x="3" y="14231"/>
                  </a:lnTo>
                  <a:lnTo>
                    <a:pt x="1" y="14268"/>
                  </a:lnTo>
                  <a:lnTo>
                    <a:pt x="0" y="14302"/>
                  </a:lnTo>
                  <a:lnTo>
                    <a:pt x="2" y="14392"/>
                  </a:lnTo>
                  <a:lnTo>
                    <a:pt x="9" y="14481"/>
                  </a:lnTo>
                  <a:lnTo>
                    <a:pt x="20" y="14569"/>
                  </a:lnTo>
                  <a:lnTo>
                    <a:pt x="36" y="14656"/>
                  </a:lnTo>
                  <a:lnTo>
                    <a:pt x="55" y="14740"/>
                  </a:lnTo>
                  <a:lnTo>
                    <a:pt x="79" y="14824"/>
                  </a:lnTo>
                  <a:lnTo>
                    <a:pt x="107" y="14906"/>
                  </a:lnTo>
                  <a:lnTo>
                    <a:pt x="139" y="14985"/>
                  </a:lnTo>
                  <a:lnTo>
                    <a:pt x="174" y="15063"/>
                  </a:lnTo>
                  <a:lnTo>
                    <a:pt x="212" y="15139"/>
                  </a:lnTo>
                  <a:lnTo>
                    <a:pt x="256" y="15212"/>
                  </a:lnTo>
                  <a:lnTo>
                    <a:pt x="301" y="15283"/>
                  </a:lnTo>
                  <a:lnTo>
                    <a:pt x="350" y="15352"/>
                  </a:lnTo>
                  <a:lnTo>
                    <a:pt x="402" y="15419"/>
                  </a:lnTo>
                  <a:lnTo>
                    <a:pt x="458" y="15483"/>
                  </a:lnTo>
                  <a:lnTo>
                    <a:pt x="516" y="15543"/>
                  </a:lnTo>
                  <a:lnTo>
                    <a:pt x="577" y="15601"/>
                  </a:lnTo>
                  <a:lnTo>
                    <a:pt x="642" y="15657"/>
                  </a:lnTo>
                  <a:lnTo>
                    <a:pt x="708" y="15709"/>
                  </a:lnTo>
                  <a:lnTo>
                    <a:pt x="778" y="15758"/>
                  </a:lnTo>
                  <a:lnTo>
                    <a:pt x="849" y="15804"/>
                  </a:lnTo>
                  <a:lnTo>
                    <a:pt x="922" y="15846"/>
                  </a:lnTo>
                  <a:lnTo>
                    <a:pt x="999" y="15884"/>
                  </a:lnTo>
                  <a:lnTo>
                    <a:pt x="1076" y="15919"/>
                  </a:lnTo>
                  <a:lnTo>
                    <a:pt x="1157" y="15952"/>
                  </a:lnTo>
                  <a:lnTo>
                    <a:pt x="1238" y="15979"/>
                  </a:lnTo>
                  <a:lnTo>
                    <a:pt x="1323" y="16003"/>
                  </a:lnTo>
                  <a:lnTo>
                    <a:pt x="1407" y="16022"/>
                  </a:lnTo>
                  <a:lnTo>
                    <a:pt x="1495" y="16038"/>
                  </a:lnTo>
                  <a:lnTo>
                    <a:pt x="1582" y="16049"/>
                  </a:lnTo>
                  <a:lnTo>
                    <a:pt x="1672" y="16056"/>
                  </a:lnTo>
                  <a:lnTo>
                    <a:pt x="1763" y="16058"/>
                  </a:lnTo>
                  <a:lnTo>
                    <a:pt x="1801" y="16057"/>
                  </a:lnTo>
                  <a:lnTo>
                    <a:pt x="1843" y="16054"/>
                  </a:lnTo>
                  <a:lnTo>
                    <a:pt x="1887" y="16049"/>
                  </a:lnTo>
                  <a:lnTo>
                    <a:pt x="1933" y="16044"/>
                  </a:lnTo>
                  <a:lnTo>
                    <a:pt x="1981" y="16037"/>
                  </a:lnTo>
                  <a:lnTo>
                    <a:pt x="2028" y="16029"/>
                  </a:lnTo>
                  <a:lnTo>
                    <a:pt x="2075" y="16020"/>
                  </a:lnTo>
                  <a:lnTo>
                    <a:pt x="2122" y="16012"/>
                  </a:lnTo>
                  <a:lnTo>
                    <a:pt x="2205" y="15995"/>
                  </a:lnTo>
                  <a:lnTo>
                    <a:pt x="2275" y="15980"/>
                  </a:lnTo>
                  <a:lnTo>
                    <a:pt x="2324" y="15969"/>
                  </a:lnTo>
                  <a:lnTo>
                    <a:pt x="2345" y="15964"/>
                  </a:lnTo>
                  <a:lnTo>
                    <a:pt x="6609" y="14846"/>
                  </a:lnTo>
                  <a:lnTo>
                    <a:pt x="6669" y="14827"/>
                  </a:lnTo>
                  <a:lnTo>
                    <a:pt x="6729" y="14805"/>
                  </a:lnTo>
                  <a:lnTo>
                    <a:pt x="6788" y="14783"/>
                  </a:lnTo>
                  <a:lnTo>
                    <a:pt x="6845" y="14759"/>
                  </a:lnTo>
                  <a:lnTo>
                    <a:pt x="6903" y="14733"/>
                  </a:lnTo>
                  <a:lnTo>
                    <a:pt x="6960" y="14705"/>
                  </a:lnTo>
                  <a:lnTo>
                    <a:pt x="7015" y="14675"/>
                  </a:lnTo>
                  <a:lnTo>
                    <a:pt x="7070" y="14644"/>
                  </a:lnTo>
                  <a:lnTo>
                    <a:pt x="7123" y="14612"/>
                  </a:lnTo>
                  <a:lnTo>
                    <a:pt x="7175" y="14577"/>
                  </a:lnTo>
                  <a:lnTo>
                    <a:pt x="7227" y="14541"/>
                  </a:lnTo>
                  <a:lnTo>
                    <a:pt x="7277" y="14502"/>
                  </a:lnTo>
                  <a:lnTo>
                    <a:pt x="7326" y="14463"/>
                  </a:lnTo>
                  <a:lnTo>
                    <a:pt x="7375" y="14422"/>
                  </a:lnTo>
                  <a:lnTo>
                    <a:pt x="7421" y="14380"/>
                  </a:lnTo>
                  <a:lnTo>
                    <a:pt x="7466" y="14336"/>
                  </a:lnTo>
                  <a:lnTo>
                    <a:pt x="15143" y="6617"/>
                  </a:lnTo>
                  <a:lnTo>
                    <a:pt x="15270" y="6483"/>
                  </a:lnTo>
                  <a:lnTo>
                    <a:pt x="15387" y="6344"/>
                  </a:lnTo>
                  <a:lnTo>
                    <a:pt x="15495" y="6200"/>
                  </a:lnTo>
                  <a:lnTo>
                    <a:pt x="15594" y="6053"/>
                  </a:lnTo>
                  <a:lnTo>
                    <a:pt x="15685" y="5900"/>
                  </a:lnTo>
                  <a:lnTo>
                    <a:pt x="15766" y="5744"/>
                  </a:lnTo>
                  <a:lnTo>
                    <a:pt x="15837" y="5584"/>
                  </a:lnTo>
                  <a:lnTo>
                    <a:pt x="15901" y="5421"/>
                  </a:lnTo>
                  <a:lnTo>
                    <a:pt x="15955" y="5254"/>
                  </a:lnTo>
                  <a:lnTo>
                    <a:pt x="16000" y="5084"/>
                  </a:lnTo>
                  <a:lnTo>
                    <a:pt x="16037" y="4913"/>
                  </a:lnTo>
                  <a:lnTo>
                    <a:pt x="16065" y="4739"/>
                  </a:lnTo>
                  <a:lnTo>
                    <a:pt x="16083" y="4563"/>
                  </a:lnTo>
                  <a:lnTo>
                    <a:pt x="16093" y="4387"/>
                  </a:lnTo>
                  <a:lnTo>
                    <a:pt x="16094" y="4208"/>
                  </a:lnTo>
                  <a:lnTo>
                    <a:pt x="16087" y="4030"/>
                  </a:lnTo>
                  <a:lnTo>
                    <a:pt x="16070" y="3850"/>
                  </a:lnTo>
                  <a:lnTo>
                    <a:pt x="16045" y="3669"/>
                  </a:lnTo>
                  <a:lnTo>
                    <a:pt x="16011" y="3490"/>
                  </a:lnTo>
                  <a:lnTo>
                    <a:pt x="15968" y="3310"/>
                  </a:lnTo>
                  <a:lnTo>
                    <a:pt x="15917" y="3131"/>
                  </a:lnTo>
                  <a:lnTo>
                    <a:pt x="15857" y="2953"/>
                  </a:lnTo>
                  <a:lnTo>
                    <a:pt x="15788" y="2776"/>
                  </a:lnTo>
                  <a:lnTo>
                    <a:pt x="15711" y="2601"/>
                  </a:lnTo>
                  <a:lnTo>
                    <a:pt x="15625" y="2428"/>
                  </a:lnTo>
                  <a:lnTo>
                    <a:pt x="15531" y="2257"/>
                  </a:lnTo>
                  <a:lnTo>
                    <a:pt x="15428" y="2089"/>
                  </a:lnTo>
                  <a:lnTo>
                    <a:pt x="15316" y="1923"/>
                  </a:lnTo>
                  <a:lnTo>
                    <a:pt x="15196" y="1760"/>
                  </a:lnTo>
                  <a:lnTo>
                    <a:pt x="15067" y="1602"/>
                  </a:lnTo>
                  <a:lnTo>
                    <a:pt x="14930" y="1446"/>
                  </a:lnTo>
                  <a:lnTo>
                    <a:pt x="14785" y="129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03" name="îṡliḓè">
              <a:extLst>
                <a:ext uri="{FF2B5EF4-FFF2-40B4-BE49-F238E27FC236}">
                  <a16:creationId xmlns:a16="http://schemas.microsoft.com/office/drawing/2014/main" id="{1908A908-73C2-4F4C-9F2B-B1AAB24D4827}"/>
                </a:ext>
              </a:extLst>
            </p:cNvPr>
            <p:cNvSpPr/>
            <p:nvPr/>
          </p:nvSpPr>
          <p:spPr bwMode="auto">
            <a:xfrm>
              <a:off x="9117135" y="54219"/>
              <a:ext cx="265624" cy="385553"/>
            </a:xfrm>
            <a:custGeom>
              <a:avLst/>
              <a:gdLst>
                <a:gd name="T0" fmla="*/ 2887 w 11063"/>
                <a:gd name="T1" fmla="*/ 9929 h 16058"/>
                <a:gd name="T2" fmla="*/ 2451 w 11063"/>
                <a:gd name="T3" fmla="*/ 9123 h 16058"/>
                <a:gd name="T4" fmla="*/ 1855 w 11063"/>
                <a:gd name="T5" fmla="*/ 8041 h 16058"/>
                <a:gd name="T6" fmla="*/ 1427 w 11063"/>
                <a:gd name="T7" fmla="*/ 7165 h 16058"/>
                <a:gd name="T8" fmla="*/ 1122 w 11063"/>
                <a:gd name="T9" fmla="*/ 6318 h 16058"/>
                <a:gd name="T10" fmla="*/ 1006 w 11063"/>
                <a:gd name="T11" fmla="*/ 5520 h 16058"/>
                <a:gd name="T12" fmla="*/ 1362 w 11063"/>
                <a:gd name="T13" fmla="*/ 3764 h 16058"/>
                <a:gd name="T14" fmla="*/ 2332 w 11063"/>
                <a:gd name="T15" fmla="*/ 2327 h 16058"/>
                <a:gd name="T16" fmla="*/ 3771 w 11063"/>
                <a:gd name="T17" fmla="*/ 1359 h 16058"/>
                <a:gd name="T18" fmla="*/ 5532 w 11063"/>
                <a:gd name="T19" fmla="*/ 1004 h 16058"/>
                <a:gd name="T20" fmla="*/ 7292 w 11063"/>
                <a:gd name="T21" fmla="*/ 1359 h 16058"/>
                <a:gd name="T22" fmla="*/ 8731 w 11063"/>
                <a:gd name="T23" fmla="*/ 2327 h 16058"/>
                <a:gd name="T24" fmla="*/ 9701 w 11063"/>
                <a:gd name="T25" fmla="*/ 3764 h 16058"/>
                <a:gd name="T26" fmla="*/ 10057 w 11063"/>
                <a:gd name="T27" fmla="*/ 5520 h 16058"/>
                <a:gd name="T28" fmla="*/ 9941 w 11063"/>
                <a:gd name="T29" fmla="*/ 6314 h 16058"/>
                <a:gd name="T30" fmla="*/ 9636 w 11063"/>
                <a:gd name="T31" fmla="*/ 7163 h 16058"/>
                <a:gd name="T32" fmla="*/ 9207 w 11063"/>
                <a:gd name="T33" fmla="*/ 8042 h 16058"/>
                <a:gd name="T34" fmla="*/ 8612 w 11063"/>
                <a:gd name="T35" fmla="*/ 9129 h 16058"/>
                <a:gd name="T36" fmla="*/ 8179 w 11063"/>
                <a:gd name="T37" fmla="*/ 9932 h 16058"/>
                <a:gd name="T38" fmla="*/ 5484 w 11063"/>
                <a:gd name="T39" fmla="*/ 15054 h 16058"/>
                <a:gd name="T40" fmla="*/ 5160 w 11063"/>
                <a:gd name="T41" fmla="*/ 15030 h 16058"/>
                <a:gd name="T42" fmla="*/ 4907 w 11063"/>
                <a:gd name="T43" fmla="*/ 14937 h 16058"/>
                <a:gd name="T44" fmla="*/ 4698 w 11063"/>
                <a:gd name="T45" fmla="*/ 14732 h 16058"/>
                <a:gd name="T46" fmla="*/ 6658 w 11063"/>
                <a:gd name="T47" fmla="*/ 14161 h 16058"/>
                <a:gd name="T48" fmla="*/ 6436 w 11063"/>
                <a:gd name="T49" fmla="*/ 14651 h 16058"/>
                <a:gd name="T50" fmla="*/ 6202 w 11063"/>
                <a:gd name="T51" fmla="*/ 14919 h 16058"/>
                <a:gd name="T52" fmla="*/ 5915 w 11063"/>
                <a:gd name="T53" fmla="*/ 15031 h 16058"/>
                <a:gd name="T54" fmla="*/ 5532 w 11063"/>
                <a:gd name="T55" fmla="*/ 15054 h 16058"/>
                <a:gd name="T56" fmla="*/ 3763 w 11063"/>
                <a:gd name="T57" fmla="*/ 12094 h 16058"/>
                <a:gd name="T58" fmla="*/ 3603 w 11063"/>
                <a:gd name="T59" fmla="*/ 11605 h 16058"/>
                <a:gd name="T60" fmla="*/ 7351 w 11063"/>
                <a:gd name="T61" fmla="*/ 11943 h 16058"/>
                <a:gd name="T62" fmla="*/ 4290 w 11063"/>
                <a:gd name="T63" fmla="*/ 13799 h 16058"/>
                <a:gd name="T64" fmla="*/ 4145 w 11063"/>
                <a:gd name="T65" fmla="*/ 13340 h 16058"/>
                <a:gd name="T66" fmla="*/ 7149 w 11063"/>
                <a:gd name="T67" fmla="*/ 12594 h 16058"/>
                <a:gd name="T68" fmla="*/ 7016 w 11063"/>
                <a:gd name="T69" fmla="*/ 13038 h 16058"/>
                <a:gd name="T70" fmla="*/ 6835 w 11063"/>
                <a:gd name="T71" fmla="*/ 13637 h 16058"/>
                <a:gd name="T72" fmla="*/ 3630 w 11063"/>
                <a:gd name="T73" fmla="*/ 335 h 16058"/>
                <a:gd name="T74" fmla="*/ 1812 w 11063"/>
                <a:gd name="T75" fmla="*/ 1434 h 16058"/>
                <a:gd name="T76" fmla="*/ 545 w 11063"/>
                <a:gd name="T77" fmla="*/ 3127 h 16058"/>
                <a:gd name="T78" fmla="*/ 7 w 11063"/>
                <a:gd name="T79" fmla="*/ 5236 h 16058"/>
                <a:gd name="T80" fmla="*/ 234 w 11063"/>
                <a:gd name="T81" fmla="*/ 6861 h 16058"/>
                <a:gd name="T82" fmla="*/ 910 w 11063"/>
                <a:gd name="T83" fmla="*/ 8405 h 16058"/>
                <a:gd name="T84" fmla="*/ 1748 w 11063"/>
                <a:gd name="T85" fmla="*/ 9927 h 16058"/>
                <a:gd name="T86" fmla="*/ 2463 w 11063"/>
                <a:gd name="T87" fmla="*/ 11392 h 16058"/>
                <a:gd name="T88" fmla="*/ 3065 w 11063"/>
                <a:gd name="T89" fmla="*/ 13245 h 16058"/>
                <a:gd name="T90" fmla="*/ 3552 w 11063"/>
                <a:gd name="T91" fmla="*/ 14718 h 16058"/>
                <a:gd name="T92" fmla="*/ 4207 w 11063"/>
                <a:gd name="T93" fmla="*/ 15672 h 16058"/>
                <a:gd name="T94" fmla="*/ 5340 w 11063"/>
                <a:gd name="T95" fmla="*/ 16053 h 16058"/>
                <a:gd name="T96" fmla="*/ 6643 w 11063"/>
                <a:gd name="T97" fmla="*/ 15823 h 16058"/>
                <a:gd name="T98" fmla="*/ 7387 w 11063"/>
                <a:gd name="T99" fmla="*/ 15011 h 16058"/>
                <a:gd name="T100" fmla="*/ 7880 w 11063"/>
                <a:gd name="T101" fmla="*/ 13666 h 16058"/>
                <a:gd name="T102" fmla="*/ 8442 w 11063"/>
                <a:gd name="T103" fmla="*/ 11841 h 16058"/>
                <a:gd name="T104" fmla="*/ 9115 w 11063"/>
                <a:gd name="T105" fmla="*/ 10307 h 16058"/>
                <a:gd name="T106" fmla="*/ 9949 w 11063"/>
                <a:gd name="T107" fmla="*/ 8788 h 16058"/>
                <a:gd name="T108" fmla="*/ 10691 w 11063"/>
                <a:gd name="T109" fmla="*/ 7241 h 16058"/>
                <a:gd name="T110" fmla="*/ 11058 w 11063"/>
                <a:gd name="T111" fmla="*/ 5709 h 16058"/>
                <a:gd name="T112" fmla="*/ 10727 w 11063"/>
                <a:gd name="T113" fmla="*/ 3622 h 16058"/>
                <a:gd name="T114" fmla="*/ 9626 w 11063"/>
                <a:gd name="T115" fmla="*/ 1809 h 16058"/>
                <a:gd name="T116" fmla="*/ 7929 w 11063"/>
                <a:gd name="T117" fmla="*/ 544 h 16058"/>
                <a:gd name="T118" fmla="*/ 5816 w 11063"/>
                <a:gd name="T119" fmla="*/ 7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063" h="16058">
                  <a:moveTo>
                    <a:pt x="7881" y="10538"/>
                  </a:moveTo>
                  <a:lnTo>
                    <a:pt x="3187" y="10538"/>
                  </a:lnTo>
                  <a:lnTo>
                    <a:pt x="3140" y="10437"/>
                  </a:lnTo>
                  <a:lnTo>
                    <a:pt x="3092" y="10335"/>
                  </a:lnTo>
                  <a:lnTo>
                    <a:pt x="3041" y="10234"/>
                  </a:lnTo>
                  <a:lnTo>
                    <a:pt x="2991" y="10132"/>
                  </a:lnTo>
                  <a:lnTo>
                    <a:pt x="2940" y="10030"/>
                  </a:lnTo>
                  <a:lnTo>
                    <a:pt x="2887" y="9929"/>
                  </a:lnTo>
                  <a:lnTo>
                    <a:pt x="2835" y="9827"/>
                  </a:lnTo>
                  <a:lnTo>
                    <a:pt x="2781" y="9727"/>
                  </a:lnTo>
                  <a:lnTo>
                    <a:pt x="2728" y="9626"/>
                  </a:lnTo>
                  <a:lnTo>
                    <a:pt x="2672" y="9524"/>
                  </a:lnTo>
                  <a:lnTo>
                    <a:pt x="2618" y="9424"/>
                  </a:lnTo>
                  <a:lnTo>
                    <a:pt x="2563" y="9324"/>
                  </a:lnTo>
                  <a:lnTo>
                    <a:pt x="2507" y="9223"/>
                  </a:lnTo>
                  <a:lnTo>
                    <a:pt x="2451" y="9123"/>
                  </a:lnTo>
                  <a:lnTo>
                    <a:pt x="2396" y="9024"/>
                  </a:lnTo>
                  <a:lnTo>
                    <a:pt x="2340" y="8924"/>
                  </a:lnTo>
                  <a:lnTo>
                    <a:pt x="2217" y="8703"/>
                  </a:lnTo>
                  <a:lnTo>
                    <a:pt x="2094" y="8483"/>
                  </a:lnTo>
                  <a:lnTo>
                    <a:pt x="2034" y="8372"/>
                  </a:lnTo>
                  <a:lnTo>
                    <a:pt x="1973" y="8262"/>
                  </a:lnTo>
                  <a:lnTo>
                    <a:pt x="1914" y="8151"/>
                  </a:lnTo>
                  <a:lnTo>
                    <a:pt x="1855" y="8041"/>
                  </a:lnTo>
                  <a:lnTo>
                    <a:pt x="1796" y="7931"/>
                  </a:lnTo>
                  <a:lnTo>
                    <a:pt x="1740" y="7820"/>
                  </a:lnTo>
                  <a:lnTo>
                    <a:pt x="1684" y="7711"/>
                  </a:lnTo>
                  <a:lnTo>
                    <a:pt x="1629" y="7600"/>
                  </a:lnTo>
                  <a:lnTo>
                    <a:pt x="1576" y="7491"/>
                  </a:lnTo>
                  <a:lnTo>
                    <a:pt x="1525" y="7383"/>
                  </a:lnTo>
                  <a:lnTo>
                    <a:pt x="1475" y="7273"/>
                  </a:lnTo>
                  <a:lnTo>
                    <a:pt x="1427" y="7165"/>
                  </a:lnTo>
                  <a:lnTo>
                    <a:pt x="1381" y="7057"/>
                  </a:lnTo>
                  <a:lnTo>
                    <a:pt x="1337" y="6950"/>
                  </a:lnTo>
                  <a:lnTo>
                    <a:pt x="1294" y="6843"/>
                  </a:lnTo>
                  <a:lnTo>
                    <a:pt x="1255" y="6736"/>
                  </a:lnTo>
                  <a:lnTo>
                    <a:pt x="1218" y="6631"/>
                  </a:lnTo>
                  <a:lnTo>
                    <a:pt x="1183" y="6526"/>
                  </a:lnTo>
                  <a:lnTo>
                    <a:pt x="1151" y="6421"/>
                  </a:lnTo>
                  <a:lnTo>
                    <a:pt x="1122" y="6318"/>
                  </a:lnTo>
                  <a:lnTo>
                    <a:pt x="1095" y="6214"/>
                  </a:lnTo>
                  <a:lnTo>
                    <a:pt x="1072" y="6112"/>
                  </a:lnTo>
                  <a:lnTo>
                    <a:pt x="1053" y="6012"/>
                  </a:lnTo>
                  <a:lnTo>
                    <a:pt x="1036" y="5911"/>
                  </a:lnTo>
                  <a:lnTo>
                    <a:pt x="1023" y="5812"/>
                  </a:lnTo>
                  <a:lnTo>
                    <a:pt x="1014" y="5714"/>
                  </a:lnTo>
                  <a:lnTo>
                    <a:pt x="1008" y="5616"/>
                  </a:lnTo>
                  <a:lnTo>
                    <a:pt x="1006" y="5520"/>
                  </a:lnTo>
                  <a:lnTo>
                    <a:pt x="1012" y="5288"/>
                  </a:lnTo>
                  <a:lnTo>
                    <a:pt x="1029" y="5059"/>
                  </a:lnTo>
                  <a:lnTo>
                    <a:pt x="1058" y="4833"/>
                  </a:lnTo>
                  <a:lnTo>
                    <a:pt x="1098" y="4611"/>
                  </a:lnTo>
                  <a:lnTo>
                    <a:pt x="1149" y="4393"/>
                  </a:lnTo>
                  <a:lnTo>
                    <a:pt x="1210" y="4178"/>
                  </a:lnTo>
                  <a:lnTo>
                    <a:pt x="1280" y="3968"/>
                  </a:lnTo>
                  <a:lnTo>
                    <a:pt x="1362" y="3764"/>
                  </a:lnTo>
                  <a:lnTo>
                    <a:pt x="1452" y="3564"/>
                  </a:lnTo>
                  <a:lnTo>
                    <a:pt x="1553" y="3369"/>
                  </a:lnTo>
                  <a:lnTo>
                    <a:pt x="1661" y="3179"/>
                  </a:lnTo>
                  <a:lnTo>
                    <a:pt x="1779" y="2997"/>
                  </a:lnTo>
                  <a:lnTo>
                    <a:pt x="1906" y="2819"/>
                  </a:lnTo>
                  <a:lnTo>
                    <a:pt x="2041" y="2649"/>
                  </a:lnTo>
                  <a:lnTo>
                    <a:pt x="2182" y="2485"/>
                  </a:lnTo>
                  <a:lnTo>
                    <a:pt x="2332" y="2327"/>
                  </a:lnTo>
                  <a:lnTo>
                    <a:pt x="2490" y="2178"/>
                  </a:lnTo>
                  <a:lnTo>
                    <a:pt x="2654" y="2036"/>
                  </a:lnTo>
                  <a:lnTo>
                    <a:pt x="2825" y="1902"/>
                  </a:lnTo>
                  <a:lnTo>
                    <a:pt x="3003" y="1776"/>
                  </a:lnTo>
                  <a:lnTo>
                    <a:pt x="3186" y="1658"/>
                  </a:lnTo>
                  <a:lnTo>
                    <a:pt x="3376" y="1550"/>
                  </a:lnTo>
                  <a:lnTo>
                    <a:pt x="3571" y="1449"/>
                  </a:lnTo>
                  <a:lnTo>
                    <a:pt x="3771" y="1359"/>
                  </a:lnTo>
                  <a:lnTo>
                    <a:pt x="3977" y="1279"/>
                  </a:lnTo>
                  <a:lnTo>
                    <a:pt x="4187" y="1207"/>
                  </a:lnTo>
                  <a:lnTo>
                    <a:pt x="4402" y="1146"/>
                  </a:lnTo>
                  <a:lnTo>
                    <a:pt x="4620" y="1096"/>
                  </a:lnTo>
                  <a:lnTo>
                    <a:pt x="4843" y="1056"/>
                  </a:lnTo>
                  <a:lnTo>
                    <a:pt x="5069" y="1027"/>
                  </a:lnTo>
                  <a:lnTo>
                    <a:pt x="5299" y="1010"/>
                  </a:lnTo>
                  <a:lnTo>
                    <a:pt x="5532" y="1004"/>
                  </a:lnTo>
                  <a:lnTo>
                    <a:pt x="5764" y="1010"/>
                  </a:lnTo>
                  <a:lnTo>
                    <a:pt x="5993" y="1027"/>
                  </a:lnTo>
                  <a:lnTo>
                    <a:pt x="6219" y="1056"/>
                  </a:lnTo>
                  <a:lnTo>
                    <a:pt x="6443" y="1096"/>
                  </a:lnTo>
                  <a:lnTo>
                    <a:pt x="6661" y="1146"/>
                  </a:lnTo>
                  <a:lnTo>
                    <a:pt x="6876" y="1207"/>
                  </a:lnTo>
                  <a:lnTo>
                    <a:pt x="7086" y="1279"/>
                  </a:lnTo>
                  <a:lnTo>
                    <a:pt x="7292" y="1359"/>
                  </a:lnTo>
                  <a:lnTo>
                    <a:pt x="7492" y="1449"/>
                  </a:lnTo>
                  <a:lnTo>
                    <a:pt x="7687" y="1550"/>
                  </a:lnTo>
                  <a:lnTo>
                    <a:pt x="7877" y="1658"/>
                  </a:lnTo>
                  <a:lnTo>
                    <a:pt x="8060" y="1776"/>
                  </a:lnTo>
                  <a:lnTo>
                    <a:pt x="8238" y="1902"/>
                  </a:lnTo>
                  <a:lnTo>
                    <a:pt x="8409" y="2036"/>
                  </a:lnTo>
                  <a:lnTo>
                    <a:pt x="8573" y="2178"/>
                  </a:lnTo>
                  <a:lnTo>
                    <a:pt x="8731" y="2327"/>
                  </a:lnTo>
                  <a:lnTo>
                    <a:pt x="8881" y="2485"/>
                  </a:lnTo>
                  <a:lnTo>
                    <a:pt x="9022" y="2649"/>
                  </a:lnTo>
                  <a:lnTo>
                    <a:pt x="9157" y="2819"/>
                  </a:lnTo>
                  <a:lnTo>
                    <a:pt x="9283" y="2997"/>
                  </a:lnTo>
                  <a:lnTo>
                    <a:pt x="9402" y="3179"/>
                  </a:lnTo>
                  <a:lnTo>
                    <a:pt x="9510" y="3369"/>
                  </a:lnTo>
                  <a:lnTo>
                    <a:pt x="9611" y="3564"/>
                  </a:lnTo>
                  <a:lnTo>
                    <a:pt x="9701" y="3764"/>
                  </a:lnTo>
                  <a:lnTo>
                    <a:pt x="9783" y="3968"/>
                  </a:lnTo>
                  <a:lnTo>
                    <a:pt x="9853" y="4178"/>
                  </a:lnTo>
                  <a:lnTo>
                    <a:pt x="9914" y="4393"/>
                  </a:lnTo>
                  <a:lnTo>
                    <a:pt x="9965" y="4611"/>
                  </a:lnTo>
                  <a:lnTo>
                    <a:pt x="10005" y="4833"/>
                  </a:lnTo>
                  <a:lnTo>
                    <a:pt x="10034" y="5059"/>
                  </a:lnTo>
                  <a:lnTo>
                    <a:pt x="10051" y="5288"/>
                  </a:lnTo>
                  <a:lnTo>
                    <a:pt x="10057" y="5520"/>
                  </a:lnTo>
                  <a:lnTo>
                    <a:pt x="10055" y="5615"/>
                  </a:lnTo>
                  <a:lnTo>
                    <a:pt x="10049" y="5713"/>
                  </a:lnTo>
                  <a:lnTo>
                    <a:pt x="10040" y="5810"/>
                  </a:lnTo>
                  <a:lnTo>
                    <a:pt x="10027" y="5908"/>
                  </a:lnTo>
                  <a:lnTo>
                    <a:pt x="10010" y="6009"/>
                  </a:lnTo>
                  <a:lnTo>
                    <a:pt x="9990" y="6110"/>
                  </a:lnTo>
                  <a:lnTo>
                    <a:pt x="9967" y="6211"/>
                  </a:lnTo>
                  <a:lnTo>
                    <a:pt x="9941" y="6314"/>
                  </a:lnTo>
                  <a:lnTo>
                    <a:pt x="9911" y="6418"/>
                  </a:lnTo>
                  <a:lnTo>
                    <a:pt x="9880" y="6523"/>
                  </a:lnTo>
                  <a:lnTo>
                    <a:pt x="9845" y="6627"/>
                  </a:lnTo>
                  <a:lnTo>
                    <a:pt x="9808" y="6733"/>
                  </a:lnTo>
                  <a:lnTo>
                    <a:pt x="9769" y="6840"/>
                  </a:lnTo>
                  <a:lnTo>
                    <a:pt x="9726" y="6947"/>
                  </a:lnTo>
                  <a:lnTo>
                    <a:pt x="9682" y="7054"/>
                  </a:lnTo>
                  <a:lnTo>
                    <a:pt x="9636" y="7163"/>
                  </a:lnTo>
                  <a:lnTo>
                    <a:pt x="9588" y="7271"/>
                  </a:lnTo>
                  <a:lnTo>
                    <a:pt x="9538" y="7381"/>
                  </a:lnTo>
                  <a:lnTo>
                    <a:pt x="9486" y="7490"/>
                  </a:lnTo>
                  <a:lnTo>
                    <a:pt x="9433" y="7599"/>
                  </a:lnTo>
                  <a:lnTo>
                    <a:pt x="9378" y="7710"/>
                  </a:lnTo>
                  <a:lnTo>
                    <a:pt x="9323" y="7820"/>
                  </a:lnTo>
                  <a:lnTo>
                    <a:pt x="9266" y="7932"/>
                  </a:lnTo>
                  <a:lnTo>
                    <a:pt x="9207" y="8042"/>
                  </a:lnTo>
                  <a:lnTo>
                    <a:pt x="9149" y="8153"/>
                  </a:lnTo>
                  <a:lnTo>
                    <a:pt x="9089" y="8264"/>
                  </a:lnTo>
                  <a:lnTo>
                    <a:pt x="9028" y="8375"/>
                  </a:lnTo>
                  <a:lnTo>
                    <a:pt x="8968" y="8487"/>
                  </a:lnTo>
                  <a:lnTo>
                    <a:pt x="8845" y="8708"/>
                  </a:lnTo>
                  <a:lnTo>
                    <a:pt x="8722" y="8930"/>
                  </a:lnTo>
                  <a:lnTo>
                    <a:pt x="8667" y="9029"/>
                  </a:lnTo>
                  <a:lnTo>
                    <a:pt x="8612" y="9129"/>
                  </a:lnTo>
                  <a:lnTo>
                    <a:pt x="8557" y="9228"/>
                  </a:lnTo>
                  <a:lnTo>
                    <a:pt x="8501" y="9329"/>
                  </a:lnTo>
                  <a:lnTo>
                    <a:pt x="8447" y="9429"/>
                  </a:lnTo>
                  <a:lnTo>
                    <a:pt x="8392" y="9529"/>
                  </a:lnTo>
                  <a:lnTo>
                    <a:pt x="8338" y="9630"/>
                  </a:lnTo>
                  <a:lnTo>
                    <a:pt x="8284" y="9730"/>
                  </a:lnTo>
                  <a:lnTo>
                    <a:pt x="8231" y="9831"/>
                  </a:lnTo>
                  <a:lnTo>
                    <a:pt x="8179" y="9932"/>
                  </a:lnTo>
                  <a:lnTo>
                    <a:pt x="8127" y="10033"/>
                  </a:lnTo>
                  <a:lnTo>
                    <a:pt x="8076" y="10134"/>
                  </a:lnTo>
                  <a:lnTo>
                    <a:pt x="8026" y="10235"/>
                  </a:lnTo>
                  <a:lnTo>
                    <a:pt x="7976" y="10336"/>
                  </a:lnTo>
                  <a:lnTo>
                    <a:pt x="7928" y="10437"/>
                  </a:lnTo>
                  <a:lnTo>
                    <a:pt x="7881" y="10538"/>
                  </a:lnTo>
                  <a:close/>
                  <a:moveTo>
                    <a:pt x="5532" y="15054"/>
                  </a:moveTo>
                  <a:lnTo>
                    <a:pt x="5484" y="15054"/>
                  </a:lnTo>
                  <a:lnTo>
                    <a:pt x="5439" y="15053"/>
                  </a:lnTo>
                  <a:lnTo>
                    <a:pt x="5395" y="15052"/>
                  </a:lnTo>
                  <a:lnTo>
                    <a:pt x="5352" y="15050"/>
                  </a:lnTo>
                  <a:lnTo>
                    <a:pt x="5311" y="15048"/>
                  </a:lnTo>
                  <a:lnTo>
                    <a:pt x="5272" y="15045"/>
                  </a:lnTo>
                  <a:lnTo>
                    <a:pt x="5234" y="15041"/>
                  </a:lnTo>
                  <a:lnTo>
                    <a:pt x="5197" y="15036"/>
                  </a:lnTo>
                  <a:lnTo>
                    <a:pt x="5160" y="15030"/>
                  </a:lnTo>
                  <a:lnTo>
                    <a:pt x="5125" y="15023"/>
                  </a:lnTo>
                  <a:lnTo>
                    <a:pt x="5091" y="15015"/>
                  </a:lnTo>
                  <a:lnTo>
                    <a:pt x="5059" y="15006"/>
                  </a:lnTo>
                  <a:lnTo>
                    <a:pt x="5027" y="14995"/>
                  </a:lnTo>
                  <a:lnTo>
                    <a:pt x="4995" y="14983"/>
                  </a:lnTo>
                  <a:lnTo>
                    <a:pt x="4965" y="14969"/>
                  </a:lnTo>
                  <a:lnTo>
                    <a:pt x="4936" y="14954"/>
                  </a:lnTo>
                  <a:lnTo>
                    <a:pt x="4907" y="14937"/>
                  </a:lnTo>
                  <a:lnTo>
                    <a:pt x="4880" y="14919"/>
                  </a:lnTo>
                  <a:lnTo>
                    <a:pt x="4852" y="14898"/>
                  </a:lnTo>
                  <a:lnTo>
                    <a:pt x="4825" y="14876"/>
                  </a:lnTo>
                  <a:lnTo>
                    <a:pt x="4799" y="14852"/>
                  </a:lnTo>
                  <a:lnTo>
                    <a:pt x="4773" y="14825"/>
                  </a:lnTo>
                  <a:lnTo>
                    <a:pt x="4748" y="14796"/>
                  </a:lnTo>
                  <a:lnTo>
                    <a:pt x="4723" y="14765"/>
                  </a:lnTo>
                  <a:lnTo>
                    <a:pt x="4698" y="14732"/>
                  </a:lnTo>
                  <a:lnTo>
                    <a:pt x="4673" y="14696"/>
                  </a:lnTo>
                  <a:lnTo>
                    <a:pt x="4648" y="14658"/>
                  </a:lnTo>
                  <a:lnTo>
                    <a:pt x="4624" y="14618"/>
                  </a:lnTo>
                  <a:lnTo>
                    <a:pt x="4600" y="14574"/>
                  </a:lnTo>
                  <a:lnTo>
                    <a:pt x="4576" y="14527"/>
                  </a:lnTo>
                  <a:lnTo>
                    <a:pt x="4552" y="14479"/>
                  </a:lnTo>
                  <a:lnTo>
                    <a:pt x="4527" y="14427"/>
                  </a:lnTo>
                  <a:lnTo>
                    <a:pt x="6658" y="14161"/>
                  </a:lnTo>
                  <a:lnTo>
                    <a:pt x="6630" y="14236"/>
                  </a:lnTo>
                  <a:lnTo>
                    <a:pt x="6602" y="14308"/>
                  </a:lnTo>
                  <a:lnTo>
                    <a:pt x="6573" y="14375"/>
                  </a:lnTo>
                  <a:lnTo>
                    <a:pt x="6546" y="14438"/>
                  </a:lnTo>
                  <a:lnTo>
                    <a:pt x="6518" y="14496"/>
                  </a:lnTo>
                  <a:lnTo>
                    <a:pt x="6491" y="14552"/>
                  </a:lnTo>
                  <a:lnTo>
                    <a:pt x="6464" y="14603"/>
                  </a:lnTo>
                  <a:lnTo>
                    <a:pt x="6436" y="14651"/>
                  </a:lnTo>
                  <a:lnTo>
                    <a:pt x="6408" y="14695"/>
                  </a:lnTo>
                  <a:lnTo>
                    <a:pt x="6380" y="14736"/>
                  </a:lnTo>
                  <a:lnTo>
                    <a:pt x="6352" y="14773"/>
                  </a:lnTo>
                  <a:lnTo>
                    <a:pt x="6323" y="14808"/>
                  </a:lnTo>
                  <a:lnTo>
                    <a:pt x="6294" y="14841"/>
                  </a:lnTo>
                  <a:lnTo>
                    <a:pt x="6264" y="14869"/>
                  </a:lnTo>
                  <a:lnTo>
                    <a:pt x="6233" y="14895"/>
                  </a:lnTo>
                  <a:lnTo>
                    <a:pt x="6202" y="14919"/>
                  </a:lnTo>
                  <a:lnTo>
                    <a:pt x="6170" y="14940"/>
                  </a:lnTo>
                  <a:lnTo>
                    <a:pt x="6137" y="14959"/>
                  </a:lnTo>
                  <a:lnTo>
                    <a:pt x="6103" y="14976"/>
                  </a:lnTo>
                  <a:lnTo>
                    <a:pt x="6068" y="14990"/>
                  </a:lnTo>
                  <a:lnTo>
                    <a:pt x="6031" y="15003"/>
                  </a:lnTo>
                  <a:lnTo>
                    <a:pt x="5994" y="15014"/>
                  </a:lnTo>
                  <a:lnTo>
                    <a:pt x="5955" y="15023"/>
                  </a:lnTo>
                  <a:lnTo>
                    <a:pt x="5915" y="15031"/>
                  </a:lnTo>
                  <a:lnTo>
                    <a:pt x="5873" y="15038"/>
                  </a:lnTo>
                  <a:lnTo>
                    <a:pt x="5829" y="15043"/>
                  </a:lnTo>
                  <a:lnTo>
                    <a:pt x="5785" y="15047"/>
                  </a:lnTo>
                  <a:lnTo>
                    <a:pt x="5738" y="15050"/>
                  </a:lnTo>
                  <a:lnTo>
                    <a:pt x="5689" y="15052"/>
                  </a:lnTo>
                  <a:lnTo>
                    <a:pt x="5638" y="15053"/>
                  </a:lnTo>
                  <a:lnTo>
                    <a:pt x="5586" y="15054"/>
                  </a:lnTo>
                  <a:lnTo>
                    <a:pt x="5532" y="15054"/>
                  </a:lnTo>
                  <a:close/>
                  <a:moveTo>
                    <a:pt x="3890" y="12499"/>
                  </a:moveTo>
                  <a:lnTo>
                    <a:pt x="3873" y="12442"/>
                  </a:lnTo>
                  <a:lnTo>
                    <a:pt x="3855" y="12386"/>
                  </a:lnTo>
                  <a:lnTo>
                    <a:pt x="3838" y="12328"/>
                  </a:lnTo>
                  <a:lnTo>
                    <a:pt x="3820" y="12269"/>
                  </a:lnTo>
                  <a:lnTo>
                    <a:pt x="3802" y="12211"/>
                  </a:lnTo>
                  <a:lnTo>
                    <a:pt x="3783" y="12153"/>
                  </a:lnTo>
                  <a:lnTo>
                    <a:pt x="3763" y="12094"/>
                  </a:lnTo>
                  <a:lnTo>
                    <a:pt x="3744" y="12033"/>
                  </a:lnTo>
                  <a:lnTo>
                    <a:pt x="3725" y="11974"/>
                  </a:lnTo>
                  <a:lnTo>
                    <a:pt x="3705" y="11913"/>
                  </a:lnTo>
                  <a:lnTo>
                    <a:pt x="3685" y="11853"/>
                  </a:lnTo>
                  <a:lnTo>
                    <a:pt x="3665" y="11792"/>
                  </a:lnTo>
                  <a:lnTo>
                    <a:pt x="3645" y="11729"/>
                  </a:lnTo>
                  <a:lnTo>
                    <a:pt x="3624" y="11667"/>
                  </a:lnTo>
                  <a:lnTo>
                    <a:pt x="3603" y="11605"/>
                  </a:lnTo>
                  <a:lnTo>
                    <a:pt x="3581" y="11542"/>
                  </a:lnTo>
                  <a:lnTo>
                    <a:pt x="7487" y="11542"/>
                  </a:lnTo>
                  <a:lnTo>
                    <a:pt x="7464" y="11609"/>
                  </a:lnTo>
                  <a:lnTo>
                    <a:pt x="7440" y="11677"/>
                  </a:lnTo>
                  <a:lnTo>
                    <a:pt x="7417" y="11744"/>
                  </a:lnTo>
                  <a:lnTo>
                    <a:pt x="7395" y="11811"/>
                  </a:lnTo>
                  <a:lnTo>
                    <a:pt x="7373" y="11878"/>
                  </a:lnTo>
                  <a:lnTo>
                    <a:pt x="7351" y="11943"/>
                  </a:lnTo>
                  <a:lnTo>
                    <a:pt x="7330" y="12008"/>
                  </a:lnTo>
                  <a:lnTo>
                    <a:pt x="7309" y="12074"/>
                  </a:lnTo>
                  <a:lnTo>
                    <a:pt x="3890" y="12499"/>
                  </a:lnTo>
                  <a:close/>
                  <a:moveTo>
                    <a:pt x="6835" y="13637"/>
                  </a:moveTo>
                  <a:lnTo>
                    <a:pt x="4342" y="13948"/>
                  </a:lnTo>
                  <a:lnTo>
                    <a:pt x="4325" y="13899"/>
                  </a:lnTo>
                  <a:lnTo>
                    <a:pt x="4309" y="13850"/>
                  </a:lnTo>
                  <a:lnTo>
                    <a:pt x="4290" y="13799"/>
                  </a:lnTo>
                  <a:lnTo>
                    <a:pt x="4273" y="13747"/>
                  </a:lnTo>
                  <a:lnTo>
                    <a:pt x="4256" y="13693"/>
                  </a:lnTo>
                  <a:lnTo>
                    <a:pt x="4238" y="13638"/>
                  </a:lnTo>
                  <a:lnTo>
                    <a:pt x="4220" y="13582"/>
                  </a:lnTo>
                  <a:lnTo>
                    <a:pt x="4202" y="13524"/>
                  </a:lnTo>
                  <a:lnTo>
                    <a:pt x="4183" y="13465"/>
                  </a:lnTo>
                  <a:lnTo>
                    <a:pt x="4164" y="13403"/>
                  </a:lnTo>
                  <a:lnTo>
                    <a:pt x="4145" y="13340"/>
                  </a:lnTo>
                  <a:lnTo>
                    <a:pt x="4124" y="13276"/>
                  </a:lnTo>
                  <a:lnTo>
                    <a:pt x="4104" y="13210"/>
                  </a:lnTo>
                  <a:lnTo>
                    <a:pt x="4083" y="13141"/>
                  </a:lnTo>
                  <a:lnTo>
                    <a:pt x="4062" y="13070"/>
                  </a:lnTo>
                  <a:lnTo>
                    <a:pt x="4041" y="12998"/>
                  </a:lnTo>
                  <a:lnTo>
                    <a:pt x="4038" y="12990"/>
                  </a:lnTo>
                  <a:lnTo>
                    <a:pt x="4036" y="12983"/>
                  </a:lnTo>
                  <a:lnTo>
                    <a:pt x="7149" y="12594"/>
                  </a:lnTo>
                  <a:lnTo>
                    <a:pt x="7132" y="12651"/>
                  </a:lnTo>
                  <a:lnTo>
                    <a:pt x="7116" y="12707"/>
                  </a:lnTo>
                  <a:lnTo>
                    <a:pt x="7098" y="12763"/>
                  </a:lnTo>
                  <a:lnTo>
                    <a:pt x="7081" y="12819"/>
                  </a:lnTo>
                  <a:lnTo>
                    <a:pt x="7064" y="12876"/>
                  </a:lnTo>
                  <a:lnTo>
                    <a:pt x="7047" y="12931"/>
                  </a:lnTo>
                  <a:lnTo>
                    <a:pt x="7031" y="12985"/>
                  </a:lnTo>
                  <a:lnTo>
                    <a:pt x="7016" y="13038"/>
                  </a:lnTo>
                  <a:lnTo>
                    <a:pt x="6992" y="13121"/>
                  </a:lnTo>
                  <a:lnTo>
                    <a:pt x="6968" y="13202"/>
                  </a:lnTo>
                  <a:lnTo>
                    <a:pt x="6945" y="13280"/>
                  </a:lnTo>
                  <a:lnTo>
                    <a:pt x="6921" y="13355"/>
                  </a:lnTo>
                  <a:lnTo>
                    <a:pt x="6899" y="13429"/>
                  </a:lnTo>
                  <a:lnTo>
                    <a:pt x="6878" y="13500"/>
                  </a:lnTo>
                  <a:lnTo>
                    <a:pt x="6856" y="13570"/>
                  </a:lnTo>
                  <a:lnTo>
                    <a:pt x="6835" y="13637"/>
                  </a:lnTo>
                  <a:close/>
                  <a:moveTo>
                    <a:pt x="5532" y="0"/>
                  </a:moveTo>
                  <a:lnTo>
                    <a:pt x="5247" y="7"/>
                  </a:lnTo>
                  <a:lnTo>
                    <a:pt x="4966" y="28"/>
                  </a:lnTo>
                  <a:lnTo>
                    <a:pt x="4689" y="63"/>
                  </a:lnTo>
                  <a:lnTo>
                    <a:pt x="4417" y="112"/>
                  </a:lnTo>
                  <a:lnTo>
                    <a:pt x="4149" y="174"/>
                  </a:lnTo>
                  <a:lnTo>
                    <a:pt x="3886" y="248"/>
                  </a:lnTo>
                  <a:lnTo>
                    <a:pt x="3630" y="335"/>
                  </a:lnTo>
                  <a:lnTo>
                    <a:pt x="3378" y="434"/>
                  </a:lnTo>
                  <a:lnTo>
                    <a:pt x="3133" y="544"/>
                  </a:lnTo>
                  <a:lnTo>
                    <a:pt x="2894" y="666"/>
                  </a:lnTo>
                  <a:lnTo>
                    <a:pt x="2663" y="799"/>
                  </a:lnTo>
                  <a:lnTo>
                    <a:pt x="2439" y="942"/>
                  </a:lnTo>
                  <a:lnTo>
                    <a:pt x="2222" y="1097"/>
                  </a:lnTo>
                  <a:lnTo>
                    <a:pt x="2013" y="1261"/>
                  </a:lnTo>
                  <a:lnTo>
                    <a:pt x="1812" y="1434"/>
                  </a:lnTo>
                  <a:lnTo>
                    <a:pt x="1620" y="1617"/>
                  </a:lnTo>
                  <a:lnTo>
                    <a:pt x="1437" y="1809"/>
                  </a:lnTo>
                  <a:lnTo>
                    <a:pt x="1263" y="2009"/>
                  </a:lnTo>
                  <a:lnTo>
                    <a:pt x="1099" y="2217"/>
                  </a:lnTo>
                  <a:lnTo>
                    <a:pt x="944" y="2434"/>
                  </a:lnTo>
                  <a:lnTo>
                    <a:pt x="801" y="2658"/>
                  </a:lnTo>
                  <a:lnTo>
                    <a:pt x="668" y="2888"/>
                  </a:lnTo>
                  <a:lnTo>
                    <a:pt x="545" y="3127"/>
                  </a:lnTo>
                  <a:lnTo>
                    <a:pt x="434" y="3371"/>
                  </a:lnTo>
                  <a:lnTo>
                    <a:pt x="336" y="3622"/>
                  </a:lnTo>
                  <a:lnTo>
                    <a:pt x="248" y="3879"/>
                  </a:lnTo>
                  <a:lnTo>
                    <a:pt x="174" y="4141"/>
                  </a:lnTo>
                  <a:lnTo>
                    <a:pt x="113" y="4408"/>
                  </a:lnTo>
                  <a:lnTo>
                    <a:pt x="63" y="4679"/>
                  </a:lnTo>
                  <a:lnTo>
                    <a:pt x="28" y="4956"/>
                  </a:lnTo>
                  <a:lnTo>
                    <a:pt x="7" y="5236"/>
                  </a:lnTo>
                  <a:lnTo>
                    <a:pt x="0" y="5520"/>
                  </a:lnTo>
                  <a:lnTo>
                    <a:pt x="5" y="5710"/>
                  </a:lnTo>
                  <a:lnTo>
                    <a:pt x="21" y="5900"/>
                  </a:lnTo>
                  <a:lnTo>
                    <a:pt x="46" y="6092"/>
                  </a:lnTo>
                  <a:lnTo>
                    <a:pt x="81" y="6284"/>
                  </a:lnTo>
                  <a:lnTo>
                    <a:pt x="125" y="6475"/>
                  </a:lnTo>
                  <a:lnTo>
                    <a:pt x="176" y="6668"/>
                  </a:lnTo>
                  <a:lnTo>
                    <a:pt x="234" y="6861"/>
                  </a:lnTo>
                  <a:lnTo>
                    <a:pt x="301" y="7053"/>
                  </a:lnTo>
                  <a:lnTo>
                    <a:pt x="373" y="7247"/>
                  </a:lnTo>
                  <a:lnTo>
                    <a:pt x="451" y="7440"/>
                  </a:lnTo>
                  <a:lnTo>
                    <a:pt x="534" y="7634"/>
                  </a:lnTo>
                  <a:lnTo>
                    <a:pt x="623" y="7826"/>
                  </a:lnTo>
                  <a:lnTo>
                    <a:pt x="715" y="8020"/>
                  </a:lnTo>
                  <a:lnTo>
                    <a:pt x="811" y="8213"/>
                  </a:lnTo>
                  <a:lnTo>
                    <a:pt x="910" y="8405"/>
                  </a:lnTo>
                  <a:lnTo>
                    <a:pt x="1012" y="8597"/>
                  </a:lnTo>
                  <a:lnTo>
                    <a:pt x="1115" y="8789"/>
                  </a:lnTo>
                  <a:lnTo>
                    <a:pt x="1221" y="8980"/>
                  </a:lnTo>
                  <a:lnTo>
                    <a:pt x="1327" y="9171"/>
                  </a:lnTo>
                  <a:lnTo>
                    <a:pt x="1433" y="9361"/>
                  </a:lnTo>
                  <a:lnTo>
                    <a:pt x="1539" y="9550"/>
                  </a:lnTo>
                  <a:lnTo>
                    <a:pt x="1644" y="9739"/>
                  </a:lnTo>
                  <a:lnTo>
                    <a:pt x="1748" y="9927"/>
                  </a:lnTo>
                  <a:lnTo>
                    <a:pt x="1850" y="10115"/>
                  </a:lnTo>
                  <a:lnTo>
                    <a:pt x="1949" y="10300"/>
                  </a:lnTo>
                  <a:lnTo>
                    <a:pt x="2046" y="10485"/>
                  </a:lnTo>
                  <a:lnTo>
                    <a:pt x="2138" y="10670"/>
                  </a:lnTo>
                  <a:lnTo>
                    <a:pt x="2228" y="10852"/>
                  </a:lnTo>
                  <a:lnTo>
                    <a:pt x="2311" y="11033"/>
                  </a:lnTo>
                  <a:lnTo>
                    <a:pt x="2391" y="11214"/>
                  </a:lnTo>
                  <a:lnTo>
                    <a:pt x="2463" y="11392"/>
                  </a:lnTo>
                  <a:lnTo>
                    <a:pt x="2529" y="11569"/>
                  </a:lnTo>
                  <a:lnTo>
                    <a:pt x="2621" y="11829"/>
                  </a:lnTo>
                  <a:lnTo>
                    <a:pt x="2706" y="12083"/>
                  </a:lnTo>
                  <a:lnTo>
                    <a:pt x="2787" y="12329"/>
                  </a:lnTo>
                  <a:lnTo>
                    <a:pt x="2861" y="12568"/>
                  </a:lnTo>
                  <a:lnTo>
                    <a:pt x="2933" y="12801"/>
                  </a:lnTo>
                  <a:lnTo>
                    <a:pt x="3000" y="13026"/>
                  </a:lnTo>
                  <a:lnTo>
                    <a:pt x="3065" y="13245"/>
                  </a:lnTo>
                  <a:lnTo>
                    <a:pt x="3128" y="13456"/>
                  </a:lnTo>
                  <a:lnTo>
                    <a:pt x="3188" y="13658"/>
                  </a:lnTo>
                  <a:lnTo>
                    <a:pt x="3248" y="13855"/>
                  </a:lnTo>
                  <a:lnTo>
                    <a:pt x="3308" y="14043"/>
                  </a:lnTo>
                  <a:lnTo>
                    <a:pt x="3367" y="14223"/>
                  </a:lnTo>
                  <a:lnTo>
                    <a:pt x="3428" y="14396"/>
                  </a:lnTo>
                  <a:lnTo>
                    <a:pt x="3489" y="14562"/>
                  </a:lnTo>
                  <a:lnTo>
                    <a:pt x="3552" y="14718"/>
                  </a:lnTo>
                  <a:lnTo>
                    <a:pt x="3619" y="14867"/>
                  </a:lnTo>
                  <a:lnTo>
                    <a:pt x="3688" y="15007"/>
                  </a:lnTo>
                  <a:lnTo>
                    <a:pt x="3761" y="15140"/>
                  </a:lnTo>
                  <a:lnTo>
                    <a:pt x="3839" y="15263"/>
                  </a:lnTo>
                  <a:lnTo>
                    <a:pt x="3922" y="15379"/>
                  </a:lnTo>
                  <a:lnTo>
                    <a:pt x="4011" y="15485"/>
                  </a:lnTo>
                  <a:lnTo>
                    <a:pt x="4105" y="15582"/>
                  </a:lnTo>
                  <a:lnTo>
                    <a:pt x="4207" y="15672"/>
                  </a:lnTo>
                  <a:lnTo>
                    <a:pt x="4316" y="15752"/>
                  </a:lnTo>
                  <a:lnTo>
                    <a:pt x="4433" y="15822"/>
                  </a:lnTo>
                  <a:lnTo>
                    <a:pt x="4559" y="15884"/>
                  </a:lnTo>
                  <a:lnTo>
                    <a:pt x="4694" y="15937"/>
                  </a:lnTo>
                  <a:lnTo>
                    <a:pt x="4840" y="15981"/>
                  </a:lnTo>
                  <a:lnTo>
                    <a:pt x="4995" y="16014"/>
                  </a:lnTo>
                  <a:lnTo>
                    <a:pt x="5161" y="16038"/>
                  </a:lnTo>
                  <a:lnTo>
                    <a:pt x="5340" y="16053"/>
                  </a:lnTo>
                  <a:lnTo>
                    <a:pt x="5532" y="16058"/>
                  </a:lnTo>
                  <a:lnTo>
                    <a:pt x="5726" y="16053"/>
                  </a:lnTo>
                  <a:lnTo>
                    <a:pt x="5907" y="16039"/>
                  </a:lnTo>
                  <a:lnTo>
                    <a:pt x="6076" y="16014"/>
                  </a:lnTo>
                  <a:lnTo>
                    <a:pt x="6232" y="15981"/>
                  </a:lnTo>
                  <a:lnTo>
                    <a:pt x="6379" y="15938"/>
                  </a:lnTo>
                  <a:lnTo>
                    <a:pt x="6516" y="15885"/>
                  </a:lnTo>
                  <a:lnTo>
                    <a:pt x="6643" y="15823"/>
                  </a:lnTo>
                  <a:lnTo>
                    <a:pt x="6760" y="15753"/>
                  </a:lnTo>
                  <a:lnTo>
                    <a:pt x="6870" y="15673"/>
                  </a:lnTo>
                  <a:lnTo>
                    <a:pt x="6972" y="15584"/>
                  </a:lnTo>
                  <a:lnTo>
                    <a:pt x="7066" y="15487"/>
                  </a:lnTo>
                  <a:lnTo>
                    <a:pt x="7155" y="15381"/>
                  </a:lnTo>
                  <a:lnTo>
                    <a:pt x="7237" y="15266"/>
                  </a:lnTo>
                  <a:lnTo>
                    <a:pt x="7315" y="15143"/>
                  </a:lnTo>
                  <a:lnTo>
                    <a:pt x="7387" y="15011"/>
                  </a:lnTo>
                  <a:lnTo>
                    <a:pt x="7455" y="14871"/>
                  </a:lnTo>
                  <a:lnTo>
                    <a:pt x="7521" y="14723"/>
                  </a:lnTo>
                  <a:lnTo>
                    <a:pt x="7584" y="14567"/>
                  </a:lnTo>
                  <a:lnTo>
                    <a:pt x="7645" y="14402"/>
                  </a:lnTo>
                  <a:lnTo>
                    <a:pt x="7704" y="14229"/>
                  </a:lnTo>
                  <a:lnTo>
                    <a:pt x="7762" y="14050"/>
                  </a:lnTo>
                  <a:lnTo>
                    <a:pt x="7821" y="13862"/>
                  </a:lnTo>
                  <a:lnTo>
                    <a:pt x="7880" y="13666"/>
                  </a:lnTo>
                  <a:lnTo>
                    <a:pt x="7939" y="13464"/>
                  </a:lnTo>
                  <a:lnTo>
                    <a:pt x="8002" y="13253"/>
                  </a:lnTo>
                  <a:lnTo>
                    <a:pt x="8065" y="13035"/>
                  </a:lnTo>
                  <a:lnTo>
                    <a:pt x="8132" y="12810"/>
                  </a:lnTo>
                  <a:lnTo>
                    <a:pt x="8203" y="12578"/>
                  </a:lnTo>
                  <a:lnTo>
                    <a:pt x="8277" y="12340"/>
                  </a:lnTo>
                  <a:lnTo>
                    <a:pt x="8357" y="12094"/>
                  </a:lnTo>
                  <a:lnTo>
                    <a:pt x="8442" y="11841"/>
                  </a:lnTo>
                  <a:lnTo>
                    <a:pt x="8534" y="11581"/>
                  </a:lnTo>
                  <a:lnTo>
                    <a:pt x="8600" y="11403"/>
                  </a:lnTo>
                  <a:lnTo>
                    <a:pt x="8673" y="11224"/>
                  </a:lnTo>
                  <a:lnTo>
                    <a:pt x="8752" y="11043"/>
                  </a:lnTo>
                  <a:lnTo>
                    <a:pt x="8836" y="10861"/>
                  </a:lnTo>
                  <a:lnTo>
                    <a:pt x="8926" y="10678"/>
                  </a:lnTo>
                  <a:lnTo>
                    <a:pt x="9018" y="10493"/>
                  </a:lnTo>
                  <a:lnTo>
                    <a:pt x="9115" y="10307"/>
                  </a:lnTo>
                  <a:lnTo>
                    <a:pt x="9214" y="10121"/>
                  </a:lnTo>
                  <a:lnTo>
                    <a:pt x="9316" y="9932"/>
                  </a:lnTo>
                  <a:lnTo>
                    <a:pt x="9421" y="9743"/>
                  </a:lnTo>
                  <a:lnTo>
                    <a:pt x="9525" y="9554"/>
                  </a:lnTo>
                  <a:lnTo>
                    <a:pt x="9632" y="9363"/>
                  </a:lnTo>
                  <a:lnTo>
                    <a:pt x="9737" y="9172"/>
                  </a:lnTo>
                  <a:lnTo>
                    <a:pt x="9844" y="8980"/>
                  </a:lnTo>
                  <a:lnTo>
                    <a:pt x="9949" y="8788"/>
                  </a:lnTo>
                  <a:lnTo>
                    <a:pt x="10052" y="8596"/>
                  </a:lnTo>
                  <a:lnTo>
                    <a:pt x="10154" y="8402"/>
                  </a:lnTo>
                  <a:lnTo>
                    <a:pt x="10253" y="8210"/>
                  </a:lnTo>
                  <a:lnTo>
                    <a:pt x="10349" y="8016"/>
                  </a:lnTo>
                  <a:lnTo>
                    <a:pt x="10441" y="7822"/>
                  </a:lnTo>
                  <a:lnTo>
                    <a:pt x="10529" y="7629"/>
                  </a:lnTo>
                  <a:lnTo>
                    <a:pt x="10612" y="7435"/>
                  </a:lnTo>
                  <a:lnTo>
                    <a:pt x="10691" y="7241"/>
                  </a:lnTo>
                  <a:lnTo>
                    <a:pt x="10763" y="7048"/>
                  </a:lnTo>
                  <a:lnTo>
                    <a:pt x="10829" y="6856"/>
                  </a:lnTo>
                  <a:lnTo>
                    <a:pt x="10888" y="6663"/>
                  </a:lnTo>
                  <a:lnTo>
                    <a:pt x="10939" y="6470"/>
                  </a:lnTo>
                  <a:lnTo>
                    <a:pt x="10983" y="6280"/>
                  </a:lnTo>
                  <a:lnTo>
                    <a:pt x="11017" y="6088"/>
                  </a:lnTo>
                  <a:lnTo>
                    <a:pt x="11042" y="5898"/>
                  </a:lnTo>
                  <a:lnTo>
                    <a:pt x="11058" y="5709"/>
                  </a:lnTo>
                  <a:lnTo>
                    <a:pt x="11063" y="5520"/>
                  </a:lnTo>
                  <a:lnTo>
                    <a:pt x="11056" y="5236"/>
                  </a:lnTo>
                  <a:lnTo>
                    <a:pt x="11035" y="4956"/>
                  </a:lnTo>
                  <a:lnTo>
                    <a:pt x="11000" y="4679"/>
                  </a:lnTo>
                  <a:lnTo>
                    <a:pt x="10950" y="4408"/>
                  </a:lnTo>
                  <a:lnTo>
                    <a:pt x="10889" y="4141"/>
                  </a:lnTo>
                  <a:lnTo>
                    <a:pt x="10815" y="3879"/>
                  </a:lnTo>
                  <a:lnTo>
                    <a:pt x="10727" y="3622"/>
                  </a:lnTo>
                  <a:lnTo>
                    <a:pt x="10629" y="3371"/>
                  </a:lnTo>
                  <a:lnTo>
                    <a:pt x="10518" y="3127"/>
                  </a:lnTo>
                  <a:lnTo>
                    <a:pt x="10395" y="2888"/>
                  </a:lnTo>
                  <a:lnTo>
                    <a:pt x="10262" y="2658"/>
                  </a:lnTo>
                  <a:lnTo>
                    <a:pt x="10119" y="2434"/>
                  </a:lnTo>
                  <a:lnTo>
                    <a:pt x="9964" y="2217"/>
                  </a:lnTo>
                  <a:lnTo>
                    <a:pt x="9800" y="2009"/>
                  </a:lnTo>
                  <a:lnTo>
                    <a:pt x="9626" y="1809"/>
                  </a:lnTo>
                  <a:lnTo>
                    <a:pt x="9443" y="1617"/>
                  </a:lnTo>
                  <a:lnTo>
                    <a:pt x="9251" y="1434"/>
                  </a:lnTo>
                  <a:lnTo>
                    <a:pt x="9050" y="1261"/>
                  </a:lnTo>
                  <a:lnTo>
                    <a:pt x="8841" y="1097"/>
                  </a:lnTo>
                  <a:lnTo>
                    <a:pt x="8624" y="942"/>
                  </a:lnTo>
                  <a:lnTo>
                    <a:pt x="8400" y="799"/>
                  </a:lnTo>
                  <a:lnTo>
                    <a:pt x="8169" y="666"/>
                  </a:lnTo>
                  <a:lnTo>
                    <a:pt x="7929" y="544"/>
                  </a:lnTo>
                  <a:lnTo>
                    <a:pt x="7685" y="434"/>
                  </a:lnTo>
                  <a:lnTo>
                    <a:pt x="7433" y="335"/>
                  </a:lnTo>
                  <a:lnTo>
                    <a:pt x="7176" y="248"/>
                  </a:lnTo>
                  <a:lnTo>
                    <a:pt x="6913" y="174"/>
                  </a:lnTo>
                  <a:lnTo>
                    <a:pt x="6646" y="112"/>
                  </a:lnTo>
                  <a:lnTo>
                    <a:pt x="6374" y="63"/>
                  </a:lnTo>
                  <a:lnTo>
                    <a:pt x="6097" y="28"/>
                  </a:lnTo>
                  <a:lnTo>
                    <a:pt x="5816" y="7"/>
                  </a:lnTo>
                  <a:lnTo>
                    <a:pt x="55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04" name="iś1ïḓé">
              <a:extLst>
                <a:ext uri="{FF2B5EF4-FFF2-40B4-BE49-F238E27FC236}">
                  <a16:creationId xmlns:a16="http://schemas.microsoft.com/office/drawing/2014/main" id="{EF520969-BC3E-433E-AA6C-55E217795917}"/>
                </a:ext>
              </a:extLst>
            </p:cNvPr>
            <p:cNvSpPr/>
            <p:nvPr/>
          </p:nvSpPr>
          <p:spPr bwMode="auto">
            <a:xfrm>
              <a:off x="9177544" y="114628"/>
              <a:ext cx="78177" cy="78177"/>
            </a:xfrm>
            <a:custGeom>
              <a:avLst/>
              <a:gdLst>
                <a:gd name="T0" fmla="*/ 2559 w 3269"/>
                <a:gd name="T1" fmla="*/ 35 h 3262"/>
                <a:gd name="T2" fmla="*/ 1981 w 3269"/>
                <a:gd name="T3" fmla="*/ 183 h 3262"/>
                <a:gd name="T4" fmla="*/ 1455 w 3269"/>
                <a:gd name="T5" fmla="*/ 437 h 3262"/>
                <a:gd name="T6" fmla="*/ 990 w 3269"/>
                <a:gd name="T7" fmla="*/ 783 h 3262"/>
                <a:gd name="T8" fmla="*/ 601 w 3269"/>
                <a:gd name="T9" fmla="*/ 1210 h 3262"/>
                <a:gd name="T10" fmla="*/ 298 w 3269"/>
                <a:gd name="T11" fmla="*/ 1706 h 3262"/>
                <a:gd name="T12" fmla="*/ 96 w 3269"/>
                <a:gd name="T13" fmla="*/ 2259 h 3262"/>
                <a:gd name="T14" fmla="*/ 4 w 3269"/>
                <a:gd name="T15" fmla="*/ 2856 h 3262"/>
                <a:gd name="T16" fmla="*/ 3 w 3269"/>
                <a:gd name="T17" fmla="*/ 3049 h 3262"/>
                <a:gd name="T18" fmla="*/ 15 w 3269"/>
                <a:gd name="T19" fmla="*/ 3097 h 3262"/>
                <a:gd name="T20" fmla="*/ 37 w 3269"/>
                <a:gd name="T21" fmla="*/ 3141 h 3262"/>
                <a:gd name="T22" fmla="*/ 66 w 3269"/>
                <a:gd name="T23" fmla="*/ 3180 h 3262"/>
                <a:gd name="T24" fmla="*/ 101 w 3269"/>
                <a:gd name="T25" fmla="*/ 3212 h 3262"/>
                <a:gd name="T26" fmla="*/ 143 w 3269"/>
                <a:gd name="T27" fmla="*/ 3237 h 3262"/>
                <a:gd name="T28" fmla="*/ 189 w 3269"/>
                <a:gd name="T29" fmla="*/ 3254 h 3262"/>
                <a:gd name="T30" fmla="*/ 239 w 3269"/>
                <a:gd name="T31" fmla="*/ 3262 h 3262"/>
                <a:gd name="T32" fmla="*/ 290 w 3269"/>
                <a:gd name="T33" fmla="*/ 3259 h 3262"/>
                <a:gd name="T34" fmla="*/ 338 w 3269"/>
                <a:gd name="T35" fmla="*/ 3247 h 3262"/>
                <a:gd name="T36" fmla="*/ 382 w 3269"/>
                <a:gd name="T37" fmla="*/ 3226 h 3262"/>
                <a:gd name="T38" fmla="*/ 421 w 3269"/>
                <a:gd name="T39" fmla="*/ 3197 h 3262"/>
                <a:gd name="T40" fmla="*/ 453 w 3269"/>
                <a:gd name="T41" fmla="*/ 3161 h 3262"/>
                <a:gd name="T42" fmla="*/ 478 w 3269"/>
                <a:gd name="T43" fmla="*/ 3119 h 3262"/>
                <a:gd name="T44" fmla="*/ 495 w 3269"/>
                <a:gd name="T45" fmla="*/ 3073 h 3262"/>
                <a:gd name="T46" fmla="*/ 503 w 3269"/>
                <a:gd name="T47" fmla="*/ 3024 h 3262"/>
                <a:gd name="T48" fmla="*/ 532 w 3269"/>
                <a:gd name="T49" fmla="*/ 2630 h 3262"/>
                <a:gd name="T50" fmla="*/ 656 w 3269"/>
                <a:gd name="T51" fmla="*/ 2149 h 3262"/>
                <a:gd name="T52" fmla="*/ 867 w 3269"/>
                <a:gd name="T53" fmla="*/ 1711 h 3262"/>
                <a:gd name="T54" fmla="*/ 1157 w 3269"/>
                <a:gd name="T55" fmla="*/ 1325 h 3262"/>
                <a:gd name="T56" fmla="*/ 1514 w 3269"/>
                <a:gd name="T57" fmla="*/ 1001 h 3262"/>
                <a:gd name="T58" fmla="*/ 1928 w 3269"/>
                <a:gd name="T59" fmla="*/ 750 h 3262"/>
                <a:gd name="T60" fmla="*/ 2390 w 3269"/>
                <a:gd name="T61" fmla="*/ 581 h 3262"/>
                <a:gd name="T62" fmla="*/ 2889 w 3269"/>
                <a:gd name="T63" fmla="*/ 505 h 3262"/>
                <a:gd name="T64" fmla="*/ 3056 w 3269"/>
                <a:gd name="T65" fmla="*/ 499 h 3262"/>
                <a:gd name="T66" fmla="*/ 3104 w 3269"/>
                <a:gd name="T67" fmla="*/ 487 h 3262"/>
                <a:gd name="T68" fmla="*/ 3148 w 3269"/>
                <a:gd name="T69" fmla="*/ 466 h 3262"/>
                <a:gd name="T70" fmla="*/ 3186 w 3269"/>
                <a:gd name="T71" fmla="*/ 437 h 3262"/>
                <a:gd name="T72" fmla="*/ 3219 w 3269"/>
                <a:gd name="T73" fmla="*/ 402 h 3262"/>
                <a:gd name="T74" fmla="*/ 3244 w 3269"/>
                <a:gd name="T75" fmla="*/ 359 h 3262"/>
                <a:gd name="T76" fmla="*/ 3261 w 3269"/>
                <a:gd name="T77" fmla="*/ 314 h 3262"/>
                <a:gd name="T78" fmla="*/ 3269 w 3269"/>
                <a:gd name="T79" fmla="*/ 264 h 3262"/>
                <a:gd name="T80" fmla="*/ 3266 w 3269"/>
                <a:gd name="T81" fmla="*/ 213 h 3262"/>
                <a:gd name="T82" fmla="*/ 3254 w 3269"/>
                <a:gd name="T83" fmla="*/ 165 h 3262"/>
                <a:gd name="T84" fmla="*/ 3233 w 3269"/>
                <a:gd name="T85" fmla="*/ 120 h 3262"/>
                <a:gd name="T86" fmla="*/ 3204 w 3269"/>
                <a:gd name="T87" fmla="*/ 82 h 3262"/>
                <a:gd name="T88" fmla="*/ 3168 w 3269"/>
                <a:gd name="T89" fmla="*/ 50 h 3262"/>
                <a:gd name="T90" fmla="*/ 3126 w 3269"/>
                <a:gd name="T91" fmla="*/ 25 h 3262"/>
                <a:gd name="T92" fmla="*/ 3080 w 3269"/>
                <a:gd name="T93" fmla="*/ 8 h 3262"/>
                <a:gd name="T94" fmla="*/ 3031 w 3269"/>
                <a:gd name="T95" fmla="*/ 0 h 3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269" h="3262">
                  <a:moveTo>
                    <a:pt x="3018" y="0"/>
                  </a:moveTo>
                  <a:lnTo>
                    <a:pt x="2863" y="4"/>
                  </a:lnTo>
                  <a:lnTo>
                    <a:pt x="2710" y="15"/>
                  </a:lnTo>
                  <a:lnTo>
                    <a:pt x="2559" y="35"/>
                  </a:lnTo>
                  <a:lnTo>
                    <a:pt x="2410" y="61"/>
                  </a:lnTo>
                  <a:lnTo>
                    <a:pt x="2264" y="95"/>
                  </a:lnTo>
                  <a:lnTo>
                    <a:pt x="2121" y="136"/>
                  </a:lnTo>
                  <a:lnTo>
                    <a:pt x="1981" y="183"/>
                  </a:lnTo>
                  <a:lnTo>
                    <a:pt x="1844" y="237"/>
                  </a:lnTo>
                  <a:lnTo>
                    <a:pt x="1710" y="297"/>
                  </a:lnTo>
                  <a:lnTo>
                    <a:pt x="1580" y="364"/>
                  </a:lnTo>
                  <a:lnTo>
                    <a:pt x="1455" y="437"/>
                  </a:lnTo>
                  <a:lnTo>
                    <a:pt x="1332" y="515"/>
                  </a:lnTo>
                  <a:lnTo>
                    <a:pt x="1213" y="599"/>
                  </a:lnTo>
                  <a:lnTo>
                    <a:pt x="1100" y="689"/>
                  </a:lnTo>
                  <a:lnTo>
                    <a:pt x="990" y="783"/>
                  </a:lnTo>
                  <a:lnTo>
                    <a:pt x="885" y="883"/>
                  </a:lnTo>
                  <a:lnTo>
                    <a:pt x="785" y="988"/>
                  </a:lnTo>
                  <a:lnTo>
                    <a:pt x="690" y="1097"/>
                  </a:lnTo>
                  <a:lnTo>
                    <a:pt x="601" y="1210"/>
                  </a:lnTo>
                  <a:lnTo>
                    <a:pt x="516" y="1329"/>
                  </a:lnTo>
                  <a:lnTo>
                    <a:pt x="438" y="1450"/>
                  </a:lnTo>
                  <a:lnTo>
                    <a:pt x="365" y="1577"/>
                  </a:lnTo>
                  <a:lnTo>
                    <a:pt x="298" y="1706"/>
                  </a:lnTo>
                  <a:lnTo>
                    <a:pt x="238" y="1840"/>
                  </a:lnTo>
                  <a:lnTo>
                    <a:pt x="183" y="1976"/>
                  </a:lnTo>
                  <a:lnTo>
                    <a:pt x="136" y="2117"/>
                  </a:lnTo>
                  <a:lnTo>
                    <a:pt x="96" y="2259"/>
                  </a:lnTo>
                  <a:lnTo>
                    <a:pt x="62" y="2405"/>
                  </a:lnTo>
                  <a:lnTo>
                    <a:pt x="36" y="2553"/>
                  </a:lnTo>
                  <a:lnTo>
                    <a:pt x="16" y="2704"/>
                  </a:lnTo>
                  <a:lnTo>
                    <a:pt x="4" y="2856"/>
                  </a:lnTo>
                  <a:lnTo>
                    <a:pt x="0" y="3011"/>
                  </a:lnTo>
                  <a:lnTo>
                    <a:pt x="0" y="3024"/>
                  </a:lnTo>
                  <a:lnTo>
                    <a:pt x="1" y="3037"/>
                  </a:lnTo>
                  <a:lnTo>
                    <a:pt x="3" y="3049"/>
                  </a:lnTo>
                  <a:lnTo>
                    <a:pt x="5" y="3061"/>
                  </a:lnTo>
                  <a:lnTo>
                    <a:pt x="8" y="3073"/>
                  </a:lnTo>
                  <a:lnTo>
                    <a:pt x="11" y="3085"/>
                  </a:lnTo>
                  <a:lnTo>
                    <a:pt x="15" y="3097"/>
                  </a:lnTo>
                  <a:lnTo>
                    <a:pt x="20" y="3108"/>
                  </a:lnTo>
                  <a:lnTo>
                    <a:pt x="25" y="3119"/>
                  </a:lnTo>
                  <a:lnTo>
                    <a:pt x="30" y="3130"/>
                  </a:lnTo>
                  <a:lnTo>
                    <a:pt x="37" y="3141"/>
                  </a:lnTo>
                  <a:lnTo>
                    <a:pt x="44" y="3151"/>
                  </a:lnTo>
                  <a:lnTo>
                    <a:pt x="51" y="3161"/>
                  </a:lnTo>
                  <a:lnTo>
                    <a:pt x="58" y="3171"/>
                  </a:lnTo>
                  <a:lnTo>
                    <a:pt x="66" y="3180"/>
                  </a:lnTo>
                  <a:lnTo>
                    <a:pt x="74" y="3189"/>
                  </a:lnTo>
                  <a:lnTo>
                    <a:pt x="83" y="3197"/>
                  </a:lnTo>
                  <a:lnTo>
                    <a:pt x="92" y="3205"/>
                  </a:lnTo>
                  <a:lnTo>
                    <a:pt x="101" y="3212"/>
                  </a:lnTo>
                  <a:lnTo>
                    <a:pt x="111" y="3219"/>
                  </a:lnTo>
                  <a:lnTo>
                    <a:pt x="121" y="3226"/>
                  </a:lnTo>
                  <a:lnTo>
                    <a:pt x="132" y="3232"/>
                  </a:lnTo>
                  <a:lnTo>
                    <a:pt x="143" y="3237"/>
                  </a:lnTo>
                  <a:lnTo>
                    <a:pt x="154" y="3242"/>
                  </a:lnTo>
                  <a:lnTo>
                    <a:pt x="165" y="3247"/>
                  </a:lnTo>
                  <a:lnTo>
                    <a:pt x="177" y="3251"/>
                  </a:lnTo>
                  <a:lnTo>
                    <a:pt x="189" y="3254"/>
                  </a:lnTo>
                  <a:lnTo>
                    <a:pt x="201" y="3257"/>
                  </a:lnTo>
                  <a:lnTo>
                    <a:pt x="214" y="3259"/>
                  </a:lnTo>
                  <a:lnTo>
                    <a:pt x="227" y="3261"/>
                  </a:lnTo>
                  <a:lnTo>
                    <a:pt x="239" y="3262"/>
                  </a:lnTo>
                  <a:lnTo>
                    <a:pt x="252" y="3262"/>
                  </a:lnTo>
                  <a:lnTo>
                    <a:pt x="265" y="3262"/>
                  </a:lnTo>
                  <a:lnTo>
                    <a:pt x="278" y="3261"/>
                  </a:lnTo>
                  <a:lnTo>
                    <a:pt x="290" y="3259"/>
                  </a:lnTo>
                  <a:lnTo>
                    <a:pt x="302" y="3257"/>
                  </a:lnTo>
                  <a:lnTo>
                    <a:pt x="315" y="3254"/>
                  </a:lnTo>
                  <a:lnTo>
                    <a:pt x="326" y="3251"/>
                  </a:lnTo>
                  <a:lnTo>
                    <a:pt x="338" y="3247"/>
                  </a:lnTo>
                  <a:lnTo>
                    <a:pt x="349" y="3242"/>
                  </a:lnTo>
                  <a:lnTo>
                    <a:pt x="360" y="3237"/>
                  </a:lnTo>
                  <a:lnTo>
                    <a:pt x="371" y="3232"/>
                  </a:lnTo>
                  <a:lnTo>
                    <a:pt x="382" y="3226"/>
                  </a:lnTo>
                  <a:lnTo>
                    <a:pt x="393" y="3219"/>
                  </a:lnTo>
                  <a:lnTo>
                    <a:pt x="403" y="3212"/>
                  </a:lnTo>
                  <a:lnTo>
                    <a:pt x="412" y="3205"/>
                  </a:lnTo>
                  <a:lnTo>
                    <a:pt x="421" y="3197"/>
                  </a:lnTo>
                  <a:lnTo>
                    <a:pt x="430" y="3189"/>
                  </a:lnTo>
                  <a:lnTo>
                    <a:pt x="438" y="3180"/>
                  </a:lnTo>
                  <a:lnTo>
                    <a:pt x="446" y="3171"/>
                  </a:lnTo>
                  <a:lnTo>
                    <a:pt x="453" y="3161"/>
                  </a:lnTo>
                  <a:lnTo>
                    <a:pt x="460" y="3151"/>
                  </a:lnTo>
                  <a:lnTo>
                    <a:pt x="467" y="3141"/>
                  </a:lnTo>
                  <a:lnTo>
                    <a:pt x="473" y="3130"/>
                  </a:lnTo>
                  <a:lnTo>
                    <a:pt x="478" y="3119"/>
                  </a:lnTo>
                  <a:lnTo>
                    <a:pt x="483" y="3108"/>
                  </a:lnTo>
                  <a:lnTo>
                    <a:pt x="488" y="3097"/>
                  </a:lnTo>
                  <a:lnTo>
                    <a:pt x="492" y="3085"/>
                  </a:lnTo>
                  <a:lnTo>
                    <a:pt x="495" y="3073"/>
                  </a:lnTo>
                  <a:lnTo>
                    <a:pt x="498" y="3061"/>
                  </a:lnTo>
                  <a:lnTo>
                    <a:pt x="500" y="3049"/>
                  </a:lnTo>
                  <a:lnTo>
                    <a:pt x="502" y="3037"/>
                  </a:lnTo>
                  <a:lnTo>
                    <a:pt x="503" y="3024"/>
                  </a:lnTo>
                  <a:lnTo>
                    <a:pt x="503" y="3011"/>
                  </a:lnTo>
                  <a:lnTo>
                    <a:pt x="506" y="2882"/>
                  </a:lnTo>
                  <a:lnTo>
                    <a:pt x="516" y="2755"/>
                  </a:lnTo>
                  <a:lnTo>
                    <a:pt x="532" y="2630"/>
                  </a:lnTo>
                  <a:lnTo>
                    <a:pt x="554" y="2506"/>
                  </a:lnTo>
                  <a:lnTo>
                    <a:pt x="583" y="2385"/>
                  </a:lnTo>
                  <a:lnTo>
                    <a:pt x="617" y="2265"/>
                  </a:lnTo>
                  <a:lnTo>
                    <a:pt x="656" y="2149"/>
                  </a:lnTo>
                  <a:lnTo>
                    <a:pt x="701" y="2035"/>
                  </a:lnTo>
                  <a:lnTo>
                    <a:pt x="752" y="1924"/>
                  </a:lnTo>
                  <a:lnTo>
                    <a:pt x="807" y="1816"/>
                  </a:lnTo>
                  <a:lnTo>
                    <a:pt x="867" y="1711"/>
                  </a:lnTo>
                  <a:lnTo>
                    <a:pt x="934" y="1609"/>
                  </a:lnTo>
                  <a:lnTo>
                    <a:pt x="1003" y="1511"/>
                  </a:lnTo>
                  <a:lnTo>
                    <a:pt x="1078" y="1416"/>
                  </a:lnTo>
                  <a:lnTo>
                    <a:pt x="1157" y="1325"/>
                  </a:lnTo>
                  <a:lnTo>
                    <a:pt x="1240" y="1238"/>
                  </a:lnTo>
                  <a:lnTo>
                    <a:pt x="1328" y="1154"/>
                  </a:lnTo>
                  <a:lnTo>
                    <a:pt x="1419" y="1076"/>
                  </a:lnTo>
                  <a:lnTo>
                    <a:pt x="1514" y="1001"/>
                  </a:lnTo>
                  <a:lnTo>
                    <a:pt x="1612" y="931"/>
                  </a:lnTo>
                  <a:lnTo>
                    <a:pt x="1715" y="865"/>
                  </a:lnTo>
                  <a:lnTo>
                    <a:pt x="1820" y="805"/>
                  </a:lnTo>
                  <a:lnTo>
                    <a:pt x="1928" y="750"/>
                  </a:lnTo>
                  <a:lnTo>
                    <a:pt x="2040" y="700"/>
                  </a:lnTo>
                  <a:lnTo>
                    <a:pt x="2154" y="654"/>
                  </a:lnTo>
                  <a:lnTo>
                    <a:pt x="2270" y="615"/>
                  </a:lnTo>
                  <a:lnTo>
                    <a:pt x="2390" y="581"/>
                  </a:lnTo>
                  <a:lnTo>
                    <a:pt x="2512" y="553"/>
                  </a:lnTo>
                  <a:lnTo>
                    <a:pt x="2635" y="531"/>
                  </a:lnTo>
                  <a:lnTo>
                    <a:pt x="2761" y="515"/>
                  </a:lnTo>
                  <a:lnTo>
                    <a:pt x="2889" y="505"/>
                  </a:lnTo>
                  <a:lnTo>
                    <a:pt x="3018" y="502"/>
                  </a:lnTo>
                  <a:lnTo>
                    <a:pt x="3031" y="502"/>
                  </a:lnTo>
                  <a:lnTo>
                    <a:pt x="3044" y="501"/>
                  </a:lnTo>
                  <a:lnTo>
                    <a:pt x="3056" y="499"/>
                  </a:lnTo>
                  <a:lnTo>
                    <a:pt x="3068" y="497"/>
                  </a:lnTo>
                  <a:lnTo>
                    <a:pt x="3080" y="494"/>
                  </a:lnTo>
                  <a:lnTo>
                    <a:pt x="3092" y="491"/>
                  </a:lnTo>
                  <a:lnTo>
                    <a:pt x="3104" y="487"/>
                  </a:lnTo>
                  <a:lnTo>
                    <a:pt x="3115" y="482"/>
                  </a:lnTo>
                  <a:lnTo>
                    <a:pt x="3126" y="477"/>
                  </a:lnTo>
                  <a:lnTo>
                    <a:pt x="3137" y="472"/>
                  </a:lnTo>
                  <a:lnTo>
                    <a:pt x="3148" y="466"/>
                  </a:lnTo>
                  <a:lnTo>
                    <a:pt x="3158" y="459"/>
                  </a:lnTo>
                  <a:lnTo>
                    <a:pt x="3168" y="452"/>
                  </a:lnTo>
                  <a:lnTo>
                    <a:pt x="3177" y="445"/>
                  </a:lnTo>
                  <a:lnTo>
                    <a:pt x="3186" y="437"/>
                  </a:lnTo>
                  <a:lnTo>
                    <a:pt x="3196" y="429"/>
                  </a:lnTo>
                  <a:lnTo>
                    <a:pt x="3204" y="420"/>
                  </a:lnTo>
                  <a:lnTo>
                    <a:pt x="3212" y="411"/>
                  </a:lnTo>
                  <a:lnTo>
                    <a:pt x="3219" y="402"/>
                  </a:lnTo>
                  <a:lnTo>
                    <a:pt x="3226" y="391"/>
                  </a:lnTo>
                  <a:lnTo>
                    <a:pt x="3233" y="381"/>
                  </a:lnTo>
                  <a:lnTo>
                    <a:pt x="3239" y="370"/>
                  </a:lnTo>
                  <a:lnTo>
                    <a:pt x="3244" y="359"/>
                  </a:lnTo>
                  <a:lnTo>
                    <a:pt x="3249" y="348"/>
                  </a:lnTo>
                  <a:lnTo>
                    <a:pt x="3254" y="337"/>
                  </a:lnTo>
                  <a:lnTo>
                    <a:pt x="3258" y="325"/>
                  </a:lnTo>
                  <a:lnTo>
                    <a:pt x="3261" y="314"/>
                  </a:lnTo>
                  <a:lnTo>
                    <a:pt x="3264" y="301"/>
                  </a:lnTo>
                  <a:lnTo>
                    <a:pt x="3266" y="289"/>
                  </a:lnTo>
                  <a:lnTo>
                    <a:pt x="3268" y="277"/>
                  </a:lnTo>
                  <a:lnTo>
                    <a:pt x="3269" y="264"/>
                  </a:lnTo>
                  <a:lnTo>
                    <a:pt x="3269" y="251"/>
                  </a:lnTo>
                  <a:lnTo>
                    <a:pt x="3269" y="238"/>
                  </a:lnTo>
                  <a:lnTo>
                    <a:pt x="3268" y="226"/>
                  </a:lnTo>
                  <a:lnTo>
                    <a:pt x="3266" y="213"/>
                  </a:lnTo>
                  <a:lnTo>
                    <a:pt x="3264" y="201"/>
                  </a:lnTo>
                  <a:lnTo>
                    <a:pt x="3261" y="189"/>
                  </a:lnTo>
                  <a:lnTo>
                    <a:pt x="3258" y="177"/>
                  </a:lnTo>
                  <a:lnTo>
                    <a:pt x="3254" y="165"/>
                  </a:lnTo>
                  <a:lnTo>
                    <a:pt x="3249" y="154"/>
                  </a:lnTo>
                  <a:lnTo>
                    <a:pt x="3244" y="143"/>
                  </a:lnTo>
                  <a:lnTo>
                    <a:pt x="3239" y="132"/>
                  </a:lnTo>
                  <a:lnTo>
                    <a:pt x="3233" y="120"/>
                  </a:lnTo>
                  <a:lnTo>
                    <a:pt x="3226" y="110"/>
                  </a:lnTo>
                  <a:lnTo>
                    <a:pt x="3219" y="100"/>
                  </a:lnTo>
                  <a:lnTo>
                    <a:pt x="3212" y="91"/>
                  </a:lnTo>
                  <a:lnTo>
                    <a:pt x="3204" y="82"/>
                  </a:lnTo>
                  <a:lnTo>
                    <a:pt x="3196" y="73"/>
                  </a:lnTo>
                  <a:lnTo>
                    <a:pt x="3186" y="65"/>
                  </a:lnTo>
                  <a:lnTo>
                    <a:pt x="3177" y="57"/>
                  </a:lnTo>
                  <a:lnTo>
                    <a:pt x="3168" y="50"/>
                  </a:lnTo>
                  <a:lnTo>
                    <a:pt x="3158" y="43"/>
                  </a:lnTo>
                  <a:lnTo>
                    <a:pt x="3148" y="36"/>
                  </a:lnTo>
                  <a:lnTo>
                    <a:pt x="3137" y="30"/>
                  </a:lnTo>
                  <a:lnTo>
                    <a:pt x="3126" y="25"/>
                  </a:lnTo>
                  <a:lnTo>
                    <a:pt x="3115" y="20"/>
                  </a:lnTo>
                  <a:lnTo>
                    <a:pt x="3104" y="15"/>
                  </a:lnTo>
                  <a:lnTo>
                    <a:pt x="3092" y="11"/>
                  </a:lnTo>
                  <a:lnTo>
                    <a:pt x="3080" y="8"/>
                  </a:lnTo>
                  <a:lnTo>
                    <a:pt x="3068" y="5"/>
                  </a:lnTo>
                  <a:lnTo>
                    <a:pt x="3056" y="3"/>
                  </a:lnTo>
                  <a:lnTo>
                    <a:pt x="3044" y="1"/>
                  </a:lnTo>
                  <a:lnTo>
                    <a:pt x="3031" y="0"/>
                  </a:lnTo>
                  <a:lnTo>
                    <a:pt x="30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05" name="ísľïḍé">
              <a:extLst>
                <a:ext uri="{FF2B5EF4-FFF2-40B4-BE49-F238E27FC236}">
                  <a16:creationId xmlns:a16="http://schemas.microsoft.com/office/drawing/2014/main" id="{DCAB98E0-1D4B-4FEA-B493-D589E227D901}"/>
                </a:ext>
              </a:extLst>
            </p:cNvPr>
            <p:cNvSpPr/>
            <p:nvPr/>
          </p:nvSpPr>
          <p:spPr bwMode="auto">
            <a:xfrm>
              <a:off x="8743115" y="289307"/>
              <a:ext cx="459652" cy="611928"/>
            </a:xfrm>
            <a:custGeom>
              <a:avLst/>
              <a:gdLst>
                <a:gd name="T0" fmla="*/ 10946 w 12062"/>
                <a:gd name="T1" fmla="*/ 12419 h 16058"/>
                <a:gd name="T2" fmla="*/ 10253 w 12062"/>
                <a:gd name="T3" fmla="*/ 13775 h 16058"/>
                <a:gd name="T4" fmla="*/ 9063 w 12062"/>
                <a:gd name="T5" fmla="*/ 14707 h 16058"/>
                <a:gd name="T6" fmla="*/ 7539 w 12062"/>
                <a:gd name="T7" fmla="*/ 15054 h 16058"/>
                <a:gd name="T8" fmla="*/ 3155 w 12062"/>
                <a:gd name="T9" fmla="*/ 14778 h 16058"/>
                <a:gd name="T10" fmla="*/ 1920 w 12062"/>
                <a:gd name="T11" fmla="*/ 13902 h 16058"/>
                <a:gd name="T12" fmla="*/ 1164 w 12062"/>
                <a:gd name="T13" fmla="*/ 12585 h 16058"/>
                <a:gd name="T14" fmla="*/ 1005 w 12062"/>
                <a:gd name="T15" fmla="*/ 9534 h 16058"/>
                <a:gd name="T16" fmla="*/ 1044 w 12062"/>
                <a:gd name="T17" fmla="*/ 7834 h 16058"/>
                <a:gd name="T18" fmla="*/ 1170 w 12062"/>
                <a:gd name="T19" fmla="*/ 7658 h 16058"/>
                <a:gd name="T20" fmla="*/ 1358 w 12062"/>
                <a:gd name="T21" fmla="*/ 7550 h 16058"/>
                <a:gd name="T22" fmla="*/ 10554 w 12062"/>
                <a:gd name="T23" fmla="*/ 7527 h 16058"/>
                <a:gd name="T24" fmla="*/ 10772 w 12062"/>
                <a:gd name="T25" fmla="*/ 7576 h 16058"/>
                <a:gd name="T26" fmla="*/ 10942 w 12062"/>
                <a:gd name="T27" fmla="*/ 7710 h 16058"/>
                <a:gd name="T28" fmla="*/ 11041 w 12062"/>
                <a:gd name="T29" fmla="*/ 7904 h 16058"/>
                <a:gd name="T30" fmla="*/ 8041 w 12062"/>
                <a:gd name="T31" fmla="*/ 6524 h 16058"/>
                <a:gd name="T32" fmla="*/ 4111 w 12062"/>
                <a:gd name="T33" fmla="*/ 3919 h 16058"/>
                <a:gd name="T34" fmla="*/ 4543 w 12062"/>
                <a:gd name="T35" fmla="*/ 3166 h 16058"/>
                <a:gd name="T36" fmla="*/ 5248 w 12062"/>
                <a:gd name="T37" fmla="*/ 2667 h 16058"/>
                <a:gd name="T38" fmla="*/ 6135 w 12062"/>
                <a:gd name="T39" fmla="*/ 2512 h 16058"/>
                <a:gd name="T40" fmla="*/ 6989 w 12062"/>
                <a:gd name="T41" fmla="*/ 2751 h 16058"/>
                <a:gd name="T42" fmla="*/ 7642 w 12062"/>
                <a:gd name="T43" fmla="*/ 3315 h 16058"/>
                <a:gd name="T44" fmla="*/ 8000 w 12062"/>
                <a:gd name="T45" fmla="*/ 4112 h 16058"/>
                <a:gd name="T46" fmla="*/ 2584 w 12062"/>
                <a:gd name="T47" fmla="*/ 3809 h 16058"/>
                <a:gd name="T48" fmla="*/ 3212 w 12062"/>
                <a:gd name="T49" fmla="*/ 2415 h 16058"/>
                <a:gd name="T50" fmla="*/ 4354 w 12062"/>
                <a:gd name="T51" fmla="*/ 1427 h 16058"/>
                <a:gd name="T52" fmla="*/ 5850 w 12062"/>
                <a:gd name="T53" fmla="*/ 1009 h 16058"/>
                <a:gd name="T54" fmla="*/ 7400 w 12062"/>
                <a:gd name="T55" fmla="*/ 1280 h 16058"/>
                <a:gd name="T56" fmla="*/ 8635 w 12062"/>
                <a:gd name="T57" fmla="*/ 2155 h 16058"/>
                <a:gd name="T58" fmla="*/ 9391 w 12062"/>
                <a:gd name="T59" fmla="*/ 3472 h 16058"/>
                <a:gd name="T60" fmla="*/ 8544 w 12062"/>
                <a:gd name="T61" fmla="*/ 4518 h 16058"/>
                <a:gd name="T62" fmla="*/ 8297 w 12062"/>
                <a:gd name="T63" fmla="*/ 3430 h 16058"/>
                <a:gd name="T64" fmla="*/ 7629 w 12062"/>
                <a:gd name="T65" fmla="*/ 2581 h 16058"/>
                <a:gd name="T66" fmla="*/ 6659 w 12062"/>
                <a:gd name="T67" fmla="*/ 2088 h 16058"/>
                <a:gd name="T68" fmla="*/ 5524 w 12062"/>
                <a:gd name="T69" fmla="*/ 2059 h 16058"/>
                <a:gd name="T70" fmla="*/ 4527 w 12062"/>
                <a:gd name="T71" fmla="*/ 2507 h 16058"/>
                <a:gd name="T72" fmla="*/ 3822 w 12062"/>
                <a:gd name="T73" fmla="*/ 3322 h 16058"/>
                <a:gd name="T74" fmla="*/ 3521 w 12062"/>
                <a:gd name="T75" fmla="*/ 4389 h 16058"/>
                <a:gd name="T76" fmla="*/ 10502 w 12062"/>
                <a:gd name="T77" fmla="*/ 3829 h 16058"/>
                <a:gd name="T78" fmla="*/ 9782 w 12062"/>
                <a:gd name="T79" fmla="*/ 1991 h 16058"/>
                <a:gd name="T80" fmla="*/ 8376 w 12062"/>
                <a:gd name="T81" fmla="*/ 653 h 16058"/>
                <a:gd name="T82" fmla="*/ 6493 w 12062"/>
                <a:gd name="T83" fmla="*/ 23 h 16058"/>
                <a:gd name="T84" fmla="*/ 4476 w 12062"/>
                <a:gd name="T85" fmla="*/ 274 h 16058"/>
                <a:gd name="T86" fmla="*/ 2833 w 12062"/>
                <a:gd name="T87" fmla="*/ 1323 h 16058"/>
                <a:gd name="T88" fmla="*/ 1782 w 12062"/>
                <a:gd name="T89" fmla="*/ 2964 h 16058"/>
                <a:gd name="T90" fmla="*/ 1430 w 12062"/>
                <a:gd name="T91" fmla="*/ 6526 h 16058"/>
                <a:gd name="T92" fmla="*/ 789 w 12062"/>
                <a:gd name="T93" fmla="*/ 6705 h 16058"/>
                <a:gd name="T94" fmla="*/ 300 w 12062"/>
                <a:gd name="T95" fmla="*/ 7129 h 16058"/>
                <a:gd name="T96" fmla="*/ 30 w 12062"/>
                <a:gd name="T97" fmla="*/ 7726 h 16058"/>
                <a:gd name="T98" fmla="*/ 6 w 12062"/>
                <a:gd name="T99" fmla="*/ 11775 h 16058"/>
                <a:gd name="T100" fmla="*/ 546 w 12062"/>
                <a:gd name="T101" fmla="*/ 13694 h 16058"/>
                <a:gd name="T102" fmla="*/ 1817 w 12062"/>
                <a:gd name="T103" fmla="*/ 15161 h 16058"/>
                <a:gd name="T104" fmla="*/ 3612 w 12062"/>
                <a:gd name="T105" fmla="*/ 15967 h 16058"/>
                <a:gd name="T106" fmla="*/ 8450 w 12062"/>
                <a:gd name="T107" fmla="*/ 15967 h 16058"/>
                <a:gd name="T108" fmla="*/ 10245 w 12062"/>
                <a:gd name="T109" fmla="*/ 15161 h 16058"/>
                <a:gd name="T110" fmla="*/ 11516 w 12062"/>
                <a:gd name="T111" fmla="*/ 13694 h 16058"/>
                <a:gd name="T112" fmla="*/ 12056 w 12062"/>
                <a:gd name="T113" fmla="*/ 11775 h 16058"/>
                <a:gd name="T114" fmla="*/ 12032 w 12062"/>
                <a:gd name="T115" fmla="*/ 7726 h 16058"/>
                <a:gd name="T116" fmla="*/ 11762 w 12062"/>
                <a:gd name="T117" fmla="*/ 7129 h 16058"/>
                <a:gd name="T118" fmla="*/ 11273 w 12062"/>
                <a:gd name="T119" fmla="*/ 6705 h 16058"/>
                <a:gd name="T120" fmla="*/ 10632 w 12062"/>
                <a:gd name="T121" fmla="*/ 6526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062" h="16058">
                  <a:moveTo>
                    <a:pt x="11057" y="9534"/>
                  </a:moveTo>
                  <a:lnTo>
                    <a:pt x="11057" y="10036"/>
                  </a:lnTo>
                  <a:lnTo>
                    <a:pt x="11057" y="11040"/>
                  </a:lnTo>
                  <a:lnTo>
                    <a:pt x="11057" y="11542"/>
                  </a:lnTo>
                  <a:lnTo>
                    <a:pt x="11052" y="11722"/>
                  </a:lnTo>
                  <a:lnTo>
                    <a:pt x="11039" y="11900"/>
                  </a:lnTo>
                  <a:lnTo>
                    <a:pt x="11017" y="12076"/>
                  </a:lnTo>
                  <a:lnTo>
                    <a:pt x="10985" y="12248"/>
                  </a:lnTo>
                  <a:lnTo>
                    <a:pt x="10946" y="12419"/>
                  </a:lnTo>
                  <a:lnTo>
                    <a:pt x="10898" y="12585"/>
                  </a:lnTo>
                  <a:lnTo>
                    <a:pt x="10843" y="12748"/>
                  </a:lnTo>
                  <a:lnTo>
                    <a:pt x="10780" y="12908"/>
                  </a:lnTo>
                  <a:lnTo>
                    <a:pt x="10709" y="13063"/>
                  </a:lnTo>
                  <a:lnTo>
                    <a:pt x="10632" y="13215"/>
                  </a:lnTo>
                  <a:lnTo>
                    <a:pt x="10547" y="13361"/>
                  </a:lnTo>
                  <a:lnTo>
                    <a:pt x="10455" y="13504"/>
                  </a:lnTo>
                  <a:lnTo>
                    <a:pt x="10357" y="13642"/>
                  </a:lnTo>
                  <a:lnTo>
                    <a:pt x="10253" y="13775"/>
                  </a:lnTo>
                  <a:lnTo>
                    <a:pt x="10142" y="13902"/>
                  </a:lnTo>
                  <a:lnTo>
                    <a:pt x="10026" y="14025"/>
                  </a:lnTo>
                  <a:lnTo>
                    <a:pt x="9903" y="14141"/>
                  </a:lnTo>
                  <a:lnTo>
                    <a:pt x="9775" y="14251"/>
                  </a:lnTo>
                  <a:lnTo>
                    <a:pt x="9643" y="14356"/>
                  </a:lnTo>
                  <a:lnTo>
                    <a:pt x="9504" y="14453"/>
                  </a:lnTo>
                  <a:lnTo>
                    <a:pt x="9361" y="14546"/>
                  </a:lnTo>
                  <a:lnTo>
                    <a:pt x="9214" y="14630"/>
                  </a:lnTo>
                  <a:lnTo>
                    <a:pt x="9063" y="14707"/>
                  </a:lnTo>
                  <a:lnTo>
                    <a:pt x="8907" y="14778"/>
                  </a:lnTo>
                  <a:lnTo>
                    <a:pt x="8747" y="14841"/>
                  </a:lnTo>
                  <a:lnTo>
                    <a:pt x="8583" y="14896"/>
                  </a:lnTo>
                  <a:lnTo>
                    <a:pt x="8416" y="14944"/>
                  </a:lnTo>
                  <a:lnTo>
                    <a:pt x="8246" y="14983"/>
                  </a:lnTo>
                  <a:lnTo>
                    <a:pt x="8073" y="15014"/>
                  </a:lnTo>
                  <a:lnTo>
                    <a:pt x="7898" y="15036"/>
                  </a:lnTo>
                  <a:lnTo>
                    <a:pt x="7720" y="15049"/>
                  </a:lnTo>
                  <a:lnTo>
                    <a:pt x="7539" y="15054"/>
                  </a:lnTo>
                  <a:lnTo>
                    <a:pt x="4523" y="15054"/>
                  </a:lnTo>
                  <a:lnTo>
                    <a:pt x="4342" y="15049"/>
                  </a:lnTo>
                  <a:lnTo>
                    <a:pt x="4164" y="15036"/>
                  </a:lnTo>
                  <a:lnTo>
                    <a:pt x="3989" y="15014"/>
                  </a:lnTo>
                  <a:lnTo>
                    <a:pt x="3816" y="14983"/>
                  </a:lnTo>
                  <a:lnTo>
                    <a:pt x="3645" y="14944"/>
                  </a:lnTo>
                  <a:lnTo>
                    <a:pt x="3478" y="14896"/>
                  </a:lnTo>
                  <a:lnTo>
                    <a:pt x="3315" y="14841"/>
                  </a:lnTo>
                  <a:lnTo>
                    <a:pt x="3155" y="14778"/>
                  </a:lnTo>
                  <a:lnTo>
                    <a:pt x="2999" y="14707"/>
                  </a:lnTo>
                  <a:lnTo>
                    <a:pt x="2848" y="14630"/>
                  </a:lnTo>
                  <a:lnTo>
                    <a:pt x="2701" y="14546"/>
                  </a:lnTo>
                  <a:lnTo>
                    <a:pt x="2558" y="14453"/>
                  </a:lnTo>
                  <a:lnTo>
                    <a:pt x="2419" y="14356"/>
                  </a:lnTo>
                  <a:lnTo>
                    <a:pt x="2287" y="14251"/>
                  </a:lnTo>
                  <a:lnTo>
                    <a:pt x="2159" y="14141"/>
                  </a:lnTo>
                  <a:lnTo>
                    <a:pt x="2036" y="14025"/>
                  </a:lnTo>
                  <a:lnTo>
                    <a:pt x="1920" y="13902"/>
                  </a:lnTo>
                  <a:lnTo>
                    <a:pt x="1809" y="13775"/>
                  </a:lnTo>
                  <a:lnTo>
                    <a:pt x="1705" y="13642"/>
                  </a:lnTo>
                  <a:lnTo>
                    <a:pt x="1607" y="13504"/>
                  </a:lnTo>
                  <a:lnTo>
                    <a:pt x="1515" y="13361"/>
                  </a:lnTo>
                  <a:lnTo>
                    <a:pt x="1430" y="13215"/>
                  </a:lnTo>
                  <a:lnTo>
                    <a:pt x="1353" y="13063"/>
                  </a:lnTo>
                  <a:lnTo>
                    <a:pt x="1282" y="12908"/>
                  </a:lnTo>
                  <a:lnTo>
                    <a:pt x="1219" y="12748"/>
                  </a:lnTo>
                  <a:lnTo>
                    <a:pt x="1164" y="12585"/>
                  </a:lnTo>
                  <a:lnTo>
                    <a:pt x="1116" y="12419"/>
                  </a:lnTo>
                  <a:lnTo>
                    <a:pt x="1077" y="12248"/>
                  </a:lnTo>
                  <a:lnTo>
                    <a:pt x="1045" y="12076"/>
                  </a:lnTo>
                  <a:lnTo>
                    <a:pt x="1023" y="11900"/>
                  </a:lnTo>
                  <a:lnTo>
                    <a:pt x="1010" y="11722"/>
                  </a:lnTo>
                  <a:lnTo>
                    <a:pt x="1005" y="11542"/>
                  </a:lnTo>
                  <a:lnTo>
                    <a:pt x="1005" y="11040"/>
                  </a:lnTo>
                  <a:lnTo>
                    <a:pt x="1005" y="10036"/>
                  </a:lnTo>
                  <a:lnTo>
                    <a:pt x="1005" y="9534"/>
                  </a:lnTo>
                  <a:lnTo>
                    <a:pt x="1005" y="8029"/>
                  </a:lnTo>
                  <a:lnTo>
                    <a:pt x="1006" y="8003"/>
                  </a:lnTo>
                  <a:lnTo>
                    <a:pt x="1008" y="7978"/>
                  </a:lnTo>
                  <a:lnTo>
                    <a:pt x="1011" y="7953"/>
                  </a:lnTo>
                  <a:lnTo>
                    <a:pt x="1015" y="7928"/>
                  </a:lnTo>
                  <a:lnTo>
                    <a:pt x="1021" y="7904"/>
                  </a:lnTo>
                  <a:lnTo>
                    <a:pt x="1027" y="7879"/>
                  </a:lnTo>
                  <a:lnTo>
                    <a:pt x="1035" y="7856"/>
                  </a:lnTo>
                  <a:lnTo>
                    <a:pt x="1044" y="7834"/>
                  </a:lnTo>
                  <a:lnTo>
                    <a:pt x="1054" y="7811"/>
                  </a:lnTo>
                  <a:lnTo>
                    <a:pt x="1065" y="7790"/>
                  </a:lnTo>
                  <a:lnTo>
                    <a:pt x="1078" y="7769"/>
                  </a:lnTo>
                  <a:lnTo>
                    <a:pt x="1091" y="7749"/>
                  </a:lnTo>
                  <a:lnTo>
                    <a:pt x="1105" y="7729"/>
                  </a:lnTo>
                  <a:lnTo>
                    <a:pt x="1120" y="7710"/>
                  </a:lnTo>
                  <a:lnTo>
                    <a:pt x="1136" y="7692"/>
                  </a:lnTo>
                  <a:lnTo>
                    <a:pt x="1152" y="7675"/>
                  </a:lnTo>
                  <a:lnTo>
                    <a:pt x="1170" y="7658"/>
                  </a:lnTo>
                  <a:lnTo>
                    <a:pt x="1188" y="7642"/>
                  </a:lnTo>
                  <a:lnTo>
                    <a:pt x="1207" y="7627"/>
                  </a:lnTo>
                  <a:lnTo>
                    <a:pt x="1226" y="7612"/>
                  </a:lnTo>
                  <a:lnTo>
                    <a:pt x="1247" y="7599"/>
                  </a:lnTo>
                  <a:lnTo>
                    <a:pt x="1269" y="7587"/>
                  </a:lnTo>
                  <a:lnTo>
                    <a:pt x="1290" y="7576"/>
                  </a:lnTo>
                  <a:lnTo>
                    <a:pt x="1312" y="7566"/>
                  </a:lnTo>
                  <a:lnTo>
                    <a:pt x="1335" y="7557"/>
                  </a:lnTo>
                  <a:lnTo>
                    <a:pt x="1358" y="7550"/>
                  </a:lnTo>
                  <a:lnTo>
                    <a:pt x="1382" y="7543"/>
                  </a:lnTo>
                  <a:lnTo>
                    <a:pt x="1406" y="7537"/>
                  </a:lnTo>
                  <a:lnTo>
                    <a:pt x="1431" y="7533"/>
                  </a:lnTo>
                  <a:lnTo>
                    <a:pt x="1456" y="7530"/>
                  </a:lnTo>
                  <a:lnTo>
                    <a:pt x="1482" y="7528"/>
                  </a:lnTo>
                  <a:lnTo>
                    <a:pt x="1508" y="7527"/>
                  </a:lnTo>
                  <a:lnTo>
                    <a:pt x="2513" y="7527"/>
                  </a:lnTo>
                  <a:lnTo>
                    <a:pt x="9549" y="7527"/>
                  </a:lnTo>
                  <a:lnTo>
                    <a:pt x="10554" y="7527"/>
                  </a:lnTo>
                  <a:lnTo>
                    <a:pt x="10580" y="7528"/>
                  </a:lnTo>
                  <a:lnTo>
                    <a:pt x="10606" y="7530"/>
                  </a:lnTo>
                  <a:lnTo>
                    <a:pt x="10631" y="7533"/>
                  </a:lnTo>
                  <a:lnTo>
                    <a:pt x="10656" y="7537"/>
                  </a:lnTo>
                  <a:lnTo>
                    <a:pt x="10680" y="7543"/>
                  </a:lnTo>
                  <a:lnTo>
                    <a:pt x="10704" y="7550"/>
                  </a:lnTo>
                  <a:lnTo>
                    <a:pt x="10727" y="7557"/>
                  </a:lnTo>
                  <a:lnTo>
                    <a:pt x="10750" y="7566"/>
                  </a:lnTo>
                  <a:lnTo>
                    <a:pt x="10772" y="7576"/>
                  </a:lnTo>
                  <a:lnTo>
                    <a:pt x="10793" y="7587"/>
                  </a:lnTo>
                  <a:lnTo>
                    <a:pt x="10815" y="7599"/>
                  </a:lnTo>
                  <a:lnTo>
                    <a:pt x="10836" y="7612"/>
                  </a:lnTo>
                  <a:lnTo>
                    <a:pt x="10855" y="7627"/>
                  </a:lnTo>
                  <a:lnTo>
                    <a:pt x="10874" y="7642"/>
                  </a:lnTo>
                  <a:lnTo>
                    <a:pt x="10892" y="7658"/>
                  </a:lnTo>
                  <a:lnTo>
                    <a:pt x="10909" y="7675"/>
                  </a:lnTo>
                  <a:lnTo>
                    <a:pt x="10926" y="7692"/>
                  </a:lnTo>
                  <a:lnTo>
                    <a:pt x="10942" y="7710"/>
                  </a:lnTo>
                  <a:lnTo>
                    <a:pt x="10957" y="7729"/>
                  </a:lnTo>
                  <a:lnTo>
                    <a:pt x="10971" y="7749"/>
                  </a:lnTo>
                  <a:lnTo>
                    <a:pt x="10984" y="7769"/>
                  </a:lnTo>
                  <a:lnTo>
                    <a:pt x="10997" y="7790"/>
                  </a:lnTo>
                  <a:lnTo>
                    <a:pt x="11008" y="7811"/>
                  </a:lnTo>
                  <a:lnTo>
                    <a:pt x="11018" y="7834"/>
                  </a:lnTo>
                  <a:lnTo>
                    <a:pt x="11027" y="7856"/>
                  </a:lnTo>
                  <a:lnTo>
                    <a:pt x="11035" y="7879"/>
                  </a:lnTo>
                  <a:lnTo>
                    <a:pt x="11041" y="7904"/>
                  </a:lnTo>
                  <a:lnTo>
                    <a:pt x="11047" y="7928"/>
                  </a:lnTo>
                  <a:lnTo>
                    <a:pt x="11051" y="7953"/>
                  </a:lnTo>
                  <a:lnTo>
                    <a:pt x="11054" y="7978"/>
                  </a:lnTo>
                  <a:lnTo>
                    <a:pt x="11056" y="8003"/>
                  </a:lnTo>
                  <a:lnTo>
                    <a:pt x="11057" y="8029"/>
                  </a:lnTo>
                  <a:lnTo>
                    <a:pt x="11057" y="9534"/>
                  </a:lnTo>
                  <a:close/>
                  <a:moveTo>
                    <a:pt x="8041" y="4516"/>
                  </a:moveTo>
                  <a:lnTo>
                    <a:pt x="8041" y="4518"/>
                  </a:lnTo>
                  <a:lnTo>
                    <a:pt x="8041" y="6524"/>
                  </a:lnTo>
                  <a:lnTo>
                    <a:pt x="4021" y="6524"/>
                  </a:lnTo>
                  <a:lnTo>
                    <a:pt x="4021" y="4518"/>
                  </a:lnTo>
                  <a:lnTo>
                    <a:pt x="4021" y="4516"/>
                  </a:lnTo>
                  <a:lnTo>
                    <a:pt x="4024" y="4413"/>
                  </a:lnTo>
                  <a:lnTo>
                    <a:pt x="4031" y="4312"/>
                  </a:lnTo>
                  <a:lnTo>
                    <a:pt x="4044" y="4210"/>
                  </a:lnTo>
                  <a:lnTo>
                    <a:pt x="4062" y="4112"/>
                  </a:lnTo>
                  <a:lnTo>
                    <a:pt x="4084" y="4015"/>
                  </a:lnTo>
                  <a:lnTo>
                    <a:pt x="4111" y="3919"/>
                  </a:lnTo>
                  <a:lnTo>
                    <a:pt x="4142" y="3826"/>
                  </a:lnTo>
                  <a:lnTo>
                    <a:pt x="4178" y="3735"/>
                  </a:lnTo>
                  <a:lnTo>
                    <a:pt x="4219" y="3646"/>
                  </a:lnTo>
                  <a:lnTo>
                    <a:pt x="4263" y="3560"/>
                  </a:lnTo>
                  <a:lnTo>
                    <a:pt x="4312" y="3476"/>
                  </a:lnTo>
                  <a:lnTo>
                    <a:pt x="4364" y="3394"/>
                  </a:lnTo>
                  <a:lnTo>
                    <a:pt x="4420" y="3315"/>
                  </a:lnTo>
                  <a:lnTo>
                    <a:pt x="4480" y="3240"/>
                  </a:lnTo>
                  <a:lnTo>
                    <a:pt x="4543" y="3166"/>
                  </a:lnTo>
                  <a:lnTo>
                    <a:pt x="4610" y="3097"/>
                  </a:lnTo>
                  <a:lnTo>
                    <a:pt x="4679" y="3031"/>
                  </a:lnTo>
                  <a:lnTo>
                    <a:pt x="4752" y="2968"/>
                  </a:lnTo>
                  <a:lnTo>
                    <a:pt x="4828" y="2908"/>
                  </a:lnTo>
                  <a:lnTo>
                    <a:pt x="4907" y="2852"/>
                  </a:lnTo>
                  <a:lnTo>
                    <a:pt x="4989" y="2800"/>
                  </a:lnTo>
                  <a:lnTo>
                    <a:pt x="5073" y="2751"/>
                  </a:lnTo>
                  <a:lnTo>
                    <a:pt x="5160" y="2707"/>
                  </a:lnTo>
                  <a:lnTo>
                    <a:pt x="5248" y="2667"/>
                  </a:lnTo>
                  <a:lnTo>
                    <a:pt x="5339" y="2631"/>
                  </a:lnTo>
                  <a:lnTo>
                    <a:pt x="5433" y="2599"/>
                  </a:lnTo>
                  <a:lnTo>
                    <a:pt x="5528" y="2572"/>
                  </a:lnTo>
                  <a:lnTo>
                    <a:pt x="5626" y="2550"/>
                  </a:lnTo>
                  <a:lnTo>
                    <a:pt x="5724" y="2532"/>
                  </a:lnTo>
                  <a:lnTo>
                    <a:pt x="5825" y="2519"/>
                  </a:lnTo>
                  <a:lnTo>
                    <a:pt x="5927" y="2512"/>
                  </a:lnTo>
                  <a:lnTo>
                    <a:pt x="6031" y="2509"/>
                  </a:lnTo>
                  <a:lnTo>
                    <a:pt x="6135" y="2512"/>
                  </a:lnTo>
                  <a:lnTo>
                    <a:pt x="6236" y="2519"/>
                  </a:lnTo>
                  <a:lnTo>
                    <a:pt x="6338" y="2532"/>
                  </a:lnTo>
                  <a:lnTo>
                    <a:pt x="6436" y="2550"/>
                  </a:lnTo>
                  <a:lnTo>
                    <a:pt x="6534" y="2572"/>
                  </a:lnTo>
                  <a:lnTo>
                    <a:pt x="6629" y="2599"/>
                  </a:lnTo>
                  <a:lnTo>
                    <a:pt x="6723" y="2631"/>
                  </a:lnTo>
                  <a:lnTo>
                    <a:pt x="6813" y="2667"/>
                  </a:lnTo>
                  <a:lnTo>
                    <a:pt x="6902" y="2707"/>
                  </a:lnTo>
                  <a:lnTo>
                    <a:pt x="6989" y="2751"/>
                  </a:lnTo>
                  <a:lnTo>
                    <a:pt x="7073" y="2800"/>
                  </a:lnTo>
                  <a:lnTo>
                    <a:pt x="7155" y="2852"/>
                  </a:lnTo>
                  <a:lnTo>
                    <a:pt x="7234" y="2908"/>
                  </a:lnTo>
                  <a:lnTo>
                    <a:pt x="7310" y="2968"/>
                  </a:lnTo>
                  <a:lnTo>
                    <a:pt x="7383" y="3031"/>
                  </a:lnTo>
                  <a:lnTo>
                    <a:pt x="7452" y="3097"/>
                  </a:lnTo>
                  <a:lnTo>
                    <a:pt x="7519" y="3166"/>
                  </a:lnTo>
                  <a:lnTo>
                    <a:pt x="7582" y="3240"/>
                  </a:lnTo>
                  <a:lnTo>
                    <a:pt x="7642" y="3315"/>
                  </a:lnTo>
                  <a:lnTo>
                    <a:pt x="7698" y="3394"/>
                  </a:lnTo>
                  <a:lnTo>
                    <a:pt x="7750" y="3476"/>
                  </a:lnTo>
                  <a:lnTo>
                    <a:pt x="7799" y="3560"/>
                  </a:lnTo>
                  <a:lnTo>
                    <a:pt x="7843" y="3646"/>
                  </a:lnTo>
                  <a:lnTo>
                    <a:pt x="7884" y="3735"/>
                  </a:lnTo>
                  <a:lnTo>
                    <a:pt x="7920" y="3826"/>
                  </a:lnTo>
                  <a:lnTo>
                    <a:pt x="7951" y="3919"/>
                  </a:lnTo>
                  <a:lnTo>
                    <a:pt x="7978" y="4015"/>
                  </a:lnTo>
                  <a:lnTo>
                    <a:pt x="8000" y="4112"/>
                  </a:lnTo>
                  <a:lnTo>
                    <a:pt x="8018" y="4210"/>
                  </a:lnTo>
                  <a:lnTo>
                    <a:pt x="8031" y="4312"/>
                  </a:lnTo>
                  <a:lnTo>
                    <a:pt x="8038" y="4413"/>
                  </a:lnTo>
                  <a:lnTo>
                    <a:pt x="8041" y="4516"/>
                  </a:lnTo>
                  <a:close/>
                  <a:moveTo>
                    <a:pt x="2513" y="4516"/>
                  </a:moveTo>
                  <a:lnTo>
                    <a:pt x="2517" y="4336"/>
                  </a:lnTo>
                  <a:lnTo>
                    <a:pt x="2531" y="4157"/>
                  </a:lnTo>
                  <a:lnTo>
                    <a:pt x="2553" y="3981"/>
                  </a:lnTo>
                  <a:lnTo>
                    <a:pt x="2584" y="3809"/>
                  </a:lnTo>
                  <a:lnTo>
                    <a:pt x="2623" y="3638"/>
                  </a:lnTo>
                  <a:lnTo>
                    <a:pt x="2671" y="3472"/>
                  </a:lnTo>
                  <a:lnTo>
                    <a:pt x="2726" y="3309"/>
                  </a:lnTo>
                  <a:lnTo>
                    <a:pt x="2789" y="3149"/>
                  </a:lnTo>
                  <a:lnTo>
                    <a:pt x="2860" y="2994"/>
                  </a:lnTo>
                  <a:lnTo>
                    <a:pt x="2937" y="2842"/>
                  </a:lnTo>
                  <a:lnTo>
                    <a:pt x="3023" y="2695"/>
                  </a:lnTo>
                  <a:lnTo>
                    <a:pt x="3114" y="2552"/>
                  </a:lnTo>
                  <a:lnTo>
                    <a:pt x="3212" y="2415"/>
                  </a:lnTo>
                  <a:lnTo>
                    <a:pt x="3316" y="2282"/>
                  </a:lnTo>
                  <a:lnTo>
                    <a:pt x="3427" y="2155"/>
                  </a:lnTo>
                  <a:lnTo>
                    <a:pt x="3543" y="2032"/>
                  </a:lnTo>
                  <a:lnTo>
                    <a:pt x="3666" y="1916"/>
                  </a:lnTo>
                  <a:lnTo>
                    <a:pt x="3793" y="1806"/>
                  </a:lnTo>
                  <a:lnTo>
                    <a:pt x="3926" y="1701"/>
                  </a:lnTo>
                  <a:lnTo>
                    <a:pt x="4064" y="1604"/>
                  </a:lnTo>
                  <a:lnTo>
                    <a:pt x="4207" y="1512"/>
                  </a:lnTo>
                  <a:lnTo>
                    <a:pt x="4354" y="1427"/>
                  </a:lnTo>
                  <a:lnTo>
                    <a:pt x="4505" y="1350"/>
                  </a:lnTo>
                  <a:lnTo>
                    <a:pt x="4662" y="1280"/>
                  </a:lnTo>
                  <a:lnTo>
                    <a:pt x="4821" y="1216"/>
                  </a:lnTo>
                  <a:lnTo>
                    <a:pt x="4985" y="1161"/>
                  </a:lnTo>
                  <a:lnTo>
                    <a:pt x="5151" y="1114"/>
                  </a:lnTo>
                  <a:lnTo>
                    <a:pt x="5322" y="1075"/>
                  </a:lnTo>
                  <a:lnTo>
                    <a:pt x="5495" y="1044"/>
                  </a:lnTo>
                  <a:lnTo>
                    <a:pt x="5671" y="1022"/>
                  </a:lnTo>
                  <a:lnTo>
                    <a:pt x="5850" y="1009"/>
                  </a:lnTo>
                  <a:lnTo>
                    <a:pt x="6031" y="1004"/>
                  </a:lnTo>
                  <a:lnTo>
                    <a:pt x="6212" y="1009"/>
                  </a:lnTo>
                  <a:lnTo>
                    <a:pt x="6391" y="1022"/>
                  </a:lnTo>
                  <a:lnTo>
                    <a:pt x="6567" y="1044"/>
                  </a:lnTo>
                  <a:lnTo>
                    <a:pt x="6740" y="1075"/>
                  </a:lnTo>
                  <a:lnTo>
                    <a:pt x="6911" y="1114"/>
                  </a:lnTo>
                  <a:lnTo>
                    <a:pt x="7077" y="1161"/>
                  </a:lnTo>
                  <a:lnTo>
                    <a:pt x="7240" y="1216"/>
                  </a:lnTo>
                  <a:lnTo>
                    <a:pt x="7400" y="1280"/>
                  </a:lnTo>
                  <a:lnTo>
                    <a:pt x="7556" y="1350"/>
                  </a:lnTo>
                  <a:lnTo>
                    <a:pt x="7708" y="1427"/>
                  </a:lnTo>
                  <a:lnTo>
                    <a:pt x="7855" y="1512"/>
                  </a:lnTo>
                  <a:lnTo>
                    <a:pt x="7998" y="1604"/>
                  </a:lnTo>
                  <a:lnTo>
                    <a:pt x="8136" y="1701"/>
                  </a:lnTo>
                  <a:lnTo>
                    <a:pt x="8269" y="1806"/>
                  </a:lnTo>
                  <a:lnTo>
                    <a:pt x="8396" y="1916"/>
                  </a:lnTo>
                  <a:lnTo>
                    <a:pt x="8519" y="2032"/>
                  </a:lnTo>
                  <a:lnTo>
                    <a:pt x="8635" y="2155"/>
                  </a:lnTo>
                  <a:lnTo>
                    <a:pt x="8746" y="2282"/>
                  </a:lnTo>
                  <a:lnTo>
                    <a:pt x="8850" y="2415"/>
                  </a:lnTo>
                  <a:lnTo>
                    <a:pt x="8948" y="2552"/>
                  </a:lnTo>
                  <a:lnTo>
                    <a:pt x="9039" y="2695"/>
                  </a:lnTo>
                  <a:lnTo>
                    <a:pt x="9125" y="2842"/>
                  </a:lnTo>
                  <a:lnTo>
                    <a:pt x="9202" y="2994"/>
                  </a:lnTo>
                  <a:lnTo>
                    <a:pt x="9273" y="3149"/>
                  </a:lnTo>
                  <a:lnTo>
                    <a:pt x="9336" y="3309"/>
                  </a:lnTo>
                  <a:lnTo>
                    <a:pt x="9391" y="3472"/>
                  </a:lnTo>
                  <a:lnTo>
                    <a:pt x="9439" y="3638"/>
                  </a:lnTo>
                  <a:lnTo>
                    <a:pt x="9478" y="3809"/>
                  </a:lnTo>
                  <a:lnTo>
                    <a:pt x="9509" y="3981"/>
                  </a:lnTo>
                  <a:lnTo>
                    <a:pt x="9531" y="4157"/>
                  </a:lnTo>
                  <a:lnTo>
                    <a:pt x="9544" y="4336"/>
                  </a:lnTo>
                  <a:lnTo>
                    <a:pt x="9549" y="4516"/>
                  </a:lnTo>
                  <a:lnTo>
                    <a:pt x="9549" y="6524"/>
                  </a:lnTo>
                  <a:lnTo>
                    <a:pt x="8544" y="6524"/>
                  </a:lnTo>
                  <a:lnTo>
                    <a:pt x="8544" y="4518"/>
                  </a:lnTo>
                  <a:lnTo>
                    <a:pt x="8541" y="4389"/>
                  </a:lnTo>
                  <a:lnTo>
                    <a:pt x="8531" y="4261"/>
                  </a:lnTo>
                  <a:lnTo>
                    <a:pt x="8515" y="4136"/>
                  </a:lnTo>
                  <a:lnTo>
                    <a:pt x="8493" y="4012"/>
                  </a:lnTo>
                  <a:lnTo>
                    <a:pt x="8465" y="3891"/>
                  </a:lnTo>
                  <a:lnTo>
                    <a:pt x="8431" y="3772"/>
                  </a:lnTo>
                  <a:lnTo>
                    <a:pt x="8391" y="3655"/>
                  </a:lnTo>
                  <a:lnTo>
                    <a:pt x="8347" y="3541"/>
                  </a:lnTo>
                  <a:lnTo>
                    <a:pt x="8297" y="3430"/>
                  </a:lnTo>
                  <a:lnTo>
                    <a:pt x="8240" y="3322"/>
                  </a:lnTo>
                  <a:lnTo>
                    <a:pt x="8180" y="3217"/>
                  </a:lnTo>
                  <a:lnTo>
                    <a:pt x="8115" y="3115"/>
                  </a:lnTo>
                  <a:lnTo>
                    <a:pt x="8044" y="3017"/>
                  </a:lnTo>
                  <a:lnTo>
                    <a:pt x="7970" y="2922"/>
                  </a:lnTo>
                  <a:lnTo>
                    <a:pt x="7892" y="2830"/>
                  </a:lnTo>
                  <a:lnTo>
                    <a:pt x="7808" y="2744"/>
                  </a:lnTo>
                  <a:lnTo>
                    <a:pt x="7721" y="2661"/>
                  </a:lnTo>
                  <a:lnTo>
                    <a:pt x="7629" y="2581"/>
                  </a:lnTo>
                  <a:lnTo>
                    <a:pt x="7535" y="2507"/>
                  </a:lnTo>
                  <a:lnTo>
                    <a:pt x="7436" y="2437"/>
                  </a:lnTo>
                  <a:lnTo>
                    <a:pt x="7334" y="2372"/>
                  </a:lnTo>
                  <a:lnTo>
                    <a:pt x="7229" y="2311"/>
                  </a:lnTo>
                  <a:lnTo>
                    <a:pt x="7121" y="2256"/>
                  </a:lnTo>
                  <a:lnTo>
                    <a:pt x="7009" y="2206"/>
                  </a:lnTo>
                  <a:lnTo>
                    <a:pt x="6895" y="2161"/>
                  </a:lnTo>
                  <a:lnTo>
                    <a:pt x="6779" y="2122"/>
                  </a:lnTo>
                  <a:lnTo>
                    <a:pt x="6659" y="2088"/>
                  </a:lnTo>
                  <a:lnTo>
                    <a:pt x="6538" y="2059"/>
                  </a:lnTo>
                  <a:lnTo>
                    <a:pt x="6414" y="2037"/>
                  </a:lnTo>
                  <a:lnTo>
                    <a:pt x="6288" y="2021"/>
                  </a:lnTo>
                  <a:lnTo>
                    <a:pt x="6161" y="2012"/>
                  </a:lnTo>
                  <a:lnTo>
                    <a:pt x="6031" y="2009"/>
                  </a:lnTo>
                  <a:lnTo>
                    <a:pt x="5901" y="2012"/>
                  </a:lnTo>
                  <a:lnTo>
                    <a:pt x="5774" y="2021"/>
                  </a:lnTo>
                  <a:lnTo>
                    <a:pt x="5648" y="2037"/>
                  </a:lnTo>
                  <a:lnTo>
                    <a:pt x="5524" y="2059"/>
                  </a:lnTo>
                  <a:lnTo>
                    <a:pt x="5403" y="2088"/>
                  </a:lnTo>
                  <a:lnTo>
                    <a:pt x="5283" y="2122"/>
                  </a:lnTo>
                  <a:lnTo>
                    <a:pt x="5167" y="2161"/>
                  </a:lnTo>
                  <a:lnTo>
                    <a:pt x="5053" y="2206"/>
                  </a:lnTo>
                  <a:lnTo>
                    <a:pt x="4941" y="2256"/>
                  </a:lnTo>
                  <a:lnTo>
                    <a:pt x="4833" y="2311"/>
                  </a:lnTo>
                  <a:lnTo>
                    <a:pt x="4727" y="2372"/>
                  </a:lnTo>
                  <a:lnTo>
                    <a:pt x="4626" y="2437"/>
                  </a:lnTo>
                  <a:lnTo>
                    <a:pt x="4527" y="2507"/>
                  </a:lnTo>
                  <a:lnTo>
                    <a:pt x="4433" y="2581"/>
                  </a:lnTo>
                  <a:lnTo>
                    <a:pt x="4341" y="2661"/>
                  </a:lnTo>
                  <a:lnTo>
                    <a:pt x="4254" y="2744"/>
                  </a:lnTo>
                  <a:lnTo>
                    <a:pt x="4170" y="2830"/>
                  </a:lnTo>
                  <a:lnTo>
                    <a:pt x="4092" y="2922"/>
                  </a:lnTo>
                  <a:lnTo>
                    <a:pt x="4017" y="3017"/>
                  </a:lnTo>
                  <a:lnTo>
                    <a:pt x="3947" y="3115"/>
                  </a:lnTo>
                  <a:lnTo>
                    <a:pt x="3882" y="3217"/>
                  </a:lnTo>
                  <a:lnTo>
                    <a:pt x="3822" y="3322"/>
                  </a:lnTo>
                  <a:lnTo>
                    <a:pt x="3765" y="3430"/>
                  </a:lnTo>
                  <a:lnTo>
                    <a:pt x="3715" y="3541"/>
                  </a:lnTo>
                  <a:lnTo>
                    <a:pt x="3671" y="3655"/>
                  </a:lnTo>
                  <a:lnTo>
                    <a:pt x="3631" y="3772"/>
                  </a:lnTo>
                  <a:lnTo>
                    <a:pt x="3597" y="3891"/>
                  </a:lnTo>
                  <a:lnTo>
                    <a:pt x="3569" y="4012"/>
                  </a:lnTo>
                  <a:lnTo>
                    <a:pt x="3547" y="4136"/>
                  </a:lnTo>
                  <a:lnTo>
                    <a:pt x="3531" y="4261"/>
                  </a:lnTo>
                  <a:lnTo>
                    <a:pt x="3521" y="4389"/>
                  </a:lnTo>
                  <a:lnTo>
                    <a:pt x="3518" y="4518"/>
                  </a:lnTo>
                  <a:lnTo>
                    <a:pt x="3518" y="6524"/>
                  </a:lnTo>
                  <a:lnTo>
                    <a:pt x="2513" y="6524"/>
                  </a:lnTo>
                  <a:lnTo>
                    <a:pt x="2513" y="4516"/>
                  </a:lnTo>
                  <a:close/>
                  <a:moveTo>
                    <a:pt x="10554" y="6524"/>
                  </a:moveTo>
                  <a:lnTo>
                    <a:pt x="10554" y="4516"/>
                  </a:lnTo>
                  <a:lnTo>
                    <a:pt x="10548" y="4283"/>
                  </a:lnTo>
                  <a:lnTo>
                    <a:pt x="10531" y="4055"/>
                  </a:lnTo>
                  <a:lnTo>
                    <a:pt x="10502" y="3829"/>
                  </a:lnTo>
                  <a:lnTo>
                    <a:pt x="10463" y="3606"/>
                  </a:lnTo>
                  <a:lnTo>
                    <a:pt x="10412" y="3387"/>
                  </a:lnTo>
                  <a:lnTo>
                    <a:pt x="10351" y="3173"/>
                  </a:lnTo>
                  <a:lnTo>
                    <a:pt x="10280" y="2964"/>
                  </a:lnTo>
                  <a:lnTo>
                    <a:pt x="10198" y="2758"/>
                  </a:lnTo>
                  <a:lnTo>
                    <a:pt x="10108" y="2558"/>
                  </a:lnTo>
                  <a:lnTo>
                    <a:pt x="10008" y="2364"/>
                  </a:lnTo>
                  <a:lnTo>
                    <a:pt x="9900" y="2175"/>
                  </a:lnTo>
                  <a:lnTo>
                    <a:pt x="9782" y="1991"/>
                  </a:lnTo>
                  <a:lnTo>
                    <a:pt x="9656" y="1815"/>
                  </a:lnTo>
                  <a:lnTo>
                    <a:pt x="9521" y="1643"/>
                  </a:lnTo>
                  <a:lnTo>
                    <a:pt x="9379" y="1479"/>
                  </a:lnTo>
                  <a:lnTo>
                    <a:pt x="9229" y="1323"/>
                  </a:lnTo>
                  <a:lnTo>
                    <a:pt x="9073" y="1173"/>
                  </a:lnTo>
                  <a:lnTo>
                    <a:pt x="8908" y="1032"/>
                  </a:lnTo>
                  <a:lnTo>
                    <a:pt x="8737" y="897"/>
                  </a:lnTo>
                  <a:lnTo>
                    <a:pt x="8560" y="771"/>
                  </a:lnTo>
                  <a:lnTo>
                    <a:pt x="8376" y="653"/>
                  </a:lnTo>
                  <a:lnTo>
                    <a:pt x="8187" y="545"/>
                  </a:lnTo>
                  <a:lnTo>
                    <a:pt x="7992" y="446"/>
                  </a:lnTo>
                  <a:lnTo>
                    <a:pt x="7792" y="355"/>
                  </a:lnTo>
                  <a:lnTo>
                    <a:pt x="7586" y="274"/>
                  </a:lnTo>
                  <a:lnTo>
                    <a:pt x="7376" y="203"/>
                  </a:lnTo>
                  <a:lnTo>
                    <a:pt x="7162" y="143"/>
                  </a:lnTo>
                  <a:lnTo>
                    <a:pt x="6943" y="91"/>
                  </a:lnTo>
                  <a:lnTo>
                    <a:pt x="6720" y="52"/>
                  </a:lnTo>
                  <a:lnTo>
                    <a:pt x="6493" y="23"/>
                  </a:lnTo>
                  <a:lnTo>
                    <a:pt x="6264" y="6"/>
                  </a:lnTo>
                  <a:lnTo>
                    <a:pt x="6031" y="0"/>
                  </a:lnTo>
                  <a:lnTo>
                    <a:pt x="5798" y="6"/>
                  </a:lnTo>
                  <a:lnTo>
                    <a:pt x="5569" y="23"/>
                  </a:lnTo>
                  <a:lnTo>
                    <a:pt x="5342" y="52"/>
                  </a:lnTo>
                  <a:lnTo>
                    <a:pt x="5119" y="91"/>
                  </a:lnTo>
                  <a:lnTo>
                    <a:pt x="4900" y="143"/>
                  </a:lnTo>
                  <a:lnTo>
                    <a:pt x="4686" y="203"/>
                  </a:lnTo>
                  <a:lnTo>
                    <a:pt x="4476" y="274"/>
                  </a:lnTo>
                  <a:lnTo>
                    <a:pt x="4270" y="355"/>
                  </a:lnTo>
                  <a:lnTo>
                    <a:pt x="4070" y="446"/>
                  </a:lnTo>
                  <a:lnTo>
                    <a:pt x="3875" y="545"/>
                  </a:lnTo>
                  <a:lnTo>
                    <a:pt x="3685" y="653"/>
                  </a:lnTo>
                  <a:lnTo>
                    <a:pt x="3502" y="771"/>
                  </a:lnTo>
                  <a:lnTo>
                    <a:pt x="3324" y="897"/>
                  </a:lnTo>
                  <a:lnTo>
                    <a:pt x="3153" y="1032"/>
                  </a:lnTo>
                  <a:lnTo>
                    <a:pt x="2989" y="1173"/>
                  </a:lnTo>
                  <a:lnTo>
                    <a:pt x="2833" y="1323"/>
                  </a:lnTo>
                  <a:lnTo>
                    <a:pt x="2683" y="1479"/>
                  </a:lnTo>
                  <a:lnTo>
                    <a:pt x="2540" y="1643"/>
                  </a:lnTo>
                  <a:lnTo>
                    <a:pt x="2406" y="1815"/>
                  </a:lnTo>
                  <a:lnTo>
                    <a:pt x="2280" y="1991"/>
                  </a:lnTo>
                  <a:lnTo>
                    <a:pt x="2162" y="2175"/>
                  </a:lnTo>
                  <a:lnTo>
                    <a:pt x="2054" y="2364"/>
                  </a:lnTo>
                  <a:lnTo>
                    <a:pt x="1954" y="2558"/>
                  </a:lnTo>
                  <a:lnTo>
                    <a:pt x="1864" y="2758"/>
                  </a:lnTo>
                  <a:lnTo>
                    <a:pt x="1782" y="2964"/>
                  </a:lnTo>
                  <a:lnTo>
                    <a:pt x="1711" y="3173"/>
                  </a:lnTo>
                  <a:lnTo>
                    <a:pt x="1650" y="3387"/>
                  </a:lnTo>
                  <a:lnTo>
                    <a:pt x="1599" y="3606"/>
                  </a:lnTo>
                  <a:lnTo>
                    <a:pt x="1560" y="3829"/>
                  </a:lnTo>
                  <a:lnTo>
                    <a:pt x="1531" y="4055"/>
                  </a:lnTo>
                  <a:lnTo>
                    <a:pt x="1514" y="4283"/>
                  </a:lnTo>
                  <a:lnTo>
                    <a:pt x="1508" y="4516"/>
                  </a:lnTo>
                  <a:lnTo>
                    <a:pt x="1508" y="6524"/>
                  </a:lnTo>
                  <a:lnTo>
                    <a:pt x="1430" y="6526"/>
                  </a:lnTo>
                  <a:lnTo>
                    <a:pt x="1354" y="6532"/>
                  </a:lnTo>
                  <a:lnTo>
                    <a:pt x="1278" y="6541"/>
                  </a:lnTo>
                  <a:lnTo>
                    <a:pt x="1204" y="6555"/>
                  </a:lnTo>
                  <a:lnTo>
                    <a:pt x="1131" y="6571"/>
                  </a:lnTo>
                  <a:lnTo>
                    <a:pt x="1059" y="6592"/>
                  </a:lnTo>
                  <a:lnTo>
                    <a:pt x="989" y="6615"/>
                  </a:lnTo>
                  <a:lnTo>
                    <a:pt x="921" y="6642"/>
                  </a:lnTo>
                  <a:lnTo>
                    <a:pt x="854" y="6672"/>
                  </a:lnTo>
                  <a:lnTo>
                    <a:pt x="789" y="6705"/>
                  </a:lnTo>
                  <a:lnTo>
                    <a:pt x="726" y="6741"/>
                  </a:lnTo>
                  <a:lnTo>
                    <a:pt x="664" y="6780"/>
                  </a:lnTo>
                  <a:lnTo>
                    <a:pt x="605" y="6823"/>
                  </a:lnTo>
                  <a:lnTo>
                    <a:pt x="549" y="6868"/>
                  </a:lnTo>
                  <a:lnTo>
                    <a:pt x="494" y="6915"/>
                  </a:lnTo>
                  <a:lnTo>
                    <a:pt x="441" y="6964"/>
                  </a:lnTo>
                  <a:lnTo>
                    <a:pt x="392" y="7016"/>
                  </a:lnTo>
                  <a:lnTo>
                    <a:pt x="344" y="7072"/>
                  </a:lnTo>
                  <a:lnTo>
                    <a:pt x="300" y="7129"/>
                  </a:lnTo>
                  <a:lnTo>
                    <a:pt x="257" y="7187"/>
                  </a:lnTo>
                  <a:lnTo>
                    <a:pt x="218" y="7248"/>
                  </a:lnTo>
                  <a:lnTo>
                    <a:pt x="182" y="7311"/>
                  </a:lnTo>
                  <a:lnTo>
                    <a:pt x="149" y="7377"/>
                  </a:lnTo>
                  <a:lnTo>
                    <a:pt x="119" y="7443"/>
                  </a:lnTo>
                  <a:lnTo>
                    <a:pt x="91" y="7511"/>
                  </a:lnTo>
                  <a:lnTo>
                    <a:pt x="67" y="7581"/>
                  </a:lnTo>
                  <a:lnTo>
                    <a:pt x="47" y="7653"/>
                  </a:lnTo>
                  <a:lnTo>
                    <a:pt x="30" y="7726"/>
                  </a:lnTo>
                  <a:lnTo>
                    <a:pt x="17" y="7800"/>
                  </a:lnTo>
                  <a:lnTo>
                    <a:pt x="8" y="7875"/>
                  </a:lnTo>
                  <a:lnTo>
                    <a:pt x="2" y="7952"/>
                  </a:lnTo>
                  <a:lnTo>
                    <a:pt x="0" y="8029"/>
                  </a:lnTo>
                  <a:lnTo>
                    <a:pt x="0" y="9534"/>
                  </a:lnTo>
                  <a:lnTo>
                    <a:pt x="0" y="10036"/>
                  </a:lnTo>
                  <a:lnTo>
                    <a:pt x="0" y="11040"/>
                  </a:lnTo>
                  <a:lnTo>
                    <a:pt x="0" y="11542"/>
                  </a:lnTo>
                  <a:lnTo>
                    <a:pt x="6" y="11775"/>
                  </a:lnTo>
                  <a:lnTo>
                    <a:pt x="23" y="12003"/>
                  </a:lnTo>
                  <a:lnTo>
                    <a:pt x="52" y="12229"/>
                  </a:lnTo>
                  <a:lnTo>
                    <a:pt x="91" y="12452"/>
                  </a:lnTo>
                  <a:lnTo>
                    <a:pt x="143" y="12671"/>
                  </a:lnTo>
                  <a:lnTo>
                    <a:pt x="203" y="12885"/>
                  </a:lnTo>
                  <a:lnTo>
                    <a:pt x="274" y="13094"/>
                  </a:lnTo>
                  <a:lnTo>
                    <a:pt x="356" y="13300"/>
                  </a:lnTo>
                  <a:lnTo>
                    <a:pt x="446" y="13500"/>
                  </a:lnTo>
                  <a:lnTo>
                    <a:pt x="546" y="13694"/>
                  </a:lnTo>
                  <a:lnTo>
                    <a:pt x="654" y="13884"/>
                  </a:lnTo>
                  <a:lnTo>
                    <a:pt x="772" y="14067"/>
                  </a:lnTo>
                  <a:lnTo>
                    <a:pt x="899" y="14243"/>
                  </a:lnTo>
                  <a:lnTo>
                    <a:pt x="1032" y="14415"/>
                  </a:lnTo>
                  <a:lnTo>
                    <a:pt x="1175" y="14579"/>
                  </a:lnTo>
                  <a:lnTo>
                    <a:pt x="1325" y="14735"/>
                  </a:lnTo>
                  <a:lnTo>
                    <a:pt x="1482" y="14885"/>
                  </a:lnTo>
                  <a:lnTo>
                    <a:pt x="1646" y="15027"/>
                  </a:lnTo>
                  <a:lnTo>
                    <a:pt x="1817" y="15161"/>
                  </a:lnTo>
                  <a:lnTo>
                    <a:pt x="1994" y="15287"/>
                  </a:lnTo>
                  <a:lnTo>
                    <a:pt x="2177" y="15405"/>
                  </a:lnTo>
                  <a:lnTo>
                    <a:pt x="2367" y="15513"/>
                  </a:lnTo>
                  <a:lnTo>
                    <a:pt x="2562" y="15612"/>
                  </a:lnTo>
                  <a:lnTo>
                    <a:pt x="2762" y="15703"/>
                  </a:lnTo>
                  <a:lnTo>
                    <a:pt x="2968" y="15784"/>
                  </a:lnTo>
                  <a:lnTo>
                    <a:pt x="3178" y="15855"/>
                  </a:lnTo>
                  <a:lnTo>
                    <a:pt x="3392" y="15915"/>
                  </a:lnTo>
                  <a:lnTo>
                    <a:pt x="3612" y="15967"/>
                  </a:lnTo>
                  <a:lnTo>
                    <a:pt x="3835" y="16006"/>
                  </a:lnTo>
                  <a:lnTo>
                    <a:pt x="4061" y="16035"/>
                  </a:lnTo>
                  <a:lnTo>
                    <a:pt x="4290" y="16052"/>
                  </a:lnTo>
                  <a:lnTo>
                    <a:pt x="4523" y="16058"/>
                  </a:lnTo>
                  <a:lnTo>
                    <a:pt x="7539" y="16058"/>
                  </a:lnTo>
                  <a:lnTo>
                    <a:pt x="7771" y="16052"/>
                  </a:lnTo>
                  <a:lnTo>
                    <a:pt x="8001" y="16035"/>
                  </a:lnTo>
                  <a:lnTo>
                    <a:pt x="8227" y="16006"/>
                  </a:lnTo>
                  <a:lnTo>
                    <a:pt x="8450" y="15967"/>
                  </a:lnTo>
                  <a:lnTo>
                    <a:pt x="8670" y="15915"/>
                  </a:lnTo>
                  <a:lnTo>
                    <a:pt x="8884" y="15855"/>
                  </a:lnTo>
                  <a:lnTo>
                    <a:pt x="9094" y="15784"/>
                  </a:lnTo>
                  <a:lnTo>
                    <a:pt x="9300" y="15703"/>
                  </a:lnTo>
                  <a:lnTo>
                    <a:pt x="9500" y="15612"/>
                  </a:lnTo>
                  <a:lnTo>
                    <a:pt x="9695" y="15513"/>
                  </a:lnTo>
                  <a:lnTo>
                    <a:pt x="9884" y="15405"/>
                  </a:lnTo>
                  <a:lnTo>
                    <a:pt x="10068" y="15287"/>
                  </a:lnTo>
                  <a:lnTo>
                    <a:pt x="10245" y="15161"/>
                  </a:lnTo>
                  <a:lnTo>
                    <a:pt x="10416" y="15027"/>
                  </a:lnTo>
                  <a:lnTo>
                    <a:pt x="10580" y="14885"/>
                  </a:lnTo>
                  <a:lnTo>
                    <a:pt x="10737" y="14735"/>
                  </a:lnTo>
                  <a:lnTo>
                    <a:pt x="10887" y="14579"/>
                  </a:lnTo>
                  <a:lnTo>
                    <a:pt x="11029" y="14415"/>
                  </a:lnTo>
                  <a:lnTo>
                    <a:pt x="11163" y="14243"/>
                  </a:lnTo>
                  <a:lnTo>
                    <a:pt x="11290" y="14067"/>
                  </a:lnTo>
                  <a:lnTo>
                    <a:pt x="11408" y="13884"/>
                  </a:lnTo>
                  <a:lnTo>
                    <a:pt x="11516" y="13694"/>
                  </a:lnTo>
                  <a:lnTo>
                    <a:pt x="11616" y="13500"/>
                  </a:lnTo>
                  <a:lnTo>
                    <a:pt x="11706" y="13300"/>
                  </a:lnTo>
                  <a:lnTo>
                    <a:pt x="11788" y="13094"/>
                  </a:lnTo>
                  <a:lnTo>
                    <a:pt x="11859" y="12885"/>
                  </a:lnTo>
                  <a:lnTo>
                    <a:pt x="11919" y="12671"/>
                  </a:lnTo>
                  <a:lnTo>
                    <a:pt x="11971" y="12452"/>
                  </a:lnTo>
                  <a:lnTo>
                    <a:pt x="12010" y="12229"/>
                  </a:lnTo>
                  <a:lnTo>
                    <a:pt x="12039" y="12003"/>
                  </a:lnTo>
                  <a:lnTo>
                    <a:pt x="12056" y="11775"/>
                  </a:lnTo>
                  <a:lnTo>
                    <a:pt x="12062" y="11542"/>
                  </a:lnTo>
                  <a:lnTo>
                    <a:pt x="12062" y="11040"/>
                  </a:lnTo>
                  <a:lnTo>
                    <a:pt x="12062" y="10036"/>
                  </a:lnTo>
                  <a:lnTo>
                    <a:pt x="12062" y="9534"/>
                  </a:lnTo>
                  <a:lnTo>
                    <a:pt x="12062" y="8029"/>
                  </a:lnTo>
                  <a:lnTo>
                    <a:pt x="12060" y="7952"/>
                  </a:lnTo>
                  <a:lnTo>
                    <a:pt x="12054" y="7875"/>
                  </a:lnTo>
                  <a:lnTo>
                    <a:pt x="12045" y="7800"/>
                  </a:lnTo>
                  <a:lnTo>
                    <a:pt x="12032" y="7726"/>
                  </a:lnTo>
                  <a:lnTo>
                    <a:pt x="12015" y="7653"/>
                  </a:lnTo>
                  <a:lnTo>
                    <a:pt x="11995" y="7581"/>
                  </a:lnTo>
                  <a:lnTo>
                    <a:pt x="11971" y="7511"/>
                  </a:lnTo>
                  <a:lnTo>
                    <a:pt x="11943" y="7443"/>
                  </a:lnTo>
                  <a:lnTo>
                    <a:pt x="11913" y="7377"/>
                  </a:lnTo>
                  <a:lnTo>
                    <a:pt x="11880" y="7311"/>
                  </a:lnTo>
                  <a:lnTo>
                    <a:pt x="11844" y="7248"/>
                  </a:lnTo>
                  <a:lnTo>
                    <a:pt x="11805" y="7187"/>
                  </a:lnTo>
                  <a:lnTo>
                    <a:pt x="11762" y="7129"/>
                  </a:lnTo>
                  <a:lnTo>
                    <a:pt x="11717" y="7072"/>
                  </a:lnTo>
                  <a:lnTo>
                    <a:pt x="11670" y="7016"/>
                  </a:lnTo>
                  <a:lnTo>
                    <a:pt x="11621" y="6964"/>
                  </a:lnTo>
                  <a:lnTo>
                    <a:pt x="11568" y="6915"/>
                  </a:lnTo>
                  <a:lnTo>
                    <a:pt x="11513" y="6868"/>
                  </a:lnTo>
                  <a:lnTo>
                    <a:pt x="11456" y="6823"/>
                  </a:lnTo>
                  <a:lnTo>
                    <a:pt x="11398" y="6780"/>
                  </a:lnTo>
                  <a:lnTo>
                    <a:pt x="11336" y="6741"/>
                  </a:lnTo>
                  <a:lnTo>
                    <a:pt x="11273" y="6705"/>
                  </a:lnTo>
                  <a:lnTo>
                    <a:pt x="11208" y="6672"/>
                  </a:lnTo>
                  <a:lnTo>
                    <a:pt x="11141" y="6642"/>
                  </a:lnTo>
                  <a:lnTo>
                    <a:pt x="11073" y="6615"/>
                  </a:lnTo>
                  <a:lnTo>
                    <a:pt x="11003" y="6592"/>
                  </a:lnTo>
                  <a:lnTo>
                    <a:pt x="10931" y="6571"/>
                  </a:lnTo>
                  <a:lnTo>
                    <a:pt x="10858" y="6555"/>
                  </a:lnTo>
                  <a:lnTo>
                    <a:pt x="10783" y="6541"/>
                  </a:lnTo>
                  <a:lnTo>
                    <a:pt x="10708" y="6532"/>
                  </a:lnTo>
                  <a:lnTo>
                    <a:pt x="10632" y="6526"/>
                  </a:lnTo>
                  <a:lnTo>
                    <a:pt x="10554" y="65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06" name="îSḻîḍè">
              <a:extLst>
                <a:ext uri="{FF2B5EF4-FFF2-40B4-BE49-F238E27FC236}">
                  <a16:creationId xmlns:a16="http://schemas.microsoft.com/office/drawing/2014/main" id="{E1489EE1-268D-4FA2-B4E3-795290052747}"/>
                </a:ext>
              </a:extLst>
            </p:cNvPr>
            <p:cNvSpPr/>
            <p:nvPr/>
          </p:nvSpPr>
          <p:spPr bwMode="auto">
            <a:xfrm>
              <a:off x="8934872" y="653080"/>
              <a:ext cx="76139" cy="114208"/>
            </a:xfrm>
            <a:custGeom>
              <a:avLst/>
              <a:gdLst>
                <a:gd name="T0" fmla="*/ 902 w 2010"/>
                <a:gd name="T1" fmla="*/ 5 h 3011"/>
                <a:gd name="T2" fmla="*/ 754 w 2010"/>
                <a:gd name="T3" fmla="*/ 33 h 3011"/>
                <a:gd name="T4" fmla="*/ 614 w 2010"/>
                <a:gd name="T5" fmla="*/ 80 h 3011"/>
                <a:gd name="T6" fmla="*/ 484 w 2010"/>
                <a:gd name="T7" fmla="*/ 146 h 3011"/>
                <a:gd name="T8" fmla="*/ 366 w 2010"/>
                <a:gd name="T9" fmla="*/ 229 h 3011"/>
                <a:gd name="T10" fmla="*/ 261 w 2010"/>
                <a:gd name="T11" fmla="*/ 330 h 3011"/>
                <a:gd name="T12" fmla="*/ 172 w 2010"/>
                <a:gd name="T13" fmla="*/ 443 h 3011"/>
                <a:gd name="T14" fmla="*/ 99 w 2010"/>
                <a:gd name="T15" fmla="*/ 569 h 3011"/>
                <a:gd name="T16" fmla="*/ 45 w 2010"/>
                <a:gd name="T17" fmla="*/ 706 h 3011"/>
                <a:gd name="T18" fmla="*/ 11 w 2010"/>
                <a:gd name="T19" fmla="*/ 852 h 3011"/>
                <a:gd name="T20" fmla="*/ 0 w 2010"/>
                <a:gd name="T21" fmla="*/ 1004 h 3011"/>
                <a:gd name="T22" fmla="*/ 4 w 2010"/>
                <a:gd name="T23" fmla="*/ 1096 h 3011"/>
                <a:gd name="T24" fmla="*/ 16 w 2010"/>
                <a:gd name="T25" fmla="*/ 1202 h 3011"/>
                <a:gd name="T26" fmla="*/ 44 w 2010"/>
                <a:gd name="T27" fmla="*/ 1358 h 3011"/>
                <a:gd name="T28" fmla="*/ 104 w 2010"/>
                <a:gd name="T29" fmla="*/ 1617 h 3011"/>
                <a:gd name="T30" fmla="*/ 183 w 2010"/>
                <a:gd name="T31" fmla="*/ 1892 h 3011"/>
                <a:gd name="T32" fmla="*/ 272 w 2010"/>
                <a:gd name="T33" fmla="*/ 2168 h 3011"/>
                <a:gd name="T34" fmla="*/ 361 w 2010"/>
                <a:gd name="T35" fmla="*/ 2414 h 3011"/>
                <a:gd name="T36" fmla="*/ 417 w 2010"/>
                <a:gd name="T37" fmla="*/ 2545 h 3011"/>
                <a:gd name="T38" fmla="*/ 462 w 2010"/>
                <a:gd name="T39" fmla="*/ 2636 h 3011"/>
                <a:gd name="T40" fmla="*/ 511 w 2010"/>
                <a:gd name="T41" fmla="*/ 2719 h 3011"/>
                <a:gd name="T42" fmla="*/ 567 w 2010"/>
                <a:gd name="T43" fmla="*/ 2795 h 3011"/>
                <a:gd name="T44" fmla="*/ 626 w 2010"/>
                <a:gd name="T45" fmla="*/ 2860 h 3011"/>
                <a:gd name="T46" fmla="*/ 693 w 2010"/>
                <a:gd name="T47" fmla="*/ 2916 h 3011"/>
                <a:gd name="T48" fmla="*/ 767 w 2010"/>
                <a:gd name="T49" fmla="*/ 2959 h 3011"/>
                <a:gd name="T50" fmla="*/ 849 w 2010"/>
                <a:gd name="T51" fmla="*/ 2990 h 3011"/>
                <a:gd name="T52" fmla="*/ 940 w 2010"/>
                <a:gd name="T53" fmla="*/ 3007 h 3011"/>
                <a:gd name="T54" fmla="*/ 1041 w 2010"/>
                <a:gd name="T55" fmla="*/ 3010 h 3011"/>
                <a:gd name="T56" fmla="*/ 1141 w 2010"/>
                <a:gd name="T57" fmla="*/ 2997 h 3011"/>
                <a:gd name="T58" fmla="*/ 1229 w 2010"/>
                <a:gd name="T59" fmla="*/ 2971 h 3011"/>
                <a:gd name="T60" fmla="*/ 1307 w 2010"/>
                <a:gd name="T61" fmla="*/ 2932 h 3011"/>
                <a:gd name="T62" fmla="*/ 1375 w 2010"/>
                <a:gd name="T63" fmla="*/ 2881 h 3011"/>
                <a:gd name="T64" fmla="*/ 1436 w 2010"/>
                <a:gd name="T65" fmla="*/ 2820 h 3011"/>
                <a:gd name="T66" fmla="*/ 1489 w 2010"/>
                <a:gd name="T67" fmla="*/ 2747 h 3011"/>
                <a:gd name="T68" fmla="*/ 1538 w 2010"/>
                <a:gd name="T69" fmla="*/ 2667 h 3011"/>
                <a:gd name="T70" fmla="*/ 1582 w 2010"/>
                <a:gd name="T71" fmla="*/ 2580 h 3011"/>
                <a:gd name="T72" fmla="*/ 1623 w 2010"/>
                <a:gd name="T73" fmla="*/ 2484 h 3011"/>
                <a:gd name="T74" fmla="*/ 1708 w 2010"/>
                <a:gd name="T75" fmla="*/ 2263 h 3011"/>
                <a:gd name="T76" fmla="*/ 1799 w 2010"/>
                <a:gd name="T77" fmla="*/ 1990 h 3011"/>
                <a:gd name="T78" fmla="*/ 1883 w 2010"/>
                <a:gd name="T79" fmla="*/ 1711 h 3011"/>
                <a:gd name="T80" fmla="*/ 1949 w 2010"/>
                <a:gd name="T81" fmla="*/ 1444 h 3011"/>
                <a:gd name="T82" fmla="*/ 1988 w 2010"/>
                <a:gd name="T83" fmla="*/ 1240 h 3011"/>
                <a:gd name="T84" fmla="*/ 2003 w 2010"/>
                <a:gd name="T85" fmla="*/ 1132 h 3011"/>
                <a:gd name="T86" fmla="*/ 2009 w 2010"/>
                <a:gd name="T87" fmla="*/ 1033 h 3011"/>
                <a:gd name="T88" fmla="*/ 2005 w 2010"/>
                <a:gd name="T89" fmla="*/ 902 h 3011"/>
                <a:gd name="T90" fmla="*/ 1978 w 2010"/>
                <a:gd name="T91" fmla="*/ 753 h 3011"/>
                <a:gd name="T92" fmla="*/ 1931 w 2010"/>
                <a:gd name="T93" fmla="*/ 614 h 3011"/>
                <a:gd name="T94" fmla="*/ 1864 w 2010"/>
                <a:gd name="T95" fmla="*/ 484 h 3011"/>
                <a:gd name="T96" fmla="*/ 1780 w 2010"/>
                <a:gd name="T97" fmla="*/ 366 h 3011"/>
                <a:gd name="T98" fmla="*/ 1680 w 2010"/>
                <a:gd name="T99" fmla="*/ 261 h 3011"/>
                <a:gd name="T100" fmla="*/ 1567 w 2010"/>
                <a:gd name="T101" fmla="*/ 172 h 3011"/>
                <a:gd name="T102" fmla="*/ 1440 w 2010"/>
                <a:gd name="T103" fmla="*/ 100 h 3011"/>
                <a:gd name="T104" fmla="*/ 1304 w 2010"/>
                <a:gd name="T105" fmla="*/ 46 h 3011"/>
                <a:gd name="T106" fmla="*/ 1158 w 2010"/>
                <a:gd name="T107" fmla="*/ 11 h 3011"/>
                <a:gd name="T108" fmla="*/ 1005 w 2010"/>
                <a:gd name="T109" fmla="*/ 0 h 30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10" h="3011">
                  <a:moveTo>
                    <a:pt x="1005" y="0"/>
                  </a:moveTo>
                  <a:lnTo>
                    <a:pt x="953" y="1"/>
                  </a:lnTo>
                  <a:lnTo>
                    <a:pt x="902" y="5"/>
                  </a:lnTo>
                  <a:lnTo>
                    <a:pt x="852" y="11"/>
                  </a:lnTo>
                  <a:lnTo>
                    <a:pt x="803" y="21"/>
                  </a:lnTo>
                  <a:lnTo>
                    <a:pt x="754" y="33"/>
                  </a:lnTo>
                  <a:lnTo>
                    <a:pt x="706" y="46"/>
                  </a:lnTo>
                  <a:lnTo>
                    <a:pt x="659" y="62"/>
                  </a:lnTo>
                  <a:lnTo>
                    <a:pt x="614" y="80"/>
                  </a:lnTo>
                  <a:lnTo>
                    <a:pt x="570" y="100"/>
                  </a:lnTo>
                  <a:lnTo>
                    <a:pt x="526" y="122"/>
                  </a:lnTo>
                  <a:lnTo>
                    <a:pt x="484" y="146"/>
                  </a:lnTo>
                  <a:lnTo>
                    <a:pt x="443" y="172"/>
                  </a:lnTo>
                  <a:lnTo>
                    <a:pt x="404" y="200"/>
                  </a:lnTo>
                  <a:lnTo>
                    <a:pt x="366" y="229"/>
                  </a:lnTo>
                  <a:lnTo>
                    <a:pt x="330" y="261"/>
                  </a:lnTo>
                  <a:lnTo>
                    <a:pt x="294" y="294"/>
                  </a:lnTo>
                  <a:lnTo>
                    <a:pt x="261" y="330"/>
                  </a:lnTo>
                  <a:lnTo>
                    <a:pt x="229" y="366"/>
                  </a:lnTo>
                  <a:lnTo>
                    <a:pt x="200" y="404"/>
                  </a:lnTo>
                  <a:lnTo>
                    <a:pt x="172" y="443"/>
                  </a:lnTo>
                  <a:lnTo>
                    <a:pt x="146" y="484"/>
                  </a:lnTo>
                  <a:lnTo>
                    <a:pt x="121" y="526"/>
                  </a:lnTo>
                  <a:lnTo>
                    <a:pt x="99" y="569"/>
                  </a:lnTo>
                  <a:lnTo>
                    <a:pt x="79" y="614"/>
                  </a:lnTo>
                  <a:lnTo>
                    <a:pt x="61" y="659"/>
                  </a:lnTo>
                  <a:lnTo>
                    <a:pt x="45" y="706"/>
                  </a:lnTo>
                  <a:lnTo>
                    <a:pt x="31" y="753"/>
                  </a:lnTo>
                  <a:lnTo>
                    <a:pt x="20" y="802"/>
                  </a:lnTo>
                  <a:lnTo>
                    <a:pt x="11" y="852"/>
                  </a:lnTo>
                  <a:lnTo>
                    <a:pt x="5" y="902"/>
                  </a:lnTo>
                  <a:lnTo>
                    <a:pt x="1" y="953"/>
                  </a:lnTo>
                  <a:lnTo>
                    <a:pt x="0" y="1004"/>
                  </a:lnTo>
                  <a:lnTo>
                    <a:pt x="0" y="1033"/>
                  </a:lnTo>
                  <a:lnTo>
                    <a:pt x="2" y="1064"/>
                  </a:lnTo>
                  <a:lnTo>
                    <a:pt x="4" y="1096"/>
                  </a:lnTo>
                  <a:lnTo>
                    <a:pt x="7" y="1131"/>
                  </a:lnTo>
                  <a:lnTo>
                    <a:pt x="12" y="1166"/>
                  </a:lnTo>
                  <a:lnTo>
                    <a:pt x="16" y="1202"/>
                  </a:lnTo>
                  <a:lnTo>
                    <a:pt x="22" y="1239"/>
                  </a:lnTo>
                  <a:lnTo>
                    <a:pt x="29" y="1278"/>
                  </a:lnTo>
                  <a:lnTo>
                    <a:pt x="44" y="1358"/>
                  </a:lnTo>
                  <a:lnTo>
                    <a:pt x="61" y="1442"/>
                  </a:lnTo>
                  <a:lnTo>
                    <a:pt x="82" y="1528"/>
                  </a:lnTo>
                  <a:lnTo>
                    <a:pt x="104" y="1617"/>
                  </a:lnTo>
                  <a:lnTo>
                    <a:pt x="128" y="1708"/>
                  </a:lnTo>
                  <a:lnTo>
                    <a:pt x="156" y="1800"/>
                  </a:lnTo>
                  <a:lnTo>
                    <a:pt x="183" y="1892"/>
                  </a:lnTo>
                  <a:lnTo>
                    <a:pt x="212" y="1986"/>
                  </a:lnTo>
                  <a:lnTo>
                    <a:pt x="242" y="2078"/>
                  </a:lnTo>
                  <a:lnTo>
                    <a:pt x="272" y="2168"/>
                  </a:lnTo>
                  <a:lnTo>
                    <a:pt x="303" y="2258"/>
                  </a:lnTo>
                  <a:lnTo>
                    <a:pt x="335" y="2345"/>
                  </a:lnTo>
                  <a:lnTo>
                    <a:pt x="361" y="2414"/>
                  </a:lnTo>
                  <a:lnTo>
                    <a:pt x="388" y="2480"/>
                  </a:lnTo>
                  <a:lnTo>
                    <a:pt x="402" y="2513"/>
                  </a:lnTo>
                  <a:lnTo>
                    <a:pt x="417" y="2545"/>
                  </a:lnTo>
                  <a:lnTo>
                    <a:pt x="431" y="2576"/>
                  </a:lnTo>
                  <a:lnTo>
                    <a:pt x="446" y="2606"/>
                  </a:lnTo>
                  <a:lnTo>
                    <a:pt x="462" y="2636"/>
                  </a:lnTo>
                  <a:lnTo>
                    <a:pt x="478" y="2664"/>
                  </a:lnTo>
                  <a:lnTo>
                    <a:pt x="494" y="2692"/>
                  </a:lnTo>
                  <a:lnTo>
                    <a:pt x="511" y="2719"/>
                  </a:lnTo>
                  <a:lnTo>
                    <a:pt x="530" y="2745"/>
                  </a:lnTo>
                  <a:lnTo>
                    <a:pt x="548" y="2770"/>
                  </a:lnTo>
                  <a:lnTo>
                    <a:pt x="567" y="2795"/>
                  </a:lnTo>
                  <a:lnTo>
                    <a:pt x="586" y="2818"/>
                  </a:lnTo>
                  <a:lnTo>
                    <a:pt x="606" y="2840"/>
                  </a:lnTo>
                  <a:lnTo>
                    <a:pt x="626" y="2860"/>
                  </a:lnTo>
                  <a:lnTo>
                    <a:pt x="648" y="2880"/>
                  </a:lnTo>
                  <a:lnTo>
                    <a:pt x="670" y="2898"/>
                  </a:lnTo>
                  <a:lnTo>
                    <a:pt x="693" y="2916"/>
                  </a:lnTo>
                  <a:lnTo>
                    <a:pt x="717" y="2931"/>
                  </a:lnTo>
                  <a:lnTo>
                    <a:pt x="742" y="2946"/>
                  </a:lnTo>
                  <a:lnTo>
                    <a:pt x="767" y="2959"/>
                  </a:lnTo>
                  <a:lnTo>
                    <a:pt x="793" y="2971"/>
                  </a:lnTo>
                  <a:lnTo>
                    <a:pt x="821" y="2981"/>
                  </a:lnTo>
                  <a:lnTo>
                    <a:pt x="849" y="2990"/>
                  </a:lnTo>
                  <a:lnTo>
                    <a:pt x="878" y="2997"/>
                  </a:lnTo>
                  <a:lnTo>
                    <a:pt x="909" y="3003"/>
                  </a:lnTo>
                  <a:lnTo>
                    <a:pt x="940" y="3007"/>
                  </a:lnTo>
                  <a:lnTo>
                    <a:pt x="972" y="3010"/>
                  </a:lnTo>
                  <a:lnTo>
                    <a:pt x="1005" y="3011"/>
                  </a:lnTo>
                  <a:lnTo>
                    <a:pt x="1041" y="3010"/>
                  </a:lnTo>
                  <a:lnTo>
                    <a:pt x="1075" y="3007"/>
                  </a:lnTo>
                  <a:lnTo>
                    <a:pt x="1109" y="3003"/>
                  </a:lnTo>
                  <a:lnTo>
                    <a:pt x="1141" y="2997"/>
                  </a:lnTo>
                  <a:lnTo>
                    <a:pt x="1172" y="2990"/>
                  </a:lnTo>
                  <a:lnTo>
                    <a:pt x="1201" y="2981"/>
                  </a:lnTo>
                  <a:lnTo>
                    <a:pt x="1229" y="2971"/>
                  </a:lnTo>
                  <a:lnTo>
                    <a:pt x="1256" y="2960"/>
                  </a:lnTo>
                  <a:lnTo>
                    <a:pt x="1281" y="2947"/>
                  </a:lnTo>
                  <a:lnTo>
                    <a:pt x="1307" y="2932"/>
                  </a:lnTo>
                  <a:lnTo>
                    <a:pt x="1331" y="2916"/>
                  </a:lnTo>
                  <a:lnTo>
                    <a:pt x="1354" y="2899"/>
                  </a:lnTo>
                  <a:lnTo>
                    <a:pt x="1375" y="2881"/>
                  </a:lnTo>
                  <a:lnTo>
                    <a:pt x="1396" y="2862"/>
                  </a:lnTo>
                  <a:lnTo>
                    <a:pt x="1416" y="2841"/>
                  </a:lnTo>
                  <a:lnTo>
                    <a:pt x="1436" y="2820"/>
                  </a:lnTo>
                  <a:lnTo>
                    <a:pt x="1454" y="2797"/>
                  </a:lnTo>
                  <a:lnTo>
                    <a:pt x="1472" y="2772"/>
                  </a:lnTo>
                  <a:lnTo>
                    <a:pt x="1489" y="2747"/>
                  </a:lnTo>
                  <a:lnTo>
                    <a:pt x="1507" y="2722"/>
                  </a:lnTo>
                  <a:lnTo>
                    <a:pt x="1523" y="2695"/>
                  </a:lnTo>
                  <a:lnTo>
                    <a:pt x="1538" y="2667"/>
                  </a:lnTo>
                  <a:lnTo>
                    <a:pt x="1554" y="2639"/>
                  </a:lnTo>
                  <a:lnTo>
                    <a:pt x="1568" y="2610"/>
                  </a:lnTo>
                  <a:lnTo>
                    <a:pt x="1582" y="2580"/>
                  </a:lnTo>
                  <a:lnTo>
                    <a:pt x="1596" y="2549"/>
                  </a:lnTo>
                  <a:lnTo>
                    <a:pt x="1610" y="2517"/>
                  </a:lnTo>
                  <a:lnTo>
                    <a:pt x="1623" y="2484"/>
                  </a:lnTo>
                  <a:lnTo>
                    <a:pt x="1649" y="2418"/>
                  </a:lnTo>
                  <a:lnTo>
                    <a:pt x="1675" y="2350"/>
                  </a:lnTo>
                  <a:lnTo>
                    <a:pt x="1708" y="2263"/>
                  </a:lnTo>
                  <a:lnTo>
                    <a:pt x="1739" y="2173"/>
                  </a:lnTo>
                  <a:lnTo>
                    <a:pt x="1769" y="2082"/>
                  </a:lnTo>
                  <a:lnTo>
                    <a:pt x="1799" y="1990"/>
                  </a:lnTo>
                  <a:lnTo>
                    <a:pt x="1828" y="1896"/>
                  </a:lnTo>
                  <a:lnTo>
                    <a:pt x="1856" y="1803"/>
                  </a:lnTo>
                  <a:lnTo>
                    <a:pt x="1883" y="1711"/>
                  </a:lnTo>
                  <a:lnTo>
                    <a:pt x="1907" y="1620"/>
                  </a:lnTo>
                  <a:lnTo>
                    <a:pt x="1929" y="1531"/>
                  </a:lnTo>
                  <a:lnTo>
                    <a:pt x="1949" y="1444"/>
                  </a:lnTo>
                  <a:lnTo>
                    <a:pt x="1967" y="1359"/>
                  </a:lnTo>
                  <a:lnTo>
                    <a:pt x="1982" y="1279"/>
                  </a:lnTo>
                  <a:lnTo>
                    <a:pt x="1988" y="1240"/>
                  </a:lnTo>
                  <a:lnTo>
                    <a:pt x="1994" y="1203"/>
                  </a:lnTo>
                  <a:lnTo>
                    <a:pt x="1998" y="1167"/>
                  </a:lnTo>
                  <a:lnTo>
                    <a:pt x="2003" y="1132"/>
                  </a:lnTo>
                  <a:lnTo>
                    <a:pt x="2006" y="1097"/>
                  </a:lnTo>
                  <a:lnTo>
                    <a:pt x="2008" y="1064"/>
                  </a:lnTo>
                  <a:lnTo>
                    <a:pt x="2009" y="1033"/>
                  </a:lnTo>
                  <a:lnTo>
                    <a:pt x="2010" y="1004"/>
                  </a:lnTo>
                  <a:lnTo>
                    <a:pt x="2009" y="953"/>
                  </a:lnTo>
                  <a:lnTo>
                    <a:pt x="2005" y="902"/>
                  </a:lnTo>
                  <a:lnTo>
                    <a:pt x="1998" y="852"/>
                  </a:lnTo>
                  <a:lnTo>
                    <a:pt x="1990" y="802"/>
                  </a:lnTo>
                  <a:lnTo>
                    <a:pt x="1978" y="753"/>
                  </a:lnTo>
                  <a:lnTo>
                    <a:pt x="1965" y="706"/>
                  </a:lnTo>
                  <a:lnTo>
                    <a:pt x="1949" y="659"/>
                  </a:lnTo>
                  <a:lnTo>
                    <a:pt x="1931" y="614"/>
                  </a:lnTo>
                  <a:lnTo>
                    <a:pt x="1911" y="569"/>
                  </a:lnTo>
                  <a:lnTo>
                    <a:pt x="1889" y="526"/>
                  </a:lnTo>
                  <a:lnTo>
                    <a:pt x="1864" y="484"/>
                  </a:lnTo>
                  <a:lnTo>
                    <a:pt x="1838" y="443"/>
                  </a:lnTo>
                  <a:lnTo>
                    <a:pt x="1810" y="404"/>
                  </a:lnTo>
                  <a:lnTo>
                    <a:pt x="1780" y="366"/>
                  </a:lnTo>
                  <a:lnTo>
                    <a:pt x="1749" y="330"/>
                  </a:lnTo>
                  <a:lnTo>
                    <a:pt x="1716" y="294"/>
                  </a:lnTo>
                  <a:lnTo>
                    <a:pt x="1680" y="261"/>
                  </a:lnTo>
                  <a:lnTo>
                    <a:pt x="1644" y="229"/>
                  </a:lnTo>
                  <a:lnTo>
                    <a:pt x="1606" y="200"/>
                  </a:lnTo>
                  <a:lnTo>
                    <a:pt x="1567" y="172"/>
                  </a:lnTo>
                  <a:lnTo>
                    <a:pt x="1526" y="146"/>
                  </a:lnTo>
                  <a:lnTo>
                    <a:pt x="1484" y="122"/>
                  </a:lnTo>
                  <a:lnTo>
                    <a:pt x="1440" y="100"/>
                  </a:lnTo>
                  <a:lnTo>
                    <a:pt x="1396" y="80"/>
                  </a:lnTo>
                  <a:lnTo>
                    <a:pt x="1351" y="62"/>
                  </a:lnTo>
                  <a:lnTo>
                    <a:pt x="1304" y="46"/>
                  </a:lnTo>
                  <a:lnTo>
                    <a:pt x="1256" y="33"/>
                  </a:lnTo>
                  <a:lnTo>
                    <a:pt x="1207" y="21"/>
                  </a:lnTo>
                  <a:lnTo>
                    <a:pt x="1158" y="11"/>
                  </a:lnTo>
                  <a:lnTo>
                    <a:pt x="1108" y="5"/>
                  </a:lnTo>
                  <a:lnTo>
                    <a:pt x="1056" y="1"/>
                  </a:lnTo>
                  <a:lnTo>
                    <a:pt x="10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07" name="íṣļiďê">
              <a:extLst>
                <a:ext uri="{FF2B5EF4-FFF2-40B4-BE49-F238E27FC236}">
                  <a16:creationId xmlns:a16="http://schemas.microsoft.com/office/drawing/2014/main" id="{33581BC7-00E1-4047-BB01-4045E18BC7DE}"/>
                </a:ext>
              </a:extLst>
            </p:cNvPr>
            <p:cNvSpPr/>
            <p:nvPr/>
          </p:nvSpPr>
          <p:spPr bwMode="auto">
            <a:xfrm>
              <a:off x="8676037" y="1371719"/>
              <a:ext cx="171982" cy="249634"/>
            </a:xfrm>
            <a:custGeom>
              <a:avLst/>
              <a:gdLst>
                <a:gd name="T0" fmla="*/ 1009 w 11063"/>
                <a:gd name="T1" fmla="*/ 1454 h 16058"/>
                <a:gd name="T2" fmla="*/ 1036 w 11063"/>
                <a:gd name="T3" fmla="*/ 1334 h 16058"/>
                <a:gd name="T4" fmla="*/ 1091 w 11063"/>
                <a:gd name="T5" fmla="*/ 1225 h 16058"/>
                <a:gd name="T6" fmla="*/ 1171 w 11063"/>
                <a:gd name="T7" fmla="*/ 1134 h 16058"/>
                <a:gd name="T8" fmla="*/ 1268 w 11063"/>
                <a:gd name="T9" fmla="*/ 1065 h 16058"/>
                <a:gd name="T10" fmla="*/ 1383 w 11063"/>
                <a:gd name="T11" fmla="*/ 1020 h 16058"/>
                <a:gd name="T12" fmla="*/ 1509 w 11063"/>
                <a:gd name="T13" fmla="*/ 1004 h 16058"/>
                <a:gd name="T14" fmla="*/ 9655 w 11063"/>
                <a:gd name="T15" fmla="*/ 1014 h 16058"/>
                <a:gd name="T16" fmla="*/ 9772 w 11063"/>
                <a:gd name="T17" fmla="*/ 1053 h 16058"/>
                <a:gd name="T18" fmla="*/ 9874 w 11063"/>
                <a:gd name="T19" fmla="*/ 1118 h 16058"/>
                <a:gd name="T20" fmla="*/ 9957 w 11063"/>
                <a:gd name="T21" fmla="*/ 1205 h 16058"/>
                <a:gd name="T22" fmla="*/ 10018 w 11063"/>
                <a:gd name="T23" fmla="*/ 1310 h 16058"/>
                <a:gd name="T24" fmla="*/ 10051 w 11063"/>
                <a:gd name="T25" fmla="*/ 1429 h 16058"/>
                <a:gd name="T26" fmla="*/ 10057 w 11063"/>
                <a:gd name="T27" fmla="*/ 13044 h 16058"/>
                <a:gd name="T28" fmla="*/ 10057 w 11063"/>
                <a:gd name="T29" fmla="*/ 14553 h 16058"/>
                <a:gd name="T30" fmla="*/ 10041 w 11063"/>
                <a:gd name="T31" fmla="*/ 14677 h 16058"/>
                <a:gd name="T32" fmla="*/ 9996 w 11063"/>
                <a:gd name="T33" fmla="*/ 14791 h 16058"/>
                <a:gd name="T34" fmla="*/ 9927 w 11063"/>
                <a:gd name="T35" fmla="*/ 14890 h 16058"/>
                <a:gd name="T36" fmla="*/ 9835 w 11063"/>
                <a:gd name="T37" fmla="*/ 14968 h 16058"/>
                <a:gd name="T38" fmla="*/ 9727 w 11063"/>
                <a:gd name="T39" fmla="*/ 15023 h 16058"/>
                <a:gd name="T40" fmla="*/ 9606 w 11063"/>
                <a:gd name="T41" fmla="*/ 15051 h 16058"/>
                <a:gd name="T42" fmla="*/ 1457 w 11063"/>
                <a:gd name="T43" fmla="*/ 15051 h 16058"/>
                <a:gd name="T44" fmla="*/ 1336 w 11063"/>
                <a:gd name="T45" fmla="*/ 15024 h 16058"/>
                <a:gd name="T46" fmla="*/ 1227 w 11063"/>
                <a:gd name="T47" fmla="*/ 14969 h 16058"/>
                <a:gd name="T48" fmla="*/ 1136 w 11063"/>
                <a:gd name="T49" fmla="*/ 14890 h 16058"/>
                <a:gd name="T50" fmla="*/ 1066 w 11063"/>
                <a:gd name="T51" fmla="*/ 14791 h 16058"/>
                <a:gd name="T52" fmla="*/ 1022 w 11063"/>
                <a:gd name="T53" fmla="*/ 14678 h 16058"/>
                <a:gd name="T54" fmla="*/ 1006 w 11063"/>
                <a:gd name="T55" fmla="*/ 14553 h 16058"/>
                <a:gd name="T56" fmla="*/ 1509 w 11063"/>
                <a:gd name="T57" fmla="*/ 1 h 16058"/>
                <a:gd name="T58" fmla="*/ 1131 w 11063"/>
                <a:gd name="T59" fmla="*/ 48 h 16058"/>
                <a:gd name="T60" fmla="*/ 789 w 11063"/>
                <a:gd name="T61" fmla="*/ 183 h 16058"/>
                <a:gd name="T62" fmla="*/ 494 w 11063"/>
                <a:gd name="T63" fmla="*/ 391 h 16058"/>
                <a:gd name="T64" fmla="*/ 257 w 11063"/>
                <a:gd name="T65" fmla="*/ 664 h 16058"/>
                <a:gd name="T66" fmla="*/ 92 w 11063"/>
                <a:gd name="T67" fmla="*/ 989 h 16058"/>
                <a:gd name="T68" fmla="*/ 8 w 11063"/>
                <a:gd name="T69" fmla="*/ 1352 h 16058"/>
                <a:gd name="T70" fmla="*/ 8 w 11063"/>
                <a:gd name="T71" fmla="*/ 14706 h 16058"/>
                <a:gd name="T72" fmla="*/ 92 w 11063"/>
                <a:gd name="T73" fmla="*/ 15070 h 16058"/>
                <a:gd name="T74" fmla="*/ 257 w 11063"/>
                <a:gd name="T75" fmla="*/ 15395 h 16058"/>
                <a:gd name="T76" fmla="*/ 494 w 11063"/>
                <a:gd name="T77" fmla="*/ 15667 h 16058"/>
                <a:gd name="T78" fmla="*/ 789 w 11063"/>
                <a:gd name="T79" fmla="*/ 15876 h 16058"/>
                <a:gd name="T80" fmla="*/ 1131 w 11063"/>
                <a:gd name="T81" fmla="*/ 16011 h 16058"/>
                <a:gd name="T82" fmla="*/ 1509 w 11063"/>
                <a:gd name="T83" fmla="*/ 16058 h 16058"/>
                <a:gd name="T84" fmla="*/ 9858 w 11063"/>
                <a:gd name="T85" fmla="*/ 16027 h 16058"/>
                <a:gd name="T86" fmla="*/ 10208 w 11063"/>
                <a:gd name="T87" fmla="*/ 15909 h 16058"/>
                <a:gd name="T88" fmla="*/ 10514 w 11063"/>
                <a:gd name="T89" fmla="*/ 15714 h 16058"/>
                <a:gd name="T90" fmla="*/ 10763 w 11063"/>
                <a:gd name="T91" fmla="*/ 15453 h 16058"/>
                <a:gd name="T92" fmla="*/ 10944 w 11063"/>
                <a:gd name="T93" fmla="*/ 15138 h 16058"/>
                <a:gd name="T94" fmla="*/ 11046 w 11063"/>
                <a:gd name="T95" fmla="*/ 14781 h 16058"/>
                <a:gd name="T96" fmla="*/ 11061 w 11063"/>
                <a:gd name="T97" fmla="*/ 1428 h 16058"/>
                <a:gd name="T98" fmla="*/ 10996 w 11063"/>
                <a:gd name="T99" fmla="*/ 1058 h 16058"/>
                <a:gd name="T100" fmla="*/ 10845 w 11063"/>
                <a:gd name="T101" fmla="*/ 725 h 16058"/>
                <a:gd name="T102" fmla="*/ 10620 w 11063"/>
                <a:gd name="T103" fmla="*/ 441 h 16058"/>
                <a:gd name="T104" fmla="*/ 10337 w 11063"/>
                <a:gd name="T105" fmla="*/ 218 h 16058"/>
                <a:gd name="T106" fmla="*/ 10003 w 11063"/>
                <a:gd name="T107" fmla="*/ 67 h 16058"/>
                <a:gd name="T108" fmla="*/ 9632 w 11063"/>
                <a:gd name="T109" fmla="*/ 2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063" h="16058">
                  <a:moveTo>
                    <a:pt x="10057" y="2509"/>
                  </a:moveTo>
                  <a:lnTo>
                    <a:pt x="1006" y="2510"/>
                  </a:lnTo>
                  <a:lnTo>
                    <a:pt x="1006" y="1505"/>
                  </a:lnTo>
                  <a:lnTo>
                    <a:pt x="1007" y="1480"/>
                  </a:lnTo>
                  <a:lnTo>
                    <a:pt x="1009" y="1454"/>
                  </a:lnTo>
                  <a:lnTo>
                    <a:pt x="1012" y="1429"/>
                  </a:lnTo>
                  <a:lnTo>
                    <a:pt x="1016" y="1405"/>
                  </a:lnTo>
                  <a:lnTo>
                    <a:pt x="1022" y="1381"/>
                  </a:lnTo>
                  <a:lnTo>
                    <a:pt x="1028" y="1357"/>
                  </a:lnTo>
                  <a:lnTo>
                    <a:pt x="1036" y="1334"/>
                  </a:lnTo>
                  <a:lnTo>
                    <a:pt x="1045" y="1311"/>
                  </a:lnTo>
                  <a:lnTo>
                    <a:pt x="1055" y="1289"/>
                  </a:lnTo>
                  <a:lnTo>
                    <a:pt x="1066" y="1267"/>
                  </a:lnTo>
                  <a:lnTo>
                    <a:pt x="1078" y="1245"/>
                  </a:lnTo>
                  <a:lnTo>
                    <a:pt x="1091" y="1225"/>
                  </a:lnTo>
                  <a:lnTo>
                    <a:pt x="1105" y="1205"/>
                  </a:lnTo>
                  <a:lnTo>
                    <a:pt x="1120" y="1186"/>
                  </a:lnTo>
                  <a:lnTo>
                    <a:pt x="1136" y="1168"/>
                  </a:lnTo>
                  <a:lnTo>
                    <a:pt x="1153" y="1151"/>
                  </a:lnTo>
                  <a:lnTo>
                    <a:pt x="1171" y="1134"/>
                  </a:lnTo>
                  <a:lnTo>
                    <a:pt x="1189" y="1119"/>
                  </a:lnTo>
                  <a:lnTo>
                    <a:pt x="1208" y="1104"/>
                  </a:lnTo>
                  <a:lnTo>
                    <a:pt x="1227" y="1090"/>
                  </a:lnTo>
                  <a:lnTo>
                    <a:pt x="1248" y="1077"/>
                  </a:lnTo>
                  <a:lnTo>
                    <a:pt x="1268" y="1065"/>
                  </a:lnTo>
                  <a:lnTo>
                    <a:pt x="1290" y="1054"/>
                  </a:lnTo>
                  <a:lnTo>
                    <a:pt x="1312" y="1044"/>
                  </a:lnTo>
                  <a:lnTo>
                    <a:pt x="1336" y="1035"/>
                  </a:lnTo>
                  <a:lnTo>
                    <a:pt x="1359" y="1027"/>
                  </a:lnTo>
                  <a:lnTo>
                    <a:pt x="1383" y="1020"/>
                  </a:lnTo>
                  <a:lnTo>
                    <a:pt x="1407" y="1015"/>
                  </a:lnTo>
                  <a:lnTo>
                    <a:pt x="1432" y="1010"/>
                  </a:lnTo>
                  <a:lnTo>
                    <a:pt x="1457" y="1007"/>
                  </a:lnTo>
                  <a:lnTo>
                    <a:pt x="1482" y="1005"/>
                  </a:lnTo>
                  <a:lnTo>
                    <a:pt x="1509" y="1004"/>
                  </a:lnTo>
                  <a:lnTo>
                    <a:pt x="9554" y="1004"/>
                  </a:lnTo>
                  <a:lnTo>
                    <a:pt x="9581" y="1005"/>
                  </a:lnTo>
                  <a:lnTo>
                    <a:pt x="9606" y="1007"/>
                  </a:lnTo>
                  <a:lnTo>
                    <a:pt x="9631" y="1010"/>
                  </a:lnTo>
                  <a:lnTo>
                    <a:pt x="9655" y="1014"/>
                  </a:lnTo>
                  <a:lnTo>
                    <a:pt x="9680" y="1020"/>
                  </a:lnTo>
                  <a:lnTo>
                    <a:pt x="9703" y="1027"/>
                  </a:lnTo>
                  <a:lnTo>
                    <a:pt x="9727" y="1034"/>
                  </a:lnTo>
                  <a:lnTo>
                    <a:pt x="9750" y="1043"/>
                  </a:lnTo>
                  <a:lnTo>
                    <a:pt x="9772" y="1053"/>
                  </a:lnTo>
                  <a:lnTo>
                    <a:pt x="9794" y="1064"/>
                  </a:lnTo>
                  <a:lnTo>
                    <a:pt x="9815" y="1076"/>
                  </a:lnTo>
                  <a:lnTo>
                    <a:pt x="9835" y="1089"/>
                  </a:lnTo>
                  <a:lnTo>
                    <a:pt x="9855" y="1103"/>
                  </a:lnTo>
                  <a:lnTo>
                    <a:pt x="9874" y="1118"/>
                  </a:lnTo>
                  <a:lnTo>
                    <a:pt x="9892" y="1134"/>
                  </a:lnTo>
                  <a:lnTo>
                    <a:pt x="9909" y="1151"/>
                  </a:lnTo>
                  <a:lnTo>
                    <a:pt x="9927" y="1168"/>
                  </a:lnTo>
                  <a:lnTo>
                    <a:pt x="9943" y="1186"/>
                  </a:lnTo>
                  <a:lnTo>
                    <a:pt x="9957" y="1205"/>
                  </a:lnTo>
                  <a:lnTo>
                    <a:pt x="9971" y="1225"/>
                  </a:lnTo>
                  <a:lnTo>
                    <a:pt x="9984" y="1245"/>
                  </a:lnTo>
                  <a:lnTo>
                    <a:pt x="9996" y="1267"/>
                  </a:lnTo>
                  <a:lnTo>
                    <a:pt x="10008" y="1288"/>
                  </a:lnTo>
                  <a:lnTo>
                    <a:pt x="10018" y="1310"/>
                  </a:lnTo>
                  <a:lnTo>
                    <a:pt x="10026" y="1333"/>
                  </a:lnTo>
                  <a:lnTo>
                    <a:pt x="10034" y="1356"/>
                  </a:lnTo>
                  <a:lnTo>
                    <a:pt x="10041" y="1380"/>
                  </a:lnTo>
                  <a:lnTo>
                    <a:pt x="10047" y="1404"/>
                  </a:lnTo>
                  <a:lnTo>
                    <a:pt x="10051" y="1429"/>
                  </a:lnTo>
                  <a:lnTo>
                    <a:pt x="10054" y="1454"/>
                  </a:lnTo>
                  <a:lnTo>
                    <a:pt x="10056" y="1479"/>
                  </a:lnTo>
                  <a:lnTo>
                    <a:pt x="10057" y="1505"/>
                  </a:lnTo>
                  <a:lnTo>
                    <a:pt x="10057" y="2509"/>
                  </a:lnTo>
                  <a:close/>
                  <a:moveTo>
                    <a:pt x="10057" y="13044"/>
                  </a:moveTo>
                  <a:lnTo>
                    <a:pt x="1006" y="13045"/>
                  </a:lnTo>
                  <a:lnTo>
                    <a:pt x="1006" y="3011"/>
                  </a:lnTo>
                  <a:lnTo>
                    <a:pt x="10057" y="3011"/>
                  </a:lnTo>
                  <a:lnTo>
                    <a:pt x="10057" y="13044"/>
                  </a:lnTo>
                  <a:close/>
                  <a:moveTo>
                    <a:pt x="10057" y="14553"/>
                  </a:moveTo>
                  <a:lnTo>
                    <a:pt x="10056" y="14578"/>
                  </a:lnTo>
                  <a:lnTo>
                    <a:pt x="10054" y="14604"/>
                  </a:lnTo>
                  <a:lnTo>
                    <a:pt x="10051" y="14629"/>
                  </a:lnTo>
                  <a:lnTo>
                    <a:pt x="10047" y="14653"/>
                  </a:lnTo>
                  <a:lnTo>
                    <a:pt x="10041" y="14677"/>
                  </a:lnTo>
                  <a:lnTo>
                    <a:pt x="10034" y="14701"/>
                  </a:lnTo>
                  <a:lnTo>
                    <a:pt x="10026" y="14724"/>
                  </a:lnTo>
                  <a:lnTo>
                    <a:pt x="10018" y="14747"/>
                  </a:lnTo>
                  <a:lnTo>
                    <a:pt x="10008" y="14769"/>
                  </a:lnTo>
                  <a:lnTo>
                    <a:pt x="9996" y="14791"/>
                  </a:lnTo>
                  <a:lnTo>
                    <a:pt x="9984" y="14813"/>
                  </a:lnTo>
                  <a:lnTo>
                    <a:pt x="9971" y="14833"/>
                  </a:lnTo>
                  <a:lnTo>
                    <a:pt x="9957" y="14853"/>
                  </a:lnTo>
                  <a:lnTo>
                    <a:pt x="9943" y="14872"/>
                  </a:lnTo>
                  <a:lnTo>
                    <a:pt x="9927" y="14890"/>
                  </a:lnTo>
                  <a:lnTo>
                    <a:pt x="9909" y="14907"/>
                  </a:lnTo>
                  <a:lnTo>
                    <a:pt x="9892" y="14924"/>
                  </a:lnTo>
                  <a:lnTo>
                    <a:pt x="9874" y="14939"/>
                  </a:lnTo>
                  <a:lnTo>
                    <a:pt x="9855" y="14954"/>
                  </a:lnTo>
                  <a:lnTo>
                    <a:pt x="9835" y="14968"/>
                  </a:lnTo>
                  <a:lnTo>
                    <a:pt x="9815" y="14981"/>
                  </a:lnTo>
                  <a:lnTo>
                    <a:pt x="9794" y="14993"/>
                  </a:lnTo>
                  <a:lnTo>
                    <a:pt x="9772" y="15004"/>
                  </a:lnTo>
                  <a:lnTo>
                    <a:pt x="9750" y="15014"/>
                  </a:lnTo>
                  <a:lnTo>
                    <a:pt x="9727" y="15023"/>
                  </a:lnTo>
                  <a:lnTo>
                    <a:pt x="9703" y="15031"/>
                  </a:lnTo>
                  <a:lnTo>
                    <a:pt x="9680" y="15038"/>
                  </a:lnTo>
                  <a:lnTo>
                    <a:pt x="9655" y="15043"/>
                  </a:lnTo>
                  <a:lnTo>
                    <a:pt x="9631" y="15048"/>
                  </a:lnTo>
                  <a:lnTo>
                    <a:pt x="9606" y="15051"/>
                  </a:lnTo>
                  <a:lnTo>
                    <a:pt x="9581" y="15053"/>
                  </a:lnTo>
                  <a:lnTo>
                    <a:pt x="9554" y="15054"/>
                  </a:lnTo>
                  <a:lnTo>
                    <a:pt x="1509" y="15054"/>
                  </a:lnTo>
                  <a:lnTo>
                    <a:pt x="1482" y="15053"/>
                  </a:lnTo>
                  <a:lnTo>
                    <a:pt x="1457" y="15051"/>
                  </a:lnTo>
                  <a:lnTo>
                    <a:pt x="1432" y="15048"/>
                  </a:lnTo>
                  <a:lnTo>
                    <a:pt x="1407" y="15044"/>
                  </a:lnTo>
                  <a:lnTo>
                    <a:pt x="1383" y="15038"/>
                  </a:lnTo>
                  <a:lnTo>
                    <a:pt x="1359" y="15031"/>
                  </a:lnTo>
                  <a:lnTo>
                    <a:pt x="1336" y="15024"/>
                  </a:lnTo>
                  <a:lnTo>
                    <a:pt x="1312" y="15015"/>
                  </a:lnTo>
                  <a:lnTo>
                    <a:pt x="1290" y="15005"/>
                  </a:lnTo>
                  <a:lnTo>
                    <a:pt x="1268" y="14994"/>
                  </a:lnTo>
                  <a:lnTo>
                    <a:pt x="1248" y="14982"/>
                  </a:lnTo>
                  <a:lnTo>
                    <a:pt x="1227" y="14969"/>
                  </a:lnTo>
                  <a:lnTo>
                    <a:pt x="1208" y="14955"/>
                  </a:lnTo>
                  <a:lnTo>
                    <a:pt x="1189" y="14940"/>
                  </a:lnTo>
                  <a:lnTo>
                    <a:pt x="1171" y="14924"/>
                  </a:lnTo>
                  <a:lnTo>
                    <a:pt x="1153" y="14907"/>
                  </a:lnTo>
                  <a:lnTo>
                    <a:pt x="1136" y="14890"/>
                  </a:lnTo>
                  <a:lnTo>
                    <a:pt x="1120" y="14872"/>
                  </a:lnTo>
                  <a:lnTo>
                    <a:pt x="1105" y="14853"/>
                  </a:lnTo>
                  <a:lnTo>
                    <a:pt x="1091" y="14833"/>
                  </a:lnTo>
                  <a:lnTo>
                    <a:pt x="1078" y="14813"/>
                  </a:lnTo>
                  <a:lnTo>
                    <a:pt x="1066" y="14791"/>
                  </a:lnTo>
                  <a:lnTo>
                    <a:pt x="1055" y="14770"/>
                  </a:lnTo>
                  <a:lnTo>
                    <a:pt x="1045" y="14748"/>
                  </a:lnTo>
                  <a:lnTo>
                    <a:pt x="1036" y="14725"/>
                  </a:lnTo>
                  <a:lnTo>
                    <a:pt x="1028" y="14702"/>
                  </a:lnTo>
                  <a:lnTo>
                    <a:pt x="1022" y="14678"/>
                  </a:lnTo>
                  <a:lnTo>
                    <a:pt x="1016" y="14654"/>
                  </a:lnTo>
                  <a:lnTo>
                    <a:pt x="1012" y="14629"/>
                  </a:lnTo>
                  <a:lnTo>
                    <a:pt x="1009" y="14604"/>
                  </a:lnTo>
                  <a:lnTo>
                    <a:pt x="1007" y="14579"/>
                  </a:lnTo>
                  <a:lnTo>
                    <a:pt x="1006" y="14553"/>
                  </a:lnTo>
                  <a:lnTo>
                    <a:pt x="1006" y="13547"/>
                  </a:lnTo>
                  <a:lnTo>
                    <a:pt x="10057" y="13546"/>
                  </a:lnTo>
                  <a:lnTo>
                    <a:pt x="10057" y="14553"/>
                  </a:lnTo>
                  <a:close/>
                  <a:moveTo>
                    <a:pt x="9554" y="0"/>
                  </a:moveTo>
                  <a:lnTo>
                    <a:pt x="1509" y="1"/>
                  </a:lnTo>
                  <a:lnTo>
                    <a:pt x="1431" y="3"/>
                  </a:lnTo>
                  <a:lnTo>
                    <a:pt x="1354" y="8"/>
                  </a:lnTo>
                  <a:lnTo>
                    <a:pt x="1278" y="18"/>
                  </a:lnTo>
                  <a:lnTo>
                    <a:pt x="1204" y="31"/>
                  </a:lnTo>
                  <a:lnTo>
                    <a:pt x="1131" y="48"/>
                  </a:lnTo>
                  <a:lnTo>
                    <a:pt x="1060" y="68"/>
                  </a:lnTo>
                  <a:lnTo>
                    <a:pt x="990" y="92"/>
                  </a:lnTo>
                  <a:lnTo>
                    <a:pt x="921" y="118"/>
                  </a:lnTo>
                  <a:lnTo>
                    <a:pt x="854" y="149"/>
                  </a:lnTo>
                  <a:lnTo>
                    <a:pt x="789" y="183"/>
                  </a:lnTo>
                  <a:lnTo>
                    <a:pt x="726" y="219"/>
                  </a:lnTo>
                  <a:lnTo>
                    <a:pt x="665" y="258"/>
                  </a:lnTo>
                  <a:lnTo>
                    <a:pt x="605" y="300"/>
                  </a:lnTo>
                  <a:lnTo>
                    <a:pt x="549" y="344"/>
                  </a:lnTo>
                  <a:lnTo>
                    <a:pt x="494" y="391"/>
                  </a:lnTo>
                  <a:lnTo>
                    <a:pt x="442" y="442"/>
                  </a:lnTo>
                  <a:lnTo>
                    <a:pt x="391" y="494"/>
                  </a:lnTo>
                  <a:lnTo>
                    <a:pt x="344" y="548"/>
                  </a:lnTo>
                  <a:lnTo>
                    <a:pt x="300" y="605"/>
                  </a:lnTo>
                  <a:lnTo>
                    <a:pt x="257" y="664"/>
                  </a:lnTo>
                  <a:lnTo>
                    <a:pt x="218" y="726"/>
                  </a:lnTo>
                  <a:lnTo>
                    <a:pt x="182" y="789"/>
                  </a:lnTo>
                  <a:lnTo>
                    <a:pt x="149" y="853"/>
                  </a:lnTo>
                  <a:lnTo>
                    <a:pt x="119" y="920"/>
                  </a:lnTo>
                  <a:lnTo>
                    <a:pt x="92" y="989"/>
                  </a:lnTo>
                  <a:lnTo>
                    <a:pt x="67" y="1058"/>
                  </a:lnTo>
                  <a:lnTo>
                    <a:pt x="47" y="1130"/>
                  </a:lnTo>
                  <a:lnTo>
                    <a:pt x="30" y="1202"/>
                  </a:lnTo>
                  <a:lnTo>
                    <a:pt x="17" y="1277"/>
                  </a:lnTo>
                  <a:lnTo>
                    <a:pt x="8" y="1352"/>
                  </a:lnTo>
                  <a:lnTo>
                    <a:pt x="2" y="1428"/>
                  </a:lnTo>
                  <a:lnTo>
                    <a:pt x="0" y="1505"/>
                  </a:lnTo>
                  <a:lnTo>
                    <a:pt x="0" y="14553"/>
                  </a:lnTo>
                  <a:lnTo>
                    <a:pt x="2" y="14630"/>
                  </a:lnTo>
                  <a:lnTo>
                    <a:pt x="8" y="14706"/>
                  </a:lnTo>
                  <a:lnTo>
                    <a:pt x="17" y="14781"/>
                  </a:lnTo>
                  <a:lnTo>
                    <a:pt x="30" y="14856"/>
                  </a:lnTo>
                  <a:lnTo>
                    <a:pt x="47" y="14929"/>
                  </a:lnTo>
                  <a:lnTo>
                    <a:pt x="67" y="15000"/>
                  </a:lnTo>
                  <a:lnTo>
                    <a:pt x="92" y="15070"/>
                  </a:lnTo>
                  <a:lnTo>
                    <a:pt x="119" y="15139"/>
                  </a:lnTo>
                  <a:lnTo>
                    <a:pt x="149" y="15205"/>
                  </a:lnTo>
                  <a:lnTo>
                    <a:pt x="182" y="15270"/>
                  </a:lnTo>
                  <a:lnTo>
                    <a:pt x="218" y="15333"/>
                  </a:lnTo>
                  <a:lnTo>
                    <a:pt x="257" y="15395"/>
                  </a:lnTo>
                  <a:lnTo>
                    <a:pt x="300" y="15453"/>
                  </a:lnTo>
                  <a:lnTo>
                    <a:pt x="344" y="15510"/>
                  </a:lnTo>
                  <a:lnTo>
                    <a:pt x="391" y="15565"/>
                  </a:lnTo>
                  <a:lnTo>
                    <a:pt x="442" y="15617"/>
                  </a:lnTo>
                  <a:lnTo>
                    <a:pt x="494" y="15667"/>
                  </a:lnTo>
                  <a:lnTo>
                    <a:pt x="549" y="15714"/>
                  </a:lnTo>
                  <a:lnTo>
                    <a:pt x="605" y="15759"/>
                  </a:lnTo>
                  <a:lnTo>
                    <a:pt x="665" y="15801"/>
                  </a:lnTo>
                  <a:lnTo>
                    <a:pt x="726" y="15840"/>
                  </a:lnTo>
                  <a:lnTo>
                    <a:pt x="789" y="15876"/>
                  </a:lnTo>
                  <a:lnTo>
                    <a:pt x="854" y="15909"/>
                  </a:lnTo>
                  <a:lnTo>
                    <a:pt x="921" y="15940"/>
                  </a:lnTo>
                  <a:lnTo>
                    <a:pt x="990" y="15967"/>
                  </a:lnTo>
                  <a:lnTo>
                    <a:pt x="1060" y="15991"/>
                  </a:lnTo>
                  <a:lnTo>
                    <a:pt x="1131" y="16011"/>
                  </a:lnTo>
                  <a:lnTo>
                    <a:pt x="1204" y="16028"/>
                  </a:lnTo>
                  <a:lnTo>
                    <a:pt x="1278" y="16041"/>
                  </a:lnTo>
                  <a:lnTo>
                    <a:pt x="1354" y="16050"/>
                  </a:lnTo>
                  <a:lnTo>
                    <a:pt x="1431" y="16056"/>
                  </a:lnTo>
                  <a:lnTo>
                    <a:pt x="1509" y="16058"/>
                  </a:lnTo>
                  <a:lnTo>
                    <a:pt x="9554" y="16057"/>
                  </a:lnTo>
                  <a:lnTo>
                    <a:pt x="9632" y="16055"/>
                  </a:lnTo>
                  <a:lnTo>
                    <a:pt x="9708" y="16050"/>
                  </a:lnTo>
                  <a:lnTo>
                    <a:pt x="9784" y="16040"/>
                  </a:lnTo>
                  <a:lnTo>
                    <a:pt x="9858" y="16027"/>
                  </a:lnTo>
                  <a:lnTo>
                    <a:pt x="9932" y="16010"/>
                  </a:lnTo>
                  <a:lnTo>
                    <a:pt x="10003" y="15990"/>
                  </a:lnTo>
                  <a:lnTo>
                    <a:pt x="10073" y="15966"/>
                  </a:lnTo>
                  <a:lnTo>
                    <a:pt x="10142" y="15940"/>
                  </a:lnTo>
                  <a:lnTo>
                    <a:pt x="10208" y="15909"/>
                  </a:lnTo>
                  <a:lnTo>
                    <a:pt x="10274" y="15875"/>
                  </a:lnTo>
                  <a:lnTo>
                    <a:pt x="10337" y="15839"/>
                  </a:lnTo>
                  <a:lnTo>
                    <a:pt x="10397" y="15800"/>
                  </a:lnTo>
                  <a:lnTo>
                    <a:pt x="10457" y="15758"/>
                  </a:lnTo>
                  <a:lnTo>
                    <a:pt x="10514" y="15714"/>
                  </a:lnTo>
                  <a:lnTo>
                    <a:pt x="10568" y="15667"/>
                  </a:lnTo>
                  <a:lnTo>
                    <a:pt x="10620" y="15616"/>
                  </a:lnTo>
                  <a:lnTo>
                    <a:pt x="10671" y="15564"/>
                  </a:lnTo>
                  <a:lnTo>
                    <a:pt x="10718" y="15510"/>
                  </a:lnTo>
                  <a:lnTo>
                    <a:pt x="10763" y="15453"/>
                  </a:lnTo>
                  <a:lnTo>
                    <a:pt x="10806" y="15394"/>
                  </a:lnTo>
                  <a:lnTo>
                    <a:pt x="10845" y="15332"/>
                  </a:lnTo>
                  <a:lnTo>
                    <a:pt x="10881" y="15269"/>
                  </a:lnTo>
                  <a:lnTo>
                    <a:pt x="10914" y="15205"/>
                  </a:lnTo>
                  <a:lnTo>
                    <a:pt x="10944" y="15138"/>
                  </a:lnTo>
                  <a:lnTo>
                    <a:pt x="10971" y="15069"/>
                  </a:lnTo>
                  <a:lnTo>
                    <a:pt x="10996" y="15000"/>
                  </a:lnTo>
                  <a:lnTo>
                    <a:pt x="11016" y="14928"/>
                  </a:lnTo>
                  <a:lnTo>
                    <a:pt x="11032" y="14856"/>
                  </a:lnTo>
                  <a:lnTo>
                    <a:pt x="11046" y="14781"/>
                  </a:lnTo>
                  <a:lnTo>
                    <a:pt x="11055" y="14706"/>
                  </a:lnTo>
                  <a:lnTo>
                    <a:pt x="11061" y="14630"/>
                  </a:lnTo>
                  <a:lnTo>
                    <a:pt x="11063" y="14553"/>
                  </a:lnTo>
                  <a:lnTo>
                    <a:pt x="11063" y="1505"/>
                  </a:lnTo>
                  <a:lnTo>
                    <a:pt x="11061" y="1428"/>
                  </a:lnTo>
                  <a:lnTo>
                    <a:pt x="11055" y="1352"/>
                  </a:lnTo>
                  <a:lnTo>
                    <a:pt x="11046" y="1277"/>
                  </a:lnTo>
                  <a:lnTo>
                    <a:pt x="11032" y="1202"/>
                  </a:lnTo>
                  <a:lnTo>
                    <a:pt x="11016" y="1129"/>
                  </a:lnTo>
                  <a:lnTo>
                    <a:pt x="10996" y="1058"/>
                  </a:lnTo>
                  <a:lnTo>
                    <a:pt x="10971" y="988"/>
                  </a:lnTo>
                  <a:lnTo>
                    <a:pt x="10944" y="919"/>
                  </a:lnTo>
                  <a:lnTo>
                    <a:pt x="10914" y="853"/>
                  </a:lnTo>
                  <a:lnTo>
                    <a:pt x="10881" y="788"/>
                  </a:lnTo>
                  <a:lnTo>
                    <a:pt x="10845" y="725"/>
                  </a:lnTo>
                  <a:lnTo>
                    <a:pt x="10806" y="663"/>
                  </a:lnTo>
                  <a:lnTo>
                    <a:pt x="10763" y="605"/>
                  </a:lnTo>
                  <a:lnTo>
                    <a:pt x="10718" y="548"/>
                  </a:lnTo>
                  <a:lnTo>
                    <a:pt x="10671" y="493"/>
                  </a:lnTo>
                  <a:lnTo>
                    <a:pt x="10620" y="441"/>
                  </a:lnTo>
                  <a:lnTo>
                    <a:pt x="10568" y="391"/>
                  </a:lnTo>
                  <a:lnTo>
                    <a:pt x="10514" y="344"/>
                  </a:lnTo>
                  <a:lnTo>
                    <a:pt x="10457" y="299"/>
                  </a:lnTo>
                  <a:lnTo>
                    <a:pt x="10397" y="257"/>
                  </a:lnTo>
                  <a:lnTo>
                    <a:pt x="10337" y="218"/>
                  </a:lnTo>
                  <a:lnTo>
                    <a:pt x="10274" y="182"/>
                  </a:lnTo>
                  <a:lnTo>
                    <a:pt x="10208" y="149"/>
                  </a:lnTo>
                  <a:lnTo>
                    <a:pt x="10142" y="118"/>
                  </a:lnTo>
                  <a:lnTo>
                    <a:pt x="10073" y="91"/>
                  </a:lnTo>
                  <a:lnTo>
                    <a:pt x="10003" y="67"/>
                  </a:lnTo>
                  <a:lnTo>
                    <a:pt x="9932" y="47"/>
                  </a:lnTo>
                  <a:lnTo>
                    <a:pt x="9858" y="30"/>
                  </a:lnTo>
                  <a:lnTo>
                    <a:pt x="9784" y="17"/>
                  </a:lnTo>
                  <a:lnTo>
                    <a:pt x="9708" y="8"/>
                  </a:lnTo>
                  <a:lnTo>
                    <a:pt x="9632" y="2"/>
                  </a:lnTo>
                  <a:lnTo>
                    <a:pt x="955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08" name="íṥľïďê">
              <a:extLst>
                <a:ext uri="{FF2B5EF4-FFF2-40B4-BE49-F238E27FC236}">
                  <a16:creationId xmlns:a16="http://schemas.microsoft.com/office/drawing/2014/main" id="{B0DA0330-DA0E-4E31-B79C-A71937F7DD60}"/>
                </a:ext>
              </a:extLst>
            </p:cNvPr>
            <p:cNvSpPr/>
            <p:nvPr/>
          </p:nvSpPr>
          <p:spPr bwMode="auto">
            <a:xfrm>
              <a:off x="8746210" y="1395302"/>
              <a:ext cx="31635" cy="7478"/>
            </a:xfrm>
            <a:custGeom>
              <a:avLst/>
              <a:gdLst>
                <a:gd name="T0" fmla="*/ 2010 w 2011"/>
                <a:gd name="T1" fmla="*/ 276 h 502"/>
                <a:gd name="T2" fmla="*/ 2003 w 2011"/>
                <a:gd name="T3" fmla="*/ 314 h 502"/>
                <a:gd name="T4" fmla="*/ 1991 w 2011"/>
                <a:gd name="T5" fmla="*/ 349 h 502"/>
                <a:gd name="T6" fmla="*/ 1975 w 2011"/>
                <a:gd name="T7" fmla="*/ 382 h 502"/>
                <a:gd name="T8" fmla="*/ 1954 w 2011"/>
                <a:gd name="T9" fmla="*/ 411 h 502"/>
                <a:gd name="T10" fmla="*/ 1929 w 2011"/>
                <a:gd name="T11" fmla="*/ 437 h 502"/>
                <a:gd name="T12" fmla="*/ 1900 w 2011"/>
                <a:gd name="T13" fmla="*/ 459 h 502"/>
                <a:gd name="T14" fmla="*/ 1868 w 2011"/>
                <a:gd name="T15" fmla="*/ 477 h 502"/>
                <a:gd name="T16" fmla="*/ 1834 w 2011"/>
                <a:gd name="T17" fmla="*/ 491 h 502"/>
                <a:gd name="T18" fmla="*/ 1798 w 2011"/>
                <a:gd name="T19" fmla="*/ 499 h 502"/>
                <a:gd name="T20" fmla="*/ 1760 w 2011"/>
                <a:gd name="T21" fmla="*/ 502 h 502"/>
                <a:gd name="T22" fmla="*/ 225 w 2011"/>
                <a:gd name="T23" fmla="*/ 501 h 502"/>
                <a:gd name="T24" fmla="*/ 188 w 2011"/>
                <a:gd name="T25" fmla="*/ 494 h 502"/>
                <a:gd name="T26" fmla="*/ 153 w 2011"/>
                <a:gd name="T27" fmla="*/ 482 h 502"/>
                <a:gd name="T28" fmla="*/ 120 w 2011"/>
                <a:gd name="T29" fmla="*/ 466 h 502"/>
                <a:gd name="T30" fmla="*/ 91 w 2011"/>
                <a:gd name="T31" fmla="*/ 445 h 502"/>
                <a:gd name="T32" fmla="*/ 65 w 2011"/>
                <a:gd name="T33" fmla="*/ 420 h 502"/>
                <a:gd name="T34" fmla="*/ 43 w 2011"/>
                <a:gd name="T35" fmla="*/ 392 h 502"/>
                <a:gd name="T36" fmla="*/ 25 w 2011"/>
                <a:gd name="T37" fmla="*/ 360 h 502"/>
                <a:gd name="T38" fmla="*/ 11 w 2011"/>
                <a:gd name="T39" fmla="*/ 326 h 502"/>
                <a:gd name="T40" fmla="*/ 3 w 2011"/>
                <a:gd name="T41" fmla="*/ 289 h 502"/>
                <a:gd name="T42" fmla="*/ 0 w 2011"/>
                <a:gd name="T43" fmla="*/ 251 h 502"/>
                <a:gd name="T44" fmla="*/ 3 w 2011"/>
                <a:gd name="T45" fmla="*/ 213 h 502"/>
                <a:gd name="T46" fmla="*/ 11 w 2011"/>
                <a:gd name="T47" fmla="*/ 177 h 502"/>
                <a:gd name="T48" fmla="*/ 25 w 2011"/>
                <a:gd name="T49" fmla="*/ 143 h 502"/>
                <a:gd name="T50" fmla="*/ 43 w 2011"/>
                <a:gd name="T51" fmla="*/ 111 h 502"/>
                <a:gd name="T52" fmla="*/ 65 w 2011"/>
                <a:gd name="T53" fmla="*/ 83 h 502"/>
                <a:gd name="T54" fmla="*/ 91 w 2011"/>
                <a:gd name="T55" fmla="*/ 58 h 502"/>
                <a:gd name="T56" fmla="*/ 120 w 2011"/>
                <a:gd name="T57" fmla="*/ 37 h 502"/>
                <a:gd name="T58" fmla="*/ 153 w 2011"/>
                <a:gd name="T59" fmla="*/ 21 h 502"/>
                <a:gd name="T60" fmla="*/ 188 w 2011"/>
                <a:gd name="T61" fmla="*/ 8 h 502"/>
                <a:gd name="T62" fmla="*/ 225 w 2011"/>
                <a:gd name="T63" fmla="*/ 1 h 502"/>
                <a:gd name="T64" fmla="*/ 1760 w 2011"/>
                <a:gd name="T65" fmla="*/ 0 h 502"/>
                <a:gd name="T66" fmla="*/ 1798 w 2011"/>
                <a:gd name="T67" fmla="*/ 3 h 502"/>
                <a:gd name="T68" fmla="*/ 1834 w 2011"/>
                <a:gd name="T69" fmla="*/ 11 h 502"/>
                <a:gd name="T70" fmla="*/ 1868 w 2011"/>
                <a:gd name="T71" fmla="*/ 26 h 502"/>
                <a:gd name="T72" fmla="*/ 1900 w 2011"/>
                <a:gd name="T73" fmla="*/ 44 h 502"/>
                <a:gd name="T74" fmla="*/ 1929 w 2011"/>
                <a:gd name="T75" fmla="*/ 66 h 502"/>
                <a:gd name="T76" fmla="*/ 1954 w 2011"/>
                <a:gd name="T77" fmla="*/ 92 h 502"/>
                <a:gd name="T78" fmla="*/ 1975 w 2011"/>
                <a:gd name="T79" fmla="*/ 121 h 502"/>
                <a:gd name="T80" fmla="*/ 1991 w 2011"/>
                <a:gd name="T81" fmla="*/ 154 h 502"/>
                <a:gd name="T82" fmla="*/ 2003 w 2011"/>
                <a:gd name="T83" fmla="*/ 189 h 502"/>
                <a:gd name="T84" fmla="*/ 2010 w 2011"/>
                <a:gd name="T85" fmla="*/ 225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11" h="502">
                  <a:moveTo>
                    <a:pt x="2011" y="251"/>
                  </a:moveTo>
                  <a:lnTo>
                    <a:pt x="2011" y="264"/>
                  </a:lnTo>
                  <a:lnTo>
                    <a:pt x="2010" y="276"/>
                  </a:lnTo>
                  <a:lnTo>
                    <a:pt x="2008" y="289"/>
                  </a:lnTo>
                  <a:lnTo>
                    <a:pt x="2006" y="302"/>
                  </a:lnTo>
                  <a:lnTo>
                    <a:pt x="2003" y="314"/>
                  </a:lnTo>
                  <a:lnTo>
                    <a:pt x="2000" y="326"/>
                  </a:lnTo>
                  <a:lnTo>
                    <a:pt x="1996" y="338"/>
                  </a:lnTo>
                  <a:lnTo>
                    <a:pt x="1991" y="349"/>
                  </a:lnTo>
                  <a:lnTo>
                    <a:pt x="1986" y="360"/>
                  </a:lnTo>
                  <a:lnTo>
                    <a:pt x="1981" y="371"/>
                  </a:lnTo>
                  <a:lnTo>
                    <a:pt x="1975" y="382"/>
                  </a:lnTo>
                  <a:lnTo>
                    <a:pt x="1968" y="392"/>
                  </a:lnTo>
                  <a:lnTo>
                    <a:pt x="1961" y="402"/>
                  </a:lnTo>
                  <a:lnTo>
                    <a:pt x="1954" y="411"/>
                  </a:lnTo>
                  <a:lnTo>
                    <a:pt x="1946" y="420"/>
                  </a:lnTo>
                  <a:lnTo>
                    <a:pt x="1938" y="429"/>
                  </a:lnTo>
                  <a:lnTo>
                    <a:pt x="1929" y="437"/>
                  </a:lnTo>
                  <a:lnTo>
                    <a:pt x="1920" y="445"/>
                  </a:lnTo>
                  <a:lnTo>
                    <a:pt x="1910" y="452"/>
                  </a:lnTo>
                  <a:lnTo>
                    <a:pt x="1900" y="459"/>
                  </a:lnTo>
                  <a:lnTo>
                    <a:pt x="1890" y="466"/>
                  </a:lnTo>
                  <a:lnTo>
                    <a:pt x="1879" y="472"/>
                  </a:lnTo>
                  <a:lnTo>
                    <a:pt x="1868" y="477"/>
                  </a:lnTo>
                  <a:lnTo>
                    <a:pt x="1857" y="482"/>
                  </a:lnTo>
                  <a:lnTo>
                    <a:pt x="1846" y="487"/>
                  </a:lnTo>
                  <a:lnTo>
                    <a:pt x="1834" y="491"/>
                  </a:lnTo>
                  <a:lnTo>
                    <a:pt x="1822" y="494"/>
                  </a:lnTo>
                  <a:lnTo>
                    <a:pt x="1810" y="497"/>
                  </a:lnTo>
                  <a:lnTo>
                    <a:pt x="1798" y="499"/>
                  </a:lnTo>
                  <a:lnTo>
                    <a:pt x="1785" y="501"/>
                  </a:lnTo>
                  <a:lnTo>
                    <a:pt x="1773" y="502"/>
                  </a:lnTo>
                  <a:lnTo>
                    <a:pt x="1760" y="502"/>
                  </a:lnTo>
                  <a:lnTo>
                    <a:pt x="251" y="502"/>
                  </a:lnTo>
                  <a:lnTo>
                    <a:pt x="238" y="502"/>
                  </a:lnTo>
                  <a:lnTo>
                    <a:pt x="225" y="501"/>
                  </a:lnTo>
                  <a:lnTo>
                    <a:pt x="213" y="499"/>
                  </a:lnTo>
                  <a:lnTo>
                    <a:pt x="200" y="497"/>
                  </a:lnTo>
                  <a:lnTo>
                    <a:pt x="188" y="494"/>
                  </a:lnTo>
                  <a:lnTo>
                    <a:pt x="176" y="491"/>
                  </a:lnTo>
                  <a:lnTo>
                    <a:pt x="165" y="487"/>
                  </a:lnTo>
                  <a:lnTo>
                    <a:pt x="153" y="482"/>
                  </a:lnTo>
                  <a:lnTo>
                    <a:pt x="142" y="477"/>
                  </a:lnTo>
                  <a:lnTo>
                    <a:pt x="132" y="472"/>
                  </a:lnTo>
                  <a:lnTo>
                    <a:pt x="120" y="466"/>
                  </a:lnTo>
                  <a:lnTo>
                    <a:pt x="110" y="459"/>
                  </a:lnTo>
                  <a:lnTo>
                    <a:pt x="100" y="452"/>
                  </a:lnTo>
                  <a:lnTo>
                    <a:pt x="91" y="445"/>
                  </a:lnTo>
                  <a:lnTo>
                    <a:pt x="82" y="437"/>
                  </a:lnTo>
                  <a:lnTo>
                    <a:pt x="73" y="429"/>
                  </a:lnTo>
                  <a:lnTo>
                    <a:pt x="65" y="420"/>
                  </a:lnTo>
                  <a:lnTo>
                    <a:pt x="57" y="411"/>
                  </a:lnTo>
                  <a:lnTo>
                    <a:pt x="49" y="402"/>
                  </a:lnTo>
                  <a:lnTo>
                    <a:pt x="43" y="392"/>
                  </a:lnTo>
                  <a:lnTo>
                    <a:pt x="36" y="382"/>
                  </a:lnTo>
                  <a:lnTo>
                    <a:pt x="30" y="371"/>
                  </a:lnTo>
                  <a:lnTo>
                    <a:pt x="25" y="360"/>
                  </a:lnTo>
                  <a:lnTo>
                    <a:pt x="20" y="349"/>
                  </a:lnTo>
                  <a:lnTo>
                    <a:pt x="15" y="338"/>
                  </a:lnTo>
                  <a:lnTo>
                    <a:pt x="11" y="326"/>
                  </a:lnTo>
                  <a:lnTo>
                    <a:pt x="8" y="314"/>
                  </a:lnTo>
                  <a:lnTo>
                    <a:pt x="5" y="302"/>
                  </a:lnTo>
                  <a:lnTo>
                    <a:pt x="3" y="289"/>
                  </a:lnTo>
                  <a:lnTo>
                    <a:pt x="1" y="276"/>
                  </a:lnTo>
                  <a:lnTo>
                    <a:pt x="0" y="264"/>
                  </a:lnTo>
                  <a:lnTo>
                    <a:pt x="0" y="251"/>
                  </a:lnTo>
                  <a:lnTo>
                    <a:pt x="0" y="238"/>
                  </a:lnTo>
                  <a:lnTo>
                    <a:pt x="1" y="225"/>
                  </a:lnTo>
                  <a:lnTo>
                    <a:pt x="3" y="213"/>
                  </a:lnTo>
                  <a:lnTo>
                    <a:pt x="5" y="201"/>
                  </a:lnTo>
                  <a:lnTo>
                    <a:pt x="8" y="189"/>
                  </a:lnTo>
                  <a:lnTo>
                    <a:pt x="11" y="177"/>
                  </a:lnTo>
                  <a:lnTo>
                    <a:pt x="15" y="165"/>
                  </a:lnTo>
                  <a:lnTo>
                    <a:pt x="20" y="154"/>
                  </a:lnTo>
                  <a:lnTo>
                    <a:pt x="25" y="143"/>
                  </a:lnTo>
                  <a:lnTo>
                    <a:pt x="30" y="132"/>
                  </a:lnTo>
                  <a:lnTo>
                    <a:pt x="36" y="121"/>
                  </a:lnTo>
                  <a:lnTo>
                    <a:pt x="43" y="111"/>
                  </a:lnTo>
                  <a:lnTo>
                    <a:pt x="49" y="101"/>
                  </a:lnTo>
                  <a:lnTo>
                    <a:pt x="57" y="92"/>
                  </a:lnTo>
                  <a:lnTo>
                    <a:pt x="65" y="83"/>
                  </a:lnTo>
                  <a:lnTo>
                    <a:pt x="73" y="74"/>
                  </a:lnTo>
                  <a:lnTo>
                    <a:pt x="82" y="66"/>
                  </a:lnTo>
                  <a:lnTo>
                    <a:pt x="91" y="58"/>
                  </a:lnTo>
                  <a:lnTo>
                    <a:pt x="100" y="51"/>
                  </a:lnTo>
                  <a:lnTo>
                    <a:pt x="110" y="44"/>
                  </a:lnTo>
                  <a:lnTo>
                    <a:pt x="120" y="37"/>
                  </a:lnTo>
                  <a:lnTo>
                    <a:pt x="132" y="31"/>
                  </a:lnTo>
                  <a:lnTo>
                    <a:pt x="142" y="26"/>
                  </a:lnTo>
                  <a:lnTo>
                    <a:pt x="153" y="21"/>
                  </a:lnTo>
                  <a:lnTo>
                    <a:pt x="165" y="15"/>
                  </a:lnTo>
                  <a:lnTo>
                    <a:pt x="176" y="11"/>
                  </a:lnTo>
                  <a:lnTo>
                    <a:pt x="188" y="8"/>
                  </a:lnTo>
                  <a:lnTo>
                    <a:pt x="200" y="5"/>
                  </a:lnTo>
                  <a:lnTo>
                    <a:pt x="213" y="3"/>
                  </a:lnTo>
                  <a:lnTo>
                    <a:pt x="225" y="1"/>
                  </a:lnTo>
                  <a:lnTo>
                    <a:pt x="238" y="0"/>
                  </a:lnTo>
                  <a:lnTo>
                    <a:pt x="251" y="0"/>
                  </a:lnTo>
                  <a:lnTo>
                    <a:pt x="1760" y="0"/>
                  </a:lnTo>
                  <a:lnTo>
                    <a:pt x="1773" y="0"/>
                  </a:lnTo>
                  <a:lnTo>
                    <a:pt x="1785" y="1"/>
                  </a:lnTo>
                  <a:lnTo>
                    <a:pt x="1798" y="3"/>
                  </a:lnTo>
                  <a:lnTo>
                    <a:pt x="1810" y="5"/>
                  </a:lnTo>
                  <a:lnTo>
                    <a:pt x="1822" y="8"/>
                  </a:lnTo>
                  <a:lnTo>
                    <a:pt x="1834" y="11"/>
                  </a:lnTo>
                  <a:lnTo>
                    <a:pt x="1846" y="15"/>
                  </a:lnTo>
                  <a:lnTo>
                    <a:pt x="1857" y="21"/>
                  </a:lnTo>
                  <a:lnTo>
                    <a:pt x="1868" y="26"/>
                  </a:lnTo>
                  <a:lnTo>
                    <a:pt x="1879" y="31"/>
                  </a:lnTo>
                  <a:lnTo>
                    <a:pt x="1890" y="37"/>
                  </a:lnTo>
                  <a:lnTo>
                    <a:pt x="1900" y="44"/>
                  </a:lnTo>
                  <a:lnTo>
                    <a:pt x="1910" y="51"/>
                  </a:lnTo>
                  <a:lnTo>
                    <a:pt x="1920" y="58"/>
                  </a:lnTo>
                  <a:lnTo>
                    <a:pt x="1929" y="66"/>
                  </a:lnTo>
                  <a:lnTo>
                    <a:pt x="1938" y="74"/>
                  </a:lnTo>
                  <a:lnTo>
                    <a:pt x="1946" y="83"/>
                  </a:lnTo>
                  <a:lnTo>
                    <a:pt x="1954" y="92"/>
                  </a:lnTo>
                  <a:lnTo>
                    <a:pt x="1961" y="101"/>
                  </a:lnTo>
                  <a:lnTo>
                    <a:pt x="1968" y="111"/>
                  </a:lnTo>
                  <a:lnTo>
                    <a:pt x="1975" y="121"/>
                  </a:lnTo>
                  <a:lnTo>
                    <a:pt x="1981" y="132"/>
                  </a:lnTo>
                  <a:lnTo>
                    <a:pt x="1986" y="143"/>
                  </a:lnTo>
                  <a:lnTo>
                    <a:pt x="1991" y="154"/>
                  </a:lnTo>
                  <a:lnTo>
                    <a:pt x="1996" y="165"/>
                  </a:lnTo>
                  <a:lnTo>
                    <a:pt x="2000" y="177"/>
                  </a:lnTo>
                  <a:lnTo>
                    <a:pt x="2003" y="189"/>
                  </a:lnTo>
                  <a:lnTo>
                    <a:pt x="2006" y="201"/>
                  </a:lnTo>
                  <a:lnTo>
                    <a:pt x="2008" y="213"/>
                  </a:lnTo>
                  <a:lnTo>
                    <a:pt x="2010" y="225"/>
                  </a:lnTo>
                  <a:lnTo>
                    <a:pt x="2011" y="238"/>
                  </a:lnTo>
                  <a:lnTo>
                    <a:pt x="2011" y="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09" name="îŝḻïḍê">
              <a:extLst>
                <a:ext uri="{FF2B5EF4-FFF2-40B4-BE49-F238E27FC236}">
                  <a16:creationId xmlns:a16="http://schemas.microsoft.com/office/drawing/2014/main" id="{A1AACE87-1148-4C46-8300-48B8C22777F7}"/>
                </a:ext>
              </a:extLst>
            </p:cNvPr>
            <p:cNvSpPr/>
            <p:nvPr/>
          </p:nvSpPr>
          <p:spPr bwMode="auto">
            <a:xfrm>
              <a:off x="8754263" y="1590293"/>
              <a:ext cx="15530" cy="7478"/>
            </a:xfrm>
            <a:custGeom>
              <a:avLst/>
              <a:gdLst>
                <a:gd name="T0" fmla="*/ 1004 w 1005"/>
                <a:gd name="T1" fmla="*/ 277 h 503"/>
                <a:gd name="T2" fmla="*/ 997 w 1005"/>
                <a:gd name="T3" fmla="*/ 314 h 503"/>
                <a:gd name="T4" fmla="*/ 985 w 1005"/>
                <a:gd name="T5" fmla="*/ 349 h 503"/>
                <a:gd name="T6" fmla="*/ 969 w 1005"/>
                <a:gd name="T7" fmla="*/ 381 h 503"/>
                <a:gd name="T8" fmla="*/ 948 w 1005"/>
                <a:gd name="T9" fmla="*/ 411 h 503"/>
                <a:gd name="T10" fmla="*/ 923 w 1005"/>
                <a:gd name="T11" fmla="*/ 437 h 503"/>
                <a:gd name="T12" fmla="*/ 894 w 1005"/>
                <a:gd name="T13" fmla="*/ 459 h 503"/>
                <a:gd name="T14" fmla="*/ 863 w 1005"/>
                <a:gd name="T15" fmla="*/ 477 h 503"/>
                <a:gd name="T16" fmla="*/ 828 w 1005"/>
                <a:gd name="T17" fmla="*/ 491 h 503"/>
                <a:gd name="T18" fmla="*/ 792 w 1005"/>
                <a:gd name="T19" fmla="*/ 500 h 503"/>
                <a:gd name="T20" fmla="*/ 754 w 1005"/>
                <a:gd name="T21" fmla="*/ 503 h 503"/>
                <a:gd name="T22" fmla="*/ 225 w 1005"/>
                <a:gd name="T23" fmla="*/ 501 h 503"/>
                <a:gd name="T24" fmla="*/ 188 w 1005"/>
                <a:gd name="T25" fmla="*/ 495 h 503"/>
                <a:gd name="T26" fmla="*/ 153 w 1005"/>
                <a:gd name="T27" fmla="*/ 482 h 503"/>
                <a:gd name="T28" fmla="*/ 120 w 1005"/>
                <a:gd name="T29" fmla="*/ 465 h 503"/>
                <a:gd name="T30" fmla="*/ 91 w 1005"/>
                <a:gd name="T31" fmla="*/ 444 h 503"/>
                <a:gd name="T32" fmla="*/ 65 w 1005"/>
                <a:gd name="T33" fmla="*/ 420 h 503"/>
                <a:gd name="T34" fmla="*/ 43 w 1005"/>
                <a:gd name="T35" fmla="*/ 391 h 503"/>
                <a:gd name="T36" fmla="*/ 25 w 1005"/>
                <a:gd name="T37" fmla="*/ 360 h 503"/>
                <a:gd name="T38" fmla="*/ 11 w 1005"/>
                <a:gd name="T39" fmla="*/ 326 h 503"/>
                <a:gd name="T40" fmla="*/ 3 w 1005"/>
                <a:gd name="T41" fmla="*/ 290 h 503"/>
                <a:gd name="T42" fmla="*/ 0 w 1005"/>
                <a:gd name="T43" fmla="*/ 252 h 503"/>
                <a:gd name="T44" fmla="*/ 3 w 1005"/>
                <a:gd name="T45" fmla="*/ 214 h 503"/>
                <a:gd name="T46" fmla="*/ 11 w 1005"/>
                <a:gd name="T47" fmla="*/ 176 h 503"/>
                <a:gd name="T48" fmla="*/ 25 w 1005"/>
                <a:gd name="T49" fmla="*/ 142 h 503"/>
                <a:gd name="T50" fmla="*/ 43 w 1005"/>
                <a:gd name="T51" fmla="*/ 111 h 503"/>
                <a:gd name="T52" fmla="*/ 65 w 1005"/>
                <a:gd name="T53" fmla="*/ 82 h 503"/>
                <a:gd name="T54" fmla="*/ 91 w 1005"/>
                <a:gd name="T55" fmla="*/ 58 h 503"/>
                <a:gd name="T56" fmla="*/ 120 w 1005"/>
                <a:gd name="T57" fmla="*/ 37 h 503"/>
                <a:gd name="T58" fmla="*/ 153 w 1005"/>
                <a:gd name="T59" fmla="*/ 20 h 503"/>
                <a:gd name="T60" fmla="*/ 188 w 1005"/>
                <a:gd name="T61" fmla="*/ 8 h 503"/>
                <a:gd name="T62" fmla="*/ 225 w 1005"/>
                <a:gd name="T63" fmla="*/ 2 h 503"/>
                <a:gd name="T64" fmla="*/ 754 w 1005"/>
                <a:gd name="T65" fmla="*/ 0 h 503"/>
                <a:gd name="T66" fmla="*/ 792 w 1005"/>
                <a:gd name="T67" fmla="*/ 3 h 503"/>
                <a:gd name="T68" fmla="*/ 828 w 1005"/>
                <a:gd name="T69" fmla="*/ 12 h 503"/>
                <a:gd name="T70" fmla="*/ 863 w 1005"/>
                <a:gd name="T71" fmla="*/ 25 h 503"/>
                <a:gd name="T72" fmla="*/ 894 w 1005"/>
                <a:gd name="T73" fmla="*/ 43 h 503"/>
                <a:gd name="T74" fmla="*/ 923 w 1005"/>
                <a:gd name="T75" fmla="*/ 65 h 503"/>
                <a:gd name="T76" fmla="*/ 948 w 1005"/>
                <a:gd name="T77" fmla="*/ 92 h 503"/>
                <a:gd name="T78" fmla="*/ 969 w 1005"/>
                <a:gd name="T79" fmla="*/ 121 h 503"/>
                <a:gd name="T80" fmla="*/ 985 w 1005"/>
                <a:gd name="T81" fmla="*/ 153 h 503"/>
                <a:gd name="T82" fmla="*/ 997 w 1005"/>
                <a:gd name="T83" fmla="*/ 188 h 503"/>
                <a:gd name="T84" fmla="*/ 1004 w 1005"/>
                <a:gd name="T85" fmla="*/ 226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" h="503">
                  <a:moveTo>
                    <a:pt x="1005" y="252"/>
                  </a:moveTo>
                  <a:lnTo>
                    <a:pt x="1005" y="264"/>
                  </a:lnTo>
                  <a:lnTo>
                    <a:pt x="1004" y="277"/>
                  </a:lnTo>
                  <a:lnTo>
                    <a:pt x="1002" y="290"/>
                  </a:lnTo>
                  <a:lnTo>
                    <a:pt x="1000" y="302"/>
                  </a:lnTo>
                  <a:lnTo>
                    <a:pt x="997" y="314"/>
                  </a:lnTo>
                  <a:lnTo>
                    <a:pt x="994" y="326"/>
                  </a:lnTo>
                  <a:lnTo>
                    <a:pt x="990" y="337"/>
                  </a:lnTo>
                  <a:lnTo>
                    <a:pt x="985" y="349"/>
                  </a:lnTo>
                  <a:lnTo>
                    <a:pt x="980" y="360"/>
                  </a:lnTo>
                  <a:lnTo>
                    <a:pt x="975" y="371"/>
                  </a:lnTo>
                  <a:lnTo>
                    <a:pt x="969" y="381"/>
                  </a:lnTo>
                  <a:lnTo>
                    <a:pt x="962" y="391"/>
                  </a:lnTo>
                  <a:lnTo>
                    <a:pt x="955" y="401"/>
                  </a:lnTo>
                  <a:lnTo>
                    <a:pt x="948" y="411"/>
                  </a:lnTo>
                  <a:lnTo>
                    <a:pt x="940" y="420"/>
                  </a:lnTo>
                  <a:lnTo>
                    <a:pt x="932" y="428"/>
                  </a:lnTo>
                  <a:lnTo>
                    <a:pt x="923" y="437"/>
                  </a:lnTo>
                  <a:lnTo>
                    <a:pt x="914" y="444"/>
                  </a:lnTo>
                  <a:lnTo>
                    <a:pt x="904" y="452"/>
                  </a:lnTo>
                  <a:lnTo>
                    <a:pt x="894" y="459"/>
                  </a:lnTo>
                  <a:lnTo>
                    <a:pt x="884" y="465"/>
                  </a:lnTo>
                  <a:lnTo>
                    <a:pt x="874" y="471"/>
                  </a:lnTo>
                  <a:lnTo>
                    <a:pt x="863" y="477"/>
                  </a:lnTo>
                  <a:lnTo>
                    <a:pt x="851" y="482"/>
                  </a:lnTo>
                  <a:lnTo>
                    <a:pt x="840" y="486"/>
                  </a:lnTo>
                  <a:lnTo>
                    <a:pt x="828" y="491"/>
                  </a:lnTo>
                  <a:lnTo>
                    <a:pt x="816" y="495"/>
                  </a:lnTo>
                  <a:lnTo>
                    <a:pt x="804" y="497"/>
                  </a:lnTo>
                  <a:lnTo>
                    <a:pt x="792" y="500"/>
                  </a:lnTo>
                  <a:lnTo>
                    <a:pt x="779" y="501"/>
                  </a:lnTo>
                  <a:lnTo>
                    <a:pt x="767" y="502"/>
                  </a:lnTo>
                  <a:lnTo>
                    <a:pt x="754" y="503"/>
                  </a:lnTo>
                  <a:lnTo>
                    <a:pt x="251" y="503"/>
                  </a:lnTo>
                  <a:lnTo>
                    <a:pt x="238" y="502"/>
                  </a:lnTo>
                  <a:lnTo>
                    <a:pt x="225" y="501"/>
                  </a:lnTo>
                  <a:lnTo>
                    <a:pt x="213" y="500"/>
                  </a:lnTo>
                  <a:lnTo>
                    <a:pt x="200" y="497"/>
                  </a:lnTo>
                  <a:lnTo>
                    <a:pt x="188" y="495"/>
                  </a:lnTo>
                  <a:lnTo>
                    <a:pt x="176" y="491"/>
                  </a:lnTo>
                  <a:lnTo>
                    <a:pt x="165" y="486"/>
                  </a:lnTo>
                  <a:lnTo>
                    <a:pt x="153" y="482"/>
                  </a:lnTo>
                  <a:lnTo>
                    <a:pt x="141" y="477"/>
                  </a:lnTo>
                  <a:lnTo>
                    <a:pt x="131" y="471"/>
                  </a:lnTo>
                  <a:lnTo>
                    <a:pt x="120" y="465"/>
                  </a:lnTo>
                  <a:lnTo>
                    <a:pt x="110" y="459"/>
                  </a:lnTo>
                  <a:lnTo>
                    <a:pt x="100" y="452"/>
                  </a:lnTo>
                  <a:lnTo>
                    <a:pt x="91" y="444"/>
                  </a:lnTo>
                  <a:lnTo>
                    <a:pt x="82" y="437"/>
                  </a:lnTo>
                  <a:lnTo>
                    <a:pt x="73" y="428"/>
                  </a:lnTo>
                  <a:lnTo>
                    <a:pt x="65" y="420"/>
                  </a:lnTo>
                  <a:lnTo>
                    <a:pt x="57" y="411"/>
                  </a:lnTo>
                  <a:lnTo>
                    <a:pt x="49" y="401"/>
                  </a:lnTo>
                  <a:lnTo>
                    <a:pt x="43" y="391"/>
                  </a:lnTo>
                  <a:lnTo>
                    <a:pt x="36" y="381"/>
                  </a:lnTo>
                  <a:lnTo>
                    <a:pt x="30" y="371"/>
                  </a:lnTo>
                  <a:lnTo>
                    <a:pt x="25" y="360"/>
                  </a:lnTo>
                  <a:lnTo>
                    <a:pt x="20" y="349"/>
                  </a:lnTo>
                  <a:lnTo>
                    <a:pt x="15" y="337"/>
                  </a:lnTo>
                  <a:lnTo>
                    <a:pt x="11" y="326"/>
                  </a:lnTo>
                  <a:lnTo>
                    <a:pt x="8" y="314"/>
                  </a:lnTo>
                  <a:lnTo>
                    <a:pt x="5" y="302"/>
                  </a:lnTo>
                  <a:lnTo>
                    <a:pt x="3" y="290"/>
                  </a:lnTo>
                  <a:lnTo>
                    <a:pt x="1" y="277"/>
                  </a:lnTo>
                  <a:lnTo>
                    <a:pt x="0" y="264"/>
                  </a:lnTo>
                  <a:lnTo>
                    <a:pt x="0" y="252"/>
                  </a:lnTo>
                  <a:lnTo>
                    <a:pt x="0" y="239"/>
                  </a:lnTo>
                  <a:lnTo>
                    <a:pt x="1" y="226"/>
                  </a:lnTo>
                  <a:lnTo>
                    <a:pt x="3" y="214"/>
                  </a:lnTo>
                  <a:lnTo>
                    <a:pt x="5" y="200"/>
                  </a:lnTo>
                  <a:lnTo>
                    <a:pt x="8" y="188"/>
                  </a:lnTo>
                  <a:lnTo>
                    <a:pt x="11" y="176"/>
                  </a:lnTo>
                  <a:lnTo>
                    <a:pt x="15" y="165"/>
                  </a:lnTo>
                  <a:lnTo>
                    <a:pt x="20" y="153"/>
                  </a:lnTo>
                  <a:lnTo>
                    <a:pt x="25" y="142"/>
                  </a:lnTo>
                  <a:lnTo>
                    <a:pt x="30" y="131"/>
                  </a:lnTo>
                  <a:lnTo>
                    <a:pt x="36" y="121"/>
                  </a:lnTo>
                  <a:lnTo>
                    <a:pt x="43" y="111"/>
                  </a:lnTo>
                  <a:lnTo>
                    <a:pt x="49" y="101"/>
                  </a:lnTo>
                  <a:lnTo>
                    <a:pt x="57" y="92"/>
                  </a:lnTo>
                  <a:lnTo>
                    <a:pt x="65" y="82"/>
                  </a:lnTo>
                  <a:lnTo>
                    <a:pt x="73" y="74"/>
                  </a:lnTo>
                  <a:lnTo>
                    <a:pt x="82" y="65"/>
                  </a:lnTo>
                  <a:lnTo>
                    <a:pt x="91" y="58"/>
                  </a:lnTo>
                  <a:lnTo>
                    <a:pt x="100" y="50"/>
                  </a:lnTo>
                  <a:lnTo>
                    <a:pt x="110" y="43"/>
                  </a:lnTo>
                  <a:lnTo>
                    <a:pt x="120" y="37"/>
                  </a:lnTo>
                  <a:lnTo>
                    <a:pt x="131" y="31"/>
                  </a:lnTo>
                  <a:lnTo>
                    <a:pt x="141" y="25"/>
                  </a:lnTo>
                  <a:lnTo>
                    <a:pt x="153" y="20"/>
                  </a:lnTo>
                  <a:lnTo>
                    <a:pt x="165" y="16"/>
                  </a:lnTo>
                  <a:lnTo>
                    <a:pt x="176" y="12"/>
                  </a:lnTo>
                  <a:lnTo>
                    <a:pt x="188" y="8"/>
                  </a:lnTo>
                  <a:lnTo>
                    <a:pt x="200" y="6"/>
                  </a:lnTo>
                  <a:lnTo>
                    <a:pt x="213" y="3"/>
                  </a:lnTo>
                  <a:lnTo>
                    <a:pt x="225" y="2"/>
                  </a:lnTo>
                  <a:lnTo>
                    <a:pt x="238" y="1"/>
                  </a:lnTo>
                  <a:lnTo>
                    <a:pt x="251" y="0"/>
                  </a:lnTo>
                  <a:lnTo>
                    <a:pt x="754" y="0"/>
                  </a:lnTo>
                  <a:lnTo>
                    <a:pt x="767" y="1"/>
                  </a:lnTo>
                  <a:lnTo>
                    <a:pt x="779" y="2"/>
                  </a:lnTo>
                  <a:lnTo>
                    <a:pt x="792" y="3"/>
                  </a:lnTo>
                  <a:lnTo>
                    <a:pt x="804" y="6"/>
                  </a:lnTo>
                  <a:lnTo>
                    <a:pt x="816" y="8"/>
                  </a:lnTo>
                  <a:lnTo>
                    <a:pt x="828" y="12"/>
                  </a:lnTo>
                  <a:lnTo>
                    <a:pt x="840" y="16"/>
                  </a:lnTo>
                  <a:lnTo>
                    <a:pt x="851" y="20"/>
                  </a:lnTo>
                  <a:lnTo>
                    <a:pt x="863" y="25"/>
                  </a:lnTo>
                  <a:lnTo>
                    <a:pt x="874" y="31"/>
                  </a:lnTo>
                  <a:lnTo>
                    <a:pt x="884" y="37"/>
                  </a:lnTo>
                  <a:lnTo>
                    <a:pt x="894" y="43"/>
                  </a:lnTo>
                  <a:lnTo>
                    <a:pt x="904" y="50"/>
                  </a:lnTo>
                  <a:lnTo>
                    <a:pt x="914" y="58"/>
                  </a:lnTo>
                  <a:lnTo>
                    <a:pt x="923" y="65"/>
                  </a:lnTo>
                  <a:lnTo>
                    <a:pt x="932" y="74"/>
                  </a:lnTo>
                  <a:lnTo>
                    <a:pt x="940" y="82"/>
                  </a:lnTo>
                  <a:lnTo>
                    <a:pt x="948" y="92"/>
                  </a:lnTo>
                  <a:lnTo>
                    <a:pt x="955" y="101"/>
                  </a:lnTo>
                  <a:lnTo>
                    <a:pt x="962" y="111"/>
                  </a:lnTo>
                  <a:lnTo>
                    <a:pt x="969" y="121"/>
                  </a:lnTo>
                  <a:lnTo>
                    <a:pt x="975" y="131"/>
                  </a:lnTo>
                  <a:lnTo>
                    <a:pt x="980" y="142"/>
                  </a:lnTo>
                  <a:lnTo>
                    <a:pt x="985" y="153"/>
                  </a:lnTo>
                  <a:lnTo>
                    <a:pt x="990" y="165"/>
                  </a:lnTo>
                  <a:lnTo>
                    <a:pt x="994" y="176"/>
                  </a:lnTo>
                  <a:lnTo>
                    <a:pt x="997" y="188"/>
                  </a:lnTo>
                  <a:lnTo>
                    <a:pt x="1000" y="200"/>
                  </a:lnTo>
                  <a:lnTo>
                    <a:pt x="1002" y="214"/>
                  </a:lnTo>
                  <a:lnTo>
                    <a:pt x="1004" y="226"/>
                  </a:lnTo>
                  <a:lnTo>
                    <a:pt x="1005" y="239"/>
                  </a:lnTo>
                  <a:lnTo>
                    <a:pt x="1005" y="2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10" name="íṩľïdé">
              <a:extLst>
                <a:ext uri="{FF2B5EF4-FFF2-40B4-BE49-F238E27FC236}">
                  <a16:creationId xmlns:a16="http://schemas.microsoft.com/office/drawing/2014/main" id="{EEDA9D39-E623-4F43-BCF9-CEC7BCD5503C}"/>
                </a:ext>
              </a:extLst>
            </p:cNvPr>
            <p:cNvSpPr/>
            <p:nvPr/>
          </p:nvSpPr>
          <p:spPr bwMode="auto">
            <a:xfrm>
              <a:off x="8621930" y="931816"/>
              <a:ext cx="400967" cy="400967"/>
            </a:xfrm>
            <a:custGeom>
              <a:avLst/>
              <a:gdLst>
                <a:gd name="T0" fmla="*/ 11128 w 16095"/>
                <a:gd name="T1" fmla="*/ 11977 h 16095"/>
                <a:gd name="T2" fmla="*/ 11777 w 16095"/>
                <a:gd name="T3" fmla="*/ 9543 h 16095"/>
                <a:gd name="T4" fmla="*/ 13241 w 16095"/>
                <a:gd name="T5" fmla="*/ 8457 h 16095"/>
                <a:gd name="T6" fmla="*/ 13492 w 16095"/>
                <a:gd name="T7" fmla="*/ 6286 h 16095"/>
                <a:gd name="T8" fmla="*/ 12358 w 16095"/>
                <a:gd name="T9" fmla="*/ 4722 h 16095"/>
                <a:gd name="T10" fmla="*/ 10731 w 16095"/>
                <a:gd name="T11" fmla="*/ 2943 h 16095"/>
                <a:gd name="T12" fmla="*/ 12110 w 16095"/>
                <a:gd name="T13" fmla="*/ 1109 h 16095"/>
                <a:gd name="T14" fmla="*/ 14079 w 16095"/>
                <a:gd name="T15" fmla="*/ 2205 h 16095"/>
                <a:gd name="T16" fmla="*/ 15086 w 16095"/>
                <a:gd name="T17" fmla="*/ 6731 h 16095"/>
                <a:gd name="T18" fmla="*/ 14265 w 16095"/>
                <a:gd name="T19" fmla="*/ 11509 h 16095"/>
                <a:gd name="T20" fmla="*/ 6539 w 16095"/>
                <a:gd name="T21" fmla="*/ 8550 h 16095"/>
                <a:gd name="T22" fmla="*/ 5762 w 16095"/>
                <a:gd name="T23" fmla="*/ 8001 h 16095"/>
                <a:gd name="T24" fmla="*/ 5553 w 16095"/>
                <a:gd name="T25" fmla="*/ 6738 h 16095"/>
                <a:gd name="T26" fmla="*/ 6059 w 16095"/>
                <a:gd name="T27" fmla="*/ 5715 h 16095"/>
                <a:gd name="T28" fmla="*/ 7265 w 16095"/>
                <a:gd name="T29" fmla="*/ 5480 h 16095"/>
                <a:gd name="T30" fmla="*/ 8743 w 16095"/>
                <a:gd name="T31" fmla="*/ 4899 h 16095"/>
                <a:gd name="T32" fmla="*/ 9075 w 16095"/>
                <a:gd name="T33" fmla="*/ 6240 h 16095"/>
                <a:gd name="T34" fmla="*/ 9198 w 16095"/>
                <a:gd name="T35" fmla="*/ 9111 h 16095"/>
                <a:gd name="T36" fmla="*/ 8106 w 16095"/>
                <a:gd name="T37" fmla="*/ 8857 h 16095"/>
                <a:gd name="T38" fmla="*/ 6033 w 16095"/>
                <a:gd name="T39" fmla="*/ 15089 h 16095"/>
                <a:gd name="T40" fmla="*/ 3950 w 16095"/>
                <a:gd name="T41" fmla="*/ 10033 h 16095"/>
                <a:gd name="T42" fmla="*/ 4102 w 16095"/>
                <a:gd name="T43" fmla="*/ 9562 h 16095"/>
                <a:gd name="T44" fmla="*/ 5530 w 16095"/>
                <a:gd name="T45" fmla="*/ 13580 h 16095"/>
                <a:gd name="T46" fmla="*/ 5719 w 16095"/>
                <a:gd name="T47" fmla="*/ 14249 h 16095"/>
                <a:gd name="T48" fmla="*/ 1011 w 16095"/>
                <a:gd name="T49" fmla="*/ 6888 h 16095"/>
                <a:gd name="T50" fmla="*/ 1450 w 16095"/>
                <a:gd name="T51" fmla="*/ 5790 h 16095"/>
                <a:gd name="T52" fmla="*/ 5402 w 16095"/>
                <a:gd name="T53" fmla="*/ 5717 h 16095"/>
                <a:gd name="T54" fmla="*/ 5075 w 16095"/>
                <a:gd name="T55" fmla="*/ 6548 h 16095"/>
                <a:gd name="T56" fmla="*/ 5075 w 16095"/>
                <a:gd name="T57" fmla="*/ 7536 h 16095"/>
                <a:gd name="T58" fmla="*/ 5402 w 16095"/>
                <a:gd name="T59" fmla="*/ 8367 h 16095"/>
                <a:gd name="T60" fmla="*/ 1450 w 16095"/>
                <a:gd name="T61" fmla="*/ 8293 h 16095"/>
                <a:gd name="T62" fmla="*/ 1011 w 16095"/>
                <a:gd name="T63" fmla="*/ 7196 h 16095"/>
                <a:gd name="T64" fmla="*/ 10133 w 16095"/>
                <a:gd name="T65" fmla="*/ 5623 h 16095"/>
                <a:gd name="T66" fmla="*/ 12279 w 16095"/>
                <a:gd name="T67" fmla="*/ 5974 h 16095"/>
                <a:gd name="T68" fmla="*/ 12569 w 16095"/>
                <a:gd name="T69" fmla="*/ 7196 h 16095"/>
                <a:gd name="T70" fmla="*/ 12131 w 16095"/>
                <a:gd name="T71" fmla="*/ 8293 h 16095"/>
                <a:gd name="T72" fmla="*/ 10100 w 16095"/>
                <a:gd name="T73" fmla="*/ 8092 h 16095"/>
                <a:gd name="T74" fmla="*/ 12017 w 16095"/>
                <a:gd name="T75" fmla="*/ 72 h 16095"/>
                <a:gd name="T76" fmla="*/ 10628 w 16095"/>
                <a:gd name="T77" fmla="*/ 1060 h 16095"/>
                <a:gd name="T78" fmla="*/ 9332 w 16095"/>
                <a:gd name="T79" fmla="*/ 3046 h 16095"/>
                <a:gd name="T80" fmla="*/ 7289 w 16095"/>
                <a:gd name="T81" fmla="*/ 4450 h 16095"/>
                <a:gd name="T82" fmla="*/ 1045 w 16095"/>
                <a:gd name="T83" fmla="*/ 4826 h 16095"/>
                <a:gd name="T84" fmla="*/ 40 w 16095"/>
                <a:gd name="T85" fmla="*/ 6529 h 16095"/>
                <a:gd name="T86" fmla="*/ 454 w 16095"/>
                <a:gd name="T87" fmla="*/ 8650 h 16095"/>
                <a:gd name="T88" fmla="*/ 2012 w 16095"/>
                <a:gd name="T89" fmla="*/ 9556 h 16095"/>
                <a:gd name="T90" fmla="*/ 2785 w 16095"/>
                <a:gd name="T91" fmla="*/ 9924 h 16095"/>
                <a:gd name="T92" fmla="*/ 3026 w 16095"/>
                <a:gd name="T93" fmla="*/ 15242 h 16095"/>
                <a:gd name="T94" fmla="*/ 3500 w 16095"/>
                <a:gd name="T95" fmla="*/ 15949 h 16095"/>
                <a:gd name="T96" fmla="*/ 6332 w 16095"/>
                <a:gd name="T97" fmla="*/ 16050 h 16095"/>
                <a:gd name="T98" fmla="*/ 6960 w 16095"/>
                <a:gd name="T99" fmla="*/ 15480 h 16095"/>
                <a:gd name="T100" fmla="*/ 6942 w 16095"/>
                <a:gd name="T101" fmla="*/ 14220 h 16095"/>
                <a:gd name="T102" fmla="*/ 6548 w 16095"/>
                <a:gd name="T103" fmla="*/ 13658 h 16095"/>
                <a:gd name="T104" fmla="*/ 6615 w 16095"/>
                <a:gd name="T105" fmla="*/ 9807 h 16095"/>
                <a:gd name="T106" fmla="*/ 6860 w 16095"/>
                <a:gd name="T107" fmla="*/ 9606 h 16095"/>
                <a:gd name="T108" fmla="*/ 8713 w 16095"/>
                <a:gd name="T109" fmla="*/ 10411 h 16095"/>
                <a:gd name="T110" fmla="*/ 10205 w 16095"/>
                <a:gd name="T111" fmla="*/ 12386 h 16095"/>
                <a:gd name="T112" fmla="*/ 11427 w 16095"/>
                <a:gd name="T113" fmla="*/ 13755 h 16095"/>
                <a:gd name="T114" fmla="*/ 13576 w 16095"/>
                <a:gd name="T115" fmla="*/ 13838 h 16095"/>
                <a:gd name="T116" fmla="*/ 15810 w 16095"/>
                <a:gd name="T117" fmla="*/ 9925 h 16095"/>
                <a:gd name="T118" fmla="*/ 15810 w 16095"/>
                <a:gd name="T119" fmla="*/ 4159 h 16095"/>
                <a:gd name="T120" fmla="*/ 13576 w 16095"/>
                <a:gd name="T121" fmla="*/ 245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095" h="16095">
                  <a:moveTo>
                    <a:pt x="12574" y="13077"/>
                  </a:moveTo>
                  <a:lnTo>
                    <a:pt x="12480" y="13073"/>
                  </a:lnTo>
                  <a:lnTo>
                    <a:pt x="12386" y="13060"/>
                  </a:lnTo>
                  <a:lnTo>
                    <a:pt x="12293" y="13040"/>
                  </a:lnTo>
                  <a:lnTo>
                    <a:pt x="12201" y="13011"/>
                  </a:lnTo>
                  <a:lnTo>
                    <a:pt x="12110" y="12975"/>
                  </a:lnTo>
                  <a:lnTo>
                    <a:pt x="12021" y="12930"/>
                  </a:lnTo>
                  <a:lnTo>
                    <a:pt x="11932" y="12878"/>
                  </a:lnTo>
                  <a:lnTo>
                    <a:pt x="11845" y="12819"/>
                  </a:lnTo>
                  <a:lnTo>
                    <a:pt x="11759" y="12752"/>
                  </a:lnTo>
                  <a:lnTo>
                    <a:pt x="11675" y="12679"/>
                  </a:lnTo>
                  <a:lnTo>
                    <a:pt x="11591" y="12598"/>
                  </a:lnTo>
                  <a:lnTo>
                    <a:pt x="11510" y="12511"/>
                  </a:lnTo>
                  <a:lnTo>
                    <a:pt x="11430" y="12416"/>
                  </a:lnTo>
                  <a:lnTo>
                    <a:pt x="11352" y="12316"/>
                  </a:lnTo>
                  <a:lnTo>
                    <a:pt x="11276" y="12209"/>
                  </a:lnTo>
                  <a:lnTo>
                    <a:pt x="11201" y="12095"/>
                  </a:lnTo>
                  <a:lnTo>
                    <a:pt x="11128" y="11977"/>
                  </a:lnTo>
                  <a:lnTo>
                    <a:pt x="11056" y="11851"/>
                  </a:lnTo>
                  <a:lnTo>
                    <a:pt x="10988" y="11720"/>
                  </a:lnTo>
                  <a:lnTo>
                    <a:pt x="10920" y="11583"/>
                  </a:lnTo>
                  <a:lnTo>
                    <a:pt x="10855" y="11441"/>
                  </a:lnTo>
                  <a:lnTo>
                    <a:pt x="10792" y="11294"/>
                  </a:lnTo>
                  <a:lnTo>
                    <a:pt x="10731" y="11141"/>
                  </a:lnTo>
                  <a:lnTo>
                    <a:pt x="10672" y="10983"/>
                  </a:lnTo>
                  <a:lnTo>
                    <a:pt x="10616" y="10820"/>
                  </a:lnTo>
                  <a:lnTo>
                    <a:pt x="10561" y="10653"/>
                  </a:lnTo>
                  <a:lnTo>
                    <a:pt x="10510" y="10481"/>
                  </a:lnTo>
                  <a:lnTo>
                    <a:pt x="10461" y="10304"/>
                  </a:lnTo>
                  <a:lnTo>
                    <a:pt x="10414" y="10123"/>
                  </a:lnTo>
                  <a:lnTo>
                    <a:pt x="10370" y="9939"/>
                  </a:lnTo>
                  <a:lnTo>
                    <a:pt x="10329" y="9750"/>
                  </a:lnTo>
                  <a:lnTo>
                    <a:pt x="10291" y="9556"/>
                  </a:lnTo>
                  <a:lnTo>
                    <a:pt x="11568" y="9556"/>
                  </a:lnTo>
                  <a:lnTo>
                    <a:pt x="11673" y="9553"/>
                  </a:lnTo>
                  <a:lnTo>
                    <a:pt x="11777" y="9543"/>
                  </a:lnTo>
                  <a:lnTo>
                    <a:pt x="11878" y="9528"/>
                  </a:lnTo>
                  <a:lnTo>
                    <a:pt x="11979" y="9506"/>
                  </a:lnTo>
                  <a:lnTo>
                    <a:pt x="12076" y="9479"/>
                  </a:lnTo>
                  <a:lnTo>
                    <a:pt x="12173" y="9445"/>
                  </a:lnTo>
                  <a:lnTo>
                    <a:pt x="12266" y="9407"/>
                  </a:lnTo>
                  <a:lnTo>
                    <a:pt x="12358" y="9362"/>
                  </a:lnTo>
                  <a:lnTo>
                    <a:pt x="12447" y="9312"/>
                  </a:lnTo>
                  <a:lnTo>
                    <a:pt x="12535" y="9258"/>
                  </a:lnTo>
                  <a:lnTo>
                    <a:pt x="12618" y="9197"/>
                  </a:lnTo>
                  <a:lnTo>
                    <a:pt x="12700" y="9133"/>
                  </a:lnTo>
                  <a:lnTo>
                    <a:pt x="12779" y="9063"/>
                  </a:lnTo>
                  <a:lnTo>
                    <a:pt x="12855" y="8989"/>
                  </a:lnTo>
                  <a:lnTo>
                    <a:pt x="12927" y="8911"/>
                  </a:lnTo>
                  <a:lnTo>
                    <a:pt x="12997" y="8828"/>
                  </a:lnTo>
                  <a:lnTo>
                    <a:pt x="13063" y="8742"/>
                  </a:lnTo>
                  <a:lnTo>
                    <a:pt x="13126" y="8650"/>
                  </a:lnTo>
                  <a:lnTo>
                    <a:pt x="13186" y="8555"/>
                  </a:lnTo>
                  <a:lnTo>
                    <a:pt x="13241" y="8457"/>
                  </a:lnTo>
                  <a:lnTo>
                    <a:pt x="13292" y="8355"/>
                  </a:lnTo>
                  <a:lnTo>
                    <a:pt x="13341" y="8250"/>
                  </a:lnTo>
                  <a:lnTo>
                    <a:pt x="13385" y="8141"/>
                  </a:lnTo>
                  <a:lnTo>
                    <a:pt x="13424" y="8029"/>
                  </a:lnTo>
                  <a:lnTo>
                    <a:pt x="13460" y="7915"/>
                  </a:lnTo>
                  <a:lnTo>
                    <a:pt x="13492" y="7798"/>
                  </a:lnTo>
                  <a:lnTo>
                    <a:pt x="13518" y="7677"/>
                  </a:lnTo>
                  <a:lnTo>
                    <a:pt x="13540" y="7555"/>
                  </a:lnTo>
                  <a:lnTo>
                    <a:pt x="13557" y="7430"/>
                  </a:lnTo>
                  <a:lnTo>
                    <a:pt x="13570" y="7302"/>
                  </a:lnTo>
                  <a:lnTo>
                    <a:pt x="13577" y="7173"/>
                  </a:lnTo>
                  <a:lnTo>
                    <a:pt x="13580" y="7042"/>
                  </a:lnTo>
                  <a:lnTo>
                    <a:pt x="13577" y="6911"/>
                  </a:lnTo>
                  <a:lnTo>
                    <a:pt x="13570" y="6781"/>
                  </a:lnTo>
                  <a:lnTo>
                    <a:pt x="13557" y="6653"/>
                  </a:lnTo>
                  <a:lnTo>
                    <a:pt x="13540" y="6529"/>
                  </a:lnTo>
                  <a:lnTo>
                    <a:pt x="13518" y="6406"/>
                  </a:lnTo>
                  <a:lnTo>
                    <a:pt x="13492" y="6286"/>
                  </a:lnTo>
                  <a:lnTo>
                    <a:pt x="13460" y="6168"/>
                  </a:lnTo>
                  <a:lnTo>
                    <a:pt x="13424" y="6054"/>
                  </a:lnTo>
                  <a:lnTo>
                    <a:pt x="13385" y="5942"/>
                  </a:lnTo>
                  <a:lnTo>
                    <a:pt x="13341" y="5833"/>
                  </a:lnTo>
                  <a:lnTo>
                    <a:pt x="13292" y="5728"/>
                  </a:lnTo>
                  <a:lnTo>
                    <a:pt x="13241" y="5626"/>
                  </a:lnTo>
                  <a:lnTo>
                    <a:pt x="13186" y="5528"/>
                  </a:lnTo>
                  <a:lnTo>
                    <a:pt x="13126" y="5433"/>
                  </a:lnTo>
                  <a:lnTo>
                    <a:pt x="13063" y="5343"/>
                  </a:lnTo>
                  <a:lnTo>
                    <a:pt x="12997" y="5255"/>
                  </a:lnTo>
                  <a:lnTo>
                    <a:pt x="12927" y="5173"/>
                  </a:lnTo>
                  <a:lnTo>
                    <a:pt x="12855" y="5094"/>
                  </a:lnTo>
                  <a:lnTo>
                    <a:pt x="12779" y="5020"/>
                  </a:lnTo>
                  <a:lnTo>
                    <a:pt x="12700" y="4950"/>
                  </a:lnTo>
                  <a:lnTo>
                    <a:pt x="12618" y="4886"/>
                  </a:lnTo>
                  <a:lnTo>
                    <a:pt x="12535" y="4826"/>
                  </a:lnTo>
                  <a:lnTo>
                    <a:pt x="12447" y="4771"/>
                  </a:lnTo>
                  <a:lnTo>
                    <a:pt x="12358" y="4722"/>
                  </a:lnTo>
                  <a:lnTo>
                    <a:pt x="12266" y="4677"/>
                  </a:lnTo>
                  <a:lnTo>
                    <a:pt x="12173" y="4638"/>
                  </a:lnTo>
                  <a:lnTo>
                    <a:pt x="12076" y="4604"/>
                  </a:lnTo>
                  <a:lnTo>
                    <a:pt x="11979" y="4577"/>
                  </a:lnTo>
                  <a:lnTo>
                    <a:pt x="11878" y="4555"/>
                  </a:lnTo>
                  <a:lnTo>
                    <a:pt x="11777" y="4540"/>
                  </a:lnTo>
                  <a:lnTo>
                    <a:pt x="11673" y="4530"/>
                  </a:lnTo>
                  <a:lnTo>
                    <a:pt x="11568" y="4527"/>
                  </a:lnTo>
                  <a:lnTo>
                    <a:pt x="10291" y="4527"/>
                  </a:lnTo>
                  <a:lnTo>
                    <a:pt x="10329" y="4334"/>
                  </a:lnTo>
                  <a:lnTo>
                    <a:pt x="10370" y="4145"/>
                  </a:lnTo>
                  <a:lnTo>
                    <a:pt x="10414" y="3960"/>
                  </a:lnTo>
                  <a:lnTo>
                    <a:pt x="10461" y="3779"/>
                  </a:lnTo>
                  <a:lnTo>
                    <a:pt x="10510" y="3603"/>
                  </a:lnTo>
                  <a:lnTo>
                    <a:pt x="10561" y="3431"/>
                  </a:lnTo>
                  <a:lnTo>
                    <a:pt x="10616" y="3263"/>
                  </a:lnTo>
                  <a:lnTo>
                    <a:pt x="10672" y="3101"/>
                  </a:lnTo>
                  <a:lnTo>
                    <a:pt x="10731" y="2943"/>
                  </a:lnTo>
                  <a:lnTo>
                    <a:pt x="10792" y="2790"/>
                  </a:lnTo>
                  <a:lnTo>
                    <a:pt x="10855" y="2643"/>
                  </a:lnTo>
                  <a:lnTo>
                    <a:pt x="10920" y="2501"/>
                  </a:lnTo>
                  <a:lnTo>
                    <a:pt x="10988" y="2364"/>
                  </a:lnTo>
                  <a:lnTo>
                    <a:pt x="11056" y="2232"/>
                  </a:lnTo>
                  <a:lnTo>
                    <a:pt x="11128" y="2107"/>
                  </a:lnTo>
                  <a:lnTo>
                    <a:pt x="11201" y="1988"/>
                  </a:lnTo>
                  <a:lnTo>
                    <a:pt x="11276" y="1874"/>
                  </a:lnTo>
                  <a:lnTo>
                    <a:pt x="11352" y="1767"/>
                  </a:lnTo>
                  <a:lnTo>
                    <a:pt x="11430" y="1667"/>
                  </a:lnTo>
                  <a:lnTo>
                    <a:pt x="11510" y="1572"/>
                  </a:lnTo>
                  <a:lnTo>
                    <a:pt x="11591" y="1485"/>
                  </a:lnTo>
                  <a:lnTo>
                    <a:pt x="11675" y="1404"/>
                  </a:lnTo>
                  <a:lnTo>
                    <a:pt x="11759" y="1331"/>
                  </a:lnTo>
                  <a:lnTo>
                    <a:pt x="11845" y="1264"/>
                  </a:lnTo>
                  <a:lnTo>
                    <a:pt x="11932" y="1205"/>
                  </a:lnTo>
                  <a:lnTo>
                    <a:pt x="12021" y="1153"/>
                  </a:lnTo>
                  <a:lnTo>
                    <a:pt x="12110" y="1109"/>
                  </a:lnTo>
                  <a:lnTo>
                    <a:pt x="12201" y="1072"/>
                  </a:lnTo>
                  <a:lnTo>
                    <a:pt x="12293" y="1043"/>
                  </a:lnTo>
                  <a:lnTo>
                    <a:pt x="12386" y="1023"/>
                  </a:lnTo>
                  <a:lnTo>
                    <a:pt x="12480" y="1010"/>
                  </a:lnTo>
                  <a:lnTo>
                    <a:pt x="12574" y="1006"/>
                  </a:lnTo>
                  <a:lnTo>
                    <a:pt x="12704" y="1014"/>
                  </a:lnTo>
                  <a:lnTo>
                    <a:pt x="12832" y="1037"/>
                  </a:lnTo>
                  <a:lnTo>
                    <a:pt x="12957" y="1075"/>
                  </a:lnTo>
                  <a:lnTo>
                    <a:pt x="13081" y="1129"/>
                  </a:lnTo>
                  <a:lnTo>
                    <a:pt x="13203" y="1196"/>
                  </a:lnTo>
                  <a:lnTo>
                    <a:pt x="13323" y="1278"/>
                  </a:lnTo>
                  <a:lnTo>
                    <a:pt x="13439" y="1372"/>
                  </a:lnTo>
                  <a:lnTo>
                    <a:pt x="13553" y="1480"/>
                  </a:lnTo>
                  <a:lnTo>
                    <a:pt x="13665" y="1601"/>
                  </a:lnTo>
                  <a:lnTo>
                    <a:pt x="13773" y="1734"/>
                  </a:lnTo>
                  <a:lnTo>
                    <a:pt x="13878" y="1880"/>
                  </a:lnTo>
                  <a:lnTo>
                    <a:pt x="13981" y="2037"/>
                  </a:lnTo>
                  <a:lnTo>
                    <a:pt x="14079" y="2205"/>
                  </a:lnTo>
                  <a:lnTo>
                    <a:pt x="14174" y="2384"/>
                  </a:lnTo>
                  <a:lnTo>
                    <a:pt x="14265" y="2574"/>
                  </a:lnTo>
                  <a:lnTo>
                    <a:pt x="14353" y="2773"/>
                  </a:lnTo>
                  <a:lnTo>
                    <a:pt x="14436" y="2984"/>
                  </a:lnTo>
                  <a:lnTo>
                    <a:pt x="14515" y="3202"/>
                  </a:lnTo>
                  <a:lnTo>
                    <a:pt x="14589" y="3430"/>
                  </a:lnTo>
                  <a:lnTo>
                    <a:pt x="14660" y="3667"/>
                  </a:lnTo>
                  <a:lnTo>
                    <a:pt x="14725" y="3912"/>
                  </a:lnTo>
                  <a:lnTo>
                    <a:pt x="14785" y="4165"/>
                  </a:lnTo>
                  <a:lnTo>
                    <a:pt x="14841" y="4425"/>
                  </a:lnTo>
                  <a:lnTo>
                    <a:pt x="14892" y="4693"/>
                  </a:lnTo>
                  <a:lnTo>
                    <a:pt x="14936" y="4966"/>
                  </a:lnTo>
                  <a:lnTo>
                    <a:pt x="14976" y="5247"/>
                  </a:lnTo>
                  <a:lnTo>
                    <a:pt x="15010" y="5534"/>
                  </a:lnTo>
                  <a:lnTo>
                    <a:pt x="15038" y="5825"/>
                  </a:lnTo>
                  <a:lnTo>
                    <a:pt x="15060" y="6122"/>
                  </a:lnTo>
                  <a:lnTo>
                    <a:pt x="15076" y="6425"/>
                  </a:lnTo>
                  <a:lnTo>
                    <a:pt x="15086" y="6731"/>
                  </a:lnTo>
                  <a:lnTo>
                    <a:pt x="15089" y="7042"/>
                  </a:lnTo>
                  <a:lnTo>
                    <a:pt x="15086" y="7352"/>
                  </a:lnTo>
                  <a:lnTo>
                    <a:pt x="15076" y="7658"/>
                  </a:lnTo>
                  <a:lnTo>
                    <a:pt x="15060" y="7961"/>
                  </a:lnTo>
                  <a:lnTo>
                    <a:pt x="15038" y="8258"/>
                  </a:lnTo>
                  <a:lnTo>
                    <a:pt x="15010" y="8549"/>
                  </a:lnTo>
                  <a:lnTo>
                    <a:pt x="14976" y="8836"/>
                  </a:lnTo>
                  <a:lnTo>
                    <a:pt x="14936" y="9117"/>
                  </a:lnTo>
                  <a:lnTo>
                    <a:pt x="14892" y="9390"/>
                  </a:lnTo>
                  <a:lnTo>
                    <a:pt x="14841" y="9658"/>
                  </a:lnTo>
                  <a:lnTo>
                    <a:pt x="14785" y="9919"/>
                  </a:lnTo>
                  <a:lnTo>
                    <a:pt x="14725" y="10171"/>
                  </a:lnTo>
                  <a:lnTo>
                    <a:pt x="14660" y="10416"/>
                  </a:lnTo>
                  <a:lnTo>
                    <a:pt x="14589" y="10653"/>
                  </a:lnTo>
                  <a:lnTo>
                    <a:pt x="14515" y="10880"/>
                  </a:lnTo>
                  <a:lnTo>
                    <a:pt x="14436" y="11100"/>
                  </a:lnTo>
                  <a:lnTo>
                    <a:pt x="14353" y="11310"/>
                  </a:lnTo>
                  <a:lnTo>
                    <a:pt x="14265" y="11509"/>
                  </a:lnTo>
                  <a:lnTo>
                    <a:pt x="14174" y="11699"/>
                  </a:lnTo>
                  <a:lnTo>
                    <a:pt x="14079" y="11878"/>
                  </a:lnTo>
                  <a:lnTo>
                    <a:pt x="13981" y="12046"/>
                  </a:lnTo>
                  <a:lnTo>
                    <a:pt x="13878" y="12203"/>
                  </a:lnTo>
                  <a:lnTo>
                    <a:pt x="13773" y="12349"/>
                  </a:lnTo>
                  <a:lnTo>
                    <a:pt x="13665" y="12482"/>
                  </a:lnTo>
                  <a:lnTo>
                    <a:pt x="13553" y="12602"/>
                  </a:lnTo>
                  <a:lnTo>
                    <a:pt x="13439" y="12711"/>
                  </a:lnTo>
                  <a:lnTo>
                    <a:pt x="13323" y="12806"/>
                  </a:lnTo>
                  <a:lnTo>
                    <a:pt x="13203" y="12887"/>
                  </a:lnTo>
                  <a:lnTo>
                    <a:pt x="13081" y="12954"/>
                  </a:lnTo>
                  <a:lnTo>
                    <a:pt x="12957" y="13008"/>
                  </a:lnTo>
                  <a:lnTo>
                    <a:pt x="12832" y="13046"/>
                  </a:lnTo>
                  <a:lnTo>
                    <a:pt x="12704" y="13069"/>
                  </a:lnTo>
                  <a:lnTo>
                    <a:pt x="12574" y="13077"/>
                  </a:lnTo>
                  <a:close/>
                  <a:moveTo>
                    <a:pt x="6652" y="8557"/>
                  </a:moveTo>
                  <a:lnTo>
                    <a:pt x="6539" y="8557"/>
                  </a:lnTo>
                  <a:lnTo>
                    <a:pt x="6539" y="8550"/>
                  </a:lnTo>
                  <a:lnTo>
                    <a:pt x="6487" y="8548"/>
                  </a:lnTo>
                  <a:lnTo>
                    <a:pt x="6436" y="8542"/>
                  </a:lnTo>
                  <a:lnTo>
                    <a:pt x="6386" y="8533"/>
                  </a:lnTo>
                  <a:lnTo>
                    <a:pt x="6335" y="8520"/>
                  </a:lnTo>
                  <a:lnTo>
                    <a:pt x="6287" y="8503"/>
                  </a:lnTo>
                  <a:lnTo>
                    <a:pt x="6240" y="8483"/>
                  </a:lnTo>
                  <a:lnTo>
                    <a:pt x="6193" y="8459"/>
                  </a:lnTo>
                  <a:lnTo>
                    <a:pt x="6147" y="8432"/>
                  </a:lnTo>
                  <a:lnTo>
                    <a:pt x="6102" y="8402"/>
                  </a:lnTo>
                  <a:lnTo>
                    <a:pt x="6059" y="8368"/>
                  </a:lnTo>
                  <a:lnTo>
                    <a:pt x="6017" y="8332"/>
                  </a:lnTo>
                  <a:lnTo>
                    <a:pt x="5976" y="8293"/>
                  </a:lnTo>
                  <a:lnTo>
                    <a:pt x="5937" y="8251"/>
                  </a:lnTo>
                  <a:lnTo>
                    <a:pt x="5899" y="8206"/>
                  </a:lnTo>
                  <a:lnTo>
                    <a:pt x="5863" y="8158"/>
                  </a:lnTo>
                  <a:lnTo>
                    <a:pt x="5827" y="8109"/>
                  </a:lnTo>
                  <a:lnTo>
                    <a:pt x="5794" y="8057"/>
                  </a:lnTo>
                  <a:lnTo>
                    <a:pt x="5762" y="8001"/>
                  </a:lnTo>
                  <a:lnTo>
                    <a:pt x="5733" y="7945"/>
                  </a:lnTo>
                  <a:lnTo>
                    <a:pt x="5705" y="7886"/>
                  </a:lnTo>
                  <a:lnTo>
                    <a:pt x="5679" y="7824"/>
                  </a:lnTo>
                  <a:lnTo>
                    <a:pt x="5654" y="7761"/>
                  </a:lnTo>
                  <a:lnTo>
                    <a:pt x="5632" y="7696"/>
                  </a:lnTo>
                  <a:lnTo>
                    <a:pt x="5611" y="7629"/>
                  </a:lnTo>
                  <a:lnTo>
                    <a:pt x="5594" y="7561"/>
                  </a:lnTo>
                  <a:lnTo>
                    <a:pt x="5578" y="7490"/>
                  </a:lnTo>
                  <a:lnTo>
                    <a:pt x="5564" y="7419"/>
                  </a:lnTo>
                  <a:lnTo>
                    <a:pt x="5553" y="7345"/>
                  </a:lnTo>
                  <a:lnTo>
                    <a:pt x="5544" y="7272"/>
                  </a:lnTo>
                  <a:lnTo>
                    <a:pt x="5538" y="7196"/>
                  </a:lnTo>
                  <a:lnTo>
                    <a:pt x="5534" y="7119"/>
                  </a:lnTo>
                  <a:lnTo>
                    <a:pt x="5533" y="7042"/>
                  </a:lnTo>
                  <a:lnTo>
                    <a:pt x="5534" y="6964"/>
                  </a:lnTo>
                  <a:lnTo>
                    <a:pt x="5538" y="6888"/>
                  </a:lnTo>
                  <a:lnTo>
                    <a:pt x="5544" y="6812"/>
                  </a:lnTo>
                  <a:lnTo>
                    <a:pt x="5553" y="6738"/>
                  </a:lnTo>
                  <a:lnTo>
                    <a:pt x="5564" y="6664"/>
                  </a:lnTo>
                  <a:lnTo>
                    <a:pt x="5578" y="6593"/>
                  </a:lnTo>
                  <a:lnTo>
                    <a:pt x="5594" y="6522"/>
                  </a:lnTo>
                  <a:lnTo>
                    <a:pt x="5611" y="6454"/>
                  </a:lnTo>
                  <a:lnTo>
                    <a:pt x="5632" y="6388"/>
                  </a:lnTo>
                  <a:lnTo>
                    <a:pt x="5654" y="6322"/>
                  </a:lnTo>
                  <a:lnTo>
                    <a:pt x="5679" y="6259"/>
                  </a:lnTo>
                  <a:lnTo>
                    <a:pt x="5705" y="6199"/>
                  </a:lnTo>
                  <a:lnTo>
                    <a:pt x="5733" y="6139"/>
                  </a:lnTo>
                  <a:lnTo>
                    <a:pt x="5762" y="6082"/>
                  </a:lnTo>
                  <a:lnTo>
                    <a:pt x="5794" y="6028"/>
                  </a:lnTo>
                  <a:lnTo>
                    <a:pt x="5827" y="5974"/>
                  </a:lnTo>
                  <a:lnTo>
                    <a:pt x="5863" y="5925"/>
                  </a:lnTo>
                  <a:lnTo>
                    <a:pt x="5899" y="5878"/>
                  </a:lnTo>
                  <a:lnTo>
                    <a:pt x="5937" y="5832"/>
                  </a:lnTo>
                  <a:lnTo>
                    <a:pt x="5976" y="5790"/>
                  </a:lnTo>
                  <a:lnTo>
                    <a:pt x="6017" y="5751"/>
                  </a:lnTo>
                  <a:lnTo>
                    <a:pt x="6059" y="5715"/>
                  </a:lnTo>
                  <a:lnTo>
                    <a:pt x="6102" y="5682"/>
                  </a:lnTo>
                  <a:lnTo>
                    <a:pt x="6147" y="5651"/>
                  </a:lnTo>
                  <a:lnTo>
                    <a:pt x="6193" y="5624"/>
                  </a:lnTo>
                  <a:lnTo>
                    <a:pt x="6240" y="5600"/>
                  </a:lnTo>
                  <a:lnTo>
                    <a:pt x="6287" y="5580"/>
                  </a:lnTo>
                  <a:lnTo>
                    <a:pt x="6335" y="5563"/>
                  </a:lnTo>
                  <a:lnTo>
                    <a:pt x="6386" y="5550"/>
                  </a:lnTo>
                  <a:lnTo>
                    <a:pt x="6436" y="5541"/>
                  </a:lnTo>
                  <a:lnTo>
                    <a:pt x="6487" y="5535"/>
                  </a:lnTo>
                  <a:lnTo>
                    <a:pt x="6539" y="5533"/>
                  </a:lnTo>
                  <a:lnTo>
                    <a:pt x="6652" y="5533"/>
                  </a:lnTo>
                  <a:lnTo>
                    <a:pt x="6741" y="5532"/>
                  </a:lnTo>
                  <a:lnTo>
                    <a:pt x="6829" y="5529"/>
                  </a:lnTo>
                  <a:lnTo>
                    <a:pt x="6917" y="5523"/>
                  </a:lnTo>
                  <a:lnTo>
                    <a:pt x="7004" y="5516"/>
                  </a:lnTo>
                  <a:lnTo>
                    <a:pt x="7092" y="5505"/>
                  </a:lnTo>
                  <a:lnTo>
                    <a:pt x="7178" y="5493"/>
                  </a:lnTo>
                  <a:lnTo>
                    <a:pt x="7265" y="5480"/>
                  </a:lnTo>
                  <a:lnTo>
                    <a:pt x="7351" y="5464"/>
                  </a:lnTo>
                  <a:lnTo>
                    <a:pt x="7437" y="5446"/>
                  </a:lnTo>
                  <a:lnTo>
                    <a:pt x="7522" y="5426"/>
                  </a:lnTo>
                  <a:lnTo>
                    <a:pt x="7607" y="5405"/>
                  </a:lnTo>
                  <a:lnTo>
                    <a:pt x="7691" y="5381"/>
                  </a:lnTo>
                  <a:lnTo>
                    <a:pt x="7775" y="5355"/>
                  </a:lnTo>
                  <a:lnTo>
                    <a:pt x="7858" y="5327"/>
                  </a:lnTo>
                  <a:lnTo>
                    <a:pt x="7941" y="5297"/>
                  </a:lnTo>
                  <a:lnTo>
                    <a:pt x="8023" y="5266"/>
                  </a:lnTo>
                  <a:lnTo>
                    <a:pt x="8106" y="5232"/>
                  </a:lnTo>
                  <a:lnTo>
                    <a:pt x="8187" y="5197"/>
                  </a:lnTo>
                  <a:lnTo>
                    <a:pt x="8268" y="5159"/>
                  </a:lnTo>
                  <a:lnTo>
                    <a:pt x="8348" y="5121"/>
                  </a:lnTo>
                  <a:lnTo>
                    <a:pt x="8429" y="5080"/>
                  </a:lnTo>
                  <a:lnTo>
                    <a:pt x="8508" y="5038"/>
                  </a:lnTo>
                  <a:lnTo>
                    <a:pt x="8587" y="4993"/>
                  </a:lnTo>
                  <a:lnTo>
                    <a:pt x="8665" y="4947"/>
                  </a:lnTo>
                  <a:lnTo>
                    <a:pt x="8743" y="4899"/>
                  </a:lnTo>
                  <a:lnTo>
                    <a:pt x="8820" y="4850"/>
                  </a:lnTo>
                  <a:lnTo>
                    <a:pt x="8897" y="4798"/>
                  </a:lnTo>
                  <a:lnTo>
                    <a:pt x="8973" y="4745"/>
                  </a:lnTo>
                  <a:lnTo>
                    <a:pt x="9048" y="4691"/>
                  </a:lnTo>
                  <a:lnTo>
                    <a:pt x="9123" y="4634"/>
                  </a:lnTo>
                  <a:lnTo>
                    <a:pt x="9197" y="4577"/>
                  </a:lnTo>
                  <a:lnTo>
                    <a:pt x="9271" y="4518"/>
                  </a:lnTo>
                  <a:lnTo>
                    <a:pt x="9245" y="4670"/>
                  </a:lnTo>
                  <a:lnTo>
                    <a:pt x="9220" y="4823"/>
                  </a:lnTo>
                  <a:lnTo>
                    <a:pt x="9197" y="4977"/>
                  </a:lnTo>
                  <a:lnTo>
                    <a:pt x="9176" y="5133"/>
                  </a:lnTo>
                  <a:lnTo>
                    <a:pt x="9156" y="5289"/>
                  </a:lnTo>
                  <a:lnTo>
                    <a:pt x="9139" y="5446"/>
                  </a:lnTo>
                  <a:lnTo>
                    <a:pt x="9123" y="5604"/>
                  </a:lnTo>
                  <a:lnTo>
                    <a:pt x="9108" y="5762"/>
                  </a:lnTo>
                  <a:lnTo>
                    <a:pt x="9096" y="5921"/>
                  </a:lnTo>
                  <a:lnTo>
                    <a:pt x="9085" y="6080"/>
                  </a:lnTo>
                  <a:lnTo>
                    <a:pt x="9075" y="6240"/>
                  </a:lnTo>
                  <a:lnTo>
                    <a:pt x="9068" y="6400"/>
                  </a:lnTo>
                  <a:lnTo>
                    <a:pt x="9061" y="6560"/>
                  </a:lnTo>
                  <a:lnTo>
                    <a:pt x="9056" y="6721"/>
                  </a:lnTo>
                  <a:lnTo>
                    <a:pt x="9054" y="6881"/>
                  </a:lnTo>
                  <a:lnTo>
                    <a:pt x="9053" y="7042"/>
                  </a:lnTo>
                  <a:lnTo>
                    <a:pt x="9054" y="7203"/>
                  </a:lnTo>
                  <a:lnTo>
                    <a:pt x="9056" y="7363"/>
                  </a:lnTo>
                  <a:lnTo>
                    <a:pt x="9061" y="7524"/>
                  </a:lnTo>
                  <a:lnTo>
                    <a:pt x="9068" y="7685"/>
                  </a:lnTo>
                  <a:lnTo>
                    <a:pt x="9075" y="7846"/>
                  </a:lnTo>
                  <a:lnTo>
                    <a:pt x="9085" y="8006"/>
                  </a:lnTo>
                  <a:lnTo>
                    <a:pt x="9096" y="8166"/>
                  </a:lnTo>
                  <a:lnTo>
                    <a:pt x="9108" y="8325"/>
                  </a:lnTo>
                  <a:lnTo>
                    <a:pt x="9123" y="8484"/>
                  </a:lnTo>
                  <a:lnTo>
                    <a:pt x="9139" y="8642"/>
                  </a:lnTo>
                  <a:lnTo>
                    <a:pt x="9157" y="8799"/>
                  </a:lnTo>
                  <a:lnTo>
                    <a:pt x="9176" y="8956"/>
                  </a:lnTo>
                  <a:lnTo>
                    <a:pt x="9198" y="9111"/>
                  </a:lnTo>
                  <a:lnTo>
                    <a:pt x="9220" y="9266"/>
                  </a:lnTo>
                  <a:lnTo>
                    <a:pt x="9246" y="9420"/>
                  </a:lnTo>
                  <a:lnTo>
                    <a:pt x="9272" y="9571"/>
                  </a:lnTo>
                  <a:lnTo>
                    <a:pt x="9198" y="9512"/>
                  </a:lnTo>
                  <a:lnTo>
                    <a:pt x="9124" y="9455"/>
                  </a:lnTo>
                  <a:lnTo>
                    <a:pt x="9049" y="9398"/>
                  </a:lnTo>
                  <a:lnTo>
                    <a:pt x="8974" y="9344"/>
                  </a:lnTo>
                  <a:lnTo>
                    <a:pt x="8898" y="9291"/>
                  </a:lnTo>
                  <a:lnTo>
                    <a:pt x="8821" y="9240"/>
                  </a:lnTo>
                  <a:lnTo>
                    <a:pt x="8744" y="9190"/>
                  </a:lnTo>
                  <a:lnTo>
                    <a:pt x="8666" y="9142"/>
                  </a:lnTo>
                  <a:lnTo>
                    <a:pt x="8588" y="9097"/>
                  </a:lnTo>
                  <a:lnTo>
                    <a:pt x="8508" y="9051"/>
                  </a:lnTo>
                  <a:lnTo>
                    <a:pt x="8429" y="9009"/>
                  </a:lnTo>
                  <a:lnTo>
                    <a:pt x="8349" y="8968"/>
                  </a:lnTo>
                  <a:lnTo>
                    <a:pt x="8269" y="8930"/>
                  </a:lnTo>
                  <a:lnTo>
                    <a:pt x="8187" y="8892"/>
                  </a:lnTo>
                  <a:lnTo>
                    <a:pt x="8106" y="8857"/>
                  </a:lnTo>
                  <a:lnTo>
                    <a:pt x="8024" y="8823"/>
                  </a:lnTo>
                  <a:lnTo>
                    <a:pt x="7942" y="8792"/>
                  </a:lnTo>
                  <a:lnTo>
                    <a:pt x="7858" y="8762"/>
                  </a:lnTo>
                  <a:lnTo>
                    <a:pt x="7775" y="8735"/>
                  </a:lnTo>
                  <a:lnTo>
                    <a:pt x="7691" y="8708"/>
                  </a:lnTo>
                  <a:lnTo>
                    <a:pt x="7607" y="8684"/>
                  </a:lnTo>
                  <a:lnTo>
                    <a:pt x="7522" y="8662"/>
                  </a:lnTo>
                  <a:lnTo>
                    <a:pt x="7437" y="8643"/>
                  </a:lnTo>
                  <a:lnTo>
                    <a:pt x="7351" y="8625"/>
                  </a:lnTo>
                  <a:lnTo>
                    <a:pt x="7265" y="8609"/>
                  </a:lnTo>
                  <a:lnTo>
                    <a:pt x="7178" y="8595"/>
                  </a:lnTo>
                  <a:lnTo>
                    <a:pt x="7092" y="8584"/>
                  </a:lnTo>
                  <a:lnTo>
                    <a:pt x="7004" y="8574"/>
                  </a:lnTo>
                  <a:lnTo>
                    <a:pt x="6917" y="8567"/>
                  </a:lnTo>
                  <a:lnTo>
                    <a:pt x="6829" y="8561"/>
                  </a:lnTo>
                  <a:lnTo>
                    <a:pt x="6741" y="8558"/>
                  </a:lnTo>
                  <a:lnTo>
                    <a:pt x="6652" y="8557"/>
                  </a:lnTo>
                  <a:close/>
                  <a:moveTo>
                    <a:pt x="6033" y="15089"/>
                  </a:moveTo>
                  <a:lnTo>
                    <a:pt x="4021" y="15089"/>
                  </a:lnTo>
                  <a:lnTo>
                    <a:pt x="4021" y="10562"/>
                  </a:lnTo>
                  <a:lnTo>
                    <a:pt x="4021" y="10528"/>
                  </a:lnTo>
                  <a:lnTo>
                    <a:pt x="4020" y="10494"/>
                  </a:lnTo>
                  <a:lnTo>
                    <a:pt x="4018" y="10460"/>
                  </a:lnTo>
                  <a:lnTo>
                    <a:pt x="4016" y="10426"/>
                  </a:lnTo>
                  <a:lnTo>
                    <a:pt x="4014" y="10392"/>
                  </a:lnTo>
                  <a:lnTo>
                    <a:pt x="4011" y="10359"/>
                  </a:lnTo>
                  <a:lnTo>
                    <a:pt x="4007" y="10325"/>
                  </a:lnTo>
                  <a:lnTo>
                    <a:pt x="4003" y="10292"/>
                  </a:lnTo>
                  <a:lnTo>
                    <a:pt x="3998" y="10260"/>
                  </a:lnTo>
                  <a:lnTo>
                    <a:pt x="3993" y="10226"/>
                  </a:lnTo>
                  <a:lnTo>
                    <a:pt x="3987" y="10193"/>
                  </a:lnTo>
                  <a:lnTo>
                    <a:pt x="3980" y="10161"/>
                  </a:lnTo>
                  <a:lnTo>
                    <a:pt x="3973" y="10129"/>
                  </a:lnTo>
                  <a:lnTo>
                    <a:pt x="3966" y="10097"/>
                  </a:lnTo>
                  <a:lnTo>
                    <a:pt x="3958" y="10064"/>
                  </a:lnTo>
                  <a:lnTo>
                    <a:pt x="3950" y="10033"/>
                  </a:lnTo>
                  <a:lnTo>
                    <a:pt x="3941" y="10002"/>
                  </a:lnTo>
                  <a:lnTo>
                    <a:pt x="3932" y="9970"/>
                  </a:lnTo>
                  <a:lnTo>
                    <a:pt x="3922" y="9940"/>
                  </a:lnTo>
                  <a:lnTo>
                    <a:pt x="3912" y="9908"/>
                  </a:lnTo>
                  <a:lnTo>
                    <a:pt x="3901" y="9877"/>
                  </a:lnTo>
                  <a:lnTo>
                    <a:pt x="3890" y="9847"/>
                  </a:lnTo>
                  <a:lnTo>
                    <a:pt x="3878" y="9817"/>
                  </a:lnTo>
                  <a:lnTo>
                    <a:pt x="3866" y="9787"/>
                  </a:lnTo>
                  <a:lnTo>
                    <a:pt x="3853" y="9758"/>
                  </a:lnTo>
                  <a:lnTo>
                    <a:pt x="3840" y="9728"/>
                  </a:lnTo>
                  <a:lnTo>
                    <a:pt x="3826" y="9698"/>
                  </a:lnTo>
                  <a:lnTo>
                    <a:pt x="3811" y="9670"/>
                  </a:lnTo>
                  <a:lnTo>
                    <a:pt x="3797" y="9641"/>
                  </a:lnTo>
                  <a:lnTo>
                    <a:pt x="3782" y="9613"/>
                  </a:lnTo>
                  <a:lnTo>
                    <a:pt x="3766" y="9585"/>
                  </a:lnTo>
                  <a:lnTo>
                    <a:pt x="3750" y="9556"/>
                  </a:lnTo>
                  <a:lnTo>
                    <a:pt x="4102" y="9556"/>
                  </a:lnTo>
                  <a:lnTo>
                    <a:pt x="4102" y="9562"/>
                  </a:lnTo>
                  <a:lnTo>
                    <a:pt x="5615" y="9562"/>
                  </a:lnTo>
                  <a:lnTo>
                    <a:pt x="5605" y="9592"/>
                  </a:lnTo>
                  <a:lnTo>
                    <a:pt x="5596" y="9622"/>
                  </a:lnTo>
                  <a:lnTo>
                    <a:pt x="5587" y="9651"/>
                  </a:lnTo>
                  <a:lnTo>
                    <a:pt x="5579" y="9681"/>
                  </a:lnTo>
                  <a:lnTo>
                    <a:pt x="5572" y="9711"/>
                  </a:lnTo>
                  <a:lnTo>
                    <a:pt x="5565" y="9743"/>
                  </a:lnTo>
                  <a:lnTo>
                    <a:pt x="5558" y="9773"/>
                  </a:lnTo>
                  <a:lnTo>
                    <a:pt x="5552" y="9804"/>
                  </a:lnTo>
                  <a:lnTo>
                    <a:pt x="5547" y="9835"/>
                  </a:lnTo>
                  <a:lnTo>
                    <a:pt x="5543" y="9866"/>
                  </a:lnTo>
                  <a:lnTo>
                    <a:pt x="5539" y="9897"/>
                  </a:lnTo>
                  <a:lnTo>
                    <a:pt x="5536" y="9930"/>
                  </a:lnTo>
                  <a:lnTo>
                    <a:pt x="5533" y="9962"/>
                  </a:lnTo>
                  <a:lnTo>
                    <a:pt x="5531" y="9994"/>
                  </a:lnTo>
                  <a:lnTo>
                    <a:pt x="5530" y="10026"/>
                  </a:lnTo>
                  <a:lnTo>
                    <a:pt x="5530" y="10059"/>
                  </a:lnTo>
                  <a:lnTo>
                    <a:pt x="5530" y="13580"/>
                  </a:lnTo>
                  <a:lnTo>
                    <a:pt x="5531" y="13625"/>
                  </a:lnTo>
                  <a:lnTo>
                    <a:pt x="5533" y="13669"/>
                  </a:lnTo>
                  <a:lnTo>
                    <a:pt x="5537" y="13712"/>
                  </a:lnTo>
                  <a:lnTo>
                    <a:pt x="5542" y="13754"/>
                  </a:lnTo>
                  <a:lnTo>
                    <a:pt x="5548" y="13795"/>
                  </a:lnTo>
                  <a:lnTo>
                    <a:pt x="5556" y="13836"/>
                  </a:lnTo>
                  <a:lnTo>
                    <a:pt x="5565" y="13875"/>
                  </a:lnTo>
                  <a:lnTo>
                    <a:pt x="5575" y="13913"/>
                  </a:lnTo>
                  <a:lnTo>
                    <a:pt x="5585" y="13951"/>
                  </a:lnTo>
                  <a:lnTo>
                    <a:pt x="5597" y="13988"/>
                  </a:lnTo>
                  <a:lnTo>
                    <a:pt x="5610" y="14024"/>
                  </a:lnTo>
                  <a:lnTo>
                    <a:pt x="5624" y="14058"/>
                  </a:lnTo>
                  <a:lnTo>
                    <a:pt x="5638" y="14092"/>
                  </a:lnTo>
                  <a:lnTo>
                    <a:pt x="5653" y="14125"/>
                  </a:lnTo>
                  <a:lnTo>
                    <a:pt x="5669" y="14158"/>
                  </a:lnTo>
                  <a:lnTo>
                    <a:pt x="5686" y="14189"/>
                  </a:lnTo>
                  <a:lnTo>
                    <a:pt x="5702" y="14220"/>
                  </a:lnTo>
                  <a:lnTo>
                    <a:pt x="5719" y="14249"/>
                  </a:lnTo>
                  <a:lnTo>
                    <a:pt x="5737" y="14278"/>
                  </a:lnTo>
                  <a:lnTo>
                    <a:pt x="5754" y="14306"/>
                  </a:lnTo>
                  <a:lnTo>
                    <a:pt x="5772" y="14334"/>
                  </a:lnTo>
                  <a:lnTo>
                    <a:pt x="5790" y="14360"/>
                  </a:lnTo>
                  <a:lnTo>
                    <a:pt x="5808" y="14385"/>
                  </a:lnTo>
                  <a:lnTo>
                    <a:pt x="5826" y="14410"/>
                  </a:lnTo>
                  <a:lnTo>
                    <a:pt x="5863" y="14457"/>
                  </a:lnTo>
                  <a:lnTo>
                    <a:pt x="5897" y="14501"/>
                  </a:lnTo>
                  <a:lnTo>
                    <a:pt x="5931" y="14542"/>
                  </a:lnTo>
                  <a:lnTo>
                    <a:pt x="5962" y="14579"/>
                  </a:lnTo>
                  <a:lnTo>
                    <a:pt x="5979" y="14599"/>
                  </a:lnTo>
                  <a:lnTo>
                    <a:pt x="5997" y="14620"/>
                  </a:lnTo>
                  <a:lnTo>
                    <a:pt x="6016" y="14641"/>
                  </a:lnTo>
                  <a:lnTo>
                    <a:pt x="6033" y="14663"/>
                  </a:lnTo>
                  <a:lnTo>
                    <a:pt x="6033" y="15089"/>
                  </a:lnTo>
                  <a:close/>
                  <a:moveTo>
                    <a:pt x="1006" y="7042"/>
                  </a:moveTo>
                  <a:lnTo>
                    <a:pt x="1007" y="6964"/>
                  </a:lnTo>
                  <a:lnTo>
                    <a:pt x="1011" y="6888"/>
                  </a:lnTo>
                  <a:lnTo>
                    <a:pt x="1017" y="6812"/>
                  </a:lnTo>
                  <a:lnTo>
                    <a:pt x="1026" y="6738"/>
                  </a:lnTo>
                  <a:lnTo>
                    <a:pt x="1037" y="6664"/>
                  </a:lnTo>
                  <a:lnTo>
                    <a:pt x="1051" y="6593"/>
                  </a:lnTo>
                  <a:lnTo>
                    <a:pt x="1067" y="6522"/>
                  </a:lnTo>
                  <a:lnTo>
                    <a:pt x="1085" y="6454"/>
                  </a:lnTo>
                  <a:lnTo>
                    <a:pt x="1106" y="6388"/>
                  </a:lnTo>
                  <a:lnTo>
                    <a:pt x="1128" y="6322"/>
                  </a:lnTo>
                  <a:lnTo>
                    <a:pt x="1152" y="6259"/>
                  </a:lnTo>
                  <a:lnTo>
                    <a:pt x="1178" y="6199"/>
                  </a:lnTo>
                  <a:lnTo>
                    <a:pt x="1206" y="6139"/>
                  </a:lnTo>
                  <a:lnTo>
                    <a:pt x="1235" y="6082"/>
                  </a:lnTo>
                  <a:lnTo>
                    <a:pt x="1267" y="6028"/>
                  </a:lnTo>
                  <a:lnTo>
                    <a:pt x="1301" y="5974"/>
                  </a:lnTo>
                  <a:lnTo>
                    <a:pt x="1336" y="5925"/>
                  </a:lnTo>
                  <a:lnTo>
                    <a:pt x="1372" y="5878"/>
                  </a:lnTo>
                  <a:lnTo>
                    <a:pt x="1410" y="5832"/>
                  </a:lnTo>
                  <a:lnTo>
                    <a:pt x="1450" y="5790"/>
                  </a:lnTo>
                  <a:lnTo>
                    <a:pt x="1490" y="5751"/>
                  </a:lnTo>
                  <a:lnTo>
                    <a:pt x="1532" y="5715"/>
                  </a:lnTo>
                  <a:lnTo>
                    <a:pt x="1575" y="5682"/>
                  </a:lnTo>
                  <a:lnTo>
                    <a:pt x="1621" y="5651"/>
                  </a:lnTo>
                  <a:lnTo>
                    <a:pt x="1666" y="5624"/>
                  </a:lnTo>
                  <a:lnTo>
                    <a:pt x="1713" y="5600"/>
                  </a:lnTo>
                  <a:lnTo>
                    <a:pt x="1760" y="5580"/>
                  </a:lnTo>
                  <a:lnTo>
                    <a:pt x="1809" y="5563"/>
                  </a:lnTo>
                  <a:lnTo>
                    <a:pt x="1859" y="5550"/>
                  </a:lnTo>
                  <a:lnTo>
                    <a:pt x="1909" y="5541"/>
                  </a:lnTo>
                  <a:lnTo>
                    <a:pt x="1960" y="5535"/>
                  </a:lnTo>
                  <a:lnTo>
                    <a:pt x="2012" y="5533"/>
                  </a:lnTo>
                  <a:lnTo>
                    <a:pt x="5540" y="5533"/>
                  </a:lnTo>
                  <a:lnTo>
                    <a:pt x="5511" y="5568"/>
                  </a:lnTo>
                  <a:lnTo>
                    <a:pt x="5482" y="5603"/>
                  </a:lnTo>
                  <a:lnTo>
                    <a:pt x="5455" y="5640"/>
                  </a:lnTo>
                  <a:lnTo>
                    <a:pt x="5428" y="5678"/>
                  </a:lnTo>
                  <a:lnTo>
                    <a:pt x="5402" y="5717"/>
                  </a:lnTo>
                  <a:lnTo>
                    <a:pt x="5377" y="5756"/>
                  </a:lnTo>
                  <a:lnTo>
                    <a:pt x="5352" y="5796"/>
                  </a:lnTo>
                  <a:lnTo>
                    <a:pt x="5328" y="5837"/>
                  </a:lnTo>
                  <a:lnTo>
                    <a:pt x="5305" y="5880"/>
                  </a:lnTo>
                  <a:lnTo>
                    <a:pt x="5283" y="5922"/>
                  </a:lnTo>
                  <a:lnTo>
                    <a:pt x="5262" y="5966"/>
                  </a:lnTo>
                  <a:lnTo>
                    <a:pt x="5241" y="6010"/>
                  </a:lnTo>
                  <a:lnTo>
                    <a:pt x="5222" y="6056"/>
                  </a:lnTo>
                  <a:lnTo>
                    <a:pt x="5203" y="6102"/>
                  </a:lnTo>
                  <a:lnTo>
                    <a:pt x="5185" y="6148"/>
                  </a:lnTo>
                  <a:lnTo>
                    <a:pt x="5168" y="6196"/>
                  </a:lnTo>
                  <a:lnTo>
                    <a:pt x="5151" y="6244"/>
                  </a:lnTo>
                  <a:lnTo>
                    <a:pt x="5136" y="6293"/>
                  </a:lnTo>
                  <a:lnTo>
                    <a:pt x="5122" y="6342"/>
                  </a:lnTo>
                  <a:lnTo>
                    <a:pt x="5109" y="6393"/>
                  </a:lnTo>
                  <a:lnTo>
                    <a:pt x="5096" y="6444"/>
                  </a:lnTo>
                  <a:lnTo>
                    <a:pt x="5085" y="6495"/>
                  </a:lnTo>
                  <a:lnTo>
                    <a:pt x="5075" y="6548"/>
                  </a:lnTo>
                  <a:lnTo>
                    <a:pt x="5066" y="6600"/>
                  </a:lnTo>
                  <a:lnTo>
                    <a:pt x="5057" y="6653"/>
                  </a:lnTo>
                  <a:lnTo>
                    <a:pt x="5050" y="6708"/>
                  </a:lnTo>
                  <a:lnTo>
                    <a:pt x="5044" y="6762"/>
                  </a:lnTo>
                  <a:lnTo>
                    <a:pt x="5039" y="6816"/>
                  </a:lnTo>
                  <a:lnTo>
                    <a:pt x="5035" y="6873"/>
                  </a:lnTo>
                  <a:lnTo>
                    <a:pt x="5032" y="6928"/>
                  </a:lnTo>
                  <a:lnTo>
                    <a:pt x="5031" y="6984"/>
                  </a:lnTo>
                  <a:lnTo>
                    <a:pt x="5030" y="7042"/>
                  </a:lnTo>
                  <a:lnTo>
                    <a:pt x="5031" y="7099"/>
                  </a:lnTo>
                  <a:lnTo>
                    <a:pt x="5032" y="7155"/>
                  </a:lnTo>
                  <a:lnTo>
                    <a:pt x="5035" y="7212"/>
                  </a:lnTo>
                  <a:lnTo>
                    <a:pt x="5039" y="7267"/>
                  </a:lnTo>
                  <a:lnTo>
                    <a:pt x="5044" y="7322"/>
                  </a:lnTo>
                  <a:lnTo>
                    <a:pt x="5050" y="7377"/>
                  </a:lnTo>
                  <a:lnTo>
                    <a:pt x="5057" y="7431"/>
                  </a:lnTo>
                  <a:lnTo>
                    <a:pt x="5066" y="7484"/>
                  </a:lnTo>
                  <a:lnTo>
                    <a:pt x="5075" y="7536"/>
                  </a:lnTo>
                  <a:lnTo>
                    <a:pt x="5085" y="7589"/>
                  </a:lnTo>
                  <a:lnTo>
                    <a:pt x="5096" y="7640"/>
                  </a:lnTo>
                  <a:lnTo>
                    <a:pt x="5109" y="7691"/>
                  </a:lnTo>
                  <a:lnTo>
                    <a:pt x="5122" y="7742"/>
                  </a:lnTo>
                  <a:lnTo>
                    <a:pt x="5136" y="7791"/>
                  </a:lnTo>
                  <a:lnTo>
                    <a:pt x="5151" y="7840"/>
                  </a:lnTo>
                  <a:lnTo>
                    <a:pt x="5168" y="7888"/>
                  </a:lnTo>
                  <a:lnTo>
                    <a:pt x="5185" y="7936"/>
                  </a:lnTo>
                  <a:lnTo>
                    <a:pt x="5203" y="7982"/>
                  </a:lnTo>
                  <a:lnTo>
                    <a:pt x="5222" y="8028"/>
                  </a:lnTo>
                  <a:lnTo>
                    <a:pt x="5241" y="8074"/>
                  </a:lnTo>
                  <a:lnTo>
                    <a:pt x="5262" y="8118"/>
                  </a:lnTo>
                  <a:lnTo>
                    <a:pt x="5283" y="8161"/>
                  </a:lnTo>
                  <a:lnTo>
                    <a:pt x="5305" y="8204"/>
                  </a:lnTo>
                  <a:lnTo>
                    <a:pt x="5328" y="8247"/>
                  </a:lnTo>
                  <a:lnTo>
                    <a:pt x="5352" y="8288"/>
                  </a:lnTo>
                  <a:lnTo>
                    <a:pt x="5377" y="8328"/>
                  </a:lnTo>
                  <a:lnTo>
                    <a:pt x="5402" y="8367"/>
                  </a:lnTo>
                  <a:lnTo>
                    <a:pt x="5428" y="8406"/>
                  </a:lnTo>
                  <a:lnTo>
                    <a:pt x="5455" y="8443"/>
                  </a:lnTo>
                  <a:lnTo>
                    <a:pt x="5482" y="8480"/>
                  </a:lnTo>
                  <a:lnTo>
                    <a:pt x="5511" y="8515"/>
                  </a:lnTo>
                  <a:lnTo>
                    <a:pt x="5540" y="8550"/>
                  </a:lnTo>
                  <a:lnTo>
                    <a:pt x="2012" y="8550"/>
                  </a:lnTo>
                  <a:lnTo>
                    <a:pt x="1960" y="8548"/>
                  </a:lnTo>
                  <a:lnTo>
                    <a:pt x="1909" y="8542"/>
                  </a:lnTo>
                  <a:lnTo>
                    <a:pt x="1859" y="8533"/>
                  </a:lnTo>
                  <a:lnTo>
                    <a:pt x="1809" y="8520"/>
                  </a:lnTo>
                  <a:lnTo>
                    <a:pt x="1760" y="8503"/>
                  </a:lnTo>
                  <a:lnTo>
                    <a:pt x="1713" y="8483"/>
                  </a:lnTo>
                  <a:lnTo>
                    <a:pt x="1666" y="8459"/>
                  </a:lnTo>
                  <a:lnTo>
                    <a:pt x="1621" y="8432"/>
                  </a:lnTo>
                  <a:lnTo>
                    <a:pt x="1575" y="8402"/>
                  </a:lnTo>
                  <a:lnTo>
                    <a:pt x="1532" y="8368"/>
                  </a:lnTo>
                  <a:lnTo>
                    <a:pt x="1490" y="8332"/>
                  </a:lnTo>
                  <a:lnTo>
                    <a:pt x="1450" y="8293"/>
                  </a:lnTo>
                  <a:lnTo>
                    <a:pt x="1410" y="8251"/>
                  </a:lnTo>
                  <a:lnTo>
                    <a:pt x="1372" y="8206"/>
                  </a:lnTo>
                  <a:lnTo>
                    <a:pt x="1336" y="8158"/>
                  </a:lnTo>
                  <a:lnTo>
                    <a:pt x="1301" y="8109"/>
                  </a:lnTo>
                  <a:lnTo>
                    <a:pt x="1267" y="8057"/>
                  </a:lnTo>
                  <a:lnTo>
                    <a:pt x="1235" y="8001"/>
                  </a:lnTo>
                  <a:lnTo>
                    <a:pt x="1206" y="7945"/>
                  </a:lnTo>
                  <a:lnTo>
                    <a:pt x="1178" y="7886"/>
                  </a:lnTo>
                  <a:lnTo>
                    <a:pt x="1152" y="7824"/>
                  </a:lnTo>
                  <a:lnTo>
                    <a:pt x="1128" y="7761"/>
                  </a:lnTo>
                  <a:lnTo>
                    <a:pt x="1106" y="7696"/>
                  </a:lnTo>
                  <a:lnTo>
                    <a:pt x="1085" y="7629"/>
                  </a:lnTo>
                  <a:lnTo>
                    <a:pt x="1067" y="7561"/>
                  </a:lnTo>
                  <a:lnTo>
                    <a:pt x="1051" y="7490"/>
                  </a:lnTo>
                  <a:lnTo>
                    <a:pt x="1037" y="7419"/>
                  </a:lnTo>
                  <a:lnTo>
                    <a:pt x="1026" y="7345"/>
                  </a:lnTo>
                  <a:lnTo>
                    <a:pt x="1017" y="7272"/>
                  </a:lnTo>
                  <a:lnTo>
                    <a:pt x="1011" y="7196"/>
                  </a:lnTo>
                  <a:lnTo>
                    <a:pt x="1007" y="7119"/>
                  </a:lnTo>
                  <a:lnTo>
                    <a:pt x="1006" y="7042"/>
                  </a:lnTo>
                  <a:close/>
                  <a:moveTo>
                    <a:pt x="10059" y="7042"/>
                  </a:moveTo>
                  <a:lnTo>
                    <a:pt x="10059" y="6944"/>
                  </a:lnTo>
                  <a:lnTo>
                    <a:pt x="10060" y="6846"/>
                  </a:lnTo>
                  <a:lnTo>
                    <a:pt x="10062" y="6750"/>
                  </a:lnTo>
                  <a:lnTo>
                    <a:pt x="10064" y="6653"/>
                  </a:lnTo>
                  <a:lnTo>
                    <a:pt x="10068" y="6558"/>
                  </a:lnTo>
                  <a:lnTo>
                    <a:pt x="10071" y="6462"/>
                  </a:lnTo>
                  <a:lnTo>
                    <a:pt x="10076" y="6368"/>
                  </a:lnTo>
                  <a:lnTo>
                    <a:pt x="10082" y="6273"/>
                  </a:lnTo>
                  <a:lnTo>
                    <a:pt x="10087" y="6178"/>
                  </a:lnTo>
                  <a:lnTo>
                    <a:pt x="10093" y="6085"/>
                  </a:lnTo>
                  <a:lnTo>
                    <a:pt x="10100" y="5991"/>
                  </a:lnTo>
                  <a:lnTo>
                    <a:pt x="10107" y="5899"/>
                  </a:lnTo>
                  <a:lnTo>
                    <a:pt x="10115" y="5806"/>
                  </a:lnTo>
                  <a:lnTo>
                    <a:pt x="10124" y="5715"/>
                  </a:lnTo>
                  <a:lnTo>
                    <a:pt x="10133" y="5623"/>
                  </a:lnTo>
                  <a:lnTo>
                    <a:pt x="10142" y="5533"/>
                  </a:lnTo>
                  <a:lnTo>
                    <a:pt x="11568" y="5533"/>
                  </a:lnTo>
                  <a:lnTo>
                    <a:pt x="11620" y="5535"/>
                  </a:lnTo>
                  <a:lnTo>
                    <a:pt x="11671" y="5541"/>
                  </a:lnTo>
                  <a:lnTo>
                    <a:pt x="11721" y="5550"/>
                  </a:lnTo>
                  <a:lnTo>
                    <a:pt x="11770" y="5563"/>
                  </a:lnTo>
                  <a:lnTo>
                    <a:pt x="11820" y="5580"/>
                  </a:lnTo>
                  <a:lnTo>
                    <a:pt x="11867" y="5600"/>
                  </a:lnTo>
                  <a:lnTo>
                    <a:pt x="11914" y="5624"/>
                  </a:lnTo>
                  <a:lnTo>
                    <a:pt x="11960" y="5651"/>
                  </a:lnTo>
                  <a:lnTo>
                    <a:pt x="12004" y="5682"/>
                  </a:lnTo>
                  <a:lnTo>
                    <a:pt x="12047" y="5715"/>
                  </a:lnTo>
                  <a:lnTo>
                    <a:pt x="12089" y="5751"/>
                  </a:lnTo>
                  <a:lnTo>
                    <a:pt x="12131" y="5790"/>
                  </a:lnTo>
                  <a:lnTo>
                    <a:pt x="12170" y="5832"/>
                  </a:lnTo>
                  <a:lnTo>
                    <a:pt x="12208" y="5878"/>
                  </a:lnTo>
                  <a:lnTo>
                    <a:pt x="12244" y="5925"/>
                  </a:lnTo>
                  <a:lnTo>
                    <a:pt x="12279" y="5974"/>
                  </a:lnTo>
                  <a:lnTo>
                    <a:pt x="12313" y="6028"/>
                  </a:lnTo>
                  <a:lnTo>
                    <a:pt x="12344" y="6082"/>
                  </a:lnTo>
                  <a:lnTo>
                    <a:pt x="12374" y="6139"/>
                  </a:lnTo>
                  <a:lnTo>
                    <a:pt x="12402" y="6199"/>
                  </a:lnTo>
                  <a:lnTo>
                    <a:pt x="12428" y="6259"/>
                  </a:lnTo>
                  <a:lnTo>
                    <a:pt x="12453" y="6322"/>
                  </a:lnTo>
                  <a:lnTo>
                    <a:pt x="12475" y="6388"/>
                  </a:lnTo>
                  <a:lnTo>
                    <a:pt x="12495" y="6454"/>
                  </a:lnTo>
                  <a:lnTo>
                    <a:pt x="12513" y="6522"/>
                  </a:lnTo>
                  <a:lnTo>
                    <a:pt x="12529" y="6593"/>
                  </a:lnTo>
                  <a:lnTo>
                    <a:pt x="12542" y="6664"/>
                  </a:lnTo>
                  <a:lnTo>
                    <a:pt x="12554" y="6738"/>
                  </a:lnTo>
                  <a:lnTo>
                    <a:pt x="12562" y="6812"/>
                  </a:lnTo>
                  <a:lnTo>
                    <a:pt x="12569" y="6888"/>
                  </a:lnTo>
                  <a:lnTo>
                    <a:pt x="12573" y="6964"/>
                  </a:lnTo>
                  <a:lnTo>
                    <a:pt x="12574" y="7042"/>
                  </a:lnTo>
                  <a:lnTo>
                    <a:pt x="12573" y="7119"/>
                  </a:lnTo>
                  <a:lnTo>
                    <a:pt x="12569" y="7196"/>
                  </a:lnTo>
                  <a:lnTo>
                    <a:pt x="12562" y="7272"/>
                  </a:lnTo>
                  <a:lnTo>
                    <a:pt x="12554" y="7345"/>
                  </a:lnTo>
                  <a:lnTo>
                    <a:pt x="12542" y="7419"/>
                  </a:lnTo>
                  <a:lnTo>
                    <a:pt x="12529" y="7490"/>
                  </a:lnTo>
                  <a:lnTo>
                    <a:pt x="12513" y="7561"/>
                  </a:lnTo>
                  <a:lnTo>
                    <a:pt x="12495" y="7629"/>
                  </a:lnTo>
                  <a:lnTo>
                    <a:pt x="12475" y="7696"/>
                  </a:lnTo>
                  <a:lnTo>
                    <a:pt x="12453" y="7761"/>
                  </a:lnTo>
                  <a:lnTo>
                    <a:pt x="12428" y="7824"/>
                  </a:lnTo>
                  <a:lnTo>
                    <a:pt x="12402" y="7886"/>
                  </a:lnTo>
                  <a:lnTo>
                    <a:pt x="12374" y="7945"/>
                  </a:lnTo>
                  <a:lnTo>
                    <a:pt x="12344" y="8001"/>
                  </a:lnTo>
                  <a:lnTo>
                    <a:pt x="12313" y="8057"/>
                  </a:lnTo>
                  <a:lnTo>
                    <a:pt x="12279" y="8109"/>
                  </a:lnTo>
                  <a:lnTo>
                    <a:pt x="12244" y="8158"/>
                  </a:lnTo>
                  <a:lnTo>
                    <a:pt x="12208" y="8206"/>
                  </a:lnTo>
                  <a:lnTo>
                    <a:pt x="12170" y="8251"/>
                  </a:lnTo>
                  <a:lnTo>
                    <a:pt x="12131" y="8293"/>
                  </a:lnTo>
                  <a:lnTo>
                    <a:pt x="12089" y="8332"/>
                  </a:lnTo>
                  <a:lnTo>
                    <a:pt x="12047" y="8368"/>
                  </a:lnTo>
                  <a:lnTo>
                    <a:pt x="12004" y="8402"/>
                  </a:lnTo>
                  <a:lnTo>
                    <a:pt x="11960" y="8432"/>
                  </a:lnTo>
                  <a:lnTo>
                    <a:pt x="11914" y="8459"/>
                  </a:lnTo>
                  <a:lnTo>
                    <a:pt x="11867" y="8483"/>
                  </a:lnTo>
                  <a:lnTo>
                    <a:pt x="11820" y="8503"/>
                  </a:lnTo>
                  <a:lnTo>
                    <a:pt x="11770" y="8520"/>
                  </a:lnTo>
                  <a:lnTo>
                    <a:pt x="11721" y="8533"/>
                  </a:lnTo>
                  <a:lnTo>
                    <a:pt x="11671" y="8542"/>
                  </a:lnTo>
                  <a:lnTo>
                    <a:pt x="11620" y="8548"/>
                  </a:lnTo>
                  <a:lnTo>
                    <a:pt x="11568" y="8550"/>
                  </a:lnTo>
                  <a:lnTo>
                    <a:pt x="10142" y="8550"/>
                  </a:lnTo>
                  <a:lnTo>
                    <a:pt x="10133" y="8460"/>
                  </a:lnTo>
                  <a:lnTo>
                    <a:pt x="10124" y="8368"/>
                  </a:lnTo>
                  <a:lnTo>
                    <a:pt x="10115" y="8277"/>
                  </a:lnTo>
                  <a:lnTo>
                    <a:pt x="10107" y="8184"/>
                  </a:lnTo>
                  <a:lnTo>
                    <a:pt x="10100" y="8092"/>
                  </a:lnTo>
                  <a:lnTo>
                    <a:pt x="10093" y="7998"/>
                  </a:lnTo>
                  <a:lnTo>
                    <a:pt x="10087" y="7905"/>
                  </a:lnTo>
                  <a:lnTo>
                    <a:pt x="10082" y="7811"/>
                  </a:lnTo>
                  <a:lnTo>
                    <a:pt x="10076" y="7717"/>
                  </a:lnTo>
                  <a:lnTo>
                    <a:pt x="10071" y="7621"/>
                  </a:lnTo>
                  <a:lnTo>
                    <a:pt x="10068" y="7525"/>
                  </a:lnTo>
                  <a:lnTo>
                    <a:pt x="10064" y="7430"/>
                  </a:lnTo>
                  <a:lnTo>
                    <a:pt x="10062" y="7333"/>
                  </a:lnTo>
                  <a:lnTo>
                    <a:pt x="10060" y="7237"/>
                  </a:lnTo>
                  <a:lnTo>
                    <a:pt x="10059" y="7139"/>
                  </a:lnTo>
                  <a:lnTo>
                    <a:pt x="10059" y="7042"/>
                  </a:lnTo>
                  <a:close/>
                  <a:moveTo>
                    <a:pt x="12574" y="0"/>
                  </a:moveTo>
                  <a:lnTo>
                    <a:pt x="12478" y="2"/>
                  </a:lnTo>
                  <a:lnTo>
                    <a:pt x="12383" y="8"/>
                  </a:lnTo>
                  <a:lnTo>
                    <a:pt x="12290" y="18"/>
                  </a:lnTo>
                  <a:lnTo>
                    <a:pt x="12197" y="32"/>
                  </a:lnTo>
                  <a:lnTo>
                    <a:pt x="12106" y="50"/>
                  </a:lnTo>
                  <a:lnTo>
                    <a:pt x="12017" y="72"/>
                  </a:lnTo>
                  <a:lnTo>
                    <a:pt x="11928" y="99"/>
                  </a:lnTo>
                  <a:lnTo>
                    <a:pt x="11841" y="128"/>
                  </a:lnTo>
                  <a:lnTo>
                    <a:pt x="11755" y="161"/>
                  </a:lnTo>
                  <a:lnTo>
                    <a:pt x="11671" y="198"/>
                  </a:lnTo>
                  <a:lnTo>
                    <a:pt x="11588" y="238"/>
                  </a:lnTo>
                  <a:lnTo>
                    <a:pt x="11506" y="282"/>
                  </a:lnTo>
                  <a:lnTo>
                    <a:pt x="11425" y="329"/>
                  </a:lnTo>
                  <a:lnTo>
                    <a:pt x="11347" y="380"/>
                  </a:lnTo>
                  <a:lnTo>
                    <a:pt x="11269" y="435"/>
                  </a:lnTo>
                  <a:lnTo>
                    <a:pt x="11192" y="491"/>
                  </a:lnTo>
                  <a:lnTo>
                    <a:pt x="11117" y="552"/>
                  </a:lnTo>
                  <a:lnTo>
                    <a:pt x="11043" y="616"/>
                  </a:lnTo>
                  <a:lnTo>
                    <a:pt x="10971" y="682"/>
                  </a:lnTo>
                  <a:lnTo>
                    <a:pt x="10899" y="752"/>
                  </a:lnTo>
                  <a:lnTo>
                    <a:pt x="10829" y="825"/>
                  </a:lnTo>
                  <a:lnTo>
                    <a:pt x="10761" y="900"/>
                  </a:lnTo>
                  <a:lnTo>
                    <a:pt x="10693" y="979"/>
                  </a:lnTo>
                  <a:lnTo>
                    <a:pt x="10628" y="1060"/>
                  </a:lnTo>
                  <a:lnTo>
                    <a:pt x="10562" y="1144"/>
                  </a:lnTo>
                  <a:lnTo>
                    <a:pt x="10500" y="1230"/>
                  </a:lnTo>
                  <a:lnTo>
                    <a:pt x="10438" y="1320"/>
                  </a:lnTo>
                  <a:lnTo>
                    <a:pt x="10377" y="1412"/>
                  </a:lnTo>
                  <a:lnTo>
                    <a:pt x="10318" y="1506"/>
                  </a:lnTo>
                  <a:lnTo>
                    <a:pt x="10260" y="1602"/>
                  </a:lnTo>
                  <a:lnTo>
                    <a:pt x="10203" y="1702"/>
                  </a:lnTo>
                  <a:lnTo>
                    <a:pt x="10148" y="1804"/>
                  </a:lnTo>
                  <a:lnTo>
                    <a:pt x="10137" y="1798"/>
                  </a:lnTo>
                  <a:lnTo>
                    <a:pt x="10056" y="1952"/>
                  </a:lnTo>
                  <a:lnTo>
                    <a:pt x="9974" y="2101"/>
                  </a:lnTo>
                  <a:lnTo>
                    <a:pt x="9888" y="2247"/>
                  </a:lnTo>
                  <a:lnTo>
                    <a:pt x="9801" y="2390"/>
                  </a:lnTo>
                  <a:lnTo>
                    <a:pt x="9711" y="2529"/>
                  </a:lnTo>
                  <a:lnTo>
                    <a:pt x="9620" y="2665"/>
                  </a:lnTo>
                  <a:lnTo>
                    <a:pt x="9525" y="2796"/>
                  </a:lnTo>
                  <a:lnTo>
                    <a:pt x="9430" y="2923"/>
                  </a:lnTo>
                  <a:lnTo>
                    <a:pt x="9332" y="3046"/>
                  </a:lnTo>
                  <a:lnTo>
                    <a:pt x="9231" y="3165"/>
                  </a:lnTo>
                  <a:lnTo>
                    <a:pt x="9130" y="3279"/>
                  </a:lnTo>
                  <a:lnTo>
                    <a:pt x="9026" y="3389"/>
                  </a:lnTo>
                  <a:lnTo>
                    <a:pt x="8921" y="3495"/>
                  </a:lnTo>
                  <a:lnTo>
                    <a:pt x="8814" y="3595"/>
                  </a:lnTo>
                  <a:lnTo>
                    <a:pt x="8705" y="3692"/>
                  </a:lnTo>
                  <a:lnTo>
                    <a:pt x="8595" y="3783"/>
                  </a:lnTo>
                  <a:lnTo>
                    <a:pt x="8483" y="3870"/>
                  </a:lnTo>
                  <a:lnTo>
                    <a:pt x="8369" y="3951"/>
                  </a:lnTo>
                  <a:lnTo>
                    <a:pt x="8255" y="4029"/>
                  </a:lnTo>
                  <a:lnTo>
                    <a:pt x="8138" y="4100"/>
                  </a:lnTo>
                  <a:lnTo>
                    <a:pt x="8020" y="4167"/>
                  </a:lnTo>
                  <a:lnTo>
                    <a:pt x="7902" y="4227"/>
                  </a:lnTo>
                  <a:lnTo>
                    <a:pt x="7781" y="4283"/>
                  </a:lnTo>
                  <a:lnTo>
                    <a:pt x="7659" y="4334"/>
                  </a:lnTo>
                  <a:lnTo>
                    <a:pt x="7537" y="4378"/>
                  </a:lnTo>
                  <a:lnTo>
                    <a:pt x="7414" y="4417"/>
                  </a:lnTo>
                  <a:lnTo>
                    <a:pt x="7289" y="4450"/>
                  </a:lnTo>
                  <a:lnTo>
                    <a:pt x="7163" y="4477"/>
                  </a:lnTo>
                  <a:lnTo>
                    <a:pt x="7037" y="4499"/>
                  </a:lnTo>
                  <a:lnTo>
                    <a:pt x="6909" y="4515"/>
                  </a:lnTo>
                  <a:lnTo>
                    <a:pt x="6781" y="4524"/>
                  </a:lnTo>
                  <a:lnTo>
                    <a:pt x="6652" y="4527"/>
                  </a:lnTo>
                  <a:lnTo>
                    <a:pt x="6318" y="4527"/>
                  </a:lnTo>
                  <a:lnTo>
                    <a:pt x="4102" y="4527"/>
                  </a:lnTo>
                  <a:lnTo>
                    <a:pt x="2012" y="4527"/>
                  </a:lnTo>
                  <a:lnTo>
                    <a:pt x="1907" y="4530"/>
                  </a:lnTo>
                  <a:lnTo>
                    <a:pt x="1804" y="4540"/>
                  </a:lnTo>
                  <a:lnTo>
                    <a:pt x="1701" y="4555"/>
                  </a:lnTo>
                  <a:lnTo>
                    <a:pt x="1601" y="4577"/>
                  </a:lnTo>
                  <a:lnTo>
                    <a:pt x="1503" y="4604"/>
                  </a:lnTo>
                  <a:lnTo>
                    <a:pt x="1407" y="4638"/>
                  </a:lnTo>
                  <a:lnTo>
                    <a:pt x="1313" y="4677"/>
                  </a:lnTo>
                  <a:lnTo>
                    <a:pt x="1221" y="4722"/>
                  </a:lnTo>
                  <a:lnTo>
                    <a:pt x="1132" y="4771"/>
                  </a:lnTo>
                  <a:lnTo>
                    <a:pt x="1045" y="4826"/>
                  </a:lnTo>
                  <a:lnTo>
                    <a:pt x="961" y="4886"/>
                  </a:lnTo>
                  <a:lnTo>
                    <a:pt x="879" y="4950"/>
                  </a:lnTo>
                  <a:lnTo>
                    <a:pt x="801" y="5020"/>
                  </a:lnTo>
                  <a:lnTo>
                    <a:pt x="725" y="5094"/>
                  </a:lnTo>
                  <a:lnTo>
                    <a:pt x="652" y="5173"/>
                  </a:lnTo>
                  <a:lnTo>
                    <a:pt x="582" y="5255"/>
                  </a:lnTo>
                  <a:lnTo>
                    <a:pt x="516" y="5343"/>
                  </a:lnTo>
                  <a:lnTo>
                    <a:pt x="454" y="5433"/>
                  </a:lnTo>
                  <a:lnTo>
                    <a:pt x="394" y="5528"/>
                  </a:lnTo>
                  <a:lnTo>
                    <a:pt x="339" y="5626"/>
                  </a:lnTo>
                  <a:lnTo>
                    <a:pt x="288" y="5728"/>
                  </a:lnTo>
                  <a:lnTo>
                    <a:pt x="239" y="5833"/>
                  </a:lnTo>
                  <a:lnTo>
                    <a:pt x="195" y="5942"/>
                  </a:lnTo>
                  <a:lnTo>
                    <a:pt x="156" y="6054"/>
                  </a:lnTo>
                  <a:lnTo>
                    <a:pt x="120" y="6168"/>
                  </a:lnTo>
                  <a:lnTo>
                    <a:pt x="89" y="6286"/>
                  </a:lnTo>
                  <a:lnTo>
                    <a:pt x="62" y="6406"/>
                  </a:lnTo>
                  <a:lnTo>
                    <a:pt x="40" y="6529"/>
                  </a:lnTo>
                  <a:lnTo>
                    <a:pt x="23" y="6653"/>
                  </a:lnTo>
                  <a:lnTo>
                    <a:pt x="10" y="6781"/>
                  </a:lnTo>
                  <a:lnTo>
                    <a:pt x="3" y="6911"/>
                  </a:lnTo>
                  <a:lnTo>
                    <a:pt x="0" y="7042"/>
                  </a:lnTo>
                  <a:lnTo>
                    <a:pt x="3" y="7173"/>
                  </a:lnTo>
                  <a:lnTo>
                    <a:pt x="10" y="7302"/>
                  </a:lnTo>
                  <a:lnTo>
                    <a:pt x="23" y="7430"/>
                  </a:lnTo>
                  <a:lnTo>
                    <a:pt x="40" y="7555"/>
                  </a:lnTo>
                  <a:lnTo>
                    <a:pt x="62" y="7677"/>
                  </a:lnTo>
                  <a:lnTo>
                    <a:pt x="89" y="7798"/>
                  </a:lnTo>
                  <a:lnTo>
                    <a:pt x="120" y="7915"/>
                  </a:lnTo>
                  <a:lnTo>
                    <a:pt x="156" y="8029"/>
                  </a:lnTo>
                  <a:lnTo>
                    <a:pt x="195" y="8141"/>
                  </a:lnTo>
                  <a:lnTo>
                    <a:pt x="239" y="8250"/>
                  </a:lnTo>
                  <a:lnTo>
                    <a:pt x="288" y="8355"/>
                  </a:lnTo>
                  <a:lnTo>
                    <a:pt x="339" y="8457"/>
                  </a:lnTo>
                  <a:lnTo>
                    <a:pt x="394" y="8555"/>
                  </a:lnTo>
                  <a:lnTo>
                    <a:pt x="454" y="8650"/>
                  </a:lnTo>
                  <a:lnTo>
                    <a:pt x="516" y="8742"/>
                  </a:lnTo>
                  <a:lnTo>
                    <a:pt x="582" y="8828"/>
                  </a:lnTo>
                  <a:lnTo>
                    <a:pt x="652" y="8911"/>
                  </a:lnTo>
                  <a:lnTo>
                    <a:pt x="725" y="8989"/>
                  </a:lnTo>
                  <a:lnTo>
                    <a:pt x="801" y="9063"/>
                  </a:lnTo>
                  <a:lnTo>
                    <a:pt x="879" y="9133"/>
                  </a:lnTo>
                  <a:lnTo>
                    <a:pt x="961" y="9197"/>
                  </a:lnTo>
                  <a:lnTo>
                    <a:pt x="1045" y="9258"/>
                  </a:lnTo>
                  <a:lnTo>
                    <a:pt x="1132" y="9312"/>
                  </a:lnTo>
                  <a:lnTo>
                    <a:pt x="1221" y="9362"/>
                  </a:lnTo>
                  <a:lnTo>
                    <a:pt x="1313" y="9407"/>
                  </a:lnTo>
                  <a:lnTo>
                    <a:pt x="1407" y="9445"/>
                  </a:lnTo>
                  <a:lnTo>
                    <a:pt x="1503" y="9479"/>
                  </a:lnTo>
                  <a:lnTo>
                    <a:pt x="1601" y="9506"/>
                  </a:lnTo>
                  <a:lnTo>
                    <a:pt x="1701" y="9528"/>
                  </a:lnTo>
                  <a:lnTo>
                    <a:pt x="1804" y="9543"/>
                  </a:lnTo>
                  <a:lnTo>
                    <a:pt x="1907" y="9553"/>
                  </a:lnTo>
                  <a:lnTo>
                    <a:pt x="2012" y="9556"/>
                  </a:lnTo>
                  <a:lnTo>
                    <a:pt x="2063" y="9557"/>
                  </a:lnTo>
                  <a:lnTo>
                    <a:pt x="2114" y="9561"/>
                  </a:lnTo>
                  <a:lnTo>
                    <a:pt x="2165" y="9568"/>
                  </a:lnTo>
                  <a:lnTo>
                    <a:pt x="2214" y="9578"/>
                  </a:lnTo>
                  <a:lnTo>
                    <a:pt x="2262" y="9589"/>
                  </a:lnTo>
                  <a:lnTo>
                    <a:pt x="2311" y="9603"/>
                  </a:lnTo>
                  <a:lnTo>
                    <a:pt x="2357" y="9618"/>
                  </a:lnTo>
                  <a:lnTo>
                    <a:pt x="2402" y="9636"/>
                  </a:lnTo>
                  <a:lnTo>
                    <a:pt x="2446" y="9656"/>
                  </a:lnTo>
                  <a:lnTo>
                    <a:pt x="2490" y="9679"/>
                  </a:lnTo>
                  <a:lnTo>
                    <a:pt x="2532" y="9703"/>
                  </a:lnTo>
                  <a:lnTo>
                    <a:pt x="2573" y="9729"/>
                  </a:lnTo>
                  <a:lnTo>
                    <a:pt x="2612" y="9758"/>
                  </a:lnTo>
                  <a:lnTo>
                    <a:pt x="2650" y="9787"/>
                  </a:lnTo>
                  <a:lnTo>
                    <a:pt x="2686" y="9819"/>
                  </a:lnTo>
                  <a:lnTo>
                    <a:pt x="2721" y="9852"/>
                  </a:lnTo>
                  <a:lnTo>
                    <a:pt x="2754" y="9886"/>
                  </a:lnTo>
                  <a:lnTo>
                    <a:pt x="2785" y="9924"/>
                  </a:lnTo>
                  <a:lnTo>
                    <a:pt x="2816" y="9961"/>
                  </a:lnTo>
                  <a:lnTo>
                    <a:pt x="2844" y="10000"/>
                  </a:lnTo>
                  <a:lnTo>
                    <a:pt x="2870" y="10041"/>
                  </a:lnTo>
                  <a:lnTo>
                    <a:pt x="2894" y="10084"/>
                  </a:lnTo>
                  <a:lnTo>
                    <a:pt x="2916" y="10127"/>
                  </a:lnTo>
                  <a:lnTo>
                    <a:pt x="2936" y="10171"/>
                  </a:lnTo>
                  <a:lnTo>
                    <a:pt x="2953" y="10216"/>
                  </a:lnTo>
                  <a:lnTo>
                    <a:pt x="2970" y="10264"/>
                  </a:lnTo>
                  <a:lnTo>
                    <a:pt x="2984" y="10311"/>
                  </a:lnTo>
                  <a:lnTo>
                    <a:pt x="2995" y="10360"/>
                  </a:lnTo>
                  <a:lnTo>
                    <a:pt x="3003" y="10409"/>
                  </a:lnTo>
                  <a:lnTo>
                    <a:pt x="3010" y="10460"/>
                  </a:lnTo>
                  <a:lnTo>
                    <a:pt x="3014" y="10510"/>
                  </a:lnTo>
                  <a:lnTo>
                    <a:pt x="3015" y="10562"/>
                  </a:lnTo>
                  <a:lnTo>
                    <a:pt x="3015" y="15089"/>
                  </a:lnTo>
                  <a:lnTo>
                    <a:pt x="3016" y="15140"/>
                  </a:lnTo>
                  <a:lnTo>
                    <a:pt x="3020" y="15192"/>
                  </a:lnTo>
                  <a:lnTo>
                    <a:pt x="3026" y="15242"/>
                  </a:lnTo>
                  <a:lnTo>
                    <a:pt x="3035" y="15292"/>
                  </a:lnTo>
                  <a:lnTo>
                    <a:pt x="3046" y="15341"/>
                  </a:lnTo>
                  <a:lnTo>
                    <a:pt x="3060" y="15388"/>
                  </a:lnTo>
                  <a:lnTo>
                    <a:pt x="3076" y="15435"/>
                  </a:lnTo>
                  <a:lnTo>
                    <a:pt x="3094" y="15480"/>
                  </a:lnTo>
                  <a:lnTo>
                    <a:pt x="3114" y="15526"/>
                  </a:lnTo>
                  <a:lnTo>
                    <a:pt x="3137" y="15569"/>
                  </a:lnTo>
                  <a:lnTo>
                    <a:pt x="3161" y="15611"/>
                  </a:lnTo>
                  <a:lnTo>
                    <a:pt x="3187" y="15651"/>
                  </a:lnTo>
                  <a:lnTo>
                    <a:pt x="3215" y="15691"/>
                  </a:lnTo>
                  <a:lnTo>
                    <a:pt x="3245" y="15729"/>
                  </a:lnTo>
                  <a:lnTo>
                    <a:pt x="3276" y="15765"/>
                  </a:lnTo>
                  <a:lnTo>
                    <a:pt x="3310" y="15800"/>
                  </a:lnTo>
                  <a:lnTo>
                    <a:pt x="3345" y="15833"/>
                  </a:lnTo>
                  <a:lnTo>
                    <a:pt x="3381" y="15866"/>
                  </a:lnTo>
                  <a:lnTo>
                    <a:pt x="3419" y="15895"/>
                  </a:lnTo>
                  <a:lnTo>
                    <a:pt x="3458" y="15923"/>
                  </a:lnTo>
                  <a:lnTo>
                    <a:pt x="3500" y="15949"/>
                  </a:lnTo>
                  <a:lnTo>
                    <a:pt x="3542" y="15973"/>
                  </a:lnTo>
                  <a:lnTo>
                    <a:pt x="3585" y="15995"/>
                  </a:lnTo>
                  <a:lnTo>
                    <a:pt x="3629" y="16016"/>
                  </a:lnTo>
                  <a:lnTo>
                    <a:pt x="3675" y="16034"/>
                  </a:lnTo>
                  <a:lnTo>
                    <a:pt x="3722" y="16050"/>
                  </a:lnTo>
                  <a:lnTo>
                    <a:pt x="3769" y="16064"/>
                  </a:lnTo>
                  <a:lnTo>
                    <a:pt x="3819" y="16075"/>
                  </a:lnTo>
                  <a:lnTo>
                    <a:pt x="3868" y="16083"/>
                  </a:lnTo>
                  <a:lnTo>
                    <a:pt x="3918" y="16090"/>
                  </a:lnTo>
                  <a:lnTo>
                    <a:pt x="3969" y="16094"/>
                  </a:lnTo>
                  <a:lnTo>
                    <a:pt x="4021" y="16095"/>
                  </a:lnTo>
                  <a:lnTo>
                    <a:pt x="6033" y="16095"/>
                  </a:lnTo>
                  <a:lnTo>
                    <a:pt x="6085" y="16094"/>
                  </a:lnTo>
                  <a:lnTo>
                    <a:pt x="6135" y="16090"/>
                  </a:lnTo>
                  <a:lnTo>
                    <a:pt x="6186" y="16083"/>
                  </a:lnTo>
                  <a:lnTo>
                    <a:pt x="6236" y="16075"/>
                  </a:lnTo>
                  <a:lnTo>
                    <a:pt x="6284" y="16064"/>
                  </a:lnTo>
                  <a:lnTo>
                    <a:pt x="6332" y="16050"/>
                  </a:lnTo>
                  <a:lnTo>
                    <a:pt x="6379" y="16034"/>
                  </a:lnTo>
                  <a:lnTo>
                    <a:pt x="6425" y="16016"/>
                  </a:lnTo>
                  <a:lnTo>
                    <a:pt x="6469" y="15995"/>
                  </a:lnTo>
                  <a:lnTo>
                    <a:pt x="6512" y="15973"/>
                  </a:lnTo>
                  <a:lnTo>
                    <a:pt x="6555" y="15949"/>
                  </a:lnTo>
                  <a:lnTo>
                    <a:pt x="6595" y="15923"/>
                  </a:lnTo>
                  <a:lnTo>
                    <a:pt x="6635" y="15895"/>
                  </a:lnTo>
                  <a:lnTo>
                    <a:pt x="6672" y="15866"/>
                  </a:lnTo>
                  <a:lnTo>
                    <a:pt x="6710" y="15833"/>
                  </a:lnTo>
                  <a:lnTo>
                    <a:pt x="6744" y="15800"/>
                  </a:lnTo>
                  <a:lnTo>
                    <a:pt x="6778" y="15765"/>
                  </a:lnTo>
                  <a:lnTo>
                    <a:pt x="6809" y="15729"/>
                  </a:lnTo>
                  <a:lnTo>
                    <a:pt x="6839" y="15691"/>
                  </a:lnTo>
                  <a:lnTo>
                    <a:pt x="6867" y="15651"/>
                  </a:lnTo>
                  <a:lnTo>
                    <a:pt x="6893" y="15611"/>
                  </a:lnTo>
                  <a:lnTo>
                    <a:pt x="6917" y="15569"/>
                  </a:lnTo>
                  <a:lnTo>
                    <a:pt x="6940" y="15526"/>
                  </a:lnTo>
                  <a:lnTo>
                    <a:pt x="6960" y="15480"/>
                  </a:lnTo>
                  <a:lnTo>
                    <a:pt x="6977" y="15435"/>
                  </a:lnTo>
                  <a:lnTo>
                    <a:pt x="6993" y="15388"/>
                  </a:lnTo>
                  <a:lnTo>
                    <a:pt x="7007" y="15341"/>
                  </a:lnTo>
                  <a:lnTo>
                    <a:pt x="7018" y="15292"/>
                  </a:lnTo>
                  <a:lnTo>
                    <a:pt x="7027" y="15242"/>
                  </a:lnTo>
                  <a:lnTo>
                    <a:pt x="7034" y="15192"/>
                  </a:lnTo>
                  <a:lnTo>
                    <a:pt x="7038" y="15140"/>
                  </a:lnTo>
                  <a:lnTo>
                    <a:pt x="7039" y="15089"/>
                  </a:lnTo>
                  <a:lnTo>
                    <a:pt x="7039" y="14586"/>
                  </a:lnTo>
                  <a:lnTo>
                    <a:pt x="7038" y="14540"/>
                  </a:lnTo>
                  <a:lnTo>
                    <a:pt x="7033" y="14495"/>
                  </a:lnTo>
                  <a:lnTo>
                    <a:pt x="7026" y="14451"/>
                  </a:lnTo>
                  <a:lnTo>
                    <a:pt x="7017" y="14410"/>
                  </a:lnTo>
                  <a:lnTo>
                    <a:pt x="7005" y="14370"/>
                  </a:lnTo>
                  <a:lnTo>
                    <a:pt x="6992" y="14331"/>
                  </a:lnTo>
                  <a:lnTo>
                    <a:pt x="6977" y="14292"/>
                  </a:lnTo>
                  <a:lnTo>
                    <a:pt x="6960" y="14256"/>
                  </a:lnTo>
                  <a:lnTo>
                    <a:pt x="6942" y="14220"/>
                  </a:lnTo>
                  <a:lnTo>
                    <a:pt x="6922" y="14186"/>
                  </a:lnTo>
                  <a:lnTo>
                    <a:pt x="6901" y="14153"/>
                  </a:lnTo>
                  <a:lnTo>
                    <a:pt x="6880" y="14120"/>
                  </a:lnTo>
                  <a:lnTo>
                    <a:pt x="6857" y="14088"/>
                  </a:lnTo>
                  <a:lnTo>
                    <a:pt x="6834" y="14058"/>
                  </a:lnTo>
                  <a:lnTo>
                    <a:pt x="6810" y="14028"/>
                  </a:lnTo>
                  <a:lnTo>
                    <a:pt x="6787" y="13999"/>
                  </a:lnTo>
                  <a:lnTo>
                    <a:pt x="6740" y="13942"/>
                  </a:lnTo>
                  <a:lnTo>
                    <a:pt x="6695" y="13888"/>
                  </a:lnTo>
                  <a:lnTo>
                    <a:pt x="6673" y="13862"/>
                  </a:lnTo>
                  <a:lnTo>
                    <a:pt x="6652" y="13836"/>
                  </a:lnTo>
                  <a:lnTo>
                    <a:pt x="6632" y="13810"/>
                  </a:lnTo>
                  <a:lnTo>
                    <a:pt x="6614" y="13784"/>
                  </a:lnTo>
                  <a:lnTo>
                    <a:pt x="6597" y="13758"/>
                  </a:lnTo>
                  <a:lnTo>
                    <a:pt x="6582" y="13733"/>
                  </a:lnTo>
                  <a:lnTo>
                    <a:pt x="6569" y="13708"/>
                  </a:lnTo>
                  <a:lnTo>
                    <a:pt x="6558" y="13683"/>
                  </a:lnTo>
                  <a:lnTo>
                    <a:pt x="6548" y="13658"/>
                  </a:lnTo>
                  <a:lnTo>
                    <a:pt x="6542" y="13631"/>
                  </a:lnTo>
                  <a:lnTo>
                    <a:pt x="6537" y="13606"/>
                  </a:lnTo>
                  <a:lnTo>
                    <a:pt x="6536" y="13580"/>
                  </a:lnTo>
                  <a:lnTo>
                    <a:pt x="6536" y="10059"/>
                  </a:lnTo>
                  <a:lnTo>
                    <a:pt x="6537" y="10051"/>
                  </a:lnTo>
                  <a:lnTo>
                    <a:pt x="6540" y="10043"/>
                  </a:lnTo>
                  <a:lnTo>
                    <a:pt x="6543" y="10036"/>
                  </a:lnTo>
                  <a:lnTo>
                    <a:pt x="6545" y="10028"/>
                  </a:lnTo>
                  <a:lnTo>
                    <a:pt x="6547" y="10001"/>
                  </a:lnTo>
                  <a:lnTo>
                    <a:pt x="6551" y="9975"/>
                  </a:lnTo>
                  <a:lnTo>
                    <a:pt x="6556" y="9950"/>
                  </a:lnTo>
                  <a:lnTo>
                    <a:pt x="6563" y="9925"/>
                  </a:lnTo>
                  <a:lnTo>
                    <a:pt x="6571" y="9899"/>
                  </a:lnTo>
                  <a:lnTo>
                    <a:pt x="6580" y="9875"/>
                  </a:lnTo>
                  <a:lnTo>
                    <a:pt x="6590" y="9852"/>
                  </a:lnTo>
                  <a:lnTo>
                    <a:pt x="6601" y="9829"/>
                  </a:lnTo>
                  <a:lnTo>
                    <a:pt x="6608" y="9818"/>
                  </a:lnTo>
                  <a:lnTo>
                    <a:pt x="6615" y="9807"/>
                  </a:lnTo>
                  <a:lnTo>
                    <a:pt x="6623" y="9796"/>
                  </a:lnTo>
                  <a:lnTo>
                    <a:pt x="6631" y="9785"/>
                  </a:lnTo>
                  <a:lnTo>
                    <a:pt x="6646" y="9764"/>
                  </a:lnTo>
                  <a:lnTo>
                    <a:pt x="6663" y="9743"/>
                  </a:lnTo>
                  <a:lnTo>
                    <a:pt x="6680" y="9722"/>
                  </a:lnTo>
                  <a:lnTo>
                    <a:pt x="6699" y="9703"/>
                  </a:lnTo>
                  <a:lnTo>
                    <a:pt x="6719" y="9685"/>
                  </a:lnTo>
                  <a:lnTo>
                    <a:pt x="6739" y="9669"/>
                  </a:lnTo>
                  <a:lnTo>
                    <a:pt x="6760" y="9653"/>
                  </a:lnTo>
                  <a:lnTo>
                    <a:pt x="6783" y="9638"/>
                  </a:lnTo>
                  <a:lnTo>
                    <a:pt x="6787" y="9634"/>
                  </a:lnTo>
                  <a:lnTo>
                    <a:pt x="6790" y="9631"/>
                  </a:lnTo>
                  <a:lnTo>
                    <a:pt x="6793" y="9630"/>
                  </a:lnTo>
                  <a:lnTo>
                    <a:pt x="6796" y="9629"/>
                  </a:lnTo>
                  <a:lnTo>
                    <a:pt x="6811" y="9622"/>
                  </a:lnTo>
                  <a:lnTo>
                    <a:pt x="6827" y="9615"/>
                  </a:lnTo>
                  <a:lnTo>
                    <a:pt x="6844" y="9610"/>
                  </a:lnTo>
                  <a:lnTo>
                    <a:pt x="6860" y="9606"/>
                  </a:lnTo>
                  <a:lnTo>
                    <a:pt x="6895" y="9598"/>
                  </a:lnTo>
                  <a:lnTo>
                    <a:pt x="6929" y="9589"/>
                  </a:lnTo>
                  <a:lnTo>
                    <a:pt x="7048" y="9604"/>
                  </a:lnTo>
                  <a:lnTo>
                    <a:pt x="7166" y="9624"/>
                  </a:lnTo>
                  <a:lnTo>
                    <a:pt x="7283" y="9650"/>
                  </a:lnTo>
                  <a:lnTo>
                    <a:pt x="7400" y="9680"/>
                  </a:lnTo>
                  <a:lnTo>
                    <a:pt x="7514" y="9715"/>
                  </a:lnTo>
                  <a:lnTo>
                    <a:pt x="7629" y="9756"/>
                  </a:lnTo>
                  <a:lnTo>
                    <a:pt x="7743" y="9801"/>
                  </a:lnTo>
                  <a:lnTo>
                    <a:pt x="7855" y="9851"/>
                  </a:lnTo>
                  <a:lnTo>
                    <a:pt x="7967" y="9905"/>
                  </a:lnTo>
                  <a:lnTo>
                    <a:pt x="8077" y="9964"/>
                  </a:lnTo>
                  <a:lnTo>
                    <a:pt x="8186" y="10028"/>
                  </a:lnTo>
                  <a:lnTo>
                    <a:pt x="8294" y="10096"/>
                  </a:lnTo>
                  <a:lnTo>
                    <a:pt x="8401" y="10169"/>
                  </a:lnTo>
                  <a:lnTo>
                    <a:pt x="8506" y="10245"/>
                  </a:lnTo>
                  <a:lnTo>
                    <a:pt x="8611" y="10327"/>
                  </a:lnTo>
                  <a:lnTo>
                    <a:pt x="8713" y="10411"/>
                  </a:lnTo>
                  <a:lnTo>
                    <a:pt x="8815" y="10501"/>
                  </a:lnTo>
                  <a:lnTo>
                    <a:pt x="8915" y="10595"/>
                  </a:lnTo>
                  <a:lnTo>
                    <a:pt x="9013" y="10692"/>
                  </a:lnTo>
                  <a:lnTo>
                    <a:pt x="9110" y="10794"/>
                  </a:lnTo>
                  <a:lnTo>
                    <a:pt x="9205" y="10898"/>
                  </a:lnTo>
                  <a:lnTo>
                    <a:pt x="9299" y="11008"/>
                  </a:lnTo>
                  <a:lnTo>
                    <a:pt x="9391" y="11121"/>
                  </a:lnTo>
                  <a:lnTo>
                    <a:pt x="9481" y="11237"/>
                  </a:lnTo>
                  <a:lnTo>
                    <a:pt x="9570" y="11357"/>
                  </a:lnTo>
                  <a:lnTo>
                    <a:pt x="9657" y="11481"/>
                  </a:lnTo>
                  <a:lnTo>
                    <a:pt x="9741" y="11608"/>
                  </a:lnTo>
                  <a:lnTo>
                    <a:pt x="9825" y="11737"/>
                  </a:lnTo>
                  <a:lnTo>
                    <a:pt x="9905" y="11871"/>
                  </a:lnTo>
                  <a:lnTo>
                    <a:pt x="9985" y="12008"/>
                  </a:lnTo>
                  <a:lnTo>
                    <a:pt x="10061" y="12149"/>
                  </a:lnTo>
                  <a:lnTo>
                    <a:pt x="10137" y="12292"/>
                  </a:lnTo>
                  <a:lnTo>
                    <a:pt x="10150" y="12286"/>
                  </a:lnTo>
                  <a:lnTo>
                    <a:pt x="10205" y="12386"/>
                  </a:lnTo>
                  <a:lnTo>
                    <a:pt x="10262" y="12486"/>
                  </a:lnTo>
                  <a:lnTo>
                    <a:pt x="10320" y="12581"/>
                  </a:lnTo>
                  <a:lnTo>
                    <a:pt x="10379" y="12676"/>
                  </a:lnTo>
                  <a:lnTo>
                    <a:pt x="10440" y="12767"/>
                  </a:lnTo>
                  <a:lnTo>
                    <a:pt x="10502" y="12856"/>
                  </a:lnTo>
                  <a:lnTo>
                    <a:pt x="10565" y="12942"/>
                  </a:lnTo>
                  <a:lnTo>
                    <a:pt x="10630" y="13026"/>
                  </a:lnTo>
                  <a:lnTo>
                    <a:pt x="10696" y="13107"/>
                  </a:lnTo>
                  <a:lnTo>
                    <a:pt x="10763" y="13186"/>
                  </a:lnTo>
                  <a:lnTo>
                    <a:pt x="10832" y="13261"/>
                  </a:lnTo>
                  <a:lnTo>
                    <a:pt x="10901" y="13334"/>
                  </a:lnTo>
                  <a:lnTo>
                    <a:pt x="10973" y="13403"/>
                  </a:lnTo>
                  <a:lnTo>
                    <a:pt x="11045" y="13470"/>
                  </a:lnTo>
                  <a:lnTo>
                    <a:pt x="11119" y="13533"/>
                  </a:lnTo>
                  <a:lnTo>
                    <a:pt x="11194" y="13593"/>
                  </a:lnTo>
                  <a:lnTo>
                    <a:pt x="11271" y="13651"/>
                  </a:lnTo>
                  <a:lnTo>
                    <a:pt x="11348" y="13704"/>
                  </a:lnTo>
                  <a:lnTo>
                    <a:pt x="11427" y="13755"/>
                  </a:lnTo>
                  <a:lnTo>
                    <a:pt x="11508" y="13801"/>
                  </a:lnTo>
                  <a:lnTo>
                    <a:pt x="11589" y="13846"/>
                  </a:lnTo>
                  <a:lnTo>
                    <a:pt x="11672" y="13886"/>
                  </a:lnTo>
                  <a:lnTo>
                    <a:pt x="11756" y="13922"/>
                  </a:lnTo>
                  <a:lnTo>
                    <a:pt x="11842" y="13955"/>
                  </a:lnTo>
                  <a:lnTo>
                    <a:pt x="11929" y="13986"/>
                  </a:lnTo>
                  <a:lnTo>
                    <a:pt x="12017" y="14011"/>
                  </a:lnTo>
                  <a:lnTo>
                    <a:pt x="12106" y="14033"/>
                  </a:lnTo>
                  <a:lnTo>
                    <a:pt x="12198" y="14051"/>
                  </a:lnTo>
                  <a:lnTo>
                    <a:pt x="12290" y="14065"/>
                  </a:lnTo>
                  <a:lnTo>
                    <a:pt x="12383" y="14075"/>
                  </a:lnTo>
                  <a:lnTo>
                    <a:pt x="12478" y="14081"/>
                  </a:lnTo>
                  <a:lnTo>
                    <a:pt x="12574" y="14083"/>
                  </a:lnTo>
                  <a:lnTo>
                    <a:pt x="12787" y="14073"/>
                  </a:lnTo>
                  <a:lnTo>
                    <a:pt x="12995" y="14043"/>
                  </a:lnTo>
                  <a:lnTo>
                    <a:pt x="13195" y="13993"/>
                  </a:lnTo>
                  <a:lnTo>
                    <a:pt x="13389" y="13924"/>
                  </a:lnTo>
                  <a:lnTo>
                    <a:pt x="13576" y="13838"/>
                  </a:lnTo>
                  <a:lnTo>
                    <a:pt x="13757" y="13733"/>
                  </a:lnTo>
                  <a:lnTo>
                    <a:pt x="13932" y="13612"/>
                  </a:lnTo>
                  <a:lnTo>
                    <a:pt x="14099" y="13475"/>
                  </a:lnTo>
                  <a:lnTo>
                    <a:pt x="14260" y="13323"/>
                  </a:lnTo>
                  <a:lnTo>
                    <a:pt x="14415" y="13155"/>
                  </a:lnTo>
                  <a:lnTo>
                    <a:pt x="14563" y="12973"/>
                  </a:lnTo>
                  <a:lnTo>
                    <a:pt x="14704" y="12777"/>
                  </a:lnTo>
                  <a:lnTo>
                    <a:pt x="14839" y="12569"/>
                  </a:lnTo>
                  <a:lnTo>
                    <a:pt x="14966" y="12349"/>
                  </a:lnTo>
                  <a:lnTo>
                    <a:pt x="15087" y="12118"/>
                  </a:lnTo>
                  <a:lnTo>
                    <a:pt x="15202" y="11874"/>
                  </a:lnTo>
                  <a:lnTo>
                    <a:pt x="15309" y="11622"/>
                  </a:lnTo>
                  <a:lnTo>
                    <a:pt x="15410" y="11359"/>
                  </a:lnTo>
                  <a:lnTo>
                    <a:pt x="15504" y="11087"/>
                  </a:lnTo>
                  <a:lnTo>
                    <a:pt x="15590" y="10807"/>
                  </a:lnTo>
                  <a:lnTo>
                    <a:pt x="15670" y="10520"/>
                  </a:lnTo>
                  <a:lnTo>
                    <a:pt x="15744" y="10225"/>
                  </a:lnTo>
                  <a:lnTo>
                    <a:pt x="15810" y="9925"/>
                  </a:lnTo>
                  <a:lnTo>
                    <a:pt x="15870" y="9618"/>
                  </a:lnTo>
                  <a:lnTo>
                    <a:pt x="15923" y="9307"/>
                  </a:lnTo>
                  <a:lnTo>
                    <a:pt x="15968" y="8991"/>
                  </a:lnTo>
                  <a:lnTo>
                    <a:pt x="16006" y="8671"/>
                  </a:lnTo>
                  <a:lnTo>
                    <a:pt x="16039" y="8349"/>
                  </a:lnTo>
                  <a:lnTo>
                    <a:pt x="16063" y="8024"/>
                  </a:lnTo>
                  <a:lnTo>
                    <a:pt x="16081" y="7697"/>
                  </a:lnTo>
                  <a:lnTo>
                    <a:pt x="16091" y="7369"/>
                  </a:lnTo>
                  <a:lnTo>
                    <a:pt x="16095" y="7042"/>
                  </a:lnTo>
                  <a:lnTo>
                    <a:pt x="16091" y="6714"/>
                  </a:lnTo>
                  <a:lnTo>
                    <a:pt x="16081" y="6386"/>
                  </a:lnTo>
                  <a:lnTo>
                    <a:pt x="16063" y="6060"/>
                  </a:lnTo>
                  <a:lnTo>
                    <a:pt x="16039" y="5735"/>
                  </a:lnTo>
                  <a:lnTo>
                    <a:pt x="16006" y="5412"/>
                  </a:lnTo>
                  <a:lnTo>
                    <a:pt x="15968" y="5092"/>
                  </a:lnTo>
                  <a:lnTo>
                    <a:pt x="15923" y="4776"/>
                  </a:lnTo>
                  <a:lnTo>
                    <a:pt x="15870" y="4465"/>
                  </a:lnTo>
                  <a:lnTo>
                    <a:pt x="15810" y="4159"/>
                  </a:lnTo>
                  <a:lnTo>
                    <a:pt x="15744" y="3858"/>
                  </a:lnTo>
                  <a:lnTo>
                    <a:pt x="15670" y="3563"/>
                  </a:lnTo>
                  <a:lnTo>
                    <a:pt x="15590" y="3276"/>
                  </a:lnTo>
                  <a:lnTo>
                    <a:pt x="15504" y="2996"/>
                  </a:lnTo>
                  <a:lnTo>
                    <a:pt x="15410" y="2724"/>
                  </a:lnTo>
                  <a:lnTo>
                    <a:pt x="15309" y="2462"/>
                  </a:lnTo>
                  <a:lnTo>
                    <a:pt x="15202" y="2209"/>
                  </a:lnTo>
                  <a:lnTo>
                    <a:pt x="15087" y="1966"/>
                  </a:lnTo>
                  <a:lnTo>
                    <a:pt x="14966" y="1734"/>
                  </a:lnTo>
                  <a:lnTo>
                    <a:pt x="14839" y="1514"/>
                  </a:lnTo>
                  <a:lnTo>
                    <a:pt x="14704" y="1306"/>
                  </a:lnTo>
                  <a:lnTo>
                    <a:pt x="14563" y="1111"/>
                  </a:lnTo>
                  <a:lnTo>
                    <a:pt x="14415" y="928"/>
                  </a:lnTo>
                  <a:lnTo>
                    <a:pt x="14260" y="760"/>
                  </a:lnTo>
                  <a:lnTo>
                    <a:pt x="14099" y="609"/>
                  </a:lnTo>
                  <a:lnTo>
                    <a:pt x="13932" y="471"/>
                  </a:lnTo>
                  <a:lnTo>
                    <a:pt x="13757" y="350"/>
                  </a:lnTo>
                  <a:lnTo>
                    <a:pt x="13576" y="245"/>
                  </a:lnTo>
                  <a:lnTo>
                    <a:pt x="13389" y="159"/>
                  </a:lnTo>
                  <a:lnTo>
                    <a:pt x="13195" y="91"/>
                  </a:lnTo>
                  <a:lnTo>
                    <a:pt x="12995" y="40"/>
                  </a:lnTo>
                  <a:lnTo>
                    <a:pt x="12787" y="10"/>
                  </a:lnTo>
                  <a:lnTo>
                    <a:pt x="1257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11" name="ísļïḑé">
              <a:extLst>
                <a:ext uri="{FF2B5EF4-FFF2-40B4-BE49-F238E27FC236}">
                  <a16:creationId xmlns:a16="http://schemas.microsoft.com/office/drawing/2014/main" id="{1CE96EEC-12F9-4F4E-BF0F-2D303A22BADD}"/>
                </a:ext>
              </a:extLst>
            </p:cNvPr>
            <p:cNvSpPr/>
            <p:nvPr/>
          </p:nvSpPr>
          <p:spPr bwMode="auto">
            <a:xfrm>
              <a:off x="8465445" y="447647"/>
              <a:ext cx="231062" cy="231062"/>
            </a:xfrm>
            <a:custGeom>
              <a:avLst/>
              <a:gdLst>
                <a:gd name="T0" fmla="*/ 15044 w 16095"/>
                <a:gd name="T1" fmla="*/ 14382 h 16095"/>
                <a:gd name="T2" fmla="*/ 14889 w 16095"/>
                <a:gd name="T3" fmla="*/ 14685 h 16095"/>
                <a:gd name="T4" fmla="*/ 14645 w 16095"/>
                <a:gd name="T5" fmla="*/ 14917 h 16095"/>
                <a:gd name="T6" fmla="*/ 14335 w 16095"/>
                <a:gd name="T7" fmla="*/ 15057 h 16095"/>
                <a:gd name="T8" fmla="*/ 1961 w 16095"/>
                <a:gd name="T9" fmla="*/ 15088 h 16095"/>
                <a:gd name="T10" fmla="*/ 1621 w 16095"/>
                <a:gd name="T11" fmla="*/ 15010 h 16095"/>
                <a:gd name="T12" fmla="*/ 1336 w 16095"/>
                <a:gd name="T13" fmla="*/ 14828 h 16095"/>
                <a:gd name="T14" fmla="*/ 1128 w 16095"/>
                <a:gd name="T15" fmla="*/ 14562 h 16095"/>
                <a:gd name="T16" fmla="*/ 1017 w 16095"/>
                <a:gd name="T17" fmla="*/ 14236 h 16095"/>
                <a:gd name="T18" fmla="*/ 1012 w 16095"/>
                <a:gd name="T19" fmla="*/ 3947 h 16095"/>
                <a:gd name="T20" fmla="*/ 1066 w 16095"/>
                <a:gd name="T21" fmla="*/ 3784 h 16095"/>
                <a:gd name="T22" fmla="*/ 1171 w 16095"/>
                <a:gd name="T23" fmla="*/ 3652 h 16095"/>
                <a:gd name="T24" fmla="*/ 1313 w 16095"/>
                <a:gd name="T25" fmla="*/ 3560 h 16095"/>
                <a:gd name="T26" fmla="*/ 1483 w 16095"/>
                <a:gd name="T27" fmla="*/ 3522 h 16095"/>
                <a:gd name="T28" fmla="*/ 2022 w 16095"/>
                <a:gd name="T29" fmla="*/ 13682 h 16095"/>
                <a:gd name="T30" fmla="*/ 2084 w 16095"/>
                <a:gd name="T31" fmla="*/ 13841 h 16095"/>
                <a:gd name="T32" fmla="*/ 2195 w 16095"/>
                <a:gd name="T33" fmla="*/ 13968 h 16095"/>
                <a:gd name="T34" fmla="*/ 2342 w 16095"/>
                <a:gd name="T35" fmla="*/ 14053 h 16095"/>
                <a:gd name="T36" fmla="*/ 2515 w 16095"/>
                <a:gd name="T37" fmla="*/ 14083 h 16095"/>
                <a:gd name="T38" fmla="*/ 2688 w 16095"/>
                <a:gd name="T39" fmla="*/ 14053 h 16095"/>
                <a:gd name="T40" fmla="*/ 2835 w 16095"/>
                <a:gd name="T41" fmla="*/ 13968 h 16095"/>
                <a:gd name="T42" fmla="*/ 2945 w 16095"/>
                <a:gd name="T43" fmla="*/ 13841 h 16095"/>
                <a:gd name="T44" fmla="*/ 3008 w 16095"/>
                <a:gd name="T45" fmla="*/ 13682 h 16095"/>
                <a:gd name="T46" fmla="*/ 3021 w 16095"/>
                <a:gd name="T47" fmla="*/ 1458 h 16095"/>
                <a:gd name="T48" fmla="*/ 3067 w 16095"/>
                <a:gd name="T49" fmla="*/ 1291 h 16095"/>
                <a:gd name="T50" fmla="*/ 3166 w 16095"/>
                <a:gd name="T51" fmla="*/ 1154 h 16095"/>
                <a:gd name="T52" fmla="*/ 3302 w 16095"/>
                <a:gd name="T53" fmla="*/ 1055 h 16095"/>
                <a:gd name="T54" fmla="*/ 3469 w 16095"/>
                <a:gd name="T55" fmla="*/ 1009 h 16095"/>
                <a:gd name="T56" fmla="*/ 14688 w 16095"/>
                <a:gd name="T57" fmla="*/ 1016 h 16095"/>
                <a:gd name="T58" fmla="*/ 14847 w 16095"/>
                <a:gd name="T59" fmla="*/ 1079 h 16095"/>
                <a:gd name="T60" fmla="*/ 14974 w 16095"/>
                <a:gd name="T61" fmla="*/ 1189 h 16095"/>
                <a:gd name="T62" fmla="*/ 15059 w 16095"/>
                <a:gd name="T63" fmla="*/ 1336 h 16095"/>
                <a:gd name="T64" fmla="*/ 15089 w 16095"/>
                <a:gd name="T65" fmla="*/ 1509 h 16095"/>
                <a:gd name="T66" fmla="*/ 3217 w 16095"/>
                <a:gd name="T67" fmla="*/ 30 h 16095"/>
                <a:gd name="T68" fmla="*/ 2738 w 16095"/>
                <a:gd name="T69" fmla="*/ 218 h 16095"/>
                <a:gd name="T70" fmla="*/ 2356 w 16095"/>
                <a:gd name="T71" fmla="*/ 549 h 16095"/>
                <a:gd name="T72" fmla="*/ 2103 w 16095"/>
                <a:gd name="T73" fmla="*/ 990 h 16095"/>
                <a:gd name="T74" fmla="*/ 2012 w 16095"/>
                <a:gd name="T75" fmla="*/ 1509 h 16095"/>
                <a:gd name="T76" fmla="*/ 1132 w 16095"/>
                <a:gd name="T77" fmla="*/ 2562 h 16095"/>
                <a:gd name="T78" fmla="*/ 665 w 16095"/>
                <a:gd name="T79" fmla="*/ 2772 h 16095"/>
                <a:gd name="T80" fmla="*/ 300 w 16095"/>
                <a:gd name="T81" fmla="*/ 3120 h 16095"/>
                <a:gd name="T82" fmla="*/ 67 w 16095"/>
                <a:gd name="T83" fmla="*/ 3575 h 16095"/>
                <a:gd name="T84" fmla="*/ 0 w 16095"/>
                <a:gd name="T85" fmla="*/ 14083 h 16095"/>
                <a:gd name="T86" fmla="*/ 122 w 16095"/>
                <a:gd name="T87" fmla="*/ 14775 h 16095"/>
                <a:gd name="T88" fmla="*/ 460 w 16095"/>
                <a:gd name="T89" fmla="*/ 15363 h 16095"/>
                <a:gd name="T90" fmla="*/ 969 w 16095"/>
                <a:gd name="T91" fmla="*/ 15803 h 16095"/>
                <a:gd name="T92" fmla="*/ 1606 w 16095"/>
                <a:gd name="T93" fmla="*/ 16054 h 16095"/>
                <a:gd name="T94" fmla="*/ 14289 w 16095"/>
                <a:gd name="T95" fmla="*/ 16085 h 16095"/>
                <a:gd name="T96" fmla="*/ 14955 w 16095"/>
                <a:gd name="T97" fmla="*/ 15897 h 16095"/>
                <a:gd name="T98" fmla="*/ 15506 w 16095"/>
                <a:gd name="T99" fmla="*/ 15506 h 16095"/>
                <a:gd name="T100" fmla="*/ 15897 w 16095"/>
                <a:gd name="T101" fmla="*/ 14955 h 16095"/>
                <a:gd name="T102" fmla="*/ 16085 w 16095"/>
                <a:gd name="T103" fmla="*/ 14289 h 16095"/>
                <a:gd name="T104" fmla="*/ 16065 w 16095"/>
                <a:gd name="T105" fmla="*/ 1204 h 16095"/>
                <a:gd name="T106" fmla="*/ 15877 w 16095"/>
                <a:gd name="T107" fmla="*/ 726 h 16095"/>
                <a:gd name="T108" fmla="*/ 15546 w 16095"/>
                <a:gd name="T109" fmla="*/ 344 h 16095"/>
                <a:gd name="T110" fmla="*/ 15105 w 16095"/>
                <a:gd name="T111" fmla="*/ 92 h 16095"/>
                <a:gd name="T112" fmla="*/ 14586 w 16095"/>
                <a:gd name="T113" fmla="*/ 0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6095">
                  <a:moveTo>
                    <a:pt x="15089" y="14083"/>
                  </a:moveTo>
                  <a:lnTo>
                    <a:pt x="15088" y="14134"/>
                  </a:lnTo>
                  <a:lnTo>
                    <a:pt x="15084" y="14186"/>
                  </a:lnTo>
                  <a:lnTo>
                    <a:pt x="15077" y="14236"/>
                  </a:lnTo>
                  <a:lnTo>
                    <a:pt x="15069" y="14285"/>
                  </a:lnTo>
                  <a:lnTo>
                    <a:pt x="15057" y="14334"/>
                  </a:lnTo>
                  <a:lnTo>
                    <a:pt x="15044" y="14382"/>
                  </a:lnTo>
                  <a:lnTo>
                    <a:pt x="15028" y="14428"/>
                  </a:lnTo>
                  <a:lnTo>
                    <a:pt x="15010" y="14474"/>
                  </a:lnTo>
                  <a:lnTo>
                    <a:pt x="14989" y="14519"/>
                  </a:lnTo>
                  <a:lnTo>
                    <a:pt x="14967" y="14562"/>
                  </a:lnTo>
                  <a:lnTo>
                    <a:pt x="14943" y="14604"/>
                  </a:lnTo>
                  <a:lnTo>
                    <a:pt x="14917" y="14645"/>
                  </a:lnTo>
                  <a:lnTo>
                    <a:pt x="14889" y="14685"/>
                  </a:lnTo>
                  <a:lnTo>
                    <a:pt x="14859" y="14723"/>
                  </a:lnTo>
                  <a:lnTo>
                    <a:pt x="14828" y="14759"/>
                  </a:lnTo>
                  <a:lnTo>
                    <a:pt x="14794" y="14794"/>
                  </a:lnTo>
                  <a:lnTo>
                    <a:pt x="14759" y="14828"/>
                  </a:lnTo>
                  <a:lnTo>
                    <a:pt x="14723" y="14859"/>
                  </a:lnTo>
                  <a:lnTo>
                    <a:pt x="14685" y="14889"/>
                  </a:lnTo>
                  <a:lnTo>
                    <a:pt x="14645" y="14917"/>
                  </a:lnTo>
                  <a:lnTo>
                    <a:pt x="14604" y="14943"/>
                  </a:lnTo>
                  <a:lnTo>
                    <a:pt x="14562" y="14967"/>
                  </a:lnTo>
                  <a:lnTo>
                    <a:pt x="14519" y="14989"/>
                  </a:lnTo>
                  <a:lnTo>
                    <a:pt x="14474" y="15010"/>
                  </a:lnTo>
                  <a:lnTo>
                    <a:pt x="14429" y="15028"/>
                  </a:lnTo>
                  <a:lnTo>
                    <a:pt x="14382" y="15044"/>
                  </a:lnTo>
                  <a:lnTo>
                    <a:pt x="14335" y="15057"/>
                  </a:lnTo>
                  <a:lnTo>
                    <a:pt x="14285" y="15069"/>
                  </a:lnTo>
                  <a:lnTo>
                    <a:pt x="14236" y="15077"/>
                  </a:lnTo>
                  <a:lnTo>
                    <a:pt x="14186" y="15084"/>
                  </a:lnTo>
                  <a:lnTo>
                    <a:pt x="14134" y="15088"/>
                  </a:lnTo>
                  <a:lnTo>
                    <a:pt x="14083" y="15089"/>
                  </a:lnTo>
                  <a:lnTo>
                    <a:pt x="2012" y="15089"/>
                  </a:lnTo>
                  <a:lnTo>
                    <a:pt x="1961" y="15088"/>
                  </a:lnTo>
                  <a:lnTo>
                    <a:pt x="1909" y="15084"/>
                  </a:lnTo>
                  <a:lnTo>
                    <a:pt x="1859" y="15077"/>
                  </a:lnTo>
                  <a:lnTo>
                    <a:pt x="1810" y="15069"/>
                  </a:lnTo>
                  <a:lnTo>
                    <a:pt x="1760" y="15057"/>
                  </a:lnTo>
                  <a:lnTo>
                    <a:pt x="1713" y="15044"/>
                  </a:lnTo>
                  <a:lnTo>
                    <a:pt x="1666" y="15028"/>
                  </a:lnTo>
                  <a:lnTo>
                    <a:pt x="1621" y="15010"/>
                  </a:lnTo>
                  <a:lnTo>
                    <a:pt x="1576" y="14989"/>
                  </a:lnTo>
                  <a:lnTo>
                    <a:pt x="1533" y="14967"/>
                  </a:lnTo>
                  <a:lnTo>
                    <a:pt x="1491" y="14943"/>
                  </a:lnTo>
                  <a:lnTo>
                    <a:pt x="1450" y="14917"/>
                  </a:lnTo>
                  <a:lnTo>
                    <a:pt x="1410" y="14889"/>
                  </a:lnTo>
                  <a:lnTo>
                    <a:pt x="1372" y="14859"/>
                  </a:lnTo>
                  <a:lnTo>
                    <a:pt x="1336" y="14828"/>
                  </a:lnTo>
                  <a:lnTo>
                    <a:pt x="1301" y="14794"/>
                  </a:lnTo>
                  <a:lnTo>
                    <a:pt x="1267" y="14759"/>
                  </a:lnTo>
                  <a:lnTo>
                    <a:pt x="1236" y="14723"/>
                  </a:lnTo>
                  <a:lnTo>
                    <a:pt x="1206" y="14685"/>
                  </a:lnTo>
                  <a:lnTo>
                    <a:pt x="1178" y="14645"/>
                  </a:lnTo>
                  <a:lnTo>
                    <a:pt x="1152" y="14604"/>
                  </a:lnTo>
                  <a:lnTo>
                    <a:pt x="1128" y="14562"/>
                  </a:lnTo>
                  <a:lnTo>
                    <a:pt x="1106" y="14519"/>
                  </a:lnTo>
                  <a:lnTo>
                    <a:pt x="1085" y="14474"/>
                  </a:lnTo>
                  <a:lnTo>
                    <a:pt x="1067" y="14428"/>
                  </a:lnTo>
                  <a:lnTo>
                    <a:pt x="1051" y="14382"/>
                  </a:lnTo>
                  <a:lnTo>
                    <a:pt x="1037" y="14334"/>
                  </a:lnTo>
                  <a:lnTo>
                    <a:pt x="1026" y="14285"/>
                  </a:lnTo>
                  <a:lnTo>
                    <a:pt x="1017" y="14236"/>
                  </a:lnTo>
                  <a:lnTo>
                    <a:pt x="1011" y="14186"/>
                  </a:lnTo>
                  <a:lnTo>
                    <a:pt x="1007" y="14134"/>
                  </a:lnTo>
                  <a:lnTo>
                    <a:pt x="1006" y="14083"/>
                  </a:lnTo>
                  <a:lnTo>
                    <a:pt x="1006" y="4024"/>
                  </a:lnTo>
                  <a:lnTo>
                    <a:pt x="1007" y="3998"/>
                  </a:lnTo>
                  <a:lnTo>
                    <a:pt x="1009" y="3972"/>
                  </a:lnTo>
                  <a:lnTo>
                    <a:pt x="1012" y="3947"/>
                  </a:lnTo>
                  <a:lnTo>
                    <a:pt x="1016" y="3922"/>
                  </a:lnTo>
                  <a:lnTo>
                    <a:pt x="1022" y="3898"/>
                  </a:lnTo>
                  <a:lnTo>
                    <a:pt x="1028" y="3874"/>
                  </a:lnTo>
                  <a:lnTo>
                    <a:pt x="1036" y="3851"/>
                  </a:lnTo>
                  <a:lnTo>
                    <a:pt x="1045" y="3828"/>
                  </a:lnTo>
                  <a:lnTo>
                    <a:pt x="1055" y="3805"/>
                  </a:lnTo>
                  <a:lnTo>
                    <a:pt x="1066" y="3784"/>
                  </a:lnTo>
                  <a:lnTo>
                    <a:pt x="1078" y="3763"/>
                  </a:lnTo>
                  <a:lnTo>
                    <a:pt x="1091" y="3743"/>
                  </a:lnTo>
                  <a:lnTo>
                    <a:pt x="1106" y="3723"/>
                  </a:lnTo>
                  <a:lnTo>
                    <a:pt x="1121" y="3704"/>
                  </a:lnTo>
                  <a:lnTo>
                    <a:pt x="1137" y="3686"/>
                  </a:lnTo>
                  <a:lnTo>
                    <a:pt x="1153" y="3669"/>
                  </a:lnTo>
                  <a:lnTo>
                    <a:pt x="1171" y="3652"/>
                  </a:lnTo>
                  <a:lnTo>
                    <a:pt x="1189" y="3635"/>
                  </a:lnTo>
                  <a:lnTo>
                    <a:pt x="1208" y="3620"/>
                  </a:lnTo>
                  <a:lnTo>
                    <a:pt x="1227" y="3606"/>
                  </a:lnTo>
                  <a:lnTo>
                    <a:pt x="1248" y="3593"/>
                  </a:lnTo>
                  <a:lnTo>
                    <a:pt x="1269" y="3581"/>
                  </a:lnTo>
                  <a:lnTo>
                    <a:pt x="1291" y="3570"/>
                  </a:lnTo>
                  <a:lnTo>
                    <a:pt x="1313" y="3560"/>
                  </a:lnTo>
                  <a:lnTo>
                    <a:pt x="1336" y="3551"/>
                  </a:lnTo>
                  <a:lnTo>
                    <a:pt x="1359" y="3544"/>
                  </a:lnTo>
                  <a:lnTo>
                    <a:pt x="1383" y="3537"/>
                  </a:lnTo>
                  <a:lnTo>
                    <a:pt x="1407" y="3531"/>
                  </a:lnTo>
                  <a:lnTo>
                    <a:pt x="1432" y="3527"/>
                  </a:lnTo>
                  <a:lnTo>
                    <a:pt x="1458" y="3524"/>
                  </a:lnTo>
                  <a:lnTo>
                    <a:pt x="1483" y="3522"/>
                  </a:lnTo>
                  <a:lnTo>
                    <a:pt x="1509" y="3521"/>
                  </a:lnTo>
                  <a:lnTo>
                    <a:pt x="2012" y="3521"/>
                  </a:lnTo>
                  <a:lnTo>
                    <a:pt x="2012" y="13580"/>
                  </a:lnTo>
                  <a:lnTo>
                    <a:pt x="2013" y="13606"/>
                  </a:lnTo>
                  <a:lnTo>
                    <a:pt x="2015" y="13631"/>
                  </a:lnTo>
                  <a:lnTo>
                    <a:pt x="2018" y="13657"/>
                  </a:lnTo>
                  <a:lnTo>
                    <a:pt x="2022" y="13682"/>
                  </a:lnTo>
                  <a:lnTo>
                    <a:pt x="2028" y="13706"/>
                  </a:lnTo>
                  <a:lnTo>
                    <a:pt x="2034" y="13730"/>
                  </a:lnTo>
                  <a:lnTo>
                    <a:pt x="2042" y="13753"/>
                  </a:lnTo>
                  <a:lnTo>
                    <a:pt x="2051" y="13776"/>
                  </a:lnTo>
                  <a:lnTo>
                    <a:pt x="2061" y="13798"/>
                  </a:lnTo>
                  <a:lnTo>
                    <a:pt x="2072" y="13821"/>
                  </a:lnTo>
                  <a:lnTo>
                    <a:pt x="2084" y="13841"/>
                  </a:lnTo>
                  <a:lnTo>
                    <a:pt x="2097" y="13862"/>
                  </a:lnTo>
                  <a:lnTo>
                    <a:pt x="2111" y="13881"/>
                  </a:lnTo>
                  <a:lnTo>
                    <a:pt x="2127" y="13900"/>
                  </a:lnTo>
                  <a:lnTo>
                    <a:pt x="2143" y="13918"/>
                  </a:lnTo>
                  <a:lnTo>
                    <a:pt x="2159" y="13936"/>
                  </a:lnTo>
                  <a:lnTo>
                    <a:pt x="2177" y="13952"/>
                  </a:lnTo>
                  <a:lnTo>
                    <a:pt x="2195" y="13968"/>
                  </a:lnTo>
                  <a:lnTo>
                    <a:pt x="2214" y="13984"/>
                  </a:lnTo>
                  <a:lnTo>
                    <a:pt x="2233" y="13998"/>
                  </a:lnTo>
                  <a:lnTo>
                    <a:pt x="2254" y="14011"/>
                  </a:lnTo>
                  <a:lnTo>
                    <a:pt x="2275" y="14023"/>
                  </a:lnTo>
                  <a:lnTo>
                    <a:pt x="2297" y="14034"/>
                  </a:lnTo>
                  <a:lnTo>
                    <a:pt x="2319" y="14044"/>
                  </a:lnTo>
                  <a:lnTo>
                    <a:pt x="2342" y="14053"/>
                  </a:lnTo>
                  <a:lnTo>
                    <a:pt x="2365" y="14061"/>
                  </a:lnTo>
                  <a:lnTo>
                    <a:pt x="2389" y="14067"/>
                  </a:lnTo>
                  <a:lnTo>
                    <a:pt x="2413" y="14073"/>
                  </a:lnTo>
                  <a:lnTo>
                    <a:pt x="2438" y="14077"/>
                  </a:lnTo>
                  <a:lnTo>
                    <a:pt x="2464" y="14080"/>
                  </a:lnTo>
                  <a:lnTo>
                    <a:pt x="2489" y="14082"/>
                  </a:lnTo>
                  <a:lnTo>
                    <a:pt x="2515" y="14083"/>
                  </a:lnTo>
                  <a:lnTo>
                    <a:pt x="2541" y="14082"/>
                  </a:lnTo>
                  <a:lnTo>
                    <a:pt x="2566" y="14080"/>
                  </a:lnTo>
                  <a:lnTo>
                    <a:pt x="2591" y="14077"/>
                  </a:lnTo>
                  <a:lnTo>
                    <a:pt x="2616" y="14073"/>
                  </a:lnTo>
                  <a:lnTo>
                    <a:pt x="2641" y="14067"/>
                  </a:lnTo>
                  <a:lnTo>
                    <a:pt x="2665" y="14061"/>
                  </a:lnTo>
                  <a:lnTo>
                    <a:pt x="2688" y="14053"/>
                  </a:lnTo>
                  <a:lnTo>
                    <a:pt x="2711" y="14044"/>
                  </a:lnTo>
                  <a:lnTo>
                    <a:pt x="2733" y="14034"/>
                  </a:lnTo>
                  <a:lnTo>
                    <a:pt x="2755" y="14023"/>
                  </a:lnTo>
                  <a:lnTo>
                    <a:pt x="2775" y="14011"/>
                  </a:lnTo>
                  <a:lnTo>
                    <a:pt x="2797" y="13998"/>
                  </a:lnTo>
                  <a:lnTo>
                    <a:pt x="2816" y="13984"/>
                  </a:lnTo>
                  <a:lnTo>
                    <a:pt x="2835" y="13968"/>
                  </a:lnTo>
                  <a:lnTo>
                    <a:pt x="2853" y="13952"/>
                  </a:lnTo>
                  <a:lnTo>
                    <a:pt x="2871" y="13936"/>
                  </a:lnTo>
                  <a:lnTo>
                    <a:pt x="2887" y="13918"/>
                  </a:lnTo>
                  <a:lnTo>
                    <a:pt x="2903" y="13900"/>
                  </a:lnTo>
                  <a:lnTo>
                    <a:pt x="2918" y="13881"/>
                  </a:lnTo>
                  <a:lnTo>
                    <a:pt x="2932" y="13862"/>
                  </a:lnTo>
                  <a:lnTo>
                    <a:pt x="2945" y="13841"/>
                  </a:lnTo>
                  <a:lnTo>
                    <a:pt x="2957" y="13821"/>
                  </a:lnTo>
                  <a:lnTo>
                    <a:pt x="2969" y="13798"/>
                  </a:lnTo>
                  <a:lnTo>
                    <a:pt x="2979" y="13776"/>
                  </a:lnTo>
                  <a:lnTo>
                    <a:pt x="2988" y="13753"/>
                  </a:lnTo>
                  <a:lnTo>
                    <a:pt x="2996" y="13730"/>
                  </a:lnTo>
                  <a:lnTo>
                    <a:pt x="3002" y="13706"/>
                  </a:lnTo>
                  <a:lnTo>
                    <a:pt x="3008" y="13682"/>
                  </a:lnTo>
                  <a:lnTo>
                    <a:pt x="3012" y="13657"/>
                  </a:lnTo>
                  <a:lnTo>
                    <a:pt x="3015" y="13631"/>
                  </a:lnTo>
                  <a:lnTo>
                    <a:pt x="3017" y="13606"/>
                  </a:lnTo>
                  <a:lnTo>
                    <a:pt x="3018" y="13580"/>
                  </a:lnTo>
                  <a:lnTo>
                    <a:pt x="3018" y="1509"/>
                  </a:lnTo>
                  <a:lnTo>
                    <a:pt x="3019" y="1483"/>
                  </a:lnTo>
                  <a:lnTo>
                    <a:pt x="3021" y="1458"/>
                  </a:lnTo>
                  <a:lnTo>
                    <a:pt x="3024" y="1432"/>
                  </a:lnTo>
                  <a:lnTo>
                    <a:pt x="3028" y="1407"/>
                  </a:lnTo>
                  <a:lnTo>
                    <a:pt x="3034" y="1383"/>
                  </a:lnTo>
                  <a:lnTo>
                    <a:pt x="3041" y="1359"/>
                  </a:lnTo>
                  <a:lnTo>
                    <a:pt x="3048" y="1336"/>
                  </a:lnTo>
                  <a:lnTo>
                    <a:pt x="3057" y="1313"/>
                  </a:lnTo>
                  <a:lnTo>
                    <a:pt x="3067" y="1291"/>
                  </a:lnTo>
                  <a:lnTo>
                    <a:pt x="3078" y="1269"/>
                  </a:lnTo>
                  <a:lnTo>
                    <a:pt x="3090" y="1248"/>
                  </a:lnTo>
                  <a:lnTo>
                    <a:pt x="3103" y="1227"/>
                  </a:lnTo>
                  <a:lnTo>
                    <a:pt x="3117" y="1208"/>
                  </a:lnTo>
                  <a:lnTo>
                    <a:pt x="3132" y="1189"/>
                  </a:lnTo>
                  <a:lnTo>
                    <a:pt x="3149" y="1171"/>
                  </a:lnTo>
                  <a:lnTo>
                    <a:pt x="3166" y="1154"/>
                  </a:lnTo>
                  <a:lnTo>
                    <a:pt x="3183" y="1137"/>
                  </a:lnTo>
                  <a:lnTo>
                    <a:pt x="3201" y="1121"/>
                  </a:lnTo>
                  <a:lnTo>
                    <a:pt x="3220" y="1106"/>
                  </a:lnTo>
                  <a:lnTo>
                    <a:pt x="3240" y="1092"/>
                  </a:lnTo>
                  <a:lnTo>
                    <a:pt x="3260" y="1079"/>
                  </a:lnTo>
                  <a:lnTo>
                    <a:pt x="3281" y="1066"/>
                  </a:lnTo>
                  <a:lnTo>
                    <a:pt x="3302" y="1055"/>
                  </a:lnTo>
                  <a:lnTo>
                    <a:pt x="3325" y="1045"/>
                  </a:lnTo>
                  <a:lnTo>
                    <a:pt x="3348" y="1036"/>
                  </a:lnTo>
                  <a:lnTo>
                    <a:pt x="3371" y="1029"/>
                  </a:lnTo>
                  <a:lnTo>
                    <a:pt x="3395" y="1022"/>
                  </a:lnTo>
                  <a:lnTo>
                    <a:pt x="3419" y="1016"/>
                  </a:lnTo>
                  <a:lnTo>
                    <a:pt x="3444" y="1012"/>
                  </a:lnTo>
                  <a:lnTo>
                    <a:pt x="3469" y="1009"/>
                  </a:lnTo>
                  <a:lnTo>
                    <a:pt x="3495" y="1007"/>
                  </a:lnTo>
                  <a:lnTo>
                    <a:pt x="3521" y="1006"/>
                  </a:lnTo>
                  <a:lnTo>
                    <a:pt x="14586" y="1006"/>
                  </a:lnTo>
                  <a:lnTo>
                    <a:pt x="14612" y="1007"/>
                  </a:lnTo>
                  <a:lnTo>
                    <a:pt x="14637" y="1009"/>
                  </a:lnTo>
                  <a:lnTo>
                    <a:pt x="14663" y="1012"/>
                  </a:lnTo>
                  <a:lnTo>
                    <a:pt x="14688" y="1016"/>
                  </a:lnTo>
                  <a:lnTo>
                    <a:pt x="14712" y="1022"/>
                  </a:lnTo>
                  <a:lnTo>
                    <a:pt x="14736" y="1029"/>
                  </a:lnTo>
                  <a:lnTo>
                    <a:pt x="14759" y="1036"/>
                  </a:lnTo>
                  <a:lnTo>
                    <a:pt x="14782" y="1045"/>
                  </a:lnTo>
                  <a:lnTo>
                    <a:pt x="14804" y="1055"/>
                  </a:lnTo>
                  <a:lnTo>
                    <a:pt x="14826" y="1066"/>
                  </a:lnTo>
                  <a:lnTo>
                    <a:pt x="14847" y="1079"/>
                  </a:lnTo>
                  <a:lnTo>
                    <a:pt x="14867" y="1092"/>
                  </a:lnTo>
                  <a:lnTo>
                    <a:pt x="14887" y="1106"/>
                  </a:lnTo>
                  <a:lnTo>
                    <a:pt x="14906" y="1121"/>
                  </a:lnTo>
                  <a:lnTo>
                    <a:pt x="14924" y="1137"/>
                  </a:lnTo>
                  <a:lnTo>
                    <a:pt x="14942" y="1154"/>
                  </a:lnTo>
                  <a:lnTo>
                    <a:pt x="14958" y="1171"/>
                  </a:lnTo>
                  <a:lnTo>
                    <a:pt x="14974" y="1189"/>
                  </a:lnTo>
                  <a:lnTo>
                    <a:pt x="14989" y="1208"/>
                  </a:lnTo>
                  <a:lnTo>
                    <a:pt x="15004" y="1227"/>
                  </a:lnTo>
                  <a:lnTo>
                    <a:pt x="15017" y="1248"/>
                  </a:lnTo>
                  <a:lnTo>
                    <a:pt x="15029" y="1269"/>
                  </a:lnTo>
                  <a:lnTo>
                    <a:pt x="15040" y="1291"/>
                  </a:lnTo>
                  <a:lnTo>
                    <a:pt x="15050" y="1313"/>
                  </a:lnTo>
                  <a:lnTo>
                    <a:pt x="15059" y="1336"/>
                  </a:lnTo>
                  <a:lnTo>
                    <a:pt x="15066" y="1359"/>
                  </a:lnTo>
                  <a:lnTo>
                    <a:pt x="15073" y="1383"/>
                  </a:lnTo>
                  <a:lnTo>
                    <a:pt x="15079" y="1407"/>
                  </a:lnTo>
                  <a:lnTo>
                    <a:pt x="15083" y="1432"/>
                  </a:lnTo>
                  <a:lnTo>
                    <a:pt x="15086" y="1458"/>
                  </a:lnTo>
                  <a:lnTo>
                    <a:pt x="15088" y="1483"/>
                  </a:lnTo>
                  <a:lnTo>
                    <a:pt x="15089" y="1509"/>
                  </a:lnTo>
                  <a:lnTo>
                    <a:pt x="15089" y="14083"/>
                  </a:lnTo>
                  <a:close/>
                  <a:moveTo>
                    <a:pt x="14586" y="0"/>
                  </a:moveTo>
                  <a:lnTo>
                    <a:pt x="3521" y="0"/>
                  </a:lnTo>
                  <a:lnTo>
                    <a:pt x="3443" y="2"/>
                  </a:lnTo>
                  <a:lnTo>
                    <a:pt x="3367" y="8"/>
                  </a:lnTo>
                  <a:lnTo>
                    <a:pt x="3291" y="17"/>
                  </a:lnTo>
                  <a:lnTo>
                    <a:pt x="3217" y="30"/>
                  </a:lnTo>
                  <a:lnTo>
                    <a:pt x="3144" y="47"/>
                  </a:lnTo>
                  <a:lnTo>
                    <a:pt x="3072" y="67"/>
                  </a:lnTo>
                  <a:lnTo>
                    <a:pt x="3002" y="92"/>
                  </a:lnTo>
                  <a:lnTo>
                    <a:pt x="2933" y="119"/>
                  </a:lnTo>
                  <a:lnTo>
                    <a:pt x="2867" y="149"/>
                  </a:lnTo>
                  <a:lnTo>
                    <a:pt x="2802" y="182"/>
                  </a:lnTo>
                  <a:lnTo>
                    <a:pt x="2738" y="218"/>
                  </a:lnTo>
                  <a:lnTo>
                    <a:pt x="2677" y="258"/>
                  </a:lnTo>
                  <a:lnTo>
                    <a:pt x="2617" y="300"/>
                  </a:lnTo>
                  <a:lnTo>
                    <a:pt x="2561" y="344"/>
                  </a:lnTo>
                  <a:lnTo>
                    <a:pt x="2506" y="391"/>
                  </a:lnTo>
                  <a:lnTo>
                    <a:pt x="2453" y="442"/>
                  </a:lnTo>
                  <a:lnTo>
                    <a:pt x="2404" y="494"/>
                  </a:lnTo>
                  <a:lnTo>
                    <a:pt x="2356" y="549"/>
                  </a:lnTo>
                  <a:lnTo>
                    <a:pt x="2312" y="606"/>
                  </a:lnTo>
                  <a:lnTo>
                    <a:pt x="2269" y="665"/>
                  </a:lnTo>
                  <a:lnTo>
                    <a:pt x="2230" y="726"/>
                  </a:lnTo>
                  <a:lnTo>
                    <a:pt x="2194" y="790"/>
                  </a:lnTo>
                  <a:lnTo>
                    <a:pt x="2161" y="854"/>
                  </a:lnTo>
                  <a:lnTo>
                    <a:pt x="2131" y="921"/>
                  </a:lnTo>
                  <a:lnTo>
                    <a:pt x="2103" y="990"/>
                  </a:lnTo>
                  <a:lnTo>
                    <a:pt x="2079" y="1060"/>
                  </a:lnTo>
                  <a:lnTo>
                    <a:pt x="2059" y="1132"/>
                  </a:lnTo>
                  <a:lnTo>
                    <a:pt x="2042" y="1204"/>
                  </a:lnTo>
                  <a:lnTo>
                    <a:pt x="2029" y="1279"/>
                  </a:lnTo>
                  <a:lnTo>
                    <a:pt x="2020" y="1354"/>
                  </a:lnTo>
                  <a:lnTo>
                    <a:pt x="2014" y="1431"/>
                  </a:lnTo>
                  <a:lnTo>
                    <a:pt x="2012" y="1509"/>
                  </a:lnTo>
                  <a:lnTo>
                    <a:pt x="2012" y="2515"/>
                  </a:lnTo>
                  <a:lnTo>
                    <a:pt x="1509" y="2515"/>
                  </a:lnTo>
                  <a:lnTo>
                    <a:pt x="1431" y="2517"/>
                  </a:lnTo>
                  <a:lnTo>
                    <a:pt x="1355" y="2523"/>
                  </a:lnTo>
                  <a:lnTo>
                    <a:pt x="1280" y="2532"/>
                  </a:lnTo>
                  <a:lnTo>
                    <a:pt x="1205" y="2545"/>
                  </a:lnTo>
                  <a:lnTo>
                    <a:pt x="1132" y="2562"/>
                  </a:lnTo>
                  <a:lnTo>
                    <a:pt x="1060" y="2582"/>
                  </a:lnTo>
                  <a:lnTo>
                    <a:pt x="990" y="2606"/>
                  </a:lnTo>
                  <a:lnTo>
                    <a:pt x="921" y="2634"/>
                  </a:lnTo>
                  <a:lnTo>
                    <a:pt x="855" y="2664"/>
                  </a:lnTo>
                  <a:lnTo>
                    <a:pt x="790" y="2697"/>
                  </a:lnTo>
                  <a:lnTo>
                    <a:pt x="726" y="2733"/>
                  </a:lnTo>
                  <a:lnTo>
                    <a:pt x="665" y="2772"/>
                  </a:lnTo>
                  <a:lnTo>
                    <a:pt x="607" y="2815"/>
                  </a:lnTo>
                  <a:lnTo>
                    <a:pt x="549" y="2859"/>
                  </a:lnTo>
                  <a:lnTo>
                    <a:pt x="494" y="2907"/>
                  </a:lnTo>
                  <a:lnTo>
                    <a:pt x="442" y="2956"/>
                  </a:lnTo>
                  <a:lnTo>
                    <a:pt x="392" y="3009"/>
                  </a:lnTo>
                  <a:lnTo>
                    <a:pt x="345" y="3064"/>
                  </a:lnTo>
                  <a:lnTo>
                    <a:pt x="300" y="3120"/>
                  </a:lnTo>
                  <a:lnTo>
                    <a:pt x="258" y="3180"/>
                  </a:lnTo>
                  <a:lnTo>
                    <a:pt x="218" y="3241"/>
                  </a:lnTo>
                  <a:lnTo>
                    <a:pt x="182" y="3305"/>
                  </a:lnTo>
                  <a:lnTo>
                    <a:pt x="149" y="3369"/>
                  </a:lnTo>
                  <a:lnTo>
                    <a:pt x="119" y="3436"/>
                  </a:lnTo>
                  <a:lnTo>
                    <a:pt x="92" y="3505"/>
                  </a:lnTo>
                  <a:lnTo>
                    <a:pt x="67" y="3575"/>
                  </a:lnTo>
                  <a:lnTo>
                    <a:pt x="47" y="3647"/>
                  </a:lnTo>
                  <a:lnTo>
                    <a:pt x="30" y="3720"/>
                  </a:lnTo>
                  <a:lnTo>
                    <a:pt x="17" y="3793"/>
                  </a:lnTo>
                  <a:lnTo>
                    <a:pt x="8" y="3869"/>
                  </a:lnTo>
                  <a:lnTo>
                    <a:pt x="2" y="3946"/>
                  </a:lnTo>
                  <a:lnTo>
                    <a:pt x="0" y="4024"/>
                  </a:lnTo>
                  <a:lnTo>
                    <a:pt x="0" y="14083"/>
                  </a:lnTo>
                  <a:lnTo>
                    <a:pt x="3" y="14187"/>
                  </a:lnTo>
                  <a:lnTo>
                    <a:pt x="10" y="14289"/>
                  </a:lnTo>
                  <a:lnTo>
                    <a:pt x="23" y="14390"/>
                  </a:lnTo>
                  <a:lnTo>
                    <a:pt x="41" y="14489"/>
                  </a:lnTo>
                  <a:lnTo>
                    <a:pt x="63" y="14586"/>
                  </a:lnTo>
                  <a:lnTo>
                    <a:pt x="91" y="14682"/>
                  </a:lnTo>
                  <a:lnTo>
                    <a:pt x="122" y="14775"/>
                  </a:lnTo>
                  <a:lnTo>
                    <a:pt x="158" y="14867"/>
                  </a:lnTo>
                  <a:lnTo>
                    <a:pt x="198" y="14955"/>
                  </a:lnTo>
                  <a:lnTo>
                    <a:pt x="242" y="15042"/>
                  </a:lnTo>
                  <a:lnTo>
                    <a:pt x="292" y="15126"/>
                  </a:lnTo>
                  <a:lnTo>
                    <a:pt x="344" y="15208"/>
                  </a:lnTo>
                  <a:lnTo>
                    <a:pt x="399" y="15287"/>
                  </a:lnTo>
                  <a:lnTo>
                    <a:pt x="460" y="15363"/>
                  </a:lnTo>
                  <a:lnTo>
                    <a:pt x="523" y="15436"/>
                  </a:lnTo>
                  <a:lnTo>
                    <a:pt x="589" y="15506"/>
                  </a:lnTo>
                  <a:lnTo>
                    <a:pt x="659" y="15572"/>
                  </a:lnTo>
                  <a:lnTo>
                    <a:pt x="732" y="15635"/>
                  </a:lnTo>
                  <a:lnTo>
                    <a:pt x="808" y="15696"/>
                  </a:lnTo>
                  <a:lnTo>
                    <a:pt x="887" y="15751"/>
                  </a:lnTo>
                  <a:lnTo>
                    <a:pt x="969" y="15803"/>
                  </a:lnTo>
                  <a:lnTo>
                    <a:pt x="1053" y="15853"/>
                  </a:lnTo>
                  <a:lnTo>
                    <a:pt x="1140" y="15897"/>
                  </a:lnTo>
                  <a:lnTo>
                    <a:pt x="1228" y="15937"/>
                  </a:lnTo>
                  <a:lnTo>
                    <a:pt x="1320" y="15973"/>
                  </a:lnTo>
                  <a:lnTo>
                    <a:pt x="1413" y="16004"/>
                  </a:lnTo>
                  <a:lnTo>
                    <a:pt x="1509" y="16032"/>
                  </a:lnTo>
                  <a:lnTo>
                    <a:pt x="1606" y="16054"/>
                  </a:lnTo>
                  <a:lnTo>
                    <a:pt x="1705" y="16072"/>
                  </a:lnTo>
                  <a:lnTo>
                    <a:pt x="1806" y="16085"/>
                  </a:lnTo>
                  <a:lnTo>
                    <a:pt x="1908" y="16092"/>
                  </a:lnTo>
                  <a:lnTo>
                    <a:pt x="2012" y="16095"/>
                  </a:lnTo>
                  <a:lnTo>
                    <a:pt x="14083" y="16095"/>
                  </a:lnTo>
                  <a:lnTo>
                    <a:pt x="14187" y="16092"/>
                  </a:lnTo>
                  <a:lnTo>
                    <a:pt x="14289" y="16085"/>
                  </a:lnTo>
                  <a:lnTo>
                    <a:pt x="14390" y="16072"/>
                  </a:lnTo>
                  <a:lnTo>
                    <a:pt x="14489" y="16054"/>
                  </a:lnTo>
                  <a:lnTo>
                    <a:pt x="14586" y="16032"/>
                  </a:lnTo>
                  <a:lnTo>
                    <a:pt x="14682" y="16004"/>
                  </a:lnTo>
                  <a:lnTo>
                    <a:pt x="14775" y="15973"/>
                  </a:lnTo>
                  <a:lnTo>
                    <a:pt x="14867" y="15937"/>
                  </a:lnTo>
                  <a:lnTo>
                    <a:pt x="14955" y="15897"/>
                  </a:lnTo>
                  <a:lnTo>
                    <a:pt x="15042" y="15853"/>
                  </a:lnTo>
                  <a:lnTo>
                    <a:pt x="15126" y="15803"/>
                  </a:lnTo>
                  <a:lnTo>
                    <a:pt x="15208" y="15751"/>
                  </a:lnTo>
                  <a:lnTo>
                    <a:pt x="15287" y="15696"/>
                  </a:lnTo>
                  <a:lnTo>
                    <a:pt x="15363" y="15635"/>
                  </a:lnTo>
                  <a:lnTo>
                    <a:pt x="15436" y="15572"/>
                  </a:lnTo>
                  <a:lnTo>
                    <a:pt x="15506" y="15506"/>
                  </a:lnTo>
                  <a:lnTo>
                    <a:pt x="15572" y="15436"/>
                  </a:lnTo>
                  <a:lnTo>
                    <a:pt x="15635" y="15363"/>
                  </a:lnTo>
                  <a:lnTo>
                    <a:pt x="15696" y="15287"/>
                  </a:lnTo>
                  <a:lnTo>
                    <a:pt x="15751" y="15208"/>
                  </a:lnTo>
                  <a:lnTo>
                    <a:pt x="15803" y="15126"/>
                  </a:lnTo>
                  <a:lnTo>
                    <a:pt x="15853" y="15042"/>
                  </a:lnTo>
                  <a:lnTo>
                    <a:pt x="15897" y="14955"/>
                  </a:lnTo>
                  <a:lnTo>
                    <a:pt x="15937" y="14867"/>
                  </a:lnTo>
                  <a:lnTo>
                    <a:pt x="15973" y="14775"/>
                  </a:lnTo>
                  <a:lnTo>
                    <a:pt x="16004" y="14682"/>
                  </a:lnTo>
                  <a:lnTo>
                    <a:pt x="16032" y="14586"/>
                  </a:lnTo>
                  <a:lnTo>
                    <a:pt x="16054" y="14489"/>
                  </a:lnTo>
                  <a:lnTo>
                    <a:pt x="16072" y="14390"/>
                  </a:lnTo>
                  <a:lnTo>
                    <a:pt x="16085" y="14289"/>
                  </a:lnTo>
                  <a:lnTo>
                    <a:pt x="16092" y="14187"/>
                  </a:lnTo>
                  <a:lnTo>
                    <a:pt x="16095" y="14083"/>
                  </a:lnTo>
                  <a:lnTo>
                    <a:pt x="16095" y="1509"/>
                  </a:lnTo>
                  <a:lnTo>
                    <a:pt x="16093" y="1431"/>
                  </a:lnTo>
                  <a:lnTo>
                    <a:pt x="16087" y="1354"/>
                  </a:lnTo>
                  <a:lnTo>
                    <a:pt x="16078" y="1279"/>
                  </a:lnTo>
                  <a:lnTo>
                    <a:pt x="16065" y="1204"/>
                  </a:lnTo>
                  <a:lnTo>
                    <a:pt x="16048" y="1132"/>
                  </a:lnTo>
                  <a:lnTo>
                    <a:pt x="16028" y="1060"/>
                  </a:lnTo>
                  <a:lnTo>
                    <a:pt x="16003" y="990"/>
                  </a:lnTo>
                  <a:lnTo>
                    <a:pt x="15976" y="921"/>
                  </a:lnTo>
                  <a:lnTo>
                    <a:pt x="15946" y="854"/>
                  </a:lnTo>
                  <a:lnTo>
                    <a:pt x="15913" y="790"/>
                  </a:lnTo>
                  <a:lnTo>
                    <a:pt x="15877" y="726"/>
                  </a:lnTo>
                  <a:lnTo>
                    <a:pt x="15837" y="665"/>
                  </a:lnTo>
                  <a:lnTo>
                    <a:pt x="15795" y="606"/>
                  </a:lnTo>
                  <a:lnTo>
                    <a:pt x="15750" y="549"/>
                  </a:lnTo>
                  <a:lnTo>
                    <a:pt x="15703" y="494"/>
                  </a:lnTo>
                  <a:lnTo>
                    <a:pt x="15653" y="442"/>
                  </a:lnTo>
                  <a:lnTo>
                    <a:pt x="15601" y="391"/>
                  </a:lnTo>
                  <a:lnTo>
                    <a:pt x="15546" y="344"/>
                  </a:lnTo>
                  <a:lnTo>
                    <a:pt x="15488" y="300"/>
                  </a:lnTo>
                  <a:lnTo>
                    <a:pt x="15430" y="258"/>
                  </a:lnTo>
                  <a:lnTo>
                    <a:pt x="15369" y="218"/>
                  </a:lnTo>
                  <a:lnTo>
                    <a:pt x="15305" y="182"/>
                  </a:lnTo>
                  <a:lnTo>
                    <a:pt x="15240" y="149"/>
                  </a:lnTo>
                  <a:lnTo>
                    <a:pt x="15174" y="119"/>
                  </a:lnTo>
                  <a:lnTo>
                    <a:pt x="15105" y="92"/>
                  </a:lnTo>
                  <a:lnTo>
                    <a:pt x="15035" y="67"/>
                  </a:lnTo>
                  <a:lnTo>
                    <a:pt x="14963" y="47"/>
                  </a:lnTo>
                  <a:lnTo>
                    <a:pt x="14890" y="30"/>
                  </a:lnTo>
                  <a:lnTo>
                    <a:pt x="14815" y="17"/>
                  </a:lnTo>
                  <a:lnTo>
                    <a:pt x="14740" y="8"/>
                  </a:lnTo>
                  <a:lnTo>
                    <a:pt x="14664" y="2"/>
                  </a:lnTo>
                  <a:lnTo>
                    <a:pt x="145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12" name="işḻîḑe">
              <a:extLst>
                <a:ext uri="{FF2B5EF4-FFF2-40B4-BE49-F238E27FC236}">
                  <a16:creationId xmlns:a16="http://schemas.microsoft.com/office/drawing/2014/main" id="{79984BA3-E7BA-4AB5-8CBD-56782CBD2B8F}"/>
                </a:ext>
              </a:extLst>
            </p:cNvPr>
            <p:cNvSpPr/>
            <p:nvPr/>
          </p:nvSpPr>
          <p:spPr bwMode="auto">
            <a:xfrm>
              <a:off x="8602489" y="534229"/>
              <a:ext cx="65335" cy="7436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1 h 503"/>
                <a:gd name="T8" fmla="*/ 4427 w 4527"/>
                <a:gd name="T9" fmla="*/ 452 h 503"/>
                <a:gd name="T10" fmla="*/ 4454 w 4527"/>
                <a:gd name="T11" fmla="*/ 428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1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0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1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89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1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5 h 503"/>
                <a:gd name="T80" fmla="*/ 154 w 4527"/>
                <a:gd name="T81" fmla="*/ 482 h 503"/>
                <a:gd name="T82" fmla="*/ 190 w 4527"/>
                <a:gd name="T83" fmla="*/ 495 h 503"/>
                <a:gd name="T84" fmla="*/ 227 w 4527"/>
                <a:gd name="T85" fmla="*/ 50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1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1"/>
                  </a:lnTo>
                  <a:lnTo>
                    <a:pt x="4362" y="488"/>
                  </a:lnTo>
                  <a:lnTo>
                    <a:pt x="4374" y="482"/>
                  </a:lnTo>
                  <a:lnTo>
                    <a:pt x="4385" y="477"/>
                  </a:lnTo>
                  <a:lnTo>
                    <a:pt x="4396" y="471"/>
                  </a:lnTo>
                  <a:lnTo>
                    <a:pt x="4406" y="465"/>
                  </a:lnTo>
                  <a:lnTo>
                    <a:pt x="4416" y="459"/>
                  </a:lnTo>
                  <a:lnTo>
                    <a:pt x="4427" y="452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8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1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3"/>
                  </a:lnTo>
                  <a:lnTo>
                    <a:pt x="4522" y="301"/>
                  </a:lnTo>
                  <a:lnTo>
                    <a:pt x="4525" y="289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1"/>
                  </a:lnTo>
                  <a:lnTo>
                    <a:pt x="4497" y="131"/>
                  </a:lnTo>
                  <a:lnTo>
                    <a:pt x="4491" y="120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0"/>
                  </a:lnTo>
                  <a:lnTo>
                    <a:pt x="32" y="131"/>
                  </a:lnTo>
                  <a:lnTo>
                    <a:pt x="26" y="141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6" y="301"/>
                  </a:lnTo>
                  <a:lnTo>
                    <a:pt x="8" y="313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1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8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2"/>
                  </a:lnTo>
                  <a:lnTo>
                    <a:pt x="112" y="459"/>
                  </a:lnTo>
                  <a:lnTo>
                    <a:pt x="122" y="465"/>
                  </a:lnTo>
                  <a:lnTo>
                    <a:pt x="132" y="471"/>
                  </a:lnTo>
                  <a:lnTo>
                    <a:pt x="143" y="477"/>
                  </a:lnTo>
                  <a:lnTo>
                    <a:pt x="154" y="482"/>
                  </a:lnTo>
                  <a:lnTo>
                    <a:pt x="166" y="488"/>
                  </a:lnTo>
                  <a:lnTo>
                    <a:pt x="177" y="491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1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13" name="ïSľiḍe">
              <a:extLst>
                <a:ext uri="{FF2B5EF4-FFF2-40B4-BE49-F238E27FC236}">
                  <a16:creationId xmlns:a16="http://schemas.microsoft.com/office/drawing/2014/main" id="{04F4F3C9-9B5B-449A-8F87-4DE569876989}"/>
                </a:ext>
              </a:extLst>
            </p:cNvPr>
            <p:cNvSpPr/>
            <p:nvPr/>
          </p:nvSpPr>
          <p:spPr bwMode="auto">
            <a:xfrm>
              <a:off x="8602489" y="512451"/>
              <a:ext cx="65335" cy="7436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3 h 503"/>
                <a:gd name="T8" fmla="*/ 4427 w 4527"/>
                <a:gd name="T9" fmla="*/ 452 h 503"/>
                <a:gd name="T10" fmla="*/ 4454 w 4527"/>
                <a:gd name="T11" fmla="*/ 429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2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0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2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89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2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6 h 503"/>
                <a:gd name="T80" fmla="*/ 154 w 4527"/>
                <a:gd name="T81" fmla="*/ 483 h 503"/>
                <a:gd name="T82" fmla="*/ 190 w 4527"/>
                <a:gd name="T83" fmla="*/ 495 h 503"/>
                <a:gd name="T84" fmla="*/ 227 w 4527"/>
                <a:gd name="T85" fmla="*/ 50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1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1"/>
                  </a:lnTo>
                  <a:lnTo>
                    <a:pt x="4362" y="488"/>
                  </a:lnTo>
                  <a:lnTo>
                    <a:pt x="4374" y="483"/>
                  </a:lnTo>
                  <a:lnTo>
                    <a:pt x="4385" y="478"/>
                  </a:lnTo>
                  <a:lnTo>
                    <a:pt x="4396" y="473"/>
                  </a:lnTo>
                  <a:lnTo>
                    <a:pt x="4406" y="466"/>
                  </a:lnTo>
                  <a:lnTo>
                    <a:pt x="4416" y="459"/>
                  </a:lnTo>
                  <a:lnTo>
                    <a:pt x="4427" y="452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9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2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4"/>
                  </a:lnTo>
                  <a:lnTo>
                    <a:pt x="4522" y="302"/>
                  </a:lnTo>
                  <a:lnTo>
                    <a:pt x="4525" y="289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2"/>
                  </a:lnTo>
                  <a:lnTo>
                    <a:pt x="4497" y="132"/>
                  </a:lnTo>
                  <a:lnTo>
                    <a:pt x="4491" y="120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0"/>
                  </a:lnTo>
                  <a:lnTo>
                    <a:pt x="32" y="132"/>
                  </a:lnTo>
                  <a:lnTo>
                    <a:pt x="26" y="142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6" y="302"/>
                  </a:lnTo>
                  <a:lnTo>
                    <a:pt x="8" y="314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2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9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2"/>
                  </a:lnTo>
                  <a:lnTo>
                    <a:pt x="112" y="459"/>
                  </a:lnTo>
                  <a:lnTo>
                    <a:pt x="122" y="466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6" y="488"/>
                  </a:lnTo>
                  <a:lnTo>
                    <a:pt x="177" y="491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1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14" name="iṡlíḋé">
              <a:extLst>
                <a:ext uri="{FF2B5EF4-FFF2-40B4-BE49-F238E27FC236}">
                  <a16:creationId xmlns:a16="http://schemas.microsoft.com/office/drawing/2014/main" id="{B56DDDD8-552D-4776-9CB9-E0AC0B195FE9}"/>
                </a:ext>
              </a:extLst>
            </p:cNvPr>
            <p:cNvSpPr/>
            <p:nvPr/>
          </p:nvSpPr>
          <p:spPr bwMode="auto">
            <a:xfrm>
              <a:off x="8602489" y="491203"/>
              <a:ext cx="65335" cy="6905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3 h 503"/>
                <a:gd name="T8" fmla="*/ 4427 w 4527"/>
                <a:gd name="T9" fmla="*/ 453 h 503"/>
                <a:gd name="T10" fmla="*/ 4454 w 4527"/>
                <a:gd name="T11" fmla="*/ 428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2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1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2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90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2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7 h 503"/>
                <a:gd name="T80" fmla="*/ 154 w 4527"/>
                <a:gd name="T81" fmla="*/ 483 h 503"/>
                <a:gd name="T82" fmla="*/ 190 w 4527"/>
                <a:gd name="T83" fmla="*/ 495 h 503"/>
                <a:gd name="T84" fmla="*/ 227 w 4527"/>
                <a:gd name="T85" fmla="*/ 50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2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2"/>
                  </a:lnTo>
                  <a:lnTo>
                    <a:pt x="4362" y="488"/>
                  </a:lnTo>
                  <a:lnTo>
                    <a:pt x="4374" y="483"/>
                  </a:lnTo>
                  <a:lnTo>
                    <a:pt x="4385" y="478"/>
                  </a:lnTo>
                  <a:lnTo>
                    <a:pt x="4396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8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2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4"/>
                  </a:lnTo>
                  <a:lnTo>
                    <a:pt x="4522" y="302"/>
                  </a:lnTo>
                  <a:lnTo>
                    <a:pt x="4525" y="290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2"/>
                  </a:lnTo>
                  <a:lnTo>
                    <a:pt x="4497" y="132"/>
                  </a:lnTo>
                  <a:lnTo>
                    <a:pt x="4491" y="121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1"/>
                  </a:lnTo>
                  <a:lnTo>
                    <a:pt x="32" y="132"/>
                  </a:lnTo>
                  <a:lnTo>
                    <a:pt x="26" y="142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90"/>
                  </a:lnTo>
                  <a:lnTo>
                    <a:pt x="6" y="302"/>
                  </a:lnTo>
                  <a:lnTo>
                    <a:pt x="8" y="314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2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8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3"/>
                  </a:lnTo>
                  <a:lnTo>
                    <a:pt x="112" y="460"/>
                  </a:lnTo>
                  <a:lnTo>
                    <a:pt x="122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6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15" name="îṧḷïdê">
              <a:extLst>
                <a:ext uri="{FF2B5EF4-FFF2-40B4-BE49-F238E27FC236}">
                  <a16:creationId xmlns:a16="http://schemas.microsoft.com/office/drawing/2014/main" id="{02C9821D-5E9A-49D0-A8F2-9FAC826F26DA}"/>
                </a:ext>
              </a:extLst>
            </p:cNvPr>
            <p:cNvSpPr/>
            <p:nvPr/>
          </p:nvSpPr>
          <p:spPr bwMode="auto">
            <a:xfrm>
              <a:off x="8523343" y="642589"/>
              <a:ext cx="64804" cy="7436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0 h 503"/>
                <a:gd name="T8" fmla="*/ 100 w 4526"/>
                <a:gd name="T9" fmla="*/ 50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1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50 h 503"/>
                <a:gd name="T28" fmla="*/ 36 w 4526"/>
                <a:gd name="T29" fmla="*/ 382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2 h 503"/>
                <a:gd name="T58" fmla="*/ 4501 w 4526"/>
                <a:gd name="T59" fmla="*/ 361 h 503"/>
                <a:gd name="T60" fmla="*/ 4515 w 4526"/>
                <a:gd name="T61" fmla="*/ 327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3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6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3"/>
                  </a:lnTo>
                  <a:lnTo>
                    <a:pt x="100" y="50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7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4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4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2"/>
                  </a:lnTo>
                  <a:lnTo>
                    <a:pt x="4490" y="382"/>
                  </a:lnTo>
                  <a:lnTo>
                    <a:pt x="4496" y="371"/>
                  </a:lnTo>
                  <a:lnTo>
                    <a:pt x="4501" y="361"/>
                  </a:lnTo>
                  <a:lnTo>
                    <a:pt x="4506" y="350"/>
                  </a:lnTo>
                  <a:lnTo>
                    <a:pt x="4511" y="338"/>
                  </a:lnTo>
                  <a:lnTo>
                    <a:pt x="4515" y="327"/>
                  </a:lnTo>
                  <a:lnTo>
                    <a:pt x="4518" y="315"/>
                  </a:lnTo>
                  <a:lnTo>
                    <a:pt x="4521" y="303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3"/>
                  </a:lnTo>
                  <a:lnTo>
                    <a:pt x="4521" y="201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0"/>
                  </a:lnTo>
                  <a:lnTo>
                    <a:pt x="4416" y="43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16" name="iṣļïḓé">
              <a:extLst>
                <a:ext uri="{FF2B5EF4-FFF2-40B4-BE49-F238E27FC236}">
                  <a16:creationId xmlns:a16="http://schemas.microsoft.com/office/drawing/2014/main" id="{61CB01BB-A847-411D-938F-8442A7A587E5}"/>
                </a:ext>
              </a:extLst>
            </p:cNvPr>
            <p:cNvSpPr/>
            <p:nvPr/>
          </p:nvSpPr>
          <p:spPr bwMode="auto">
            <a:xfrm>
              <a:off x="8523343" y="620811"/>
              <a:ext cx="64804" cy="7436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0 h 503"/>
                <a:gd name="T8" fmla="*/ 100 w 4526"/>
                <a:gd name="T9" fmla="*/ 51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1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49 h 503"/>
                <a:gd name="T28" fmla="*/ 36 w 4526"/>
                <a:gd name="T29" fmla="*/ 383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3 h 503"/>
                <a:gd name="T58" fmla="*/ 4501 w 4526"/>
                <a:gd name="T59" fmla="*/ 361 h 503"/>
                <a:gd name="T60" fmla="*/ 4515 w 4526"/>
                <a:gd name="T61" fmla="*/ 326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4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6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3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3"/>
                  </a:lnTo>
                  <a:lnTo>
                    <a:pt x="4490" y="383"/>
                  </a:lnTo>
                  <a:lnTo>
                    <a:pt x="4496" y="371"/>
                  </a:lnTo>
                  <a:lnTo>
                    <a:pt x="4501" y="361"/>
                  </a:lnTo>
                  <a:lnTo>
                    <a:pt x="4506" y="349"/>
                  </a:lnTo>
                  <a:lnTo>
                    <a:pt x="4511" y="338"/>
                  </a:lnTo>
                  <a:lnTo>
                    <a:pt x="4515" y="326"/>
                  </a:lnTo>
                  <a:lnTo>
                    <a:pt x="4518" y="315"/>
                  </a:lnTo>
                  <a:lnTo>
                    <a:pt x="4521" y="302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4"/>
                  </a:lnTo>
                  <a:lnTo>
                    <a:pt x="4521" y="201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1"/>
                  </a:lnTo>
                  <a:lnTo>
                    <a:pt x="4416" y="44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17" name="íŝ1ïḑê">
              <a:extLst>
                <a:ext uri="{FF2B5EF4-FFF2-40B4-BE49-F238E27FC236}">
                  <a16:creationId xmlns:a16="http://schemas.microsoft.com/office/drawing/2014/main" id="{73EC36CD-F5B9-4632-AF51-4B6C8476FE7A}"/>
                </a:ext>
              </a:extLst>
            </p:cNvPr>
            <p:cNvSpPr/>
            <p:nvPr/>
          </p:nvSpPr>
          <p:spPr bwMode="auto">
            <a:xfrm>
              <a:off x="8523343" y="599564"/>
              <a:ext cx="64804" cy="6905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1 h 503"/>
                <a:gd name="T8" fmla="*/ 100 w 4526"/>
                <a:gd name="T9" fmla="*/ 51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2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50 h 503"/>
                <a:gd name="T28" fmla="*/ 36 w 4526"/>
                <a:gd name="T29" fmla="*/ 383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3 h 503"/>
                <a:gd name="T58" fmla="*/ 4501 w 4526"/>
                <a:gd name="T59" fmla="*/ 361 h 503"/>
                <a:gd name="T60" fmla="*/ 4515 w 4526"/>
                <a:gd name="T61" fmla="*/ 326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4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7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0" y="37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1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3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3"/>
                  </a:lnTo>
                  <a:lnTo>
                    <a:pt x="4490" y="383"/>
                  </a:lnTo>
                  <a:lnTo>
                    <a:pt x="4496" y="372"/>
                  </a:lnTo>
                  <a:lnTo>
                    <a:pt x="4501" y="361"/>
                  </a:lnTo>
                  <a:lnTo>
                    <a:pt x="4506" y="350"/>
                  </a:lnTo>
                  <a:lnTo>
                    <a:pt x="4511" y="338"/>
                  </a:lnTo>
                  <a:lnTo>
                    <a:pt x="4515" y="326"/>
                  </a:lnTo>
                  <a:lnTo>
                    <a:pt x="4518" y="315"/>
                  </a:lnTo>
                  <a:lnTo>
                    <a:pt x="4521" y="302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4"/>
                  </a:lnTo>
                  <a:lnTo>
                    <a:pt x="4521" y="202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1"/>
                  </a:lnTo>
                  <a:lnTo>
                    <a:pt x="4416" y="44"/>
                  </a:lnTo>
                  <a:lnTo>
                    <a:pt x="4406" y="37"/>
                  </a:lnTo>
                  <a:lnTo>
                    <a:pt x="4395" y="31"/>
                  </a:lnTo>
                  <a:lnTo>
                    <a:pt x="4384" y="26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18" name="ïş1ïdè">
              <a:extLst>
                <a:ext uri="{FF2B5EF4-FFF2-40B4-BE49-F238E27FC236}">
                  <a16:creationId xmlns:a16="http://schemas.microsoft.com/office/drawing/2014/main" id="{83F34FCD-A7A7-49F0-B8B4-38ADB93AF437}"/>
                </a:ext>
              </a:extLst>
            </p:cNvPr>
            <p:cNvSpPr/>
            <p:nvPr/>
          </p:nvSpPr>
          <p:spPr bwMode="auto">
            <a:xfrm>
              <a:off x="8602489" y="642589"/>
              <a:ext cx="65335" cy="7436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0 h 503"/>
                <a:gd name="T8" fmla="*/ 102 w 4527"/>
                <a:gd name="T9" fmla="*/ 50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1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50 h 503"/>
                <a:gd name="T28" fmla="*/ 37 w 4527"/>
                <a:gd name="T29" fmla="*/ 382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2 h 503"/>
                <a:gd name="T58" fmla="*/ 4502 w 4527"/>
                <a:gd name="T59" fmla="*/ 361 h 503"/>
                <a:gd name="T60" fmla="*/ 4516 w 4527"/>
                <a:gd name="T61" fmla="*/ 327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3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6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3"/>
                  </a:lnTo>
                  <a:lnTo>
                    <a:pt x="102" y="50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7"/>
                  </a:lnTo>
                  <a:lnTo>
                    <a:pt x="15" y="338"/>
                  </a:lnTo>
                  <a:lnTo>
                    <a:pt x="21" y="350"/>
                  </a:lnTo>
                  <a:lnTo>
                    <a:pt x="26" y="361"/>
                  </a:lnTo>
                  <a:lnTo>
                    <a:pt x="31" y="371"/>
                  </a:lnTo>
                  <a:lnTo>
                    <a:pt x="37" y="382"/>
                  </a:lnTo>
                  <a:lnTo>
                    <a:pt x="44" y="392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4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4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2"/>
                  </a:lnTo>
                  <a:lnTo>
                    <a:pt x="4491" y="382"/>
                  </a:lnTo>
                  <a:lnTo>
                    <a:pt x="4497" y="371"/>
                  </a:lnTo>
                  <a:lnTo>
                    <a:pt x="4502" y="361"/>
                  </a:lnTo>
                  <a:lnTo>
                    <a:pt x="4507" y="350"/>
                  </a:lnTo>
                  <a:lnTo>
                    <a:pt x="4512" y="338"/>
                  </a:lnTo>
                  <a:lnTo>
                    <a:pt x="4516" y="327"/>
                  </a:lnTo>
                  <a:lnTo>
                    <a:pt x="4519" y="315"/>
                  </a:lnTo>
                  <a:lnTo>
                    <a:pt x="4522" y="303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3"/>
                  </a:lnTo>
                  <a:lnTo>
                    <a:pt x="4522" y="201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0"/>
                  </a:lnTo>
                  <a:lnTo>
                    <a:pt x="4416" y="43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19" name="îś1iḓé">
              <a:extLst>
                <a:ext uri="{FF2B5EF4-FFF2-40B4-BE49-F238E27FC236}">
                  <a16:creationId xmlns:a16="http://schemas.microsoft.com/office/drawing/2014/main" id="{7123F099-5019-4A70-AFD4-40AA26E69CCA}"/>
                </a:ext>
              </a:extLst>
            </p:cNvPr>
            <p:cNvSpPr/>
            <p:nvPr/>
          </p:nvSpPr>
          <p:spPr bwMode="auto">
            <a:xfrm>
              <a:off x="8602489" y="620811"/>
              <a:ext cx="65335" cy="7436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0 h 503"/>
                <a:gd name="T8" fmla="*/ 102 w 4527"/>
                <a:gd name="T9" fmla="*/ 51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1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49 h 503"/>
                <a:gd name="T28" fmla="*/ 37 w 4527"/>
                <a:gd name="T29" fmla="*/ 383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3 h 503"/>
                <a:gd name="T58" fmla="*/ 4502 w 4527"/>
                <a:gd name="T59" fmla="*/ 361 h 503"/>
                <a:gd name="T60" fmla="*/ 4516 w 4527"/>
                <a:gd name="T61" fmla="*/ 326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4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6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4"/>
                  </a:lnTo>
                  <a:lnTo>
                    <a:pt x="102" y="51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1" y="349"/>
                  </a:lnTo>
                  <a:lnTo>
                    <a:pt x="26" y="361"/>
                  </a:lnTo>
                  <a:lnTo>
                    <a:pt x="31" y="371"/>
                  </a:lnTo>
                  <a:lnTo>
                    <a:pt x="37" y="383"/>
                  </a:lnTo>
                  <a:lnTo>
                    <a:pt x="44" y="393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3"/>
                  </a:lnTo>
                  <a:lnTo>
                    <a:pt x="4491" y="383"/>
                  </a:lnTo>
                  <a:lnTo>
                    <a:pt x="4497" y="371"/>
                  </a:lnTo>
                  <a:lnTo>
                    <a:pt x="4502" y="361"/>
                  </a:lnTo>
                  <a:lnTo>
                    <a:pt x="4507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19" y="315"/>
                  </a:lnTo>
                  <a:lnTo>
                    <a:pt x="4522" y="302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4"/>
                  </a:lnTo>
                  <a:lnTo>
                    <a:pt x="4522" y="201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1"/>
                  </a:lnTo>
                  <a:lnTo>
                    <a:pt x="4416" y="44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20" name="íšḻïdé">
              <a:extLst>
                <a:ext uri="{FF2B5EF4-FFF2-40B4-BE49-F238E27FC236}">
                  <a16:creationId xmlns:a16="http://schemas.microsoft.com/office/drawing/2014/main" id="{BCB533E0-91FF-46A9-88E3-D11CF42D5966}"/>
                </a:ext>
              </a:extLst>
            </p:cNvPr>
            <p:cNvSpPr/>
            <p:nvPr/>
          </p:nvSpPr>
          <p:spPr bwMode="auto">
            <a:xfrm>
              <a:off x="8602489" y="599564"/>
              <a:ext cx="65335" cy="6905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1 h 503"/>
                <a:gd name="T8" fmla="*/ 102 w 4527"/>
                <a:gd name="T9" fmla="*/ 51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2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50 h 503"/>
                <a:gd name="T28" fmla="*/ 37 w 4527"/>
                <a:gd name="T29" fmla="*/ 383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3 h 503"/>
                <a:gd name="T58" fmla="*/ 4502 w 4527"/>
                <a:gd name="T59" fmla="*/ 361 h 503"/>
                <a:gd name="T60" fmla="*/ 4516 w 4527"/>
                <a:gd name="T61" fmla="*/ 326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4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7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1" y="37"/>
                  </a:lnTo>
                  <a:lnTo>
                    <a:pt x="111" y="44"/>
                  </a:lnTo>
                  <a:lnTo>
                    <a:pt x="102" y="51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1" y="350"/>
                  </a:lnTo>
                  <a:lnTo>
                    <a:pt x="26" y="361"/>
                  </a:lnTo>
                  <a:lnTo>
                    <a:pt x="31" y="372"/>
                  </a:lnTo>
                  <a:lnTo>
                    <a:pt x="37" y="383"/>
                  </a:lnTo>
                  <a:lnTo>
                    <a:pt x="44" y="393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3"/>
                  </a:lnTo>
                  <a:lnTo>
                    <a:pt x="4491" y="383"/>
                  </a:lnTo>
                  <a:lnTo>
                    <a:pt x="4497" y="372"/>
                  </a:lnTo>
                  <a:lnTo>
                    <a:pt x="4502" y="361"/>
                  </a:lnTo>
                  <a:lnTo>
                    <a:pt x="4507" y="350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19" y="315"/>
                  </a:lnTo>
                  <a:lnTo>
                    <a:pt x="4522" y="302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4"/>
                  </a:lnTo>
                  <a:lnTo>
                    <a:pt x="4522" y="202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1"/>
                  </a:lnTo>
                  <a:lnTo>
                    <a:pt x="4416" y="44"/>
                  </a:lnTo>
                  <a:lnTo>
                    <a:pt x="4406" y="37"/>
                  </a:lnTo>
                  <a:lnTo>
                    <a:pt x="4395" y="31"/>
                  </a:lnTo>
                  <a:lnTo>
                    <a:pt x="4384" y="26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21" name="ïśḻiḓe">
              <a:extLst>
                <a:ext uri="{FF2B5EF4-FFF2-40B4-BE49-F238E27FC236}">
                  <a16:creationId xmlns:a16="http://schemas.microsoft.com/office/drawing/2014/main" id="{2B100234-E43B-4853-9C47-9CE612E5E891}"/>
                </a:ext>
              </a:extLst>
            </p:cNvPr>
            <p:cNvSpPr/>
            <p:nvPr/>
          </p:nvSpPr>
          <p:spPr bwMode="auto">
            <a:xfrm>
              <a:off x="8523343" y="556007"/>
              <a:ext cx="144480" cy="7436"/>
            </a:xfrm>
            <a:custGeom>
              <a:avLst/>
              <a:gdLst>
                <a:gd name="T0" fmla="*/ 238 w 10059"/>
                <a:gd name="T1" fmla="*/ 1 h 503"/>
                <a:gd name="T2" fmla="*/ 201 w 10059"/>
                <a:gd name="T3" fmla="*/ 5 h 503"/>
                <a:gd name="T4" fmla="*/ 165 w 10059"/>
                <a:gd name="T5" fmla="*/ 15 h 503"/>
                <a:gd name="T6" fmla="*/ 132 w 10059"/>
                <a:gd name="T7" fmla="*/ 30 h 503"/>
                <a:gd name="T8" fmla="*/ 100 w 10059"/>
                <a:gd name="T9" fmla="*/ 50 h 503"/>
                <a:gd name="T10" fmla="*/ 73 w 10059"/>
                <a:gd name="T11" fmla="*/ 73 h 503"/>
                <a:gd name="T12" fmla="*/ 50 w 10059"/>
                <a:gd name="T13" fmla="*/ 101 h 503"/>
                <a:gd name="T14" fmla="*/ 30 w 10059"/>
                <a:gd name="T15" fmla="*/ 131 h 503"/>
                <a:gd name="T16" fmla="*/ 15 w 10059"/>
                <a:gd name="T17" fmla="*/ 165 h 503"/>
                <a:gd name="T18" fmla="*/ 5 w 10059"/>
                <a:gd name="T19" fmla="*/ 201 h 503"/>
                <a:gd name="T20" fmla="*/ 0 w 10059"/>
                <a:gd name="T21" fmla="*/ 238 h 503"/>
                <a:gd name="T22" fmla="*/ 1 w 10059"/>
                <a:gd name="T23" fmla="*/ 277 h 503"/>
                <a:gd name="T24" fmla="*/ 8 w 10059"/>
                <a:gd name="T25" fmla="*/ 314 h 503"/>
                <a:gd name="T26" fmla="*/ 20 w 10059"/>
                <a:gd name="T27" fmla="*/ 349 h 503"/>
                <a:gd name="T28" fmla="*/ 36 w 10059"/>
                <a:gd name="T29" fmla="*/ 382 h 503"/>
                <a:gd name="T30" fmla="*/ 57 w 10059"/>
                <a:gd name="T31" fmla="*/ 411 h 503"/>
                <a:gd name="T32" fmla="*/ 82 w 10059"/>
                <a:gd name="T33" fmla="*/ 437 h 503"/>
                <a:gd name="T34" fmla="*/ 110 w 10059"/>
                <a:gd name="T35" fmla="*/ 460 h 503"/>
                <a:gd name="T36" fmla="*/ 143 w 10059"/>
                <a:gd name="T37" fmla="*/ 478 h 503"/>
                <a:gd name="T38" fmla="*/ 177 w 10059"/>
                <a:gd name="T39" fmla="*/ 491 h 503"/>
                <a:gd name="T40" fmla="*/ 213 w 10059"/>
                <a:gd name="T41" fmla="*/ 499 h 503"/>
                <a:gd name="T42" fmla="*/ 251 w 10059"/>
                <a:gd name="T43" fmla="*/ 503 h 503"/>
                <a:gd name="T44" fmla="*/ 9834 w 10059"/>
                <a:gd name="T45" fmla="*/ 502 h 503"/>
                <a:gd name="T46" fmla="*/ 9870 w 10059"/>
                <a:gd name="T47" fmla="*/ 494 h 503"/>
                <a:gd name="T48" fmla="*/ 9905 w 10059"/>
                <a:gd name="T49" fmla="*/ 483 h 503"/>
                <a:gd name="T50" fmla="*/ 9938 w 10059"/>
                <a:gd name="T51" fmla="*/ 466 h 503"/>
                <a:gd name="T52" fmla="*/ 9968 w 10059"/>
                <a:gd name="T53" fmla="*/ 445 h 503"/>
                <a:gd name="T54" fmla="*/ 9994 w 10059"/>
                <a:gd name="T55" fmla="*/ 420 h 503"/>
                <a:gd name="T56" fmla="*/ 10016 w 10059"/>
                <a:gd name="T57" fmla="*/ 392 h 503"/>
                <a:gd name="T58" fmla="*/ 10034 w 10059"/>
                <a:gd name="T59" fmla="*/ 361 h 503"/>
                <a:gd name="T60" fmla="*/ 10048 w 10059"/>
                <a:gd name="T61" fmla="*/ 326 h 503"/>
                <a:gd name="T62" fmla="*/ 10056 w 10059"/>
                <a:gd name="T63" fmla="*/ 289 h 503"/>
                <a:gd name="T64" fmla="*/ 10059 w 10059"/>
                <a:gd name="T65" fmla="*/ 251 h 503"/>
                <a:gd name="T66" fmla="*/ 10056 w 10059"/>
                <a:gd name="T67" fmla="*/ 213 h 503"/>
                <a:gd name="T68" fmla="*/ 10048 w 10059"/>
                <a:gd name="T69" fmla="*/ 177 h 503"/>
                <a:gd name="T70" fmla="*/ 10034 w 10059"/>
                <a:gd name="T71" fmla="*/ 142 h 503"/>
                <a:gd name="T72" fmla="*/ 10016 w 10059"/>
                <a:gd name="T73" fmla="*/ 110 h 503"/>
                <a:gd name="T74" fmla="*/ 9994 w 10059"/>
                <a:gd name="T75" fmla="*/ 82 h 503"/>
                <a:gd name="T76" fmla="*/ 9968 w 10059"/>
                <a:gd name="T77" fmla="*/ 57 h 503"/>
                <a:gd name="T78" fmla="*/ 9938 w 10059"/>
                <a:gd name="T79" fmla="*/ 36 h 503"/>
                <a:gd name="T80" fmla="*/ 9905 w 10059"/>
                <a:gd name="T81" fmla="*/ 20 h 503"/>
                <a:gd name="T82" fmla="*/ 9870 w 10059"/>
                <a:gd name="T83" fmla="*/ 8 h 503"/>
                <a:gd name="T84" fmla="*/ 9834 w 10059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9" h="503">
                  <a:moveTo>
                    <a:pt x="9808" y="0"/>
                  </a:moveTo>
                  <a:lnTo>
                    <a:pt x="251" y="0"/>
                  </a:lnTo>
                  <a:lnTo>
                    <a:pt x="238" y="1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3"/>
                  </a:lnTo>
                  <a:lnTo>
                    <a:pt x="100" y="50"/>
                  </a:lnTo>
                  <a:lnTo>
                    <a:pt x="91" y="57"/>
                  </a:lnTo>
                  <a:lnTo>
                    <a:pt x="82" y="65"/>
                  </a:lnTo>
                  <a:lnTo>
                    <a:pt x="73" y="73"/>
                  </a:lnTo>
                  <a:lnTo>
                    <a:pt x="65" y="82"/>
                  </a:lnTo>
                  <a:lnTo>
                    <a:pt x="57" y="91"/>
                  </a:lnTo>
                  <a:lnTo>
                    <a:pt x="50" y="101"/>
                  </a:lnTo>
                  <a:lnTo>
                    <a:pt x="43" y="110"/>
                  </a:lnTo>
                  <a:lnTo>
                    <a:pt x="36" y="121"/>
                  </a:lnTo>
                  <a:lnTo>
                    <a:pt x="30" y="131"/>
                  </a:lnTo>
                  <a:lnTo>
                    <a:pt x="25" y="142"/>
                  </a:lnTo>
                  <a:lnTo>
                    <a:pt x="20" y="153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6"/>
                  </a:lnTo>
                  <a:lnTo>
                    <a:pt x="0" y="238"/>
                  </a:lnTo>
                  <a:lnTo>
                    <a:pt x="0" y="251"/>
                  </a:lnTo>
                  <a:lnTo>
                    <a:pt x="0" y="264"/>
                  </a:lnTo>
                  <a:lnTo>
                    <a:pt x="1" y="277"/>
                  </a:lnTo>
                  <a:lnTo>
                    <a:pt x="3" y="289"/>
                  </a:lnTo>
                  <a:lnTo>
                    <a:pt x="5" y="302"/>
                  </a:lnTo>
                  <a:lnTo>
                    <a:pt x="8" y="314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2"/>
                  </a:lnTo>
                  <a:lnTo>
                    <a:pt x="57" y="411"/>
                  </a:lnTo>
                  <a:lnTo>
                    <a:pt x="65" y="420"/>
                  </a:lnTo>
                  <a:lnTo>
                    <a:pt x="73" y="429"/>
                  </a:lnTo>
                  <a:lnTo>
                    <a:pt x="82" y="437"/>
                  </a:lnTo>
                  <a:lnTo>
                    <a:pt x="91" y="445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6"/>
                  </a:lnTo>
                  <a:lnTo>
                    <a:pt x="132" y="472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7"/>
                  </a:lnTo>
                  <a:lnTo>
                    <a:pt x="177" y="491"/>
                  </a:lnTo>
                  <a:lnTo>
                    <a:pt x="189" y="494"/>
                  </a:lnTo>
                  <a:lnTo>
                    <a:pt x="201" y="497"/>
                  </a:lnTo>
                  <a:lnTo>
                    <a:pt x="213" y="499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9808" y="503"/>
                  </a:lnTo>
                  <a:lnTo>
                    <a:pt x="9821" y="503"/>
                  </a:lnTo>
                  <a:lnTo>
                    <a:pt x="9834" y="502"/>
                  </a:lnTo>
                  <a:lnTo>
                    <a:pt x="9846" y="499"/>
                  </a:lnTo>
                  <a:lnTo>
                    <a:pt x="9858" y="497"/>
                  </a:lnTo>
                  <a:lnTo>
                    <a:pt x="9870" y="494"/>
                  </a:lnTo>
                  <a:lnTo>
                    <a:pt x="9882" y="491"/>
                  </a:lnTo>
                  <a:lnTo>
                    <a:pt x="9894" y="487"/>
                  </a:lnTo>
                  <a:lnTo>
                    <a:pt x="9905" y="483"/>
                  </a:lnTo>
                  <a:lnTo>
                    <a:pt x="9916" y="478"/>
                  </a:lnTo>
                  <a:lnTo>
                    <a:pt x="9927" y="472"/>
                  </a:lnTo>
                  <a:lnTo>
                    <a:pt x="9938" y="466"/>
                  </a:lnTo>
                  <a:lnTo>
                    <a:pt x="9948" y="460"/>
                  </a:lnTo>
                  <a:lnTo>
                    <a:pt x="9959" y="453"/>
                  </a:lnTo>
                  <a:lnTo>
                    <a:pt x="9968" y="445"/>
                  </a:lnTo>
                  <a:lnTo>
                    <a:pt x="9977" y="437"/>
                  </a:lnTo>
                  <a:lnTo>
                    <a:pt x="9986" y="429"/>
                  </a:lnTo>
                  <a:lnTo>
                    <a:pt x="9994" y="420"/>
                  </a:lnTo>
                  <a:lnTo>
                    <a:pt x="10002" y="411"/>
                  </a:lnTo>
                  <a:lnTo>
                    <a:pt x="10009" y="402"/>
                  </a:lnTo>
                  <a:lnTo>
                    <a:pt x="10016" y="392"/>
                  </a:lnTo>
                  <a:lnTo>
                    <a:pt x="10023" y="382"/>
                  </a:lnTo>
                  <a:lnTo>
                    <a:pt x="10029" y="371"/>
                  </a:lnTo>
                  <a:lnTo>
                    <a:pt x="10034" y="361"/>
                  </a:lnTo>
                  <a:lnTo>
                    <a:pt x="10039" y="349"/>
                  </a:lnTo>
                  <a:lnTo>
                    <a:pt x="10044" y="338"/>
                  </a:lnTo>
                  <a:lnTo>
                    <a:pt x="10048" y="326"/>
                  </a:lnTo>
                  <a:lnTo>
                    <a:pt x="10051" y="314"/>
                  </a:lnTo>
                  <a:lnTo>
                    <a:pt x="10054" y="302"/>
                  </a:lnTo>
                  <a:lnTo>
                    <a:pt x="10056" y="289"/>
                  </a:lnTo>
                  <a:lnTo>
                    <a:pt x="10058" y="277"/>
                  </a:lnTo>
                  <a:lnTo>
                    <a:pt x="10059" y="264"/>
                  </a:lnTo>
                  <a:lnTo>
                    <a:pt x="10059" y="251"/>
                  </a:lnTo>
                  <a:lnTo>
                    <a:pt x="10059" y="238"/>
                  </a:lnTo>
                  <a:lnTo>
                    <a:pt x="10058" y="226"/>
                  </a:lnTo>
                  <a:lnTo>
                    <a:pt x="10056" y="213"/>
                  </a:lnTo>
                  <a:lnTo>
                    <a:pt x="10054" y="201"/>
                  </a:lnTo>
                  <a:lnTo>
                    <a:pt x="10051" y="189"/>
                  </a:lnTo>
                  <a:lnTo>
                    <a:pt x="10048" y="177"/>
                  </a:lnTo>
                  <a:lnTo>
                    <a:pt x="10044" y="165"/>
                  </a:lnTo>
                  <a:lnTo>
                    <a:pt x="10039" y="153"/>
                  </a:lnTo>
                  <a:lnTo>
                    <a:pt x="10034" y="142"/>
                  </a:lnTo>
                  <a:lnTo>
                    <a:pt x="10029" y="131"/>
                  </a:lnTo>
                  <a:lnTo>
                    <a:pt x="10023" y="121"/>
                  </a:lnTo>
                  <a:lnTo>
                    <a:pt x="10016" y="110"/>
                  </a:lnTo>
                  <a:lnTo>
                    <a:pt x="10009" y="101"/>
                  </a:lnTo>
                  <a:lnTo>
                    <a:pt x="10002" y="91"/>
                  </a:lnTo>
                  <a:lnTo>
                    <a:pt x="9994" y="82"/>
                  </a:lnTo>
                  <a:lnTo>
                    <a:pt x="9986" y="73"/>
                  </a:lnTo>
                  <a:lnTo>
                    <a:pt x="9977" y="65"/>
                  </a:lnTo>
                  <a:lnTo>
                    <a:pt x="9968" y="57"/>
                  </a:lnTo>
                  <a:lnTo>
                    <a:pt x="9959" y="50"/>
                  </a:lnTo>
                  <a:lnTo>
                    <a:pt x="9948" y="43"/>
                  </a:lnTo>
                  <a:lnTo>
                    <a:pt x="9938" y="36"/>
                  </a:lnTo>
                  <a:lnTo>
                    <a:pt x="9927" y="30"/>
                  </a:lnTo>
                  <a:lnTo>
                    <a:pt x="9916" y="25"/>
                  </a:lnTo>
                  <a:lnTo>
                    <a:pt x="9905" y="20"/>
                  </a:lnTo>
                  <a:lnTo>
                    <a:pt x="9894" y="15"/>
                  </a:lnTo>
                  <a:lnTo>
                    <a:pt x="9882" y="11"/>
                  </a:lnTo>
                  <a:lnTo>
                    <a:pt x="9870" y="8"/>
                  </a:lnTo>
                  <a:lnTo>
                    <a:pt x="9858" y="5"/>
                  </a:lnTo>
                  <a:lnTo>
                    <a:pt x="9846" y="3"/>
                  </a:lnTo>
                  <a:lnTo>
                    <a:pt x="9834" y="1"/>
                  </a:lnTo>
                  <a:lnTo>
                    <a:pt x="9821" y="1"/>
                  </a:lnTo>
                  <a:lnTo>
                    <a:pt x="98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22" name="íṧlîḓé">
              <a:extLst>
                <a:ext uri="{FF2B5EF4-FFF2-40B4-BE49-F238E27FC236}">
                  <a16:creationId xmlns:a16="http://schemas.microsoft.com/office/drawing/2014/main" id="{85F1F9E3-CAF6-4674-A2EE-AFAB9828A82C}"/>
                </a:ext>
              </a:extLst>
            </p:cNvPr>
            <p:cNvSpPr/>
            <p:nvPr/>
          </p:nvSpPr>
          <p:spPr bwMode="auto">
            <a:xfrm>
              <a:off x="8523343" y="577785"/>
              <a:ext cx="144480" cy="6905"/>
            </a:xfrm>
            <a:custGeom>
              <a:avLst/>
              <a:gdLst>
                <a:gd name="T0" fmla="*/ 238 w 10059"/>
                <a:gd name="T1" fmla="*/ 0 h 503"/>
                <a:gd name="T2" fmla="*/ 201 w 10059"/>
                <a:gd name="T3" fmla="*/ 5 h 503"/>
                <a:gd name="T4" fmla="*/ 165 w 10059"/>
                <a:gd name="T5" fmla="*/ 16 h 503"/>
                <a:gd name="T6" fmla="*/ 132 w 10059"/>
                <a:gd name="T7" fmla="*/ 31 h 503"/>
                <a:gd name="T8" fmla="*/ 100 w 10059"/>
                <a:gd name="T9" fmla="*/ 51 h 503"/>
                <a:gd name="T10" fmla="*/ 73 w 10059"/>
                <a:gd name="T11" fmla="*/ 74 h 503"/>
                <a:gd name="T12" fmla="*/ 50 w 10059"/>
                <a:gd name="T13" fmla="*/ 102 h 503"/>
                <a:gd name="T14" fmla="*/ 30 w 10059"/>
                <a:gd name="T15" fmla="*/ 132 h 503"/>
                <a:gd name="T16" fmla="*/ 15 w 10059"/>
                <a:gd name="T17" fmla="*/ 165 h 503"/>
                <a:gd name="T18" fmla="*/ 5 w 10059"/>
                <a:gd name="T19" fmla="*/ 202 h 503"/>
                <a:gd name="T20" fmla="*/ 0 w 10059"/>
                <a:gd name="T21" fmla="*/ 239 h 503"/>
                <a:gd name="T22" fmla="*/ 1 w 10059"/>
                <a:gd name="T23" fmla="*/ 278 h 503"/>
                <a:gd name="T24" fmla="*/ 8 w 10059"/>
                <a:gd name="T25" fmla="*/ 315 h 503"/>
                <a:gd name="T26" fmla="*/ 20 w 10059"/>
                <a:gd name="T27" fmla="*/ 350 h 503"/>
                <a:gd name="T28" fmla="*/ 36 w 10059"/>
                <a:gd name="T29" fmla="*/ 383 h 503"/>
                <a:gd name="T30" fmla="*/ 57 w 10059"/>
                <a:gd name="T31" fmla="*/ 412 h 503"/>
                <a:gd name="T32" fmla="*/ 82 w 10059"/>
                <a:gd name="T33" fmla="*/ 438 h 503"/>
                <a:gd name="T34" fmla="*/ 110 w 10059"/>
                <a:gd name="T35" fmla="*/ 460 h 503"/>
                <a:gd name="T36" fmla="*/ 143 w 10059"/>
                <a:gd name="T37" fmla="*/ 478 h 503"/>
                <a:gd name="T38" fmla="*/ 177 w 10059"/>
                <a:gd name="T39" fmla="*/ 492 h 503"/>
                <a:gd name="T40" fmla="*/ 213 w 10059"/>
                <a:gd name="T41" fmla="*/ 500 h 503"/>
                <a:gd name="T42" fmla="*/ 251 w 10059"/>
                <a:gd name="T43" fmla="*/ 503 h 503"/>
                <a:gd name="T44" fmla="*/ 9834 w 10059"/>
                <a:gd name="T45" fmla="*/ 502 h 503"/>
                <a:gd name="T46" fmla="*/ 9870 w 10059"/>
                <a:gd name="T47" fmla="*/ 495 h 503"/>
                <a:gd name="T48" fmla="*/ 9905 w 10059"/>
                <a:gd name="T49" fmla="*/ 483 h 503"/>
                <a:gd name="T50" fmla="*/ 9938 w 10059"/>
                <a:gd name="T51" fmla="*/ 467 h 503"/>
                <a:gd name="T52" fmla="*/ 9968 w 10059"/>
                <a:gd name="T53" fmla="*/ 446 h 503"/>
                <a:gd name="T54" fmla="*/ 9994 w 10059"/>
                <a:gd name="T55" fmla="*/ 421 h 503"/>
                <a:gd name="T56" fmla="*/ 10016 w 10059"/>
                <a:gd name="T57" fmla="*/ 393 h 503"/>
                <a:gd name="T58" fmla="*/ 10034 w 10059"/>
                <a:gd name="T59" fmla="*/ 362 h 503"/>
                <a:gd name="T60" fmla="*/ 10048 w 10059"/>
                <a:gd name="T61" fmla="*/ 326 h 503"/>
                <a:gd name="T62" fmla="*/ 10056 w 10059"/>
                <a:gd name="T63" fmla="*/ 290 h 503"/>
                <a:gd name="T64" fmla="*/ 10059 w 10059"/>
                <a:gd name="T65" fmla="*/ 252 h 503"/>
                <a:gd name="T66" fmla="*/ 10056 w 10059"/>
                <a:gd name="T67" fmla="*/ 214 h 503"/>
                <a:gd name="T68" fmla="*/ 10048 w 10059"/>
                <a:gd name="T69" fmla="*/ 177 h 503"/>
                <a:gd name="T70" fmla="*/ 10034 w 10059"/>
                <a:gd name="T71" fmla="*/ 143 h 503"/>
                <a:gd name="T72" fmla="*/ 10016 w 10059"/>
                <a:gd name="T73" fmla="*/ 112 h 503"/>
                <a:gd name="T74" fmla="*/ 9994 w 10059"/>
                <a:gd name="T75" fmla="*/ 83 h 503"/>
                <a:gd name="T76" fmla="*/ 9968 w 10059"/>
                <a:gd name="T77" fmla="*/ 58 h 503"/>
                <a:gd name="T78" fmla="*/ 9938 w 10059"/>
                <a:gd name="T79" fmla="*/ 37 h 503"/>
                <a:gd name="T80" fmla="*/ 9905 w 10059"/>
                <a:gd name="T81" fmla="*/ 21 h 503"/>
                <a:gd name="T82" fmla="*/ 9870 w 10059"/>
                <a:gd name="T83" fmla="*/ 8 h 503"/>
                <a:gd name="T84" fmla="*/ 9834 w 10059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9" h="503">
                  <a:moveTo>
                    <a:pt x="9808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2"/>
                  </a:lnTo>
                  <a:lnTo>
                    <a:pt x="165" y="16"/>
                  </a:lnTo>
                  <a:lnTo>
                    <a:pt x="154" y="21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0" y="37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2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90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2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4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9808" y="503"/>
                  </a:lnTo>
                  <a:lnTo>
                    <a:pt x="9821" y="503"/>
                  </a:lnTo>
                  <a:lnTo>
                    <a:pt x="9834" y="502"/>
                  </a:lnTo>
                  <a:lnTo>
                    <a:pt x="9846" y="500"/>
                  </a:lnTo>
                  <a:lnTo>
                    <a:pt x="9858" y="498"/>
                  </a:lnTo>
                  <a:lnTo>
                    <a:pt x="9870" y="495"/>
                  </a:lnTo>
                  <a:lnTo>
                    <a:pt x="9882" y="492"/>
                  </a:lnTo>
                  <a:lnTo>
                    <a:pt x="9894" y="488"/>
                  </a:lnTo>
                  <a:lnTo>
                    <a:pt x="9905" y="483"/>
                  </a:lnTo>
                  <a:lnTo>
                    <a:pt x="9916" y="478"/>
                  </a:lnTo>
                  <a:lnTo>
                    <a:pt x="9927" y="473"/>
                  </a:lnTo>
                  <a:lnTo>
                    <a:pt x="9938" y="467"/>
                  </a:lnTo>
                  <a:lnTo>
                    <a:pt x="9948" y="460"/>
                  </a:lnTo>
                  <a:lnTo>
                    <a:pt x="9959" y="454"/>
                  </a:lnTo>
                  <a:lnTo>
                    <a:pt x="9968" y="446"/>
                  </a:lnTo>
                  <a:lnTo>
                    <a:pt x="9977" y="438"/>
                  </a:lnTo>
                  <a:lnTo>
                    <a:pt x="9986" y="430"/>
                  </a:lnTo>
                  <a:lnTo>
                    <a:pt x="9994" y="421"/>
                  </a:lnTo>
                  <a:lnTo>
                    <a:pt x="10002" y="412"/>
                  </a:lnTo>
                  <a:lnTo>
                    <a:pt x="10009" y="403"/>
                  </a:lnTo>
                  <a:lnTo>
                    <a:pt x="10016" y="393"/>
                  </a:lnTo>
                  <a:lnTo>
                    <a:pt x="10023" y="383"/>
                  </a:lnTo>
                  <a:lnTo>
                    <a:pt x="10029" y="372"/>
                  </a:lnTo>
                  <a:lnTo>
                    <a:pt x="10034" y="362"/>
                  </a:lnTo>
                  <a:lnTo>
                    <a:pt x="10039" y="350"/>
                  </a:lnTo>
                  <a:lnTo>
                    <a:pt x="10044" y="338"/>
                  </a:lnTo>
                  <a:lnTo>
                    <a:pt x="10048" y="326"/>
                  </a:lnTo>
                  <a:lnTo>
                    <a:pt x="10051" y="315"/>
                  </a:lnTo>
                  <a:lnTo>
                    <a:pt x="10054" y="302"/>
                  </a:lnTo>
                  <a:lnTo>
                    <a:pt x="10056" y="290"/>
                  </a:lnTo>
                  <a:lnTo>
                    <a:pt x="10058" y="278"/>
                  </a:lnTo>
                  <a:lnTo>
                    <a:pt x="10059" y="265"/>
                  </a:lnTo>
                  <a:lnTo>
                    <a:pt x="10059" y="252"/>
                  </a:lnTo>
                  <a:lnTo>
                    <a:pt x="10059" y="239"/>
                  </a:lnTo>
                  <a:lnTo>
                    <a:pt x="10058" y="227"/>
                  </a:lnTo>
                  <a:lnTo>
                    <a:pt x="10056" y="214"/>
                  </a:lnTo>
                  <a:lnTo>
                    <a:pt x="10054" y="202"/>
                  </a:lnTo>
                  <a:lnTo>
                    <a:pt x="10051" y="190"/>
                  </a:lnTo>
                  <a:lnTo>
                    <a:pt x="10048" y="177"/>
                  </a:lnTo>
                  <a:lnTo>
                    <a:pt x="10044" y="165"/>
                  </a:lnTo>
                  <a:lnTo>
                    <a:pt x="10039" y="154"/>
                  </a:lnTo>
                  <a:lnTo>
                    <a:pt x="10034" y="143"/>
                  </a:lnTo>
                  <a:lnTo>
                    <a:pt x="10029" y="132"/>
                  </a:lnTo>
                  <a:lnTo>
                    <a:pt x="10023" y="122"/>
                  </a:lnTo>
                  <a:lnTo>
                    <a:pt x="10016" y="112"/>
                  </a:lnTo>
                  <a:lnTo>
                    <a:pt x="10009" y="102"/>
                  </a:lnTo>
                  <a:lnTo>
                    <a:pt x="10002" y="92"/>
                  </a:lnTo>
                  <a:lnTo>
                    <a:pt x="9994" y="83"/>
                  </a:lnTo>
                  <a:lnTo>
                    <a:pt x="9986" y="74"/>
                  </a:lnTo>
                  <a:lnTo>
                    <a:pt x="9977" y="66"/>
                  </a:lnTo>
                  <a:lnTo>
                    <a:pt x="9968" y="58"/>
                  </a:lnTo>
                  <a:lnTo>
                    <a:pt x="9959" y="51"/>
                  </a:lnTo>
                  <a:lnTo>
                    <a:pt x="9948" y="44"/>
                  </a:lnTo>
                  <a:lnTo>
                    <a:pt x="9938" y="37"/>
                  </a:lnTo>
                  <a:lnTo>
                    <a:pt x="9927" y="31"/>
                  </a:lnTo>
                  <a:lnTo>
                    <a:pt x="9916" y="26"/>
                  </a:lnTo>
                  <a:lnTo>
                    <a:pt x="9905" y="21"/>
                  </a:lnTo>
                  <a:lnTo>
                    <a:pt x="9894" y="16"/>
                  </a:lnTo>
                  <a:lnTo>
                    <a:pt x="9882" y="12"/>
                  </a:lnTo>
                  <a:lnTo>
                    <a:pt x="9870" y="8"/>
                  </a:lnTo>
                  <a:lnTo>
                    <a:pt x="9858" y="5"/>
                  </a:lnTo>
                  <a:lnTo>
                    <a:pt x="9846" y="3"/>
                  </a:lnTo>
                  <a:lnTo>
                    <a:pt x="9834" y="1"/>
                  </a:lnTo>
                  <a:lnTo>
                    <a:pt x="9821" y="0"/>
                  </a:lnTo>
                  <a:lnTo>
                    <a:pt x="98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23" name="i$ḷíḍè">
              <a:extLst>
                <a:ext uri="{FF2B5EF4-FFF2-40B4-BE49-F238E27FC236}">
                  <a16:creationId xmlns:a16="http://schemas.microsoft.com/office/drawing/2014/main" id="{3364D549-5641-441B-8D1B-89FEAD7712C6}"/>
                </a:ext>
              </a:extLst>
            </p:cNvPr>
            <p:cNvSpPr/>
            <p:nvPr/>
          </p:nvSpPr>
          <p:spPr bwMode="auto">
            <a:xfrm>
              <a:off x="8523343" y="476331"/>
              <a:ext cx="64804" cy="65335"/>
            </a:xfrm>
            <a:custGeom>
              <a:avLst/>
              <a:gdLst>
                <a:gd name="T0" fmla="*/ 3521 w 4526"/>
                <a:gd name="T1" fmla="*/ 3519 h 4525"/>
                <a:gd name="T2" fmla="*/ 503 w 4526"/>
                <a:gd name="T3" fmla="*/ 4525 h 4525"/>
                <a:gd name="T4" fmla="*/ 4075 w 4526"/>
                <a:gd name="T5" fmla="*/ 4522 h 4525"/>
                <a:gd name="T6" fmla="*/ 4149 w 4526"/>
                <a:gd name="T7" fmla="*/ 4508 h 4525"/>
                <a:gd name="T8" fmla="*/ 4220 w 4526"/>
                <a:gd name="T9" fmla="*/ 4485 h 4525"/>
                <a:gd name="T10" fmla="*/ 4284 w 4526"/>
                <a:gd name="T11" fmla="*/ 4452 h 4525"/>
                <a:gd name="T12" fmla="*/ 4343 w 4526"/>
                <a:gd name="T13" fmla="*/ 4410 h 4525"/>
                <a:gd name="T14" fmla="*/ 4396 w 4526"/>
                <a:gd name="T15" fmla="*/ 4360 h 4525"/>
                <a:gd name="T16" fmla="*/ 4441 w 4526"/>
                <a:gd name="T17" fmla="*/ 4302 h 4525"/>
                <a:gd name="T18" fmla="*/ 4477 w 4526"/>
                <a:gd name="T19" fmla="*/ 4240 h 4525"/>
                <a:gd name="T20" fmla="*/ 4504 w 4526"/>
                <a:gd name="T21" fmla="*/ 4172 h 4525"/>
                <a:gd name="T22" fmla="*/ 4520 w 4526"/>
                <a:gd name="T23" fmla="*/ 4098 h 4525"/>
                <a:gd name="T24" fmla="*/ 4526 w 4526"/>
                <a:gd name="T25" fmla="*/ 4022 h 4525"/>
                <a:gd name="T26" fmla="*/ 4523 w 4526"/>
                <a:gd name="T27" fmla="*/ 452 h 4525"/>
                <a:gd name="T28" fmla="*/ 4510 w 4526"/>
                <a:gd name="T29" fmla="*/ 377 h 4525"/>
                <a:gd name="T30" fmla="*/ 4487 w 4526"/>
                <a:gd name="T31" fmla="*/ 308 h 4525"/>
                <a:gd name="T32" fmla="*/ 4454 w 4526"/>
                <a:gd name="T33" fmla="*/ 242 h 4525"/>
                <a:gd name="T34" fmla="*/ 4412 w 4526"/>
                <a:gd name="T35" fmla="*/ 183 h 4525"/>
                <a:gd name="T36" fmla="*/ 4361 w 4526"/>
                <a:gd name="T37" fmla="*/ 131 h 4525"/>
                <a:gd name="T38" fmla="*/ 4305 w 4526"/>
                <a:gd name="T39" fmla="*/ 85 h 4525"/>
                <a:gd name="T40" fmla="*/ 4242 w 4526"/>
                <a:gd name="T41" fmla="*/ 49 h 4525"/>
                <a:gd name="T42" fmla="*/ 4173 w 4526"/>
                <a:gd name="T43" fmla="*/ 22 h 4525"/>
                <a:gd name="T44" fmla="*/ 4100 w 4526"/>
                <a:gd name="T45" fmla="*/ 6 h 4525"/>
                <a:gd name="T46" fmla="*/ 4024 w 4526"/>
                <a:gd name="T47" fmla="*/ 0 h 4525"/>
                <a:gd name="T48" fmla="*/ 451 w 4526"/>
                <a:gd name="T49" fmla="*/ 3 h 4525"/>
                <a:gd name="T50" fmla="*/ 377 w 4526"/>
                <a:gd name="T51" fmla="*/ 16 h 4525"/>
                <a:gd name="T52" fmla="*/ 307 w 4526"/>
                <a:gd name="T53" fmla="*/ 39 h 4525"/>
                <a:gd name="T54" fmla="*/ 242 w 4526"/>
                <a:gd name="T55" fmla="*/ 72 h 4525"/>
                <a:gd name="T56" fmla="*/ 183 w 4526"/>
                <a:gd name="T57" fmla="*/ 115 h 4525"/>
                <a:gd name="T58" fmla="*/ 131 w 4526"/>
                <a:gd name="T59" fmla="*/ 165 h 4525"/>
                <a:gd name="T60" fmla="*/ 85 w 4526"/>
                <a:gd name="T61" fmla="*/ 222 h 4525"/>
                <a:gd name="T62" fmla="*/ 49 w 4526"/>
                <a:gd name="T63" fmla="*/ 285 h 4525"/>
                <a:gd name="T64" fmla="*/ 22 w 4526"/>
                <a:gd name="T65" fmla="*/ 353 h 4525"/>
                <a:gd name="T66" fmla="*/ 6 w 4526"/>
                <a:gd name="T67" fmla="*/ 426 h 4525"/>
                <a:gd name="T68" fmla="*/ 0 w 4526"/>
                <a:gd name="T69" fmla="*/ 503 h 4525"/>
                <a:gd name="T70" fmla="*/ 3 w 4526"/>
                <a:gd name="T71" fmla="*/ 4073 h 4525"/>
                <a:gd name="T72" fmla="*/ 16 w 4526"/>
                <a:gd name="T73" fmla="*/ 4147 h 4525"/>
                <a:gd name="T74" fmla="*/ 39 w 4526"/>
                <a:gd name="T75" fmla="*/ 4218 h 4525"/>
                <a:gd name="T76" fmla="*/ 72 w 4526"/>
                <a:gd name="T77" fmla="*/ 4282 h 4525"/>
                <a:gd name="T78" fmla="*/ 114 w 4526"/>
                <a:gd name="T79" fmla="*/ 4342 h 4525"/>
                <a:gd name="T80" fmla="*/ 165 w 4526"/>
                <a:gd name="T81" fmla="*/ 4394 h 4525"/>
                <a:gd name="T82" fmla="*/ 221 w 4526"/>
                <a:gd name="T83" fmla="*/ 4439 h 4525"/>
                <a:gd name="T84" fmla="*/ 284 w 4526"/>
                <a:gd name="T85" fmla="*/ 4475 h 4525"/>
                <a:gd name="T86" fmla="*/ 353 w 4526"/>
                <a:gd name="T87" fmla="*/ 4501 h 4525"/>
                <a:gd name="T88" fmla="*/ 426 w 4526"/>
                <a:gd name="T89" fmla="*/ 4519 h 4525"/>
                <a:gd name="T90" fmla="*/ 503 w 4526"/>
                <a:gd name="T91" fmla="*/ 4525 h 4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526" h="4525">
                  <a:moveTo>
                    <a:pt x="1006" y="1004"/>
                  </a:moveTo>
                  <a:lnTo>
                    <a:pt x="3521" y="1004"/>
                  </a:lnTo>
                  <a:lnTo>
                    <a:pt x="3521" y="3519"/>
                  </a:lnTo>
                  <a:lnTo>
                    <a:pt x="1006" y="3519"/>
                  </a:lnTo>
                  <a:lnTo>
                    <a:pt x="1006" y="1004"/>
                  </a:lnTo>
                  <a:close/>
                  <a:moveTo>
                    <a:pt x="503" y="4525"/>
                  </a:moveTo>
                  <a:lnTo>
                    <a:pt x="4024" y="4525"/>
                  </a:lnTo>
                  <a:lnTo>
                    <a:pt x="4050" y="4524"/>
                  </a:lnTo>
                  <a:lnTo>
                    <a:pt x="4075" y="4522"/>
                  </a:lnTo>
                  <a:lnTo>
                    <a:pt x="4100" y="4519"/>
                  </a:lnTo>
                  <a:lnTo>
                    <a:pt x="4125" y="4515"/>
                  </a:lnTo>
                  <a:lnTo>
                    <a:pt x="4149" y="4508"/>
                  </a:lnTo>
                  <a:lnTo>
                    <a:pt x="4173" y="4501"/>
                  </a:lnTo>
                  <a:lnTo>
                    <a:pt x="4197" y="4494"/>
                  </a:lnTo>
                  <a:lnTo>
                    <a:pt x="4220" y="4485"/>
                  </a:lnTo>
                  <a:lnTo>
                    <a:pt x="4242" y="4475"/>
                  </a:lnTo>
                  <a:lnTo>
                    <a:pt x="4263" y="4464"/>
                  </a:lnTo>
                  <a:lnTo>
                    <a:pt x="4284" y="4452"/>
                  </a:lnTo>
                  <a:lnTo>
                    <a:pt x="4305" y="4439"/>
                  </a:lnTo>
                  <a:lnTo>
                    <a:pt x="4324" y="4425"/>
                  </a:lnTo>
                  <a:lnTo>
                    <a:pt x="4343" y="4410"/>
                  </a:lnTo>
                  <a:lnTo>
                    <a:pt x="4361" y="4394"/>
                  </a:lnTo>
                  <a:lnTo>
                    <a:pt x="4380" y="4378"/>
                  </a:lnTo>
                  <a:lnTo>
                    <a:pt x="4396" y="4360"/>
                  </a:lnTo>
                  <a:lnTo>
                    <a:pt x="4412" y="4342"/>
                  </a:lnTo>
                  <a:lnTo>
                    <a:pt x="4427" y="4322"/>
                  </a:lnTo>
                  <a:lnTo>
                    <a:pt x="4441" y="4302"/>
                  </a:lnTo>
                  <a:lnTo>
                    <a:pt x="4454" y="4282"/>
                  </a:lnTo>
                  <a:lnTo>
                    <a:pt x="4466" y="4261"/>
                  </a:lnTo>
                  <a:lnTo>
                    <a:pt x="4477" y="4240"/>
                  </a:lnTo>
                  <a:lnTo>
                    <a:pt x="4487" y="4218"/>
                  </a:lnTo>
                  <a:lnTo>
                    <a:pt x="4496" y="4195"/>
                  </a:lnTo>
                  <a:lnTo>
                    <a:pt x="4504" y="4172"/>
                  </a:lnTo>
                  <a:lnTo>
                    <a:pt x="4510" y="4147"/>
                  </a:lnTo>
                  <a:lnTo>
                    <a:pt x="4516" y="4123"/>
                  </a:lnTo>
                  <a:lnTo>
                    <a:pt x="4520" y="4098"/>
                  </a:lnTo>
                  <a:lnTo>
                    <a:pt x="4523" y="4073"/>
                  </a:lnTo>
                  <a:lnTo>
                    <a:pt x="4525" y="4048"/>
                  </a:lnTo>
                  <a:lnTo>
                    <a:pt x="4526" y="4022"/>
                  </a:lnTo>
                  <a:lnTo>
                    <a:pt x="4526" y="503"/>
                  </a:lnTo>
                  <a:lnTo>
                    <a:pt x="4525" y="477"/>
                  </a:lnTo>
                  <a:lnTo>
                    <a:pt x="4523" y="452"/>
                  </a:lnTo>
                  <a:lnTo>
                    <a:pt x="4520" y="426"/>
                  </a:lnTo>
                  <a:lnTo>
                    <a:pt x="4516" y="401"/>
                  </a:lnTo>
                  <a:lnTo>
                    <a:pt x="4510" y="377"/>
                  </a:lnTo>
                  <a:lnTo>
                    <a:pt x="4504" y="353"/>
                  </a:lnTo>
                  <a:lnTo>
                    <a:pt x="4496" y="330"/>
                  </a:lnTo>
                  <a:lnTo>
                    <a:pt x="4487" y="308"/>
                  </a:lnTo>
                  <a:lnTo>
                    <a:pt x="4477" y="285"/>
                  </a:lnTo>
                  <a:lnTo>
                    <a:pt x="4466" y="263"/>
                  </a:lnTo>
                  <a:lnTo>
                    <a:pt x="4454" y="242"/>
                  </a:lnTo>
                  <a:lnTo>
                    <a:pt x="4441" y="222"/>
                  </a:lnTo>
                  <a:lnTo>
                    <a:pt x="4427" y="202"/>
                  </a:lnTo>
                  <a:lnTo>
                    <a:pt x="4412" y="183"/>
                  </a:lnTo>
                  <a:lnTo>
                    <a:pt x="4396" y="165"/>
                  </a:lnTo>
                  <a:lnTo>
                    <a:pt x="4380" y="148"/>
                  </a:lnTo>
                  <a:lnTo>
                    <a:pt x="4361" y="131"/>
                  </a:lnTo>
                  <a:lnTo>
                    <a:pt x="4343" y="115"/>
                  </a:lnTo>
                  <a:lnTo>
                    <a:pt x="4324" y="99"/>
                  </a:lnTo>
                  <a:lnTo>
                    <a:pt x="4305" y="85"/>
                  </a:lnTo>
                  <a:lnTo>
                    <a:pt x="4284" y="72"/>
                  </a:lnTo>
                  <a:lnTo>
                    <a:pt x="4263" y="60"/>
                  </a:lnTo>
                  <a:lnTo>
                    <a:pt x="4242" y="49"/>
                  </a:lnTo>
                  <a:lnTo>
                    <a:pt x="4220" y="39"/>
                  </a:lnTo>
                  <a:lnTo>
                    <a:pt x="4197" y="30"/>
                  </a:lnTo>
                  <a:lnTo>
                    <a:pt x="4173" y="22"/>
                  </a:lnTo>
                  <a:lnTo>
                    <a:pt x="4149" y="16"/>
                  </a:lnTo>
                  <a:lnTo>
                    <a:pt x="4125" y="10"/>
                  </a:lnTo>
                  <a:lnTo>
                    <a:pt x="4100" y="6"/>
                  </a:lnTo>
                  <a:lnTo>
                    <a:pt x="4075" y="3"/>
                  </a:lnTo>
                  <a:lnTo>
                    <a:pt x="4050" y="1"/>
                  </a:lnTo>
                  <a:lnTo>
                    <a:pt x="4024" y="0"/>
                  </a:lnTo>
                  <a:lnTo>
                    <a:pt x="503" y="0"/>
                  </a:lnTo>
                  <a:lnTo>
                    <a:pt x="477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4" y="49"/>
                  </a:lnTo>
                  <a:lnTo>
                    <a:pt x="262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8"/>
                  </a:lnTo>
                  <a:lnTo>
                    <a:pt x="131" y="165"/>
                  </a:lnTo>
                  <a:lnTo>
                    <a:pt x="114" y="183"/>
                  </a:lnTo>
                  <a:lnTo>
                    <a:pt x="99" y="202"/>
                  </a:lnTo>
                  <a:lnTo>
                    <a:pt x="85" y="222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8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0" y="4022"/>
                  </a:lnTo>
                  <a:lnTo>
                    <a:pt x="1" y="4048"/>
                  </a:lnTo>
                  <a:lnTo>
                    <a:pt x="3" y="4073"/>
                  </a:lnTo>
                  <a:lnTo>
                    <a:pt x="6" y="4098"/>
                  </a:lnTo>
                  <a:lnTo>
                    <a:pt x="10" y="4123"/>
                  </a:lnTo>
                  <a:lnTo>
                    <a:pt x="16" y="4147"/>
                  </a:lnTo>
                  <a:lnTo>
                    <a:pt x="22" y="4172"/>
                  </a:lnTo>
                  <a:lnTo>
                    <a:pt x="30" y="4195"/>
                  </a:lnTo>
                  <a:lnTo>
                    <a:pt x="39" y="4218"/>
                  </a:lnTo>
                  <a:lnTo>
                    <a:pt x="49" y="4240"/>
                  </a:lnTo>
                  <a:lnTo>
                    <a:pt x="60" y="4261"/>
                  </a:lnTo>
                  <a:lnTo>
                    <a:pt x="72" y="4282"/>
                  </a:lnTo>
                  <a:lnTo>
                    <a:pt x="85" y="4302"/>
                  </a:lnTo>
                  <a:lnTo>
                    <a:pt x="99" y="4322"/>
                  </a:lnTo>
                  <a:lnTo>
                    <a:pt x="114" y="4342"/>
                  </a:lnTo>
                  <a:lnTo>
                    <a:pt x="131" y="4360"/>
                  </a:lnTo>
                  <a:lnTo>
                    <a:pt x="147" y="4378"/>
                  </a:lnTo>
                  <a:lnTo>
                    <a:pt x="165" y="4394"/>
                  </a:lnTo>
                  <a:lnTo>
                    <a:pt x="183" y="4410"/>
                  </a:lnTo>
                  <a:lnTo>
                    <a:pt x="202" y="4425"/>
                  </a:lnTo>
                  <a:lnTo>
                    <a:pt x="221" y="4439"/>
                  </a:lnTo>
                  <a:lnTo>
                    <a:pt x="242" y="4452"/>
                  </a:lnTo>
                  <a:lnTo>
                    <a:pt x="262" y="4464"/>
                  </a:lnTo>
                  <a:lnTo>
                    <a:pt x="284" y="4475"/>
                  </a:lnTo>
                  <a:lnTo>
                    <a:pt x="307" y="4485"/>
                  </a:lnTo>
                  <a:lnTo>
                    <a:pt x="330" y="4494"/>
                  </a:lnTo>
                  <a:lnTo>
                    <a:pt x="353" y="4501"/>
                  </a:lnTo>
                  <a:lnTo>
                    <a:pt x="377" y="4508"/>
                  </a:lnTo>
                  <a:lnTo>
                    <a:pt x="401" y="4515"/>
                  </a:lnTo>
                  <a:lnTo>
                    <a:pt x="426" y="4519"/>
                  </a:lnTo>
                  <a:lnTo>
                    <a:pt x="451" y="4522"/>
                  </a:lnTo>
                  <a:lnTo>
                    <a:pt x="477" y="4524"/>
                  </a:lnTo>
                  <a:lnTo>
                    <a:pt x="503" y="45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24" name="îšḷíḍê">
              <a:extLst>
                <a:ext uri="{FF2B5EF4-FFF2-40B4-BE49-F238E27FC236}">
                  <a16:creationId xmlns:a16="http://schemas.microsoft.com/office/drawing/2014/main" id="{2D53E16C-81B4-4D8E-8E34-1D0385D65DDD}"/>
                </a:ext>
              </a:extLst>
            </p:cNvPr>
            <p:cNvSpPr/>
            <p:nvPr/>
          </p:nvSpPr>
          <p:spPr bwMode="auto">
            <a:xfrm>
              <a:off x="8019354" y="1171459"/>
              <a:ext cx="613338" cy="401842"/>
            </a:xfrm>
            <a:custGeom>
              <a:avLst/>
              <a:gdLst>
                <a:gd name="T0" fmla="*/ 8477 w 16095"/>
                <a:gd name="T1" fmla="*/ 6935 h 10545"/>
                <a:gd name="T2" fmla="*/ 8249 w 16095"/>
                <a:gd name="T3" fmla="*/ 7011 h 10545"/>
                <a:gd name="T4" fmla="*/ 8006 w 16095"/>
                <a:gd name="T5" fmla="*/ 7030 h 10545"/>
                <a:gd name="T6" fmla="*/ 7768 w 16095"/>
                <a:gd name="T7" fmla="*/ 6992 h 10545"/>
                <a:gd name="T8" fmla="*/ 7547 w 16095"/>
                <a:gd name="T9" fmla="*/ 6897 h 10545"/>
                <a:gd name="T10" fmla="*/ 1006 w 16095"/>
                <a:gd name="T11" fmla="*/ 2010 h 10545"/>
                <a:gd name="T12" fmla="*/ 1038 w 16095"/>
                <a:gd name="T13" fmla="*/ 1758 h 10545"/>
                <a:gd name="T14" fmla="*/ 1152 w 16095"/>
                <a:gd name="T15" fmla="*/ 1488 h 10545"/>
                <a:gd name="T16" fmla="*/ 1336 w 16095"/>
                <a:gd name="T17" fmla="*/ 1265 h 10545"/>
                <a:gd name="T18" fmla="*/ 1576 w 16095"/>
                <a:gd name="T19" fmla="*/ 1104 h 10545"/>
                <a:gd name="T20" fmla="*/ 1859 w 16095"/>
                <a:gd name="T21" fmla="*/ 1016 h 10545"/>
                <a:gd name="T22" fmla="*/ 14186 w 16095"/>
                <a:gd name="T23" fmla="*/ 1009 h 10545"/>
                <a:gd name="T24" fmla="*/ 14474 w 16095"/>
                <a:gd name="T25" fmla="*/ 1084 h 10545"/>
                <a:gd name="T26" fmla="*/ 14723 w 16095"/>
                <a:gd name="T27" fmla="*/ 1234 h 10545"/>
                <a:gd name="T28" fmla="*/ 14917 w 16095"/>
                <a:gd name="T29" fmla="*/ 1447 h 10545"/>
                <a:gd name="T30" fmla="*/ 15044 w 16095"/>
                <a:gd name="T31" fmla="*/ 1710 h 10545"/>
                <a:gd name="T32" fmla="*/ 15089 w 16095"/>
                <a:gd name="T33" fmla="*/ 2009 h 10545"/>
                <a:gd name="T34" fmla="*/ 15089 w 16095"/>
                <a:gd name="T35" fmla="*/ 8535 h 10545"/>
                <a:gd name="T36" fmla="*/ 15044 w 16095"/>
                <a:gd name="T37" fmla="*/ 8835 h 10545"/>
                <a:gd name="T38" fmla="*/ 14917 w 16095"/>
                <a:gd name="T39" fmla="*/ 9097 h 10545"/>
                <a:gd name="T40" fmla="*/ 14723 w 16095"/>
                <a:gd name="T41" fmla="*/ 9311 h 10545"/>
                <a:gd name="T42" fmla="*/ 14474 w 16095"/>
                <a:gd name="T43" fmla="*/ 9461 h 10545"/>
                <a:gd name="T44" fmla="*/ 14186 w 16095"/>
                <a:gd name="T45" fmla="*/ 9535 h 10545"/>
                <a:gd name="T46" fmla="*/ 1859 w 16095"/>
                <a:gd name="T47" fmla="*/ 9529 h 10545"/>
                <a:gd name="T48" fmla="*/ 1576 w 16095"/>
                <a:gd name="T49" fmla="*/ 9441 h 10545"/>
                <a:gd name="T50" fmla="*/ 1336 w 16095"/>
                <a:gd name="T51" fmla="*/ 9280 h 10545"/>
                <a:gd name="T52" fmla="*/ 1152 w 16095"/>
                <a:gd name="T53" fmla="*/ 9057 h 10545"/>
                <a:gd name="T54" fmla="*/ 1038 w 16095"/>
                <a:gd name="T55" fmla="*/ 8786 h 10545"/>
                <a:gd name="T56" fmla="*/ 4945 w 16095"/>
                <a:gd name="T57" fmla="*/ 5587 h 10545"/>
                <a:gd name="T58" fmla="*/ 7271 w 16095"/>
                <a:gd name="T59" fmla="*/ 7318 h 10545"/>
                <a:gd name="T60" fmla="*/ 7435 w 16095"/>
                <a:gd name="T61" fmla="*/ 7403 h 10545"/>
                <a:gd name="T62" fmla="*/ 7605 w 16095"/>
                <a:gd name="T63" fmla="*/ 7466 h 10545"/>
                <a:gd name="T64" fmla="*/ 7780 w 16095"/>
                <a:gd name="T65" fmla="*/ 7509 h 10545"/>
                <a:gd name="T66" fmla="*/ 7958 w 16095"/>
                <a:gd name="T67" fmla="*/ 7530 h 10545"/>
                <a:gd name="T68" fmla="*/ 8137 w 16095"/>
                <a:gd name="T69" fmla="*/ 7530 h 10545"/>
                <a:gd name="T70" fmla="*/ 8315 w 16095"/>
                <a:gd name="T71" fmla="*/ 7509 h 10545"/>
                <a:gd name="T72" fmla="*/ 8490 w 16095"/>
                <a:gd name="T73" fmla="*/ 7466 h 10545"/>
                <a:gd name="T74" fmla="*/ 8660 w 16095"/>
                <a:gd name="T75" fmla="*/ 7403 h 10545"/>
                <a:gd name="T76" fmla="*/ 8823 w 16095"/>
                <a:gd name="T77" fmla="*/ 7318 h 10545"/>
                <a:gd name="T78" fmla="*/ 11150 w 16095"/>
                <a:gd name="T79" fmla="*/ 5587 h 10545"/>
                <a:gd name="T80" fmla="*/ 14083 w 16095"/>
                <a:gd name="T81" fmla="*/ 0 h 10545"/>
                <a:gd name="T82" fmla="*/ 1509 w 16095"/>
                <a:gd name="T83" fmla="*/ 63 h 10545"/>
                <a:gd name="T84" fmla="*/ 969 w 16095"/>
                <a:gd name="T85" fmla="*/ 291 h 10545"/>
                <a:gd name="T86" fmla="*/ 523 w 16095"/>
                <a:gd name="T87" fmla="*/ 658 h 10545"/>
                <a:gd name="T88" fmla="*/ 198 w 16095"/>
                <a:gd name="T89" fmla="*/ 1138 h 10545"/>
                <a:gd name="T90" fmla="*/ 23 w 16095"/>
                <a:gd name="T91" fmla="*/ 1702 h 10545"/>
                <a:gd name="T92" fmla="*/ 10 w 16095"/>
                <a:gd name="T93" fmla="*/ 8741 h 10545"/>
                <a:gd name="T94" fmla="*/ 158 w 16095"/>
                <a:gd name="T95" fmla="*/ 9318 h 10545"/>
                <a:gd name="T96" fmla="*/ 460 w 16095"/>
                <a:gd name="T97" fmla="*/ 9814 h 10545"/>
                <a:gd name="T98" fmla="*/ 887 w 16095"/>
                <a:gd name="T99" fmla="*/ 10202 h 10545"/>
                <a:gd name="T100" fmla="*/ 1413 w 16095"/>
                <a:gd name="T101" fmla="*/ 10455 h 10545"/>
                <a:gd name="T102" fmla="*/ 2012 w 16095"/>
                <a:gd name="T103" fmla="*/ 10545 h 10545"/>
                <a:gd name="T104" fmla="*/ 14586 w 16095"/>
                <a:gd name="T105" fmla="*/ 10482 h 10545"/>
                <a:gd name="T106" fmla="*/ 15126 w 16095"/>
                <a:gd name="T107" fmla="*/ 10254 h 10545"/>
                <a:gd name="T108" fmla="*/ 15572 w 16095"/>
                <a:gd name="T109" fmla="*/ 9886 h 10545"/>
                <a:gd name="T110" fmla="*/ 15897 w 16095"/>
                <a:gd name="T111" fmla="*/ 9407 h 10545"/>
                <a:gd name="T112" fmla="*/ 16072 w 16095"/>
                <a:gd name="T113" fmla="*/ 8842 h 10545"/>
                <a:gd name="T114" fmla="*/ 16085 w 16095"/>
                <a:gd name="T115" fmla="*/ 1803 h 10545"/>
                <a:gd name="T116" fmla="*/ 15937 w 16095"/>
                <a:gd name="T117" fmla="*/ 1227 h 10545"/>
                <a:gd name="T118" fmla="*/ 15635 w 16095"/>
                <a:gd name="T119" fmla="*/ 731 h 10545"/>
                <a:gd name="T120" fmla="*/ 15208 w 16095"/>
                <a:gd name="T121" fmla="*/ 343 h 10545"/>
                <a:gd name="T122" fmla="*/ 14682 w 16095"/>
                <a:gd name="T123" fmla="*/ 90 h 10545"/>
                <a:gd name="T124" fmla="*/ 14083 w 16095"/>
                <a:gd name="T125" fmla="*/ 0 h 10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95" h="10545">
                  <a:moveTo>
                    <a:pt x="8651" y="6830"/>
                  </a:moveTo>
                  <a:lnTo>
                    <a:pt x="8618" y="6853"/>
                  </a:lnTo>
                  <a:lnTo>
                    <a:pt x="8584" y="6876"/>
                  </a:lnTo>
                  <a:lnTo>
                    <a:pt x="8548" y="6897"/>
                  </a:lnTo>
                  <a:lnTo>
                    <a:pt x="8513" y="6917"/>
                  </a:lnTo>
                  <a:lnTo>
                    <a:pt x="8477" y="6935"/>
                  </a:lnTo>
                  <a:lnTo>
                    <a:pt x="8441" y="6951"/>
                  </a:lnTo>
                  <a:lnTo>
                    <a:pt x="8404" y="6966"/>
                  </a:lnTo>
                  <a:lnTo>
                    <a:pt x="8365" y="6980"/>
                  </a:lnTo>
                  <a:lnTo>
                    <a:pt x="8327" y="6992"/>
                  </a:lnTo>
                  <a:lnTo>
                    <a:pt x="8288" y="7002"/>
                  </a:lnTo>
                  <a:lnTo>
                    <a:pt x="8249" y="7011"/>
                  </a:lnTo>
                  <a:lnTo>
                    <a:pt x="8209" y="7018"/>
                  </a:lnTo>
                  <a:lnTo>
                    <a:pt x="8169" y="7023"/>
                  </a:lnTo>
                  <a:lnTo>
                    <a:pt x="8129" y="7027"/>
                  </a:lnTo>
                  <a:lnTo>
                    <a:pt x="8089" y="7030"/>
                  </a:lnTo>
                  <a:lnTo>
                    <a:pt x="8048" y="7031"/>
                  </a:lnTo>
                  <a:lnTo>
                    <a:pt x="8006" y="7030"/>
                  </a:lnTo>
                  <a:lnTo>
                    <a:pt x="7966" y="7027"/>
                  </a:lnTo>
                  <a:lnTo>
                    <a:pt x="7926" y="7023"/>
                  </a:lnTo>
                  <a:lnTo>
                    <a:pt x="7886" y="7018"/>
                  </a:lnTo>
                  <a:lnTo>
                    <a:pt x="7845" y="7011"/>
                  </a:lnTo>
                  <a:lnTo>
                    <a:pt x="7806" y="7002"/>
                  </a:lnTo>
                  <a:lnTo>
                    <a:pt x="7768" y="6992"/>
                  </a:lnTo>
                  <a:lnTo>
                    <a:pt x="7730" y="6980"/>
                  </a:lnTo>
                  <a:lnTo>
                    <a:pt x="7691" y="6966"/>
                  </a:lnTo>
                  <a:lnTo>
                    <a:pt x="7654" y="6951"/>
                  </a:lnTo>
                  <a:lnTo>
                    <a:pt x="7618" y="6935"/>
                  </a:lnTo>
                  <a:lnTo>
                    <a:pt x="7582" y="6917"/>
                  </a:lnTo>
                  <a:lnTo>
                    <a:pt x="7547" y="6897"/>
                  </a:lnTo>
                  <a:lnTo>
                    <a:pt x="7511" y="6876"/>
                  </a:lnTo>
                  <a:lnTo>
                    <a:pt x="7477" y="6853"/>
                  </a:lnTo>
                  <a:lnTo>
                    <a:pt x="7444" y="6830"/>
                  </a:lnTo>
                  <a:lnTo>
                    <a:pt x="5364" y="5273"/>
                  </a:lnTo>
                  <a:lnTo>
                    <a:pt x="4945" y="4958"/>
                  </a:lnTo>
                  <a:lnTo>
                    <a:pt x="1006" y="2010"/>
                  </a:lnTo>
                  <a:lnTo>
                    <a:pt x="1006" y="2009"/>
                  </a:lnTo>
                  <a:lnTo>
                    <a:pt x="1007" y="1957"/>
                  </a:lnTo>
                  <a:lnTo>
                    <a:pt x="1011" y="1906"/>
                  </a:lnTo>
                  <a:lnTo>
                    <a:pt x="1018" y="1856"/>
                  </a:lnTo>
                  <a:lnTo>
                    <a:pt x="1026" y="1807"/>
                  </a:lnTo>
                  <a:lnTo>
                    <a:pt x="1038" y="1758"/>
                  </a:lnTo>
                  <a:lnTo>
                    <a:pt x="1051" y="1710"/>
                  </a:lnTo>
                  <a:lnTo>
                    <a:pt x="1067" y="1663"/>
                  </a:lnTo>
                  <a:lnTo>
                    <a:pt x="1085" y="1618"/>
                  </a:lnTo>
                  <a:lnTo>
                    <a:pt x="1106" y="1574"/>
                  </a:lnTo>
                  <a:lnTo>
                    <a:pt x="1128" y="1531"/>
                  </a:lnTo>
                  <a:lnTo>
                    <a:pt x="1152" y="1488"/>
                  </a:lnTo>
                  <a:lnTo>
                    <a:pt x="1178" y="1447"/>
                  </a:lnTo>
                  <a:lnTo>
                    <a:pt x="1206" y="1408"/>
                  </a:lnTo>
                  <a:lnTo>
                    <a:pt x="1236" y="1370"/>
                  </a:lnTo>
                  <a:lnTo>
                    <a:pt x="1267" y="1334"/>
                  </a:lnTo>
                  <a:lnTo>
                    <a:pt x="1301" y="1299"/>
                  </a:lnTo>
                  <a:lnTo>
                    <a:pt x="1336" y="1265"/>
                  </a:lnTo>
                  <a:lnTo>
                    <a:pt x="1372" y="1234"/>
                  </a:lnTo>
                  <a:lnTo>
                    <a:pt x="1410" y="1204"/>
                  </a:lnTo>
                  <a:lnTo>
                    <a:pt x="1450" y="1176"/>
                  </a:lnTo>
                  <a:lnTo>
                    <a:pt x="1491" y="1150"/>
                  </a:lnTo>
                  <a:lnTo>
                    <a:pt x="1533" y="1126"/>
                  </a:lnTo>
                  <a:lnTo>
                    <a:pt x="1576" y="1104"/>
                  </a:lnTo>
                  <a:lnTo>
                    <a:pt x="1621" y="1084"/>
                  </a:lnTo>
                  <a:lnTo>
                    <a:pt x="1666" y="1066"/>
                  </a:lnTo>
                  <a:lnTo>
                    <a:pt x="1713" y="1049"/>
                  </a:lnTo>
                  <a:lnTo>
                    <a:pt x="1760" y="1036"/>
                  </a:lnTo>
                  <a:lnTo>
                    <a:pt x="1810" y="1024"/>
                  </a:lnTo>
                  <a:lnTo>
                    <a:pt x="1859" y="1016"/>
                  </a:lnTo>
                  <a:lnTo>
                    <a:pt x="1909" y="1009"/>
                  </a:lnTo>
                  <a:lnTo>
                    <a:pt x="1961" y="1005"/>
                  </a:lnTo>
                  <a:lnTo>
                    <a:pt x="2012" y="1004"/>
                  </a:lnTo>
                  <a:lnTo>
                    <a:pt x="14083" y="1004"/>
                  </a:lnTo>
                  <a:lnTo>
                    <a:pt x="14134" y="1005"/>
                  </a:lnTo>
                  <a:lnTo>
                    <a:pt x="14186" y="1009"/>
                  </a:lnTo>
                  <a:lnTo>
                    <a:pt x="14236" y="1016"/>
                  </a:lnTo>
                  <a:lnTo>
                    <a:pt x="14285" y="1024"/>
                  </a:lnTo>
                  <a:lnTo>
                    <a:pt x="14335" y="1036"/>
                  </a:lnTo>
                  <a:lnTo>
                    <a:pt x="14382" y="1049"/>
                  </a:lnTo>
                  <a:lnTo>
                    <a:pt x="14428" y="1066"/>
                  </a:lnTo>
                  <a:lnTo>
                    <a:pt x="14474" y="1084"/>
                  </a:lnTo>
                  <a:lnTo>
                    <a:pt x="14519" y="1104"/>
                  </a:lnTo>
                  <a:lnTo>
                    <a:pt x="14562" y="1126"/>
                  </a:lnTo>
                  <a:lnTo>
                    <a:pt x="14604" y="1150"/>
                  </a:lnTo>
                  <a:lnTo>
                    <a:pt x="14645" y="1176"/>
                  </a:lnTo>
                  <a:lnTo>
                    <a:pt x="14685" y="1204"/>
                  </a:lnTo>
                  <a:lnTo>
                    <a:pt x="14723" y="1234"/>
                  </a:lnTo>
                  <a:lnTo>
                    <a:pt x="14759" y="1265"/>
                  </a:lnTo>
                  <a:lnTo>
                    <a:pt x="14794" y="1299"/>
                  </a:lnTo>
                  <a:lnTo>
                    <a:pt x="14828" y="1334"/>
                  </a:lnTo>
                  <a:lnTo>
                    <a:pt x="14859" y="1370"/>
                  </a:lnTo>
                  <a:lnTo>
                    <a:pt x="14889" y="1408"/>
                  </a:lnTo>
                  <a:lnTo>
                    <a:pt x="14917" y="1447"/>
                  </a:lnTo>
                  <a:lnTo>
                    <a:pt x="14943" y="1488"/>
                  </a:lnTo>
                  <a:lnTo>
                    <a:pt x="14967" y="1531"/>
                  </a:lnTo>
                  <a:lnTo>
                    <a:pt x="14989" y="1574"/>
                  </a:lnTo>
                  <a:lnTo>
                    <a:pt x="15010" y="1618"/>
                  </a:lnTo>
                  <a:lnTo>
                    <a:pt x="15028" y="1663"/>
                  </a:lnTo>
                  <a:lnTo>
                    <a:pt x="15044" y="1710"/>
                  </a:lnTo>
                  <a:lnTo>
                    <a:pt x="15058" y="1758"/>
                  </a:lnTo>
                  <a:lnTo>
                    <a:pt x="15069" y="1807"/>
                  </a:lnTo>
                  <a:lnTo>
                    <a:pt x="15078" y="1856"/>
                  </a:lnTo>
                  <a:lnTo>
                    <a:pt x="15084" y="1906"/>
                  </a:lnTo>
                  <a:lnTo>
                    <a:pt x="15088" y="1957"/>
                  </a:lnTo>
                  <a:lnTo>
                    <a:pt x="15089" y="2009"/>
                  </a:lnTo>
                  <a:lnTo>
                    <a:pt x="8651" y="6830"/>
                  </a:lnTo>
                  <a:close/>
                  <a:moveTo>
                    <a:pt x="15089" y="7908"/>
                  </a:moveTo>
                  <a:lnTo>
                    <a:pt x="11569" y="5273"/>
                  </a:lnTo>
                  <a:lnTo>
                    <a:pt x="15089" y="2636"/>
                  </a:lnTo>
                  <a:lnTo>
                    <a:pt x="15089" y="7908"/>
                  </a:lnTo>
                  <a:close/>
                  <a:moveTo>
                    <a:pt x="15089" y="8535"/>
                  </a:moveTo>
                  <a:lnTo>
                    <a:pt x="15088" y="8588"/>
                  </a:lnTo>
                  <a:lnTo>
                    <a:pt x="15084" y="8639"/>
                  </a:lnTo>
                  <a:lnTo>
                    <a:pt x="15078" y="8689"/>
                  </a:lnTo>
                  <a:lnTo>
                    <a:pt x="15069" y="8738"/>
                  </a:lnTo>
                  <a:lnTo>
                    <a:pt x="15058" y="8786"/>
                  </a:lnTo>
                  <a:lnTo>
                    <a:pt x="15044" y="8835"/>
                  </a:lnTo>
                  <a:lnTo>
                    <a:pt x="15028" y="8881"/>
                  </a:lnTo>
                  <a:lnTo>
                    <a:pt x="15010" y="8927"/>
                  </a:lnTo>
                  <a:lnTo>
                    <a:pt x="14989" y="8971"/>
                  </a:lnTo>
                  <a:lnTo>
                    <a:pt x="14967" y="9014"/>
                  </a:lnTo>
                  <a:lnTo>
                    <a:pt x="14943" y="9057"/>
                  </a:lnTo>
                  <a:lnTo>
                    <a:pt x="14917" y="9097"/>
                  </a:lnTo>
                  <a:lnTo>
                    <a:pt x="14889" y="9137"/>
                  </a:lnTo>
                  <a:lnTo>
                    <a:pt x="14859" y="9174"/>
                  </a:lnTo>
                  <a:lnTo>
                    <a:pt x="14828" y="9211"/>
                  </a:lnTo>
                  <a:lnTo>
                    <a:pt x="14794" y="9246"/>
                  </a:lnTo>
                  <a:lnTo>
                    <a:pt x="14759" y="9280"/>
                  </a:lnTo>
                  <a:lnTo>
                    <a:pt x="14723" y="9311"/>
                  </a:lnTo>
                  <a:lnTo>
                    <a:pt x="14685" y="9341"/>
                  </a:lnTo>
                  <a:lnTo>
                    <a:pt x="14645" y="9369"/>
                  </a:lnTo>
                  <a:lnTo>
                    <a:pt x="14604" y="9395"/>
                  </a:lnTo>
                  <a:lnTo>
                    <a:pt x="14562" y="9419"/>
                  </a:lnTo>
                  <a:lnTo>
                    <a:pt x="14519" y="9441"/>
                  </a:lnTo>
                  <a:lnTo>
                    <a:pt x="14474" y="9461"/>
                  </a:lnTo>
                  <a:lnTo>
                    <a:pt x="14428" y="9479"/>
                  </a:lnTo>
                  <a:lnTo>
                    <a:pt x="14382" y="9496"/>
                  </a:lnTo>
                  <a:lnTo>
                    <a:pt x="14335" y="9509"/>
                  </a:lnTo>
                  <a:lnTo>
                    <a:pt x="14285" y="9520"/>
                  </a:lnTo>
                  <a:lnTo>
                    <a:pt x="14236" y="9529"/>
                  </a:lnTo>
                  <a:lnTo>
                    <a:pt x="14186" y="9535"/>
                  </a:lnTo>
                  <a:lnTo>
                    <a:pt x="14134" y="9539"/>
                  </a:lnTo>
                  <a:lnTo>
                    <a:pt x="14083" y="9540"/>
                  </a:lnTo>
                  <a:lnTo>
                    <a:pt x="2012" y="9540"/>
                  </a:lnTo>
                  <a:lnTo>
                    <a:pt x="1961" y="9539"/>
                  </a:lnTo>
                  <a:lnTo>
                    <a:pt x="1909" y="9535"/>
                  </a:lnTo>
                  <a:lnTo>
                    <a:pt x="1859" y="9529"/>
                  </a:lnTo>
                  <a:lnTo>
                    <a:pt x="1810" y="9520"/>
                  </a:lnTo>
                  <a:lnTo>
                    <a:pt x="1760" y="9509"/>
                  </a:lnTo>
                  <a:lnTo>
                    <a:pt x="1713" y="9496"/>
                  </a:lnTo>
                  <a:lnTo>
                    <a:pt x="1666" y="9479"/>
                  </a:lnTo>
                  <a:lnTo>
                    <a:pt x="1621" y="9461"/>
                  </a:lnTo>
                  <a:lnTo>
                    <a:pt x="1576" y="9441"/>
                  </a:lnTo>
                  <a:lnTo>
                    <a:pt x="1533" y="9419"/>
                  </a:lnTo>
                  <a:lnTo>
                    <a:pt x="1491" y="9395"/>
                  </a:lnTo>
                  <a:lnTo>
                    <a:pt x="1450" y="9369"/>
                  </a:lnTo>
                  <a:lnTo>
                    <a:pt x="1410" y="9341"/>
                  </a:lnTo>
                  <a:lnTo>
                    <a:pt x="1372" y="9311"/>
                  </a:lnTo>
                  <a:lnTo>
                    <a:pt x="1336" y="9280"/>
                  </a:lnTo>
                  <a:lnTo>
                    <a:pt x="1301" y="9246"/>
                  </a:lnTo>
                  <a:lnTo>
                    <a:pt x="1267" y="9211"/>
                  </a:lnTo>
                  <a:lnTo>
                    <a:pt x="1236" y="9174"/>
                  </a:lnTo>
                  <a:lnTo>
                    <a:pt x="1206" y="9137"/>
                  </a:lnTo>
                  <a:lnTo>
                    <a:pt x="1178" y="9097"/>
                  </a:lnTo>
                  <a:lnTo>
                    <a:pt x="1152" y="9057"/>
                  </a:lnTo>
                  <a:lnTo>
                    <a:pt x="1128" y="9014"/>
                  </a:lnTo>
                  <a:lnTo>
                    <a:pt x="1106" y="8971"/>
                  </a:lnTo>
                  <a:lnTo>
                    <a:pt x="1085" y="8927"/>
                  </a:lnTo>
                  <a:lnTo>
                    <a:pt x="1067" y="8881"/>
                  </a:lnTo>
                  <a:lnTo>
                    <a:pt x="1051" y="8835"/>
                  </a:lnTo>
                  <a:lnTo>
                    <a:pt x="1038" y="8786"/>
                  </a:lnTo>
                  <a:lnTo>
                    <a:pt x="1026" y="8738"/>
                  </a:lnTo>
                  <a:lnTo>
                    <a:pt x="1018" y="8689"/>
                  </a:lnTo>
                  <a:lnTo>
                    <a:pt x="1011" y="8639"/>
                  </a:lnTo>
                  <a:lnTo>
                    <a:pt x="1007" y="8588"/>
                  </a:lnTo>
                  <a:lnTo>
                    <a:pt x="1006" y="8535"/>
                  </a:lnTo>
                  <a:lnTo>
                    <a:pt x="4945" y="5587"/>
                  </a:lnTo>
                  <a:lnTo>
                    <a:pt x="7142" y="7232"/>
                  </a:lnTo>
                  <a:lnTo>
                    <a:pt x="7167" y="7250"/>
                  </a:lnTo>
                  <a:lnTo>
                    <a:pt x="7193" y="7268"/>
                  </a:lnTo>
                  <a:lnTo>
                    <a:pt x="7219" y="7285"/>
                  </a:lnTo>
                  <a:lnTo>
                    <a:pt x="7245" y="7302"/>
                  </a:lnTo>
                  <a:lnTo>
                    <a:pt x="7271" y="7318"/>
                  </a:lnTo>
                  <a:lnTo>
                    <a:pt x="7298" y="7333"/>
                  </a:lnTo>
                  <a:lnTo>
                    <a:pt x="7325" y="7348"/>
                  </a:lnTo>
                  <a:lnTo>
                    <a:pt x="7352" y="7363"/>
                  </a:lnTo>
                  <a:lnTo>
                    <a:pt x="7380" y="7376"/>
                  </a:lnTo>
                  <a:lnTo>
                    <a:pt x="7407" y="7391"/>
                  </a:lnTo>
                  <a:lnTo>
                    <a:pt x="7435" y="7403"/>
                  </a:lnTo>
                  <a:lnTo>
                    <a:pt x="7462" y="7415"/>
                  </a:lnTo>
                  <a:lnTo>
                    <a:pt x="7490" y="7427"/>
                  </a:lnTo>
                  <a:lnTo>
                    <a:pt x="7518" y="7437"/>
                  </a:lnTo>
                  <a:lnTo>
                    <a:pt x="7548" y="7448"/>
                  </a:lnTo>
                  <a:lnTo>
                    <a:pt x="7576" y="7457"/>
                  </a:lnTo>
                  <a:lnTo>
                    <a:pt x="7605" y="7466"/>
                  </a:lnTo>
                  <a:lnTo>
                    <a:pt x="7633" y="7475"/>
                  </a:lnTo>
                  <a:lnTo>
                    <a:pt x="7662" y="7483"/>
                  </a:lnTo>
                  <a:lnTo>
                    <a:pt x="7691" y="7490"/>
                  </a:lnTo>
                  <a:lnTo>
                    <a:pt x="7721" y="7497"/>
                  </a:lnTo>
                  <a:lnTo>
                    <a:pt x="7750" y="7503"/>
                  </a:lnTo>
                  <a:lnTo>
                    <a:pt x="7780" y="7509"/>
                  </a:lnTo>
                  <a:lnTo>
                    <a:pt x="7809" y="7514"/>
                  </a:lnTo>
                  <a:lnTo>
                    <a:pt x="7839" y="7518"/>
                  </a:lnTo>
                  <a:lnTo>
                    <a:pt x="7868" y="7522"/>
                  </a:lnTo>
                  <a:lnTo>
                    <a:pt x="7899" y="7525"/>
                  </a:lnTo>
                  <a:lnTo>
                    <a:pt x="7928" y="7528"/>
                  </a:lnTo>
                  <a:lnTo>
                    <a:pt x="7958" y="7530"/>
                  </a:lnTo>
                  <a:lnTo>
                    <a:pt x="7988" y="7531"/>
                  </a:lnTo>
                  <a:lnTo>
                    <a:pt x="8017" y="7532"/>
                  </a:lnTo>
                  <a:lnTo>
                    <a:pt x="8048" y="7532"/>
                  </a:lnTo>
                  <a:lnTo>
                    <a:pt x="8078" y="7532"/>
                  </a:lnTo>
                  <a:lnTo>
                    <a:pt x="8107" y="7531"/>
                  </a:lnTo>
                  <a:lnTo>
                    <a:pt x="8137" y="7530"/>
                  </a:lnTo>
                  <a:lnTo>
                    <a:pt x="8167" y="7528"/>
                  </a:lnTo>
                  <a:lnTo>
                    <a:pt x="8196" y="7525"/>
                  </a:lnTo>
                  <a:lnTo>
                    <a:pt x="8227" y="7522"/>
                  </a:lnTo>
                  <a:lnTo>
                    <a:pt x="8256" y="7518"/>
                  </a:lnTo>
                  <a:lnTo>
                    <a:pt x="8286" y="7514"/>
                  </a:lnTo>
                  <a:lnTo>
                    <a:pt x="8315" y="7509"/>
                  </a:lnTo>
                  <a:lnTo>
                    <a:pt x="8344" y="7503"/>
                  </a:lnTo>
                  <a:lnTo>
                    <a:pt x="8374" y="7497"/>
                  </a:lnTo>
                  <a:lnTo>
                    <a:pt x="8404" y="7490"/>
                  </a:lnTo>
                  <a:lnTo>
                    <a:pt x="8433" y="7483"/>
                  </a:lnTo>
                  <a:lnTo>
                    <a:pt x="8461" y="7475"/>
                  </a:lnTo>
                  <a:lnTo>
                    <a:pt x="8490" y="7466"/>
                  </a:lnTo>
                  <a:lnTo>
                    <a:pt x="8519" y="7457"/>
                  </a:lnTo>
                  <a:lnTo>
                    <a:pt x="8547" y="7448"/>
                  </a:lnTo>
                  <a:lnTo>
                    <a:pt x="8576" y="7437"/>
                  </a:lnTo>
                  <a:lnTo>
                    <a:pt x="8605" y="7427"/>
                  </a:lnTo>
                  <a:lnTo>
                    <a:pt x="8632" y="7415"/>
                  </a:lnTo>
                  <a:lnTo>
                    <a:pt x="8660" y="7403"/>
                  </a:lnTo>
                  <a:lnTo>
                    <a:pt x="8688" y="7391"/>
                  </a:lnTo>
                  <a:lnTo>
                    <a:pt x="8715" y="7376"/>
                  </a:lnTo>
                  <a:lnTo>
                    <a:pt x="8743" y="7363"/>
                  </a:lnTo>
                  <a:lnTo>
                    <a:pt x="8770" y="7348"/>
                  </a:lnTo>
                  <a:lnTo>
                    <a:pt x="8797" y="7333"/>
                  </a:lnTo>
                  <a:lnTo>
                    <a:pt x="8823" y="7318"/>
                  </a:lnTo>
                  <a:lnTo>
                    <a:pt x="8850" y="7302"/>
                  </a:lnTo>
                  <a:lnTo>
                    <a:pt x="8876" y="7285"/>
                  </a:lnTo>
                  <a:lnTo>
                    <a:pt x="8902" y="7268"/>
                  </a:lnTo>
                  <a:lnTo>
                    <a:pt x="8928" y="7250"/>
                  </a:lnTo>
                  <a:lnTo>
                    <a:pt x="8953" y="7232"/>
                  </a:lnTo>
                  <a:lnTo>
                    <a:pt x="11150" y="5587"/>
                  </a:lnTo>
                  <a:lnTo>
                    <a:pt x="15089" y="8535"/>
                  </a:lnTo>
                  <a:close/>
                  <a:moveTo>
                    <a:pt x="1006" y="2636"/>
                  </a:moveTo>
                  <a:lnTo>
                    <a:pt x="4527" y="5273"/>
                  </a:lnTo>
                  <a:lnTo>
                    <a:pt x="1006" y="7908"/>
                  </a:lnTo>
                  <a:lnTo>
                    <a:pt x="1006" y="2636"/>
                  </a:lnTo>
                  <a:close/>
                  <a:moveTo>
                    <a:pt x="14083" y="0"/>
                  </a:moveTo>
                  <a:lnTo>
                    <a:pt x="2012" y="0"/>
                  </a:lnTo>
                  <a:lnTo>
                    <a:pt x="1908" y="3"/>
                  </a:lnTo>
                  <a:lnTo>
                    <a:pt x="1806" y="10"/>
                  </a:lnTo>
                  <a:lnTo>
                    <a:pt x="1705" y="23"/>
                  </a:lnTo>
                  <a:lnTo>
                    <a:pt x="1606" y="41"/>
                  </a:lnTo>
                  <a:lnTo>
                    <a:pt x="1509" y="63"/>
                  </a:lnTo>
                  <a:lnTo>
                    <a:pt x="1413" y="90"/>
                  </a:lnTo>
                  <a:lnTo>
                    <a:pt x="1320" y="122"/>
                  </a:lnTo>
                  <a:lnTo>
                    <a:pt x="1229" y="158"/>
                  </a:lnTo>
                  <a:lnTo>
                    <a:pt x="1140" y="198"/>
                  </a:lnTo>
                  <a:lnTo>
                    <a:pt x="1053" y="242"/>
                  </a:lnTo>
                  <a:lnTo>
                    <a:pt x="969" y="291"/>
                  </a:lnTo>
                  <a:lnTo>
                    <a:pt x="887" y="343"/>
                  </a:lnTo>
                  <a:lnTo>
                    <a:pt x="808" y="399"/>
                  </a:lnTo>
                  <a:lnTo>
                    <a:pt x="732" y="459"/>
                  </a:lnTo>
                  <a:lnTo>
                    <a:pt x="659" y="522"/>
                  </a:lnTo>
                  <a:lnTo>
                    <a:pt x="589" y="589"/>
                  </a:lnTo>
                  <a:lnTo>
                    <a:pt x="523" y="658"/>
                  </a:lnTo>
                  <a:lnTo>
                    <a:pt x="460" y="731"/>
                  </a:lnTo>
                  <a:lnTo>
                    <a:pt x="399" y="806"/>
                  </a:lnTo>
                  <a:lnTo>
                    <a:pt x="344" y="886"/>
                  </a:lnTo>
                  <a:lnTo>
                    <a:pt x="292" y="967"/>
                  </a:lnTo>
                  <a:lnTo>
                    <a:pt x="242" y="1051"/>
                  </a:lnTo>
                  <a:lnTo>
                    <a:pt x="198" y="1138"/>
                  </a:lnTo>
                  <a:lnTo>
                    <a:pt x="158" y="1227"/>
                  </a:lnTo>
                  <a:lnTo>
                    <a:pt x="122" y="1318"/>
                  </a:lnTo>
                  <a:lnTo>
                    <a:pt x="91" y="1411"/>
                  </a:lnTo>
                  <a:lnTo>
                    <a:pt x="63" y="1506"/>
                  </a:lnTo>
                  <a:lnTo>
                    <a:pt x="41" y="1604"/>
                  </a:lnTo>
                  <a:lnTo>
                    <a:pt x="23" y="1702"/>
                  </a:lnTo>
                  <a:lnTo>
                    <a:pt x="10" y="1803"/>
                  </a:lnTo>
                  <a:lnTo>
                    <a:pt x="3" y="1905"/>
                  </a:lnTo>
                  <a:lnTo>
                    <a:pt x="0" y="2009"/>
                  </a:lnTo>
                  <a:lnTo>
                    <a:pt x="0" y="8535"/>
                  </a:lnTo>
                  <a:lnTo>
                    <a:pt x="3" y="8639"/>
                  </a:lnTo>
                  <a:lnTo>
                    <a:pt x="10" y="8741"/>
                  </a:lnTo>
                  <a:lnTo>
                    <a:pt x="23" y="8842"/>
                  </a:lnTo>
                  <a:lnTo>
                    <a:pt x="41" y="8941"/>
                  </a:lnTo>
                  <a:lnTo>
                    <a:pt x="63" y="9038"/>
                  </a:lnTo>
                  <a:lnTo>
                    <a:pt x="91" y="9133"/>
                  </a:lnTo>
                  <a:lnTo>
                    <a:pt x="122" y="9226"/>
                  </a:lnTo>
                  <a:lnTo>
                    <a:pt x="158" y="9318"/>
                  </a:lnTo>
                  <a:lnTo>
                    <a:pt x="198" y="9407"/>
                  </a:lnTo>
                  <a:lnTo>
                    <a:pt x="242" y="9494"/>
                  </a:lnTo>
                  <a:lnTo>
                    <a:pt x="292" y="9578"/>
                  </a:lnTo>
                  <a:lnTo>
                    <a:pt x="344" y="9659"/>
                  </a:lnTo>
                  <a:lnTo>
                    <a:pt x="399" y="9738"/>
                  </a:lnTo>
                  <a:lnTo>
                    <a:pt x="460" y="9814"/>
                  </a:lnTo>
                  <a:lnTo>
                    <a:pt x="523" y="9886"/>
                  </a:lnTo>
                  <a:lnTo>
                    <a:pt x="589" y="9956"/>
                  </a:lnTo>
                  <a:lnTo>
                    <a:pt x="659" y="10023"/>
                  </a:lnTo>
                  <a:lnTo>
                    <a:pt x="732" y="10086"/>
                  </a:lnTo>
                  <a:lnTo>
                    <a:pt x="808" y="10145"/>
                  </a:lnTo>
                  <a:lnTo>
                    <a:pt x="887" y="10202"/>
                  </a:lnTo>
                  <a:lnTo>
                    <a:pt x="969" y="10254"/>
                  </a:lnTo>
                  <a:lnTo>
                    <a:pt x="1053" y="10303"/>
                  </a:lnTo>
                  <a:lnTo>
                    <a:pt x="1140" y="10347"/>
                  </a:lnTo>
                  <a:lnTo>
                    <a:pt x="1229" y="10387"/>
                  </a:lnTo>
                  <a:lnTo>
                    <a:pt x="1320" y="10423"/>
                  </a:lnTo>
                  <a:lnTo>
                    <a:pt x="1413" y="10455"/>
                  </a:lnTo>
                  <a:lnTo>
                    <a:pt x="1509" y="10482"/>
                  </a:lnTo>
                  <a:lnTo>
                    <a:pt x="1606" y="10504"/>
                  </a:lnTo>
                  <a:lnTo>
                    <a:pt x="1705" y="10522"/>
                  </a:lnTo>
                  <a:lnTo>
                    <a:pt x="1806" y="10535"/>
                  </a:lnTo>
                  <a:lnTo>
                    <a:pt x="1908" y="10542"/>
                  </a:lnTo>
                  <a:lnTo>
                    <a:pt x="2012" y="10545"/>
                  </a:lnTo>
                  <a:lnTo>
                    <a:pt x="14083" y="10545"/>
                  </a:lnTo>
                  <a:lnTo>
                    <a:pt x="14187" y="10542"/>
                  </a:lnTo>
                  <a:lnTo>
                    <a:pt x="14289" y="10535"/>
                  </a:lnTo>
                  <a:lnTo>
                    <a:pt x="14390" y="10522"/>
                  </a:lnTo>
                  <a:lnTo>
                    <a:pt x="14489" y="10504"/>
                  </a:lnTo>
                  <a:lnTo>
                    <a:pt x="14586" y="10482"/>
                  </a:lnTo>
                  <a:lnTo>
                    <a:pt x="14682" y="10455"/>
                  </a:lnTo>
                  <a:lnTo>
                    <a:pt x="14775" y="10423"/>
                  </a:lnTo>
                  <a:lnTo>
                    <a:pt x="14867" y="10387"/>
                  </a:lnTo>
                  <a:lnTo>
                    <a:pt x="14955" y="10347"/>
                  </a:lnTo>
                  <a:lnTo>
                    <a:pt x="15042" y="10303"/>
                  </a:lnTo>
                  <a:lnTo>
                    <a:pt x="15126" y="10254"/>
                  </a:lnTo>
                  <a:lnTo>
                    <a:pt x="15208" y="10202"/>
                  </a:lnTo>
                  <a:lnTo>
                    <a:pt x="15287" y="10145"/>
                  </a:lnTo>
                  <a:lnTo>
                    <a:pt x="15363" y="10086"/>
                  </a:lnTo>
                  <a:lnTo>
                    <a:pt x="15436" y="10023"/>
                  </a:lnTo>
                  <a:lnTo>
                    <a:pt x="15506" y="9956"/>
                  </a:lnTo>
                  <a:lnTo>
                    <a:pt x="15572" y="9886"/>
                  </a:lnTo>
                  <a:lnTo>
                    <a:pt x="15635" y="9814"/>
                  </a:lnTo>
                  <a:lnTo>
                    <a:pt x="15696" y="9738"/>
                  </a:lnTo>
                  <a:lnTo>
                    <a:pt x="15751" y="9659"/>
                  </a:lnTo>
                  <a:lnTo>
                    <a:pt x="15803" y="9578"/>
                  </a:lnTo>
                  <a:lnTo>
                    <a:pt x="15853" y="9494"/>
                  </a:lnTo>
                  <a:lnTo>
                    <a:pt x="15897" y="9407"/>
                  </a:lnTo>
                  <a:lnTo>
                    <a:pt x="15937" y="9318"/>
                  </a:lnTo>
                  <a:lnTo>
                    <a:pt x="15973" y="9226"/>
                  </a:lnTo>
                  <a:lnTo>
                    <a:pt x="16004" y="9133"/>
                  </a:lnTo>
                  <a:lnTo>
                    <a:pt x="16032" y="9038"/>
                  </a:lnTo>
                  <a:lnTo>
                    <a:pt x="16054" y="8941"/>
                  </a:lnTo>
                  <a:lnTo>
                    <a:pt x="16072" y="8842"/>
                  </a:lnTo>
                  <a:lnTo>
                    <a:pt x="16085" y="8741"/>
                  </a:lnTo>
                  <a:lnTo>
                    <a:pt x="16092" y="8639"/>
                  </a:lnTo>
                  <a:lnTo>
                    <a:pt x="16095" y="8535"/>
                  </a:lnTo>
                  <a:lnTo>
                    <a:pt x="16095" y="2009"/>
                  </a:lnTo>
                  <a:lnTo>
                    <a:pt x="16092" y="1905"/>
                  </a:lnTo>
                  <a:lnTo>
                    <a:pt x="16085" y="1803"/>
                  </a:lnTo>
                  <a:lnTo>
                    <a:pt x="16072" y="1702"/>
                  </a:lnTo>
                  <a:lnTo>
                    <a:pt x="16054" y="1604"/>
                  </a:lnTo>
                  <a:lnTo>
                    <a:pt x="16032" y="1506"/>
                  </a:lnTo>
                  <a:lnTo>
                    <a:pt x="16004" y="1411"/>
                  </a:lnTo>
                  <a:lnTo>
                    <a:pt x="15973" y="1318"/>
                  </a:lnTo>
                  <a:lnTo>
                    <a:pt x="15937" y="1227"/>
                  </a:lnTo>
                  <a:lnTo>
                    <a:pt x="15897" y="1138"/>
                  </a:lnTo>
                  <a:lnTo>
                    <a:pt x="15853" y="1051"/>
                  </a:lnTo>
                  <a:lnTo>
                    <a:pt x="15803" y="967"/>
                  </a:lnTo>
                  <a:lnTo>
                    <a:pt x="15751" y="886"/>
                  </a:lnTo>
                  <a:lnTo>
                    <a:pt x="15696" y="806"/>
                  </a:lnTo>
                  <a:lnTo>
                    <a:pt x="15635" y="731"/>
                  </a:lnTo>
                  <a:lnTo>
                    <a:pt x="15572" y="658"/>
                  </a:lnTo>
                  <a:lnTo>
                    <a:pt x="15506" y="589"/>
                  </a:lnTo>
                  <a:lnTo>
                    <a:pt x="15436" y="522"/>
                  </a:lnTo>
                  <a:lnTo>
                    <a:pt x="15363" y="459"/>
                  </a:lnTo>
                  <a:lnTo>
                    <a:pt x="15287" y="399"/>
                  </a:lnTo>
                  <a:lnTo>
                    <a:pt x="15208" y="343"/>
                  </a:lnTo>
                  <a:lnTo>
                    <a:pt x="15126" y="291"/>
                  </a:lnTo>
                  <a:lnTo>
                    <a:pt x="15042" y="242"/>
                  </a:lnTo>
                  <a:lnTo>
                    <a:pt x="14955" y="198"/>
                  </a:lnTo>
                  <a:lnTo>
                    <a:pt x="14867" y="158"/>
                  </a:lnTo>
                  <a:lnTo>
                    <a:pt x="14775" y="122"/>
                  </a:lnTo>
                  <a:lnTo>
                    <a:pt x="14682" y="90"/>
                  </a:lnTo>
                  <a:lnTo>
                    <a:pt x="14586" y="63"/>
                  </a:lnTo>
                  <a:lnTo>
                    <a:pt x="14489" y="41"/>
                  </a:lnTo>
                  <a:lnTo>
                    <a:pt x="14390" y="23"/>
                  </a:lnTo>
                  <a:lnTo>
                    <a:pt x="14289" y="10"/>
                  </a:lnTo>
                  <a:lnTo>
                    <a:pt x="14187" y="3"/>
                  </a:lnTo>
                  <a:lnTo>
                    <a:pt x="1408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25" name="ïşḻïḑê">
              <a:extLst>
                <a:ext uri="{FF2B5EF4-FFF2-40B4-BE49-F238E27FC236}">
                  <a16:creationId xmlns:a16="http://schemas.microsoft.com/office/drawing/2014/main" id="{6D52CAB6-964F-4656-A4E8-B7F8B9D8BB8B}"/>
                </a:ext>
              </a:extLst>
            </p:cNvPr>
            <p:cNvSpPr/>
            <p:nvPr/>
          </p:nvSpPr>
          <p:spPr bwMode="auto">
            <a:xfrm>
              <a:off x="7397054" y="36320"/>
              <a:ext cx="614748" cy="613337"/>
            </a:xfrm>
            <a:custGeom>
              <a:avLst/>
              <a:gdLst>
                <a:gd name="T0" fmla="*/ 14736 w 16132"/>
                <a:gd name="T1" fmla="*/ 7927 h 16095"/>
                <a:gd name="T2" fmla="*/ 12966 w 16132"/>
                <a:gd name="T3" fmla="*/ 8091 h 16095"/>
                <a:gd name="T4" fmla="*/ 12858 w 16132"/>
                <a:gd name="T5" fmla="*/ 8337 h 16095"/>
                <a:gd name="T6" fmla="*/ 13033 w 16132"/>
                <a:gd name="T7" fmla="*/ 8539 h 16095"/>
                <a:gd name="T8" fmla="*/ 14789 w 16132"/>
                <a:gd name="T9" fmla="*/ 8901 h 16095"/>
                <a:gd name="T10" fmla="*/ 14828 w 16132"/>
                <a:gd name="T11" fmla="*/ 9762 h 16095"/>
                <a:gd name="T12" fmla="*/ 13953 w 16132"/>
                <a:gd name="T13" fmla="*/ 10554 h 16095"/>
                <a:gd name="T14" fmla="*/ 12394 w 16132"/>
                <a:gd name="T15" fmla="*/ 10673 h 16095"/>
                <a:gd name="T16" fmla="*/ 12387 w 16132"/>
                <a:gd name="T17" fmla="*/ 10945 h 16095"/>
                <a:gd name="T18" fmla="*/ 13673 w 16132"/>
                <a:gd name="T19" fmla="*/ 11067 h 16095"/>
                <a:gd name="T20" fmla="*/ 14319 w 16132"/>
                <a:gd name="T21" fmla="*/ 11774 h 16095"/>
                <a:gd name="T22" fmla="*/ 13891 w 16132"/>
                <a:gd name="T23" fmla="*/ 12812 h 16095"/>
                <a:gd name="T24" fmla="*/ 12009 w 16132"/>
                <a:gd name="T25" fmla="*/ 13092 h 16095"/>
                <a:gd name="T26" fmla="*/ 11846 w 16132"/>
                <a:gd name="T27" fmla="*/ 13303 h 16095"/>
                <a:gd name="T28" fmla="*/ 11966 w 16132"/>
                <a:gd name="T29" fmla="*/ 13544 h 16095"/>
                <a:gd name="T30" fmla="*/ 13288 w 16132"/>
                <a:gd name="T31" fmla="*/ 13730 h 16095"/>
                <a:gd name="T32" fmla="*/ 13358 w 16132"/>
                <a:gd name="T33" fmla="*/ 14429 h 16095"/>
                <a:gd name="T34" fmla="*/ 12917 w 16132"/>
                <a:gd name="T35" fmla="*/ 14986 h 16095"/>
                <a:gd name="T36" fmla="*/ 8700 w 16132"/>
                <a:gd name="T37" fmla="*/ 15051 h 16095"/>
                <a:gd name="T38" fmla="*/ 5570 w 16132"/>
                <a:gd name="T39" fmla="*/ 14483 h 16095"/>
                <a:gd name="T40" fmla="*/ 4191 w 16132"/>
                <a:gd name="T41" fmla="*/ 14088 h 16095"/>
                <a:gd name="T42" fmla="*/ 4067 w 16132"/>
                <a:gd name="T43" fmla="*/ 6631 h 16095"/>
                <a:gd name="T44" fmla="*/ 4433 w 16132"/>
                <a:gd name="T45" fmla="*/ 6297 h 16095"/>
                <a:gd name="T46" fmla="*/ 7138 w 16132"/>
                <a:gd name="T47" fmla="*/ 3681 h 16095"/>
                <a:gd name="T48" fmla="*/ 7616 w 16132"/>
                <a:gd name="T49" fmla="*/ 1286 h 16095"/>
                <a:gd name="T50" fmla="*/ 8117 w 16132"/>
                <a:gd name="T51" fmla="*/ 1009 h 16095"/>
                <a:gd name="T52" fmla="*/ 9386 w 16132"/>
                <a:gd name="T53" fmla="*/ 2464 h 16095"/>
                <a:gd name="T54" fmla="*/ 9452 w 16132"/>
                <a:gd name="T55" fmla="*/ 4763 h 16095"/>
                <a:gd name="T56" fmla="*/ 12897 w 16132"/>
                <a:gd name="T57" fmla="*/ 6065 h 16095"/>
                <a:gd name="T58" fmla="*/ 14749 w 16132"/>
                <a:gd name="T59" fmla="*/ 6317 h 16095"/>
                <a:gd name="T60" fmla="*/ 15121 w 16132"/>
                <a:gd name="T61" fmla="*/ 6923 h 16095"/>
                <a:gd name="T62" fmla="*/ 3443 w 16132"/>
                <a:gd name="T63" fmla="*/ 14868 h 16095"/>
                <a:gd name="T64" fmla="*/ 1461 w 16132"/>
                <a:gd name="T65" fmla="*/ 15086 h 16095"/>
                <a:gd name="T66" fmla="*/ 1038 w 16132"/>
                <a:gd name="T67" fmla="*/ 14759 h 16095"/>
                <a:gd name="T68" fmla="*/ 1139 w 16132"/>
                <a:gd name="T69" fmla="*/ 6201 h 16095"/>
                <a:gd name="T70" fmla="*/ 3151 w 16132"/>
                <a:gd name="T71" fmla="*/ 6052 h 16095"/>
                <a:gd name="T72" fmla="*/ 3519 w 16132"/>
                <a:gd name="T73" fmla="*/ 6437 h 16095"/>
                <a:gd name="T74" fmla="*/ 12860 w 16132"/>
                <a:gd name="T75" fmla="*/ 5106 h 16095"/>
                <a:gd name="T76" fmla="*/ 10549 w 16132"/>
                <a:gd name="T77" fmla="*/ 3394 h 16095"/>
                <a:gd name="T78" fmla="*/ 9053 w 16132"/>
                <a:gd name="T79" fmla="*/ 347 h 16095"/>
                <a:gd name="T80" fmla="*/ 7112 w 16132"/>
                <a:gd name="T81" fmla="*/ 342 h 16095"/>
                <a:gd name="T82" fmla="*/ 6522 w 16132"/>
                <a:gd name="T83" fmla="*/ 2020 h 16095"/>
                <a:gd name="T84" fmla="*/ 5109 w 16132"/>
                <a:gd name="T85" fmla="*/ 4776 h 16095"/>
                <a:gd name="T86" fmla="*/ 3758 w 16132"/>
                <a:gd name="T87" fmla="*/ 5238 h 16095"/>
                <a:gd name="T88" fmla="*/ 1512 w 16132"/>
                <a:gd name="T89" fmla="*/ 5030 h 16095"/>
                <a:gd name="T90" fmla="*/ 149 w 16132"/>
                <a:gd name="T91" fmla="*/ 5885 h 16095"/>
                <a:gd name="T92" fmla="*/ 300 w 16132"/>
                <a:gd name="T93" fmla="*/ 15488 h 16095"/>
                <a:gd name="T94" fmla="*/ 3191 w 16132"/>
                <a:gd name="T95" fmla="*/ 16086 h 16095"/>
                <a:gd name="T96" fmla="*/ 4206 w 16132"/>
                <a:gd name="T97" fmla="*/ 15494 h 16095"/>
                <a:gd name="T98" fmla="*/ 5348 w 16132"/>
                <a:gd name="T99" fmla="*/ 15463 h 16095"/>
                <a:gd name="T100" fmla="*/ 8325 w 16132"/>
                <a:gd name="T101" fmla="*/ 16027 h 16095"/>
                <a:gd name="T102" fmla="*/ 13194 w 16132"/>
                <a:gd name="T103" fmla="*/ 15959 h 16095"/>
                <a:gd name="T104" fmla="*/ 14200 w 16132"/>
                <a:gd name="T105" fmla="*/ 15031 h 16095"/>
                <a:gd name="T106" fmla="*/ 14426 w 16132"/>
                <a:gd name="T107" fmla="*/ 13944 h 16095"/>
                <a:gd name="T108" fmla="*/ 14933 w 16132"/>
                <a:gd name="T109" fmla="*/ 13091 h 16095"/>
                <a:gd name="T110" fmla="*/ 15321 w 16132"/>
                <a:gd name="T111" fmla="*/ 11883 h 16095"/>
                <a:gd name="T112" fmla="*/ 15240 w 16132"/>
                <a:gd name="T113" fmla="*/ 11003 h 16095"/>
                <a:gd name="T114" fmla="*/ 15776 w 16132"/>
                <a:gd name="T115" fmla="*/ 10098 h 16095"/>
                <a:gd name="T116" fmla="*/ 15890 w 16132"/>
                <a:gd name="T117" fmla="*/ 9058 h 16095"/>
                <a:gd name="T118" fmla="*/ 15834 w 16132"/>
                <a:gd name="T119" fmla="*/ 8258 h 16095"/>
                <a:gd name="T120" fmla="*/ 16112 w 16132"/>
                <a:gd name="T121" fmla="*/ 7457 h 16095"/>
                <a:gd name="T122" fmla="*/ 15972 w 16132"/>
                <a:gd name="T123" fmla="*/ 6305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32" h="16095">
                  <a:moveTo>
                    <a:pt x="15113" y="7310"/>
                  </a:moveTo>
                  <a:lnTo>
                    <a:pt x="15112" y="7334"/>
                  </a:lnTo>
                  <a:lnTo>
                    <a:pt x="15110" y="7359"/>
                  </a:lnTo>
                  <a:lnTo>
                    <a:pt x="15107" y="7387"/>
                  </a:lnTo>
                  <a:lnTo>
                    <a:pt x="15103" y="7414"/>
                  </a:lnTo>
                  <a:lnTo>
                    <a:pt x="15099" y="7442"/>
                  </a:lnTo>
                  <a:lnTo>
                    <a:pt x="15092" y="7471"/>
                  </a:lnTo>
                  <a:lnTo>
                    <a:pt x="15085" y="7500"/>
                  </a:lnTo>
                  <a:lnTo>
                    <a:pt x="15076" y="7530"/>
                  </a:lnTo>
                  <a:lnTo>
                    <a:pt x="15066" y="7561"/>
                  </a:lnTo>
                  <a:lnTo>
                    <a:pt x="15054" y="7592"/>
                  </a:lnTo>
                  <a:lnTo>
                    <a:pt x="15041" y="7622"/>
                  </a:lnTo>
                  <a:lnTo>
                    <a:pt x="15025" y="7653"/>
                  </a:lnTo>
                  <a:lnTo>
                    <a:pt x="15008" y="7683"/>
                  </a:lnTo>
                  <a:lnTo>
                    <a:pt x="14988" y="7714"/>
                  </a:lnTo>
                  <a:lnTo>
                    <a:pt x="14965" y="7743"/>
                  </a:lnTo>
                  <a:lnTo>
                    <a:pt x="14941" y="7772"/>
                  </a:lnTo>
                  <a:lnTo>
                    <a:pt x="14914" y="7800"/>
                  </a:lnTo>
                  <a:lnTo>
                    <a:pt x="14884" y="7828"/>
                  </a:lnTo>
                  <a:lnTo>
                    <a:pt x="14852" y="7854"/>
                  </a:lnTo>
                  <a:lnTo>
                    <a:pt x="14816" y="7880"/>
                  </a:lnTo>
                  <a:lnTo>
                    <a:pt x="14777" y="7904"/>
                  </a:lnTo>
                  <a:lnTo>
                    <a:pt x="14736" y="7927"/>
                  </a:lnTo>
                  <a:lnTo>
                    <a:pt x="14690" y="7948"/>
                  </a:lnTo>
                  <a:lnTo>
                    <a:pt x="14642" y="7967"/>
                  </a:lnTo>
                  <a:lnTo>
                    <a:pt x="14589" y="7985"/>
                  </a:lnTo>
                  <a:lnTo>
                    <a:pt x="14534" y="8000"/>
                  </a:lnTo>
                  <a:lnTo>
                    <a:pt x="14474" y="8014"/>
                  </a:lnTo>
                  <a:lnTo>
                    <a:pt x="14411" y="8026"/>
                  </a:lnTo>
                  <a:lnTo>
                    <a:pt x="14343" y="8035"/>
                  </a:lnTo>
                  <a:lnTo>
                    <a:pt x="14272" y="8041"/>
                  </a:lnTo>
                  <a:lnTo>
                    <a:pt x="14196" y="8046"/>
                  </a:lnTo>
                  <a:lnTo>
                    <a:pt x="14116" y="8048"/>
                  </a:lnTo>
                  <a:lnTo>
                    <a:pt x="13107" y="8048"/>
                  </a:lnTo>
                  <a:lnTo>
                    <a:pt x="13094" y="8048"/>
                  </a:lnTo>
                  <a:lnTo>
                    <a:pt x="13081" y="8049"/>
                  </a:lnTo>
                  <a:lnTo>
                    <a:pt x="13069" y="8051"/>
                  </a:lnTo>
                  <a:lnTo>
                    <a:pt x="13057" y="8053"/>
                  </a:lnTo>
                  <a:lnTo>
                    <a:pt x="13044" y="8056"/>
                  </a:lnTo>
                  <a:lnTo>
                    <a:pt x="13033" y="8059"/>
                  </a:lnTo>
                  <a:lnTo>
                    <a:pt x="13021" y="8063"/>
                  </a:lnTo>
                  <a:lnTo>
                    <a:pt x="13009" y="8068"/>
                  </a:lnTo>
                  <a:lnTo>
                    <a:pt x="12998" y="8073"/>
                  </a:lnTo>
                  <a:lnTo>
                    <a:pt x="12987" y="8078"/>
                  </a:lnTo>
                  <a:lnTo>
                    <a:pt x="12976" y="8084"/>
                  </a:lnTo>
                  <a:lnTo>
                    <a:pt x="12966" y="8091"/>
                  </a:lnTo>
                  <a:lnTo>
                    <a:pt x="12956" y="8098"/>
                  </a:lnTo>
                  <a:lnTo>
                    <a:pt x="12947" y="8105"/>
                  </a:lnTo>
                  <a:lnTo>
                    <a:pt x="12938" y="8113"/>
                  </a:lnTo>
                  <a:lnTo>
                    <a:pt x="12929" y="8121"/>
                  </a:lnTo>
                  <a:lnTo>
                    <a:pt x="12921" y="8130"/>
                  </a:lnTo>
                  <a:lnTo>
                    <a:pt x="12913" y="8139"/>
                  </a:lnTo>
                  <a:lnTo>
                    <a:pt x="12906" y="8148"/>
                  </a:lnTo>
                  <a:lnTo>
                    <a:pt x="12899" y="8158"/>
                  </a:lnTo>
                  <a:lnTo>
                    <a:pt x="12891" y="8168"/>
                  </a:lnTo>
                  <a:lnTo>
                    <a:pt x="12885" y="8179"/>
                  </a:lnTo>
                  <a:lnTo>
                    <a:pt x="12880" y="8189"/>
                  </a:lnTo>
                  <a:lnTo>
                    <a:pt x="12875" y="8200"/>
                  </a:lnTo>
                  <a:lnTo>
                    <a:pt x="12870" y="8212"/>
                  </a:lnTo>
                  <a:lnTo>
                    <a:pt x="12866" y="8224"/>
                  </a:lnTo>
                  <a:lnTo>
                    <a:pt x="12863" y="8236"/>
                  </a:lnTo>
                  <a:lnTo>
                    <a:pt x="12860" y="8248"/>
                  </a:lnTo>
                  <a:lnTo>
                    <a:pt x="12858" y="8261"/>
                  </a:lnTo>
                  <a:lnTo>
                    <a:pt x="12856" y="8273"/>
                  </a:lnTo>
                  <a:lnTo>
                    <a:pt x="12855" y="8286"/>
                  </a:lnTo>
                  <a:lnTo>
                    <a:pt x="12855" y="8299"/>
                  </a:lnTo>
                  <a:lnTo>
                    <a:pt x="12855" y="8312"/>
                  </a:lnTo>
                  <a:lnTo>
                    <a:pt x="12856" y="8324"/>
                  </a:lnTo>
                  <a:lnTo>
                    <a:pt x="12858" y="8337"/>
                  </a:lnTo>
                  <a:lnTo>
                    <a:pt x="12860" y="8349"/>
                  </a:lnTo>
                  <a:lnTo>
                    <a:pt x="12863" y="8361"/>
                  </a:lnTo>
                  <a:lnTo>
                    <a:pt x="12866" y="8373"/>
                  </a:lnTo>
                  <a:lnTo>
                    <a:pt x="12870" y="8385"/>
                  </a:lnTo>
                  <a:lnTo>
                    <a:pt x="12875" y="8397"/>
                  </a:lnTo>
                  <a:lnTo>
                    <a:pt x="12880" y="8408"/>
                  </a:lnTo>
                  <a:lnTo>
                    <a:pt x="12885" y="8419"/>
                  </a:lnTo>
                  <a:lnTo>
                    <a:pt x="12891" y="8430"/>
                  </a:lnTo>
                  <a:lnTo>
                    <a:pt x="12899" y="8440"/>
                  </a:lnTo>
                  <a:lnTo>
                    <a:pt x="12906" y="8450"/>
                  </a:lnTo>
                  <a:lnTo>
                    <a:pt x="12913" y="8459"/>
                  </a:lnTo>
                  <a:lnTo>
                    <a:pt x="12921" y="8468"/>
                  </a:lnTo>
                  <a:lnTo>
                    <a:pt x="12929" y="8477"/>
                  </a:lnTo>
                  <a:lnTo>
                    <a:pt x="12938" y="8485"/>
                  </a:lnTo>
                  <a:lnTo>
                    <a:pt x="12947" y="8493"/>
                  </a:lnTo>
                  <a:lnTo>
                    <a:pt x="12956" y="8500"/>
                  </a:lnTo>
                  <a:lnTo>
                    <a:pt x="12966" y="8507"/>
                  </a:lnTo>
                  <a:lnTo>
                    <a:pt x="12976" y="8514"/>
                  </a:lnTo>
                  <a:lnTo>
                    <a:pt x="12987" y="8520"/>
                  </a:lnTo>
                  <a:lnTo>
                    <a:pt x="12998" y="8525"/>
                  </a:lnTo>
                  <a:lnTo>
                    <a:pt x="13009" y="8530"/>
                  </a:lnTo>
                  <a:lnTo>
                    <a:pt x="13021" y="8535"/>
                  </a:lnTo>
                  <a:lnTo>
                    <a:pt x="13033" y="8539"/>
                  </a:lnTo>
                  <a:lnTo>
                    <a:pt x="13044" y="8542"/>
                  </a:lnTo>
                  <a:lnTo>
                    <a:pt x="13057" y="8545"/>
                  </a:lnTo>
                  <a:lnTo>
                    <a:pt x="13069" y="8547"/>
                  </a:lnTo>
                  <a:lnTo>
                    <a:pt x="13081" y="8549"/>
                  </a:lnTo>
                  <a:lnTo>
                    <a:pt x="13094" y="8550"/>
                  </a:lnTo>
                  <a:lnTo>
                    <a:pt x="13107" y="8550"/>
                  </a:lnTo>
                  <a:lnTo>
                    <a:pt x="14084" y="8550"/>
                  </a:lnTo>
                  <a:lnTo>
                    <a:pt x="14153" y="8552"/>
                  </a:lnTo>
                  <a:lnTo>
                    <a:pt x="14218" y="8558"/>
                  </a:lnTo>
                  <a:lnTo>
                    <a:pt x="14280" y="8567"/>
                  </a:lnTo>
                  <a:lnTo>
                    <a:pt x="14338" y="8578"/>
                  </a:lnTo>
                  <a:lnTo>
                    <a:pt x="14393" y="8593"/>
                  </a:lnTo>
                  <a:lnTo>
                    <a:pt x="14443" y="8610"/>
                  </a:lnTo>
                  <a:lnTo>
                    <a:pt x="14492" y="8630"/>
                  </a:lnTo>
                  <a:lnTo>
                    <a:pt x="14536" y="8653"/>
                  </a:lnTo>
                  <a:lnTo>
                    <a:pt x="14577" y="8678"/>
                  </a:lnTo>
                  <a:lnTo>
                    <a:pt x="14617" y="8704"/>
                  </a:lnTo>
                  <a:lnTo>
                    <a:pt x="14652" y="8734"/>
                  </a:lnTo>
                  <a:lnTo>
                    <a:pt x="14684" y="8765"/>
                  </a:lnTo>
                  <a:lnTo>
                    <a:pt x="14714" y="8797"/>
                  </a:lnTo>
                  <a:lnTo>
                    <a:pt x="14742" y="8830"/>
                  </a:lnTo>
                  <a:lnTo>
                    <a:pt x="14767" y="8865"/>
                  </a:lnTo>
                  <a:lnTo>
                    <a:pt x="14789" y="8901"/>
                  </a:lnTo>
                  <a:lnTo>
                    <a:pt x="14809" y="8938"/>
                  </a:lnTo>
                  <a:lnTo>
                    <a:pt x="14827" y="8975"/>
                  </a:lnTo>
                  <a:lnTo>
                    <a:pt x="14842" y="9013"/>
                  </a:lnTo>
                  <a:lnTo>
                    <a:pt x="14857" y="9051"/>
                  </a:lnTo>
                  <a:lnTo>
                    <a:pt x="14868" y="9091"/>
                  </a:lnTo>
                  <a:lnTo>
                    <a:pt x="14878" y="9129"/>
                  </a:lnTo>
                  <a:lnTo>
                    <a:pt x="14886" y="9167"/>
                  </a:lnTo>
                  <a:lnTo>
                    <a:pt x="14892" y="9205"/>
                  </a:lnTo>
                  <a:lnTo>
                    <a:pt x="14896" y="9244"/>
                  </a:lnTo>
                  <a:lnTo>
                    <a:pt x="14899" y="9280"/>
                  </a:lnTo>
                  <a:lnTo>
                    <a:pt x="14901" y="9316"/>
                  </a:lnTo>
                  <a:lnTo>
                    <a:pt x="14901" y="9351"/>
                  </a:lnTo>
                  <a:lnTo>
                    <a:pt x="14900" y="9385"/>
                  </a:lnTo>
                  <a:lnTo>
                    <a:pt x="14898" y="9418"/>
                  </a:lnTo>
                  <a:lnTo>
                    <a:pt x="14895" y="9449"/>
                  </a:lnTo>
                  <a:lnTo>
                    <a:pt x="14891" y="9478"/>
                  </a:lnTo>
                  <a:lnTo>
                    <a:pt x="14885" y="9514"/>
                  </a:lnTo>
                  <a:lnTo>
                    <a:pt x="14878" y="9551"/>
                  </a:lnTo>
                  <a:lnTo>
                    <a:pt x="14870" y="9592"/>
                  </a:lnTo>
                  <a:lnTo>
                    <a:pt x="14862" y="9632"/>
                  </a:lnTo>
                  <a:lnTo>
                    <a:pt x="14852" y="9674"/>
                  </a:lnTo>
                  <a:lnTo>
                    <a:pt x="14840" y="9717"/>
                  </a:lnTo>
                  <a:lnTo>
                    <a:pt x="14828" y="9762"/>
                  </a:lnTo>
                  <a:lnTo>
                    <a:pt x="14814" y="9806"/>
                  </a:lnTo>
                  <a:lnTo>
                    <a:pt x="14799" y="9850"/>
                  </a:lnTo>
                  <a:lnTo>
                    <a:pt x="14782" y="9895"/>
                  </a:lnTo>
                  <a:lnTo>
                    <a:pt x="14764" y="9941"/>
                  </a:lnTo>
                  <a:lnTo>
                    <a:pt x="14744" y="9986"/>
                  </a:lnTo>
                  <a:lnTo>
                    <a:pt x="14721" y="10030"/>
                  </a:lnTo>
                  <a:lnTo>
                    <a:pt x="14697" y="10074"/>
                  </a:lnTo>
                  <a:lnTo>
                    <a:pt x="14671" y="10118"/>
                  </a:lnTo>
                  <a:lnTo>
                    <a:pt x="14642" y="10161"/>
                  </a:lnTo>
                  <a:lnTo>
                    <a:pt x="14612" y="10202"/>
                  </a:lnTo>
                  <a:lnTo>
                    <a:pt x="14578" y="10242"/>
                  </a:lnTo>
                  <a:lnTo>
                    <a:pt x="14542" y="10281"/>
                  </a:lnTo>
                  <a:lnTo>
                    <a:pt x="14504" y="10318"/>
                  </a:lnTo>
                  <a:lnTo>
                    <a:pt x="14462" y="10353"/>
                  </a:lnTo>
                  <a:lnTo>
                    <a:pt x="14419" y="10386"/>
                  </a:lnTo>
                  <a:lnTo>
                    <a:pt x="14372" y="10417"/>
                  </a:lnTo>
                  <a:lnTo>
                    <a:pt x="14322" y="10446"/>
                  </a:lnTo>
                  <a:lnTo>
                    <a:pt x="14269" y="10472"/>
                  </a:lnTo>
                  <a:lnTo>
                    <a:pt x="14212" y="10494"/>
                  </a:lnTo>
                  <a:lnTo>
                    <a:pt x="14153" y="10514"/>
                  </a:lnTo>
                  <a:lnTo>
                    <a:pt x="14089" y="10531"/>
                  </a:lnTo>
                  <a:lnTo>
                    <a:pt x="14023" y="10544"/>
                  </a:lnTo>
                  <a:lnTo>
                    <a:pt x="13953" y="10554"/>
                  </a:lnTo>
                  <a:lnTo>
                    <a:pt x="13879" y="10560"/>
                  </a:lnTo>
                  <a:lnTo>
                    <a:pt x="13801" y="10562"/>
                  </a:lnTo>
                  <a:lnTo>
                    <a:pt x="12603" y="10562"/>
                  </a:lnTo>
                  <a:lnTo>
                    <a:pt x="12590" y="10562"/>
                  </a:lnTo>
                  <a:lnTo>
                    <a:pt x="12577" y="10563"/>
                  </a:lnTo>
                  <a:lnTo>
                    <a:pt x="12565" y="10565"/>
                  </a:lnTo>
                  <a:lnTo>
                    <a:pt x="12553" y="10567"/>
                  </a:lnTo>
                  <a:lnTo>
                    <a:pt x="12540" y="10570"/>
                  </a:lnTo>
                  <a:lnTo>
                    <a:pt x="12529" y="10573"/>
                  </a:lnTo>
                  <a:lnTo>
                    <a:pt x="12516" y="10577"/>
                  </a:lnTo>
                  <a:lnTo>
                    <a:pt x="12505" y="10582"/>
                  </a:lnTo>
                  <a:lnTo>
                    <a:pt x="12494" y="10587"/>
                  </a:lnTo>
                  <a:lnTo>
                    <a:pt x="12483" y="10593"/>
                  </a:lnTo>
                  <a:lnTo>
                    <a:pt x="12472" y="10599"/>
                  </a:lnTo>
                  <a:lnTo>
                    <a:pt x="12462" y="10606"/>
                  </a:lnTo>
                  <a:lnTo>
                    <a:pt x="12452" y="10612"/>
                  </a:lnTo>
                  <a:lnTo>
                    <a:pt x="12443" y="10620"/>
                  </a:lnTo>
                  <a:lnTo>
                    <a:pt x="12434" y="10628"/>
                  </a:lnTo>
                  <a:lnTo>
                    <a:pt x="12425" y="10636"/>
                  </a:lnTo>
                  <a:lnTo>
                    <a:pt x="12417" y="10645"/>
                  </a:lnTo>
                  <a:lnTo>
                    <a:pt x="12409" y="10654"/>
                  </a:lnTo>
                  <a:lnTo>
                    <a:pt x="12401" y="10663"/>
                  </a:lnTo>
                  <a:lnTo>
                    <a:pt x="12394" y="10673"/>
                  </a:lnTo>
                  <a:lnTo>
                    <a:pt x="12387" y="10683"/>
                  </a:lnTo>
                  <a:lnTo>
                    <a:pt x="12381" y="10694"/>
                  </a:lnTo>
                  <a:lnTo>
                    <a:pt x="12376" y="10704"/>
                  </a:lnTo>
                  <a:lnTo>
                    <a:pt x="12371" y="10715"/>
                  </a:lnTo>
                  <a:lnTo>
                    <a:pt x="12366" y="10727"/>
                  </a:lnTo>
                  <a:lnTo>
                    <a:pt x="12362" y="10738"/>
                  </a:lnTo>
                  <a:lnTo>
                    <a:pt x="12359" y="10750"/>
                  </a:lnTo>
                  <a:lnTo>
                    <a:pt x="12356" y="10763"/>
                  </a:lnTo>
                  <a:lnTo>
                    <a:pt x="12354" y="10776"/>
                  </a:lnTo>
                  <a:lnTo>
                    <a:pt x="12352" y="10788"/>
                  </a:lnTo>
                  <a:lnTo>
                    <a:pt x="12351" y="10801"/>
                  </a:lnTo>
                  <a:lnTo>
                    <a:pt x="12351" y="10814"/>
                  </a:lnTo>
                  <a:lnTo>
                    <a:pt x="12351" y="10827"/>
                  </a:lnTo>
                  <a:lnTo>
                    <a:pt x="12352" y="10839"/>
                  </a:lnTo>
                  <a:lnTo>
                    <a:pt x="12354" y="10852"/>
                  </a:lnTo>
                  <a:lnTo>
                    <a:pt x="12356" y="10864"/>
                  </a:lnTo>
                  <a:lnTo>
                    <a:pt x="12359" y="10876"/>
                  </a:lnTo>
                  <a:lnTo>
                    <a:pt x="12362" y="10888"/>
                  </a:lnTo>
                  <a:lnTo>
                    <a:pt x="12366" y="10900"/>
                  </a:lnTo>
                  <a:lnTo>
                    <a:pt x="12371" y="10911"/>
                  </a:lnTo>
                  <a:lnTo>
                    <a:pt x="12376" y="10922"/>
                  </a:lnTo>
                  <a:lnTo>
                    <a:pt x="12381" y="10934"/>
                  </a:lnTo>
                  <a:lnTo>
                    <a:pt x="12387" y="10945"/>
                  </a:lnTo>
                  <a:lnTo>
                    <a:pt x="12394" y="10955"/>
                  </a:lnTo>
                  <a:lnTo>
                    <a:pt x="12401" y="10964"/>
                  </a:lnTo>
                  <a:lnTo>
                    <a:pt x="12409" y="10974"/>
                  </a:lnTo>
                  <a:lnTo>
                    <a:pt x="12417" y="10983"/>
                  </a:lnTo>
                  <a:lnTo>
                    <a:pt x="12425" y="10992"/>
                  </a:lnTo>
                  <a:lnTo>
                    <a:pt x="12434" y="11000"/>
                  </a:lnTo>
                  <a:lnTo>
                    <a:pt x="12443" y="11008"/>
                  </a:lnTo>
                  <a:lnTo>
                    <a:pt x="12452" y="11015"/>
                  </a:lnTo>
                  <a:lnTo>
                    <a:pt x="12462" y="11022"/>
                  </a:lnTo>
                  <a:lnTo>
                    <a:pt x="12472" y="11029"/>
                  </a:lnTo>
                  <a:lnTo>
                    <a:pt x="12483" y="11035"/>
                  </a:lnTo>
                  <a:lnTo>
                    <a:pt x="12494" y="11040"/>
                  </a:lnTo>
                  <a:lnTo>
                    <a:pt x="12505" y="11045"/>
                  </a:lnTo>
                  <a:lnTo>
                    <a:pt x="12516" y="11050"/>
                  </a:lnTo>
                  <a:lnTo>
                    <a:pt x="12529" y="11054"/>
                  </a:lnTo>
                  <a:lnTo>
                    <a:pt x="12540" y="11057"/>
                  </a:lnTo>
                  <a:lnTo>
                    <a:pt x="12553" y="11060"/>
                  </a:lnTo>
                  <a:lnTo>
                    <a:pt x="12565" y="11062"/>
                  </a:lnTo>
                  <a:lnTo>
                    <a:pt x="12577" y="11064"/>
                  </a:lnTo>
                  <a:lnTo>
                    <a:pt x="12590" y="11065"/>
                  </a:lnTo>
                  <a:lnTo>
                    <a:pt x="12603" y="11065"/>
                  </a:lnTo>
                  <a:lnTo>
                    <a:pt x="13595" y="11065"/>
                  </a:lnTo>
                  <a:lnTo>
                    <a:pt x="13673" y="11067"/>
                  </a:lnTo>
                  <a:lnTo>
                    <a:pt x="13744" y="11072"/>
                  </a:lnTo>
                  <a:lnTo>
                    <a:pt x="13811" y="11081"/>
                  </a:lnTo>
                  <a:lnTo>
                    <a:pt x="13874" y="11093"/>
                  </a:lnTo>
                  <a:lnTo>
                    <a:pt x="13930" y="11110"/>
                  </a:lnTo>
                  <a:lnTo>
                    <a:pt x="13982" y="11128"/>
                  </a:lnTo>
                  <a:lnTo>
                    <a:pt x="14031" y="11149"/>
                  </a:lnTo>
                  <a:lnTo>
                    <a:pt x="14074" y="11173"/>
                  </a:lnTo>
                  <a:lnTo>
                    <a:pt x="14113" y="11199"/>
                  </a:lnTo>
                  <a:lnTo>
                    <a:pt x="14149" y="11227"/>
                  </a:lnTo>
                  <a:lnTo>
                    <a:pt x="14181" y="11257"/>
                  </a:lnTo>
                  <a:lnTo>
                    <a:pt x="14209" y="11291"/>
                  </a:lnTo>
                  <a:lnTo>
                    <a:pt x="14233" y="11325"/>
                  </a:lnTo>
                  <a:lnTo>
                    <a:pt x="14255" y="11361"/>
                  </a:lnTo>
                  <a:lnTo>
                    <a:pt x="14273" y="11398"/>
                  </a:lnTo>
                  <a:lnTo>
                    <a:pt x="14288" y="11438"/>
                  </a:lnTo>
                  <a:lnTo>
                    <a:pt x="14300" y="11477"/>
                  </a:lnTo>
                  <a:lnTo>
                    <a:pt x="14309" y="11518"/>
                  </a:lnTo>
                  <a:lnTo>
                    <a:pt x="14316" y="11560"/>
                  </a:lnTo>
                  <a:lnTo>
                    <a:pt x="14321" y="11602"/>
                  </a:lnTo>
                  <a:lnTo>
                    <a:pt x="14323" y="11645"/>
                  </a:lnTo>
                  <a:lnTo>
                    <a:pt x="14323" y="11688"/>
                  </a:lnTo>
                  <a:lnTo>
                    <a:pt x="14322" y="11731"/>
                  </a:lnTo>
                  <a:lnTo>
                    <a:pt x="14319" y="11774"/>
                  </a:lnTo>
                  <a:lnTo>
                    <a:pt x="14314" y="11818"/>
                  </a:lnTo>
                  <a:lnTo>
                    <a:pt x="14308" y="11860"/>
                  </a:lnTo>
                  <a:lnTo>
                    <a:pt x="14300" y="11902"/>
                  </a:lnTo>
                  <a:lnTo>
                    <a:pt x="14292" y="11943"/>
                  </a:lnTo>
                  <a:lnTo>
                    <a:pt x="14282" y="11984"/>
                  </a:lnTo>
                  <a:lnTo>
                    <a:pt x="14272" y="12024"/>
                  </a:lnTo>
                  <a:lnTo>
                    <a:pt x="14261" y="12062"/>
                  </a:lnTo>
                  <a:lnTo>
                    <a:pt x="14250" y="12098"/>
                  </a:lnTo>
                  <a:lnTo>
                    <a:pt x="14220" y="12193"/>
                  </a:lnTo>
                  <a:lnTo>
                    <a:pt x="14190" y="12287"/>
                  </a:lnTo>
                  <a:lnTo>
                    <a:pt x="14175" y="12333"/>
                  </a:lnTo>
                  <a:lnTo>
                    <a:pt x="14159" y="12377"/>
                  </a:lnTo>
                  <a:lnTo>
                    <a:pt x="14143" y="12422"/>
                  </a:lnTo>
                  <a:lnTo>
                    <a:pt x="14125" y="12466"/>
                  </a:lnTo>
                  <a:lnTo>
                    <a:pt x="14105" y="12509"/>
                  </a:lnTo>
                  <a:lnTo>
                    <a:pt x="14086" y="12551"/>
                  </a:lnTo>
                  <a:lnTo>
                    <a:pt x="14064" y="12591"/>
                  </a:lnTo>
                  <a:lnTo>
                    <a:pt x="14041" y="12632"/>
                  </a:lnTo>
                  <a:lnTo>
                    <a:pt x="14016" y="12670"/>
                  </a:lnTo>
                  <a:lnTo>
                    <a:pt x="13987" y="12707"/>
                  </a:lnTo>
                  <a:lnTo>
                    <a:pt x="13958" y="12743"/>
                  </a:lnTo>
                  <a:lnTo>
                    <a:pt x="13926" y="12778"/>
                  </a:lnTo>
                  <a:lnTo>
                    <a:pt x="13891" y="12812"/>
                  </a:lnTo>
                  <a:lnTo>
                    <a:pt x="13853" y="12843"/>
                  </a:lnTo>
                  <a:lnTo>
                    <a:pt x="13812" y="12873"/>
                  </a:lnTo>
                  <a:lnTo>
                    <a:pt x="13769" y="12901"/>
                  </a:lnTo>
                  <a:lnTo>
                    <a:pt x="13721" y="12928"/>
                  </a:lnTo>
                  <a:lnTo>
                    <a:pt x="13670" y="12952"/>
                  </a:lnTo>
                  <a:lnTo>
                    <a:pt x="13615" y="12976"/>
                  </a:lnTo>
                  <a:lnTo>
                    <a:pt x="13556" y="12996"/>
                  </a:lnTo>
                  <a:lnTo>
                    <a:pt x="13493" y="13014"/>
                  </a:lnTo>
                  <a:lnTo>
                    <a:pt x="13426" y="13030"/>
                  </a:lnTo>
                  <a:lnTo>
                    <a:pt x="13354" y="13044"/>
                  </a:lnTo>
                  <a:lnTo>
                    <a:pt x="13277" y="13056"/>
                  </a:lnTo>
                  <a:lnTo>
                    <a:pt x="13195" y="13065"/>
                  </a:lnTo>
                  <a:lnTo>
                    <a:pt x="13108" y="13072"/>
                  </a:lnTo>
                  <a:lnTo>
                    <a:pt x="13017" y="13076"/>
                  </a:lnTo>
                  <a:lnTo>
                    <a:pt x="12919" y="13077"/>
                  </a:lnTo>
                  <a:lnTo>
                    <a:pt x="12097" y="13077"/>
                  </a:lnTo>
                  <a:lnTo>
                    <a:pt x="12084" y="13077"/>
                  </a:lnTo>
                  <a:lnTo>
                    <a:pt x="12071" y="13078"/>
                  </a:lnTo>
                  <a:lnTo>
                    <a:pt x="12058" y="13080"/>
                  </a:lnTo>
                  <a:lnTo>
                    <a:pt x="12046" y="13082"/>
                  </a:lnTo>
                  <a:lnTo>
                    <a:pt x="12033" y="13085"/>
                  </a:lnTo>
                  <a:lnTo>
                    <a:pt x="12021" y="13088"/>
                  </a:lnTo>
                  <a:lnTo>
                    <a:pt x="12009" y="13092"/>
                  </a:lnTo>
                  <a:lnTo>
                    <a:pt x="11998" y="13097"/>
                  </a:lnTo>
                  <a:lnTo>
                    <a:pt x="11987" y="13102"/>
                  </a:lnTo>
                  <a:lnTo>
                    <a:pt x="11976" y="13107"/>
                  </a:lnTo>
                  <a:lnTo>
                    <a:pt x="11966" y="13113"/>
                  </a:lnTo>
                  <a:lnTo>
                    <a:pt x="11956" y="13120"/>
                  </a:lnTo>
                  <a:lnTo>
                    <a:pt x="11946" y="13127"/>
                  </a:lnTo>
                  <a:lnTo>
                    <a:pt x="11936" y="13135"/>
                  </a:lnTo>
                  <a:lnTo>
                    <a:pt x="11927" y="13143"/>
                  </a:lnTo>
                  <a:lnTo>
                    <a:pt x="11919" y="13151"/>
                  </a:lnTo>
                  <a:lnTo>
                    <a:pt x="11909" y="13160"/>
                  </a:lnTo>
                  <a:lnTo>
                    <a:pt x="11901" y="13169"/>
                  </a:lnTo>
                  <a:lnTo>
                    <a:pt x="11894" y="13178"/>
                  </a:lnTo>
                  <a:lnTo>
                    <a:pt x="11887" y="13188"/>
                  </a:lnTo>
                  <a:lnTo>
                    <a:pt x="11881" y="13198"/>
                  </a:lnTo>
                  <a:lnTo>
                    <a:pt x="11875" y="13209"/>
                  </a:lnTo>
                  <a:lnTo>
                    <a:pt x="11869" y="13219"/>
                  </a:lnTo>
                  <a:lnTo>
                    <a:pt x="11864" y="13230"/>
                  </a:lnTo>
                  <a:lnTo>
                    <a:pt x="11860" y="13242"/>
                  </a:lnTo>
                  <a:lnTo>
                    <a:pt x="11856" y="13253"/>
                  </a:lnTo>
                  <a:lnTo>
                    <a:pt x="11852" y="13265"/>
                  </a:lnTo>
                  <a:lnTo>
                    <a:pt x="11850" y="13277"/>
                  </a:lnTo>
                  <a:lnTo>
                    <a:pt x="11847" y="13290"/>
                  </a:lnTo>
                  <a:lnTo>
                    <a:pt x="11846" y="13303"/>
                  </a:lnTo>
                  <a:lnTo>
                    <a:pt x="11845" y="13316"/>
                  </a:lnTo>
                  <a:lnTo>
                    <a:pt x="11845" y="13329"/>
                  </a:lnTo>
                  <a:lnTo>
                    <a:pt x="11845" y="13342"/>
                  </a:lnTo>
                  <a:lnTo>
                    <a:pt x="11846" y="13354"/>
                  </a:lnTo>
                  <a:lnTo>
                    <a:pt x="11847" y="13367"/>
                  </a:lnTo>
                  <a:lnTo>
                    <a:pt x="11850" y="13379"/>
                  </a:lnTo>
                  <a:lnTo>
                    <a:pt x="11852" y="13391"/>
                  </a:lnTo>
                  <a:lnTo>
                    <a:pt x="11856" y="13403"/>
                  </a:lnTo>
                  <a:lnTo>
                    <a:pt x="11860" y="13415"/>
                  </a:lnTo>
                  <a:lnTo>
                    <a:pt x="11864" y="13426"/>
                  </a:lnTo>
                  <a:lnTo>
                    <a:pt x="11869" y="13437"/>
                  </a:lnTo>
                  <a:lnTo>
                    <a:pt x="11875" y="13448"/>
                  </a:lnTo>
                  <a:lnTo>
                    <a:pt x="11881" y="13458"/>
                  </a:lnTo>
                  <a:lnTo>
                    <a:pt x="11887" y="13468"/>
                  </a:lnTo>
                  <a:lnTo>
                    <a:pt x="11894" y="13479"/>
                  </a:lnTo>
                  <a:lnTo>
                    <a:pt x="11901" y="13489"/>
                  </a:lnTo>
                  <a:lnTo>
                    <a:pt x="11909" y="13498"/>
                  </a:lnTo>
                  <a:lnTo>
                    <a:pt x="11919" y="13507"/>
                  </a:lnTo>
                  <a:lnTo>
                    <a:pt x="11927" y="13515"/>
                  </a:lnTo>
                  <a:lnTo>
                    <a:pt x="11936" y="13523"/>
                  </a:lnTo>
                  <a:lnTo>
                    <a:pt x="11946" y="13530"/>
                  </a:lnTo>
                  <a:lnTo>
                    <a:pt x="11956" y="13537"/>
                  </a:lnTo>
                  <a:lnTo>
                    <a:pt x="11966" y="13544"/>
                  </a:lnTo>
                  <a:lnTo>
                    <a:pt x="11976" y="13550"/>
                  </a:lnTo>
                  <a:lnTo>
                    <a:pt x="11987" y="13555"/>
                  </a:lnTo>
                  <a:lnTo>
                    <a:pt x="11998" y="13560"/>
                  </a:lnTo>
                  <a:lnTo>
                    <a:pt x="12009" y="13565"/>
                  </a:lnTo>
                  <a:lnTo>
                    <a:pt x="12021" y="13569"/>
                  </a:lnTo>
                  <a:lnTo>
                    <a:pt x="12033" y="13572"/>
                  </a:lnTo>
                  <a:lnTo>
                    <a:pt x="12046" y="13575"/>
                  </a:lnTo>
                  <a:lnTo>
                    <a:pt x="12058" y="13577"/>
                  </a:lnTo>
                  <a:lnTo>
                    <a:pt x="12071" y="13579"/>
                  </a:lnTo>
                  <a:lnTo>
                    <a:pt x="12084" y="13580"/>
                  </a:lnTo>
                  <a:lnTo>
                    <a:pt x="12097" y="13580"/>
                  </a:lnTo>
                  <a:lnTo>
                    <a:pt x="12886" y="13580"/>
                  </a:lnTo>
                  <a:lnTo>
                    <a:pt x="12937" y="13581"/>
                  </a:lnTo>
                  <a:lnTo>
                    <a:pt x="12984" y="13586"/>
                  </a:lnTo>
                  <a:lnTo>
                    <a:pt x="13029" y="13593"/>
                  </a:lnTo>
                  <a:lnTo>
                    <a:pt x="13070" y="13603"/>
                  </a:lnTo>
                  <a:lnTo>
                    <a:pt x="13108" y="13615"/>
                  </a:lnTo>
                  <a:lnTo>
                    <a:pt x="13145" y="13629"/>
                  </a:lnTo>
                  <a:lnTo>
                    <a:pt x="13178" y="13646"/>
                  </a:lnTo>
                  <a:lnTo>
                    <a:pt x="13209" y="13665"/>
                  </a:lnTo>
                  <a:lnTo>
                    <a:pt x="13237" y="13685"/>
                  </a:lnTo>
                  <a:lnTo>
                    <a:pt x="13264" y="13707"/>
                  </a:lnTo>
                  <a:lnTo>
                    <a:pt x="13288" y="13730"/>
                  </a:lnTo>
                  <a:lnTo>
                    <a:pt x="13309" y="13754"/>
                  </a:lnTo>
                  <a:lnTo>
                    <a:pt x="13328" y="13780"/>
                  </a:lnTo>
                  <a:lnTo>
                    <a:pt x="13346" y="13807"/>
                  </a:lnTo>
                  <a:lnTo>
                    <a:pt x="13361" y="13836"/>
                  </a:lnTo>
                  <a:lnTo>
                    <a:pt x="13375" y="13864"/>
                  </a:lnTo>
                  <a:lnTo>
                    <a:pt x="13388" y="13893"/>
                  </a:lnTo>
                  <a:lnTo>
                    <a:pt x="13398" y="13922"/>
                  </a:lnTo>
                  <a:lnTo>
                    <a:pt x="13406" y="13952"/>
                  </a:lnTo>
                  <a:lnTo>
                    <a:pt x="13413" y="13982"/>
                  </a:lnTo>
                  <a:lnTo>
                    <a:pt x="13419" y="14011"/>
                  </a:lnTo>
                  <a:lnTo>
                    <a:pt x="13423" y="14041"/>
                  </a:lnTo>
                  <a:lnTo>
                    <a:pt x="13426" y="14070"/>
                  </a:lnTo>
                  <a:lnTo>
                    <a:pt x="13427" y="14098"/>
                  </a:lnTo>
                  <a:lnTo>
                    <a:pt x="13428" y="14126"/>
                  </a:lnTo>
                  <a:lnTo>
                    <a:pt x="13427" y="14153"/>
                  </a:lnTo>
                  <a:lnTo>
                    <a:pt x="13426" y="14179"/>
                  </a:lnTo>
                  <a:lnTo>
                    <a:pt x="13424" y="14204"/>
                  </a:lnTo>
                  <a:lnTo>
                    <a:pt x="13420" y="14227"/>
                  </a:lnTo>
                  <a:lnTo>
                    <a:pt x="13417" y="14249"/>
                  </a:lnTo>
                  <a:lnTo>
                    <a:pt x="13412" y="14269"/>
                  </a:lnTo>
                  <a:lnTo>
                    <a:pt x="13407" y="14287"/>
                  </a:lnTo>
                  <a:lnTo>
                    <a:pt x="13383" y="14361"/>
                  </a:lnTo>
                  <a:lnTo>
                    <a:pt x="13358" y="14429"/>
                  </a:lnTo>
                  <a:lnTo>
                    <a:pt x="13335" y="14490"/>
                  </a:lnTo>
                  <a:lnTo>
                    <a:pt x="13314" y="14543"/>
                  </a:lnTo>
                  <a:lnTo>
                    <a:pt x="13296" y="14586"/>
                  </a:lnTo>
                  <a:lnTo>
                    <a:pt x="13281" y="14619"/>
                  </a:lnTo>
                  <a:lnTo>
                    <a:pt x="13271" y="14640"/>
                  </a:lnTo>
                  <a:lnTo>
                    <a:pt x="13266" y="14649"/>
                  </a:lnTo>
                  <a:lnTo>
                    <a:pt x="13251" y="14676"/>
                  </a:lnTo>
                  <a:lnTo>
                    <a:pt x="13236" y="14700"/>
                  </a:lnTo>
                  <a:lnTo>
                    <a:pt x="13220" y="14724"/>
                  </a:lnTo>
                  <a:lnTo>
                    <a:pt x="13204" y="14747"/>
                  </a:lnTo>
                  <a:lnTo>
                    <a:pt x="13187" y="14770"/>
                  </a:lnTo>
                  <a:lnTo>
                    <a:pt x="13169" y="14792"/>
                  </a:lnTo>
                  <a:lnTo>
                    <a:pt x="13151" y="14813"/>
                  </a:lnTo>
                  <a:lnTo>
                    <a:pt x="13131" y="14835"/>
                  </a:lnTo>
                  <a:lnTo>
                    <a:pt x="13111" y="14854"/>
                  </a:lnTo>
                  <a:lnTo>
                    <a:pt x="13090" y="14873"/>
                  </a:lnTo>
                  <a:lnTo>
                    <a:pt x="13068" y="14892"/>
                  </a:lnTo>
                  <a:lnTo>
                    <a:pt x="13046" y="14909"/>
                  </a:lnTo>
                  <a:lnTo>
                    <a:pt x="13022" y="14926"/>
                  </a:lnTo>
                  <a:lnTo>
                    <a:pt x="12997" y="14942"/>
                  </a:lnTo>
                  <a:lnTo>
                    <a:pt x="12971" y="14957"/>
                  </a:lnTo>
                  <a:lnTo>
                    <a:pt x="12945" y="14972"/>
                  </a:lnTo>
                  <a:lnTo>
                    <a:pt x="12917" y="14986"/>
                  </a:lnTo>
                  <a:lnTo>
                    <a:pt x="12888" y="14999"/>
                  </a:lnTo>
                  <a:lnTo>
                    <a:pt x="12858" y="15011"/>
                  </a:lnTo>
                  <a:lnTo>
                    <a:pt x="12827" y="15023"/>
                  </a:lnTo>
                  <a:lnTo>
                    <a:pt x="12795" y="15033"/>
                  </a:lnTo>
                  <a:lnTo>
                    <a:pt x="12760" y="15043"/>
                  </a:lnTo>
                  <a:lnTo>
                    <a:pt x="12726" y="15051"/>
                  </a:lnTo>
                  <a:lnTo>
                    <a:pt x="12690" y="15059"/>
                  </a:lnTo>
                  <a:lnTo>
                    <a:pt x="12653" y="15066"/>
                  </a:lnTo>
                  <a:lnTo>
                    <a:pt x="12613" y="15072"/>
                  </a:lnTo>
                  <a:lnTo>
                    <a:pt x="12573" y="15077"/>
                  </a:lnTo>
                  <a:lnTo>
                    <a:pt x="12531" y="15081"/>
                  </a:lnTo>
                  <a:lnTo>
                    <a:pt x="12487" y="15085"/>
                  </a:lnTo>
                  <a:lnTo>
                    <a:pt x="12443" y="15087"/>
                  </a:lnTo>
                  <a:lnTo>
                    <a:pt x="12396" y="15088"/>
                  </a:lnTo>
                  <a:lnTo>
                    <a:pt x="12349" y="15089"/>
                  </a:lnTo>
                  <a:lnTo>
                    <a:pt x="9592" y="15089"/>
                  </a:lnTo>
                  <a:lnTo>
                    <a:pt x="9463" y="15088"/>
                  </a:lnTo>
                  <a:lnTo>
                    <a:pt x="9333" y="15085"/>
                  </a:lnTo>
                  <a:lnTo>
                    <a:pt x="9205" y="15081"/>
                  </a:lnTo>
                  <a:lnTo>
                    <a:pt x="9077" y="15076"/>
                  </a:lnTo>
                  <a:lnTo>
                    <a:pt x="8950" y="15069"/>
                  </a:lnTo>
                  <a:lnTo>
                    <a:pt x="8824" y="15060"/>
                  </a:lnTo>
                  <a:lnTo>
                    <a:pt x="8700" y="15051"/>
                  </a:lnTo>
                  <a:lnTo>
                    <a:pt x="8577" y="15040"/>
                  </a:lnTo>
                  <a:lnTo>
                    <a:pt x="8457" y="15029"/>
                  </a:lnTo>
                  <a:lnTo>
                    <a:pt x="8338" y="15016"/>
                  </a:lnTo>
                  <a:lnTo>
                    <a:pt x="8223" y="15004"/>
                  </a:lnTo>
                  <a:lnTo>
                    <a:pt x="8110" y="14989"/>
                  </a:lnTo>
                  <a:lnTo>
                    <a:pt x="7999" y="14975"/>
                  </a:lnTo>
                  <a:lnTo>
                    <a:pt x="7893" y="14961"/>
                  </a:lnTo>
                  <a:lnTo>
                    <a:pt x="7790" y="14946"/>
                  </a:lnTo>
                  <a:lnTo>
                    <a:pt x="7690" y="14931"/>
                  </a:lnTo>
                  <a:lnTo>
                    <a:pt x="7594" y="14916"/>
                  </a:lnTo>
                  <a:lnTo>
                    <a:pt x="7503" y="14902"/>
                  </a:lnTo>
                  <a:lnTo>
                    <a:pt x="7416" y="14887"/>
                  </a:lnTo>
                  <a:lnTo>
                    <a:pt x="7334" y="14873"/>
                  </a:lnTo>
                  <a:lnTo>
                    <a:pt x="7184" y="14846"/>
                  </a:lnTo>
                  <a:lnTo>
                    <a:pt x="7056" y="14821"/>
                  </a:lnTo>
                  <a:lnTo>
                    <a:pt x="6952" y="14800"/>
                  </a:lnTo>
                  <a:lnTo>
                    <a:pt x="6873" y="14784"/>
                  </a:lnTo>
                  <a:lnTo>
                    <a:pt x="6822" y="14772"/>
                  </a:lnTo>
                  <a:lnTo>
                    <a:pt x="6800" y="14767"/>
                  </a:lnTo>
                  <a:lnTo>
                    <a:pt x="6430" y="14683"/>
                  </a:lnTo>
                  <a:lnTo>
                    <a:pt x="6103" y="14607"/>
                  </a:lnTo>
                  <a:lnTo>
                    <a:pt x="5818" y="14541"/>
                  </a:lnTo>
                  <a:lnTo>
                    <a:pt x="5570" y="14483"/>
                  </a:lnTo>
                  <a:lnTo>
                    <a:pt x="5356" y="14433"/>
                  </a:lnTo>
                  <a:lnTo>
                    <a:pt x="5174" y="14390"/>
                  </a:lnTo>
                  <a:lnTo>
                    <a:pt x="5022" y="14354"/>
                  </a:lnTo>
                  <a:lnTo>
                    <a:pt x="4895" y="14324"/>
                  </a:lnTo>
                  <a:lnTo>
                    <a:pt x="4791" y="14298"/>
                  </a:lnTo>
                  <a:lnTo>
                    <a:pt x="4709" y="14277"/>
                  </a:lnTo>
                  <a:lnTo>
                    <a:pt x="4642" y="14260"/>
                  </a:lnTo>
                  <a:lnTo>
                    <a:pt x="4590" y="14247"/>
                  </a:lnTo>
                  <a:lnTo>
                    <a:pt x="4548" y="14236"/>
                  </a:lnTo>
                  <a:lnTo>
                    <a:pt x="4516" y="14227"/>
                  </a:lnTo>
                  <a:lnTo>
                    <a:pt x="4489" y="14219"/>
                  </a:lnTo>
                  <a:lnTo>
                    <a:pt x="4464" y="14212"/>
                  </a:lnTo>
                  <a:lnTo>
                    <a:pt x="4445" y="14208"/>
                  </a:lnTo>
                  <a:lnTo>
                    <a:pt x="4397" y="14195"/>
                  </a:lnTo>
                  <a:lnTo>
                    <a:pt x="4365" y="14184"/>
                  </a:lnTo>
                  <a:lnTo>
                    <a:pt x="4328" y="14170"/>
                  </a:lnTo>
                  <a:lnTo>
                    <a:pt x="4309" y="14161"/>
                  </a:lnTo>
                  <a:lnTo>
                    <a:pt x="4290" y="14152"/>
                  </a:lnTo>
                  <a:lnTo>
                    <a:pt x="4270" y="14141"/>
                  </a:lnTo>
                  <a:lnTo>
                    <a:pt x="4250" y="14129"/>
                  </a:lnTo>
                  <a:lnTo>
                    <a:pt x="4231" y="14117"/>
                  </a:lnTo>
                  <a:lnTo>
                    <a:pt x="4210" y="14103"/>
                  </a:lnTo>
                  <a:lnTo>
                    <a:pt x="4191" y="14088"/>
                  </a:lnTo>
                  <a:lnTo>
                    <a:pt x="4172" y="14072"/>
                  </a:lnTo>
                  <a:lnTo>
                    <a:pt x="4154" y="14055"/>
                  </a:lnTo>
                  <a:lnTo>
                    <a:pt x="4136" y="14036"/>
                  </a:lnTo>
                  <a:lnTo>
                    <a:pt x="4119" y="14016"/>
                  </a:lnTo>
                  <a:lnTo>
                    <a:pt x="4104" y="13995"/>
                  </a:lnTo>
                  <a:lnTo>
                    <a:pt x="4089" y="13971"/>
                  </a:lnTo>
                  <a:lnTo>
                    <a:pt x="4076" y="13947"/>
                  </a:lnTo>
                  <a:lnTo>
                    <a:pt x="4065" y="13921"/>
                  </a:lnTo>
                  <a:lnTo>
                    <a:pt x="4055" y="13894"/>
                  </a:lnTo>
                  <a:lnTo>
                    <a:pt x="4047" y="13866"/>
                  </a:lnTo>
                  <a:lnTo>
                    <a:pt x="4042" y="13835"/>
                  </a:lnTo>
                  <a:lnTo>
                    <a:pt x="4038" y="13802"/>
                  </a:lnTo>
                  <a:lnTo>
                    <a:pt x="4037" y="13768"/>
                  </a:lnTo>
                  <a:lnTo>
                    <a:pt x="4033" y="6821"/>
                  </a:lnTo>
                  <a:lnTo>
                    <a:pt x="4033" y="6800"/>
                  </a:lnTo>
                  <a:lnTo>
                    <a:pt x="4035" y="6778"/>
                  </a:lnTo>
                  <a:lnTo>
                    <a:pt x="4037" y="6756"/>
                  </a:lnTo>
                  <a:lnTo>
                    <a:pt x="4040" y="6735"/>
                  </a:lnTo>
                  <a:lnTo>
                    <a:pt x="4044" y="6714"/>
                  </a:lnTo>
                  <a:lnTo>
                    <a:pt x="4048" y="6693"/>
                  </a:lnTo>
                  <a:lnTo>
                    <a:pt x="4054" y="6671"/>
                  </a:lnTo>
                  <a:lnTo>
                    <a:pt x="4060" y="6651"/>
                  </a:lnTo>
                  <a:lnTo>
                    <a:pt x="4067" y="6631"/>
                  </a:lnTo>
                  <a:lnTo>
                    <a:pt x="4075" y="6611"/>
                  </a:lnTo>
                  <a:lnTo>
                    <a:pt x="4084" y="6592"/>
                  </a:lnTo>
                  <a:lnTo>
                    <a:pt x="4093" y="6573"/>
                  </a:lnTo>
                  <a:lnTo>
                    <a:pt x="4105" y="6554"/>
                  </a:lnTo>
                  <a:lnTo>
                    <a:pt x="4115" y="6536"/>
                  </a:lnTo>
                  <a:lnTo>
                    <a:pt x="4127" y="6517"/>
                  </a:lnTo>
                  <a:lnTo>
                    <a:pt x="4140" y="6499"/>
                  </a:lnTo>
                  <a:lnTo>
                    <a:pt x="4153" y="6482"/>
                  </a:lnTo>
                  <a:lnTo>
                    <a:pt x="4167" y="6466"/>
                  </a:lnTo>
                  <a:lnTo>
                    <a:pt x="4181" y="6450"/>
                  </a:lnTo>
                  <a:lnTo>
                    <a:pt x="4197" y="6435"/>
                  </a:lnTo>
                  <a:lnTo>
                    <a:pt x="4213" y="6420"/>
                  </a:lnTo>
                  <a:lnTo>
                    <a:pt x="4230" y="6405"/>
                  </a:lnTo>
                  <a:lnTo>
                    <a:pt x="4248" y="6392"/>
                  </a:lnTo>
                  <a:lnTo>
                    <a:pt x="4266" y="6379"/>
                  </a:lnTo>
                  <a:lnTo>
                    <a:pt x="4284" y="6366"/>
                  </a:lnTo>
                  <a:lnTo>
                    <a:pt x="4303" y="6354"/>
                  </a:lnTo>
                  <a:lnTo>
                    <a:pt x="4323" y="6342"/>
                  </a:lnTo>
                  <a:lnTo>
                    <a:pt x="4345" y="6332"/>
                  </a:lnTo>
                  <a:lnTo>
                    <a:pt x="4366" y="6322"/>
                  </a:lnTo>
                  <a:lnTo>
                    <a:pt x="4388" y="6313"/>
                  </a:lnTo>
                  <a:lnTo>
                    <a:pt x="4410" y="6305"/>
                  </a:lnTo>
                  <a:lnTo>
                    <a:pt x="4433" y="6297"/>
                  </a:lnTo>
                  <a:lnTo>
                    <a:pt x="4458" y="6288"/>
                  </a:lnTo>
                  <a:lnTo>
                    <a:pt x="4486" y="6279"/>
                  </a:lnTo>
                  <a:lnTo>
                    <a:pt x="4513" y="6270"/>
                  </a:lnTo>
                  <a:lnTo>
                    <a:pt x="4537" y="6260"/>
                  </a:lnTo>
                  <a:lnTo>
                    <a:pt x="4749" y="6167"/>
                  </a:lnTo>
                  <a:lnTo>
                    <a:pt x="4951" y="6069"/>
                  </a:lnTo>
                  <a:lnTo>
                    <a:pt x="5143" y="5963"/>
                  </a:lnTo>
                  <a:lnTo>
                    <a:pt x="5328" y="5853"/>
                  </a:lnTo>
                  <a:lnTo>
                    <a:pt x="5503" y="5737"/>
                  </a:lnTo>
                  <a:lnTo>
                    <a:pt x="5669" y="5615"/>
                  </a:lnTo>
                  <a:lnTo>
                    <a:pt x="5829" y="5488"/>
                  </a:lnTo>
                  <a:lnTo>
                    <a:pt x="5979" y="5357"/>
                  </a:lnTo>
                  <a:lnTo>
                    <a:pt x="6121" y="5222"/>
                  </a:lnTo>
                  <a:lnTo>
                    <a:pt x="6255" y="5082"/>
                  </a:lnTo>
                  <a:lnTo>
                    <a:pt x="6382" y="4938"/>
                  </a:lnTo>
                  <a:lnTo>
                    <a:pt x="6501" y="4790"/>
                  </a:lnTo>
                  <a:lnTo>
                    <a:pt x="6613" y="4639"/>
                  </a:lnTo>
                  <a:lnTo>
                    <a:pt x="6717" y="4485"/>
                  </a:lnTo>
                  <a:lnTo>
                    <a:pt x="6815" y="4330"/>
                  </a:lnTo>
                  <a:lnTo>
                    <a:pt x="6906" y="4170"/>
                  </a:lnTo>
                  <a:lnTo>
                    <a:pt x="6989" y="4009"/>
                  </a:lnTo>
                  <a:lnTo>
                    <a:pt x="7067" y="3846"/>
                  </a:lnTo>
                  <a:lnTo>
                    <a:pt x="7138" y="3681"/>
                  </a:lnTo>
                  <a:lnTo>
                    <a:pt x="7203" y="3514"/>
                  </a:lnTo>
                  <a:lnTo>
                    <a:pt x="7262" y="3347"/>
                  </a:lnTo>
                  <a:lnTo>
                    <a:pt x="7315" y="3179"/>
                  </a:lnTo>
                  <a:lnTo>
                    <a:pt x="7362" y="3010"/>
                  </a:lnTo>
                  <a:lnTo>
                    <a:pt x="7405" y="2840"/>
                  </a:lnTo>
                  <a:lnTo>
                    <a:pt x="7441" y="2671"/>
                  </a:lnTo>
                  <a:lnTo>
                    <a:pt x="7472" y="2502"/>
                  </a:lnTo>
                  <a:lnTo>
                    <a:pt x="7498" y="2334"/>
                  </a:lnTo>
                  <a:lnTo>
                    <a:pt x="7521" y="2166"/>
                  </a:lnTo>
                  <a:lnTo>
                    <a:pt x="7538" y="2000"/>
                  </a:lnTo>
                  <a:lnTo>
                    <a:pt x="7550" y="1834"/>
                  </a:lnTo>
                  <a:lnTo>
                    <a:pt x="7558" y="1671"/>
                  </a:lnTo>
                  <a:lnTo>
                    <a:pt x="7562" y="1509"/>
                  </a:lnTo>
                  <a:lnTo>
                    <a:pt x="7563" y="1486"/>
                  </a:lnTo>
                  <a:lnTo>
                    <a:pt x="7565" y="1464"/>
                  </a:lnTo>
                  <a:lnTo>
                    <a:pt x="7568" y="1441"/>
                  </a:lnTo>
                  <a:lnTo>
                    <a:pt x="7571" y="1418"/>
                  </a:lnTo>
                  <a:lnTo>
                    <a:pt x="7576" y="1395"/>
                  </a:lnTo>
                  <a:lnTo>
                    <a:pt x="7582" y="1373"/>
                  </a:lnTo>
                  <a:lnTo>
                    <a:pt x="7589" y="1351"/>
                  </a:lnTo>
                  <a:lnTo>
                    <a:pt x="7597" y="1329"/>
                  </a:lnTo>
                  <a:lnTo>
                    <a:pt x="7606" y="1307"/>
                  </a:lnTo>
                  <a:lnTo>
                    <a:pt x="7616" y="1286"/>
                  </a:lnTo>
                  <a:lnTo>
                    <a:pt x="7627" y="1264"/>
                  </a:lnTo>
                  <a:lnTo>
                    <a:pt x="7640" y="1244"/>
                  </a:lnTo>
                  <a:lnTo>
                    <a:pt x="7653" y="1223"/>
                  </a:lnTo>
                  <a:lnTo>
                    <a:pt x="7667" y="1204"/>
                  </a:lnTo>
                  <a:lnTo>
                    <a:pt x="7681" y="1185"/>
                  </a:lnTo>
                  <a:lnTo>
                    <a:pt x="7697" y="1167"/>
                  </a:lnTo>
                  <a:lnTo>
                    <a:pt x="7713" y="1150"/>
                  </a:lnTo>
                  <a:lnTo>
                    <a:pt x="7731" y="1133"/>
                  </a:lnTo>
                  <a:lnTo>
                    <a:pt x="7749" y="1117"/>
                  </a:lnTo>
                  <a:lnTo>
                    <a:pt x="7769" y="1102"/>
                  </a:lnTo>
                  <a:lnTo>
                    <a:pt x="7789" y="1087"/>
                  </a:lnTo>
                  <a:lnTo>
                    <a:pt x="7810" y="1074"/>
                  </a:lnTo>
                  <a:lnTo>
                    <a:pt x="7832" y="1061"/>
                  </a:lnTo>
                  <a:lnTo>
                    <a:pt x="7854" y="1050"/>
                  </a:lnTo>
                  <a:lnTo>
                    <a:pt x="7878" y="1040"/>
                  </a:lnTo>
                  <a:lnTo>
                    <a:pt x="7903" y="1032"/>
                  </a:lnTo>
                  <a:lnTo>
                    <a:pt x="7928" y="1024"/>
                  </a:lnTo>
                  <a:lnTo>
                    <a:pt x="7954" y="1018"/>
                  </a:lnTo>
                  <a:lnTo>
                    <a:pt x="7980" y="1013"/>
                  </a:lnTo>
                  <a:lnTo>
                    <a:pt x="8009" y="1009"/>
                  </a:lnTo>
                  <a:lnTo>
                    <a:pt x="8037" y="1007"/>
                  </a:lnTo>
                  <a:lnTo>
                    <a:pt x="8066" y="1006"/>
                  </a:lnTo>
                  <a:lnTo>
                    <a:pt x="8117" y="1009"/>
                  </a:lnTo>
                  <a:lnTo>
                    <a:pt x="8171" y="1018"/>
                  </a:lnTo>
                  <a:lnTo>
                    <a:pt x="8225" y="1033"/>
                  </a:lnTo>
                  <a:lnTo>
                    <a:pt x="8283" y="1054"/>
                  </a:lnTo>
                  <a:lnTo>
                    <a:pt x="8340" y="1081"/>
                  </a:lnTo>
                  <a:lnTo>
                    <a:pt x="8400" y="1114"/>
                  </a:lnTo>
                  <a:lnTo>
                    <a:pt x="8460" y="1151"/>
                  </a:lnTo>
                  <a:lnTo>
                    <a:pt x="8522" y="1193"/>
                  </a:lnTo>
                  <a:lnTo>
                    <a:pt x="8583" y="1241"/>
                  </a:lnTo>
                  <a:lnTo>
                    <a:pt x="8645" y="1294"/>
                  </a:lnTo>
                  <a:lnTo>
                    <a:pt x="8706" y="1351"/>
                  </a:lnTo>
                  <a:lnTo>
                    <a:pt x="8767" y="1413"/>
                  </a:lnTo>
                  <a:lnTo>
                    <a:pt x="8827" y="1480"/>
                  </a:lnTo>
                  <a:lnTo>
                    <a:pt x="8888" y="1550"/>
                  </a:lnTo>
                  <a:lnTo>
                    <a:pt x="8946" y="1626"/>
                  </a:lnTo>
                  <a:lnTo>
                    <a:pt x="9004" y="1705"/>
                  </a:lnTo>
                  <a:lnTo>
                    <a:pt x="9059" y="1788"/>
                  </a:lnTo>
                  <a:lnTo>
                    <a:pt x="9114" y="1874"/>
                  </a:lnTo>
                  <a:lnTo>
                    <a:pt x="9165" y="1965"/>
                  </a:lnTo>
                  <a:lnTo>
                    <a:pt x="9215" y="2058"/>
                  </a:lnTo>
                  <a:lnTo>
                    <a:pt x="9262" y="2155"/>
                  </a:lnTo>
                  <a:lnTo>
                    <a:pt x="9306" y="2255"/>
                  </a:lnTo>
                  <a:lnTo>
                    <a:pt x="9347" y="2358"/>
                  </a:lnTo>
                  <a:lnTo>
                    <a:pt x="9386" y="2464"/>
                  </a:lnTo>
                  <a:lnTo>
                    <a:pt x="9420" y="2572"/>
                  </a:lnTo>
                  <a:lnTo>
                    <a:pt x="9450" y="2683"/>
                  </a:lnTo>
                  <a:lnTo>
                    <a:pt x="9478" y="2797"/>
                  </a:lnTo>
                  <a:lnTo>
                    <a:pt x="9500" y="2912"/>
                  </a:lnTo>
                  <a:lnTo>
                    <a:pt x="9517" y="3030"/>
                  </a:lnTo>
                  <a:lnTo>
                    <a:pt x="9530" y="3150"/>
                  </a:lnTo>
                  <a:lnTo>
                    <a:pt x="9538" y="3271"/>
                  </a:lnTo>
                  <a:lnTo>
                    <a:pt x="9541" y="3394"/>
                  </a:lnTo>
                  <a:lnTo>
                    <a:pt x="9540" y="3606"/>
                  </a:lnTo>
                  <a:lnTo>
                    <a:pt x="9538" y="3799"/>
                  </a:lnTo>
                  <a:lnTo>
                    <a:pt x="9536" y="3889"/>
                  </a:lnTo>
                  <a:lnTo>
                    <a:pt x="9534" y="3974"/>
                  </a:lnTo>
                  <a:lnTo>
                    <a:pt x="9531" y="4056"/>
                  </a:lnTo>
                  <a:lnTo>
                    <a:pt x="9527" y="4135"/>
                  </a:lnTo>
                  <a:lnTo>
                    <a:pt x="9523" y="4211"/>
                  </a:lnTo>
                  <a:lnTo>
                    <a:pt x="9517" y="4284"/>
                  </a:lnTo>
                  <a:lnTo>
                    <a:pt x="9511" y="4357"/>
                  </a:lnTo>
                  <a:lnTo>
                    <a:pt x="9504" y="4426"/>
                  </a:lnTo>
                  <a:lnTo>
                    <a:pt x="9496" y="4495"/>
                  </a:lnTo>
                  <a:lnTo>
                    <a:pt x="9487" y="4562"/>
                  </a:lnTo>
                  <a:lnTo>
                    <a:pt x="9477" y="4629"/>
                  </a:lnTo>
                  <a:lnTo>
                    <a:pt x="9464" y="4696"/>
                  </a:lnTo>
                  <a:lnTo>
                    <a:pt x="9452" y="4763"/>
                  </a:lnTo>
                  <a:lnTo>
                    <a:pt x="9438" y="4831"/>
                  </a:lnTo>
                  <a:lnTo>
                    <a:pt x="9423" y="4899"/>
                  </a:lnTo>
                  <a:lnTo>
                    <a:pt x="9406" y="4968"/>
                  </a:lnTo>
                  <a:lnTo>
                    <a:pt x="9388" y="5040"/>
                  </a:lnTo>
                  <a:lnTo>
                    <a:pt x="9369" y="5112"/>
                  </a:lnTo>
                  <a:lnTo>
                    <a:pt x="9347" y="5188"/>
                  </a:lnTo>
                  <a:lnTo>
                    <a:pt x="9324" y="5266"/>
                  </a:lnTo>
                  <a:lnTo>
                    <a:pt x="9299" y="5348"/>
                  </a:lnTo>
                  <a:lnTo>
                    <a:pt x="9273" y="5432"/>
                  </a:lnTo>
                  <a:lnTo>
                    <a:pt x="9245" y="5522"/>
                  </a:lnTo>
                  <a:lnTo>
                    <a:pt x="9214" y="5614"/>
                  </a:lnTo>
                  <a:lnTo>
                    <a:pt x="9149" y="5814"/>
                  </a:lnTo>
                  <a:lnTo>
                    <a:pt x="9074" y="6036"/>
                  </a:lnTo>
                  <a:lnTo>
                    <a:pt x="9962" y="6037"/>
                  </a:lnTo>
                  <a:lnTo>
                    <a:pt x="10738" y="6039"/>
                  </a:lnTo>
                  <a:lnTo>
                    <a:pt x="11087" y="6041"/>
                  </a:lnTo>
                  <a:lnTo>
                    <a:pt x="11411" y="6043"/>
                  </a:lnTo>
                  <a:lnTo>
                    <a:pt x="11712" y="6046"/>
                  </a:lnTo>
                  <a:lnTo>
                    <a:pt x="11990" y="6049"/>
                  </a:lnTo>
                  <a:lnTo>
                    <a:pt x="12247" y="6052"/>
                  </a:lnTo>
                  <a:lnTo>
                    <a:pt x="12483" y="6056"/>
                  </a:lnTo>
                  <a:lnTo>
                    <a:pt x="12699" y="6060"/>
                  </a:lnTo>
                  <a:lnTo>
                    <a:pt x="12897" y="6065"/>
                  </a:lnTo>
                  <a:lnTo>
                    <a:pt x="13077" y="6070"/>
                  </a:lnTo>
                  <a:lnTo>
                    <a:pt x="13241" y="6075"/>
                  </a:lnTo>
                  <a:lnTo>
                    <a:pt x="13390" y="6080"/>
                  </a:lnTo>
                  <a:lnTo>
                    <a:pt x="13524" y="6086"/>
                  </a:lnTo>
                  <a:lnTo>
                    <a:pt x="13644" y="6092"/>
                  </a:lnTo>
                  <a:lnTo>
                    <a:pt x="13752" y="6099"/>
                  </a:lnTo>
                  <a:lnTo>
                    <a:pt x="13848" y="6106"/>
                  </a:lnTo>
                  <a:lnTo>
                    <a:pt x="13934" y="6113"/>
                  </a:lnTo>
                  <a:lnTo>
                    <a:pt x="14011" y="6121"/>
                  </a:lnTo>
                  <a:lnTo>
                    <a:pt x="14079" y="6129"/>
                  </a:lnTo>
                  <a:lnTo>
                    <a:pt x="14140" y="6137"/>
                  </a:lnTo>
                  <a:lnTo>
                    <a:pt x="14195" y="6145"/>
                  </a:lnTo>
                  <a:lnTo>
                    <a:pt x="14245" y="6154"/>
                  </a:lnTo>
                  <a:lnTo>
                    <a:pt x="14289" y="6163"/>
                  </a:lnTo>
                  <a:lnTo>
                    <a:pt x="14330" y="6172"/>
                  </a:lnTo>
                  <a:lnTo>
                    <a:pt x="14371" y="6182"/>
                  </a:lnTo>
                  <a:lnTo>
                    <a:pt x="14446" y="6203"/>
                  </a:lnTo>
                  <a:lnTo>
                    <a:pt x="14526" y="6224"/>
                  </a:lnTo>
                  <a:lnTo>
                    <a:pt x="14575" y="6240"/>
                  </a:lnTo>
                  <a:lnTo>
                    <a:pt x="14623" y="6257"/>
                  </a:lnTo>
                  <a:lnTo>
                    <a:pt x="14668" y="6276"/>
                  </a:lnTo>
                  <a:lnTo>
                    <a:pt x="14709" y="6296"/>
                  </a:lnTo>
                  <a:lnTo>
                    <a:pt x="14749" y="6317"/>
                  </a:lnTo>
                  <a:lnTo>
                    <a:pt x="14785" y="6340"/>
                  </a:lnTo>
                  <a:lnTo>
                    <a:pt x="14819" y="6364"/>
                  </a:lnTo>
                  <a:lnTo>
                    <a:pt x="14852" y="6389"/>
                  </a:lnTo>
                  <a:lnTo>
                    <a:pt x="14881" y="6414"/>
                  </a:lnTo>
                  <a:lnTo>
                    <a:pt x="14909" y="6441"/>
                  </a:lnTo>
                  <a:lnTo>
                    <a:pt x="14934" y="6468"/>
                  </a:lnTo>
                  <a:lnTo>
                    <a:pt x="14957" y="6495"/>
                  </a:lnTo>
                  <a:lnTo>
                    <a:pt x="14979" y="6524"/>
                  </a:lnTo>
                  <a:lnTo>
                    <a:pt x="14998" y="6552"/>
                  </a:lnTo>
                  <a:lnTo>
                    <a:pt x="15016" y="6581"/>
                  </a:lnTo>
                  <a:lnTo>
                    <a:pt x="15031" y="6609"/>
                  </a:lnTo>
                  <a:lnTo>
                    <a:pt x="15046" y="6638"/>
                  </a:lnTo>
                  <a:lnTo>
                    <a:pt x="15058" y="6666"/>
                  </a:lnTo>
                  <a:lnTo>
                    <a:pt x="15070" y="6695"/>
                  </a:lnTo>
                  <a:lnTo>
                    <a:pt x="15079" y="6723"/>
                  </a:lnTo>
                  <a:lnTo>
                    <a:pt x="15088" y="6751"/>
                  </a:lnTo>
                  <a:lnTo>
                    <a:pt x="15097" y="6778"/>
                  </a:lnTo>
                  <a:lnTo>
                    <a:pt x="15103" y="6804"/>
                  </a:lnTo>
                  <a:lnTo>
                    <a:pt x="15108" y="6829"/>
                  </a:lnTo>
                  <a:lnTo>
                    <a:pt x="15113" y="6854"/>
                  </a:lnTo>
                  <a:lnTo>
                    <a:pt x="15116" y="6879"/>
                  </a:lnTo>
                  <a:lnTo>
                    <a:pt x="15119" y="6901"/>
                  </a:lnTo>
                  <a:lnTo>
                    <a:pt x="15121" y="6923"/>
                  </a:lnTo>
                  <a:lnTo>
                    <a:pt x="15123" y="6961"/>
                  </a:lnTo>
                  <a:lnTo>
                    <a:pt x="15124" y="6994"/>
                  </a:lnTo>
                  <a:lnTo>
                    <a:pt x="15124" y="7051"/>
                  </a:lnTo>
                  <a:lnTo>
                    <a:pt x="15123" y="7093"/>
                  </a:lnTo>
                  <a:lnTo>
                    <a:pt x="15122" y="7126"/>
                  </a:lnTo>
                  <a:lnTo>
                    <a:pt x="15121" y="7153"/>
                  </a:lnTo>
                  <a:lnTo>
                    <a:pt x="15119" y="7181"/>
                  </a:lnTo>
                  <a:lnTo>
                    <a:pt x="15117" y="7215"/>
                  </a:lnTo>
                  <a:lnTo>
                    <a:pt x="15115" y="7256"/>
                  </a:lnTo>
                  <a:lnTo>
                    <a:pt x="15113" y="7310"/>
                  </a:lnTo>
                  <a:close/>
                  <a:moveTo>
                    <a:pt x="3529" y="14586"/>
                  </a:moveTo>
                  <a:lnTo>
                    <a:pt x="3528" y="14612"/>
                  </a:lnTo>
                  <a:lnTo>
                    <a:pt x="3526" y="14637"/>
                  </a:lnTo>
                  <a:lnTo>
                    <a:pt x="3523" y="14663"/>
                  </a:lnTo>
                  <a:lnTo>
                    <a:pt x="3519" y="14688"/>
                  </a:lnTo>
                  <a:lnTo>
                    <a:pt x="3513" y="14712"/>
                  </a:lnTo>
                  <a:lnTo>
                    <a:pt x="3507" y="14736"/>
                  </a:lnTo>
                  <a:lnTo>
                    <a:pt x="3499" y="14759"/>
                  </a:lnTo>
                  <a:lnTo>
                    <a:pt x="3490" y="14782"/>
                  </a:lnTo>
                  <a:lnTo>
                    <a:pt x="3479" y="14804"/>
                  </a:lnTo>
                  <a:lnTo>
                    <a:pt x="3468" y="14826"/>
                  </a:lnTo>
                  <a:lnTo>
                    <a:pt x="3456" y="14847"/>
                  </a:lnTo>
                  <a:lnTo>
                    <a:pt x="3443" y="14868"/>
                  </a:lnTo>
                  <a:lnTo>
                    <a:pt x="3429" y="14887"/>
                  </a:lnTo>
                  <a:lnTo>
                    <a:pt x="3414" y="14906"/>
                  </a:lnTo>
                  <a:lnTo>
                    <a:pt x="3398" y="14924"/>
                  </a:lnTo>
                  <a:lnTo>
                    <a:pt x="3382" y="14942"/>
                  </a:lnTo>
                  <a:lnTo>
                    <a:pt x="3364" y="14958"/>
                  </a:lnTo>
                  <a:lnTo>
                    <a:pt x="3345" y="14974"/>
                  </a:lnTo>
                  <a:lnTo>
                    <a:pt x="3326" y="14989"/>
                  </a:lnTo>
                  <a:lnTo>
                    <a:pt x="3307" y="15004"/>
                  </a:lnTo>
                  <a:lnTo>
                    <a:pt x="3286" y="15017"/>
                  </a:lnTo>
                  <a:lnTo>
                    <a:pt x="3265" y="15029"/>
                  </a:lnTo>
                  <a:lnTo>
                    <a:pt x="3244" y="15040"/>
                  </a:lnTo>
                  <a:lnTo>
                    <a:pt x="3221" y="15050"/>
                  </a:lnTo>
                  <a:lnTo>
                    <a:pt x="3198" y="15059"/>
                  </a:lnTo>
                  <a:lnTo>
                    <a:pt x="3175" y="15067"/>
                  </a:lnTo>
                  <a:lnTo>
                    <a:pt x="3151" y="15073"/>
                  </a:lnTo>
                  <a:lnTo>
                    <a:pt x="3127" y="15079"/>
                  </a:lnTo>
                  <a:lnTo>
                    <a:pt x="3101" y="15083"/>
                  </a:lnTo>
                  <a:lnTo>
                    <a:pt x="3076" y="15086"/>
                  </a:lnTo>
                  <a:lnTo>
                    <a:pt x="3051" y="15088"/>
                  </a:lnTo>
                  <a:lnTo>
                    <a:pt x="3025" y="15089"/>
                  </a:lnTo>
                  <a:lnTo>
                    <a:pt x="1512" y="15089"/>
                  </a:lnTo>
                  <a:lnTo>
                    <a:pt x="1486" y="15088"/>
                  </a:lnTo>
                  <a:lnTo>
                    <a:pt x="1461" y="15086"/>
                  </a:lnTo>
                  <a:lnTo>
                    <a:pt x="1436" y="15083"/>
                  </a:lnTo>
                  <a:lnTo>
                    <a:pt x="1411" y="15079"/>
                  </a:lnTo>
                  <a:lnTo>
                    <a:pt x="1386" y="15073"/>
                  </a:lnTo>
                  <a:lnTo>
                    <a:pt x="1362" y="15067"/>
                  </a:lnTo>
                  <a:lnTo>
                    <a:pt x="1339" y="15059"/>
                  </a:lnTo>
                  <a:lnTo>
                    <a:pt x="1316" y="15050"/>
                  </a:lnTo>
                  <a:lnTo>
                    <a:pt x="1294" y="15040"/>
                  </a:lnTo>
                  <a:lnTo>
                    <a:pt x="1272" y="15029"/>
                  </a:lnTo>
                  <a:lnTo>
                    <a:pt x="1251" y="15017"/>
                  </a:lnTo>
                  <a:lnTo>
                    <a:pt x="1230" y="15004"/>
                  </a:lnTo>
                  <a:lnTo>
                    <a:pt x="1211" y="14989"/>
                  </a:lnTo>
                  <a:lnTo>
                    <a:pt x="1192" y="14974"/>
                  </a:lnTo>
                  <a:lnTo>
                    <a:pt x="1174" y="14958"/>
                  </a:lnTo>
                  <a:lnTo>
                    <a:pt x="1155" y="14942"/>
                  </a:lnTo>
                  <a:lnTo>
                    <a:pt x="1139" y="14924"/>
                  </a:lnTo>
                  <a:lnTo>
                    <a:pt x="1123" y="14906"/>
                  </a:lnTo>
                  <a:lnTo>
                    <a:pt x="1108" y="14887"/>
                  </a:lnTo>
                  <a:lnTo>
                    <a:pt x="1094" y="14868"/>
                  </a:lnTo>
                  <a:lnTo>
                    <a:pt x="1081" y="14847"/>
                  </a:lnTo>
                  <a:lnTo>
                    <a:pt x="1069" y="14826"/>
                  </a:lnTo>
                  <a:lnTo>
                    <a:pt x="1058" y="14804"/>
                  </a:lnTo>
                  <a:lnTo>
                    <a:pt x="1048" y="14782"/>
                  </a:lnTo>
                  <a:lnTo>
                    <a:pt x="1038" y="14759"/>
                  </a:lnTo>
                  <a:lnTo>
                    <a:pt x="1030" y="14736"/>
                  </a:lnTo>
                  <a:lnTo>
                    <a:pt x="1024" y="14712"/>
                  </a:lnTo>
                  <a:lnTo>
                    <a:pt x="1018" y="14688"/>
                  </a:lnTo>
                  <a:lnTo>
                    <a:pt x="1014" y="14663"/>
                  </a:lnTo>
                  <a:lnTo>
                    <a:pt x="1011" y="14637"/>
                  </a:lnTo>
                  <a:lnTo>
                    <a:pt x="1009" y="14612"/>
                  </a:lnTo>
                  <a:lnTo>
                    <a:pt x="1008" y="14586"/>
                  </a:lnTo>
                  <a:lnTo>
                    <a:pt x="1008" y="6539"/>
                  </a:lnTo>
                  <a:lnTo>
                    <a:pt x="1009" y="6512"/>
                  </a:lnTo>
                  <a:lnTo>
                    <a:pt x="1011" y="6487"/>
                  </a:lnTo>
                  <a:lnTo>
                    <a:pt x="1014" y="6462"/>
                  </a:lnTo>
                  <a:lnTo>
                    <a:pt x="1018" y="6437"/>
                  </a:lnTo>
                  <a:lnTo>
                    <a:pt x="1024" y="6413"/>
                  </a:lnTo>
                  <a:lnTo>
                    <a:pt x="1030" y="6389"/>
                  </a:lnTo>
                  <a:lnTo>
                    <a:pt x="1038" y="6366"/>
                  </a:lnTo>
                  <a:lnTo>
                    <a:pt x="1048" y="6342"/>
                  </a:lnTo>
                  <a:lnTo>
                    <a:pt x="1058" y="6320"/>
                  </a:lnTo>
                  <a:lnTo>
                    <a:pt x="1069" y="6298"/>
                  </a:lnTo>
                  <a:lnTo>
                    <a:pt x="1081" y="6278"/>
                  </a:lnTo>
                  <a:lnTo>
                    <a:pt x="1094" y="6257"/>
                  </a:lnTo>
                  <a:lnTo>
                    <a:pt x="1108" y="6238"/>
                  </a:lnTo>
                  <a:lnTo>
                    <a:pt x="1123" y="6219"/>
                  </a:lnTo>
                  <a:lnTo>
                    <a:pt x="1139" y="6201"/>
                  </a:lnTo>
                  <a:lnTo>
                    <a:pt x="1155" y="6182"/>
                  </a:lnTo>
                  <a:lnTo>
                    <a:pt x="1174" y="6166"/>
                  </a:lnTo>
                  <a:lnTo>
                    <a:pt x="1192" y="6150"/>
                  </a:lnTo>
                  <a:lnTo>
                    <a:pt x="1211" y="6135"/>
                  </a:lnTo>
                  <a:lnTo>
                    <a:pt x="1230" y="6121"/>
                  </a:lnTo>
                  <a:lnTo>
                    <a:pt x="1251" y="6108"/>
                  </a:lnTo>
                  <a:lnTo>
                    <a:pt x="1272" y="6096"/>
                  </a:lnTo>
                  <a:lnTo>
                    <a:pt x="1294" y="6085"/>
                  </a:lnTo>
                  <a:lnTo>
                    <a:pt x="1316" y="6075"/>
                  </a:lnTo>
                  <a:lnTo>
                    <a:pt x="1339" y="6066"/>
                  </a:lnTo>
                  <a:lnTo>
                    <a:pt x="1362" y="6058"/>
                  </a:lnTo>
                  <a:lnTo>
                    <a:pt x="1386" y="6052"/>
                  </a:lnTo>
                  <a:lnTo>
                    <a:pt x="1411" y="6046"/>
                  </a:lnTo>
                  <a:lnTo>
                    <a:pt x="1436" y="6042"/>
                  </a:lnTo>
                  <a:lnTo>
                    <a:pt x="1461" y="6039"/>
                  </a:lnTo>
                  <a:lnTo>
                    <a:pt x="1486" y="6037"/>
                  </a:lnTo>
                  <a:lnTo>
                    <a:pt x="1512" y="6036"/>
                  </a:lnTo>
                  <a:lnTo>
                    <a:pt x="3025" y="6036"/>
                  </a:lnTo>
                  <a:lnTo>
                    <a:pt x="3051" y="6037"/>
                  </a:lnTo>
                  <a:lnTo>
                    <a:pt x="3076" y="6039"/>
                  </a:lnTo>
                  <a:lnTo>
                    <a:pt x="3101" y="6042"/>
                  </a:lnTo>
                  <a:lnTo>
                    <a:pt x="3127" y="6046"/>
                  </a:lnTo>
                  <a:lnTo>
                    <a:pt x="3151" y="6052"/>
                  </a:lnTo>
                  <a:lnTo>
                    <a:pt x="3175" y="6058"/>
                  </a:lnTo>
                  <a:lnTo>
                    <a:pt x="3198" y="6066"/>
                  </a:lnTo>
                  <a:lnTo>
                    <a:pt x="3221" y="6075"/>
                  </a:lnTo>
                  <a:lnTo>
                    <a:pt x="3244" y="6085"/>
                  </a:lnTo>
                  <a:lnTo>
                    <a:pt x="3265" y="6096"/>
                  </a:lnTo>
                  <a:lnTo>
                    <a:pt x="3286" y="6108"/>
                  </a:lnTo>
                  <a:lnTo>
                    <a:pt x="3307" y="6121"/>
                  </a:lnTo>
                  <a:lnTo>
                    <a:pt x="3326" y="6135"/>
                  </a:lnTo>
                  <a:lnTo>
                    <a:pt x="3345" y="6150"/>
                  </a:lnTo>
                  <a:lnTo>
                    <a:pt x="3364" y="6166"/>
                  </a:lnTo>
                  <a:lnTo>
                    <a:pt x="3382" y="6182"/>
                  </a:lnTo>
                  <a:lnTo>
                    <a:pt x="3398" y="6201"/>
                  </a:lnTo>
                  <a:lnTo>
                    <a:pt x="3414" y="6219"/>
                  </a:lnTo>
                  <a:lnTo>
                    <a:pt x="3429" y="6238"/>
                  </a:lnTo>
                  <a:lnTo>
                    <a:pt x="3443" y="6257"/>
                  </a:lnTo>
                  <a:lnTo>
                    <a:pt x="3456" y="6278"/>
                  </a:lnTo>
                  <a:lnTo>
                    <a:pt x="3468" y="6298"/>
                  </a:lnTo>
                  <a:lnTo>
                    <a:pt x="3479" y="6320"/>
                  </a:lnTo>
                  <a:lnTo>
                    <a:pt x="3490" y="6342"/>
                  </a:lnTo>
                  <a:lnTo>
                    <a:pt x="3499" y="6366"/>
                  </a:lnTo>
                  <a:lnTo>
                    <a:pt x="3507" y="6389"/>
                  </a:lnTo>
                  <a:lnTo>
                    <a:pt x="3513" y="6413"/>
                  </a:lnTo>
                  <a:lnTo>
                    <a:pt x="3519" y="6437"/>
                  </a:lnTo>
                  <a:lnTo>
                    <a:pt x="3523" y="6462"/>
                  </a:lnTo>
                  <a:lnTo>
                    <a:pt x="3526" y="6487"/>
                  </a:lnTo>
                  <a:lnTo>
                    <a:pt x="3528" y="6512"/>
                  </a:lnTo>
                  <a:lnTo>
                    <a:pt x="3529" y="6539"/>
                  </a:lnTo>
                  <a:lnTo>
                    <a:pt x="3529" y="14586"/>
                  </a:lnTo>
                  <a:close/>
                  <a:moveTo>
                    <a:pt x="14702" y="5267"/>
                  </a:moveTo>
                  <a:lnTo>
                    <a:pt x="14641" y="5252"/>
                  </a:lnTo>
                  <a:lnTo>
                    <a:pt x="14574" y="5238"/>
                  </a:lnTo>
                  <a:lnTo>
                    <a:pt x="14504" y="5225"/>
                  </a:lnTo>
                  <a:lnTo>
                    <a:pt x="14427" y="5213"/>
                  </a:lnTo>
                  <a:lnTo>
                    <a:pt x="14345" y="5201"/>
                  </a:lnTo>
                  <a:lnTo>
                    <a:pt x="14260" y="5190"/>
                  </a:lnTo>
                  <a:lnTo>
                    <a:pt x="14169" y="5181"/>
                  </a:lnTo>
                  <a:lnTo>
                    <a:pt x="14073" y="5171"/>
                  </a:lnTo>
                  <a:lnTo>
                    <a:pt x="13972" y="5162"/>
                  </a:lnTo>
                  <a:lnTo>
                    <a:pt x="13867" y="5154"/>
                  </a:lnTo>
                  <a:lnTo>
                    <a:pt x="13758" y="5146"/>
                  </a:lnTo>
                  <a:lnTo>
                    <a:pt x="13644" y="5139"/>
                  </a:lnTo>
                  <a:lnTo>
                    <a:pt x="13524" y="5133"/>
                  </a:lnTo>
                  <a:lnTo>
                    <a:pt x="13401" y="5127"/>
                  </a:lnTo>
                  <a:lnTo>
                    <a:pt x="13273" y="5121"/>
                  </a:lnTo>
                  <a:lnTo>
                    <a:pt x="13140" y="5116"/>
                  </a:lnTo>
                  <a:lnTo>
                    <a:pt x="12860" y="5106"/>
                  </a:lnTo>
                  <a:lnTo>
                    <a:pt x="12564" y="5098"/>
                  </a:lnTo>
                  <a:lnTo>
                    <a:pt x="12249" y="5090"/>
                  </a:lnTo>
                  <a:lnTo>
                    <a:pt x="11918" y="5082"/>
                  </a:lnTo>
                  <a:lnTo>
                    <a:pt x="11569" y="5074"/>
                  </a:lnTo>
                  <a:lnTo>
                    <a:pt x="11204" y="5066"/>
                  </a:lnTo>
                  <a:lnTo>
                    <a:pt x="10822" y="5057"/>
                  </a:lnTo>
                  <a:lnTo>
                    <a:pt x="10423" y="5047"/>
                  </a:lnTo>
                  <a:lnTo>
                    <a:pt x="10441" y="4958"/>
                  </a:lnTo>
                  <a:lnTo>
                    <a:pt x="10459" y="4871"/>
                  </a:lnTo>
                  <a:lnTo>
                    <a:pt x="10473" y="4783"/>
                  </a:lnTo>
                  <a:lnTo>
                    <a:pt x="10487" y="4696"/>
                  </a:lnTo>
                  <a:lnTo>
                    <a:pt x="10498" y="4606"/>
                  </a:lnTo>
                  <a:lnTo>
                    <a:pt x="10508" y="4516"/>
                  </a:lnTo>
                  <a:lnTo>
                    <a:pt x="10517" y="4422"/>
                  </a:lnTo>
                  <a:lnTo>
                    <a:pt x="10525" y="4327"/>
                  </a:lnTo>
                  <a:lnTo>
                    <a:pt x="10531" y="4228"/>
                  </a:lnTo>
                  <a:lnTo>
                    <a:pt x="10536" y="4124"/>
                  </a:lnTo>
                  <a:lnTo>
                    <a:pt x="10541" y="4017"/>
                  </a:lnTo>
                  <a:lnTo>
                    <a:pt x="10544" y="3905"/>
                  </a:lnTo>
                  <a:lnTo>
                    <a:pt x="10546" y="3786"/>
                  </a:lnTo>
                  <a:lnTo>
                    <a:pt x="10548" y="3663"/>
                  </a:lnTo>
                  <a:lnTo>
                    <a:pt x="10549" y="3532"/>
                  </a:lnTo>
                  <a:lnTo>
                    <a:pt x="10549" y="3394"/>
                  </a:lnTo>
                  <a:lnTo>
                    <a:pt x="10545" y="3225"/>
                  </a:lnTo>
                  <a:lnTo>
                    <a:pt x="10534" y="3058"/>
                  </a:lnTo>
                  <a:lnTo>
                    <a:pt x="10516" y="2893"/>
                  </a:lnTo>
                  <a:lnTo>
                    <a:pt x="10491" y="2730"/>
                  </a:lnTo>
                  <a:lnTo>
                    <a:pt x="10459" y="2569"/>
                  </a:lnTo>
                  <a:lnTo>
                    <a:pt x="10420" y="2410"/>
                  </a:lnTo>
                  <a:lnTo>
                    <a:pt x="10376" y="2255"/>
                  </a:lnTo>
                  <a:lnTo>
                    <a:pt x="10325" y="2102"/>
                  </a:lnTo>
                  <a:lnTo>
                    <a:pt x="10269" y="1953"/>
                  </a:lnTo>
                  <a:lnTo>
                    <a:pt x="10209" y="1807"/>
                  </a:lnTo>
                  <a:lnTo>
                    <a:pt x="10142" y="1665"/>
                  </a:lnTo>
                  <a:lnTo>
                    <a:pt x="10071" y="1527"/>
                  </a:lnTo>
                  <a:lnTo>
                    <a:pt x="9996" y="1393"/>
                  </a:lnTo>
                  <a:lnTo>
                    <a:pt x="9916" y="1264"/>
                  </a:lnTo>
                  <a:lnTo>
                    <a:pt x="9832" y="1140"/>
                  </a:lnTo>
                  <a:lnTo>
                    <a:pt x="9745" y="1020"/>
                  </a:lnTo>
                  <a:lnTo>
                    <a:pt x="9654" y="906"/>
                  </a:lnTo>
                  <a:lnTo>
                    <a:pt x="9560" y="798"/>
                  </a:lnTo>
                  <a:lnTo>
                    <a:pt x="9463" y="695"/>
                  </a:lnTo>
                  <a:lnTo>
                    <a:pt x="9365" y="599"/>
                  </a:lnTo>
                  <a:lnTo>
                    <a:pt x="9263" y="508"/>
                  </a:lnTo>
                  <a:lnTo>
                    <a:pt x="9159" y="423"/>
                  </a:lnTo>
                  <a:lnTo>
                    <a:pt x="9053" y="347"/>
                  </a:lnTo>
                  <a:lnTo>
                    <a:pt x="8946" y="277"/>
                  </a:lnTo>
                  <a:lnTo>
                    <a:pt x="8837" y="214"/>
                  </a:lnTo>
                  <a:lnTo>
                    <a:pt x="8728" y="159"/>
                  </a:lnTo>
                  <a:lnTo>
                    <a:pt x="8619" y="112"/>
                  </a:lnTo>
                  <a:lnTo>
                    <a:pt x="8508" y="71"/>
                  </a:lnTo>
                  <a:lnTo>
                    <a:pt x="8397" y="41"/>
                  </a:lnTo>
                  <a:lnTo>
                    <a:pt x="8286" y="18"/>
                  </a:lnTo>
                  <a:lnTo>
                    <a:pt x="8176" y="5"/>
                  </a:lnTo>
                  <a:lnTo>
                    <a:pt x="8066" y="0"/>
                  </a:lnTo>
                  <a:lnTo>
                    <a:pt x="7989" y="2"/>
                  </a:lnTo>
                  <a:lnTo>
                    <a:pt x="7914" y="8"/>
                  </a:lnTo>
                  <a:lnTo>
                    <a:pt x="7839" y="17"/>
                  </a:lnTo>
                  <a:lnTo>
                    <a:pt x="7766" y="30"/>
                  </a:lnTo>
                  <a:lnTo>
                    <a:pt x="7693" y="47"/>
                  </a:lnTo>
                  <a:lnTo>
                    <a:pt x="7621" y="67"/>
                  </a:lnTo>
                  <a:lnTo>
                    <a:pt x="7552" y="91"/>
                  </a:lnTo>
                  <a:lnTo>
                    <a:pt x="7484" y="118"/>
                  </a:lnTo>
                  <a:lnTo>
                    <a:pt x="7418" y="148"/>
                  </a:lnTo>
                  <a:lnTo>
                    <a:pt x="7353" y="181"/>
                  </a:lnTo>
                  <a:lnTo>
                    <a:pt x="7290" y="217"/>
                  </a:lnTo>
                  <a:lnTo>
                    <a:pt x="7229" y="256"/>
                  </a:lnTo>
                  <a:lnTo>
                    <a:pt x="7170" y="298"/>
                  </a:lnTo>
                  <a:lnTo>
                    <a:pt x="7112" y="342"/>
                  </a:lnTo>
                  <a:lnTo>
                    <a:pt x="7058" y="389"/>
                  </a:lnTo>
                  <a:lnTo>
                    <a:pt x="7005" y="439"/>
                  </a:lnTo>
                  <a:lnTo>
                    <a:pt x="6955" y="491"/>
                  </a:lnTo>
                  <a:lnTo>
                    <a:pt x="6908" y="545"/>
                  </a:lnTo>
                  <a:lnTo>
                    <a:pt x="6862" y="602"/>
                  </a:lnTo>
                  <a:lnTo>
                    <a:pt x="6820" y="661"/>
                  </a:lnTo>
                  <a:lnTo>
                    <a:pt x="6780" y="721"/>
                  </a:lnTo>
                  <a:lnTo>
                    <a:pt x="6743" y="784"/>
                  </a:lnTo>
                  <a:lnTo>
                    <a:pt x="6710" y="848"/>
                  </a:lnTo>
                  <a:lnTo>
                    <a:pt x="6679" y="914"/>
                  </a:lnTo>
                  <a:lnTo>
                    <a:pt x="6651" y="983"/>
                  </a:lnTo>
                  <a:lnTo>
                    <a:pt x="6626" y="1052"/>
                  </a:lnTo>
                  <a:lnTo>
                    <a:pt x="6605" y="1123"/>
                  </a:lnTo>
                  <a:lnTo>
                    <a:pt x="6588" y="1195"/>
                  </a:lnTo>
                  <a:lnTo>
                    <a:pt x="6574" y="1269"/>
                  </a:lnTo>
                  <a:lnTo>
                    <a:pt x="6564" y="1344"/>
                  </a:lnTo>
                  <a:lnTo>
                    <a:pt x="6557" y="1419"/>
                  </a:lnTo>
                  <a:lnTo>
                    <a:pt x="6554" y="1497"/>
                  </a:lnTo>
                  <a:lnTo>
                    <a:pt x="6552" y="1593"/>
                  </a:lnTo>
                  <a:lnTo>
                    <a:pt x="6548" y="1695"/>
                  </a:lnTo>
                  <a:lnTo>
                    <a:pt x="6542" y="1800"/>
                  </a:lnTo>
                  <a:lnTo>
                    <a:pt x="6533" y="1908"/>
                  </a:lnTo>
                  <a:lnTo>
                    <a:pt x="6522" y="2020"/>
                  </a:lnTo>
                  <a:lnTo>
                    <a:pt x="6508" y="2134"/>
                  </a:lnTo>
                  <a:lnTo>
                    <a:pt x="6492" y="2250"/>
                  </a:lnTo>
                  <a:lnTo>
                    <a:pt x="6472" y="2370"/>
                  </a:lnTo>
                  <a:lnTo>
                    <a:pt x="6449" y="2491"/>
                  </a:lnTo>
                  <a:lnTo>
                    <a:pt x="6422" y="2613"/>
                  </a:lnTo>
                  <a:lnTo>
                    <a:pt x="6391" y="2737"/>
                  </a:lnTo>
                  <a:lnTo>
                    <a:pt x="6357" y="2863"/>
                  </a:lnTo>
                  <a:lnTo>
                    <a:pt x="6318" y="2989"/>
                  </a:lnTo>
                  <a:lnTo>
                    <a:pt x="6275" y="3115"/>
                  </a:lnTo>
                  <a:lnTo>
                    <a:pt x="6228" y="3242"/>
                  </a:lnTo>
                  <a:lnTo>
                    <a:pt x="6176" y="3369"/>
                  </a:lnTo>
                  <a:lnTo>
                    <a:pt x="6118" y="3496"/>
                  </a:lnTo>
                  <a:lnTo>
                    <a:pt x="6057" y="3620"/>
                  </a:lnTo>
                  <a:lnTo>
                    <a:pt x="5989" y="3745"/>
                  </a:lnTo>
                  <a:lnTo>
                    <a:pt x="5915" y="3869"/>
                  </a:lnTo>
                  <a:lnTo>
                    <a:pt x="5837" y="3991"/>
                  </a:lnTo>
                  <a:lnTo>
                    <a:pt x="5752" y="4111"/>
                  </a:lnTo>
                  <a:lnTo>
                    <a:pt x="5661" y="4229"/>
                  </a:lnTo>
                  <a:lnTo>
                    <a:pt x="5565" y="4345"/>
                  </a:lnTo>
                  <a:lnTo>
                    <a:pt x="5461" y="4457"/>
                  </a:lnTo>
                  <a:lnTo>
                    <a:pt x="5351" y="4567"/>
                  </a:lnTo>
                  <a:lnTo>
                    <a:pt x="5233" y="4674"/>
                  </a:lnTo>
                  <a:lnTo>
                    <a:pt x="5109" y="4776"/>
                  </a:lnTo>
                  <a:lnTo>
                    <a:pt x="4978" y="4876"/>
                  </a:lnTo>
                  <a:lnTo>
                    <a:pt x="4839" y="4970"/>
                  </a:lnTo>
                  <a:lnTo>
                    <a:pt x="4691" y="5061"/>
                  </a:lnTo>
                  <a:lnTo>
                    <a:pt x="4537" y="5146"/>
                  </a:lnTo>
                  <a:lnTo>
                    <a:pt x="4481" y="5176"/>
                  </a:lnTo>
                  <a:lnTo>
                    <a:pt x="4409" y="5212"/>
                  </a:lnTo>
                  <a:lnTo>
                    <a:pt x="4328" y="5252"/>
                  </a:lnTo>
                  <a:lnTo>
                    <a:pt x="4245" y="5294"/>
                  </a:lnTo>
                  <a:lnTo>
                    <a:pt x="4164" y="5333"/>
                  </a:lnTo>
                  <a:lnTo>
                    <a:pt x="4093" y="5368"/>
                  </a:lnTo>
                  <a:lnTo>
                    <a:pt x="4039" y="5394"/>
                  </a:lnTo>
                  <a:lnTo>
                    <a:pt x="4007" y="5409"/>
                  </a:lnTo>
                  <a:lnTo>
                    <a:pt x="4033" y="5432"/>
                  </a:lnTo>
                  <a:lnTo>
                    <a:pt x="4008" y="5411"/>
                  </a:lnTo>
                  <a:lnTo>
                    <a:pt x="3983" y="5390"/>
                  </a:lnTo>
                  <a:lnTo>
                    <a:pt x="3956" y="5370"/>
                  </a:lnTo>
                  <a:lnTo>
                    <a:pt x="3929" y="5350"/>
                  </a:lnTo>
                  <a:lnTo>
                    <a:pt x="3902" y="5329"/>
                  </a:lnTo>
                  <a:lnTo>
                    <a:pt x="3874" y="5310"/>
                  </a:lnTo>
                  <a:lnTo>
                    <a:pt x="3845" y="5291"/>
                  </a:lnTo>
                  <a:lnTo>
                    <a:pt x="3817" y="5273"/>
                  </a:lnTo>
                  <a:lnTo>
                    <a:pt x="3787" y="5255"/>
                  </a:lnTo>
                  <a:lnTo>
                    <a:pt x="3758" y="5238"/>
                  </a:lnTo>
                  <a:lnTo>
                    <a:pt x="3728" y="5221"/>
                  </a:lnTo>
                  <a:lnTo>
                    <a:pt x="3697" y="5205"/>
                  </a:lnTo>
                  <a:lnTo>
                    <a:pt x="3666" y="5189"/>
                  </a:lnTo>
                  <a:lnTo>
                    <a:pt x="3635" y="5174"/>
                  </a:lnTo>
                  <a:lnTo>
                    <a:pt x="3603" y="5159"/>
                  </a:lnTo>
                  <a:lnTo>
                    <a:pt x="3571" y="5145"/>
                  </a:lnTo>
                  <a:lnTo>
                    <a:pt x="3539" y="5132"/>
                  </a:lnTo>
                  <a:lnTo>
                    <a:pt x="3506" y="5120"/>
                  </a:lnTo>
                  <a:lnTo>
                    <a:pt x="3472" y="5108"/>
                  </a:lnTo>
                  <a:lnTo>
                    <a:pt x="3439" y="5097"/>
                  </a:lnTo>
                  <a:lnTo>
                    <a:pt x="3406" y="5087"/>
                  </a:lnTo>
                  <a:lnTo>
                    <a:pt x="3373" y="5077"/>
                  </a:lnTo>
                  <a:lnTo>
                    <a:pt x="3338" y="5068"/>
                  </a:lnTo>
                  <a:lnTo>
                    <a:pt x="3304" y="5061"/>
                  </a:lnTo>
                  <a:lnTo>
                    <a:pt x="3270" y="5054"/>
                  </a:lnTo>
                  <a:lnTo>
                    <a:pt x="3235" y="5048"/>
                  </a:lnTo>
                  <a:lnTo>
                    <a:pt x="3200" y="5042"/>
                  </a:lnTo>
                  <a:lnTo>
                    <a:pt x="3165" y="5038"/>
                  </a:lnTo>
                  <a:lnTo>
                    <a:pt x="3131" y="5034"/>
                  </a:lnTo>
                  <a:lnTo>
                    <a:pt x="3095" y="5032"/>
                  </a:lnTo>
                  <a:lnTo>
                    <a:pt x="3060" y="5030"/>
                  </a:lnTo>
                  <a:lnTo>
                    <a:pt x="3025" y="5030"/>
                  </a:lnTo>
                  <a:lnTo>
                    <a:pt x="1512" y="5030"/>
                  </a:lnTo>
                  <a:lnTo>
                    <a:pt x="1435" y="5032"/>
                  </a:lnTo>
                  <a:lnTo>
                    <a:pt x="1358" y="5038"/>
                  </a:lnTo>
                  <a:lnTo>
                    <a:pt x="1282" y="5047"/>
                  </a:lnTo>
                  <a:lnTo>
                    <a:pt x="1208" y="5061"/>
                  </a:lnTo>
                  <a:lnTo>
                    <a:pt x="1135" y="5077"/>
                  </a:lnTo>
                  <a:lnTo>
                    <a:pt x="1063" y="5098"/>
                  </a:lnTo>
                  <a:lnTo>
                    <a:pt x="993" y="5121"/>
                  </a:lnTo>
                  <a:lnTo>
                    <a:pt x="925" y="5148"/>
                  </a:lnTo>
                  <a:lnTo>
                    <a:pt x="857" y="5179"/>
                  </a:lnTo>
                  <a:lnTo>
                    <a:pt x="792" y="5212"/>
                  </a:lnTo>
                  <a:lnTo>
                    <a:pt x="729" y="5248"/>
                  </a:lnTo>
                  <a:lnTo>
                    <a:pt x="667" y="5288"/>
                  </a:lnTo>
                  <a:lnTo>
                    <a:pt x="608" y="5329"/>
                  </a:lnTo>
                  <a:lnTo>
                    <a:pt x="551" y="5375"/>
                  </a:lnTo>
                  <a:lnTo>
                    <a:pt x="496" y="5422"/>
                  </a:lnTo>
                  <a:lnTo>
                    <a:pt x="444" y="5472"/>
                  </a:lnTo>
                  <a:lnTo>
                    <a:pt x="393" y="5525"/>
                  </a:lnTo>
                  <a:lnTo>
                    <a:pt x="346" y="5579"/>
                  </a:lnTo>
                  <a:lnTo>
                    <a:pt x="300" y="5636"/>
                  </a:lnTo>
                  <a:lnTo>
                    <a:pt x="259" y="5696"/>
                  </a:lnTo>
                  <a:lnTo>
                    <a:pt x="219" y="5757"/>
                  </a:lnTo>
                  <a:lnTo>
                    <a:pt x="182" y="5820"/>
                  </a:lnTo>
                  <a:lnTo>
                    <a:pt x="149" y="5885"/>
                  </a:lnTo>
                  <a:lnTo>
                    <a:pt x="119" y="5952"/>
                  </a:lnTo>
                  <a:lnTo>
                    <a:pt x="92" y="6021"/>
                  </a:lnTo>
                  <a:lnTo>
                    <a:pt x="69" y="6090"/>
                  </a:lnTo>
                  <a:lnTo>
                    <a:pt x="47" y="6162"/>
                  </a:lnTo>
                  <a:lnTo>
                    <a:pt x="31" y="6235"/>
                  </a:lnTo>
                  <a:lnTo>
                    <a:pt x="17" y="6309"/>
                  </a:lnTo>
                  <a:lnTo>
                    <a:pt x="8" y="6385"/>
                  </a:lnTo>
                  <a:lnTo>
                    <a:pt x="2" y="6461"/>
                  </a:lnTo>
                  <a:lnTo>
                    <a:pt x="0" y="6539"/>
                  </a:lnTo>
                  <a:lnTo>
                    <a:pt x="0" y="14586"/>
                  </a:lnTo>
                  <a:lnTo>
                    <a:pt x="2" y="14664"/>
                  </a:lnTo>
                  <a:lnTo>
                    <a:pt x="8" y="14740"/>
                  </a:lnTo>
                  <a:lnTo>
                    <a:pt x="17" y="14815"/>
                  </a:lnTo>
                  <a:lnTo>
                    <a:pt x="31" y="14890"/>
                  </a:lnTo>
                  <a:lnTo>
                    <a:pt x="47" y="14962"/>
                  </a:lnTo>
                  <a:lnTo>
                    <a:pt x="69" y="15034"/>
                  </a:lnTo>
                  <a:lnTo>
                    <a:pt x="92" y="15104"/>
                  </a:lnTo>
                  <a:lnTo>
                    <a:pt x="119" y="15173"/>
                  </a:lnTo>
                  <a:lnTo>
                    <a:pt x="149" y="15240"/>
                  </a:lnTo>
                  <a:lnTo>
                    <a:pt x="182" y="15304"/>
                  </a:lnTo>
                  <a:lnTo>
                    <a:pt x="219" y="15368"/>
                  </a:lnTo>
                  <a:lnTo>
                    <a:pt x="259" y="15429"/>
                  </a:lnTo>
                  <a:lnTo>
                    <a:pt x="300" y="15488"/>
                  </a:lnTo>
                  <a:lnTo>
                    <a:pt x="346" y="15545"/>
                  </a:lnTo>
                  <a:lnTo>
                    <a:pt x="393" y="15600"/>
                  </a:lnTo>
                  <a:lnTo>
                    <a:pt x="444" y="15652"/>
                  </a:lnTo>
                  <a:lnTo>
                    <a:pt x="496" y="15703"/>
                  </a:lnTo>
                  <a:lnTo>
                    <a:pt x="551" y="15750"/>
                  </a:lnTo>
                  <a:lnTo>
                    <a:pt x="608" y="15795"/>
                  </a:lnTo>
                  <a:lnTo>
                    <a:pt x="667" y="15836"/>
                  </a:lnTo>
                  <a:lnTo>
                    <a:pt x="729" y="15876"/>
                  </a:lnTo>
                  <a:lnTo>
                    <a:pt x="792" y="15913"/>
                  </a:lnTo>
                  <a:lnTo>
                    <a:pt x="857" y="15946"/>
                  </a:lnTo>
                  <a:lnTo>
                    <a:pt x="925" y="15976"/>
                  </a:lnTo>
                  <a:lnTo>
                    <a:pt x="993" y="16003"/>
                  </a:lnTo>
                  <a:lnTo>
                    <a:pt x="1063" y="16027"/>
                  </a:lnTo>
                  <a:lnTo>
                    <a:pt x="1135" y="16048"/>
                  </a:lnTo>
                  <a:lnTo>
                    <a:pt x="1208" y="16064"/>
                  </a:lnTo>
                  <a:lnTo>
                    <a:pt x="1282" y="16078"/>
                  </a:lnTo>
                  <a:lnTo>
                    <a:pt x="1358" y="16087"/>
                  </a:lnTo>
                  <a:lnTo>
                    <a:pt x="1435" y="16093"/>
                  </a:lnTo>
                  <a:lnTo>
                    <a:pt x="1512" y="16095"/>
                  </a:lnTo>
                  <a:lnTo>
                    <a:pt x="3025" y="16095"/>
                  </a:lnTo>
                  <a:lnTo>
                    <a:pt x="3080" y="16094"/>
                  </a:lnTo>
                  <a:lnTo>
                    <a:pt x="3136" y="16091"/>
                  </a:lnTo>
                  <a:lnTo>
                    <a:pt x="3191" y="16086"/>
                  </a:lnTo>
                  <a:lnTo>
                    <a:pt x="3245" y="16079"/>
                  </a:lnTo>
                  <a:lnTo>
                    <a:pt x="3298" y="16069"/>
                  </a:lnTo>
                  <a:lnTo>
                    <a:pt x="3351" y="16058"/>
                  </a:lnTo>
                  <a:lnTo>
                    <a:pt x="3403" y="16046"/>
                  </a:lnTo>
                  <a:lnTo>
                    <a:pt x="3454" y="16031"/>
                  </a:lnTo>
                  <a:lnTo>
                    <a:pt x="3505" y="16015"/>
                  </a:lnTo>
                  <a:lnTo>
                    <a:pt x="3554" y="15995"/>
                  </a:lnTo>
                  <a:lnTo>
                    <a:pt x="3602" y="15975"/>
                  </a:lnTo>
                  <a:lnTo>
                    <a:pt x="3650" y="15954"/>
                  </a:lnTo>
                  <a:lnTo>
                    <a:pt x="3697" y="15930"/>
                  </a:lnTo>
                  <a:lnTo>
                    <a:pt x="3743" y="15906"/>
                  </a:lnTo>
                  <a:lnTo>
                    <a:pt x="3787" y="15879"/>
                  </a:lnTo>
                  <a:lnTo>
                    <a:pt x="3831" y="15851"/>
                  </a:lnTo>
                  <a:lnTo>
                    <a:pt x="3874" y="15821"/>
                  </a:lnTo>
                  <a:lnTo>
                    <a:pt x="3916" y="15790"/>
                  </a:lnTo>
                  <a:lnTo>
                    <a:pt x="3956" y="15758"/>
                  </a:lnTo>
                  <a:lnTo>
                    <a:pt x="3996" y="15724"/>
                  </a:lnTo>
                  <a:lnTo>
                    <a:pt x="4034" y="15689"/>
                  </a:lnTo>
                  <a:lnTo>
                    <a:pt x="4071" y="15652"/>
                  </a:lnTo>
                  <a:lnTo>
                    <a:pt x="4107" y="15615"/>
                  </a:lnTo>
                  <a:lnTo>
                    <a:pt x="4142" y="15576"/>
                  </a:lnTo>
                  <a:lnTo>
                    <a:pt x="4175" y="15536"/>
                  </a:lnTo>
                  <a:lnTo>
                    <a:pt x="4206" y="15494"/>
                  </a:lnTo>
                  <a:lnTo>
                    <a:pt x="4238" y="15452"/>
                  </a:lnTo>
                  <a:lnTo>
                    <a:pt x="4267" y="15409"/>
                  </a:lnTo>
                  <a:lnTo>
                    <a:pt x="4294" y="15365"/>
                  </a:lnTo>
                  <a:lnTo>
                    <a:pt x="4321" y="15319"/>
                  </a:lnTo>
                  <a:lnTo>
                    <a:pt x="4347" y="15273"/>
                  </a:lnTo>
                  <a:lnTo>
                    <a:pt x="4370" y="15226"/>
                  </a:lnTo>
                  <a:lnTo>
                    <a:pt x="4381" y="15230"/>
                  </a:lnTo>
                  <a:lnTo>
                    <a:pt x="4393" y="15233"/>
                  </a:lnTo>
                  <a:lnTo>
                    <a:pt x="4420" y="15239"/>
                  </a:lnTo>
                  <a:lnTo>
                    <a:pt x="4448" y="15247"/>
                  </a:lnTo>
                  <a:lnTo>
                    <a:pt x="4480" y="15255"/>
                  </a:lnTo>
                  <a:lnTo>
                    <a:pt x="4514" y="15264"/>
                  </a:lnTo>
                  <a:lnTo>
                    <a:pt x="4525" y="15266"/>
                  </a:lnTo>
                  <a:lnTo>
                    <a:pt x="4537" y="15270"/>
                  </a:lnTo>
                  <a:lnTo>
                    <a:pt x="4595" y="15284"/>
                  </a:lnTo>
                  <a:lnTo>
                    <a:pt x="4659" y="15299"/>
                  </a:lnTo>
                  <a:lnTo>
                    <a:pt x="4732" y="15317"/>
                  </a:lnTo>
                  <a:lnTo>
                    <a:pt x="4811" y="15337"/>
                  </a:lnTo>
                  <a:lnTo>
                    <a:pt x="4899" y="15358"/>
                  </a:lnTo>
                  <a:lnTo>
                    <a:pt x="4997" y="15381"/>
                  </a:lnTo>
                  <a:lnTo>
                    <a:pt x="5104" y="15406"/>
                  </a:lnTo>
                  <a:lnTo>
                    <a:pt x="5221" y="15433"/>
                  </a:lnTo>
                  <a:lnTo>
                    <a:pt x="5348" y="15463"/>
                  </a:lnTo>
                  <a:lnTo>
                    <a:pt x="5486" y="15495"/>
                  </a:lnTo>
                  <a:lnTo>
                    <a:pt x="5636" y="15531"/>
                  </a:lnTo>
                  <a:lnTo>
                    <a:pt x="5798" y="15569"/>
                  </a:lnTo>
                  <a:lnTo>
                    <a:pt x="5974" y="15609"/>
                  </a:lnTo>
                  <a:lnTo>
                    <a:pt x="6162" y="15652"/>
                  </a:lnTo>
                  <a:lnTo>
                    <a:pt x="6365" y="15700"/>
                  </a:lnTo>
                  <a:lnTo>
                    <a:pt x="6581" y="15749"/>
                  </a:lnTo>
                  <a:lnTo>
                    <a:pt x="6642" y="15762"/>
                  </a:lnTo>
                  <a:lnTo>
                    <a:pt x="6727" y="15780"/>
                  </a:lnTo>
                  <a:lnTo>
                    <a:pt x="6834" y="15802"/>
                  </a:lnTo>
                  <a:lnTo>
                    <a:pt x="6963" y="15827"/>
                  </a:lnTo>
                  <a:lnTo>
                    <a:pt x="7111" y="15855"/>
                  </a:lnTo>
                  <a:lnTo>
                    <a:pt x="7278" y="15884"/>
                  </a:lnTo>
                  <a:lnTo>
                    <a:pt x="7366" y="15899"/>
                  </a:lnTo>
                  <a:lnTo>
                    <a:pt x="7460" y="15914"/>
                  </a:lnTo>
                  <a:lnTo>
                    <a:pt x="7557" y="15929"/>
                  </a:lnTo>
                  <a:lnTo>
                    <a:pt x="7658" y="15944"/>
                  </a:lnTo>
                  <a:lnTo>
                    <a:pt x="7762" y="15958"/>
                  </a:lnTo>
                  <a:lnTo>
                    <a:pt x="7868" y="15973"/>
                  </a:lnTo>
                  <a:lnTo>
                    <a:pt x="7978" y="15987"/>
                  </a:lnTo>
                  <a:lnTo>
                    <a:pt x="8091" y="16000"/>
                  </a:lnTo>
                  <a:lnTo>
                    <a:pt x="8207" y="16015"/>
                  </a:lnTo>
                  <a:lnTo>
                    <a:pt x="8325" y="16027"/>
                  </a:lnTo>
                  <a:lnTo>
                    <a:pt x="8445" y="16039"/>
                  </a:lnTo>
                  <a:lnTo>
                    <a:pt x="8567" y="16049"/>
                  </a:lnTo>
                  <a:lnTo>
                    <a:pt x="8691" y="16059"/>
                  </a:lnTo>
                  <a:lnTo>
                    <a:pt x="8816" y="16068"/>
                  </a:lnTo>
                  <a:lnTo>
                    <a:pt x="8943" y="16076"/>
                  </a:lnTo>
                  <a:lnTo>
                    <a:pt x="9071" y="16083"/>
                  </a:lnTo>
                  <a:lnTo>
                    <a:pt x="9200" y="16088"/>
                  </a:lnTo>
                  <a:lnTo>
                    <a:pt x="9330" y="16092"/>
                  </a:lnTo>
                  <a:lnTo>
                    <a:pt x="9461" y="16094"/>
                  </a:lnTo>
                  <a:lnTo>
                    <a:pt x="9592" y="16095"/>
                  </a:lnTo>
                  <a:lnTo>
                    <a:pt x="12349" y="16095"/>
                  </a:lnTo>
                  <a:lnTo>
                    <a:pt x="12427" y="16094"/>
                  </a:lnTo>
                  <a:lnTo>
                    <a:pt x="12503" y="16091"/>
                  </a:lnTo>
                  <a:lnTo>
                    <a:pt x="12579" y="16087"/>
                  </a:lnTo>
                  <a:lnTo>
                    <a:pt x="12653" y="16080"/>
                  </a:lnTo>
                  <a:lnTo>
                    <a:pt x="12725" y="16071"/>
                  </a:lnTo>
                  <a:lnTo>
                    <a:pt x="12797" y="16061"/>
                  </a:lnTo>
                  <a:lnTo>
                    <a:pt x="12866" y="16049"/>
                  </a:lnTo>
                  <a:lnTo>
                    <a:pt x="12935" y="16035"/>
                  </a:lnTo>
                  <a:lnTo>
                    <a:pt x="13001" y="16019"/>
                  </a:lnTo>
                  <a:lnTo>
                    <a:pt x="13067" y="16000"/>
                  </a:lnTo>
                  <a:lnTo>
                    <a:pt x="13131" y="15980"/>
                  </a:lnTo>
                  <a:lnTo>
                    <a:pt x="13194" y="15959"/>
                  </a:lnTo>
                  <a:lnTo>
                    <a:pt x="13255" y="15935"/>
                  </a:lnTo>
                  <a:lnTo>
                    <a:pt x="13316" y="15910"/>
                  </a:lnTo>
                  <a:lnTo>
                    <a:pt x="13374" y="15882"/>
                  </a:lnTo>
                  <a:lnTo>
                    <a:pt x="13431" y="15853"/>
                  </a:lnTo>
                  <a:lnTo>
                    <a:pt x="13487" y="15821"/>
                  </a:lnTo>
                  <a:lnTo>
                    <a:pt x="13542" y="15788"/>
                  </a:lnTo>
                  <a:lnTo>
                    <a:pt x="13594" y="15753"/>
                  </a:lnTo>
                  <a:lnTo>
                    <a:pt x="13646" y="15717"/>
                  </a:lnTo>
                  <a:lnTo>
                    <a:pt x="13696" y="15678"/>
                  </a:lnTo>
                  <a:lnTo>
                    <a:pt x="13745" y="15637"/>
                  </a:lnTo>
                  <a:lnTo>
                    <a:pt x="13792" y="15594"/>
                  </a:lnTo>
                  <a:lnTo>
                    <a:pt x="13838" y="15550"/>
                  </a:lnTo>
                  <a:lnTo>
                    <a:pt x="13883" y="15504"/>
                  </a:lnTo>
                  <a:lnTo>
                    <a:pt x="13926" y="15455"/>
                  </a:lnTo>
                  <a:lnTo>
                    <a:pt x="13967" y="15405"/>
                  </a:lnTo>
                  <a:lnTo>
                    <a:pt x="14008" y="15353"/>
                  </a:lnTo>
                  <a:lnTo>
                    <a:pt x="14046" y="15298"/>
                  </a:lnTo>
                  <a:lnTo>
                    <a:pt x="14084" y="15243"/>
                  </a:lnTo>
                  <a:lnTo>
                    <a:pt x="14120" y="15185"/>
                  </a:lnTo>
                  <a:lnTo>
                    <a:pt x="14154" y="15125"/>
                  </a:lnTo>
                  <a:lnTo>
                    <a:pt x="14161" y="15112"/>
                  </a:lnTo>
                  <a:lnTo>
                    <a:pt x="14177" y="15080"/>
                  </a:lnTo>
                  <a:lnTo>
                    <a:pt x="14200" y="15031"/>
                  </a:lnTo>
                  <a:lnTo>
                    <a:pt x="14228" y="14965"/>
                  </a:lnTo>
                  <a:lnTo>
                    <a:pt x="14245" y="14928"/>
                  </a:lnTo>
                  <a:lnTo>
                    <a:pt x="14262" y="14887"/>
                  </a:lnTo>
                  <a:lnTo>
                    <a:pt x="14279" y="14843"/>
                  </a:lnTo>
                  <a:lnTo>
                    <a:pt x="14297" y="14796"/>
                  </a:lnTo>
                  <a:lnTo>
                    <a:pt x="14315" y="14746"/>
                  </a:lnTo>
                  <a:lnTo>
                    <a:pt x="14334" y="14695"/>
                  </a:lnTo>
                  <a:lnTo>
                    <a:pt x="14352" y="14640"/>
                  </a:lnTo>
                  <a:lnTo>
                    <a:pt x="14370" y="14584"/>
                  </a:lnTo>
                  <a:lnTo>
                    <a:pt x="14383" y="14540"/>
                  </a:lnTo>
                  <a:lnTo>
                    <a:pt x="14395" y="14494"/>
                  </a:lnTo>
                  <a:lnTo>
                    <a:pt x="14405" y="14445"/>
                  </a:lnTo>
                  <a:lnTo>
                    <a:pt x="14414" y="14395"/>
                  </a:lnTo>
                  <a:lnTo>
                    <a:pt x="14422" y="14344"/>
                  </a:lnTo>
                  <a:lnTo>
                    <a:pt x="14428" y="14290"/>
                  </a:lnTo>
                  <a:lnTo>
                    <a:pt x="14432" y="14235"/>
                  </a:lnTo>
                  <a:lnTo>
                    <a:pt x="14435" y="14179"/>
                  </a:lnTo>
                  <a:lnTo>
                    <a:pt x="14436" y="14121"/>
                  </a:lnTo>
                  <a:lnTo>
                    <a:pt x="14435" y="14063"/>
                  </a:lnTo>
                  <a:lnTo>
                    <a:pt x="14433" y="14034"/>
                  </a:lnTo>
                  <a:lnTo>
                    <a:pt x="14432" y="14004"/>
                  </a:lnTo>
                  <a:lnTo>
                    <a:pt x="14429" y="13974"/>
                  </a:lnTo>
                  <a:lnTo>
                    <a:pt x="14426" y="13944"/>
                  </a:lnTo>
                  <a:lnTo>
                    <a:pt x="14423" y="13914"/>
                  </a:lnTo>
                  <a:lnTo>
                    <a:pt x="14419" y="13883"/>
                  </a:lnTo>
                  <a:lnTo>
                    <a:pt x="14414" y="13853"/>
                  </a:lnTo>
                  <a:lnTo>
                    <a:pt x="14409" y="13823"/>
                  </a:lnTo>
                  <a:lnTo>
                    <a:pt x="14404" y="13791"/>
                  </a:lnTo>
                  <a:lnTo>
                    <a:pt x="14397" y="13760"/>
                  </a:lnTo>
                  <a:lnTo>
                    <a:pt x="14390" y="13730"/>
                  </a:lnTo>
                  <a:lnTo>
                    <a:pt x="14382" y="13699"/>
                  </a:lnTo>
                  <a:lnTo>
                    <a:pt x="14432" y="13664"/>
                  </a:lnTo>
                  <a:lnTo>
                    <a:pt x="14479" y="13627"/>
                  </a:lnTo>
                  <a:lnTo>
                    <a:pt x="14525" y="13589"/>
                  </a:lnTo>
                  <a:lnTo>
                    <a:pt x="14568" y="13551"/>
                  </a:lnTo>
                  <a:lnTo>
                    <a:pt x="14610" y="13513"/>
                  </a:lnTo>
                  <a:lnTo>
                    <a:pt x="14650" y="13473"/>
                  </a:lnTo>
                  <a:lnTo>
                    <a:pt x="14688" y="13432"/>
                  </a:lnTo>
                  <a:lnTo>
                    <a:pt x="14723" y="13391"/>
                  </a:lnTo>
                  <a:lnTo>
                    <a:pt x="14759" y="13349"/>
                  </a:lnTo>
                  <a:lnTo>
                    <a:pt x="14791" y="13307"/>
                  </a:lnTo>
                  <a:lnTo>
                    <a:pt x="14822" y="13264"/>
                  </a:lnTo>
                  <a:lnTo>
                    <a:pt x="14853" y="13222"/>
                  </a:lnTo>
                  <a:lnTo>
                    <a:pt x="14881" y="13179"/>
                  </a:lnTo>
                  <a:lnTo>
                    <a:pt x="14907" y="13135"/>
                  </a:lnTo>
                  <a:lnTo>
                    <a:pt x="14933" y="13091"/>
                  </a:lnTo>
                  <a:lnTo>
                    <a:pt x="14956" y="13048"/>
                  </a:lnTo>
                  <a:lnTo>
                    <a:pt x="14980" y="13005"/>
                  </a:lnTo>
                  <a:lnTo>
                    <a:pt x="15002" y="12962"/>
                  </a:lnTo>
                  <a:lnTo>
                    <a:pt x="15022" y="12917"/>
                  </a:lnTo>
                  <a:lnTo>
                    <a:pt x="15041" y="12875"/>
                  </a:lnTo>
                  <a:lnTo>
                    <a:pt x="15060" y="12832"/>
                  </a:lnTo>
                  <a:lnTo>
                    <a:pt x="15077" y="12789"/>
                  </a:lnTo>
                  <a:lnTo>
                    <a:pt x="15094" y="12747"/>
                  </a:lnTo>
                  <a:lnTo>
                    <a:pt x="15110" y="12706"/>
                  </a:lnTo>
                  <a:lnTo>
                    <a:pt x="15139" y="12626"/>
                  </a:lnTo>
                  <a:lnTo>
                    <a:pt x="15165" y="12547"/>
                  </a:lnTo>
                  <a:lnTo>
                    <a:pt x="15189" y="12473"/>
                  </a:lnTo>
                  <a:lnTo>
                    <a:pt x="15210" y="12401"/>
                  </a:lnTo>
                  <a:lnTo>
                    <a:pt x="15228" y="12346"/>
                  </a:lnTo>
                  <a:lnTo>
                    <a:pt x="15244" y="12291"/>
                  </a:lnTo>
                  <a:lnTo>
                    <a:pt x="15258" y="12237"/>
                  </a:lnTo>
                  <a:lnTo>
                    <a:pt x="15271" y="12184"/>
                  </a:lnTo>
                  <a:lnTo>
                    <a:pt x="15282" y="12132"/>
                  </a:lnTo>
                  <a:lnTo>
                    <a:pt x="15293" y="12080"/>
                  </a:lnTo>
                  <a:lnTo>
                    <a:pt x="15301" y="12029"/>
                  </a:lnTo>
                  <a:lnTo>
                    <a:pt x="15309" y="11980"/>
                  </a:lnTo>
                  <a:lnTo>
                    <a:pt x="15316" y="11930"/>
                  </a:lnTo>
                  <a:lnTo>
                    <a:pt x="15321" y="11883"/>
                  </a:lnTo>
                  <a:lnTo>
                    <a:pt x="15326" y="11836"/>
                  </a:lnTo>
                  <a:lnTo>
                    <a:pt x="15329" y="11790"/>
                  </a:lnTo>
                  <a:lnTo>
                    <a:pt x="15331" y="11743"/>
                  </a:lnTo>
                  <a:lnTo>
                    <a:pt x="15332" y="11699"/>
                  </a:lnTo>
                  <a:lnTo>
                    <a:pt x="15332" y="11655"/>
                  </a:lnTo>
                  <a:lnTo>
                    <a:pt x="15331" y="11612"/>
                  </a:lnTo>
                  <a:lnTo>
                    <a:pt x="15330" y="11569"/>
                  </a:lnTo>
                  <a:lnTo>
                    <a:pt x="15327" y="11528"/>
                  </a:lnTo>
                  <a:lnTo>
                    <a:pt x="15323" y="11488"/>
                  </a:lnTo>
                  <a:lnTo>
                    <a:pt x="15319" y="11448"/>
                  </a:lnTo>
                  <a:lnTo>
                    <a:pt x="15314" y="11408"/>
                  </a:lnTo>
                  <a:lnTo>
                    <a:pt x="15308" y="11370"/>
                  </a:lnTo>
                  <a:lnTo>
                    <a:pt x="15301" y="11333"/>
                  </a:lnTo>
                  <a:lnTo>
                    <a:pt x="15294" y="11296"/>
                  </a:lnTo>
                  <a:lnTo>
                    <a:pt x="15285" y="11260"/>
                  </a:lnTo>
                  <a:lnTo>
                    <a:pt x="15277" y="11225"/>
                  </a:lnTo>
                  <a:lnTo>
                    <a:pt x="15267" y="11191"/>
                  </a:lnTo>
                  <a:lnTo>
                    <a:pt x="15257" y="11157"/>
                  </a:lnTo>
                  <a:lnTo>
                    <a:pt x="15247" y="11124"/>
                  </a:lnTo>
                  <a:lnTo>
                    <a:pt x="15236" y="11092"/>
                  </a:lnTo>
                  <a:lnTo>
                    <a:pt x="15224" y="11060"/>
                  </a:lnTo>
                  <a:lnTo>
                    <a:pt x="15211" y="11030"/>
                  </a:lnTo>
                  <a:lnTo>
                    <a:pt x="15240" y="11003"/>
                  </a:lnTo>
                  <a:lnTo>
                    <a:pt x="15268" y="10975"/>
                  </a:lnTo>
                  <a:lnTo>
                    <a:pt x="15296" y="10946"/>
                  </a:lnTo>
                  <a:lnTo>
                    <a:pt x="15323" y="10915"/>
                  </a:lnTo>
                  <a:lnTo>
                    <a:pt x="15351" y="10884"/>
                  </a:lnTo>
                  <a:lnTo>
                    <a:pt x="15377" y="10852"/>
                  </a:lnTo>
                  <a:lnTo>
                    <a:pt x="15404" y="10820"/>
                  </a:lnTo>
                  <a:lnTo>
                    <a:pt x="15430" y="10786"/>
                  </a:lnTo>
                  <a:lnTo>
                    <a:pt x="15455" y="10750"/>
                  </a:lnTo>
                  <a:lnTo>
                    <a:pt x="15481" y="10715"/>
                  </a:lnTo>
                  <a:lnTo>
                    <a:pt x="15505" y="10678"/>
                  </a:lnTo>
                  <a:lnTo>
                    <a:pt x="15529" y="10640"/>
                  </a:lnTo>
                  <a:lnTo>
                    <a:pt x="15553" y="10601"/>
                  </a:lnTo>
                  <a:lnTo>
                    <a:pt x="15576" y="10560"/>
                  </a:lnTo>
                  <a:lnTo>
                    <a:pt x="15600" y="10519"/>
                  </a:lnTo>
                  <a:lnTo>
                    <a:pt x="15622" y="10477"/>
                  </a:lnTo>
                  <a:lnTo>
                    <a:pt x="15643" y="10434"/>
                  </a:lnTo>
                  <a:lnTo>
                    <a:pt x="15664" y="10389"/>
                  </a:lnTo>
                  <a:lnTo>
                    <a:pt x="15684" y="10344"/>
                  </a:lnTo>
                  <a:lnTo>
                    <a:pt x="15705" y="10297"/>
                  </a:lnTo>
                  <a:lnTo>
                    <a:pt x="15724" y="10248"/>
                  </a:lnTo>
                  <a:lnTo>
                    <a:pt x="15742" y="10199"/>
                  </a:lnTo>
                  <a:lnTo>
                    <a:pt x="15760" y="10149"/>
                  </a:lnTo>
                  <a:lnTo>
                    <a:pt x="15776" y="10098"/>
                  </a:lnTo>
                  <a:lnTo>
                    <a:pt x="15793" y="10044"/>
                  </a:lnTo>
                  <a:lnTo>
                    <a:pt x="15808" y="9991"/>
                  </a:lnTo>
                  <a:lnTo>
                    <a:pt x="15823" y="9936"/>
                  </a:lnTo>
                  <a:lnTo>
                    <a:pt x="15838" y="9878"/>
                  </a:lnTo>
                  <a:lnTo>
                    <a:pt x="15851" y="9821"/>
                  </a:lnTo>
                  <a:lnTo>
                    <a:pt x="15863" y="9762"/>
                  </a:lnTo>
                  <a:lnTo>
                    <a:pt x="15875" y="9701"/>
                  </a:lnTo>
                  <a:lnTo>
                    <a:pt x="15885" y="9639"/>
                  </a:lnTo>
                  <a:lnTo>
                    <a:pt x="15891" y="9600"/>
                  </a:lnTo>
                  <a:lnTo>
                    <a:pt x="15896" y="9561"/>
                  </a:lnTo>
                  <a:lnTo>
                    <a:pt x="15901" y="9522"/>
                  </a:lnTo>
                  <a:lnTo>
                    <a:pt x="15904" y="9483"/>
                  </a:lnTo>
                  <a:lnTo>
                    <a:pt x="15907" y="9445"/>
                  </a:lnTo>
                  <a:lnTo>
                    <a:pt x="15909" y="9406"/>
                  </a:lnTo>
                  <a:lnTo>
                    <a:pt x="15910" y="9366"/>
                  </a:lnTo>
                  <a:lnTo>
                    <a:pt x="15910" y="9328"/>
                  </a:lnTo>
                  <a:lnTo>
                    <a:pt x="15910" y="9289"/>
                  </a:lnTo>
                  <a:lnTo>
                    <a:pt x="15908" y="9251"/>
                  </a:lnTo>
                  <a:lnTo>
                    <a:pt x="15906" y="9211"/>
                  </a:lnTo>
                  <a:lnTo>
                    <a:pt x="15904" y="9173"/>
                  </a:lnTo>
                  <a:lnTo>
                    <a:pt x="15900" y="9135"/>
                  </a:lnTo>
                  <a:lnTo>
                    <a:pt x="15896" y="9097"/>
                  </a:lnTo>
                  <a:lnTo>
                    <a:pt x="15890" y="9058"/>
                  </a:lnTo>
                  <a:lnTo>
                    <a:pt x="15885" y="9020"/>
                  </a:lnTo>
                  <a:lnTo>
                    <a:pt x="15878" y="8982"/>
                  </a:lnTo>
                  <a:lnTo>
                    <a:pt x="15871" y="8945"/>
                  </a:lnTo>
                  <a:lnTo>
                    <a:pt x="15862" y="8907"/>
                  </a:lnTo>
                  <a:lnTo>
                    <a:pt x="15854" y="8870"/>
                  </a:lnTo>
                  <a:lnTo>
                    <a:pt x="15844" y="8833"/>
                  </a:lnTo>
                  <a:lnTo>
                    <a:pt x="15834" y="8796"/>
                  </a:lnTo>
                  <a:lnTo>
                    <a:pt x="15822" y="8760"/>
                  </a:lnTo>
                  <a:lnTo>
                    <a:pt x="15810" y="8723"/>
                  </a:lnTo>
                  <a:lnTo>
                    <a:pt x="15797" y="8687"/>
                  </a:lnTo>
                  <a:lnTo>
                    <a:pt x="15784" y="8652"/>
                  </a:lnTo>
                  <a:lnTo>
                    <a:pt x="15770" y="8617"/>
                  </a:lnTo>
                  <a:lnTo>
                    <a:pt x="15755" y="8582"/>
                  </a:lnTo>
                  <a:lnTo>
                    <a:pt x="15740" y="8547"/>
                  </a:lnTo>
                  <a:lnTo>
                    <a:pt x="15724" y="8513"/>
                  </a:lnTo>
                  <a:lnTo>
                    <a:pt x="15707" y="8479"/>
                  </a:lnTo>
                  <a:lnTo>
                    <a:pt x="15689" y="8446"/>
                  </a:lnTo>
                  <a:lnTo>
                    <a:pt x="15716" y="8416"/>
                  </a:lnTo>
                  <a:lnTo>
                    <a:pt x="15741" y="8384"/>
                  </a:lnTo>
                  <a:lnTo>
                    <a:pt x="15766" y="8353"/>
                  </a:lnTo>
                  <a:lnTo>
                    <a:pt x="15789" y="8322"/>
                  </a:lnTo>
                  <a:lnTo>
                    <a:pt x="15812" y="8290"/>
                  </a:lnTo>
                  <a:lnTo>
                    <a:pt x="15834" y="8258"/>
                  </a:lnTo>
                  <a:lnTo>
                    <a:pt x="15855" y="8226"/>
                  </a:lnTo>
                  <a:lnTo>
                    <a:pt x="15875" y="8192"/>
                  </a:lnTo>
                  <a:lnTo>
                    <a:pt x="15894" y="8159"/>
                  </a:lnTo>
                  <a:lnTo>
                    <a:pt x="15913" y="8125"/>
                  </a:lnTo>
                  <a:lnTo>
                    <a:pt x="15930" y="8092"/>
                  </a:lnTo>
                  <a:lnTo>
                    <a:pt x="15947" y="8058"/>
                  </a:lnTo>
                  <a:lnTo>
                    <a:pt x="15963" y="8022"/>
                  </a:lnTo>
                  <a:lnTo>
                    <a:pt x="15979" y="7988"/>
                  </a:lnTo>
                  <a:lnTo>
                    <a:pt x="15993" y="7953"/>
                  </a:lnTo>
                  <a:lnTo>
                    <a:pt x="16006" y="7918"/>
                  </a:lnTo>
                  <a:lnTo>
                    <a:pt x="16019" y="7884"/>
                  </a:lnTo>
                  <a:lnTo>
                    <a:pt x="16031" y="7847"/>
                  </a:lnTo>
                  <a:lnTo>
                    <a:pt x="16042" y="7812"/>
                  </a:lnTo>
                  <a:lnTo>
                    <a:pt x="16052" y="7777"/>
                  </a:lnTo>
                  <a:lnTo>
                    <a:pt x="16062" y="7742"/>
                  </a:lnTo>
                  <a:lnTo>
                    <a:pt x="16070" y="7705"/>
                  </a:lnTo>
                  <a:lnTo>
                    <a:pt x="16079" y="7670"/>
                  </a:lnTo>
                  <a:lnTo>
                    <a:pt x="16087" y="7634"/>
                  </a:lnTo>
                  <a:lnTo>
                    <a:pt x="16093" y="7599"/>
                  </a:lnTo>
                  <a:lnTo>
                    <a:pt x="16099" y="7564"/>
                  </a:lnTo>
                  <a:lnTo>
                    <a:pt x="16104" y="7527"/>
                  </a:lnTo>
                  <a:lnTo>
                    <a:pt x="16109" y="7492"/>
                  </a:lnTo>
                  <a:lnTo>
                    <a:pt x="16112" y="7457"/>
                  </a:lnTo>
                  <a:lnTo>
                    <a:pt x="16115" y="7422"/>
                  </a:lnTo>
                  <a:lnTo>
                    <a:pt x="16118" y="7387"/>
                  </a:lnTo>
                  <a:lnTo>
                    <a:pt x="16119" y="7351"/>
                  </a:lnTo>
                  <a:lnTo>
                    <a:pt x="16125" y="7246"/>
                  </a:lnTo>
                  <a:lnTo>
                    <a:pt x="16127" y="7223"/>
                  </a:lnTo>
                  <a:lnTo>
                    <a:pt x="16128" y="7199"/>
                  </a:lnTo>
                  <a:lnTo>
                    <a:pt x="16129" y="7175"/>
                  </a:lnTo>
                  <a:lnTo>
                    <a:pt x="16130" y="7149"/>
                  </a:lnTo>
                  <a:lnTo>
                    <a:pt x="16131" y="7120"/>
                  </a:lnTo>
                  <a:lnTo>
                    <a:pt x="16132" y="7086"/>
                  </a:lnTo>
                  <a:lnTo>
                    <a:pt x="16132" y="7044"/>
                  </a:lnTo>
                  <a:lnTo>
                    <a:pt x="16132" y="6994"/>
                  </a:lnTo>
                  <a:lnTo>
                    <a:pt x="16131" y="6934"/>
                  </a:lnTo>
                  <a:lnTo>
                    <a:pt x="16127" y="6874"/>
                  </a:lnTo>
                  <a:lnTo>
                    <a:pt x="16120" y="6811"/>
                  </a:lnTo>
                  <a:lnTo>
                    <a:pt x="16111" y="6749"/>
                  </a:lnTo>
                  <a:lnTo>
                    <a:pt x="16100" y="6686"/>
                  </a:lnTo>
                  <a:lnTo>
                    <a:pt x="16085" y="6623"/>
                  </a:lnTo>
                  <a:lnTo>
                    <a:pt x="16067" y="6560"/>
                  </a:lnTo>
                  <a:lnTo>
                    <a:pt x="16047" y="6495"/>
                  </a:lnTo>
                  <a:lnTo>
                    <a:pt x="16025" y="6432"/>
                  </a:lnTo>
                  <a:lnTo>
                    <a:pt x="16000" y="6369"/>
                  </a:lnTo>
                  <a:lnTo>
                    <a:pt x="15972" y="6305"/>
                  </a:lnTo>
                  <a:lnTo>
                    <a:pt x="15940" y="6243"/>
                  </a:lnTo>
                  <a:lnTo>
                    <a:pt x="15906" y="6180"/>
                  </a:lnTo>
                  <a:lnTo>
                    <a:pt x="15870" y="6119"/>
                  </a:lnTo>
                  <a:lnTo>
                    <a:pt x="15831" y="6058"/>
                  </a:lnTo>
                  <a:lnTo>
                    <a:pt x="15788" y="5997"/>
                  </a:lnTo>
                  <a:lnTo>
                    <a:pt x="15743" y="5939"/>
                  </a:lnTo>
                  <a:lnTo>
                    <a:pt x="15694" y="5881"/>
                  </a:lnTo>
                  <a:lnTo>
                    <a:pt x="15643" y="5824"/>
                  </a:lnTo>
                  <a:lnTo>
                    <a:pt x="15590" y="5770"/>
                  </a:lnTo>
                  <a:lnTo>
                    <a:pt x="15532" y="5716"/>
                  </a:lnTo>
                  <a:lnTo>
                    <a:pt x="15473" y="5664"/>
                  </a:lnTo>
                  <a:lnTo>
                    <a:pt x="15409" y="5614"/>
                  </a:lnTo>
                  <a:lnTo>
                    <a:pt x="15344" y="5566"/>
                  </a:lnTo>
                  <a:lnTo>
                    <a:pt x="15274" y="5521"/>
                  </a:lnTo>
                  <a:lnTo>
                    <a:pt x="15201" y="5476"/>
                  </a:lnTo>
                  <a:lnTo>
                    <a:pt x="15127" y="5435"/>
                  </a:lnTo>
                  <a:lnTo>
                    <a:pt x="15048" y="5396"/>
                  </a:lnTo>
                  <a:lnTo>
                    <a:pt x="14966" y="5360"/>
                  </a:lnTo>
                  <a:lnTo>
                    <a:pt x="14882" y="5325"/>
                  </a:lnTo>
                  <a:lnTo>
                    <a:pt x="14794" y="5295"/>
                  </a:lnTo>
                  <a:lnTo>
                    <a:pt x="14702" y="52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26" name="ïṩļídè">
              <a:extLst>
                <a:ext uri="{FF2B5EF4-FFF2-40B4-BE49-F238E27FC236}">
                  <a16:creationId xmlns:a16="http://schemas.microsoft.com/office/drawing/2014/main" id="{00D50E18-5D09-4E14-9761-D86EA94AE16B}"/>
                </a:ext>
              </a:extLst>
            </p:cNvPr>
            <p:cNvSpPr/>
            <p:nvPr/>
          </p:nvSpPr>
          <p:spPr bwMode="auto">
            <a:xfrm>
              <a:off x="7454863" y="534039"/>
              <a:ext cx="57809" cy="57808"/>
            </a:xfrm>
            <a:custGeom>
              <a:avLst/>
              <a:gdLst>
                <a:gd name="T0" fmla="*/ 706 w 1513"/>
                <a:gd name="T1" fmla="*/ 1001 h 1509"/>
                <a:gd name="T2" fmla="*/ 648 w 1513"/>
                <a:gd name="T3" fmla="*/ 981 h 1509"/>
                <a:gd name="T4" fmla="*/ 596 w 1513"/>
                <a:gd name="T5" fmla="*/ 949 h 1509"/>
                <a:gd name="T6" fmla="*/ 555 w 1513"/>
                <a:gd name="T7" fmla="*/ 905 h 1509"/>
                <a:gd name="T8" fmla="*/ 525 w 1513"/>
                <a:gd name="T9" fmla="*/ 852 h 1509"/>
                <a:gd name="T10" fmla="*/ 508 w 1513"/>
                <a:gd name="T11" fmla="*/ 793 h 1509"/>
                <a:gd name="T12" fmla="*/ 507 w 1513"/>
                <a:gd name="T13" fmla="*/ 728 h 1509"/>
                <a:gd name="T14" fmla="*/ 520 w 1513"/>
                <a:gd name="T15" fmla="*/ 668 h 1509"/>
                <a:gd name="T16" fmla="*/ 548 w 1513"/>
                <a:gd name="T17" fmla="*/ 614 h 1509"/>
                <a:gd name="T18" fmla="*/ 587 w 1513"/>
                <a:gd name="T19" fmla="*/ 569 h 1509"/>
                <a:gd name="T20" fmla="*/ 637 w 1513"/>
                <a:gd name="T21" fmla="*/ 533 h 1509"/>
                <a:gd name="T22" fmla="*/ 694 w 1513"/>
                <a:gd name="T23" fmla="*/ 511 h 1509"/>
                <a:gd name="T24" fmla="*/ 757 w 1513"/>
                <a:gd name="T25" fmla="*/ 503 h 1509"/>
                <a:gd name="T26" fmla="*/ 819 w 1513"/>
                <a:gd name="T27" fmla="*/ 511 h 1509"/>
                <a:gd name="T28" fmla="*/ 877 w 1513"/>
                <a:gd name="T29" fmla="*/ 533 h 1509"/>
                <a:gd name="T30" fmla="*/ 926 w 1513"/>
                <a:gd name="T31" fmla="*/ 569 h 1509"/>
                <a:gd name="T32" fmla="*/ 965 w 1513"/>
                <a:gd name="T33" fmla="*/ 614 h 1509"/>
                <a:gd name="T34" fmla="*/ 994 w 1513"/>
                <a:gd name="T35" fmla="*/ 668 h 1509"/>
                <a:gd name="T36" fmla="*/ 1008 w 1513"/>
                <a:gd name="T37" fmla="*/ 728 h 1509"/>
                <a:gd name="T38" fmla="*/ 1006 w 1513"/>
                <a:gd name="T39" fmla="*/ 793 h 1509"/>
                <a:gd name="T40" fmla="*/ 988 w 1513"/>
                <a:gd name="T41" fmla="*/ 852 h 1509"/>
                <a:gd name="T42" fmla="*/ 958 w 1513"/>
                <a:gd name="T43" fmla="*/ 905 h 1509"/>
                <a:gd name="T44" fmla="*/ 917 w 1513"/>
                <a:gd name="T45" fmla="*/ 949 h 1509"/>
                <a:gd name="T46" fmla="*/ 865 w 1513"/>
                <a:gd name="T47" fmla="*/ 981 h 1509"/>
                <a:gd name="T48" fmla="*/ 807 w 1513"/>
                <a:gd name="T49" fmla="*/ 1001 h 1509"/>
                <a:gd name="T50" fmla="*/ 757 w 1513"/>
                <a:gd name="T51" fmla="*/ 0 h 1509"/>
                <a:gd name="T52" fmla="*/ 568 w 1513"/>
                <a:gd name="T53" fmla="*/ 23 h 1509"/>
                <a:gd name="T54" fmla="*/ 397 w 1513"/>
                <a:gd name="T55" fmla="*/ 91 h 1509"/>
                <a:gd name="T56" fmla="*/ 248 w 1513"/>
                <a:gd name="T57" fmla="*/ 196 h 1509"/>
                <a:gd name="T58" fmla="*/ 129 w 1513"/>
                <a:gd name="T59" fmla="*/ 333 h 1509"/>
                <a:gd name="T60" fmla="*/ 47 w 1513"/>
                <a:gd name="T61" fmla="*/ 495 h 1509"/>
                <a:gd name="T62" fmla="*/ 4 w 1513"/>
                <a:gd name="T63" fmla="*/ 677 h 1509"/>
                <a:gd name="T64" fmla="*/ 9 w 1513"/>
                <a:gd name="T65" fmla="*/ 869 h 1509"/>
                <a:gd name="T66" fmla="*/ 60 w 1513"/>
                <a:gd name="T67" fmla="*/ 1048 h 1509"/>
                <a:gd name="T68" fmla="*/ 151 w 1513"/>
                <a:gd name="T69" fmla="*/ 1206 h 1509"/>
                <a:gd name="T70" fmla="*/ 276 w 1513"/>
                <a:gd name="T71" fmla="*/ 1337 h 1509"/>
                <a:gd name="T72" fmla="*/ 429 w 1513"/>
                <a:gd name="T73" fmla="*/ 1435 h 1509"/>
                <a:gd name="T74" fmla="*/ 604 w 1513"/>
                <a:gd name="T75" fmla="*/ 1494 h 1509"/>
                <a:gd name="T76" fmla="*/ 796 w 1513"/>
                <a:gd name="T77" fmla="*/ 1508 h 1509"/>
                <a:gd name="T78" fmla="*/ 981 w 1513"/>
                <a:gd name="T79" fmla="*/ 1475 h 1509"/>
                <a:gd name="T80" fmla="*/ 1149 w 1513"/>
                <a:gd name="T81" fmla="*/ 1399 h 1509"/>
                <a:gd name="T82" fmla="*/ 1291 w 1513"/>
                <a:gd name="T83" fmla="*/ 1288 h 1509"/>
                <a:gd name="T84" fmla="*/ 1404 w 1513"/>
                <a:gd name="T85" fmla="*/ 1146 h 1509"/>
                <a:gd name="T86" fmla="*/ 1478 w 1513"/>
                <a:gd name="T87" fmla="*/ 979 h 1509"/>
                <a:gd name="T88" fmla="*/ 1512 w 1513"/>
                <a:gd name="T89" fmla="*/ 793 h 1509"/>
                <a:gd name="T90" fmla="*/ 1498 w 1513"/>
                <a:gd name="T91" fmla="*/ 603 h 1509"/>
                <a:gd name="T92" fmla="*/ 1438 w 1513"/>
                <a:gd name="T93" fmla="*/ 428 h 1509"/>
                <a:gd name="T94" fmla="*/ 1340 w 1513"/>
                <a:gd name="T95" fmla="*/ 275 h 1509"/>
                <a:gd name="T96" fmla="*/ 1209 w 1513"/>
                <a:gd name="T97" fmla="*/ 150 h 1509"/>
                <a:gd name="T98" fmla="*/ 1051 w 1513"/>
                <a:gd name="T99" fmla="*/ 60 h 1509"/>
                <a:gd name="T100" fmla="*/ 872 w 1513"/>
                <a:gd name="T101" fmla="*/ 8 h 1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13" h="1509">
                  <a:moveTo>
                    <a:pt x="757" y="1006"/>
                  </a:moveTo>
                  <a:lnTo>
                    <a:pt x="743" y="1006"/>
                  </a:lnTo>
                  <a:lnTo>
                    <a:pt x="731" y="1005"/>
                  </a:lnTo>
                  <a:lnTo>
                    <a:pt x="718" y="1003"/>
                  </a:lnTo>
                  <a:lnTo>
                    <a:pt x="706" y="1001"/>
                  </a:lnTo>
                  <a:lnTo>
                    <a:pt x="694" y="998"/>
                  </a:lnTo>
                  <a:lnTo>
                    <a:pt x="682" y="995"/>
                  </a:lnTo>
                  <a:lnTo>
                    <a:pt x="670" y="991"/>
                  </a:lnTo>
                  <a:lnTo>
                    <a:pt x="659" y="986"/>
                  </a:lnTo>
                  <a:lnTo>
                    <a:pt x="648" y="981"/>
                  </a:lnTo>
                  <a:lnTo>
                    <a:pt x="637" y="976"/>
                  </a:lnTo>
                  <a:lnTo>
                    <a:pt x="626" y="970"/>
                  </a:lnTo>
                  <a:lnTo>
                    <a:pt x="616" y="963"/>
                  </a:lnTo>
                  <a:lnTo>
                    <a:pt x="606" y="956"/>
                  </a:lnTo>
                  <a:lnTo>
                    <a:pt x="596" y="949"/>
                  </a:lnTo>
                  <a:lnTo>
                    <a:pt x="587" y="941"/>
                  </a:lnTo>
                  <a:lnTo>
                    <a:pt x="579" y="932"/>
                  </a:lnTo>
                  <a:lnTo>
                    <a:pt x="570" y="924"/>
                  </a:lnTo>
                  <a:lnTo>
                    <a:pt x="563" y="915"/>
                  </a:lnTo>
                  <a:lnTo>
                    <a:pt x="555" y="905"/>
                  </a:lnTo>
                  <a:lnTo>
                    <a:pt x="548" y="894"/>
                  </a:lnTo>
                  <a:lnTo>
                    <a:pt x="542" y="884"/>
                  </a:lnTo>
                  <a:lnTo>
                    <a:pt x="536" y="874"/>
                  </a:lnTo>
                  <a:lnTo>
                    <a:pt x="530" y="863"/>
                  </a:lnTo>
                  <a:lnTo>
                    <a:pt x="525" y="852"/>
                  </a:lnTo>
                  <a:lnTo>
                    <a:pt x="520" y="841"/>
                  </a:lnTo>
                  <a:lnTo>
                    <a:pt x="517" y="829"/>
                  </a:lnTo>
                  <a:lnTo>
                    <a:pt x="513" y="817"/>
                  </a:lnTo>
                  <a:lnTo>
                    <a:pt x="510" y="805"/>
                  </a:lnTo>
                  <a:lnTo>
                    <a:pt x="508" y="793"/>
                  </a:lnTo>
                  <a:lnTo>
                    <a:pt x="507" y="780"/>
                  </a:lnTo>
                  <a:lnTo>
                    <a:pt x="506" y="768"/>
                  </a:lnTo>
                  <a:lnTo>
                    <a:pt x="505" y="755"/>
                  </a:lnTo>
                  <a:lnTo>
                    <a:pt x="506" y="742"/>
                  </a:lnTo>
                  <a:lnTo>
                    <a:pt x="507" y="728"/>
                  </a:lnTo>
                  <a:lnTo>
                    <a:pt x="508" y="716"/>
                  </a:lnTo>
                  <a:lnTo>
                    <a:pt x="510" y="704"/>
                  </a:lnTo>
                  <a:lnTo>
                    <a:pt x="513" y="692"/>
                  </a:lnTo>
                  <a:lnTo>
                    <a:pt x="517" y="680"/>
                  </a:lnTo>
                  <a:lnTo>
                    <a:pt x="520" y="668"/>
                  </a:lnTo>
                  <a:lnTo>
                    <a:pt x="525" y="657"/>
                  </a:lnTo>
                  <a:lnTo>
                    <a:pt x="530" y="646"/>
                  </a:lnTo>
                  <a:lnTo>
                    <a:pt x="536" y="635"/>
                  </a:lnTo>
                  <a:lnTo>
                    <a:pt x="542" y="624"/>
                  </a:lnTo>
                  <a:lnTo>
                    <a:pt x="548" y="614"/>
                  </a:lnTo>
                  <a:lnTo>
                    <a:pt x="555" y="605"/>
                  </a:lnTo>
                  <a:lnTo>
                    <a:pt x="563" y="595"/>
                  </a:lnTo>
                  <a:lnTo>
                    <a:pt x="570" y="586"/>
                  </a:lnTo>
                  <a:lnTo>
                    <a:pt x="579" y="577"/>
                  </a:lnTo>
                  <a:lnTo>
                    <a:pt x="587" y="569"/>
                  </a:lnTo>
                  <a:lnTo>
                    <a:pt x="596" y="560"/>
                  </a:lnTo>
                  <a:lnTo>
                    <a:pt x="606" y="553"/>
                  </a:lnTo>
                  <a:lnTo>
                    <a:pt x="616" y="546"/>
                  </a:lnTo>
                  <a:lnTo>
                    <a:pt x="626" y="539"/>
                  </a:lnTo>
                  <a:lnTo>
                    <a:pt x="637" y="533"/>
                  </a:lnTo>
                  <a:lnTo>
                    <a:pt x="648" y="528"/>
                  </a:lnTo>
                  <a:lnTo>
                    <a:pt x="659" y="523"/>
                  </a:lnTo>
                  <a:lnTo>
                    <a:pt x="670" y="518"/>
                  </a:lnTo>
                  <a:lnTo>
                    <a:pt x="682" y="514"/>
                  </a:lnTo>
                  <a:lnTo>
                    <a:pt x="694" y="511"/>
                  </a:lnTo>
                  <a:lnTo>
                    <a:pt x="706" y="508"/>
                  </a:lnTo>
                  <a:lnTo>
                    <a:pt x="718" y="506"/>
                  </a:lnTo>
                  <a:lnTo>
                    <a:pt x="731" y="504"/>
                  </a:lnTo>
                  <a:lnTo>
                    <a:pt x="743" y="503"/>
                  </a:lnTo>
                  <a:lnTo>
                    <a:pt x="757" y="503"/>
                  </a:lnTo>
                  <a:lnTo>
                    <a:pt x="770" y="503"/>
                  </a:lnTo>
                  <a:lnTo>
                    <a:pt x="783" y="504"/>
                  </a:lnTo>
                  <a:lnTo>
                    <a:pt x="795" y="506"/>
                  </a:lnTo>
                  <a:lnTo>
                    <a:pt x="807" y="508"/>
                  </a:lnTo>
                  <a:lnTo>
                    <a:pt x="819" y="511"/>
                  </a:lnTo>
                  <a:lnTo>
                    <a:pt x="831" y="514"/>
                  </a:lnTo>
                  <a:lnTo>
                    <a:pt x="843" y="518"/>
                  </a:lnTo>
                  <a:lnTo>
                    <a:pt x="854" y="523"/>
                  </a:lnTo>
                  <a:lnTo>
                    <a:pt x="865" y="528"/>
                  </a:lnTo>
                  <a:lnTo>
                    <a:pt x="877" y="533"/>
                  </a:lnTo>
                  <a:lnTo>
                    <a:pt x="888" y="539"/>
                  </a:lnTo>
                  <a:lnTo>
                    <a:pt x="898" y="546"/>
                  </a:lnTo>
                  <a:lnTo>
                    <a:pt x="908" y="553"/>
                  </a:lnTo>
                  <a:lnTo>
                    <a:pt x="917" y="560"/>
                  </a:lnTo>
                  <a:lnTo>
                    <a:pt x="926" y="569"/>
                  </a:lnTo>
                  <a:lnTo>
                    <a:pt x="935" y="577"/>
                  </a:lnTo>
                  <a:lnTo>
                    <a:pt x="943" y="586"/>
                  </a:lnTo>
                  <a:lnTo>
                    <a:pt x="951" y="595"/>
                  </a:lnTo>
                  <a:lnTo>
                    <a:pt x="958" y="605"/>
                  </a:lnTo>
                  <a:lnTo>
                    <a:pt x="965" y="614"/>
                  </a:lnTo>
                  <a:lnTo>
                    <a:pt x="972" y="624"/>
                  </a:lnTo>
                  <a:lnTo>
                    <a:pt x="978" y="635"/>
                  </a:lnTo>
                  <a:lnTo>
                    <a:pt x="983" y="646"/>
                  </a:lnTo>
                  <a:lnTo>
                    <a:pt x="988" y="657"/>
                  </a:lnTo>
                  <a:lnTo>
                    <a:pt x="994" y="668"/>
                  </a:lnTo>
                  <a:lnTo>
                    <a:pt x="998" y="680"/>
                  </a:lnTo>
                  <a:lnTo>
                    <a:pt x="1001" y="692"/>
                  </a:lnTo>
                  <a:lnTo>
                    <a:pt x="1004" y="704"/>
                  </a:lnTo>
                  <a:lnTo>
                    <a:pt x="1006" y="716"/>
                  </a:lnTo>
                  <a:lnTo>
                    <a:pt x="1008" y="728"/>
                  </a:lnTo>
                  <a:lnTo>
                    <a:pt x="1009" y="742"/>
                  </a:lnTo>
                  <a:lnTo>
                    <a:pt x="1009" y="755"/>
                  </a:lnTo>
                  <a:lnTo>
                    <a:pt x="1009" y="768"/>
                  </a:lnTo>
                  <a:lnTo>
                    <a:pt x="1008" y="780"/>
                  </a:lnTo>
                  <a:lnTo>
                    <a:pt x="1006" y="793"/>
                  </a:lnTo>
                  <a:lnTo>
                    <a:pt x="1004" y="805"/>
                  </a:lnTo>
                  <a:lnTo>
                    <a:pt x="1001" y="817"/>
                  </a:lnTo>
                  <a:lnTo>
                    <a:pt x="998" y="829"/>
                  </a:lnTo>
                  <a:lnTo>
                    <a:pt x="994" y="841"/>
                  </a:lnTo>
                  <a:lnTo>
                    <a:pt x="988" y="852"/>
                  </a:lnTo>
                  <a:lnTo>
                    <a:pt x="983" y="863"/>
                  </a:lnTo>
                  <a:lnTo>
                    <a:pt x="978" y="874"/>
                  </a:lnTo>
                  <a:lnTo>
                    <a:pt x="972" y="884"/>
                  </a:lnTo>
                  <a:lnTo>
                    <a:pt x="965" y="894"/>
                  </a:lnTo>
                  <a:lnTo>
                    <a:pt x="958" y="905"/>
                  </a:lnTo>
                  <a:lnTo>
                    <a:pt x="951" y="915"/>
                  </a:lnTo>
                  <a:lnTo>
                    <a:pt x="943" y="924"/>
                  </a:lnTo>
                  <a:lnTo>
                    <a:pt x="935" y="932"/>
                  </a:lnTo>
                  <a:lnTo>
                    <a:pt x="926" y="941"/>
                  </a:lnTo>
                  <a:lnTo>
                    <a:pt x="917" y="949"/>
                  </a:lnTo>
                  <a:lnTo>
                    <a:pt x="908" y="956"/>
                  </a:lnTo>
                  <a:lnTo>
                    <a:pt x="898" y="963"/>
                  </a:lnTo>
                  <a:lnTo>
                    <a:pt x="888" y="970"/>
                  </a:lnTo>
                  <a:lnTo>
                    <a:pt x="877" y="976"/>
                  </a:lnTo>
                  <a:lnTo>
                    <a:pt x="865" y="981"/>
                  </a:lnTo>
                  <a:lnTo>
                    <a:pt x="854" y="986"/>
                  </a:lnTo>
                  <a:lnTo>
                    <a:pt x="843" y="991"/>
                  </a:lnTo>
                  <a:lnTo>
                    <a:pt x="831" y="995"/>
                  </a:lnTo>
                  <a:lnTo>
                    <a:pt x="819" y="998"/>
                  </a:lnTo>
                  <a:lnTo>
                    <a:pt x="807" y="1001"/>
                  </a:lnTo>
                  <a:lnTo>
                    <a:pt x="795" y="1003"/>
                  </a:lnTo>
                  <a:lnTo>
                    <a:pt x="783" y="1005"/>
                  </a:lnTo>
                  <a:lnTo>
                    <a:pt x="770" y="1006"/>
                  </a:lnTo>
                  <a:lnTo>
                    <a:pt x="757" y="1006"/>
                  </a:lnTo>
                  <a:close/>
                  <a:moveTo>
                    <a:pt x="757" y="0"/>
                  </a:moveTo>
                  <a:lnTo>
                    <a:pt x="718" y="1"/>
                  </a:lnTo>
                  <a:lnTo>
                    <a:pt x="679" y="4"/>
                  </a:lnTo>
                  <a:lnTo>
                    <a:pt x="642" y="8"/>
                  </a:lnTo>
                  <a:lnTo>
                    <a:pt x="604" y="15"/>
                  </a:lnTo>
                  <a:lnTo>
                    <a:pt x="568" y="23"/>
                  </a:lnTo>
                  <a:lnTo>
                    <a:pt x="532" y="34"/>
                  </a:lnTo>
                  <a:lnTo>
                    <a:pt x="496" y="45"/>
                  </a:lnTo>
                  <a:lnTo>
                    <a:pt x="462" y="60"/>
                  </a:lnTo>
                  <a:lnTo>
                    <a:pt x="429" y="75"/>
                  </a:lnTo>
                  <a:lnTo>
                    <a:pt x="397" y="91"/>
                  </a:lnTo>
                  <a:lnTo>
                    <a:pt x="364" y="109"/>
                  </a:lnTo>
                  <a:lnTo>
                    <a:pt x="334" y="129"/>
                  </a:lnTo>
                  <a:lnTo>
                    <a:pt x="304" y="150"/>
                  </a:lnTo>
                  <a:lnTo>
                    <a:pt x="276" y="172"/>
                  </a:lnTo>
                  <a:lnTo>
                    <a:pt x="248" y="196"/>
                  </a:lnTo>
                  <a:lnTo>
                    <a:pt x="222" y="221"/>
                  </a:lnTo>
                  <a:lnTo>
                    <a:pt x="197" y="248"/>
                  </a:lnTo>
                  <a:lnTo>
                    <a:pt x="174" y="275"/>
                  </a:lnTo>
                  <a:lnTo>
                    <a:pt x="151" y="303"/>
                  </a:lnTo>
                  <a:lnTo>
                    <a:pt x="129" y="333"/>
                  </a:lnTo>
                  <a:lnTo>
                    <a:pt x="110" y="363"/>
                  </a:lnTo>
                  <a:lnTo>
                    <a:pt x="92" y="395"/>
                  </a:lnTo>
                  <a:lnTo>
                    <a:pt x="75" y="428"/>
                  </a:lnTo>
                  <a:lnTo>
                    <a:pt x="60" y="461"/>
                  </a:lnTo>
                  <a:lnTo>
                    <a:pt x="47" y="495"/>
                  </a:lnTo>
                  <a:lnTo>
                    <a:pt x="35" y="530"/>
                  </a:lnTo>
                  <a:lnTo>
                    <a:pt x="25" y="567"/>
                  </a:lnTo>
                  <a:lnTo>
                    <a:pt x="17" y="603"/>
                  </a:lnTo>
                  <a:lnTo>
                    <a:pt x="9" y="640"/>
                  </a:lnTo>
                  <a:lnTo>
                    <a:pt x="4" y="677"/>
                  </a:lnTo>
                  <a:lnTo>
                    <a:pt x="1" y="715"/>
                  </a:lnTo>
                  <a:lnTo>
                    <a:pt x="0" y="755"/>
                  </a:lnTo>
                  <a:lnTo>
                    <a:pt x="1" y="793"/>
                  </a:lnTo>
                  <a:lnTo>
                    <a:pt x="4" y="832"/>
                  </a:lnTo>
                  <a:lnTo>
                    <a:pt x="9" y="869"/>
                  </a:lnTo>
                  <a:lnTo>
                    <a:pt x="17" y="907"/>
                  </a:lnTo>
                  <a:lnTo>
                    <a:pt x="25" y="943"/>
                  </a:lnTo>
                  <a:lnTo>
                    <a:pt x="35" y="979"/>
                  </a:lnTo>
                  <a:lnTo>
                    <a:pt x="47" y="1014"/>
                  </a:lnTo>
                  <a:lnTo>
                    <a:pt x="60" y="1048"/>
                  </a:lnTo>
                  <a:lnTo>
                    <a:pt x="75" y="1082"/>
                  </a:lnTo>
                  <a:lnTo>
                    <a:pt x="92" y="1114"/>
                  </a:lnTo>
                  <a:lnTo>
                    <a:pt x="110" y="1146"/>
                  </a:lnTo>
                  <a:lnTo>
                    <a:pt x="129" y="1176"/>
                  </a:lnTo>
                  <a:lnTo>
                    <a:pt x="151" y="1206"/>
                  </a:lnTo>
                  <a:lnTo>
                    <a:pt x="174" y="1234"/>
                  </a:lnTo>
                  <a:lnTo>
                    <a:pt x="197" y="1262"/>
                  </a:lnTo>
                  <a:lnTo>
                    <a:pt x="222" y="1288"/>
                  </a:lnTo>
                  <a:lnTo>
                    <a:pt x="248" y="1313"/>
                  </a:lnTo>
                  <a:lnTo>
                    <a:pt x="276" y="1337"/>
                  </a:lnTo>
                  <a:lnTo>
                    <a:pt x="304" y="1359"/>
                  </a:lnTo>
                  <a:lnTo>
                    <a:pt x="334" y="1380"/>
                  </a:lnTo>
                  <a:lnTo>
                    <a:pt x="364" y="1399"/>
                  </a:lnTo>
                  <a:lnTo>
                    <a:pt x="397" y="1418"/>
                  </a:lnTo>
                  <a:lnTo>
                    <a:pt x="429" y="1435"/>
                  </a:lnTo>
                  <a:lnTo>
                    <a:pt x="462" y="1450"/>
                  </a:lnTo>
                  <a:lnTo>
                    <a:pt x="496" y="1463"/>
                  </a:lnTo>
                  <a:lnTo>
                    <a:pt x="532" y="1475"/>
                  </a:lnTo>
                  <a:lnTo>
                    <a:pt x="568" y="1485"/>
                  </a:lnTo>
                  <a:lnTo>
                    <a:pt x="604" y="1494"/>
                  </a:lnTo>
                  <a:lnTo>
                    <a:pt x="642" y="1500"/>
                  </a:lnTo>
                  <a:lnTo>
                    <a:pt x="679" y="1505"/>
                  </a:lnTo>
                  <a:lnTo>
                    <a:pt x="718" y="1508"/>
                  </a:lnTo>
                  <a:lnTo>
                    <a:pt x="757" y="1509"/>
                  </a:lnTo>
                  <a:lnTo>
                    <a:pt x="796" y="1508"/>
                  </a:lnTo>
                  <a:lnTo>
                    <a:pt x="834" y="1505"/>
                  </a:lnTo>
                  <a:lnTo>
                    <a:pt x="872" y="1500"/>
                  </a:lnTo>
                  <a:lnTo>
                    <a:pt x="909" y="1494"/>
                  </a:lnTo>
                  <a:lnTo>
                    <a:pt x="945" y="1485"/>
                  </a:lnTo>
                  <a:lnTo>
                    <a:pt x="981" y="1475"/>
                  </a:lnTo>
                  <a:lnTo>
                    <a:pt x="1017" y="1463"/>
                  </a:lnTo>
                  <a:lnTo>
                    <a:pt x="1051" y="1450"/>
                  </a:lnTo>
                  <a:lnTo>
                    <a:pt x="1084" y="1435"/>
                  </a:lnTo>
                  <a:lnTo>
                    <a:pt x="1118" y="1418"/>
                  </a:lnTo>
                  <a:lnTo>
                    <a:pt x="1149" y="1399"/>
                  </a:lnTo>
                  <a:lnTo>
                    <a:pt x="1179" y="1380"/>
                  </a:lnTo>
                  <a:lnTo>
                    <a:pt x="1209" y="1359"/>
                  </a:lnTo>
                  <a:lnTo>
                    <a:pt x="1237" y="1337"/>
                  </a:lnTo>
                  <a:lnTo>
                    <a:pt x="1265" y="1313"/>
                  </a:lnTo>
                  <a:lnTo>
                    <a:pt x="1291" y="1288"/>
                  </a:lnTo>
                  <a:lnTo>
                    <a:pt x="1316" y="1262"/>
                  </a:lnTo>
                  <a:lnTo>
                    <a:pt x="1340" y="1234"/>
                  </a:lnTo>
                  <a:lnTo>
                    <a:pt x="1363" y="1206"/>
                  </a:lnTo>
                  <a:lnTo>
                    <a:pt x="1384" y="1176"/>
                  </a:lnTo>
                  <a:lnTo>
                    <a:pt x="1404" y="1146"/>
                  </a:lnTo>
                  <a:lnTo>
                    <a:pt x="1422" y="1114"/>
                  </a:lnTo>
                  <a:lnTo>
                    <a:pt x="1438" y="1082"/>
                  </a:lnTo>
                  <a:lnTo>
                    <a:pt x="1453" y="1048"/>
                  </a:lnTo>
                  <a:lnTo>
                    <a:pt x="1467" y="1014"/>
                  </a:lnTo>
                  <a:lnTo>
                    <a:pt x="1478" y="979"/>
                  </a:lnTo>
                  <a:lnTo>
                    <a:pt x="1490" y="943"/>
                  </a:lnTo>
                  <a:lnTo>
                    <a:pt x="1498" y="907"/>
                  </a:lnTo>
                  <a:lnTo>
                    <a:pt x="1505" y="869"/>
                  </a:lnTo>
                  <a:lnTo>
                    <a:pt x="1509" y="832"/>
                  </a:lnTo>
                  <a:lnTo>
                    <a:pt x="1512" y="793"/>
                  </a:lnTo>
                  <a:lnTo>
                    <a:pt x="1513" y="755"/>
                  </a:lnTo>
                  <a:lnTo>
                    <a:pt x="1512" y="715"/>
                  </a:lnTo>
                  <a:lnTo>
                    <a:pt x="1509" y="677"/>
                  </a:lnTo>
                  <a:lnTo>
                    <a:pt x="1505" y="640"/>
                  </a:lnTo>
                  <a:lnTo>
                    <a:pt x="1498" y="603"/>
                  </a:lnTo>
                  <a:lnTo>
                    <a:pt x="1490" y="567"/>
                  </a:lnTo>
                  <a:lnTo>
                    <a:pt x="1478" y="530"/>
                  </a:lnTo>
                  <a:lnTo>
                    <a:pt x="1467" y="495"/>
                  </a:lnTo>
                  <a:lnTo>
                    <a:pt x="1453" y="461"/>
                  </a:lnTo>
                  <a:lnTo>
                    <a:pt x="1438" y="428"/>
                  </a:lnTo>
                  <a:lnTo>
                    <a:pt x="1422" y="395"/>
                  </a:lnTo>
                  <a:lnTo>
                    <a:pt x="1404" y="363"/>
                  </a:lnTo>
                  <a:lnTo>
                    <a:pt x="1384" y="333"/>
                  </a:lnTo>
                  <a:lnTo>
                    <a:pt x="1363" y="303"/>
                  </a:lnTo>
                  <a:lnTo>
                    <a:pt x="1340" y="275"/>
                  </a:lnTo>
                  <a:lnTo>
                    <a:pt x="1316" y="248"/>
                  </a:lnTo>
                  <a:lnTo>
                    <a:pt x="1291" y="221"/>
                  </a:lnTo>
                  <a:lnTo>
                    <a:pt x="1265" y="196"/>
                  </a:lnTo>
                  <a:lnTo>
                    <a:pt x="1237" y="172"/>
                  </a:lnTo>
                  <a:lnTo>
                    <a:pt x="1209" y="150"/>
                  </a:lnTo>
                  <a:lnTo>
                    <a:pt x="1179" y="129"/>
                  </a:lnTo>
                  <a:lnTo>
                    <a:pt x="1149" y="109"/>
                  </a:lnTo>
                  <a:lnTo>
                    <a:pt x="1118" y="91"/>
                  </a:lnTo>
                  <a:lnTo>
                    <a:pt x="1084" y="75"/>
                  </a:lnTo>
                  <a:lnTo>
                    <a:pt x="1051" y="60"/>
                  </a:lnTo>
                  <a:lnTo>
                    <a:pt x="1017" y="45"/>
                  </a:lnTo>
                  <a:lnTo>
                    <a:pt x="981" y="34"/>
                  </a:lnTo>
                  <a:lnTo>
                    <a:pt x="945" y="23"/>
                  </a:lnTo>
                  <a:lnTo>
                    <a:pt x="909" y="15"/>
                  </a:lnTo>
                  <a:lnTo>
                    <a:pt x="872" y="8"/>
                  </a:lnTo>
                  <a:lnTo>
                    <a:pt x="834" y="4"/>
                  </a:lnTo>
                  <a:lnTo>
                    <a:pt x="796" y="1"/>
                  </a:lnTo>
                  <a:lnTo>
                    <a:pt x="7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27" name="işliḍè">
              <a:extLst>
                <a:ext uri="{FF2B5EF4-FFF2-40B4-BE49-F238E27FC236}">
                  <a16:creationId xmlns:a16="http://schemas.microsoft.com/office/drawing/2014/main" id="{F912BDEA-269F-4C15-9EC0-E26472404726}"/>
                </a:ext>
              </a:extLst>
            </p:cNvPr>
            <p:cNvSpPr/>
            <p:nvPr/>
          </p:nvSpPr>
          <p:spPr bwMode="auto">
            <a:xfrm>
              <a:off x="7289667" y="698953"/>
              <a:ext cx="373600" cy="398323"/>
            </a:xfrm>
            <a:custGeom>
              <a:avLst/>
              <a:gdLst>
                <a:gd name="T0" fmla="*/ 14069 w 15096"/>
                <a:gd name="T1" fmla="*/ 14285 h 16095"/>
                <a:gd name="T2" fmla="*/ 13990 w 15096"/>
                <a:gd name="T3" fmla="*/ 14519 h 16095"/>
                <a:gd name="T4" fmla="*/ 13859 w 15096"/>
                <a:gd name="T5" fmla="*/ 14723 h 16095"/>
                <a:gd name="T6" fmla="*/ 13685 w 15096"/>
                <a:gd name="T7" fmla="*/ 14889 h 16095"/>
                <a:gd name="T8" fmla="*/ 13475 w 15096"/>
                <a:gd name="T9" fmla="*/ 15010 h 16095"/>
                <a:gd name="T10" fmla="*/ 13236 w 15096"/>
                <a:gd name="T11" fmla="*/ 15077 h 16095"/>
                <a:gd name="T12" fmla="*/ 1961 w 15096"/>
                <a:gd name="T13" fmla="*/ 15088 h 16095"/>
                <a:gd name="T14" fmla="*/ 1714 w 15096"/>
                <a:gd name="T15" fmla="*/ 15044 h 16095"/>
                <a:gd name="T16" fmla="*/ 1491 w 15096"/>
                <a:gd name="T17" fmla="*/ 14943 h 16095"/>
                <a:gd name="T18" fmla="*/ 1301 w 15096"/>
                <a:gd name="T19" fmla="*/ 14794 h 16095"/>
                <a:gd name="T20" fmla="*/ 1152 w 15096"/>
                <a:gd name="T21" fmla="*/ 14604 h 16095"/>
                <a:gd name="T22" fmla="*/ 1052 w 15096"/>
                <a:gd name="T23" fmla="*/ 14382 h 16095"/>
                <a:gd name="T24" fmla="*/ 1007 w 15096"/>
                <a:gd name="T25" fmla="*/ 14134 h 16095"/>
                <a:gd name="T26" fmla="*/ 1018 w 15096"/>
                <a:gd name="T27" fmla="*/ 1859 h 16095"/>
                <a:gd name="T28" fmla="*/ 1086 w 15096"/>
                <a:gd name="T29" fmla="*/ 1621 h 16095"/>
                <a:gd name="T30" fmla="*/ 1207 w 15096"/>
                <a:gd name="T31" fmla="*/ 1410 h 16095"/>
                <a:gd name="T32" fmla="*/ 1373 w 15096"/>
                <a:gd name="T33" fmla="*/ 1236 h 16095"/>
                <a:gd name="T34" fmla="*/ 1577 w 15096"/>
                <a:gd name="T35" fmla="*/ 1106 h 16095"/>
                <a:gd name="T36" fmla="*/ 1811 w 15096"/>
                <a:gd name="T37" fmla="*/ 1026 h 16095"/>
                <a:gd name="T38" fmla="*/ 13083 w 15096"/>
                <a:gd name="T39" fmla="*/ 1006 h 16095"/>
                <a:gd name="T40" fmla="*/ 13335 w 15096"/>
                <a:gd name="T41" fmla="*/ 1038 h 16095"/>
                <a:gd name="T42" fmla="*/ 13562 w 15096"/>
                <a:gd name="T43" fmla="*/ 1128 h 16095"/>
                <a:gd name="T44" fmla="*/ 13760 w 15096"/>
                <a:gd name="T45" fmla="*/ 1267 h 16095"/>
                <a:gd name="T46" fmla="*/ 13918 w 15096"/>
                <a:gd name="T47" fmla="*/ 1450 h 16095"/>
                <a:gd name="T48" fmla="*/ 14028 w 15096"/>
                <a:gd name="T49" fmla="*/ 1667 h 16095"/>
                <a:gd name="T50" fmla="*/ 14085 w 15096"/>
                <a:gd name="T51" fmla="*/ 1909 h 16095"/>
                <a:gd name="T52" fmla="*/ 2013 w 15096"/>
                <a:gd name="T53" fmla="*/ 0 h 16095"/>
                <a:gd name="T54" fmla="*/ 1510 w 15096"/>
                <a:gd name="T55" fmla="*/ 63 h 16095"/>
                <a:gd name="T56" fmla="*/ 1054 w 15096"/>
                <a:gd name="T57" fmla="*/ 242 h 16095"/>
                <a:gd name="T58" fmla="*/ 659 w 15096"/>
                <a:gd name="T59" fmla="*/ 523 h 16095"/>
                <a:gd name="T60" fmla="*/ 344 w 15096"/>
                <a:gd name="T61" fmla="*/ 887 h 16095"/>
                <a:gd name="T62" fmla="*/ 122 w 15096"/>
                <a:gd name="T63" fmla="*/ 1320 h 16095"/>
                <a:gd name="T64" fmla="*/ 10 w 15096"/>
                <a:gd name="T65" fmla="*/ 1807 h 16095"/>
                <a:gd name="T66" fmla="*/ 10 w 15096"/>
                <a:gd name="T67" fmla="*/ 14289 h 16095"/>
                <a:gd name="T68" fmla="*/ 122 w 15096"/>
                <a:gd name="T69" fmla="*/ 14775 h 16095"/>
                <a:gd name="T70" fmla="*/ 344 w 15096"/>
                <a:gd name="T71" fmla="*/ 15208 h 16095"/>
                <a:gd name="T72" fmla="*/ 659 w 15096"/>
                <a:gd name="T73" fmla="*/ 15572 h 16095"/>
                <a:gd name="T74" fmla="*/ 1054 w 15096"/>
                <a:gd name="T75" fmla="*/ 15853 h 16095"/>
                <a:gd name="T76" fmla="*/ 1510 w 15096"/>
                <a:gd name="T77" fmla="*/ 16032 h 16095"/>
                <a:gd name="T78" fmla="*/ 2013 w 15096"/>
                <a:gd name="T79" fmla="*/ 16095 h 16095"/>
                <a:gd name="T80" fmla="*/ 13489 w 15096"/>
                <a:gd name="T81" fmla="*/ 16054 h 16095"/>
                <a:gd name="T82" fmla="*/ 13956 w 15096"/>
                <a:gd name="T83" fmla="*/ 15897 h 16095"/>
                <a:gd name="T84" fmla="*/ 14363 w 15096"/>
                <a:gd name="T85" fmla="*/ 15635 h 16095"/>
                <a:gd name="T86" fmla="*/ 14696 w 15096"/>
                <a:gd name="T87" fmla="*/ 15287 h 16095"/>
                <a:gd name="T88" fmla="*/ 14938 w 15096"/>
                <a:gd name="T89" fmla="*/ 14867 h 16095"/>
                <a:gd name="T90" fmla="*/ 15073 w 15096"/>
                <a:gd name="T91" fmla="*/ 14390 h 16095"/>
                <a:gd name="T92" fmla="*/ 15093 w 15096"/>
                <a:gd name="T93" fmla="*/ 1908 h 16095"/>
                <a:gd name="T94" fmla="*/ 15005 w 15096"/>
                <a:gd name="T95" fmla="*/ 1413 h 16095"/>
                <a:gd name="T96" fmla="*/ 14804 w 15096"/>
                <a:gd name="T97" fmla="*/ 969 h 16095"/>
                <a:gd name="T98" fmla="*/ 14506 w 15096"/>
                <a:gd name="T99" fmla="*/ 589 h 16095"/>
                <a:gd name="T100" fmla="*/ 14127 w 15096"/>
                <a:gd name="T101" fmla="*/ 292 h 16095"/>
                <a:gd name="T102" fmla="*/ 13682 w 15096"/>
                <a:gd name="T103" fmla="*/ 91 h 16095"/>
                <a:gd name="T104" fmla="*/ 13187 w 15096"/>
                <a:gd name="T105" fmla="*/ 3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096" h="16095">
                  <a:moveTo>
                    <a:pt x="14090" y="14083"/>
                  </a:moveTo>
                  <a:lnTo>
                    <a:pt x="14089" y="14134"/>
                  </a:lnTo>
                  <a:lnTo>
                    <a:pt x="14085" y="14186"/>
                  </a:lnTo>
                  <a:lnTo>
                    <a:pt x="14079" y="14236"/>
                  </a:lnTo>
                  <a:lnTo>
                    <a:pt x="14069" y="14285"/>
                  </a:lnTo>
                  <a:lnTo>
                    <a:pt x="14058" y="14334"/>
                  </a:lnTo>
                  <a:lnTo>
                    <a:pt x="14044" y="14382"/>
                  </a:lnTo>
                  <a:lnTo>
                    <a:pt x="14028" y="14428"/>
                  </a:lnTo>
                  <a:lnTo>
                    <a:pt x="14010" y="14474"/>
                  </a:lnTo>
                  <a:lnTo>
                    <a:pt x="13990" y="14519"/>
                  </a:lnTo>
                  <a:lnTo>
                    <a:pt x="13968" y="14562"/>
                  </a:lnTo>
                  <a:lnTo>
                    <a:pt x="13944" y="14604"/>
                  </a:lnTo>
                  <a:lnTo>
                    <a:pt x="13918" y="14645"/>
                  </a:lnTo>
                  <a:lnTo>
                    <a:pt x="13889" y="14685"/>
                  </a:lnTo>
                  <a:lnTo>
                    <a:pt x="13859" y="14723"/>
                  </a:lnTo>
                  <a:lnTo>
                    <a:pt x="13828" y="14759"/>
                  </a:lnTo>
                  <a:lnTo>
                    <a:pt x="13795" y="14794"/>
                  </a:lnTo>
                  <a:lnTo>
                    <a:pt x="13760" y="14828"/>
                  </a:lnTo>
                  <a:lnTo>
                    <a:pt x="13723" y="14859"/>
                  </a:lnTo>
                  <a:lnTo>
                    <a:pt x="13685" y="14889"/>
                  </a:lnTo>
                  <a:lnTo>
                    <a:pt x="13646" y="14917"/>
                  </a:lnTo>
                  <a:lnTo>
                    <a:pt x="13605" y="14943"/>
                  </a:lnTo>
                  <a:lnTo>
                    <a:pt x="13562" y="14967"/>
                  </a:lnTo>
                  <a:lnTo>
                    <a:pt x="13519" y="14989"/>
                  </a:lnTo>
                  <a:lnTo>
                    <a:pt x="13475" y="15010"/>
                  </a:lnTo>
                  <a:lnTo>
                    <a:pt x="13428" y="15028"/>
                  </a:lnTo>
                  <a:lnTo>
                    <a:pt x="13382" y="15044"/>
                  </a:lnTo>
                  <a:lnTo>
                    <a:pt x="13335" y="15057"/>
                  </a:lnTo>
                  <a:lnTo>
                    <a:pt x="13285" y="15069"/>
                  </a:lnTo>
                  <a:lnTo>
                    <a:pt x="13236" y="15077"/>
                  </a:lnTo>
                  <a:lnTo>
                    <a:pt x="13186" y="15084"/>
                  </a:lnTo>
                  <a:lnTo>
                    <a:pt x="13135" y="15088"/>
                  </a:lnTo>
                  <a:lnTo>
                    <a:pt x="13083" y="15089"/>
                  </a:lnTo>
                  <a:lnTo>
                    <a:pt x="2013" y="15089"/>
                  </a:lnTo>
                  <a:lnTo>
                    <a:pt x="1961" y="15088"/>
                  </a:lnTo>
                  <a:lnTo>
                    <a:pt x="1910" y="15084"/>
                  </a:lnTo>
                  <a:lnTo>
                    <a:pt x="1860" y="15077"/>
                  </a:lnTo>
                  <a:lnTo>
                    <a:pt x="1811" y="15069"/>
                  </a:lnTo>
                  <a:lnTo>
                    <a:pt x="1761" y="15057"/>
                  </a:lnTo>
                  <a:lnTo>
                    <a:pt x="1714" y="15044"/>
                  </a:lnTo>
                  <a:lnTo>
                    <a:pt x="1667" y="15028"/>
                  </a:lnTo>
                  <a:lnTo>
                    <a:pt x="1621" y="15010"/>
                  </a:lnTo>
                  <a:lnTo>
                    <a:pt x="1577" y="14989"/>
                  </a:lnTo>
                  <a:lnTo>
                    <a:pt x="1534" y="14967"/>
                  </a:lnTo>
                  <a:lnTo>
                    <a:pt x="1491" y="14943"/>
                  </a:lnTo>
                  <a:lnTo>
                    <a:pt x="1450" y="14917"/>
                  </a:lnTo>
                  <a:lnTo>
                    <a:pt x="1411" y="14889"/>
                  </a:lnTo>
                  <a:lnTo>
                    <a:pt x="1373" y="14859"/>
                  </a:lnTo>
                  <a:lnTo>
                    <a:pt x="1336" y="14828"/>
                  </a:lnTo>
                  <a:lnTo>
                    <a:pt x="1301" y="14794"/>
                  </a:lnTo>
                  <a:lnTo>
                    <a:pt x="1268" y="14759"/>
                  </a:lnTo>
                  <a:lnTo>
                    <a:pt x="1237" y="14723"/>
                  </a:lnTo>
                  <a:lnTo>
                    <a:pt x="1207" y="14685"/>
                  </a:lnTo>
                  <a:lnTo>
                    <a:pt x="1178" y="14645"/>
                  </a:lnTo>
                  <a:lnTo>
                    <a:pt x="1152" y="14604"/>
                  </a:lnTo>
                  <a:lnTo>
                    <a:pt x="1128" y="14562"/>
                  </a:lnTo>
                  <a:lnTo>
                    <a:pt x="1106" y="14519"/>
                  </a:lnTo>
                  <a:lnTo>
                    <a:pt x="1086" y="14474"/>
                  </a:lnTo>
                  <a:lnTo>
                    <a:pt x="1068" y="14428"/>
                  </a:lnTo>
                  <a:lnTo>
                    <a:pt x="1052" y="14382"/>
                  </a:lnTo>
                  <a:lnTo>
                    <a:pt x="1039" y="14334"/>
                  </a:lnTo>
                  <a:lnTo>
                    <a:pt x="1027" y="14285"/>
                  </a:lnTo>
                  <a:lnTo>
                    <a:pt x="1018" y="14236"/>
                  </a:lnTo>
                  <a:lnTo>
                    <a:pt x="1011" y="14186"/>
                  </a:lnTo>
                  <a:lnTo>
                    <a:pt x="1007" y="14134"/>
                  </a:lnTo>
                  <a:lnTo>
                    <a:pt x="1006" y="14083"/>
                  </a:lnTo>
                  <a:lnTo>
                    <a:pt x="1006" y="2012"/>
                  </a:lnTo>
                  <a:lnTo>
                    <a:pt x="1007" y="1961"/>
                  </a:lnTo>
                  <a:lnTo>
                    <a:pt x="1011" y="1909"/>
                  </a:lnTo>
                  <a:lnTo>
                    <a:pt x="1018" y="1859"/>
                  </a:lnTo>
                  <a:lnTo>
                    <a:pt x="1027" y="1810"/>
                  </a:lnTo>
                  <a:lnTo>
                    <a:pt x="1039" y="1760"/>
                  </a:lnTo>
                  <a:lnTo>
                    <a:pt x="1052" y="1713"/>
                  </a:lnTo>
                  <a:lnTo>
                    <a:pt x="1068" y="1667"/>
                  </a:lnTo>
                  <a:lnTo>
                    <a:pt x="1086" y="1621"/>
                  </a:lnTo>
                  <a:lnTo>
                    <a:pt x="1106" y="1576"/>
                  </a:lnTo>
                  <a:lnTo>
                    <a:pt x="1128" y="1533"/>
                  </a:lnTo>
                  <a:lnTo>
                    <a:pt x="1152" y="1491"/>
                  </a:lnTo>
                  <a:lnTo>
                    <a:pt x="1178" y="1450"/>
                  </a:lnTo>
                  <a:lnTo>
                    <a:pt x="1207" y="1410"/>
                  </a:lnTo>
                  <a:lnTo>
                    <a:pt x="1237" y="1372"/>
                  </a:lnTo>
                  <a:lnTo>
                    <a:pt x="1268" y="1336"/>
                  </a:lnTo>
                  <a:lnTo>
                    <a:pt x="1301" y="1301"/>
                  </a:lnTo>
                  <a:lnTo>
                    <a:pt x="1336" y="1267"/>
                  </a:lnTo>
                  <a:lnTo>
                    <a:pt x="1373" y="1236"/>
                  </a:lnTo>
                  <a:lnTo>
                    <a:pt x="1411" y="1206"/>
                  </a:lnTo>
                  <a:lnTo>
                    <a:pt x="1450" y="1178"/>
                  </a:lnTo>
                  <a:lnTo>
                    <a:pt x="1491" y="1152"/>
                  </a:lnTo>
                  <a:lnTo>
                    <a:pt x="1534" y="1128"/>
                  </a:lnTo>
                  <a:lnTo>
                    <a:pt x="1577" y="1106"/>
                  </a:lnTo>
                  <a:lnTo>
                    <a:pt x="1621" y="1085"/>
                  </a:lnTo>
                  <a:lnTo>
                    <a:pt x="1667" y="1067"/>
                  </a:lnTo>
                  <a:lnTo>
                    <a:pt x="1714" y="1051"/>
                  </a:lnTo>
                  <a:lnTo>
                    <a:pt x="1761" y="1038"/>
                  </a:lnTo>
                  <a:lnTo>
                    <a:pt x="1811" y="1026"/>
                  </a:lnTo>
                  <a:lnTo>
                    <a:pt x="1860" y="1018"/>
                  </a:lnTo>
                  <a:lnTo>
                    <a:pt x="1910" y="1011"/>
                  </a:lnTo>
                  <a:lnTo>
                    <a:pt x="1961" y="1007"/>
                  </a:lnTo>
                  <a:lnTo>
                    <a:pt x="2013" y="1006"/>
                  </a:lnTo>
                  <a:lnTo>
                    <a:pt x="13083" y="1006"/>
                  </a:lnTo>
                  <a:lnTo>
                    <a:pt x="13135" y="1007"/>
                  </a:lnTo>
                  <a:lnTo>
                    <a:pt x="13186" y="1011"/>
                  </a:lnTo>
                  <a:lnTo>
                    <a:pt x="13236" y="1018"/>
                  </a:lnTo>
                  <a:lnTo>
                    <a:pt x="13285" y="1026"/>
                  </a:lnTo>
                  <a:lnTo>
                    <a:pt x="13335" y="1038"/>
                  </a:lnTo>
                  <a:lnTo>
                    <a:pt x="13382" y="1051"/>
                  </a:lnTo>
                  <a:lnTo>
                    <a:pt x="13428" y="1067"/>
                  </a:lnTo>
                  <a:lnTo>
                    <a:pt x="13475" y="1085"/>
                  </a:lnTo>
                  <a:lnTo>
                    <a:pt x="13519" y="1106"/>
                  </a:lnTo>
                  <a:lnTo>
                    <a:pt x="13562" y="1128"/>
                  </a:lnTo>
                  <a:lnTo>
                    <a:pt x="13605" y="1152"/>
                  </a:lnTo>
                  <a:lnTo>
                    <a:pt x="13646" y="1178"/>
                  </a:lnTo>
                  <a:lnTo>
                    <a:pt x="13685" y="1206"/>
                  </a:lnTo>
                  <a:lnTo>
                    <a:pt x="13723" y="1236"/>
                  </a:lnTo>
                  <a:lnTo>
                    <a:pt x="13760" y="1267"/>
                  </a:lnTo>
                  <a:lnTo>
                    <a:pt x="13795" y="1301"/>
                  </a:lnTo>
                  <a:lnTo>
                    <a:pt x="13828" y="1336"/>
                  </a:lnTo>
                  <a:lnTo>
                    <a:pt x="13859" y="1372"/>
                  </a:lnTo>
                  <a:lnTo>
                    <a:pt x="13889" y="1410"/>
                  </a:lnTo>
                  <a:lnTo>
                    <a:pt x="13918" y="1450"/>
                  </a:lnTo>
                  <a:lnTo>
                    <a:pt x="13944" y="1491"/>
                  </a:lnTo>
                  <a:lnTo>
                    <a:pt x="13968" y="1533"/>
                  </a:lnTo>
                  <a:lnTo>
                    <a:pt x="13990" y="1576"/>
                  </a:lnTo>
                  <a:lnTo>
                    <a:pt x="14010" y="1621"/>
                  </a:lnTo>
                  <a:lnTo>
                    <a:pt x="14028" y="1667"/>
                  </a:lnTo>
                  <a:lnTo>
                    <a:pt x="14044" y="1713"/>
                  </a:lnTo>
                  <a:lnTo>
                    <a:pt x="14058" y="1760"/>
                  </a:lnTo>
                  <a:lnTo>
                    <a:pt x="14069" y="1810"/>
                  </a:lnTo>
                  <a:lnTo>
                    <a:pt x="14079" y="1859"/>
                  </a:lnTo>
                  <a:lnTo>
                    <a:pt x="14085" y="1909"/>
                  </a:lnTo>
                  <a:lnTo>
                    <a:pt x="14089" y="1961"/>
                  </a:lnTo>
                  <a:lnTo>
                    <a:pt x="14090" y="2012"/>
                  </a:lnTo>
                  <a:lnTo>
                    <a:pt x="14090" y="14083"/>
                  </a:lnTo>
                  <a:close/>
                  <a:moveTo>
                    <a:pt x="13083" y="0"/>
                  </a:moveTo>
                  <a:lnTo>
                    <a:pt x="2013" y="0"/>
                  </a:lnTo>
                  <a:lnTo>
                    <a:pt x="1909" y="3"/>
                  </a:lnTo>
                  <a:lnTo>
                    <a:pt x="1806" y="10"/>
                  </a:lnTo>
                  <a:lnTo>
                    <a:pt x="1706" y="23"/>
                  </a:lnTo>
                  <a:lnTo>
                    <a:pt x="1607" y="41"/>
                  </a:lnTo>
                  <a:lnTo>
                    <a:pt x="1510" y="63"/>
                  </a:lnTo>
                  <a:lnTo>
                    <a:pt x="1414" y="91"/>
                  </a:lnTo>
                  <a:lnTo>
                    <a:pt x="1320" y="122"/>
                  </a:lnTo>
                  <a:lnTo>
                    <a:pt x="1229" y="158"/>
                  </a:lnTo>
                  <a:lnTo>
                    <a:pt x="1140" y="198"/>
                  </a:lnTo>
                  <a:lnTo>
                    <a:pt x="1054" y="242"/>
                  </a:lnTo>
                  <a:lnTo>
                    <a:pt x="969" y="292"/>
                  </a:lnTo>
                  <a:lnTo>
                    <a:pt x="888" y="344"/>
                  </a:lnTo>
                  <a:lnTo>
                    <a:pt x="808" y="399"/>
                  </a:lnTo>
                  <a:lnTo>
                    <a:pt x="733" y="460"/>
                  </a:lnTo>
                  <a:lnTo>
                    <a:pt x="659" y="523"/>
                  </a:lnTo>
                  <a:lnTo>
                    <a:pt x="590" y="589"/>
                  </a:lnTo>
                  <a:lnTo>
                    <a:pt x="523" y="659"/>
                  </a:lnTo>
                  <a:lnTo>
                    <a:pt x="460" y="732"/>
                  </a:lnTo>
                  <a:lnTo>
                    <a:pt x="400" y="808"/>
                  </a:lnTo>
                  <a:lnTo>
                    <a:pt x="344" y="887"/>
                  </a:lnTo>
                  <a:lnTo>
                    <a:pt x="292" y="969"/>
                  </a:lnTo>
                  <a:lnTo>
                    <a:pt x="243" y="1053"/>
                  </a:lnTo>
                  <a:lnTo>
                    <a:pt x="198" y="1140"/>
                  </a:lnTo>
                  <a:lnTo>
                    <a:pt x="158" y="1229"/>
                  </a:lnTo>
                  <a:lnTo>
                    <a:pt x="122" y="1320"/>
                  </a:lnTo>
                  <a:lnTo>
                    <a:pt x="91" y="1413"/>
                  </a:lnTo>
                  <a:lnTo>
                    <a:pt x="63" y="1509"/>
                  </a:lnTo>
                  <a:lnTo>
                    <a:pt x="41" y="1606"/>
                  </a:lnTo>
                  <a:lnTo>
                    <a:pt x="23" y="1705"/>
                  </a:lnTo>
                  <a:lnTo>
                    <a:pt x="10" y="1807"/>
                  </a:lnTo>
                  <a:lnTo>
                    <a:pt x="3" y="1908"/>
                  </a:lnTo>
                  <a:lnTo>
                    <a:pt x="0" y="2012"/>
                  </a:lnTo>
                  <a:lnTo>
                    <a:pt x="0" y="14083"/>
                  </a:lnTo>
                  <a:lnTo>
                    <a:pt x="3" y="14187"/>
                  </a:lnTo>
                  <a:lnTo>
                    <a:pt x="10" y="14289"/>
                  </a:lnTo>
                  <a:lnTo>
                    <a:pt x="23" y="14390"/>
                  </a:lnTo>
                  <a:lnTo>
                    <a:pt x="41" y="14489"/>
                  </a:lnTo>
                  <a:lnTo>
                    <a:pt x="63" y="14586"/>
                  </a:lnTo>
                  <a:lnTo>
                    <a:pt x="91" y="14682"/>
                  </a:lnTo>
                  <a:lnTo>
                    <a:pt x="122" y="14775"/>
                  </a:lnTo>
                  <a:lnTo>
                    <a:pt x="158" y="14867"/>
                  </a:lnTo>
                  <a:lnTo>
                    <a:pt x="198" y="14955"/>
                  </a:lnTo>
                  <a:lnTo>
                    <a:pt x="243" y="15042"/>
                  </a:lnTo>
                  <a:lnTo>
                    <a:pt x="292" y="15126"/>
                  </a:lnTo>
                  <a:lnTo>
                    <a:pt x="344" y="15208"/>
                  </a:lnTo>
                  <a:lnTo>
                    <a:pt x="400" y="15287"/>
                  </a:lnTo>
                  <a:lnTo>
                    <a:pt x="460" y="15363"/>
                  </a:lnTo>
                  <a:lnTo>
                    <a:pt x="523" y="15436"/>
                  </a:lnTo>
                  <a:lnTo>
                    <a:pt x="590" y="15506"/>
                  </a:lnTo>
                  <a:lnTo>
                    <a:pt x="659" y="15572"/>
                  </a:lnTo>
                  <a:lnTo>
                    <a:pt x="733" y="15635"/>
                  </a:lnTo>
                  <a:lnTo>
                    <a:pt x="808" y="15696"/>
                  </a:lnTo>
                  <a:lnTo>
                    <a:pt x="888" y="15751"/>
                  </a:lnTo>
                  <a:lnTo>
                    <a:pt x="969" y="15803"/>
                  </a:lnTo>
                  <a:lnTo>
                    <a:pt x="1054" y="15853"/>
                  </a:lnTo>
                  <a:lnTo>
                    <a:pt x="1140" y="15897"/>
                  </a:lnTo>
                  <a:lnTo>
                    <a:pt x="1229" y="15937"/>
                  </a:lnTo>
                  <a:lnTo>
                    <a:pt x="1320" y="15973"/>
                  </a:lnTo>
                  <a:lnTo>
                    <a:pt x="1414" y="16004"/>
                  </a:lnTo>
                  <a:lnTo>
                    <a:pt x="1510" y="16032"/>
                  </a:lnTo>
                  <a:lnTo>
                    <a:pt x="1607" y="16054"/>
                  </a:lnTo>
                  <a:lnTo>
                    <a:pt x="1706" y="16072"/>
                  </a:lnTo>
                  <a:lnTo>
                    <a:pt x="1806" y="16085"/>
                  </a:lnTo>
                  <a:lnTo>
                    <a:pt x="1909" y="16092"/>
                  </a:lnTo>
                  <a:lnTo>
                    <a:pt x="2013" y="16095"/>
                  </a:lnTo>
                  <a:lnTo>
                    <a:pt x="13083" y="16095"/>
                  </a:lnTo>
                  <a:lnTo>
                    <a:pt x="13187" y="16092"/>
                  </a:lnTo>
                  <a:lnTo>
                    <a:pt x="13289" y="16085"/>
                  </a:lnTo>
                  <a:lnTo>
                    <a:pt x="13390" y="16072"/>
                  </a:lnTo>
                  <a:lnTo>
                    <a:pt x="13489" y="16054"/>
                  </a:lnTo>
                  <a:lnTo>
                    <a:pt x="13586" y="16032"/>
                  </a:lnTo>
                  <a:lnTo>
                    <a:pt x="13682" y="16004"/>
                  </a:lnTo>
                  <a:lnTo>
                    <a:pt x="13776" y="15973"/>
                  </a:lnTo>
                  <a:lnTo>
                    <a:pt x="13866" y="15937"/>
                  </a:lnTo>
                  <a:lnTo>
                    <a:pt x="13956" y="15897"/>
                  </a:lnTo>
                  <a:lnTo>
                    <a:pt x="14042" y="15853"/>
                  </a:lnTo>
                  <a:lnTo>
                    <a:pt x="14127" y="15803"/>
                  </a:lnTo>
                  <a:lnTo>
                    <a:pt x="14208" y="15751"/>
                  </a:lnTo>
                  <a:lnTo>
                    <a:pt x="14288" y="15696"/>
                  </a:lnTo>
                  <a:lnTo>
                    <a:pt x="14363" y="15635"/>
                  </a:lnTo>
                  <a:lnTo>
                    <a:pt x="14437" y="15572"/>
                  </a:lnTo>
                  <a:lnTo>
                    <a:pt x="14506" y="15506"/>
                  </a:lnTo>
                  <a:lnTo>
                    <a:pt x="14573" y="15436"/>
                  </a:lnTo>
                  <a:lnTo>
                    <a:pt x="14636" y="15363"/>
                  </a:lnTo>
                  <a:lnTo>
                    <a:pt x="14696" y="15287"/>
                  </a:lnTo>
                  <a:lnTo>
                    <a:pt x="14752" y="15208"/>
                  </a:lnTo>
                  <a:lnTo>
                    <a:pt x="14804" y="15126"/>
                  </a:lnTo>
                  <a:lnTo>
                    <a:pt x="14853" y="15042"/>
                  </a:lnTo>
                  <a:lnTo>
                    <a:pt x="14898" y="14955"/>
                  </a:lnTo>
                  <a:lnTo>
                    <a:pt x="14938" y="14867"/>
                  </a:lnTo>
                  <a:lnTo>
                    <a:pt x="14974" y="14775"/>
                  </a:lnTo>
                  <a:lnTo>
                    <a:pt x="15005" y="14682"/>
                  </a:lnTo>
                  <a:lnTo>
                    <a:pt x="15033" y="14586"/>
                  </a:lnTo>
                  <a:lnTo>
                    <a:pt x="15055" y="14489"/>
                  </a:lnTo>
                  <a:lnTo>
                    <a:pt x="15073" y="14390"/>
                  </a:lnTo>
                  <a:lnTo>
                    <a:pt x="15086" y="14289"/>
                  </a:lnTo>
                  <a:lnTo>
                    <a:pt x="15093" y="14187"/>
                  </a:lnTo>
                  <a:lnTo>
                    <a:pt x="15096" y="14083"/>
                  </a:lnTo>
                  <a:lnTo>
                    <a:pt x="15096" y="2012"/>
                  </a:lnTo>
                  <a:lnTo>
                    <a:pt x="15093" y="1908"/>
                  </a:lnTo>
                  <a:lnTo>
                    <a:pt x="15086" y="1807"/>
                  </a:lnTo>
                  <a:lnTo>
                    <a:pt x="15073" y="1705"/>
                  </a:lnTo>
                  <a:lnTo>
                    <a:pt x="15055" y="1606"/>
                  </a:lnTo>
                  <a:lnTo>
                    <a:pt x="15033" y="1509"/>
                  </a:lnTo>
                  <a:lnTo>
                    <a:pt x="15005" y="1413"/>
                  </a:lnTo>
                  <a:lnTo>
                    <a:pt x="14974" y="1320"/>
                  </a:lnTo>
                  <a:lnTo>
                    <a:pt x="14938" y="1229"/>
                  </a:lnTo>
                  <a:lnTo>
                    <a:pt x="14898" y="1140"/>
                  </a:lnTo>
                  <a:lnTo>
                    <a:pt x="14853" y="1053"/>
                  </a:lnTo>
                  <a:lnTo>
                    <a:pt x="14804" y="969"/>
                  </a:lnTo>
                  <a:lnTo>
                    <a:pt x="14752" y="887"/>
                  </a:lnTo>
                  <a:lnTo>
                    <a:pt x="14696" y="808"/>
                  </a:lnTo>
                  <a:lnTo>
                    <a:pt x="14636" y="732"/>
                  </a:lnTo>
                  <a:lnTo>
                    <a:pt x="14573" y="659"/>
                  </a:lnTo>
                  <a:lnTo>
                    <a:pt x="14506" y="589"/>
                  </a:lnTo>
                  <a:lnTo>
                    <a:pt x="14437" y="523"/>
                  </a:lnTo>
                  <a:lnTo>
                    <a:pt x="14363" y="460"/>
                  </a:lnTo>
                  <a:lnTo>
                    <a:pt x="14288" y="399"/>
                  </a:lnTo>
                  <a:lnTo>
                    <a:pt x="14208" y="344"/>
                  </a:lnTo>
                  <a:lnTo>
                    <a:pt x="14127" y="292"/>
                  </a:lnTo>
                  <a:lnTo>
                    <a:pt x="14042" y="242"/>
                  </a:lnTo>
                  <a:lnTo>
                    <a:pt x="13956" y="198"/>
                  </a:lnTo>
                  <a:lnTo>
                    <a:pt x="13866" y="158"/>
                  </a:lnTo>
                  <a:lnTo>
                    <a:pt x="13776" y="122"/>
                  </a:lnTo>
                  <a:lnTo>
                    <a:pt x="13682" y="91"/>
                  </a:lnTo>
                  <a:lnTo>
                    <a:pt x="13586" y="63"/>
                  </a:lnTo>
                  <a:lnTo>
                    <a:pt x="13489" y="41"/>
                  </a:lnTo>
                  <a:lnTo>
                    <a:pt x="13390" y="23"/>
                  </a:lnTo>
                  <a:lnTo>
                    <a:pt x="13289" y="10"/>
                  </a:lnTo>
                  <a:lnTo>
                    <a:pt x="13187" y="3"/>
                  </a:lnTo>
                  <a:lnTo>
                    <a:pt x="1308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28" name="išļíďé">
              <a:extLst>
                <a:ext uri="{FF2B5EF4-FFF2-40B4-BE49-F238E27FC236}">
                  <a16:creationId xmlns:a16="http://schemas.microsoft.com/office/drawing/2014/main" id="{77A493EA-8635-4CEB-9A91-BDA31E42B676}"/>
                </a:ext>
              </a:extLst>
            </p:cNvPr>
            <p:cNvSpPr/>
            <p:nvPr/>
          </p:nvSpPr>
          <p:spPr bwMode="auto">
            <a:xfrm>
              <a:off x="7339114" y="748400"/>
              <a:ext cx="274706" cy="249066"/>
            </a:xfrm>
            <a:custGeom>
              <a:avLst/>
              <a:gdLst>
                <a:gd name="T0" fmla="*/ 10567 w 11070"/>
                <a:gd name="T1" fmla="*/ 8239 h 10059"/>
                <a:gd name="T2" fmla="*/ 2516 w 11070"/>
                <a:gd name="T3" fmla="*/ 3018 h 10059"/>
                <a:gd name="T4" fmla="*/ 503 w 11070"/>
                <a:gd name="T5" fmla="*/ 9556 h 10059"/>
                <a:gd name="T6" fmla="*/ 8932 w 11070"/>
                <a:gd name="T7" fmla="*/ 5703 h 10059"/>
                <a:gd name="T8" fmla="*/ 8852 w 11070"/>
                <a:gd name="T9" fmla="*/ 5630 h 10059"/>
                <a:gd name="T10" fmla="*/ 8762 w 11070"/>
                <a:gd name="T11" fmla="*/ 5577 h 10059"/>
                <a:gd name="T12" fmla="*/ 8661 w 11070"/>
                <a:gd name="T13" fmla="*/ 5544 h 10059"/>
                <a:gd name="T14" fmla="*/ 8554 w 11070"/>
                <a:gd name="T15" fmla="*/ 5533 h 10059"/>
                <a:gd name="T16" fmla="*/ 8448 w 11070"/>
                <a:gd name="T17" fmla="*/ 5544 h 10059"/>
                <a:gd name="T18" fmla="*/ 8347 w 11070"/>
                <a:gd name="T19" fmla="*/ 5577 h 10059"/>
                <a:gd name="T20" fmla="*/ 8256 w 11070"/>
                <a:gd name="T21" fmla="*/ 5630 h 10059"/>
                <a:gd name="T22" fmla="*/ 8177 w 11070"/>
                <a:gd name="T23" fmla="*/ 5703 h 10059"/>
                <a:gd name="T24" fmla="*/ 2856 w 11070"/>
                <a:gd name="T25" fmla="*/ 2646 h 10059"/>
                <a:gd name="T26" fmla="*/ 2769 w 11070"/>
                <a:gd name="T27" fmla="*/ 2583 h 10059"/>
                <a:gd name="T28" fmla="*/ 2674 w 11070"/>
                <a:gd name="T29" fmla="*/ 2540 h 10059"/>
                <a:gd name="T30" fmla="*/ 2570 w 11070"/>
                <a:gd name="T31" fmla="*/ 2518 h 10059"/>
                <a:gd name="T32" fmla="*/ 2462 w 11070"/>
                <a:gd name="T33" fmla="*/ 2518 h 10059"/>
                <a:gd name="T34" fmla="*/ 2358 w 11070"/>
                <a:gd name="T35" fmla="*/ 2540 h 10059"/>
                <a:gd name="T36" fmla="*/ 2262 w 11070"/>
                <a:gd name="T37" fmla="*/ 2583 h 10059"/>
                <a:gd name="T38" fmla="*/ 2177 w 11070"/>
                <a:gd name="T39" fmla="*/ 2646 h 10059"/>
                <a:gd name="T40" fmla="*/ 503 w 11070"/>
                <a:gd name="T41" fmla="*/ 503 h 10059"/>
                <a:gd name="T42" fmla="*/ 477 w 11070"/>
                <a:gd name="T43" fmla="*/ 1 h 10059"/>
                <a:gd name="T44" fmla="*/ 377 w 11070"/>
                <a:gd name="T45" fmla="*/ 16 h 10059"/>
                <a:gd name="T46" fmla="*/ 285 w 11070"/>
                <a:gd name="T47" fmla="*/ 49 h 10059"/>
                <a:gd name="T48" fmla="*/ 202 w 11070"/>
                <a:gd name="T49" fmla="*/ 99 h 10059"/>
                <a:gd name="T50" fmla="*/ 131 w 11070"/>
                <a:gd name="T51" fmla="*/ 165 h 10059"/>
                <a:gd name="T52" fmla="*/ 72 w 11070"/>
                <a:gd name="T53" fmla="*/ 242 h 10059"/>
                <a:gd name="T54" fmla="*/ 30 w 11070"/>
                <a:gd name="T55" fmla="*/ 330 h 10059"/>
                <a:gd name="T56" fmla="*/ 6 w 11070"/>
                <a:gd name="T57" fmla="*/ 426 h 10059"/>
                <a:gd name="T58" fmla="*/ 0 w 11070"/>
                <a:gd name="T59" fmla="*/ 9556 h 10059"/>
                <a:gd name="T60" fmla="*/ 10 w 11070"/>
                <a:gd name="T61" fmla="*/ 9658 h 10059"/>
                <a:gd name="T62" fmla="*/ 39 w 11070"/>
                <a:gd name="T63" fmla="*/ 9752 h 10059"/>
                <a:gd name="T64" fmla="*/ 85 w 11070"/>
                <a:gd name="T65" fmla="*/ 9838 h 10059"/>
                <a:gd name="T66" fmla="*/ 147 w 11070"/>
                <a:gd name="T67" fmla="*/ 9912 h 10059"/>
                <a:gd name="T68" fmla="*/ 221 w 11070"/>
                <a:gd name="T69" fmla="*/ 9974 h 10059"/>
                <a:gd name="T70" fmla="*/ 307 w 11070"/>
                <a:gd name="T71" fmla="*/ 10020 h 10059"/>
                <a:gd name="T72" fmla="*/ 401 w 11070"/>
                <a:gd name="T73" fmla="*/ 10049 h 10059"/>
                <a:gd name="T74" fmla="*/ 503 w 11070"/>
                <a:gd name="T75" fmla="*/ 10059 h 10059"/>
                <a:gd name="T76" fmla="*/ 10643 w 11070"/>
                <a:gd name="T77" fmla="*/ 10053 h 10059"/>
                <a:gd name="T78" fmla="*/ 10740 w 11070"/>
                <a:gd name="T79" fmla="*/ 10029 h 10059"/>
                <a:gd name="T80" fmla="*/ 10829 w 11070"/>
                <a:gd name="T81" fmla="*/ 9987 h 10059"/>
                <a:gd name="T82" fmla="*/ 10905 w 11070"/>
                <a:gd name="T83" fmla="*/ 9928 h 10059"/>
                <a:gd name="T84" fmla="*/ 10971 w 11070"/>
                <a:gd name="T85" fmla="*/ 9857 h 10059"/>
                <a:gd name="T86" fmla="*/ 11021 w 11070"/>
                <a:gd name="T87" fmla="*/ 9775 h 10059"/>
                <a:gd name="T88" fmla="*/ 11054 w 11070"/>
                <a:gd name="T89" fmla="*/ 9682 h 10059"/>
                <a:gd name="T90" fmla="*/ 11069 w 11070"/>
                <a:gd name="T91" fmla="*/ 9582 h 10059"/>
                <a:gd name="T92" fmla="*/ 11068 w 11070"/>
                <a:gd name="T93" fmla="*/ 452 h 10059"/>
                <a:gd name="T94" fmla="*/ 11048 w 11070"/>
                <a:gd name="T95" fmla="*/ 353 h 10059"/>
                <a:gd name="T96" fmla="*/ 11010 w 11070"/>
                <a:gd name="T97" fmla="*/ 263 h 10059"/>
                <a:gd name="T98" fmla="*/ 10955 w 11070"/>
                <a:gd name="T99" fmla="*/ 183 h 10059"/>
                <a:gd name="T100" fmla="*/ 10887 w 11070"/>
                <a:gd name="T101" fmla="*/ 115 h 10059"/>
                <a:gd name="T102" fmla="*/ 10808 w 11070"/>
                <a:gd name="T103" fmla="*/ 60 h 10059"/>
                <a:gd name="T104" fmla="*/ 10717 w 11070"/>
                <a:gd name="T105" fmla="*/ 22 h 10059"/>
                <a:gd name="T106" fmla="*/ 10618 w 11070"/>
                <a:gd name="T107" fmla="*/ 3 h 10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070" h="10059">
                  <a:moveTo>
                    <a:pt x="8928" y="9556"/>
                  </a:moveTo>
                  <a:lnTo>
                    <a:pt x="7203" y="7568"/>
                  </a:lnTo>
                  <a:lnTo>
                    <a:pt x="8554" y="6036"/>
                  </a:lnTo>
                  <a:lnTo>
                    <a:pt x="10567" y="8239"/>
                  </a:lnTo>
                  <a:lnTo>
                    <a:pt x="10567" y="9556"/>
                  </a:lnTo>
                  <a:lnTo>
                    <a:pt x="8928" y="9556"/>
                  </a:lnTo>
                  <a:close/>
                  <a:moveTo>
                    <a:pt x="503" y="5330"/>
                  </a:moveTo>
                  <a:lnTo>
                    <a:pt x="2516" y="3018"/>
                  </a:lnTo>
                  <a:lnTo>
                    <a:pt x="6575" y="7616"/>
                  </a:lnTo>
                  <a:lnTo>
                    <a:pt x="6866" y="7948"/>
                  </a:lnTo>
                  <a:lnTo>
                    <a:pt x="8256" y="9556"/>
                  </a:lnTo>
                  <a:lnTo>
                    <a:pt x="503" y="9556"/>
                  </a:lnTo>
                  <a:lnTo>
                    <a:pt x="503" y="5330"/>
                  </a:lnTo>
                  <a:close/>
                  <a:moveTo>
                    <a:pt x="10567" y="503"/>
                  </a:moveTo>
                  <a:lnTo>
                    <a:pt x="10567" y="7479"/>
                  </a:lnTo>
                  <a:lnTo>
                    <a:pt x="8932" y="5703"/>
                  </a:lnTo>
                  <a:lnTo>
                    <a:pt x="8913" y="5682"/>
                  </a:lnTo>
                  <a:lnTo>
                    <a:pt x="8894" y="5664"/>
                  </a:lnTo>
                  <a:lnTo>
                    <a:pt x="8873" y="5647"/>
                  </a:lnTo>
                  <a:lnTo>
                    <a:pt x="8852" y="5630"/>
                  </a:lnTo>
                  <a:lnTo>
                    <a:pt x="8831" y="5615"/>
                  </a:lnTo>
                  <a:lnTo>
                    <a:pt x="8808" y="5601"/>
                  </a:lnTo>
                  <a:lnTo>
                    <a:pt x="8785" y="5589"/>
                  </a:lnTo>
                  <a:lnTo>
                    <a:pt x="8762" y="5577"/>
                  </a:lnTo>
                  <a:lnTo>
                    <a:pt x="8736" y="5567"/>
                  </a:lnTo>
                  <a:lnTo>
                    <a:pt x="8712" y="5558"/>
                  </a:lnTo>
                  <a:lnTo>
                    <a:pt x="8686" y="5551"/>
                  </a:lnTo>
                  <a:lnTo>
                    <a:pt x="8661" y="5544"/>
                  </a:lnTo>
                  <a:lnTo>
                    <a:pt x="8635" y="5539"/>
                  </a:lnTo>
                  <a:lnTo>
                    <a:pt x="8608" y="5536"/>
                  </a:lnTo>
                  <a:lnTo>
                    <a:pt x="8581" y="5534"/>
                  </a:lnTo>
                  <a:lnTo>
                    <a:pt x="8554" y="5533"/>
                  </a:lnTo>
                  <a:lnTo>
                    <a:pt x="8527" y="5534"/>
                  </a:lnTo>
                  <a:lnTo>
                    <a:pt x="8501" y="5536"/>
                  </a:lnTo>
                  <a:lnTo>
                    <a:pt x="8474" y="5539"/>
                  </a:lnTo>
                  <a:lnTo>
                    <a:pt x="8448" y="5544"/>
                  </a:lnTo>
                  <a:lnTo>
                    <a:pt x="8422" y="5551"/>
                  </a:lnTo>
                  <a:lnTo>
                    <a:pt x="8396" y="5558"/>
                  </a:lnTo>
                  <a:lnTo>
                    <a:pt x="8372" y="5567"/>
                  </a:lnTo>
                  <a:lnTo>
                    <a:pt x="8347" y="5577"/>
                  </a:lnTo>
                  <a:lnTo>
                    <a:pt x="8324" y="5589"/>
                  </a:lnTo>
                  <a:lnTo>
                    <a:pt x="8301" y="5601"/>
                  </a:lnTo>
                  <a:lnTo>
                    <a:pt x="8277" y="5615"/>
                  </a:lnTo>
                  <a:lnTo>
                    <a:pt x="8256" y="5630"/>
                  </a:lnTo>
                  <a:lnTo>
                    <a:pt x="8235" y="5647"/>
                  </a:lnTo>
                  <a:lnTo>
                    <a:pt x="8215" y="5664"/>
                  </a:lnTo>
                  <a:lnTo>
                    <a:pt x="8195" y="5682"/>
                  </a:lnTo>
                  <a:lnTo>
                    <a:pt x="8177" y="5703"/>
                  </a:lnTo>
                  <a:lnTo>
                    <a:pt x="6867" y="7187"/>
                  </a:lnTo>
                  <a:lnTo>
                    <a:pt x="2893" y="2685"/>
                  </a:lnTo>
                  <a:lnTo>
                    <a:pt x="2875" y="2665"/>
                  </a:lnTo>
                  <a:lnTo>
                    <a:pt x="2856" y="2646"/>
                  </a:lnTo>
                  <a:lnTo>
                    <a:pt x="2835" y="2629"/>
                  </a:lnTo>
                  <a:lnTo>
                    <a:pt x="2814" y="2612"/>
                  </a:lnTo>
                  <a:lnTo>
                    <a:pt x="2793" y="2597"/>
                  </a:lnTo>
                  <a:lnTo>
                    <a:pt x="2769" y="2583"/>
                  </a:lnTo>
                  <a:lnTo>
                    <a:pt x="2746" y="2571"/>
                  </a:lnTo>
                  <a:lnTo>
                    <a:pt x="2723" y="2559"/>
                  </a:lnTo>
                  <a:lnTo>
                    <a:pt x="2698" y="2549"/>
                  </a:lnTo>
                  <a:lnTo>
                    <a:pt x="2674" y="2540"/>
                  </a:lnTo>
                  <a:lnTo>
                    <a:pt x="2648" y="2533"/>
                  </a:lnTo>
                  <a:lnTo>
                    <a:pt x="2622" y="2526"/>
                  </a:lnTo>
                  <a:lnTo>
                    <a:pt x="2596" y="2521"/>
                  </a:lnTo>
                  <a:lnTo>
                    <a:pt x="2570" y="2518"/>
                  </a:lnTo>
                  <a:lnTo>
                    <a:pt x="2543" y="2516"/>
                  </a:lnTo>
                  <a:lnTo>
                    <a:pt x="2516" y="2515"/>
                  </a:lnTo>
                  <a:lnTo>
                    <a:pt x="2489" y="2516"/>
                  </a:lnTo>
                  <a:lnTo>
                    <a:pt x="2462" y="2518"/>
                  </a:lnTo>
                  <a:lnTo>
                    <a:pt x="2435" y="2521"/>
                  </a:lnTo>
                  <a:lnTo>
                    <a:pt x="2409" y="2526"/>
                  </a:lnTo>
                  <a:lnTo>
                    <a:pt x="2384" y="2533"/>
                  </a:lnTo>
                  <a:lnTo>
                    <a:pt x="2358" y="2540"/>
                  </a:lnTo>
                  <a:lnTo>
                    <a:pt x="2334" y="2549"/>
                  </a:lnTo>
                  <a:lnTo>
                    <a:pt x="2308" y="2559"/>
                  </a:lnTo>
                  <a:lnTo>
                    <a:pt x="2285" y="2571"/>
                  </a:lnTo>
                  <a:lnTo>
                    <a:pt x="2262" y="2583"/>
                  </a:lnTo>
                  <a:lnTo>
                    <a:pt x="2239" y="2597"/>
                  </a:lnTo>
                  <a:lnTo>
                    <a:pt x="2218" y="2612"/>
                  </a:lnTo>
                  <a:lnTo>
                    <a:pt x="2197" y="2629"/>
                  </a:lnTo>
                  <a:lnTo>
                    <a:pt x="2177" y="2646"/>
                  </a:lnTo>
                  <a:lnTo>
                    <a:pt x="2157" y="2665"/>
                  </a:lnTo>
                  <a:lnTo>
                    <a:pt x="2138" y="2685"/>
                  </a:lnTo>
                  <a:lnTo>
                    <a:pt x="503" y="4570"/>
                  </a:lnTo>
                  <a:lnTo>
                    <a:pt x="503" y="503"/>
                  </a:lnTo>
                  <a:lnTo>
                    <a:pt x="10567" y="503"/>
                  </a:lnTo>
                  <a:close/>
                  <a:moveTo>
                    <a:pt x="10567" y="0"/>
                  </a:moveTo>
                  <a:lnTo>
                    <a:pt x="503" y="0"/>
                  </a:lnTo>
                  <a:lnTo>
                    <a:pt x="477" y="1"/>
                  </a:lnTo>
                  <a:lnTo>
                    <a:pt x="452" y="3"/>
                  </a:lnTo>
                  <a:lnTo>
                    <a:pt x="427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99" y="202"/>
                  </a:lnTo>
                  <a:lnTo>
                    <a:pt x="85" y="221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3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0" y="9556"/>
                  </a:lnTo>
                  <a:lnTo>
                    <a:pt x="1" y="9582"/>
                  </a:lnTo>
                  <a:lnTo>
                    <a:pt x="3" y="9608"/>
                  </a:lnTo>
                  <a:lnTo>
                    <a:pt x="6" y="9633"/>
                  </a:lnTo>
                  <a:lnTo>
                    <a:pt x="10" y="9658"/>
                  </a:lnTo>
                  <a:lnTo>
                    <a:pt x="16" y="9682"/>
                  </a:lnTo>
                  <a:lnTo>
                    <a:pt x="23" y="9706"/>
                  </a:lnTo>
                  <a:lnTo>
                    <a:pt x="30" y="9729"/>
                  </a:lnTo>
                  <a:lnTo>
                    <a:pt x="39" y="9752"/>
                  </a:lnTo>
                  <a:lnTo>
                    <a:pt x="49" y="9775"/>
                  </a:lnTo>
                  <a:lnTo>
                    <a:pt x="60" y="9797"/>
                  </a:lnTo>
                  <a:lnTo>
                    <a:pt x="72" y="9817"/>
                  </a:lnTo>
                  <a:lnTo>
                    <a:pt x="85" y="9838"/>
                  </a:lnTo>
                  <a:lnTo>
                    <a:pt x="99" y="9857"/>
                  </a:lnTo>
                  <a:lnTo>
                    <a:pt x="115" y="9876"/>
                  </a:lnTo>
                  <a:lnTo>
                    <a:pt x="131" y="9894"/>
                  </a:lnTo>
                  <a:lnTo>
                    <a:pt x="147" y="9912"/>
                  </a:lnTo>
                  <a:lnTo>
                    <a:pt x="165" y="9928"/>
                  </a:lnTo>
                  <a:lnTo>
                    <a:pt x="183" y="9945"/>
                  </a:lnTo>
                  <a:lnTo>
                    <a:pt x="202" y="9960"/>
                  </a:lnTo>
                  <a:lnTo>
                    <a:pt x="221" y="9974"/>
                  </a:lnTo>
                  <a:lnTo>
                    <a:pt x="242" y="9987"/>
                  </a:lnTo>
                  <a:lnTo>
                    <a:pt x="263" y="9999"/>
                  </a:lnTo>
                  <a:lnTo>
                    <a:pt x="285" y="10010"/>
                  </a:lnTo>
                  <a:lnTo>
                    <a:pt x="307" y="10020"/>
                  </a:lnTo>
                  <a:lnTo>
                    <a:pt x="330" y="10029"/>
                  </a:lnTo>
                  <a:lnTo>
                    <a:pt x="353" y="10037"/>
                  </a:lnTo>
                  <a:lnTo>
                    <a:pt x="377" y="10043"/>
                  </a:lnTo>
                  <a:lnTo>
                    <a:pt x="401" y="10049"/>
                  </a:lnTo>
                  <a:lnTo>
                    <a:pt x="427" y="10053"/>
                  </a:lnTo>
                  <a:lnTo>
                    <a:pt x="452" y="10056"/>
                  </a:lnTo>
                  <a:lnTo>
                    <a:pt x="477" y="10058"/>
                  </a:lnTo>
                  <a:lnTo>
                    <a:pt x="503" y="10059"/>
                  </a:lnTo>
                  <a:lnTo>
                    <a:pt x="10567" y="10059"/>
                  </a:lnTo>
                  <a:lnTo>
                    <a:pt x="10593" y="10058"/>
                  </a:lnTo>
                  <a:lnTo>
                    <a:pt x="10618" y="10056"/>
                  </a:lnTo>
                  <a:lnTo>
                    <a:pt x="10643" y="10053"/>
                  </a:lnTo>
                  <a:lnTo>
                    <a:pt x="10669" y="10049"/>
                  </a:lnTo>
                  <a:lnTo>
                    <a:pt x="10693" y="10043"/>
                  </a:lnTo>
                  <a:lnTo>
                    <a:pt x="10717" y="10037"/>
                  </a:lnTo>
                  <a:lnTo>
                    <a:pt x="10740" y="10029"/>
                  </a:lnTo>
                  <a:lnTo>
                    <a:pt x="10763" y="10020"/>
                  </a:lnTo>
                  <a:lnTo>
                    <a:pt x="10785" y="10010"/>
                  </a:lnTo>
                  <a:lnTo>
                    <a:pt x="10808" y="9999"/>
                  </a:lnTo>
                  <a:lnTo>
                    <a:pt x="10829" y="9987"/>
                  </a:lnTo>
                  <a:lnTo>
                    <a:pt x="10849" y="9974"/>
                  </a:lnTo>
                  <a:lnTo>
                    <a:pt x="10868" y="9960"/>
                  </a:lnTo>
                  <a:lnTo>
                    <a:pt x="10887" y="9945"/>
                  </a:lnTo>
                  <a:lnTo>
                    <a:pt x="10905" y="9928"/>
                  </a:lnTo>
                  <a:lnTo>
                    <a:pt x="10923" y="9912"/>
                  </a:lnTo>
                  <a:lnTo>
                    <a:pt x="10939" y="9894"/>
                  </a:lnTo>
                  <a:lnTo>
                    <a:pt x="10955" y="9876"/>
                  </a:lnTo>
                  <a:lnTo>
                    <a:pt x="10971" y="9857"/>
                  </a:lnTo>
                  <a:lnTo>
                    <a:pt x="10985" y="9838"/>
                  </a:lnTo>
                  <a:lnTo>
                    <a:pt x="10998" y="9817"/>
                  </a:lnTo>
                  <a:lnTo>
                    <a:pt x="11010" y="9797"/>
                  </a:lnTo>
                  <a:lnTo>
                    <a:pt x="11021" y="9775"/>
                  </a:lnTo>
                  <a:lnTo>
                    <a:pt x="11031" y="9752"/>
                  </a:lnTo>
                  <a:lnTo>
                    <a:pt x="11040" y="9729"/>
                  </a:lnTo>
                  <a:lnTo>
                    <a:pt x="11048" y="9706"/>
                  </a:lnTo>
                  <a:lnTo>
                    <a:pt x="11054" y="9682"/>
                  </a:lnTo>
                  <a:lnTo>
                    <a:pt x="11060" y="9658"/>
                  </a:lnTo>
                  <a:lnTo>
                    <a:pt x="11064" y="9633"/>
                  </a:lnTo>
                  <a:lnTo>
                    <a:pt x="11068" y="9608"/>
                  </a:lnTo>
                  <a:lnTo>
                    <a:pt x="11069" y="9582"/>
                  </a:lnTo>
                  <a:lnTo>
                    <a:pt x="11070" y="9556"/>
                  </a:lnTo>
                  <a:lnTo>
                    <a:pt x="11070" y="503"/>
                  </a:lnTo>
                  <a:lnTo>
                    <a:pt x="11069" y="477"/>
                  </a:lnTo>
                  <a:lnTo>
                    <a:pt x="11068" y="452"/>
                  </a:lnTo>
                  <a:lnTo>
                    <a:pt x="11064" y="426"/>
                  </a:lnTo>
                  <a:lnTo>
                    <a:pt x="11060" y="401"/>
                  </a:lnTo>
                  <a:lnTo>
                    <a:pt x="11054" y="377"/>
                  </a:lnTo>
                  <a:lnTo>
                    <a:pt x="11048" y="353"/>
                  </a:lnTo>
                  <a:lnTo>
                    <a:pt x="11040" y="330"/>
                  </a:lnTo>
                  <a:lnTo>
                    <a:pt x="11031" y="307"/>
                  </a:lnTo>
                  <a:lnTo>
                    <a:pt x="11021" y="285"/>
                  </a:lnTo>
                  <a:lnTo>
                    <a:pt x="11010" y="263"/>
                  </a:lnTo>
                  <a:lnTo>
                    <a:pt x="10998" y="242"/>
                  </a:lnTo>
                  <a:lnTo>
                    <a:pt x="10985" y="221"/>
                  </a:lnTo>
                  <a:lnTo>
                    <a:pt x="10971" y="202"/>
                  </a:lnTo>
                  <a:lnTo>
                    <a:pt x="10955" y="183"/>
                  </a:lnTo>
                  <a:lnTo>
                    <a:pt x="10939" y="165"/>
                  </a:lnTo>
                  <a:lnTo>
                    <a:pt x="10923" y="147"/>
                  </a:lnTo>
                  <a:lnTo>
                    <a:pt x="10905" y="131"/>
                  </a:lnTo>
                  <a:lnTo>
                    <a:pt x="10887" y="115"/>
                  </a:lnTo>
                  <a:lnTo>
                    <a:pt x="10868" y="99"/>
                  </a:lnTo>
                  <a:lnTo>
                    <a:pt x="10849" y="85"/>
                  </a:lnTo>
                  <a:lnTo>
                    <a:pt x="10829" y="72"/>
                  </a:lnTo>
                  <a:lnTo>
                    <a:pt x="10808" y="60"/>
                  </a:lnTo>
                  <a:lnTo>
                    <a:pt x="10785" y="49"/>
                  </a:lnTo>
                  <a:lnTo>
                    <a:pt x="10763" y="39"/>
                  </a:lnTo>
                  <a:lnTo>
                    <a:pt x="10740" y="30"/>
                  </a:lnTo>
                  <a:lnTo>
                    <a:pt x="10717" y="22"/>
                  </a:lnTo>
                  <a:lnTo>
                    <a:pt x="10693" y="16"/>
                  </a:lnTo>
                  <a:lnTo>
                    <a:pt x="10669" y="10"/>
                  </a:lnTo>
                  <a:lnTo>
                    <a:pt x="10643" y="6"/>
                  </a:lnTo>
                  <a:lnTo>
                    <a:pt x="10618" y="3"/>
                  </a:lnTo>
                  <a:lnTo>
                    <a:pt x="10593" y="1"/>
                  </a:lnTo>
                  <a:lnTo>
                    <a:pt x="105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29" name="ïşľîḍe">
              <a:extLst>
                <a:ext uri="{FF2B5EF4-FFF2-40B4-BE49-F238E27FC236}">
                  <a16:creationId xmlns:a16="http://schemas.microsoft.com/office/drawing/2014/main" id="{B10A5255-A4DE-41B8-A1B5-A7E4DA3441D0}"/>
                </a:ext>
              </a:extLst>
            </p:cNvPr>
            <p:cNvSpPr/>
            <p:nvPr/>
          </p:nvSpPr>
          <p:spPr bwMode="auto">
            <a:xfrm>
              <a:off x="7489287" y="785943"/>
              <a:ext cx="74171" cy="75086"/>
            </a:xfrm>
            <a:custGeom>
              <a:avLst/>
              <a:gdLst>
                <a:gd name="T0" fmla="*/ 1712 w 3019"/>
                <a:gd name="T1" fmla="*/ 523 h 3018"/>
                <a:gd name="T2" fmla="*/ 1946 w 3019"/>
                <a:gd name="T3" fmla="*/ 602 h 3018"/>
                <a:gd name="T4" fmla="*/ 2150 w 3019"/>
                <a:gd name="T5" fmla="*/ 732 h 3018"/>
                <a:gd name="T6" fmla="*/ 2316 w 3019"/>
                <a:gd name="T7" fmla="*/ 907 h 3018"/>
                <a:gd name="T8" fmla="*/ 2437 w 3019"/>
                <a:gd name="T9" fmla="*/ 1117 h 3018"/>
                <a:gd name="T10" fmla="*/ 2504 w 3019"/>
                <a:gd name="T11" fmla="*/ 1356 h 3018"/>
                <a:gd name="T12" fmla="*/ 2511 w 3019"/>
                <a:gd name="T13" fmla="*/ 1611 h 3018"/>
                <a:gd name="T14" fmla="*/ 2455 w 3019"/>
                <a:gd name="T15" fmla="*/ 1854 h 3018"/>
                <a:gd name="T16" fmla="*/ 2344 w 3019"/>
                <a:gd name="T17" fmla="*/ 2071 h 3018"/>
                <a:gd name="T18" fmla="*/ 2186 w 3019"/>
                <a:gd name="T19" fmla="*/ 2253 h 3018"/>
                <a:gd name="T20" fmla="*/ 1989 w 3019"/>
                <a:gd name="T21" fmla="*/ 2393 h 3018"/>
                <a:gd name="T22" fmla="*/ 1761 w 3019"/>
                <a:gd name="T23" fmla="*/ 2482 h 3018"/>
                <a:gd name="T24" fmla="*/ 1510 w 3019"/>
                <a:gd name="T25" fmla="*/ 2515 h 3018"/>
                <a:gd name="T26" fmla="*/ 1258 w 3019"/>
                <a:gd name="T27" fmla="*/ 2482 h 3018"/>
                <a:gd name="T28" fmla="*/ 1031 w 3019"/>
                <a:gd name="T29" fmla="*/ 2393 h 3018"/>
                <a:gd name="T30" fmla="*/ 833 w 3019"/>
                <a:gd name="T31" fmla="*/ 2253 h 3018"/>
                <a:gd name="T32" fmla="*/ 675 w 3019"/>
                <a:gd name="T33" fmla="*/ 2071 h 3018"/>
                <a:gd name="T34" fmla="*/ 565 w 3019"/>
                <a:gd name="T35" fmla="*/ 1854 h 3018"/>
                <a:gd name="T36" fmla="*/ 508 w 3019"/>
                <a:gd name="T37" fmla="*/ 1611 h 3018"/>
                <a:gd name="T38" fmla="*/ 514 w 3019"/>
                <a:gd name="T39" fmla="*/ 1356 h 3018"/>
                <a:gd name="T40" fmla="*/ 583 w 3019"/>
                <a:gd name="T41" fmla="*/ 1117 h 3018"/>
                <a:gd name="T42" fmla="*/ 704 w 3019"/>
                <a:gd name="T43" fmla="*/ 907 h 3018"/>
                <a:gd name="T44" fmla="*/ 870 w 3019"/>
                <a:gd name="T45" fmla="*/ 732 h 3018"/>
                <a:gd name="T46" fmla="*/ 1074 w 3019"/>
                <a:gd name="T47" fmla="*/ 602 h 3018"/>
                <a:gd name="T48" fmla="*/ 1308 w 3019"/>
                <a:gd name="T49" fmla="*/ 523 h 3018"/>
                <a:gd name="T50" fmla="*/ 1510 w 3019"/>
                <a:gd name="T51" fmla="*/ 3018 h 3018"/>
                <a:gd name="T52" fmla="*/ 1887 w 3019"/>
                <a:gd name="T53" fmla="*/ 2969 h 3018"/>
                <a:gd name="T54" fmla="*/ 2229 w 3019"/>
                <a:gd name="T55" fmla="*/ 2836 h 3018"/>
                <a:gd name="T56" fmla="*/ 2525 w 3019"/>
                <a:gd name="T57" fmla="*/ 2625 h 3018"/>
                <a:gd name="T58" fmla="*/ 2762 w 3019"/>
                <a:gd name="T59" fmla="*/ 2352 h 3018"/>
                <a:gd name="T60" fmla="*/ 2928 w 3019"/>
                <a:gd name="T61" fmla="*/ 2028 h 3018"/>
                <a:gd name="T62" fmla="*/ 3011 w 3019"/>
                <a:gd name="T63" fmla="*/ 1663 h 3018"/>
                <a:gd name="T64" fmla="*/ 3002 w 3019"/>
                <a:gd name="T65" fmla="*/ 1278 h 3018"/>
                <a:gd name="T66" fmla="*/ 2901 w 3019"/>
                <a:gd name="T67" fmla="*/ 921 h 3018"/>
                <a:gd name="T68" fmla="*/ 2719 w 3019"/>
                <a:gd name="T69" fmla="*/ 605 h 3018"/>
                <a:gd name="T70" fmla="*/ 2470 w 3019"/>
                <a:gd name="T71" fmla="*/ 344 h 3018"/>
                <a:gd name="T72" fmla="*/ 2164 w 3019"/>
                <a:gd name="T73" fmla="*/ 149 h 3018"/>
                <a:gd name="T74" fmla="*/ 1814 w 3019"/>
                <a:gd name="T75" fmla="*/ 30 h 3018"/>
                <a:gd name="T76" fmla="*/ 1432 w 3019"/>
                <a:gd name="T77" fmla="*/ 2 h 3018"/>
                <a:gd name="T78" fmla="*/ 1061 w 3019"/>
                <a:gd name="T79" fmla="*/ 67 h 3018"/>
                <a:gd name="T80" fmla="*/ 727 w 3019"/>
                <a:gd name="T81" fmla="*/ 218 h 3018"/>
                <a:gd name="T82" fmla="*/ 442 w 3019"/>
                <a:gd name="T83" fmla="*/ 441 h 3018"/>
                <a:gd name="T84" fmla="*/ 219 w 3019"/>
                <a:gd name="T85" fmla="*/ 726 h 3018"/>
                <a:gd name="T86" fmla="*/ 68 w 3019"/>
                <a:gd name="T87" fmla="*/ 1060 h 3018"/>
                <a:gd name="T88" fmla="*/ 2 w 3019"/>
                <a:gd name="T89" fmla="*/ 1431 h 3018"/>
                <a:gd name="T90" fmla="*/ 30 w 3019"/>
                <a:gd name="T91" fmla="*/ 1812 h 3018"/>
                <a:gd name="T92" fmla="*/ 149 w 3019"/>
                <a:gd name="T93" fmla="*/ 2163 h 3018"/>
                <a:gd name="T94" fmla="*/ 344 w 3019"/>
                <a:gd name="T95" fmla="*/ 2468 h 3018"/>
                <a:gd name="T96" fmla="*/ 606 w 3019"/>
                <a:gd name="T97" fmla="*/ 2718 h 3018"/>
                <a:gd name="T98" fmla="*/ 922 w 3019"/>
                <a:gd name="T99" fmla="*/ 2899 h 3018"/>
                <a:gd name="T100" fmla="*/ 1280 w 3019"/>
                <a:gd name="T101" fmla="*/ 2999 h 30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019" h="3018">
                  <a:moveTo>
                    <a:pt x="1510" y="503"/>
                  </a:moveTo>
                  <a:lnTo>
                    <a:pt x="1561" y="504"/>
                  </a:lnTo>
                  <a:lnTo>
                    <a:pt x="1612" y="508"/>
                  </a:lnTo>
                  <a:lnTo>
                    <a:pt x="1663" y="514"/>
                  </a:lnTo>
                  <a:lnTo>
                    <a:pt x="1712" y="523"/>
                  </a:lnTo>
                  <a:lnTo>
                    <a:pt x="1761" y="534"/>
                  </a:lnTo>
                  <a:lnTo>
                    <a:pt x="1809" y="548"/>
                  </a:lnTo>
                  <a:lnTo>
                    <a:pt x="1856" y="564"/>
                  </a:lnTo>
                  <a:lnTo>
                    <a:pt x="1901" y="581"/>
                  </a:lnTo>
                  <a:lnTo>
                    <a:pt x="1946" y="602"/>
                  </a:lnTo>
                  <a:lnTo>
                    <a:pt x="1989" y="624"/>
                  </a:lnTo>
                  <a:lnTo>
                    <a:pt x="2031" y="649"/>
                  </a:lnTo>
                  <a:lnTo>
                    <a:pt x="2072" y="675"/>
                  </a:lnTo>
                  <a:lnTo>
                    <a:pt x="2112" y="703"/>
                  </a:lnTo>
                  <a:lnTo>
                    <a:pt x="2150" y="732"/>
                  </a:lnTo>
                  <a:lnTo>
                    <a:pt x="2186" y="764"/>
                  </a:lnTo>
                  <a:lnTo>
                    <a:pt x="2221" y="797"/>
                  </a:lnTo>
                  <a:lnTo>
                    <a:pt x="2255" y="833"/>
                  </a:lnTo>
                  <a:lnTo>
                    <a:pt x="2286" y="869"/>
                  </a:lnTo>
                  <a:lnTo>
                    <a:pt x="2316" y="907"/>
                  </a:lnTo>
                  <a:lnTo>
                    <a:pt x="2344" y="946"/>
                  </a:lnTo>
                  <a:lnTo>
                    <a:pt x="2370" y="988"/>
                  </a:lnTo>
                  <a:lnTo>
                    <a:pt x="2394" y="1029"/>
                  </a:lnTo>
                  <a:lnTo>
                    <a:pt x="2417" y="1073"/>
                  </a:lnTo>
                  <a:lnTo>
                    <a:pt x="2437" y="1117"/>
                  </a:lnTo>
                  <a:lnTo>
                    <a:pt x="2455" y="1163"/>
                  </a:lnTo>
                  <a:lnTo>
                    <a:pt x="2471" y="1210"/>
                  </a:lnTo>
                  <a:lnTo>
                    <a:pt x="2484" y="1257"/>
                  </a:lnTo>
                  <a:lnTo>
                    <a:pt x="2496" y="1305"/>
                  </a:lnTo>
                  <a:lnTo>
                    <a:pt x="2504" y="1356"/>
                  </a:lnTo>
                  <a:lnTo>
                    <a:pt x="2511" y="1406"/>
                  </a:lnTo>
                  <a:lnTo>
                    <a:pt x="2515" y="1456"/>
                  </a:lnTo>
                  <a:lnTo>
                    <a:pt x="2516" y="1509"/>
                  </a:lnTo>
                  <a:lnTo>
                    <a:pt x="2515" y="1560"/>
                  </a:lnTo>
                  <a:lnTo>
                    <a:pt x="2511" y="1611"/>
                  </a:lnTo>
                  <a:lnTo>
                    <a:pt x="2504" y="1662"/>
                  </a:lnTo>
                  <a:lnTo>
                    <a:pt x="2496" y="1711"/>
                  </a:lnTo>
                  <a:lnTo>
                    <a:pt x="2484" y="1759"/>
                  </a:lnTo>
                  <a:lnTo>
                    <a:pt x="2471" y="1807"/>
                  </a:lnTo>
                  <a:lnTo>
                    <a:pt x="2455" y="1854"/>
                  </a:lnTo>
                  <a:lnTo>
                    <a:pt x="2437" y="1900"/>
                  </a:lnTo>
                  <a:lnTo>
                    <a:pt x="2417" y="1944"/>
                  </a:lnTo>
                  <a:lnTo>
                    <a:pt x="2394" y="1988"/>
                  </a:lnTo>
                  <a:lnTo>
                    <a:pt x="2370" y="2030"/>
                  </a:lnTo>
                  <a:lnTo>
                    <a:pt x="2344" y="2071"/>
                  </a:lnTo>
                  <a:lnTo>
                    <a:pt x="2316" y="2110"/>
                  </a:lnTo>
                  <a:lnTo>
                    <a:pt x="2286" y="2148"/>
                  </a:lnTo>
                  <a:lnTo>
                    <a:pt x="2255" y="2185"/>
                  </a:lnTo>
                  <a:lnTo>
                    <a:pt x="2221" y="2220"/>
                  </a:lnTo>
                  <a:lnTo>
                    <a:pt x="2186" y="2253"/>
                  </a:lnTo>
                  <a:lnTo>
                    <a:pt x="2150" y="2284"/>
                  </a:lnTo>
                  <a:lnTo>
                    <a:pt x="2112" y="2314"/>
                  </a:lnTo>
                  <a:lnTo>
                    <a:pt x="2072" y="2343"/>
                  </a:lnTo>
                  <a:lnTo>
                    <a:pt x="2031" y="2369"/>
                  </a:lnTo>
                  <a:lnTo>
                    <a:pt x="1989" y="2393"/>
                  </a:lnTo>
                  <a:lnTo>
                    <a:pt x="1946" y="2415"/>
                  </a:lnTo>
                  <a:lnTo>
                    <a:pt x="1901" y="2435"/>
                  </a:lnTo>
                  <a:lnTo>
                    <a:pt x="1856" y="2453"/>
                  </a:lnTo>
                  <a:lnTo>
                    <a:pt x="1809" y="2469"/>
                  </a:lnTo>
                  <a:lnTo>
                    <a:pt x="1761" y="2482"/>
                  </a:lnTo>
                  <a:lnTo>
                    <a:pt x="1712" y="2494"/>
                  </a:lnTo>
                  <a:lnTo>
                    <a:pt x="1663" y="2503"/>
                  </a:lnTo>
                  <a:lnTo>
                    <a:pt x="1612" y="2510"/>
                  </a:lnTo>
                  <a:lnTo>
                    <a:pt x="1561" y="2514"/>
                  </a:lnTo>
                  <a:lnTo>
                    <a:pt x="1510" y="2515"/>
                  </a:lnTo>
                  <a:lnTo>
                    <a:pt x="1458" y="2514"/>
                  </a:lnTo>
                  <a:lnTo>
                    <a:pt x="1407" y="2510"/>
                  </a:lnTo>
                  <a:lnTo>
                    <a:pt x="1357" y="2503"/>
                  </a:lnTo>
                  <a:lnTo>
                    <a:pt x="1308" y="2494"/>
                  </a:lnTo>
                  <a:lnTo>
                    <a:pt x="1258" y="2482"/>
                  </a:lnTo>
                  <a:lnTo>
                    <a:pt x="1211" y="2469"/>
                  </a:lnTo>
                  <a:lnTo>
                    <a:pt x="1165" y="2453"/>
                  </a:lnTo>
                  <a:lnTo>
                    <a:pt x="1118" y="2435"/>
                  </a:lnTo>
                  <a:lnTo>
                    <a:pt x="1074" y="2415"/>
                  </a:lnTo>
                  <a:lnTo>
                    <a:pt x="1031" y="2393"/>
                  </a:lnTo>
                  <a:lnTo>
                    <a:pt x="988" y="2369"/>
                  </a:lnTo>
                  <a:lnTo>
                    <a:pt x="947" y="2343"/>
                  </a:lnTo>
                  <a:lnTo>
                    <a:pt x="908" y="2314"/>
                  </a:lnTo>
                  <a:lnTo>
                    <a:pt x="870" y="2284"/>
                  </a:lnTo>
                  <a:lnTo>
                    <a:pt x="833" y="2253"/>
                  </a:lnTo>
                  <a:lnTo>
                    <a:pt x="798" y="2220"/>
                  </a:lnTo>
                  <a:lnTo>
                    <a:pt x="765" y="2185"/>
                  </a:lnTo>
                  <a:lnTo>
                    <a:pt x="734" y="2148"/>
                  </a:lnTo>
                  <a:lnTo>
                    <a:pt x="704" y="2110"/>
                  </a:lnTo>
                  <a:lnTo>
                    <a:pt x="675" y="2071"/>
                  </a:lnTo>
                  <a:lnTo>
                    <a:pt x="649" y="2030"/>
                  </a:lnTo>
                  <a:lnTo>
                    <a:pt x="625" y="1988"/>
                  </a:lnTo>
                  <a:lnTo>
                    <a:pt x="603" y="1944"/>
                  </a:lnTo>
                  <a:lnTo>
                    <a:pt x="583" y="1900"/>
                  </a:lnTo>
                  <a:lnTo>
                    <a:pt x="565" y="1854"/>
                  </a:lnTo>
                  <a:lnTo>
                    <a:pt x="549" y="1807"/>
                  </a:lnTo>
                  <a:lnTo>
                    <a:pt x="536" y="1759"/>
                  </a:lnTo>
                  <a:lnTo>
                    <a:pt x="524" y="1711"/>
                  </a:lnTo>
                  <a:lnTo>
                    <a:pt x="514" y="1662"/>
                  </a:lnTo>
                  <a:lnTo>
                    <a:pt x="508" y="1611"/>
                  </a:lnTo>
                  <a:lnTo>
                    <a:pt x="504" y="1560"/>
                  </a:lnTo>
                  <a:lnTo>
                    <a:pt x="503" y="1509"/>
                  </a:lnTo>
                  <a:lnTo>
                    <a:pt x="504" y="1456"/>
                  </a:lnTo>
                  <a:lnTo>
                    <a:pt x="508" y="1406"/>
                  </a:lnTo>
                  <a:lnTo>
                    <a:pt x="514" y="1356"/>
                  </a:lnTo>
                  <a:lnTo>
                    <a:pt x="524" y="1305"/>
                  </a:lnTo>
                  <a:lnTo>
                    <a:pt x="536" y="1257"/>
                  </a:lnTo>
                  <a:lnTo>
                    <a:pt x="549" y="1210"/>
                  </a:lnTo>
                  <a:lnTo>
                    <a:pt x="565" y="1163"/>
                  </a:lnTo>
                  <a:lnTo>
                    <a:pt x="583" y="1117"/>
                  </a:lnTo>
                  <a:lnTo>
                    <a:pt x="603" y="1073"/>
                  </a:lnTo>
                  <a:lnTo>
                    <a:pt x="625" y="1029"/>
                  </a:lnTo>
                  <a:lnTo>
                    <a:pt x="649" y="988"/>
                  </a:lnTo>
                  <a:lnTo>
                    <a:pt x="675" y="946"/>
                  </a:lnTo>
                  <a:lnTo>
                    <a:pt x="704" y="907"/>
                  </a:lnTo>
                  <a:lnTo>
                    <a:pt x="734" y="869"/>
                  </a:lnTo>
                  <a:lnTo>
                    <a:pt x="765" y="833"/>
                  </a:lnTo>
                  <a:lnTo>
                    <a:pt x="798" y="797"/>
                  </a:lnTo>
                  <a:lnTo>
                    <a:pt x="833" y="764"/>
                  </a:lnTo>
                  <a:lnTo>
                    <a:pt x="870" y="732"/>
                  </a:lnTo>
                  <a:lnTo>
                    <a:pt x="908" y="703"/>
                  </a:lnTo>
                  <a:lnTo>
                    <a:pt x="947" y="675"/>
                  </a:lnTo>
                  <a:lnTo>
                    <a:pt x="988" y="649"/>
                  </a:lnTo>
                  <a:lnTo>
                    <a:pt x="1031" y="624"/>
                  </a:lnTo>
                  <a:lnTo>
                    <a:pt x="1074" y="602"/>
                  </a:lnTo>
                  <a:lnTo>
                    <a:pt x="1118" y="581"/>
                  </a:lnTo>
                  <a:lnTo>
                    <a:pt x="1165" y="564"/>
                  </a:lnTo>
                  <a:lnTo>
                    <a:pt x="1211" y="548"/>
                  </a:lnTo>
                  <a:lnTo>
                    <a:pt x="1258" y="534"/>
                  </a:lnTo>
                  <a:lnTo>
                    <a:pt x="1308" y="523"/>
                  </a:lnTo>
                  <a:lnTo>
                    <a:pt x="1357" y="514"/>
                  </a:lnTo>
                  <a:lnTo>
                    <a:pt x="1407" y="508"/>
                  </a:lnTo>
                  <a:lnTo>
                    <a:pt x="1458" y="504"/>
                  </a:lnTo>
                  <a:lnTo>
                    <a:pt x="1510" y="503"/>
                  </a:lnTo>
                  <a:close/>
                  <a:moveTo>
                    <a:pt x="1510" y="3018"/>
                  </a:moveTo>
                  <a:lnTo>
                    <a:pt x="1587" y="3016"/>
                  </a:lnTo>
                  <a:lnTo>
                    <a:pt x="1664" y="3010"/>
                  </a:lnTo>
                  <a:lnTo>
                    <a:pt x="1739" y="2999"/>
                  </a:lnTo>
                  <a:lnTo>
                    <a:pt x="1814" y="2986"/>
                  </a:lnTo>
                  <a:lnTo>
                    <a:pt x="1887" y="2969"/>
                  </a:lnTo>
                  <a:lnTo>
                    <a:pt x="1959" y="2949"/>
                  </a:lnTo>
                  <a:lnTo>
                    <a:pt x="2029" y="2926"/>
                  </a:lnTo>
                  <a:lnTo>
                    <a:pt x="2098" y="2899"/>
                  </a:lnTo>
                  <a:lnTo>
                    <a:pt x="2164" y="2869"/>
                  </a:lnTo>
                  <a:lnTo>
                    <a:pt x="2229" y="2836"/>
                  </a:lnTo>
                  <a:lnTo>
                    <a:pt x="2293" y="2799"/>
                  </a:lnTo>
                  <a:lnTo>
                    <a:pt x="2354" y="2760"/>
                  </a:lnTo>
                  <a:lnTo>
                    <a:pt x="2413" y="2718"/>
                  </a:lnTo>
                  <a:lnTo>
                    <a:pt x="2470" y="2673"/>
                  </a:lnTo>
                  <a:lnTo>
                    <a:pt x="2525" y="2625"/>
                  </a:lnTo>
                  <a:lnTo>
                    <a:pt x="2578" y="2575"/>
                  </a:lnTo>
                  <a:lnTo>
                    <a:pt x="2627" y="2523"/>
                  </a:lnTo>
                  <a:lnTo>
                    <a:pt x="2675" y="2468"/>
                  </a:lnTo>
                  <a:lnTo>
                    <a:pt x="2719" y="2411"/>
                  </a:lnTo>
                  <a:lnTo>
                    <a:pt x="2762" y="2352"/>
                  </a:lnTo>
                  <a:lnTo>
                    <a:pt x="2801" y="2291"/>
                  </a:lnTo>
                  <a:lnTo>
                    <a:pt x="2837" y="2228"/>
                  </a:lnTo>
                  <a:lnTo>
                    <a:pt x="2870" y="2163"/>
                  </a:lnTo>
                  <a:lnTo>
                    <a:pt x="2901" y="2096"/>
                  </a:lnTo>
                  <a:lnTo>
                    <a:pt x="2928" y="2028"/>
                  </a:lnTo>
                  <a:lnTo>
                    <a:pt x="2952" y="1957"/>
                  </a:lnTo>
                  <a:lnTo>
                    <a:pt x="2972" y="1886"/>
                  </a:lnTo>
                  <a:lnTo>
                    <a:pt x="2989" y="1812"/>
                  </a:lnTo>
                  <a:lnTo>
                    <a:pt x="3002" y="1738"/>
                  </a:lnTo>
                  <a:lnTo>
                    <a:pt x="3011" y="1663"/>
                  </a:lnTo>
                  <a:lnTo>
                    <a:pt x="3017" y="1586"/>
                  </a:lnTo>
                  <a:lnTo>
                    <a:pt x="3019" y="1509"/>
                  </a:lnTo>
                  <a:lnTo>
                    <a:pt x="3017" y="1431"/>
                  </a:lnTo>
                  <a:lnTo>
                    <a:pt x="3011" y="1354"/>
                  </a:lnTo>
                  <a:lnTo>
                    <a:pt x="3002" y="1278"/>
                  </a:lnTo>
                  <a:lnTo>
                    <a:pt x="2989" y="1204"/>
                  </a:lnTo>
                  <a:lnTo>
                    <a:pt x="2972" y="1131"/>
                  </a:lnTo>
                  <a:lnTo>
                    <a:pt x="2952" y="1060"/>
                  </a:lnTo>
                  <a:lnTo>
                    <a:pt x="2928" y="990"/>
                  </a:lnTo>
                  <a:lnTo>
                    <a:pt x="2901" y="921"/>
                  </a:lnTo>
                  <a:lnTo>
                    <a:pt x="2870" y="854"/>
                  </a:lnTo>
                  <a:lnTo>
                    <a:pt x="2837" y="789"/>
                  </a:lnTo>
                  <a:lnTo>
                    <a:pt x="2801" y="726"/>
                  </a:lnTo>
                  <a:lnTo>
                    <a:pt x="2762" y="665"/>
                  </a:lnTo>
                  <a:lnTo>
                    <a:pt x="2719" y="605"/>
                  </a:lnTo>
                  <a:lnTo>
                    <a:pt x="2675" y="549"/>
                  </a:lnTo>
                  <a:lnTo>
                    <a:pt x="2627" y="494"/>
                  </a:lnTo>
                  <a:lnTo>
                    <a:pt x="2578" y="441"/>
                  </a:lnTo>
                  <a:lnTo>
                    <a:pt x="2525" y="391"/>
                  </a:lnTo>
                  <a:lnTo>
                    <a:pt x="2470" y="344"/>
                  </a:lnTo>
                  <a:lnTo>
                    <a:pt x="2413" y="300"/>
                  </a:lnTo>
                  <a:lnTo>
                    <a:pt x="2354" y="257"/>
                  </a:lnTo>
                  <a:lnTo>
                    <a:pt x="2293" y="218"/>
                  </a:lnTo>
                  <a:lnTo>
                    <a:pt x="2229" y="182"/>
                  </a:lnTo>
                  <a:lnTo>
                    <a:pt x="2164" y="149"/>
                  </a:lnTo>
                  <a:lnTo>
                    <a:pt x="2098" y="118"/>
                  </a:lnTo>
                  <a:lnTo>
                    <a:pt x="2029" y="91"/>
                  </a:lnTo>
                  <a:lnTo>
                    <a:pt x="1959" y="67"/>
                  </a:lnTo>
                  <a:lnTo>
                    <a:pt x="1887" y="47"/>
                  </a:lnTo>
                  <a:lnTo>
                    <a:pt x="1814" y="30"/>
                  </a:lnTo>
                  <a:lnTo>
                    <a:pt x="1739" y="17"/>
                  </a:lnTo>
                  <a:lnTo>
                    <a:pt x="1664" y="8"/>
                  </a:lnTo>
                  <a:lnTo>
                    <a:pt x="1587" y="2"/>
                  </a:lnTo>
                  <a:lnTo>
                    <a:pt x="1510" y="0"/>
                  </a:lnTo>
                  <a:lnTo>
                    <a:pt x="1432" y="2"/>
                  </a:lnTo>
                  <a:lnTo>
                    <a:pt x="1356" y="8"/>
                  </a:lnTo>
                  <a:lnTo>
                    <a:pt x="1280" y="17"/>
                  </a:lnTo>
                  <a:lnTo>
                    <a:pt x="1206" y="30"/>
                  </a:lnTo>
                  <a:lnTo>
                    <a:pt x="1132" y="47"/>
                  </a:lnTo>
                  <a:lnTo>
                    <a:pt x="1061" y="67"/>
                  </a:lnTo>
                  <a:lnTo>
                    <a:pt x="990" y="91"/>
                  </a:lnTo>
                  <a:lnTo>
                    <a:pt x="922" y="118"/>
                  </a:lnTo>
                  <a:lnTo>
                    <a:pt x="856" y="149"/>
                  </a:lnTo>
                  <a:lnTo>
                    <a:pt x="790" y="182"/>
                  </a:lnTo>
                  <a:lnTo>
                    <a:pt x="727" y="218"/>
                  </a:lnTo>
                  <a:lnTo>
                    <a:pt x="665" y="257"/>
                  </a:lnTo>
                  <a:lnTo>
                    <a:pt x="606" y="300"/>
                  </a:lnTo>
                  <a:lnTo>
                    <a:pt x="550" y="344"/>
                  </a:lnTo>
                  <a:lnTo>
                    <a:pt x="494" y="391"/>
                  </a:lnTo>
                  <a:lnTo>
                    <a:pt x="442" y="441"/>
                  </a:lnTo>
                  <a:lnTo>
                    <a:pt x="393" y="494"/>
                  </a:lnTo>
                  <a:lnTo>
                    <a:pt x="344" y="549"/>
                  </a:lnTo>
                  <a:lnTo>
                    <a:pt x="300" y="605"/>
                  </a:lnTo>
                  <a:lnTo>
                    <a:pt x="258" y="665"/>
                  </a:lnTo>
                  <a:lnTo>
                    <a:pt x="219" y="726"/>
                  </a:lnTo>
                  <a:lnTo>
                    <a:pt x="182" y="789"/>
                  </a:lnTo>
                  <a:lnTo>
                    <a:pt x="149" y="854"/>
                  </a:lnTo>
                  <a:lnTo>
                    <a:pt x="119" y="921"/>
                  </a:lnTo>
                  <a:lnTo>
                    <a:pt x="92" y="990"/>
                  </a:lnTo>
                  <a:lnTo>
                    <a:pt x="68" y="1060"/>
                  </a:lnTo>
                  <a:lnTo>
                    <a:pt x="48" y="1131"/>
                  </a:lnTo>
                  <a:lnTo>
                    <a:pt x="30" y="1204"/>
                  </a:lnTo>
                  <a:lnTo>
                    <a:pt x="17" y="1278"/>
                  </a:lnTo>
                  <a:lnTo>
                    <a:pt x="8" y="1354"/>
                  </a:lnTo>
                  <a:lnTo>
                    <a:pt x="2" y="1431"/>
                  </a:lnTo>
                  <a:lnTo>
                    <a:pt x="0" y="1509"/>
                  </a:lnTo>
                  <a:lnTo>
                    <a:pt x="2" y="1586"/>
                  </a:lnTo>
                  <a:lnTo>
                    <a:pt x="8" y="1663"/>
                  </a:lnTo>
                  <a:lnTo>
                    <a:pt x="17" y="1738"/>
                  </a:lnTo>
                  <a:lnTo>
                    <a:pt x="30" y="1812"/>
                  </a:lnTo>
                  <a:lnTo>
                    <a:pt x="48" y="1886"/>
                  </a:lnTo>
                  <a:lnTo>
                    <a:pt x="68" y="1957"/>
                  </a:lnTo>
                  <a:lnTo>
                    <a:pt x="92" y="2028"/>
                  </a:lnTo>
                  <a:lnTo>
                    <a:pt x="119" y="2096"/>
                  </a:lnTo>
                  <a:lnTo>
                    <a:pt x="149" y="2163"/>
                  </a:lnTo>
                  <a:lnTo>
                    <a:pt x="182" y="2228"/>
                  </a:lnTo>
                  <a:lnTo>
                    <a:pt x="219" y="2291"/>
                  </a:lnTo>
                  <a:lnTo>
                    <a:pt x="258" y="2352"/>
                  </a:lnTo>
                  <a:lnTo>
                    <a:pt x="300" y="2411"/>
                  </a:lnTo>
                  <a:lnTo>
                    <a:pt x="344" y="2468"/>
                  </a:lnTo>
                  <a:lnTo>
                    <a:pt x="393" y="2523"/>
                  </a:lnTo>
                  <a:lnTo>
                    <a:pt x="442" y="2575"/>
                  </a:lnTo>
                  <a:lnTo>
                    <a:pt x="494" y="2625"/>
                  </a:lnTo>
                  <a:lnTo>
                    <a:pt x="550" y="2673"/>
                  </a:lnTo>
                  <a:lnTo>
                    <a:pt x="606" y="2718"/>
                  </a:lnTo>
                  <a:lnTo>
                    <a:pt x="665" y="2760"/>
                  </a:lnTo>
                  <a:lnTo>
                    <a:pt x="727" y="2799"/>
                  </a:lnTo>
                  <a:lnTo>
                    <a:pt x="790" y="2836"/>
                  </a:lnTo>
                  <a:lnTo>
                    <a:pt x="856" y="2869"/>
                  </a:lnTo>
                  <a:lnTo>
                    <a:pt x="922" y="2899"/>
                  </a:lnTo>
                  <a:lnTo>
                    <a:pt x="990" y="2926"/>
                  </a:lnTo>
                  <a:lnTo>
                    <a:pt x="1061" y="2949"/>
                  </a:lnTo>
                  <a:lnTo>
                    <a:pt x="1132" y="2969"/>
                  </a:lnTo>
                  <a:lnTo>
                    <a:pt x="1206" y="2986"/>
                  </a:lnTo>
                  <a:lnTo>
                    <a:pt x="1280" y="2999"/>
                  </a:lnTo>
                  <a:lnTo>
                    <a:pt x="1356" y="3010"/>
                  </a:lnTo>
                  <a:lnTo>
                    <a:pt x="1432" y="3016"/>
                  </a:lnTo>
                  <a:lnTo>
                    <a:pt x="1510" y="30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30" name="ïṥḻidé">
              <a:extLst>
                <a:ext uri="{FF2B5EF4-FFF2-40B4-BE49-F238E27FC236}">
                  <a16:creationId xmlns:a16="http://schemas.microsoft.com/office/drawing/2014/main" id="{896CC727-72CD-4DE7-92CD-0845291A3E3E}"/>
                </a:ext>
              </a:extLst>
            </p:cNvPr>
            <p:cNvSpPr/>
            <p:nvPr/>
          </p:nvSpPr>
          <p:spPr bwMode="auto">
            <a:xfrm>
              <a:off x="7032024" y="43452"/>
              <a:ext cx="305223" cy="286279"/>
            </a:xfrm>
            <a:custGeom>
              <a:avLst/>
              <a:gdLst>
                <a:gd name="T0" fmla="*/ 12874 w 16095"/>
                <a:gd name="T1" fmla="*/ 4005 h 15096"/>
                <a:gd name="T2" fmla="*/ 12597 w 16095"/>
                <a:gd name="T3" fmla="*/ 3904 h 15096"/>
                <a:gd name="T4" fmla="*/ 12366 w 16095"/>
                <a:gd name="T5" fmla="*/ 3731 h 15096"/>
                <a:gd name="T6" fmla="*/ 12192 w 16095"/>
                <a:gd name="T7" fmla="*/ 3498 h 15096"/>
                <a:gd name="T8" fmla="*/ 12090 w 16095"/>
                <a:gd name="T9" fmla="*/ 3221 h 15096"/>
                <a:gd name="T10" fmla="*/ 12071 w 16095"/>
                <a:gd name="T11" fmla="*/ 1006 h 15096"/>
                <a:gd name="T12" fmla="*/ 15083 w 16095"/>
                <a:gd name="T13" fmla="*/ 13663 h 15096"/>
                <a:gd name="T14" fmla="*/ 15040 w 16095"/>
                <a:gd name="T15" fmla="*/ 13805 h 15096"/>
                <a:gd name="T16" fmla="*/ 14958 w 16095"/>
                <a:gd name="T17" fmla="*/ 13925 h 15096"/>
                <a:gd name="T18" fmla="*/ 14848 w 16095"/>
                <a:gd name="T19" fmla="*/ 14017 h 15096"/>
                <a:gd name="T20" fmla="*/ 14712 w 16095"/>
                <a:gd name="T21" fmla="*/ 14073 h 15096"/>
                <a:gd name="T22" fmla="*/ 1509 w 16095"/>
                <a:gd name="T23" fmla="*/ 14090 h 15096"/>
                <a:gd name="T24" fmla="*/ 1359 w 16095"/>
                <a:gd name="T25" fmla="*/ 14067 h 15096"/>
                <a:gd name="T26" fmla="*/ 1227 w 16095"/>
                <a:gd name="T27" fmla="*/ 14004 h 15096"/>
                <a:gd name="T28" fmla="*/ 1121 w 16095"/>
                <a:gd name="T29" fmla="*/ 13906 h 15096"/>
                <a:gd name="T30" fmla="*/ 1045 w 16095"/>
                <a:gd name="T31" fmla="*/ 13783 h 15096"/>
                <a:gd name="T32" fmla="*/ 1009 w 16095"/>
                <a:gd name="T33" fmla="*/ 13638 h 15096"/>
                <a:gd name="T34" fmla="*/ 1012 w 16095"/>
                <a:gd name="T35" fmla="*/ 1433 h 15096"/>
                <a:gd name="T36" fmla="*/ 1055 w 16095"/>
                <a:gd name="T37" fmla="*/ 1291 h 15096"/>
                <a:gd name="T38" fmla="*/ 1137 w 16095"/>
                <a:gd name="T39" fmla="*/ 1171 h 15096"/>
                <a:gd name="T40" fmla="*/ 1248 w 16095"/>
                <a:gd name="T41" fmla="*/ 1079 h 15096"/>
                <a:gd name="T42" fmla="*/ 1383 w 16095"/>
                <a:gd name="T43" fmla="*/ 1023 h 15096"/>
                <a:gd name="T44" fmla="*/ 11568 w 16095"/>
                <a:gd name="T45" fmla="*/ 1006 h 15096"/>
                <a:gd name="T46" fmla="*/ 11598 w 16095"/>
                <a:gd name="T47" fmla="*/ 3323 h 15096"/>
                <a:gd name="T48" fmla="*/ 11749 w 16095"/>
                <a:gd name="T49" fmla="*/ 3739 h 15096"/>
                <a:gd name="T50" fmla="*/ 12010 w 16095"/>
                <a:gd name="T51" fmla="*/ 4087 h 15096"/>
                <a:gd name="T52" fmla="*/ 12357 w 16095"/>
                <a:gd name="T53" fmla="*/ 4347 h 15096"/>
                <a:gd name="T54" fmla="*/ 12772 w 16095"/>
                <a:gd name="T55" fmla="*/ 4499 h 15096"/>
                <a:gd name="T56" fmla="*/ 15089 w 16095"/>
                <a:gd name="T57" fmla="*/ 4529 h 15096"/>
                <a:gd name="T58" fmla="*/ 12728 w 16095"/>
                <a:gd name="T59" fmla="*/ 244 h 15096"/>
                <a:gd name="T60" fmla="*/ 12608 w 16095"/>
                <a:gd name="T61" fmla="*/ 156 h 15096"/>
                <a:gd name="T62" fmla="*/ 12479 w 16095"/>
                <a:gd name="T63" fmla="*/ 87 h 15096"/>
                <a:gd name="T64" fmla="*/ 12340 w 16095"/>
                <a:gd name="T65" fmla="*/ 36 h 15096"/>
                <a:gd name="T66" fmla="*/ 12195 w 16095"/>
                <a:gd name="T67" fmla="*/ 8 h 15096"/>
                <a:gd name="T68" fmla="*/ 1509 w 16095"/>
                <a:gd name="T69" fmla="*/ 0 h 15096"/>
                <a:gd name="T70" fmla="*/ 1060 w 16095"/>
                <a:gd name="T71" fmla="*/ 68 h 15096"/>
                <a:gd name="T72" fmla="*/ 666 w 16095"/>
                <a:gd name="T73" fmla="*/ 259 h 15096"/>
                <a:gd name="T74" fmla="*/ 345 w 16095"/>
                <a:gd name="T75" fmla="*/ 549 h 15096"/>
                <a:gd name="T76" fmla="*/ 119 w 16095"/>
                <a:gd name="T77" fmla="*/ 923 h 15096"/>
                <a:gd name="T78" fmla="*/ 8 w 16095"/>
                <a:gd name="T79" fmla="*/ 1356 h 15096"/>
                <a:gd name="T80" fmla="*/ 17 w 16095"/>
                <a:gd name="T81" fmla="*/ 13816 h 15096"/>
                <a:gd name="T82" fmla="*/ 149 w 16095"/>
                <a:gd name="T83" fmla="*/ 14241 h 15096"/>
                <a:gd name="T84" fmla="*/ 392 w 16095"/>
                <a:gd name="T85" fmla="*/ 14601 h 15096"/>
                <a:gd name="T86" fmla="*/ 727 w 16095"/>
                <a:gd name="T87" fmla="*/ 14878 h 15096"/>
                <a:gd name="T88" fmla="*/ 1133 w 16095"/>
                <a:gd name="T89" fmla="*/ 15049 h 15096"/>
                <a:gd name="T90" fmla="*/ 14586 w 16095"/>
                <a:gd name="T91" fmla="*/ 15096 h 15096"/>
                <a:gd name="T92" fmla="*/ 15035 w 16095"/>
                <a:gd name="T93" fmla="*/ 15028 h 15096"/>
                <a:gd name="T94" fmla="*/ 15429 w 16095"/>
                <a:gd name="T95" fmla="*/ 14837 h 15096"/>
                <a:gd name="T96" fmla="*/ 15750 w 16095"/>
                <a:gd name="T97" fmla="*/ 14547 h 15096"/>
                <a:gd name="T98" fmla="*/ 15976 w 16095"/>
                <a:gd name="T99" fmla="*/ 14173 h 15096"/>
                <a:gd name="T100" fmla="*/ 16087 w 16095"/>
                <a:gd name="T101" fmla="*/ 13740 h 15096"/>
                <a:gd name="T102" fmla="*/ 16092 w 16095"/>
                <a:gd name="T103" fmla="*/ 3951 h 15096"/>
                <a:gd name="T104" fmla="*/ 16070 w 16095"/>
                <a:gd name="T105" fmla="*/ 3804 h 15096"/>
                <a:gd name="T106" fmla="*/ 16028 w 16095"/>
                <a:gd name="T107" fmla="*/ 3663 h 15096"/>
                <a:gd name="T108" fmla="*/ 15964 w 16095"/>
                <a:gd name="T109" fmla="*/ 3530 h 15096"/>
                <a:gd name="T110" fmla="*/ 15883 w 16095"/>
                <a:gd name="T111" fmla="*/ 3408 h 15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095" h="15096">
                  <a:moveTo>
                    <a:pt x="13579" y="4026"/>
                  </a:moveTo>
                  <a:lnTo>
                    <a:pt x="13076" y="4026"/>
                  </a:lnTo>
                  <a:lnTo>
                    <a:pt x="13025" y="4025"/>
                  </a:lnTo>
                  <a:lnTo>
                    <a:pt x="12974" y="4021"/>
                  </a:lnTo>
                  <a:lnTo>
                    <a:pt x="12923" y="4014"/>
                  </a:lnTo>
                  <a:lnTo>
                    <a:pt x="12874" y="4005"/>
                  </a:lnTo>
                  <a:lnTo>
                    <a:pt x="12826" y="3993"/>
                  </a:lnTo>
                  <a:lnTo>
                    <a:pt x="12777" y="3980"/>
                  </a:lnTo>
                  <a:lnTo>
                    <a:pt x="12731" y="3964"/>
                  </a:lnTo>
                  <a:lnTo>
                    <a:pt x="12685" y="3946"/>
                  </a:lnTo>
                  <a:lnTo>
                    <a:pt x="12641" y="3926"/>
                  </a:lnTo>
                  <a:lnTo>
                    <a:pt x="12597" y="3904"/>
                  </a:lnTo>
                  <a:lnTo>
                    <a:pt x="12555" y="3880"/>
                  </a:lnTo>
                  <a:lnTo>
                    <a:pt x="12515" y="3854"/>
                  </a:lnTo>
                  <a:lnTo>
                    <a:pt x="12475" y="3825"/>
                  </a:lnTo>
                  <a:lnTo>
                    <a:pt x="12437" y="3795"/>
                  </a:lnTo>
                  <a:lnTo>
                    <a:pt x="12400" y="3764"/>
                  </a:lnTo>
                  <a:lnTo>
                    <a:pt x="12366" y="3731"/>
                  </a:lnTo>
                  <a:lnTo>
                    <a:pt x="12332" y="3696"/>
                  </a:lnTo>
                  <a:lnTo>
                    <a:pt x="12301" y="3659"/>
                  </a:lnTo>
                  <a:lnTo>
                    <a:pt x="12270" y="3621"/>
                  </a:lnTo>
                  <a:lnTo>
                    <a:pt x="12242" y="3582"/>
                  </a:lnTo>
                  <a:lnTo>
                    <a:pt x="12216" y="3541"/>
                  </a:lnTo>
                  <a:lnTo>
                    <a:pt x="12192" y="3498"/>
                  </a:lnTo>
                  <a:lnTo>
                    <a:pt x="12170" y="3455"/>
                  </a:lnTo>
                  <a:lnTo>
                    <a:pt x="12150" y="3411"/>
                  </a:lnTo>
                  <a:lnTo>
                    <a:pt x="12132" y="3365"/>
                  </a:lnTo>
                  <a:lnTo>
                    <a:pt x="12116" y="3318"/>
                  </a:lnTo>
                  <a:lnTo>
                    <a:pt x="12102" y="3271"/>
                  </a:lnTo>
                  <a:lnTo>
                    <a:pt x="12090" y="3221"/>
                  </a:lnTo>
                  <a:lnTo>
                    <a:pt x="12082" y="3172"/>
                  </a:lnTo>
                  <a:lnTo>
                    <a:pt x="12075" y="3122"/>
                  </a:lnTo>
                  <a:lnTo>
                    <a:pt x="12071" y="3071"/>
                  </a:lnTo>
                  <a:lnTo>
                    <a:pt x="12070" y="3019"/>
                  </a:lnTo>
                  <a:lnTo>
                    <a:pt x="12071" y="3019"/>
                  </a:lnTo>
                  <a:lnTo>
                    <a:pt x="12071" y="1006"/>
                  </a:lnTo>
                  <a:lnTo>
                    <a:pt x="15089" y="4026"/>
                  </a:lnTo>
                  <a:lnTo>
                    <a:pt x="13579" y="4026"/>
                  </a:lnTo>
                  <a:close/>
                  <a:moveTo>
                    <a:pt x="15089" y="13586"/>
                  </a:moveTo>
                  <a:lnTo>
                    <a:pt x="15088" y="13613"/>
                  </a:lnTo>
                  <a:lnTo>
                    <a:pt x="15087" y="13638"/>
                  </a:lnTo>
                  <a:lnTo>
                    <a:pt x="15083" y="13663"/>
                  </a:lnTo>
                  <a:lnTo>
                    <a:pt x="15079" y="13688"/>
                  </a:lnTo>
                  <a:lnTo>
                    <a:pt x="15073" y="13712"/>
                  </a:lnTo>
                  <a:lnTo>
                    <a:pt x="15067" y="13736"/>
                  </a:lnTo>
                  <a:lnTo>
                    <a:pt x="15059" y="13760"/>
                  </a:lnTo>
                  <a:lnTo>
                    <a:pt x="15050" y="13783"/>
                  </a:lnTo>
                  <a:lnTo>
                    <a:pt x="15040" y="13805"/>
                  </a:lnTo>
                  <a:lnTo>
                    <a:pt x="15029" y="13827"/>
                  </a:lnTo>
                  <a:lnTo>
                    <a:pt x="15017" y="13847"/>
                  </a:lnTo>
                  <a:lnTo>
                    <a:pt x="15004" y="13868"/>
                  </a:lnTo>
                  <a:lnTo>
                    <a:pt x="14989" y="13887"/>
                  </a:lnTo>
                  <a:lnTo>
                    <a:pt x="14974" y="13906"/>
                  </a:lnTo>
                  <a:lnTo>
                    <a:pt x="14958" y="13925"/>
                  </a:lnTo>
                  <a:lnTo>
                    <a:pt x="14942" y="13943"/>
                  </a:lnTo>
                  <a:lnTo>
                    <a:pt x="14924" y="13959"/>
                  </a:lnTo>
                  <a:lnTo>
                    <a:pt x="14906" y="13975"/>
                  </a:lnTo>
                  <a:lnTo>
                    <a:pt x="14887" y="13990"/>
                  </a:lnTo>
                  <a:lnTo>
                    <a:pt x="14868" y="14004"/>
                  </a:lnTo>
                  <a:lnTo>
                    <a:pt x="14848" y="14017"/>
                  </a:lnTo>
                  <a:lnTo>
                    <a:pt x="14827" y="14029"/>
                  </a:lnTo>
                  <a:lnTo>
                    <a:pt x="14804" y="14040"/>
                  </a:lnTo>
                  <a:lnTo>
                    <a:pt x="14782" y="14050"/>
                  </a:lnTo>
                  <a:lnTo>
                    <a:pt x="14759" y="14059"/>
                  </a:lnTo>
                  <a:lnTo>
                    <a:pt x="14736" y="14067"/>
                  </a:lnTo>
                  <a:lnTo>
                    <a:pt x="14712" y="14073"/>
                  </a:lnTo>
                  <a:lnTo>
                    <a:pt x="14688" y="14080"/>
                  </a:lnTo>
                  <a:lnTo>
                    <a:pt x="14663" y="14084"/>
                  </a:lnTo>
                  <a:lnTo>
                    <a:pt x="14637" y="14087"/>
                  </a:lnTo>
                  <a:lnTo>
                    <a:pt x="14612" y="14089"/>
                  </a:lnTo>
                  <a:lnTo>
                    <a:pt x="14586" y="14090"/>
                  </a:lnTo>
                  <a:lnTo>
                    <a:pt x="1509" y="14090"/>
                  </a:lnTo>
                  <a:lnTo>
                    <a:pt x="1483" y="14089"/>
                  </a:lnTo>
                  <a:lnTo>
                    <a:pt x="1458" y="14087"/>
                  </a:lnTo>
                  <a:lnTo>
                    <a:pt x="1432" y="14084"/>
                  </a:lnTo>
                  <a:lnTo>
                    <a:pt x="1407" y="14080"/>
                  </a:lnTo>
                  <a:lnTo>
                    <a:pt x="1383" y="14073"/>
                  </a:lnTo>
                  <a:lnTo>
                    <a:pt x="1359" y="14067"/>
                  </a:lnTo>
                  <a:lnTo>
                    <a:pt x="1336" y="14059"/>
                  </a:lnTo>
                  <a:lnTo>
                    <a:pt x="1313" y="14050"/>
                  </a:lnTo>
                  <a:lnTo>
                    <a:pt x="1291" y="14040"/>
                  </a:lnTo>
                  <a:lnTo>
                    <a:pt x="1268" y="14029"/>
                  </a:lnTo>
                  <a:lnTo>
                    <a:pt x="1248" y="14017"/>
                  </a:lnTo>
                  <a:lnTo>
                    <a:pt x="1227" y="14004"/>
                  </a:lnTo>
                  <a:lnTo>
                    <a:pt x="1208" y="13990"/>
                  </a:lnTo>
                  <a:lnTo>
                    <a:pt x="1189" y="13975"/>
                  </a:lnTo>
                  <a:lnTo>
                    <a:pt x="1171" y="13959"/>
                  </a:lnTo>
                  <a:lnTo>
                    <a:pt x="1153" y="13943"/>
                  </a:lnTo>
                  <a:lnTo>
                    <a:pt x="1137" y="13925"/>
                  </a:lnTo>
                  <a:lnTo>
                    <a:pt x="1121" y="13906"/>
                  </a:lnTo>
                  <a:lnTo>
                    <a:pt x="1106" y="13887"/>
                  </a:lnTo>
                  <a:lnTo>
                    <a:pt x="1091" y="13868"/>
                  </a:lnTo>
                  <a:lnTo>
                    <a:pt x="1078" y="13847"/>
                  </a:lnTo>
                  <a:lnTo>
                    <a:pt x="1066" y="13827"/>
                  </a:lnTo>
                  <a:lnTo>
                    <a:pt x="1055" y="13805"/>
                  </a:lnTo>
                  <a:lnTo>
                    <a:pt x="1045" y="13783"/>
                  </a:lnTo>
                  <a:lnTo>
                    <a:pt x="1036" y="13760"/>
                  </a:lnTo>
                  <a:lnTo>
                    <a:pt x="1029" y="13736"/>
                  </a:lnTo>
                  <a:lnTo>
                    <a:pt x="1022" y="13712"/>
                  </a:lnTo>
                  <a:lnTo>
                    <a:pt x="1016" y="13688"/>
                  </a:lnTo>
                  <a:lnTo>
                    <a:pt x="1012" y="13663"/>
                  </a:lnTo>
                  <a:lnTo>
                    <a:pt x="1009" y="13638"/>
                  </a:lnTo>
                  <a:lnTo>
                    <a:pt x="1007" y="13613"/>
                  </a:lnTo>
                  <a:lnTo>
                    <a:pt x="1006" y="13586"/>
                  </a:lnTo>
                  <a:lnTo>
                    <a:pt x="1006" y="1510"/>
                  </a:lnTo>
                  <a:lnTo>
                    <a:pt x="1007" y="1483"/>
                  </a:lnTo>
                  <a:lnTo>
                    <a:pt x="1009" y="1458"/>
                  </a:lnTo>
                  <a:lnTo>
                    <a:pt x="1012" y="1433"/>
                  </a:lnTo>
                  <a:lnTo>
                    <a:pt x="1016" y="1408"/>
                  </a:lnTo>
                  <a:lnTo>
                    <a:pt x="1022" y="1384"/>
                  </a:lnTo>
                  <a:lnTo>
                    <a:pt x="1029" y="1360"/>
                  </a:lnTo>
                  <a:lnTo>
                    <a:pt x="1036" y="1336"/>
                  </a:lnTo>
                  <a:lnTo>
                    <a:pt x="1045" y="1313"/>
                  </a:lnTo>
                  <a:lnTo>
                    <a:pt x="1055" y="1291"/>
                  </a:lnTo>
                  <a:lnTo>
                    <a:pt x="1066" y="1270"/>
                  </a:lnTo>
                  <a:lnTo>
                    <a:pt x="1078" y="1249"/>
                  </a:lnTo>
                  <a:lnTo>
                    <a:pt x="1091" y="1228"/>
                  </a:lnTo>
                  <a:lnTo>
                    <a:pt x="1106" y="1209"/>
                  </a:lnTo>
                  <a:lnTo>
                    <a:pt x="1121" y="1190"/>
                  </a:lnTo>
                  <a:lnTo>
                    <a:pt x="1137" y="1171"/>
                  </a:lnTo>
                  <a:lnTo>
                    <a:pt x="1153" y="1153"/>
                  </a:lnTo>
                  <a:lnTo>
                    <a:pt x="1171" y="1137"/>
                  </a:lnTo>
                  <a:lnTo>
                    <a:pt x="1189" y="1121"/>
                  </a:lnTo>
                  <a:lnTo>
                    <a:pt x="1208" y="1106"/>
                  </a:lnTo>
                  <a:lnTo>
                    <a:pt x="1227" y="1092"/>
                  </a:lnTo>
                  <a:lnTo>
                    <a:pt x="1248" y="1079"/>
                  </a:lnTo>
                  <a:lnTo>
                    <a:pt x="1268" y="1067"/>
                  </a:lnTo>
                  <a:lnTo>
                    <a:pt x="1291" y="1056"/>
                  </a:lnTo>
                  <a:lnTo>
                    <a:pt x="1313" y="1046"/>
                  </a:lnTo>
                  <a:lnTo>
                    <a:pt x="1336" y="1037"/>
                  </a:lnTo>
                  <a:lnTo>
                    <a:pt x="1359" y="1030"/>
                  </a:lnTo>
                  <a:lnTo>
                    <a:pt x="1383" y="1023"/>
                  </a:lnTo>
                  <a:lnTo>
                    <a:pt x="1407" y="1016"/>
                  </a:lnTo>
                  <a:lnTo>
                    <a:pt x="1432" y="1012"/>
                  </a:lnTo>
                  <a:lnTo>
                    <a:pt x="1458" y="1009"/>
                  </a:lnTo>
                  <a:lnTo>
                    <a:pt x="1483" y="1007"/>
                  </a:lnTo>
                  <a:lnTo>
                    <a:pt x="1509" y="1006"/>
                  </a:lnTo>
                  <a:lnTo>
                    <a:pt x="11568" y="1006"/>
                  </a:lnTo>
                  <a:lnTo>
                    <a:pt x="11568" y="3019"/>
                  </a:lnTo>
                  <a:lnTo>
                    <a:pt x="11567" y="3019"/>
                  </a:lnTo>
                  <a:lnTo>
                    <a:pt x="11569" y="3097"/>
                  </a:lnTo>
                  <a:lnTo>
                    <a:pt x="11575" y="3173"/>
                  </a:lnTo>
                  <a:lnTo>
                    <a:pt x="11584" y="3249"/>
                  </a:lnTo>
                  <a:lnTo>
                    <a:pt x="11598" y="3323"/>
                  </a:lnTo>
                  <a:lnTo>
                    <a:pt x="11615" y="3397"/>
                  </a:lnTo>
                  <a:lnTo>
                    <a:pt x="11636" y="3468"/>
                  </a:lnTo>
                  <a:lnTo>
                    <a:pt x="11659" y="3539"/>
                  </a:lnTo>
                  <a:lnTo>
                    <a:pt x="11686" y="3607"/>
                  </a:lnTo>
                  <a:lnTo>
                    <a:pt x="11716" y="3673"/>
                  </a:lnTo>
                  <a:lnTo>
                    <a:pt x="11749" y="3739"/>
                  </a:lnTo>
                  <a:lnTo>
                    <a:pt x="11786" y="3802"/>
                  </a:lnTo>
                  <a:lnTo>
                    <a:pt x="11825" y="3864"/>
                  </a:lnTo>
                  <a:lnTo>
                    <a:pt x="11867" y="3922"/>
                  </a:lnTo>
                  <a:lnTo>
                    <a:pt x="11912" y="3979"/>
                  </a:lnTo>
                  <a:lnTo>
                    <a:pt x="11960" y="4035"/>
                  </a:lnTo>
                  <a:lnTo>
                    <a:pt x="12010" y="4087"/>
                  </a:lnTo>
                  <a:lnTo>
                    <a:pt x="12062" y="4136"/>
                  </a:lnTo>
                  <a:lnTo>
                    <a:pt x="12117" y="4184"/>
                  </a:lnTo>
                  <a:lnTo>
                    <a:pt x="12174" y="4229"/>
                  </a:lnTo>
                  <a:lnTo>
                    <a:pt x="12233" y="4271"/>
                  </a:lnTo>
                  <a:lnTo>
                    <a:pt x="12295" y="4310"/>
                  </a:lnTo>
                  <a:lnTo>
                    <a:pt x="12357" y="4347"/>
                  </a:lnTo>
                  <a:lnTo>
                    <a:pt x="12422" y="4380"/>
                  </a:lnTo>
                  <a:lnTo>
                    <a:pt x="12490" y="4410"/>
                  </a:lnTo>
                  <a:lnTo>
                    <a:pt x="12558" y="4437"/>
                  </a:lnTo>
                  <a:lnTo>
                    <a:pt x="12628" y="4461"/>
                  </a:lnTo>
                  <a:lnTo>
                    <a:pt x="12700" y="4481"/>
                  </a:lnTo>
                  <a:lnTo>
                    <a:pt x="12772" y="4499"/>
                  </a:lnTo>
                  <a:lnTo>
                    <a:pt x="12847" y="4512"/>
                  </a:lnTo>
                  <a:lnTo>
                    <a:pt x="12922" y="4521"/>
                  </a:lnTo>
                  <a:lnTo>
                    <a:pt x="12999" y="4527"/>
                  </a:lnTo>
                  <a:lnTo>
                    <a:pt x="13076" y="4529"/>
                  </a:lnTo>
                  <a:lnTo>
                    <a:pt x="13579" y="4529"/>
                  </a:lnTo>
                  <a:lnTo>
                    <a:pt x="15089" y="4529"/>
                  </a:lnTo>
                  <a:lnTo>
                    <a:pt x="15089" y="13586"/>
                  </a:lnTo>
                  <a:close/>
                  <a:moveTo>
                    <a:pt x="15800" y="3314"/>
                  </a:moveTo>
                  <a:lnTo>
                    <a:pt x="12782" y="295"/>
                  </a:lnTo>
                  <a:lnTo>
                    <a:pt x="12764" y="278"/>
                  </a:lnTo>
                  <a:lnTo>
                    <a:pt x="12746" y="261"/>
                  </a:lnTo>
                  <a:lnTo>
                    <a:pt x="12728" y="244"/>
                  </a:lnTo>
                  <a:lnTo>
                    <a:pt x="12709" y="228"/>
                  </a:lnTo>
                  <a:lnTo>
                    <a:pt x="12690" y="212"/>
                  </a:lnTo>
                  <a:lnTo>
                    <a:pt x="12670" y="197"/>
                  </a:lnTo>
                  <a:lnTo>
                    <a:pt x="12650" y="183"/>
                  </a:lnTo>
                  <a:lnTo>
                    <a:pt x="12630" y="169"/>
                  </a:lnTo>
                  <a:lnTo>
                    <a:pt x="12608" y="156"/>
                  </a:lnTo>
                  <a:lnTo>
                    <a:pt x="12587" y="143"/>
                  </a:lnTo>
                  <a:lnTo>
                    <a:pt x="12566" y="131"/>
                  </a:lnTo>
                  <a:lnTo>
                    <a:pt x="12545" y="119"/>
                  </a:lnTo>
                  <a:lnTo>
                    <a:pt x="12523" y="108"/>
                  </a:lnTo>
                  <a:lnTo>
                    <a:pt x="12501" y="97"/>
                  </a:lnTo>
                  <a:lnTo>
                    <a:pt x="12479" y="87"/>
                  </a:lnTo>
                  <a:lnTo>
                    <a:pt x="12457" y="76"/>
                  </a:lnTo>
                  <a:lnTo>
                    <a:pt x="12433" y="67"/>
                  </a:lnTo>
                  <a:lnTo>
                    <a:pt x="12410" y="59"/>
                  </a:lnTo>
                  <a:lnTo>
                    <a:pt x="12387" y="51"/>
                  </a:lnTo>
                  <a:lnTo>
                    <a:pt x="12364" y="43"/>
                  </a:lnTo>
                  <a:lnTo>
                    <a:pt x="12340" y="36"/>
                  </a:lnTo>
                  <a:lnTo>
                    <a:pt x="12317" y="30"/>
                  </a:lnTo>
                  <a:lnTo>
                    <a:pt x="12293" y="25"/>
                  </a:lnTo>
                  <a:lnTo>
                    <a:pt x="12268" y="19"/>
                  </a:lnTo>
                  <a:lnTo>
                    <a:pt x="12244" y="15"/>
                  </a:lnTo>
                  <a:lnTo>
                    <a:pt x="12220" y="11"/>
                  </a:lnTo>
                  <a:lnTo>
                    <a:pt x="12195" y="8"/>
                  </a:lnTo>
                  <a:lnTo>
                    <a:pt x="12171" y="5"/>
                  </a:lnTo>
                  <a:lnTo>
                    <a:pt x="12146" y="3"/>
                  </a:lnTo>
                  <a:lnTo>
                    <a:pt x="12122" y="1"/>
                  </a:lnTo>
                  <a:lnTo>
                    <a:pt x="12096" y="0"/>
                  </a:lnTo>
                  <a:lnTo>
                    <a:pt x="12071" y="0"/>
                  </a:lnTo>
                  <a:lnTo>
                    <a:pt x="1509" y="0"/>
                  </a:lnTo>
                  <a:lnTo>
                    <a:pt x="1431" y="2"/>
                  </a:lnTo>
                  <a:lnTo>
                    <a:pt x="1355" y="8"/>
                  </a:lnTo>
                  <a:lnTo>
                    <a:pt x="1280" y="17"/>
                  </a:lnTo>
                  <a:lnTo>
                    <a:pt x="1205" y="31"/>
                  </a:lnTo>
                  <a:lnTo>
                    <a:pt x="1133" y="47"/>
                  </a:lnTo>
                  <a:lnTo>
                    <a:pt x="1060" y="68"/>
                  </a:lnTo>
                  <a:lnTo>
                    <a:pt x="991" y="92"/>
                  </a:lnTo>
                  <a:lnTo>
                    <a:pt x="922" y="119"/>
                  </a:lnTo>
                  <a:lnTo>
                    <a:pt x="855" y="149"/>
                  </a:lnTo>
                  <a:lnTo>
                    <a:pt x="791" y="182"/>
                  </a:lnTo>
                  <a:lnTo>
                    <a:pt x="727" y="218"/>
                  </a:lnTo>
                  <a:lnTo>
                    <a:pt x="666" y="259"/>
                  </a:lnTo>
                  <a:lnTo>
                    <a:pt x="607" y="300"/>
                  </a:lnTo>
                  <a:lnTo>
                    <a:pt x="549" y="345"/>
                  </a:lnTo>
                  <a:lnTo>
                    <a:pt x="495" y="392"/>
                  </a:lnTo>
                  <a:lnTo>
                    <a:pt x="443" y="443"/>
                  </a:lnTo>
                  <a:lnTo>
                    <a:pt x="392" y="495"/>
                  </a:lnTo>
                  <a:lnTo>
                    <a:pt x="345" y="549"/>
                  </a:lnTo>
                  <a:lnTo>
                    <a:pt x="300" y="607"/>
                  </a:lnTo>
                  <a:lnTo>
                    <a:pt x="259" y="666"/>
                  </a:lnTo>
                  <a:lnTo>
                    <a:pt x="218" y="728"/>
                  </a:lnTo>
                  <a:lnTo>
                    <a:pt x="182" y="791"/>
                  </a:lnTo>
                  <a:lnTo>
                    <a:pt x="149" y="855"/>
                  </a:lnTo>
                  <a:lnTo>
                    <a:pt x="119" y="923"/>
                  </a:lnTo>
                  <a:lnTo>
                    <a:pt x="92" y="991"/>
                  </a:lnTo>
                  <a:lnTo>
                    <a:pt x="68" y="1061"/>
                  </a:lnTo>
                  <a:lnTo>
                    <a:pt x="47" y="1133"/>
                  </a:lnTo>
                  <a:lnTo>
                    <a:pt x="31" y="1206"/>
                  </a:lnTo>
                  <a:lnTo>
                    <a:pt x="17" y="1280"/>
                  </a:lnTo>
                  <a:lnTo>
                    <a:pt x="8" y="1356"/>
                  </a:lnTo>
                  <a:lnTo>
                    <a:pt x="2" y="1432"/>
                  </a:lnTo>
                  <a:lnTo>
                    <a:pt x="0" y="1510"/>
                  </a:lnTo>
                  <a:lnTo>
                    <a:pt x="0" y="13586"/>
                  </a:lnTo>
                  <a:lnTo>
                    <a:pt x="2" y="13664"/>
                  </a:lnTo>
                  <a:lnTo>
                    <a:pt x="8" y="13740"/>
                  </a:lnTo>
                  <a:lnTo>
                    <a:pt x="17" y="13816"/>
                  </a:lnTo>
                  <a:lnTo>
                    <a:pt x="31" y="13890"/>
                  </a:lnTo>
                  <a:lnTo>
                    <a:pt x="47" y="13963"/>
                  </a:lnTo>
                  <a:lnTo>
                    <a:pt x="68" y="14035"/>
                  </a:lnTo>
                  <a:lnTo>
                    <a:pt x="92" y="14105"/>
                  </a:lnTo>
                  <a:lnTo>
                    <a:pt x="119" y="14173"/>
                  </a:lnTo>
                  <a:lnTo>
                    <a:pt x="149" y="14241"/>
                  </a:lnTo>
                  <a:lnTo>
                    <a:pt x="182" y="14305"/>
                  </a:lnTo>
                  <a:lnTo>
                    <a:pt x="218" y="14368"/>
                  </a:lnTo>
                  <a:lnTo>
                    <a:pt x="259" y="14430"/>
                  </a:lnTo>
                  <a:lnTo>
                    <a:pt x="300" y="14489"/>
                  </a:lnTo>
                  <a:lnTo>
                    <a:pt x="345" y="14547"/>
                  </a:lnTo>
                  <a:lnTo>
                    <a:pt x="392" y="14601"/>
                  </a:lnTo>
                  <a:lnTo>
                    <a:pt x="443" y="14653"/>
                  </a:lnTo>
                  <a:lnTo>
                    <a:pt x="495" y="14704"/>
                  </a:lnTo>
                  <a:lnTo>
                    <a:pt x="549" y="14751"/>
                  </a:lnTo>
                  <a:lnTo>
                    <a:pt x="607" y="14796"/>
                  </a:lnTo>
                  <a:lnTo>
                    <a:pt x="666" y="14837"/>
                  </a:lnTo>
                  <a:lnTo>
                    <a:pt x="727" y="14878"/>
                  </a:lnTo>
                  <a:lnTo>
                    <a:pt x="791" y="14914"/>
                  </a:lnTo>
                  <a:lnTo>
                    <a:pt x="855" y="14947"/>
                  </a:lnTo>
                  <a:lnTo>
                    <a:pt x="922" y="14977"/>
                  </a:lnTo>
                  <a:lnTo>
                    <a:pt x="991" y="15004"/>
                  </a:lnTo>
                  <a:lnTo>
                    <a:pt x="1060" y="15028"/>
                  </a:lnTo>
                  <a:lnTo>
                    <a:pt x="1133" y="15049"/>
                  </a:lnTo>
                  <a:lnTo>
                    <a:pt x="1205" y="15065"/>
                  </a:lnTo>
                  <a:lnTo>
                    <a:pt x="1280" y="15079"/>
                  </a:lnTo>
                  <a:lnTo>
                    <a:pt x="1355" y="15088"/>
                  </a:lnTo>
                  <a:lnTo>
                    <a:pt x="1431" y="15094"/>
                  </a:lnTo>
                  <a:lnTo>
                    <a:pt x="1509" y="15096"/>
                  </a:lnTo>
                  <a:lnTo>
                    <a:pt x="14586" y="15096"/>
                  </a:lnTo>
                  <a:lnTo>
                    <a:pt x="14664" y="15094"/>
                  </a:lnTo>
                  <a:lnTo>
                    <a:pt x="14740" y="15088"/>
                  </a:lnTo>
                  <a:lnTo>
                    <a:pt x="14815" y="15079"/>
                  </a:lnTo>
                  <a:lnTo>
                    <a:pt x="14890" y="15065"/>
                  </a:lnTo>
                  <a:lnTo>
                    <a:pt x="14962" y="15049"/>
                  </a:lnTo>
                  <a:lnTo>
                    <a:pt x="15035" y="15028"/>
                  </a:lnTo>
                  <a:lnTo>
                    <a:pt x="15104" y="15004"/>
                  </a:lnTo>
                  <a:lnTo>
                    <a:pt x="15173" y="14977"/>
                  </a:lnTo>
                  <a:lnTo>
                    <a:pt x="15240" y="14947"/>
                  </a:lnTo>
                  <a:lnTo>
                    <a:pt x="15304" y="14914"/>
                  </a:lnTo>
                  <a:lnTo>
                    <a:pt x="15368" y="14878"/>
                  </a:lnTo>
                  <a:lnTo>
                    <a:pt x="15429" y="14837"/>
                  </a:lnTo>
                  <a:lnTo>
                    <a:pt x="15488" y="14796"/>
                  </a:lnTo>
                  <a:lnTo>
                    <a:pt x="15546" y="14751"/>
                  </a:lnTo>
                  <a:lnTo>
                    <a:pt x="15600" y="14704"/>
                  </a:lnTo>
                  <a:lnTo>
                    <a:pt x="15652" y="14653"/>
                  </a:lnTo>
                  <a:lnTo>
                    <a:pt x="15703" y="14601"/>
                  </a:lnTo>
                  <a:lnTo>
                    <a:pt x="15750" y="14547"/>
                  </a:lnTo>
                  <a:lnTo>
                    <a:pt x="15795" y="14489"/>
                  </a:lnTo>
                  <a:lnTo>
                    <a:pt x="15836" y="14430"/>
                  </a:lnTo>
                  <a:lnTo>
                    <a:pt x="15877" y="14368"/>
                  </a:lnTo>
                  <a:lnTo>
                    <a:pt x="15913" y="14305"/>
                  </a:lnTo>
                  <a:lnTo>
                    <a:pt x="15946" y="14241"/>
                  </a:lnTo>
                  <a:lnTo>
                    <a:pt x="15976" y="14173"/>
                  </a:lnTo>
                  <a:lnTo>
                    <a:pt x="16003" y="14105"/>
                  </a:lnTo>
                  <a:lnTo>
                    <a:pt x="16027" y="14035"/>
                  </a:lnTo>
                  <a:lnTo>
                    <a:pt x="16048" y="13963"/>
                  </a:lnTo>
                  <a:lnTo>
                    <a:pt x="16064" y="13890"/>
                  </a:lnTo>
                  <a:lnTo>
                    <a:pt x="16078" y="13816"/>
                  </a:lnTo>
                  <a:lnTo>
                    <a:pt x="16087" y="13740"/>
                  </a:lnTo>
                  <a:lnTo>
                    <a:pt x="16093" y="13664"/>
                  </a:lnTo>
                  <a:lnTo>
                    <a:pt x="16095" y="13586"/>
                  </a:lnTo>
                  <a:lnTo>
                    <a:pt x="16095" y="4026"/>
                  </a:lnTo>
                  <a:lnTo>
                    <a:pt x="16095" y="4000"/>
                  </a:lnTo>
                  <a:lnTo>
                    <a:pt x="16094" y="3975"/>
                  </a:lnTo>
                  <a:lnTo>
                    <a:pt x="16092" y="3951"/>
                  </a:lnTo>
                  <a:lnTo>
                    <a:pt x="16090" y="3926"/>
                  </a:lnTo>
                  <a:lnTo>
                    <a:pt x="16087" y="3902"/>
                  </a:lnTo>
                  <a:lnTo>
                    <a:pt x="16084" y="3877"/>
                  </a:lnTo>
                  <a:lnTo>
                    <a:pt x="16080" y="3852"/>
                  </a:lnTo>
                  <a:lnTo>
                    <a:pt x="16076" y="3828"/>
                  </a:lnTo>
                  <a:lnTo>
                    <a:pt x="16070" y="3804"/>
                  </a:lnTo>
                  <a:lnTo>
                    <a:pt x="16065" y="3780"/>
                  </a:lnTo>
                  <a:lnTo>
                    <a:pt x="16059" y="3757"/>
                  </a:lnTo>
                  <a:lnTo>
                    <a:pt x="16052" y="3733"/>
                  </a:lnTo>
                  <a:lnTo>
                    <a:pt x="16044" y="3710"/>
                  </a:lnTo>
                  <a:lnTo>
                    <a:pt x="16036" y="3686"/>
                  </a:lnTo>
                  <a:lnTo>
                    <a:pt x="16028" y="3663"/>
                  </a:lnTo>
                  <a:lnTo>
                    <a:pt x="16019" y="3641"/>
                  </a:lnTo>
                  <a:lnTo>
                    <a:pt x="16008" y="3618"/>
                  </a:lnTo>
                  <a:lnTo>
                    <a:pt x="15998" y="3596"/>
                  </a:lnTo>
                  <a:lnTo>
                    <a:pt x="15987" y="3574"/>
                  </a:lnTo>
                  <a:lnTo>
                    <a:pt x="15976" y="3552"/>
                  </a:lnTo>
                  <a:lnTo>
                    <a:pt x="15964" y="3530"/>
                  </a:lnTo>
                  <a:lnTo>
                    <a:pt x="15952" y="3509"/>
                  </a:lnTo>
                  <a:lnTo>
                    <a:pt x="15939" y="3488"/>
                  </a:lnTo>
                  <a:lnTo>
                    <a:pt x="15926" y="3467"/>
                  </a:lnTo>
                  <a:lnTo>
                    <a:pt x="15912" y="3447"/>
                  </a:lnTo>
                  <a:lnTo>
                    <a:pt x="15898" y="3427"/>
                  </a:lnTo>
                  <a:lnTo>
                    <a:pt x="15883" y="3408"/>
                  </a:lnTo>
                  <a:lnTo>
                    <a:pt x="15867" y="3388"/>
                  </a:lnTo>
                  <a:lnTo>
                    <a:pt x="15852" y="3368"/>
                  </a:lnTo>
                  <a:lnTo>
                    <a:pt x="15834" y="3350"/>
                  </a:lnTo>
                  <a:lnTo>
                    <a:pt x="15817" y="3332"/>
                  </a:lnTo>
                  <a:lnTo>
                    <a:pt x="15800" y="33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5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31" name="iṥlíḓe">
              <a:extLst>
                <a:ext uri="{FF2B5EF4-FFF2-40B4-BE49-F238E27FC236}">
                  <a16:creationId xmlns:a16="http://schemas.microsoft.com/office/drawing/2014/main" id="{85327D35-8F41-4AEF-B2FB-4EBED46C7A10}"/>
                </a:ext>
              </a:extLst>
            </p:cNvPr>
            <p:cNvSpPr/>
            <p:nvPr/>
          </p:nvSpPr>
          <p:spPr bwMode="auto">
            <a:xfrm>
              <a:off x="7175163" y="100988"/>
              <a:ext cx="56834" cy="9122"/>
            </a:xfrm>
            <a:custGeom>
              <a:avLst/>
              <a:gdLst>
                <a:gd name="T0" fmla="*/ 2779 w 3017"/>
                <a:gd name="T1" fmla="*/ 503 h 503"/>
                <a:gd name="T2" fmla="*/ 2816 w 3017"/>
                <a:gd name="T3" fmla="*/ 498 h 503"/>
                <a:gd name="T4" fmla="*/ 2852 w 3017"/>
                <a:gd name="T5" fmla="*/ 488 h 503"/>
                <a:gd name="T6" fmla="*/ 2886 w 3017"/>
                <a:gd name="T7" fmla="*/ 473 h 503"/>
                <a:gd name="T8" fmla="*/ 2917 w 3017"/>
                <a:gd name="T9" fmla="*/ 453 h 503"/>
                <a:gd name="T10" fmla="*/ 2944 w 3017"/>
                <a:gd name="T11" fmla="*/ 430 h 503"/>
                <a:gd name="T12" fmla="*/ 2967 w 3017"/>
                <a:gd name="T13" fmla="*/ 403 h 503"/>
                <a:gd name="T14" fmla="*/ 2987 w 3017"/>
                <a:gd name="T15" fmla="*/ 372 h 503"/>
                <a:gd name="T16" fmla="*/ 3002 w 3017"/>
                <a:gd name="T17" fmla="*/ 338 h 503"/>
                <a:gd name="T18" fmla="*/ 3012 w 3017"/>
                <a:gd name="T19" fmla="*/ 302 h 503"/>
                <a:gd name="T20" fmla="*/ 3017 w 3017"/>
                <a:gd name="T21" fmla="*/ 265 h 503"/>
                <a:gd name="T22" fmla="*/ 3016 w 3017"/>
                <a:gd name="T23" fmla="*/ 227 h 503"/>
                <a:gd name="T24" fmla="*/ 3009 w 3017"/>
                <a:gd name="T25" fmla="*/ 189 h 503"/>
                <a:gd name="T26" fmla="*/ 2997 w 3017"/>
                <a:gd name="T27" fmla="*/ 154 h 503"/>
                <a:gd name="T28" fmla="*/ 2981 w 3017"/>
                <a:gd name="T29" fmla="*/ 121 h 503"/>
                <a:gd name="T30" fmla="*/ 2960 w 3017"/>
                <a:gd name="T31" fmla="*/ 92 h 503"/>
                <a:gd name="T32" fmla="*/ 2935 w 3017"/>
                <a:gd name="T33" fmla="*/ 66 h 503"/>
                <a:gd name="T34" fmla="*/ 2907 w 3017"/>
                <a:gd name="T35" fmla="*/ 43 h 503"/>
                <a:gd name="T36" fmla="*/ 2875 w 3017"/>
                <a:gd name="T37" fmla="*/ 25 h 503"/>
                <a:gd name="T38" fmla="*/ 2840 w 3017"/>
                <a:gd name="T39" fmla="*/ 11 h 503"/>
                <a:gd name="T40" fmla="*/ 2804 w 3017"/>
                <a:gd name="T41" fmla="*/ 3 h 503"/>
                <a:gd name="T42" fmla="*/ 2766 w 3017"/>
                <a:gd name="T43" fmla="*/ 0 h 503"/>
                <a:gd name="T44" fmla="*/ 226 w 3017"/>
                <a:gd name="T45" fmla="*/ 1 h 503"/>
                <a:gd name="T46" fmla="*/ 189 w 3017"/>
                <a:gd name="T47" fmla="*/ 8 h 503"/>
                <a:gd name="T48" fmla="*/ 153 w 3017"/>
                <a:gd name="T49" fmla="*/ 20 h 503"/>
                <a:gd name="T50" fmla="*/ 121 w 3017"/>
                <a:gd name="T51" fmla="*/ 36 h 503"/>
                <a:gd name="T52" fmla="*/ 91 w 3017"/>
                <a:gd name="T53" fmla="*/ 58 h 503"/>
                <a:gd name="T54" fmla="*/ 65 w 3017"/>
                <a:gd name="T55" fmla="*/ 83 h 503"/>
                <a:gd name="T56" fmla="*/ 43 w 3017"/>
                <a:gd name="T57" fmla="*/ 111 h 503"/>
                <a:gd name="T58" fmla="*/ 25 w 3017"/>
                <a:gd name="T59" fmla="*/ 143 h 503"/>
                <a:gd name="T60" fmla="*/ 11 w 3017"/>
                <a:gd name="T61" fmla="*/ 177 h 503"/>
                <a:gd name="T62" fmla="*/ 3 w 3017"/>
                <a:gd name="T63" fmla="*/ 214 h 503"/>
                <a:gd name="T64" fmla="*/ 0 w 3017"/>
                <a:gd name="T65" fmla="*/ 252 h 503"/>
                <a:gd name="T66" fmla="*/ 3 w 3017"/>
                <a:gd name="T67" fmla="*/ 290 h 503"/>
                <a:gd name="T68" fmla="*/ 11 w 3017"/>
                <a:gd name="T69" fmla="*/ 326 h 503"/>
                <a:gd name="T70" fmla="*/ 25 w 3017"/>
                <a:gd name="T71" fmla="*/ 360 h 503"/>
                <a:gd name="T72" fmla="*/ 43 w 3017"/>
                <a:gd name="T73" fmla="*/ 393 h 503"/>
                <a:gd name="T74" fmla="*/ 65 w 3017"/>
                <a:gd name="T75" fmla="*/ 421 h 503"/>
                <a:gd name="T76" fmla="*/ 91 w 3017"/>
                <a:gd name="T77" fmla="*/ 446 h 503"/>
                <a:gd name="T78" fmla="*/ 121 w 3017"/>
                <a:gd name="T79" fmla="*/ 467 h 503"/>
                <a:gd name="T80" fmla="*/ 153 w 3017"/>
                <a:gd name="T81" fmla="*/ 483 h 503"/>
                <a:gd name="T82" fmla="*/ 189 w 3017"/>
                <a:gd name="T83" fmla="*/ 495 h 503"/>
                <a:gd name="T84" fmla="*/ 226 w 3017"/>
                <a:gd name="T85" fmla="*/ 50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17" h="503">
                  <a:moveTo>
                    <a:pt x="251" y="503"/>
                  </a:moveTo>
                  <a:lnTo>
                    <a:pt x="2766" y="503"/>
                  </a:lnTo>
                  <a:lnTo>
                    <a:pt x="2779" y="503"/>
                  </a:lnTo>
                  <a:lnTo>
                    <a:pt x="2792" y="502"/>
                  </a:lnTo>
                  <a:lnTo>
                    <a:pt x="2804" y="500"/>
                  </a:lnTo>
                  <a:lnTo>
                    <a:pt x="2816" y="498"/>
                  </a:lnTo>
                  <a:lnTo>
                    <a:pt x="2829" y="495"/>
                  </a:lnTo>
                  <a:lnTo>
                    <a:pt x="2840" y="492"/>
                  </a:lnTo>
                  <a:lnTo>
                    <a:pt x="2852" y="488"/>
                  </a:lnTo>
                  <a:lnTo>
                    <a:pt x="2863" y="483"/>
                  </a:lnTo>
                  <a:lnTo>
                    <a:pt x="2875" y="478"/>
                  </a:lnTo>
                  <a:lnTo>
                    <a:pt x="2886" y="473"/>
                  </a:lnTo>
                  <a:lnTo>
                    <a:pt x="2897" y="467"/>
                  </a:lnTo>
                  <a:lnTo>
                    <a:pt x="2907" y="460"/>
                  </a:lnTo>
                  <a:lnTo>
                    <a:pt x="2917" y="453"/>
                  </a:lnTo>
                  <a:lnTo>
                    <a:pt x="2926" y="446"/>
                  </a:lnTo>
                  <a:lnTo>
                    <a:pt x="2935" y="438"/>
                  </a:lnTo>
                  <a:lnTo>
                    <a:pt x="2944" y="430"/>
                  </a:lnTo>
                  <a:lnTo>
                    <a:pt x="2952" y="421"/>
                  </a:lnTo>
                  <a:lnTo>
                    <a:pt x="2960" y="412"/>
                  </a:lnTo>
                  <a:lnTo>
                    <a:pt x="2967" y="403"/>
                  </a:lnTo>
                  <a:lnTo>
                    <a:pt x="2974" y="393"/>
                  </a:lnTo>
                  <a:lnTo>
                    <a:pt x="2981" y="383"/>
                  </a:lnTo>
                  <a:lnTo>
                    <a:pt x="2987" y="372"/>
                  </a:lnTo>
                  <a:lnTo>
                    <a:pt x="2992" y="360"/>
                  </a:lnTo>
                  <a:lnTo>
                    <a:pt x="2997" y="349"/>
                  </a:lnTo>
                  <a:lnTo>
                    <a:pt x="3002" y="338"/>
                  </a:lnTo>
                  <a:lnTo>
                    <a:pt x="3006" y="326"/>
                  </a:lnTo>
                  <a:lnTo>
                    <a:pt x="3009" y="314"/>
                  </a:lnTo>
                  <a:lnTo>
                    <a:pt x="3012" y="302"/>
                  </a:lnTo>
                  <a:lnTo>
                    <a:pt x="3014" y="290"/>
                  </a:lnTo>
                  <a:lnTo>
                    <a:pt x="3016" y="278"/>
                  </a:lnTo>
                  <a:lnTo>
                    <a:pt x="3017" y="265"/>
                  </a:lnTo>
                  <a:lnTo>
                    <a:pt x="3017" y="252"/>
                  </a:lnTo>
                  <a:lnTo>
                    <a:pt x="3017" y="239"/>
                  </a:lnTo>
                  <a:lnTo>
                    <a:pt x="3016" y="227"/>
                  </a:lnTo>
                  <a:lnTo>
                    <a:pt x="3014" y="214"/>
                  </a:lnTo>
                  <a:lnTo>
                    <a:pt x="3012" y="201"/>
                  </a:lnTo>
                  <a:lnTo>
                    <a:pt x="3009" y="189"/>
                  </a:lnTo>
                  <a:lnTo>
                    <a:pt x="3006" y="177"/>
                  </a:lnTo>
                  <a:lnTo>
                    <a:pt x="3002" y="165"/>
                  </a:lnTo>
                  <a:lnTo>
                    <a:pt x="2997" y="154"/>
                  </a:lnTo>
                  <a:lnTo>
                    <a:pt x="2992" y="143"/>
                  </a:lnTo>
                  <a:lnTo>
                    <a:pt x="2987" y="132"/>
                  </a:lnTo>
                  <a:lnTo>
                    <a:pt x="2981" y="121"/>
                  </a:lnTo>
                  <a:lnTo>
                    <a:pt x="2974" y="111"/>
                  </a:lnTo>
                  <a:lnTo>
                    <a:pt x="2967" y="101"/>
                  </a:lnTo>
                  <a:lnTo>
                    <a:pt x="2960" y="92"/>
                  </a:lnTo>
                  <a:lnTo>
                    <a:pt x="2952" y="83"/>
                  </a:lnTo>
                  <a:lnTo>
                    <a:pt x="2944" y="74"/>
                  </a:lnTo>
                  <a:lnTo>
                    <a:pt x="2935" y="66"/>
                  </a:lnTo>
                  <a:lnTo>
                    <a:pt x="2926" y="58"/>
                  </a:lnTo>
                  <a:lnTo>
                    <a:pt x="2917" y="51"/>
                  </a:lnTo>
                  <a:lnTo>
                    <a:pt x="2907" y="43"/>
                  </a:lnTo>
                  <a:lnTo>
                    <a:pt x="2897" y="36"/>
                  </a:lnTo>
                  <a:lnTo>
                    <a:pt x="2886" y="30"/>
                  </a:lnTo>
                  <a:lnTo>
                    <a:pt x="2875" y="25"/>
                  </a:lnTo>
                  <a:lnTo>
                    <a:pt x="2863" y="20"/>
                  </a:lnTo>
                  <a:lnTo>
                    <a:pt x="2852" y="15"/>
                  </a:lnTo>
                  <a:lnTo>
                    <a:pt x="2840" y="11"/>
                  </a:lnTo>
                  <a:lnTo>
                    <a:pt x="2829" y="8"/>
                  </a:lnTo>
                  <a:lnTo>
                    <a:pt x="2816" y="5"/>
                  </a:lnTo>
                  <a:lnTo>
                    <a:pt x="2804" y="3"/>
                  </a:lnTo>
                  <a:lnTo>
                    <a:pt x="2792" y="1"/>
                  </a:lnTo>
                  <a:lnTo>
                    <a:pt x="2779" y="0"/>
                  </a:lnTo>
                  <a:lnTo>
                    <a:pt x="2766" y="0"/>
                  </a:lnTo>
                  <a:lnTo>
                    <a:pt x="251" y="0"/>
                  </a:lnTo>
                  <a:lnTo>
                    <a:pt x="238" y="0"/>
                  </a:lnTo>
                  <a:lnTo>
                    <a:pt x="226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3" y="20"/>
                  </a:lnTo>
                  <a:lnTo>
                    <a:pt x="142" y="25"/>
                  </a:lnTo>
                  <a:lnTo>
                    <a:pt x="131" y="30"/>
                  </a:lnTo>
                  <a:lnTo>
                    <a:pt x="121" y="36"/>
                  </a:lnTo>
                  <a:lnTo>
                    <a:pt x="110" y="43"/>
                  </a:lnTo>
                  <a:lnTo>
                    <a:pt x="101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1"/>
                  </a:lnTo>
                  <a:lnTo>
                    <a:pt x="43" y="111"/>
                  </a:lnTo>
                  <a:lnTo>
                    <a:pt x="36" y="121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2" y="227"/>
                  </a:lnTo>
                  <a:lnTo>
                    <a:pt x="1" y="239"/>
                  </a:lnTo>
                  <a:lnTo>
                    <a:pt x="0" y="252"/>
                  </a:lnTo>
                  <a:lnTo>
                    <a:pt x="1" y="265"/>
                  </a:lnTo>
                  <a:lnTo>
                    <a:pt x="2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4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1" y="453"/>
                  </a:lnTo>
                  <a:lnTo>
                    <a:pt x="110" y="460"/>
                  </a:lnTo>
                  <a:lnTo>
                    <a:pt x="121" y="467"/>
                  </a:lnTo>
                  <a:lnTo>
                    <a:pt x="131" y="473"/>
                  </a:lnTo>
                  <a:lnTo>
                    <a:pt x="142" y="478"/>
                  </a:lnTo>
                  <a:lnTo>
                    <a:pt x="153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6" y="502"/>
                  </a:lnTo>
                  <a:lnTo>
                    <a:pt x="238" y="503"/>
                  </a:lnTo>
                  <a:lnTo>
                    <a:pt x="251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32" name="iš1íḍè">
              <a:extLst>
                <a:ext uri="{FF2B5EF4-FFF2-40B4-BE49-F238E27FC236}">
                  <a16:creationId xmlns:a16="http://schemas.microsoft.com/office/drawing/2014/main" id="{6A63FA47-A274-423D-AFE4-56D4FD8F1856}"/>
                </a:ext>
              </a:extLst>
            </p:cNvPr>
            <p:cNvSpPr/>
            <p:nvPr/>
          </p:nvSpPr>
          <p:spPr bwMode="auto">
            <a:xfrm>
              <a:off x="7175163" y="129055"/>
              <a:ext cx="56834" cy="9823"/>
            </a:xfrm>
            <a:custGeom>
              <a:avLst/>
              <a:gdLst>
                <a:gd name="T0" fmla="*/ 2779 w 3017"/>
                <a:gd name="T1" fmla="*/ 503 h 503"/>
                <a:gd name="T2" fmla="*/ 2816 w 3017"/>
                <a:gd name="T3" fmla="*/ 498 h 503"/>
                <a:gd name="T4" fmla="*/ 2852 w 3017"/>
                <a:gd name="T5" fmla="*/ 488 h 503"/>
                <a:gd name="T6" fmla="*/ 2886 w 3017"/>
                <a:gd name="T7" fmla="*/ 473 h 503"/>
                <a:gd name="T8" fmla="*/ 2917 w 3017"/>
                <a:gd name="T9" fmla="*/ 453 h 503"/>
                <a:gd name="T10" fmla="*/ 2944 w 3017"/>
                <a:gd name="T11" fmla="*/ 430 h 503"/>
                <a:gd name="T12" fmla="*/ 2967 w 3017"/>
                <a:gd name="T13" fmla="*/ 402 h 503"/>
                <a:gd name="T14" fmla="*/ 2987 w 3017"/>
                <a:gd name="T15" fmla="*/ 371 h 503"/>
                <a:gd name="T16" fmla="*/ 3002 w 3017"/>
                <a:gd name="T17" fmla="*/ 338 h 503"/>
                <a:gd name="T18" fmla="*/ 3012 w 3017"/>
                <a:gd name="T19" fmla="*/ 302 h 503"/>
                <a:gd name="T20" fmla="*/ 3017 w 3017"/>
                <a:gd name="T21" fmla="*/ 264 h 503"/>
                <a:gd name="T22" fmla="*/ 3016 w 3017"/>
                <a:gd name="T23" fmla="*/ 225 h 503"/>
                <a:gd name="T24" fmla="*/ 3009 w 3017"/>
                <a:gd name="T25" fmla="*/ 189 h 503"/>
                <a:gd name="T26" fmla="*/ 2997 w 3017"/>
                <a:gd name="T27" fmla="*/ 154 h 503"/>
                <a:gd name="T28" fmla="*/ 2981 w 3017"/>
                <a:gd name="T29" fmla="*/ 121 h 503"/>
                <a:gd name="T30" fmla="*/ 2960 w 3017"/>
                <a:gd name="T31" fmla="*/ 91 h 503"/>
                <a:gd name="T32" fmla="*/ 2935 w 3017"/>
                <a:gd name="T33" fmla="*/ 65 h 503"/>
                <a:gd name="T34" fmla="*/ 2907 w 3017"/>
                <a:gd name="T35" fmla="*/ 43 h 503"/>
                <a:gd name="T36" fmla="*/ 2875 w 3017"/>
                <a:gd name="T37" fmla="*/ 25 h 503"/>
                <a:gd name="T38" fmla="*/ 2840 w 3017"/>
                <a:gd name="T39" fmla="*/ 11 h 503"/>
                <a:gd name="T40" fmla="*/ 2804 w 3017"/>
                <a:gd name="T41" fmla="*/ 3 h 503"/>
                <a:gd name="T42" fmla="*/ 2766 w 3017"/>
                <a:gd name="T43" fmla="*/ 0 h 503"/>
                <a:gd name="T44" fmla="*/ 226 w 3017"/>
                <a:gd name="T45" fmla="*/ 1 h 503"/>
                <a:gd name="T46" fmla="*/ 189 w 3017"/>
                <a:gd name="T47" fmla="*/ 8 h 503"/>
                <a:gd name="T48" fmla="*/ 153 w 3017"/>
                <a:gd name="T49" fmla="*/ 20 h 503"/>
                <a:gd name="T50" fmla="*/ 121 w 3017"/>
                <a:gd name="T51" fmla="*/ 36 h 503"/>
                <a:gd name="T52" fmla="*/ 91 w 3017"/>
                <a:gd name="T53" fmla="*/ 57 h 503"/>
                <a:gd name="T54" fmla="*/ 65 w 3017"/>
                <a:gd name="T55" fmla="*/ 82 h 503"/>
                <a:gd name="T56" fmla="*/ 43 w 3017"/>
                <a:gd name="T57" fmla="*/ 111 h 503"/>
                <a:gd name="T58" fmla="*/ 25 w 3017"/>
                <a:gd name="T59" fmla="*/ 143 h 503"/>
                <a:gd name="T60" fmla="*/ 11 w 3017"/>
                <a:gd name="T61" fmla="*/ 177 h 503"/>
                <a:gd name="T62" fmla="*/ 3 w 3017"/>
                <a:gd name="T63" fmla="*/ 213 h 503"/>
                <a:gd name="T64" fmla="*/ 0 w 3017"/>
                <a:gd name="T65" fmla="*/ 251 h 503"/>
                <a:gd name="T66" fmla="*/ 3 w 3017"/>
                <a:gd name="T67" fmla="*/ 290 h 503"/>
                <a:gd name="T68" fmla="*/ 11 w 3017"/>
                <a:gd name="T69" fmla="*/ 326 h 503"/>
                <a:gd name="T70" fmla="*/ 25 w 3017"/>
                <a:gd name="T71" fmla="*/ 360 h 503"/>
                <a:gd name="T72" fmla="*/ 43 w 3017"/>
                <a:gd name="T73" fmla="*/ 392 h 503"/>
                <a:gd name="T74" fmla="*/ 65 w 3017"/>
                <a:gd name="T75" fmla="*/ 420 h 503"/>
                <a:gd name="T76" fmla="*/ 91 w 3017"/>
                <a:gd name="T77" fmla="*/ 446 h 503"/>
                <a:gd name="T78" fmla="*/ 121 w 3017"/>
                <a:gd name="T79" fmla="*/ 467 h 503"/>
                <a:gd name="T80" fmla="*/ 153 w 3017"/>
                <a:gd name="T81" fmla="*/ 483 h 503"/>
                <a:gd name="T82" fmla="*/ 189 w 3017"/>
                <a:gd name="T83" fmla="*/ 495 h 503"/>
                <a:gd name="T84" fmla="*/ 226 w 3017"/>
                <a:gd name="T85" fmla="*/ 50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17" h="503">
                  <a:moveTo>
                    <a:pt x="251" y="503"/>
                  </a:moveTo>
                  <a:lnTo>
                    <a:pt x="2766" y="503"/>
                  </a:lnTo>
                  <a:lnTo>
                    <a:pt x="2779" y="503"/>
                  </a:lnTo>
                  <a:lnTo>
                    <a:pt x="2792" y="502"/>
                  </a:lnTo>
                  <a:lnTo>
                    <a:pt x="2804" y="500"/>
                  </a:lnTo>
                  <a:lnTo>
                    <a:pt x="2816" y="498"/>
                  </a:lnTo>
                  <a:lnTo>
                    <a:pt x="2829" y="495"/>
                  </a:lnTo>
                  <a:lnTo>
                    <a:pt x="2840" y="492"/>
                  </a:lnTo>
                  <a:lnTo>
                    <a:pt x="2852" y="488"/>
                  </a:lnTo>
                  <a:lnTo>
                    <a:pt x="2863" y="483"/>
                  </a:lnTo>
                  <a:lnTo>
                    <a:pt x="2875" y="478"/>
                  </a:lnTo>
                  <a:lnTo>
                    <a:pt x="2886" y="473"/>
                  </a:lnTo>
                  <a:lnTo>
                    <a:pt x="2897" y="467"/>
                  </a:lnTo>
                  <a:lnTo>
                    <a:pt x="2907" y="460"/>
                  </a:lnTo>
                  <a:lnTo>
                    <a:pt x="2917" y="453"/>
                  </a:lnTo>
                  <a:lnTo>
                    <a:pt x="2926" y="446"/>
                  </a:lnTo>
                  <a:lnTo>
                    <a:pt x="2935" y="438"/>
                  </a:lnTo>
                  <a:lnTo>
                    <a:pt x="2944" y="430"/>
                  </a:lnTo>
                  <a:lnTo>
                    <a:pt x="2952" y="420"/>
                  </a:lnTo>
                  <a:lnTo>
                    <a:pt x="2960" y="411"/>
                  </a:lnTo>
                  <a:lnTo>
                    <a:pt x="2967" y="402"/>
                  </a:lnTo>
                  <a:lnTo>
                    <a:pt x="2974" y="392"/>
                  </a:lnTo>
                  <a:lnTo>
                    <a:pt x="2981" y="382"/>
                  </a:lnTo>
                  <a:lnTo>
                    <a:pt x="2987" y="371"/>
                  </a:lnTo>
                  <a:lnTo>
                    <a:pt x="2992" y="360"/>
                  </a:lnTo>
                  <a:lnTo>
                    <a:pt x="2997" y="349"/>
                  </a:lnTo>
                  <a:lnTo>
                    <a:pt x="3002" y="338"/>
                  </a:lnTo>
                  <a:lnTo>
                    <a:pt x="3006" y="326"/>
                  </a:lnTo>
                  <a:lnTo>
                    <a:pt x="3009" y="314"/>
                  </a:lnTo>
                  <a:lnTo>
                    <a:pt x="3012" y="302"/>
                  </a:lnTo>
                  <a:lnTo>
                    <a:pt x="3014" y="290"/>
                  </a:lnTo>
                  <a:lnTo>
                    <a:pt x="3016" y="278"/>
                  </a:lnTo>
                  <a:lnTo>
                    <a:pt x="3017" y="264"/>
                  </a:lnTo>
                  <a:lnTo>
                    <a:pt x="3017" y="251"/>
                  </a:lnTo>
                  <a:lnTo>
                    <a:pt x="3017" y="238"/>
                  </a:lnTo>
                  <a:lnTo>
                    <a:pt x="3016" y="225"/>
                  </a:lnTo>
                  <a:lnTo>
                    <a:pt x="3014" y="213"/>
                  </a:lnTo>
                  <a:lnTo>
                    <a:pt x="3012" y="201"/>
                  </a:lnTo>
                  <a:lnTo>
                    <a:pt x="3009" y="189"/>
                  </a:lnTo>
                  <a:lnTo>
                    <a:pt x="3006" y="177"/>
                  </a:lnTo>
                  <a:lnTo>
                    <a:pt x="3002" y="165"/>
                  </a:lnTo>
                  <a:lnTo>
                    <a:pt x="2997" y="154"/>
                  </a:lnTo>
                  <a:lnTo>
                    <a:pt x="2992" y="143"/>
                  </a:lnTo>
                  <a:lnTo>
                    <a:pt x="2987" y="132"/>
                  </a:lnTo>
                  <a:lnTo>
                    <a:pt x="2981" y="121"/>
                  </a:lnTo>
                  <a:lnTo>
                    <a:pt x="2974" y="111"/>
                  </a:lnTo>
                  <a:lnTo>
                    <a:pt x="2967" y="100"/>
                  </a:lnTo>
                  <a:lnTo>
                    <a:pt x="2960" y="91"/>
                  </a:lnTo>
                  <a:lnTo>
                    <a:pt x="2952" y="82"/>
                  </a:lnTo>
                  <a:lnTo>
                    <a:pt x="2944" y="73"/>
                  </a:lnTo>
                  <a:lnTo>
                    <a:pt x="2935" y="65"/>
                  </a:lnTo>
                  <a:lnTo>
                    <a:pt x="2926" y="57"/>
                  </a:lnTo>
                  <a:lnTo>
                    <a:pt x="2917" y="50"/>
                  </a:lnTo>
                  <a:lnTo>
                    <a:pt x="2907" y="43"/>
                  </a:lnTo>
                  <a:lnTo>
                    <a:pt x="2897" y="36"/>
                  </a:lnTo>
                  <a:lnTo>
                    <a:pt x="2886" y="30"/>
                  </a:lnTo>
                  <a:lnTo>
                    <a:pt x="2875" y="25"/>
                  </a:lnTo>
                  <a:lnTo>
                    <a:pt x="2863" y="20"/>
                  </a:lnTo>
                  <a:lnTo>
                    <a:pt x="2852" y="15"/>
                  </a:lnTo>
                  <a:lnTo>
                    <a:pt x="2840" y="11"/>
                  </a:lnTo>
                  <a:lnTo>
                    <a:pt x="2829" y="8"/>
                  </a:lnTo>
                  <a:lnTo>
                    <a:pt x="2816" y="5"/>
                  </a:lnTo>
                  <a:lnTo>
                    <a:pt x="2804" y="3"/>
                  </a:lnTo>
                  <a:lnTo>
                    <a:pt x="2792" y="1"/>
                  </a:lnTo>
                  <a:lnTo>
                    <a:pt x="2779" y="0"/>
                  </a:lnTo>
                  <a:lnTo>
                    <a:pt x="2766" y="0"/>
                  </a:lnTo>
                  <a:lnTo>
                    <a:pt x="251" y="0"/>
                  </a:lnTo>
                  <a:lnTo>
                    <a:pt x="238" y="0"/>
                  </a:lnTo>
                  <a:lnTo>
                    <a:pt x="226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3" y="20"/>
                  </a:lnTo>
                  <a:lnTo>
                    <a:pt x="142" y="25"/>
                  </a:lnTo>
                  <a:lnTo>
                    <a:pt x="131" y="30"/>
                  </a:lnTo>
                  <a:lnTo>
                    <a:pt x="121" y="36"/>
                  </a:lnTo>
                  <a:lnTo>
                    <a:pt x="110" y="43"/>
                  </a:lnTo>
                  <a:lnTo>
                    <a:pt x="101" y="50"/>
                  </a:lnTo>
                  <a:lnTo>
                    <a:pt x="91" y="57"/>
                  </a:lnTo>
                  <a:lnTo>
                    <a:pt x="82" y="65"/>
                  </a:lnTo>
                  <a:lnTo>
                    <a:pt x="73" y="73"/>
                  </a:lnTo>
                  <a:lnTo>
                    <a:pt x="65" y="82"/>
                  </a:lnTo>
                  <a:lnTo>
                    <a:pt x="57" y="91"/>
                  </a:lnTo>
                  <a:lnTo>
                    <a:pt x="50" y="100"/>
                  </a:lnTo>
                  <a:lnTo>
                    <a:pt x="43" y="111"/>
                  </a:lnTo>
                  <a:lnTo>
                    <a:pt x="36" y="121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4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2"/>
                  </a:lnTo>
                  <a:lnTo>
                    <a:pt x="57" y="411"/>
                  </a:lnTo>
                  <a:lnTo>
                    <a:pt x="65" y="420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1" y="453"/>
                  </a:lnTo>
                  <a:lnTo>
                    <a:pt x="110" y="460"/>
                  </a:lnTo>
                  <a:lnTo>
                    <a:pt x="121" y="467"/>
                  </a:lnTo>
                  <a:lnTo>
                    <a:pt x="131" y="473"/>
                  </a:lnTo>
                  <a:lnTo>
                    <a:pt x="142" y="478"/>
                  </a:lnTo>
                  <a:lnTo>
                    <a:pt x="153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6" y="502"/>
                  </a:lnTo>
                  <a:lnTo>
                    <a:pt x="238" y="503"/>
                  </a:lnTo>
                  <a:lnTo>
                    <a:pt x="251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33" name="iṩľíḍé">
              <a:extLst>
                <a:ext uri="{FF2B5EF4-FFF2-40B4-BE49-F238E27FC236}">
                  <a16:creationId xmlns:a16="http://schemas.microsoft.com/office/drawing/2014/main" id="{B2B9E018-21C3-4B49-A909-8DA59D2FF849}"/>
                </a:ext>
              </a:extLst>
            </p:cNvPr>
            <p:cNvSpPr/>
            <p:nvPr/>
          </p:nvSpPr>
          <p:spPr bwMode="auto">
            <a:xfrm>
              <a:off x="7175163" y="157823"/>
              <a:ext cx="124194" cy="9823"/>
            </a:xfrm>
            <a:custGeom>
              <a:avLst/>
              <a:gdLst>
                <a:gd name="T0" fmla="*/ 2 w 6538"/>
                <a:gd name="T1" fmla="*/ 278 h 504"/>
                <a:gd name="T2" fmla="*/ 8 w 6538"/>
                <a:gd name="T3" fmla="*/ 315 h 504"/>
                <a:gd name="T4" fmla="*/ 20 w 6538"/>
                <a:gd name="T5" fmla="*/ 350 h 504"/>
                <a:gd name="T6" fmla="*/ 36 w 6538"/>
                <a:gd name="T7" fmla="*/ 383 h 504"/>
                <a:gd name="T8" fmla="*/ 57 w 6538"/>
                <a:gd name="T9" fmla="*/ 412 h 504"/>
                <a:gd name="T10" fmla="*/ 82 w 6538"/>
                <a:gd name="T11" fmla="*/ 438 h 504"/>
                <a:gd name="T12" fmla="*/ 110 w 6538"/>
                <a:gd name="T13" fmla="*/ 460 h 504"/>
                <a:gd name="T14" fmla="*/ 142 w 6538"/>
                <a:gd name="T15" fmla="*/ 478 h 504"/>
                <a:gd name="T16" fmla="*/ 177 w 6538"/>
                <a:gd name="T17" fmla="*/ 493 h 504"/>
                <a:gd name="T18" fmla="*/ 213 w 6538"/>
                <a:gd name="T19" fmla="*/ 501 h 504"/>
                <a:gd name="T20" fmla="*/ 251 w 6538"/>
                <a:gd name="T21" fmla="*/ 504 h 504"/>
                <a:gd name="T22" fmla="*/ 6313 w 6538"/>
                <a:gd name="T23" fmla="*/ 503 h 504"/>
                <a:gd name="T24" fmla="*/ 6349 w 6538"/>
                <a:gd name="T25" fmla="*/ 496 h 504"/>
                <a:gd name="T26" fmla="*/ 6384 w 6538"/>
                <a:gd name="T27" fmla="*/ 483 h 504"/>
                <a:gd name="T28" fmla="*/ 6416 w 6538"/>
                <a:gd name="T29" fmla="*/ 467 h 504"/>
                <a:gd name="T30" fmla="*/ 6447 w 6538"/>
                <a:gd name="T31" fmla="*/ 446 h 504"/>
                <a:gd name="T32" fmla="*/ 6473 w 6538"/>
                <a:gd name="T33" fmla="*/ 421 h 504"/>
                <a:gd name="T34" fmla="*/ 6495 w 6538"/>
                <a:gd name="T35" fmla="*/ 393 h 504"/>
                <a:gd name="T36" fmla="*/ 6513 w 6538"/>
                <a:gd name="T37" fmla="*/ 361 h 504"/>
                <a:gd name="T38" fmla="*/ 6527 w 6538"/>
                <a:gd name="T39" fmla="*/ 326 h 504"/>
                <a:gd name="T40" fmla="*/ 6535 w 6538"/>
                <a:gd name="T41" fmla="*/ 290 h 504"/>
                <a:gd name="T42" fmla="*/ 6538 w 6538"/>
                <a:gd name="T43" fmla="*/ 252 h 504"/>
                <a:gd name="T44" fmla="*/ 6535 w 6538"/>
                <a:gd name="T45" fmla="*/ 214 h 504"/>
                <a:gd name="T46" fmla="*/ 6527 w 6538"/>
                <a:gd name="T47" fmla="*/ 178 h 504"/>
                <a:gd name="T48" fmla="*/ 6513 w 6538"/>
                <a:gd name="T49" fmla="*/ 143 h 504"/>
                <a:gd name="T50" fmla="*/ 6495 w 6538"/>
                <a:gd name="T51" fmla="*/ 111 h 504"/>
                <a:gd name="T52" fmla="*/ 6473 w 6538"/>
                <a:gd name="T53" fmla="*/ 83 h 504"/>
                <a:gd name="T54" fmla="*/ 6447 w 6538"/>
                <a:gd name="T55" fmla="*/ 58 h 504"/>
                <a:gd name="T56" fmla="*/ 6416 w 6538"/>
                <a:gd name="T57" fmla="*/ 37 h 504"/>
                <a:gd name="T58" fmla="*/ 6384 w 6538"/>
                <a:gd name="T59" fmla="*/ 21 h 504"/>
                <a:gd name="T60" fmla="*/ 6349 w 6538"/>
                <a:gd name="T61" fmla="*/ 8 h 504"/>
                <a:gd name="T62" fmla="*/ 6313 w 6538"/>
                <a:gd name="T63" fmla="*/ 1 h 504"/>
                <a:gd name="T64" fmla="*/ 251 w 6538"/>
                <a:gd name="T65" fmla="*/ 0 h 504"/>
                <a:gd name="T66" fmla="*/ 213 w 6538"/>
                <a:gd name="T67" fmla="*/ 3 h 504"/>
                <a:gd name="T68" fmla="*/ 177 w 6538"/>
                <a:gd name="T69" fmla="*/ 11 h 504"/>
                <a:gd name="T70" fmla="*/ 142 w 6538"/>
                <a:gd name="T71" fmla="*/ 26 h 504"/>
                <a:gd name="T72" fmla="*/ 110 w 6538"/>
                <a:gd name="T73" fmla="*/ 44 h 504"/>
                <a:gd name="T74" fmla="*/ 82 w 6538"/>
                <a:gd name="T75" fmla="*/ 66 h 504"/>
                <a:gd name="T76" fmla="*/ 57 w 6538"/>
                <a:gd name="T77" fmla="*/ 92 h 504"/>
                <a:gd name="T78" fmla="*/ 36 w 6538"/>
                <a:gd name="T79" fmla="*/ 121 h 504"/>
                <a:gd name="T80" fmla="*/ 20 w 6538"/>
                <a:gd name="T81" fmla="*/ 154 h 504"/>
                <a:gd name="T82" fmla="*/ 8 w 6538"/>
                <a:gd name="T83" fmla="*/ 190 h 504"/>
                <a:gd name="T84" fmla="*/ 2 w 6538"/>
                <a:gd name="T85" fmla="*/ 226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538" h="504">
                  <a:moveTo>
                    <a:pt x="0" y="252"/>
                  </a:moveTo>
                  <a:lnTo>
                    <a:pt x="1" y="265"/>
                  </a:lnTo>
                  <a:lnTo>
                    <a:pt x="2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9"/>
                  </a:lnTo>
                  <a:lnTo>
                    <a:pt x="20" y="350"/>
                  </a:lnTo>
                  <a:lnTo>
                    <a:pt x="25" y="361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1" y="453"/>
                  </a:lnTo>
                  <a:lnTo>
                    <a:pt x="110" y="460"/>
                  </a:lnTo>
                  <a:lnTo>
                    <a:pt x="121" y="467"/>
                  </a:lnTo>
                  <a:lnTo>
                    <a:pt x="131" y="473"/>
                  </a:lnTo>
                  <a:lnTo>
                    <a:pt x="142" y="478"/>
                  </a:lnTo>
                  <a:lnTo>
                    <a:pt x="153" y="483"/>
                  </a:lnTo>
                  <a:lnTo>
                    <a:pt x="165" y="489"/>
                  </a:lnTo>
                  <a:lnTo>
                    <a:pt x="177" y="493"/>
                  </a:lnTo>
                  <a:lnTo>
                    <a:pt x="189" y="496"/>
                  </a:lnTo>
                  <a:lnTo>
                    <a:pt x="201" y="499"/>
                  </a:lnTo>
                  <a:lnTo>
                    <a:pt x="213" y="501"/>
                  </a:lnTo>
                  <a:lnTo>
                    <a:pt x="226" y="503"/>
                  </a:lnTo>
                  <a:lnTo>
                    <a:pt x="238" y="504"/>
                  </a:lnTo>
                  <a:lnTo>
                    <a:pt x="251" y="504"/>
                  </a:lnTo>
                  <a:lnTo>
                    <a:pt x="6287" y="504"/>
                  </a:lnTo>
                  <a:lnTo>
                    <a:pt x="6300" y="504"/>
                  </a:lnTo>
                  <a:lnTo>
                    <a:pt x="6313" y="503"/>
                  </a:lnTo>
                  <a:lnTo>
                    <a:pt x="6325" y="501"/>
                  </a:lnTo>
                  <a:lnTo>
                    <a:pt x="6337" y="499"/>
                  </a:lnTo>
                  <a:lnTo>
                    <a:pt x="6349" y="496"/>
                  </a:lnTo>
                  <a:lnTo>
                    <a:pt x="6361" y="493"/>
                  </a:lnTo>
                  <a:lnTo>
                    <a:pt x="6373" y="489"/>
                  </a:lnTo>
                  <a:lnTo>
                    <a:pt x="6384" y="483"/>
                  </a:lnTo>
                  <a:lnTo>
                    <a:pt x="6395" y="478"/>
                  </a:lnTo>
                  <a:lnTo>
                    <a:pt x="6406" y="473"/>
                  </a:lnTo>
                  <a:lnTo>
                    <a:pt x="6416" y="467"/>
                  </a:lnTo>
                  <a:lnTo>
                    <a:pt x="6427" y="460"/>
                  </a:lnTo>
                  <a:lnTo>
                    <a:pt x="6437" y="453"/>
                  </a:lnTo>
                  <a:lnTo>
                    <a:pt x="6447" y="446"/>
                  </a:lnTo>
                  <a:lnTo>
                    <a:pt x="6456" y="438"/>
                  </a:lnTo>
                  <a:lnTo>
                    <a:pt x="6465" y="430"/>
                  </a:lnTo>
                  <a:lnTo>
                    <a:pt x="6473" y="421"/>
                  </a:lnTo>
                  <a:lnTo>
                    <a:pt x="6481" y="412"/>
                  </a:lnTo>
                  <a:lnTo>
                    <a:pt x="6488" y="403"/>
                  </a:lnTo>
                  <a:lnTo>
                    <a:pt x="6495" y="393"/>
                  </a:lnTo>
                  <a:lnTo>
                    <a:pt x="6502" y="383"/>
                  </a:lnTo>
                  <a:lnTo>
                    <a:pt x="6508" y="372"/>
                  </a:lnTo>
                  <a:lnTo>
                    <a:pt x="6513" y="361"/>
                  </a:lnTo>
                  <a:lnTo>
                    <a:pt x="6518" y="350"/>
                  </a:lnTo>
                  <a:lnTo>
                    <a:pt x="6523" y="339"/>
                  </a:lnTo>
                  <a:lnTo>
                    <a:pt x="6527" y="326"/>
                  </a:lnTo>
                  <a:lnTo>
                    <a:pt x="6530" y="315"/>
                  </a:lnTo>
                  <a:lnTo>
                    <a:pt x="6533" y="302"/>
                  </a:lnTo>
                  <a:lnTo>
                    <a:pt x="6535" y="290"/>
                  </a:lnTo>
                  <a:lnTo>
                    <a:pt x="6537" y="278"/>
                  </a:lnTo>
                  <a:lnTo>
                    <a:pt x="6538" y="265"/>
                  </a:lnTo>
                  <a:lnTo>
                    <a:pt x="6538" y="252"/>
                  </a:lnTo>
                  <a:lnTo>
                    <a:pt x="6538" y="239"/>
                  </a:lnTo>
                  <a:lnTo>
                    <a:pt x="6537" y="226"/>
                  </a:lnTo>
                  <a:lnTo>
                    <a:pt x="6535" y="214"/>
                  </a:lnTo>
                  <a:lnTo>
                    <a:pt x="6533" y="202"/>
                  </a:lnTo>
                  <a:lnTo>
                    <a:pt x="6530" y="190"/>
                  </a:lnTo>
                  <a:lnTo>
                    <a:pt x="6527" y="178"/>
                  </a:lnTo>
                  <a:lnTo>
                    <a:pt x="6523" y="165"/>
                  </a:lnTo>
                  <a:lnTo>
                    <a:pt x="6518" y="154"/>
                  </a:lnTo>
                  <a:lnTo>
                    <a:pt x="6513" y="143"/>
                  </a:lnTo>
                  <a:lnTo>
                    <a:pt x="6508" y="132"/>
                  </a:lnTo>
                  <a:lnTo>
                    <a:pt x="6502" y="121"/>
                  </a:lnTo>
                  <a:lnTo>
                    <a:pt x="6495" y="111"/>
                  </a:lnTo>
                  <a:lnTo>
                    <a:pt x="6488" y="101"/>
                  </a:lnTo>
                  <a:lnTo>
                    <a:pt x="6481" y="92"/>
                  </a:lnTo>
                  <a:lnTo>
                    <a:pt x="6473" y="83"/>
                  </a:lnTo>
                  <a:lnTo>
                    <a:pt x="6465" y="74"/>
                  </a:lnTo>
                  <a:lnTo>
                    <a:pt x="6456" y="66"/>
                  </a:lnTo>
                  <a:lnTo>
                    <a:pt x="6447" y="58"/>
                  </a:lnTo>
                  <a:lnTo>
                    <a:pt x="6437" y="51"/>
                  </a:lnTo>
                  <a:lnTo>
                    <a:pt x="6427" y="44"/>
                  </a:lnTo>
                  <a:lnTo>
                    <a:pt x="6416" y="37"/>
                  </a:lnTo>
                  <a:lnTo>
                    <a:pt x="6406" y="31"/>
                  </a:lnTo>
                  <a:lnTo>
                    <a:pt x="6395" y="26"/>
                  </a:lnTo>
                  <a:lnTo>
                    <a:pt x="6384" y="21"/>
                  </a:lnTo>
                  <a:lnTo>
                    <a:pt x="6373" y="15"/>
                  </a:lnTo>
                  <a:lnTo>
                    <a:pt x="6361" y="11"/>
                  </a:lnTo>
                  <a:lnTo>
                    <a:pt x="6349" y="8"/>
                  </a:lnTo>
                  <a:lnTo>
                    <a:pt x="6337" y="5"/>
                  </a:lnTo>
                  <a:lnTo>
                    <a:pt x="6325" y="3"/>
                  </a:lnTo>
                  <a:lnTo>
                    <a:pt x="6313" y="1"/>
                  </a:lnTo>
                  <a:lnTo>
                    <a:pt x="6300" y="0"/>
                  </a:lnTo>
                  <a:lnTo>
                    <a:pt x="6287" y="0"/>
                  </a:lnTo>
                  <a:lnTo>
                    <a:pt x="251" y="0"/>
                  </a:lnTo>
                  <a:lnTo>
                    <a:pt x="238" y="0"/>
                  </a:lnTo>
                  <a:lnTo>
                    <a:pt x="226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3" y="21"/>
                  </a:lnTo>
                  <a:lnTo>
                    <a:pt x="142" y="26"/>
                  </a:lnTo>
                  <a:lnTo>
                    <a:pt x="131" y="31"/>
                  </a:lnTo>
                  <a:lnTo>
                    <a:pt x="121" y="37"/>
                  </a:lnTo>
                  <a:lnTo>
                    <a:pt x="110" y="44"/>
                  </a:lnTo>
                  <a:lnTo>
                    <a:pt x="101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1"/>
                  </a:lnTo>
                  <a:lnTo>
                    <a:pt x="43" y="111"/>
                  </a:lnTo>
                  <a:lnTo>
                    <a:pt x="36" y="121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8"/>
                  </a:lnTo>
                  <a:lnTo>
                    <a:pt x="8" y="190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2" y="226"/>
                  </a:lnTo>
                  <a:lnTo>
                    <a:pt x="1" y="239"/>
                  </a:lnTo>
                  <a:lnTo>
                    <a:pt x="0" y="2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34" name="íṣḻídé">
              <a:extLst>
                <a:ext uri="{FF2B5EF4-FFF2-40B4-BE49-F238E27FC236}">
                  <a16:creationId xmlns:a16="http://schemas.microsoft.com/office/drawing/2014/main" id="{3662828A-CAA3-4402-972F-7B044F218036}"/>
                </a:ext>
              </a:extLst>
            </p:cNvPr>
            <p:cNvSpPr/>
            <p:nvPr/>
          </p:nvSpPr>
          <p:spPr bwMode="auto">
            <a:xfrm>
              <a:off x="7069914" y="215360"/>
              <a:ext cx="229443" cy="9122"/>
            </a:xfrm>
            <a:custGeom>
              <a:avLst/>
              <a:gdLst>
                <a:gd name="T0" fmla="*/ 238 w 12071"/>
                <a:gd name="T1" fmla="*/ 1 h 503"/>
                <a:gd name="T2" fmla="*/ 201 w 12071"/>
                <a:gd name="T3" fmla="*/ 5 h 503"/>
                <a:gd name="T4" fmla="*/ 165 w 12071"/>
                <a:gd name="T5" fmla="*/ 15 h 503"/>
                <a:gd name="T6" fmla="*/ 132 w 12071"/>
                <a:gd name="T7" fmla="*/ 30 h 503"/>
                <a:gd name="T8" fmla="*/ 100 w 12071"/>
                <a:gd name="T9" fmla="*/ 50 h 503"/>
                <a:gd name="T10" fmla="*/ 73 w 12071"/>
                <a:gd name="T11" fmla="*/ 73 h 503"/>
                <a:gd name="T12" fmla="*/ 50 w 12071"/>
                <a:gd name="T13" fmla="*/ 101 h 503"/>
                <a:gd name="T14" fmla="*/ 30 w 12071"/>
                <a:gd name="T15" fmla="*/ 131 h 503"/>
                <a:gd name="T16" fmla="*/ 15 w 12071"/>
                <a:gd name="T17" fmla="*/ 165 h 503"/>
                <a:gd name="T18" fmla="*/ 5 w 12071"/>
                <a:gd name="T19" fmla="*/ 201 h 503"/>
                <a:gd name="T20" fmla="*/ 0 w 12071"/>
                <a:gd name="T21" fmla="*/ 238 h 503"/>
                <a:gd name="T22" fmla="*/ 1 w 12071"/>
                <a:gd name="T23" fmla="*/ 277 h 503"/>
                <a:gd name="T24" fmla="*/ 8 w 12071"/>
                <a:gd name="T25" fmla="*/ 315 h 503"/>
                <a:gd name="T26" fmla="*/ 20 w 12071"/>
                <a:gd name="T27" fmla="*/ 349 h 503"/>
                <a:gd name="T28" fmla="*/ 36 w 12071"/>
                <a:gd name="T29" fmla="*/ 382 h 503"/>
                <a:gd name="T30" fmla="*/ 57 w 12071"/>
                <a:gd name="T31" fmla="*/ 411 h 503"/>
                <a:gd name="T32" fmla="*/ 82 w 12071"/>
                <a:gd name="T33" fmla="*/ 437 h 503"/>
                <a:gd name="T34" fmla="*/ 111 w 12071"/>
                <a:gd name="T35" fmla="*/ 460 h 503"/>
                <a:gd name="T36" fmla="*/ 143 w 12071"/>
                <a:gd name="T37" fmla="*/ 479 h 503"/>
                <a:gd name="T38" fmla="*/ 177 w 12071"/>
                <a:gd name="T39" fmla="*/ 492 h 503"/>
                <a:gd name="T40" fmla="*/ 213 w 12071"/>
                <a:gd name="T41" fmla="*/ 500 h 503"/>
                <a:gd name="T42" fmla="*/ 251 w 12071"/>
                <a:gd name="T43" fmla="*/ 503 h 503"/>
                <a:gd name="T44" fmla="*/ 11846 w 12071"/>
                <a:gd name="T45" fmla="*/ 502 h 503"/>
                <a:gd name="T46" fmla="*/ 11882 w 12071"/>
                <a:gd name="T47" fmla="*/ 495 h 503"/>
                <a:gd name="T48" fmla="*/ 11917 w 12071"/>
                <a:gd name="T49" fmla="*/ 484 h 503"/>
                <a:gd name="T50" fmla="*/ 11949 w 12071"/>
                <a:gd name="T51" fmla="*/ 467 h 503"/>
                <a:gd name="T52" fmla="*/ 11980 w 12071"/>
                <a:gd name="T53" fmla="*/ 445 h 503"/>
                <a:gd name="T54" fmla="*/ 12006 w 12071"/>
                <a:gd name="T55" fmla="*/ 420 h 503"/>
                <a:gd name="T56" fmla="*/ 12028 w 12071"/>
                <a:gd name="T57" fmla="*/ 392 h 503"/>
                <a:gd name="T58" fmla="*/ 12046 w 12071"/>
                <a:gd name="T59" fmla="*/ 360 h 503"/>
                <a:gd name="T60" fmla="*/ 12060 w 12071"/>
                <a:gd name="T61" fmla="*/ 326 h 503"/>
                <a:gd name="T62" fmla="*/ 12068 w 12071"/>
                <a:gd name="T63" fmla="*/ 289 h 503"/>
                <a:gd name="T64" fmla="*/ 12071 w 12071"/>
                <a:gd name="T65" fmla="*/ 251 h 503"/>
                <a:gd name="T66" fmla="*/ 12068 w 12071"/>
                <a:gd name="T67" fmla="*/ 213 h 503"/>
                <a:gd name="T68" fmla="*/ 12060 w 12071"/>
                <a:gd name="T69" fmla="*/ 177 h 503"/>
                <a:gd name="T70" fmla="*/ 12046 w 12071"/>
                <a:gd name="T71" fmla="*/ 143 h 503"/>
                <a:gd name="T72" fmla="*/ 12028 w 12071"/>
                <a:gd name="T73" fmla="*/ 110 h 503"/>
                <a:gd name="T74" fmla="*/ 12006 w 12071"/>
                <a:gd name="T75" fmla="*/ 82 h 503"/>
                <a:gd name="T76" fmla="*/ 11980 w 12071"/>
                <a:gd name="T77" fmla="*/ 57 h 503"/>
                <a:gd name="T78" fmla="*/ 11949 w 12071"/>
                <a:gd name="T79" fmla="*/ 36 h 503"/>
                <a:gd name="T80" fmla="*/ 11917 w 12071"/>
                <a:gd name="T81" fmla="*/ 20 h 503"/>
                <a:gd name="T82" fmla="*/ 11882 w 12071"/>
                <a:gd name="T83" fmla="*/ 8 h 503"/>
                <a:gd name="T84" fmla="*/ 11846 w 12071"/>
                <a:gd name="T85" fmla="*/ 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71" h="503">
                  <a:moveTo>
                    <a:pt x="11820" y="0"/>
                  </a:moveTo>
                  <a:lnTo>
                    <a:pt x="251" y="0"/>
                  </a:lnTo>
                  <a:lnTo>
                    <a:pt x="238" y="1"/>
                  </a:lnTo>
                  <a:lnTo>
                    <a:pt x="225" y="2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8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3"/>
                  </a:lnTo>
                  <a:lnTo>
                    <a:pt x="100" y="50"/>
                  </a:lnTo>
                  <a:lnTo>
                    <a:pt x="91" y="57"/>
                  </a:lnTo>
                  <a:lnTo>
                    <a:pt x="82" y="65"/>
                  </a:lnTo>
                  <a:lnTo>
                    <a:pt x="73" y="73"/>
                  </a:lnTo>
                  <a:lnTo>
                    <a:pt x="65" y="82"/>
                  </a:lnTo>
                  <a:lnTo>
                    <a:pt x="57" y="91"/>
                  </a:lnTo>
                  <a:lnTo>
                    <a:pt x="50" y="101"/>
                  </a:lnTo>
                  <a:lnTo>
                    <a:pt x="43" y="110"/>
                  </a:lnTo>
                  <a:lnTo>
                    <a:pt x="36" y="121"/>
                  </a:lnTo>
                  <a:lnTo>
                    <a:pt x="30" y="131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6"/>
                  </a:lnTo>
                  <a:lnTo>
                    <a:pt x="0" y="238"/>
                  </a:lnTo>
                  <a:lnTo>
                    <a:pt x="0" y="251"/>
                  </a:lnTo>
                  <a:lnTo>
                    <a:pt x="0" y="264"/>
                  </a:lnTo>
                  <a:lnTo>
                    <a:pt x="1" y="277"/>
                  </a:lnTo>
                  <a:lnTo>
                    <a:pt x="3" y="289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2"/>
                  </a:lnTo>
                  <a:lnTo>
                    <a:pt x="57" y="411"/>
                  </a:lnTo>
                  <a:lnTo>
                    <a:pt x="65" y="420"/>
                  </a:lnTo>
                  <a:lnTo>
                    <a:pt x="73" y="429"/>
                  </a:lnTo>
                  <a:lnTo>
                    <a:pt x="82" y="437"/>
                  </a:lnTo>
                  <a:lnTo>
                    <a:pt x="91" y="445"/>
                  </a:lnTo>
                  <a:lnTo>
                    <a:pt x="100" y="452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9"/>
                  </a:lnTo>
                  <a:lnTo>
                    <a:pt x="154" y="484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8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11820" y="503"/>
                  </a:lnTo>
                  <a:lnTo>
                    <a:pt x="11833" y="503"/>
                  </a:lnTo>
                  <a:lnTo>
                    <a:pt x="11846" y="502"/>
                  </a:lnTo>
                  <a:lnTo>
                    <a:pt x="11858" y="500"/>
                  </a:lnTo>
                  <a:lnTo>
                    <a:pt x="11870" y="498"/>
                  </a:lnTo>
                  <a:lnTo>
                    <a:pt x="11882" y="495"/>
                  </a:lnTo>
                  <a:lnTo>
                    <a:pt x="11894" y="492"/>
                  </a:lnTo>
                  <a:lnTo>
                    <a:pt x="11906" y="488"/>
                  </a:lnTo>
                  <a:lnTo>
                    <a:pt x="11917" y="484"/>
                  </a:lnTo>
                  <a:lnTo>
                    <a:pt x="11928" y="479"/>
                  </a:lnTo>
                  <a:lnTo>
                    <a:pt x="11939" y="473"/>
                  </a:lnTo>
                  <a:lnTo>
                    <a:pt x="11949" y="467"/>
                  </a:lnTo>
                  <a:lnTo>
                    <a:pt x="11960" y="460"/>
                  </a:lnTo>
                  <a:lnTo>
                    <a:pt x="11970" y="452"/>
                  </a:lnTo>
                  <a:lnTo>
                    <a:pt x="11980" y="445"/>
                  </a:lnTo>
                  <a:lnTo>
                    <a:pt x="11989" y="437"/>
                  </a:lnTo>
                  <a:lnTo>
                    <a:pt x="11998" y="429"/>
                  </a:lnTo>
                  <a:lnTo>
                    <a:pt x="12006" y="420"/>
                  </a:lnTo>
                  <a:lnTo>
                    <a:pt x="12014" y="411"/>
                  </a:lnTo>
                  <a:lnTo>
                    <a:pt x="12021" y="402"/>
                  </a:lnTo>
                  <a:lnTo>
                    <a:pt x="12028" y="392"/>
                  </a:lnTo>
                  <a:lnTo>
                    <a:pt x="12035" y="382"/>
                  </a:lnTo>
                  <a:lnTo>
                    <a:pt x="12041" y="371"/>
                  </a:lnTo>
                  <a:lnTo>
                    <a:pt x="12046" y="360"/>
                  </a:lnTo>
                  <a:lnTo>
                    <a:pt x="12051" y="349"/>
                  </a:lnTo>
                  <a:lnTo>
                    <a:pt x="12056" y="338"/>
                  </a:lnTo>
                  <a:lnTo>
                    <a:pt x="12060" y="326"/>
                  </a:lnTo>
                  <a:lnTo>
                    <a:pt x="12063" y="315"/>
                  </a:lnTo>
                  <a:lnTo>
                    <a:pt x="12066" y="303"/>
                  </a:lnTo>
                  <a:lnTo>
                    <a:pt x="12068" y="289"/>
                  </a:lnTo>
                  <a:lnTo>
                    <a:pt x="12070" y="277"/>
                  </a:lnTo>
                  <a:lnTo>
                    <a:pt x="12071" y="264"/>
                  </a:lnTo>
                  <a:lnTo>
                    <a:pt x="12071" y="251"/>
                  </a:lnTo>
                  <a:lnTo>
                    <a:pt x="12071" y="238"/>
                  </a:lnTo>
                  <a:lnTo>
                    <a:pt x="12070" y="226"/>
                  </a:lnTo>
                  <a:lnTo>
                    <a:pt x="12068" y="213"/>
                  </a:lnTo>
                  <a:lnTo>
                    <a:pt x="12066" y="201"/>
                  </a:lnTo>
                  <a:lnTo>
                    <a:pt x="12063" y="189"/>
                  </a:lnTo>
                  <a:lnTo>
                    <a:pt x="12060" y="177"/>
                  </a:lnTo>
                  <a:lnTo>
                    <a:pt x="12056" y="165"/>
                  </a:lnTo>
                  <a:lnTo>
                    <a:pt x="12051" y="154"/>
                  </a:lnTo>
                  <a:lnTo>
                    <a:pt x="12046" y="143"/>
                  </a:lnTo>
                  <a:lnTo>
                    <a:pt x="12041" y="131"/>
                  </a:lnTo>
                  <a:lnTo>
                    <a:pt x="12035" y="121"/>
                  </a:lnTo>
                  <a:lnTo>
                    <a:pt x="12028" y="110"/>
                  </a:lnTo>
                  <a:lnTo>
                    <a:pt x="12021" y="101"/>
                  </a:lnTo>
                  <a:lnTo>
                    <a:pt x="12014" y="91"/>
                  </a:lnTo>
                  <a:lnTo>
                    <a:pt x="12006" y="82"/>
                  </a:lnTo>
                  <a:lnTo>
                    <a:pt x="11998" y="73"/>
                  </a:lnTo>
                  <a:lnTo>
                    <a:pt x="11989" y="65"/>
                  </a:lnTo>
                  <a:lnTo>
                    <a:pt x="11980" y="57"/>
                  </a:lnTo>
                  <a:lnTo>
                    <a:pt x="11970" y="50"/>
                  </a:lnTo>
                  <a:lnTo>
                    <a:pt x="11960" y="43"/>
                  </a:lnTo>
                  <a:lnTo>
                    <a:pt x="11949" y="36"/>
                  </a:lnTo>
                  <a:lnTo>
                    <a:pt x="11939" y="30"/>
                  </a:lnTo>
                  <a:lnTo>
                    <a:pt x="11928" y="25"/>
                  </a:lnTo>
                  <a:lnTo>
                    <a:pt x="11917" y="20"/>
                  </a:lnTo>
                  <a:lnTo>
                    <a:pt x="11906" y="15"/>
                  </a:lnTo>
                  <a:lnTo>
                    <a:pt x="11894" y="11"/>
                  </a:lnTo>
                  <a:lnTo>
                    <a:pt x="11882" y="8"/>
                  </a:lnTo>
                  <a:lnTo>
                    <a:pt x="11870" y="5"/>
                  </a:lnTo>
                  <a:lnTo>
                    <a:pt x="11858" y="3"/>
                  </a:lnTo>
                  <a:lnTo>
                    <a:pt x="11846" y="2"/>
                  </a:lnTo>
                  <a:lnTo>
                    <a:pt x="11833" y="1"/>
                  </a:lnTo>
                  <a:lnTo>
                    <a:pt x="118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35" name="í$1íḍé">
              <a:extLst>
                <a:ext uri="{FF2B5EF4-FFF2-40B4-BE49-F238E27FC236}">
                  <a16:creationId xmlns:a16="http://schemas.microsoft.com/office/drawing/2014/main" id="{672E8426-CF7B-4B02-A4EA-7A7D502C8924}"/>
                </a:ext>
              </a:extLst>
            </p:cNvPr>
            <p:cNvSpPr/>
            <p:nvPr/>
          </p:nvSpPr>
          <p:spPr bwMode="auto">
            <a:xfrm>
              <a:off x="7069914" y="244128"/>
              <a:ext cx="229443" cy="9122"/>
            </a:xfrm>
            <a:custGeom>
              <a:avLst/>
              <a:gdLst>
                <a:gd name="T0" fmla="*/ 238 w 12071"/>
                <a:gd name="T1" fmla="*/ 1 h 503"/>
                <a:gd name="T2" fmla="*/ 201 w 12071"/>
                <a:gd name="T3" fmla="*/ 5 h 503"/>
                <a:gd name="T4" fmla="*/ 165 w 12071"/>
                <a:gd name="T5" fmla="*/ 15 h 503"/>
                <a:gd name="T6" fmla="*/ 132 w 12071"/>
                <a:gd name="T7" fmla="*/ 30 h 503"/>
                <a:gd name="T8" fmla="*/ 100 w 12071"/>
                <a:gd name="T9" fmla="*/ 51 h 503"/>
                <a:gd name="T10" fmla="*/ 73 w 12071"/>
                <a:gd name="T11" fmla="*/ 74 h 503"/>
                <a:gd name="T12" fmla="*/ 50 w 12071"/>
                <a:gd name="T13" fmla="*/ 102 h 503"/>
                <a:gd name="T14" fmla="*/ 30 w 12071"/>
                <a:gd name="T15" fmla="*/ 132 h 503"/>
                <a:gd name="T16" fmla="*/ 15 w 12071"/>
                <a:gd name="T17" fmla="*/ 165 h 503"/>
                <a:gd name="T18" fmla="*/ 5 w 12071"/>
                <a:gd name="T19" fmla="*/ 201 h 503"/>
                <a:gd name="T20" fmla="*/ 0 w 12071"/>
                <a:gd name="T21" fmla="*/ 239 h 503"/>
                <a:gd name="T22" fmla="*/ 1 w 12071"/>
                <a:gd name="T23" fmla="*/ 278 h 503"/>
                <a:gd name="T24" fmla="*/ 8 w 12071"/>
                <a:gd name="T25" fmla="*/ 315 h 503"/>
                <a:gd name="T26" fmla="*/ 20 w 12071"/>
                <a:gd name="T27" fmla="*/ 349 h 503"/>
                <a:gd name="T28" fmla="*/ 36 w 12071"/>
                <a:gd name="T29" fmla="*/ 383 h 503"/>
                <a:gd name="T30" fmla="*/ 57 w 12071"/>
                <a:gd name="T31" fmla="*/ 412 h 503"/>
                <a:gd name="T32" fmla="*/ 82 w 12071"/>
                <a:gd name="T33" fmla="*/ 438 h 503"/>
                <a:gd name="T34" fmla="*/ 111 w 12071"/>
                <a:gd name="T35" fmla="*/ 460 h 503"/>
                <a:gd name="T36" fmla="*/ 143 w 12071"/>
                <a:gd name="T37" fmla="*/ 478 h 503"/>
                <a:gd name="T38" fmla="*/ 177 w 12071"/>
                <a:gd name="T39" fmla="*/ 492 h 503"/>
                <a:gd name="T40" fmla="*/ 213 w 12071"/>
                <a:gd name="T41" fmla="*/ 500 h 503"/>
                <a:gd name="T42" fmla="*/ 251 w 12071"/>
                <a:gd name="T43" fmla="*/ 503 h 503"/>
                <a:gd name="T44" fmla="*/ 11846 w 12071"/>
                <a:gd name="T45" fmla="*/ 502 h 503"/>
                <a:gd name="T46" fmla="*/ 11882 w 12071"/>
                <a:gd name="T47" fmla="*/ 495 h 503"/>
                <a:gd name="T48" fmla="*/ 11917 w 12071"/>
                <a:gd name="T49" fmla="*/ 483 h 503"/>
                <a:gd name="T50" fmla="*/ 11949 w 12071"/>
                <a:gd name="T51" fmla="*/ 467 h 503"/>
                <a:gd name="T52" fmla="*/ 11980 w 12071"/>
                <a:gd name="T53" fmla="*/ 446 h 503"/>
                <a:gd name="T54" fmla="*/ 12006 w 12071"/>
                <a:gd name="T55" fmla="*/ 421 h 503"/>
                <a:gd name="T56" fmla="*/ 12028 w 12071"/>
                <a:gd name="T57" fmla="*/ 393 h 503"/>
                <a:gd name="T58" fmla="*/ 12046 w 12071"/>
                <a:gd name="T59" fmla="*/ 360 h 503"/>
                <a:gd name="T60" fmla="*/ 12060 w 12071"/>
                <a:gd name="T61" fmla="*/ 326 h 503"/>
                <a:gd name="T62" fmla="*/ 12068 w 12071"/>
                <a:gd name="T63" fmla="*/ 290 h 503"/>
                <a:gd name="T64" fmla="*/ 12071 w 12071"/>
                <a:gd name="T65" fmla="*/ 252 h 503"/>
                <a:gd name="T66" fmla="*/ 12068 w 12071"/>
                <a:gd name="T67" fmla="*/ 214 h 503"/>
                <a:gd name="T68" fmla="*/ 12060 w 12071"/>
                <a:gd name="T69" fmla="*/ 177 h 503"/>
                <a:gd name="T70" fmla="*/ 12046 w 12071"/>
                <a:gd name="T71" fmla="*/ 143 h 503"/>
                <a:gd name="T72" fmla="*/ 12028 w 12071"/>
                <a:gd name="T73" fmla="*/ 111 h 503"/>
                <a:gd name="T74" fmla="*/ 12006 w 12071"/>
                <a:gd name="T75" fmla="*/ 83 h 503"/>
                <a:gd name="T76" fmla="*/ 11980 w 12071"/>
                <a:gd name="T77" fmla="*/ 58 h 503"/>
                <a:gd name="T78" fmla="*/ 11949 w 12071"/>
                <a:gd name="T79" fmla="*/ 36 h 503"/>
                <a:gd name="T80" fmla="*/ 11917 w 12071"/>
                <a:gd name="T81" fmla="*/ 20 h 503"/>
                <a:gd name="T82" fmla="*/ 11882 w 12071"/>
                <a:gd name="T83" fmla="*/ 8 h 503"/>
                <a:gd name="T84" fmla="*/ 11846 w 12071"/>
                <a:gd name="T85" fmla="*/ 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71" h="503">
                  <a:moveTo>
                    <a:pt x="11820" y="0"/>
                  </a:moveTo>
                  <a:lnTo>
                    <a:pt x="251" y="0"/>
                  </a:lnTo>
                  <a:lnTo>
                    <a:pt x="238" y="1"/>
                  </a:lnTo>
                  <a:lnTo>
                    <a:pt x="225" y="2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8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3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1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8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11820" y="503"/>
                  </a:lnTo>
                  <a:lnTo>
                    <a:pt x="11833" y="503"/>
                  </a:lnTo>
                  <a:lnTo>
                    <a:pt x="11846" y="502"/>
                  </a:lnTo>
                  <a:lnTo>
                    <a:pt x="11858" y="500"/>
                  </a:lnTo>
                  <a:lnTo>
                    <a:pt x="11870" y="498"/>
                  </a:lnTo>
                  <a:lnTo>
                    <a:pt x="11882" y="495"/>
                  </a:lnTo>
                  <a:lnTo>
                    <a:pt x="11894" y="492"/>
                  </a:lnTo>
                  <a:lnTo>
                    <a:pt x="11906" y="488"/>
                  </a:lnTo>
                  <a:lnTo>
                    <a:pt x="11917" y="483"/>
                  </a:lnTo>
                  <a:lnTo>
                    <a:pt x="11928" y="478"/>
                  </a:lnTo>
                  <a:lnTo>
                    <a:pt x="11939" y="473"/>
                  </a:lnTo>
                  <a:lnTo>
                    <a:pt x="11949" y="467"/>
                  </a:lnTo>
                  <a:lnTo>
                    <a:pt x="11960" y="460"/>
                  </a:lnTo>
                  <a:lnTo>
                    <a:pt x="11970" y="453"/>
                  </a:lnTo>
                  <a:lnTo>
                    <a:pt x="11980" y="446"/>
                  </a:lnTo>
                  <a:lnTo>
                    <a:pt x="11989" y="438"/>
                  </a:lnTo>
                  <a:lnTo>
                    <a:pt x="11998" y="430"/>
                  </a:lnTo>
                  <a:lnTo>
                    <a:pt x="12006" y="421"/>
                  </a:lnTo>
                  <a:lnTo>
                    <a:pt x="12014" y="412"/>
                  </a:lnTo>
                  <a:lnTo>
                    <a:pt x="12021" y="403"/>
                  </a:lnTo>
                  <a:lnTo>
                    <a:pt x="12028" y="393"/>
                  </a:lnTo>
                  <a:lnTo>
                    <a:pt x="12035" y="383"/>
                  </a:lnTo>
                  <a:lnTo>
                    <a:pt x="12041" y="372"/>
                  </a:lnTo>
                  <a:lnTo>
                    <a:pt x="12046" y="360"/>
                  </a:lnTo>
                  <a:lnTo>
                    <a:pt x="12051" y="349"/>
                  </a:lnTo>
                  <a:lnTo>
                    <a:pt x="12056" y="338"/>
                  </a:lnTo>
                  <a:lnTo>
                    <a:pt x="12060" y="326"/>
                  </a:lnTo>
                  <a:lnTo>
                    <a:pt x="12063" y="315"/>
                  </a:lnTo>
                  <a:lnTo>
                    <a:pt x="12066" y="302"/>
                  </a:lnTo>
                  <a:lnTo>
                    <a:pt x="12068" y="290"/>
                  </a:lnTo>
                  <a:lnTo>
                    <a:pt x="12070" y="278"/>
                  </a:lnTo>
                  <a:lnTo>
                    <a:pt x="12071" y="265"/>
                  </a:lnTo>
                  <a:lnTo>
                    <a:pt x="12071" y="252"/>
                  </a:lnTo>
                  <a:lnTo>
                    <a:pt x="12071" y="239"/>
                  </a:lnTo>
                  <a:lnTo>
                    <a:pt x="12070" y="227"/>
                  </a:lnTo>
                  <a:lnTo>
                    <a:pt x="12068" y="214"/>
                  </a:lnTo>
                  <a:lnTo>
                    <a:pt x="12066" y="201"/>
                  </a:lnTo>
                  <a:lnTo>
                    <a:pt x="12063" y="189"/>
                  </a:lnTo>
                  <a:lnTo>
                    <a:pt x="12060" y="177"/>
                  </a:lnTo>
                  <a:lnTo>
                    <a:pt x="12056" y="165"/>
                  </a:lnTo>
                  <a:lnTo>
                    <a:pt x="12051" y="154"/>
                  </a:lnTo>
                  <a:lnTo>
                    <a:pt x="12046" y="143"/>
                  </a:lnTo>
                  <a:lnTo>
                    <a:pt x="12041" y="132"/>
                  </a:lnTo>
                  <a:lnTo>
                    <a:pt x="12035" y="121"/>
                  </a:lnTo>
                  <a:lnTo>
                    <a:pt x="12028" y="111"/>
                  </a:lnTo>
                  <a:lnTo>
                    <a:pt x="12021" y="102"/>
                  </a:lnTo>
                  <a:lnTo>
                    <a:pt x="12014" y="92"/>
                  </a:lnTo>
                  <a:lnTo>
                    <a:pt x="12006" y="83"/>
                  </a:lnTo>
                  <a:lnTo>
                    <a:pt x="11998" y="74"/>
                  </a:lnTo>
                  <a:lnTo>
                    <a:pt x="11989" y="66"/>
                  </a:lnTo>
                  <a:lnTo>
                    <a:pt x="11980" y="58"/>
                  </a:lnTo>
                  <a:lnTo>
                    <a:pt x="11970" y="51"/>
                  </a:lnTo>
                  <a:lnTo>
                    <a:pt x="11960" y="43"/>
                  </a:lnTo>
                  <a:lnTo>
                    <a:pt x="11949" y="36"/>
                  </a:lnTo>
                  <a:lnTo>
                    <a:pt x="11939" y="30"/>
                  </a:lnTo>
                  <a:lnTo>
                    <a:pt x="11928" y="25"/>
                  </a:lnTo>
                  <a:lnTo>
                    <a:pt x="11917" y="20"/>
                  </a:lnTo>
                  <a:lnTo>
                    <a:pt x="11906" y="15"/>
                  </a:lnTo>
                  <a:lnTo>
                    <a:pt x="11894" y="11"/>
                  </a:lnTo>
                  <a:lnTo>
                    <a:pt x="11882" y="8"/>
                  </a:lnTo>
                  <a:lnTo>
                    <a:pt x="11870" y="5"/>
                  </a:lnTo>
                  <a:lnTo>
                    <a:pt x="11858" y="3"/>
                  </a:lnTo>
                  <a:lnTo>
                    <a:pt x="11846" y="2"/>
                  </a:lnTo>
                  <a:lnTo>
                    <a:pt x="11833" y="1"/>
                  </a:lnTo>
                  <a:lnTo>
                    <a:pt x="118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36" name="îşḻîdê">
              <a:extLst>
                <a:ext uri="{FF2B5EF4-FFF2-40B4-BE49-F238E27FC236}">
                  <a16:creationId xmlns:a16="http://schemas.microsoft.com/office/drawing/2014/main" id="{CFEB6E55-D025-4496-A302-4FD35FAB1825}"/>
                </a:ext>
              </a:extLst>
            </p:cNvPr>
            <p:cNvSpPr/>
            <p:nvPr/>
          </p:nvSpPr>
          <p:spPr bwMode="auto">
            <a:xfrm>
              <a:off x="7069914" y="272195"/>
              <a:ext cx="229443" cy="9823"/>
            </a:xfrm>
            <a:custGeom>
              <a:avLst/>
              <a:gdLst>
                <a:gd name="T0" fmla="*/ 238 w 12071"/>
                <a:gd name="T1" fmla="*/ 1 h 503"/>
                <a:gd name="T2" fmla="*/ 201 w 12071"/>
                <a:gd name="T3" fmla="*/ 5 h 503"/>
                <a:gd name="T4" fmla="*/ 165 w 12071"/>
                <a:gd name="T5" fmla="*/ 15 h 503"/>
                <a:gd name="T6" fmla="*/ 132 w 12071"/>
                <a:gd name="T7" fmla="*/ 30 h 503"/>
                <a:gd name="T8" fmla="*/ 100 w 12071"/>
                <a:gd name="T9" fmla="*/ 50 h 503"/>
                <a:gd name="T10" fmla="*/ 73 w 12071"/>
                <a:gd name="T11" fmla="*/ 73 h 503"/>
                <a:gd name="T12" fmla="*/ 50 w 12071"/>
                <a:gd name="T13" fmla="*/ 100 h 503"/>
                <a:gd name="T14" fmla="*/ 30 w 12071"/>
                <a:gd name="T15" fmla="*/ 132 h 503"/>
                <a:gd name="T16" fmla="*/ 15 w 12071"/>
                <a:gd name="T17" fmla="*/ 165 h 503"/>
                <a:gd name="T18" fmla="*/ 5 w 12071"/>
                <a:gd name="T19" fmla="*/ 201 h 503"/>
                <a:gd name="T20" fmla="*/ 0 w 12071"/>
                <a:gd name="T21" fmla="*/ 238 h 503"/>
                <a:gd name="T22" fmla="*/ 1 w 12071"/>
                <a:gd name="T23" fmla="*/ 278 h 503"/>
                <a:gd name="T24" fmla="*/ 8 w 12071"/>
                <a:gd name="T25" fmla="*/ 315 h 503"/>
                <a:gd name="T26" fmla="*/ 20 w 12071"/>
                <a:gd name="T27" fmla="*/ 349 h 503"/>
                <a:gd name="T28" fmla="*/ 36 w 12071"/>
                <a:gd name="T29" fmla="*/ 382 h 503"/>
                <a:gd name="T30" fmla="*/ 57 w 12071"/>
                <a:gd name="T31" fmla="*/ 411 h 503"/>
                <a:gd name="T32" fmla="*/ 82 w 12071"/>
                <a:gd name="T33" fmla="*/ 438 h 503"/>
                <a:gd name="T34" fmla="*/ 111 w 12071"/>
                <a:gd name="T35" fmla="*/ 460 h 503"/>
                <a:gd name="T36" fmla="*/ 143 w 12071"/>
                <a:gd name="T37" fmla="*/ 479 h 503"/>
                <a:gd name="T38" fmla="*/ 177 w 12071"/>
                <a:gd name="T39" fmla="*/ 492 h 503"/>
                <a:gd name="T40" fmla="*/ 213 w 12071"/>
                <a:gd name="T41" fmla="*/ 500 h 503"/>
                <a:gd name="T42" fmla="*/ 251 w 12071"/>
                <a:gd name="T43" fmla="*/ 503 h 503"/>
                <a:gd name="T44" fmla="*/ 11846 w 12071"/>
                <a:gd name="T45" fmla="*/ 502 h 503"/>
                <a:gd name="T46" fmla="*/ 11882 w 12071"/>
                <a:gd name="T47" fmla="*/ 495 h 503"/>
                <a:gd name="T48" fmla="*/ 11917 w 12071"/>
                <a:gd name="T49" fmla="*/ 484 h 503"/>
                <a:gd name="T50" fmla="*/ 11949 w 12071"/>
                <a:gd name="T51" fmla="*/ 467 h 503"/>
                <a:gd name="T52" fmla="*/ 11980 w 12071"/>
                <a:gd name="T53" fmla="*/ 446 h 503"/>
                <a:gd name="T54" fmla="*/ 12006 w 12071"/>
                <a:gd name="T55" fmla="*/ 420 h 503"/>
                <a:gd name="T56" fmla="*/ 12028 w 12071"/>
                <a:gd name="T57" fmla="*/ 392 h 503"/>
                <a:gd name="T58" fmla="*/ 12046 w 12071"/>
                <a:gd name="T59" fmla="*/ 360 h 503"/>
                <a:gd name="T60" fmla="*/ 12060 w 12071"/>
                <a:gd name="T61" fmla="*/ 326 h 503"/>
                <a:gd name="T62" fmla="*/ 12068 w 12071"/>
                <a:gd name="T63" fmla="*/ 290 h 503"/>
                <a:gd name="T64" fmla="*/ 12071 w 12071"/>
                <a:gd name="T65" fmla="*/ 251 h 503"/>
                <a:gd name="T66" fmla="*/ 12068 w 12071"/>
                <a:gd name="T67" fmla="*/ 213 h 503"/>
                <a:gd name="T68" fmla="*/ 12060 w 12071"/>
                <a:gd name="T69" fmla="*/ 177 h 503"/>
                <a:gd name="T70" fmla="*/ 12046 w 12071"/>
                <a:gd name="T71" fmla="*/ 143 h 503"/>
                <a:gd name="T72" fmla="*/ 12028 w 12071"/>
                <a:gd name="T73" fmla="*/ 111 h 503"/>
                <a:gd name="T74" fmla="*/ 12006 w 12071"/>
                <a:gd name="T75" fmla="*/ 82 h 503"/>
                <a:gd name="T76" fmla="*/ 11980 w 12071"/>
                <a:gd name="T77" fmla="*/ 57 h 503"/>
                <a:gd name="T78" fmla="*/ 11949 w 12071"/>
                <a:gd name="T79" fmla="*/ 36 h 503"/>
                <a:gd name="T80" fmla="*/ 11917 w 12071"/>
                <a:gd name="T81" fmla="*/ 20 h 503"/>
                <a:gd name="T82" fmla="*/ 11882 w 12071"/>
                <a:gd name="T83" fmla="*/ 8 h 503"/>
                <a:gd name="T84" fmla="*/ 11846 w 12071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71" h="503">
                  <a:moveTo>
                    <a:pt x="11820" y="0"/>
                  </a:moveTo>
                  <a:lnTo>
                    <a:pt x="251" y="0"/>
                  </a:lnTo>
                  <a:lnTo>
                    <a:pt x="238" y="1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8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3"/>
                  </a:lnTo>
                  <a:lnTo>
                    <a:pt x="100" y="50"/>
                  </a:lnTo>
                  <a:lnTo>
                    <a:pt x="91" y="57"/>
                  </a:lnTo>
                  <a:lnTo>
                    <a:pt x="82" y="65"/>
                  </a:lnTo>
                  <a:lnTo>
                    <a:pt x="73" y="73"/>
                  </a:lnTo>
                  <a:lnTo>
                    <a:pt x="65" y="82"/>
                  </a:lnTo>
                  <a:lnTo>
                    <a:pt x="57" y="91"/>
                  </a:lnTo>
                  <a:lnTo>
                    <a:pt x="50" y="100"/>
                  </a:lnTo>
                  <a:lnTo>
                    <a:pt x="43" y="111"/>
                  </a:lnTo>
                  <a:lnTo>
                    <a:pt x="36" y="121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6"/>
                  </a:lnTo>
                  <a:lnTo>
                    <a:pt x="0" y="238"/>
                  </a:lnTo>
                  <a:lnTo>
                    <a:pt x="0" y="251"/>
                  </a:lnTo>
                  <a:lnTo>
                    <a:pt x="0" y="264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2"/>
                  </a:lnTo>
                  <a:lnTo>
                    <a:pt x="57" y="411"/>
                  </a:lnTo>
                  <a:lnTo>
                    <a:pt x="65" y="420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9"/>
                  </a:lnTo>
                  <a:lnTo>
                    <a:pt x="154" y="484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8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11820" y="503"/>
                  </a:lnTo>
                  <a:lnTo>
                    <a:pt x="11833" y="503"/>
                  </a:lnTo>
                  <a:lnTo>
                    <a:pt x="11846" y="502"/>
                  </a:lnTo>
                  <a:lnTo>
                    <a:pt x="11858" y="500"/>
                  </a:lnTo>
                  <a:lnTo>
                    <a:pt x="11870" y="498"/>
                  </a:lnTo>
                  <a:lnTo>
                    <a:pt x="11882" y="495"/>
                  </a:lnTo>
                  <a:lnTo>
                    <a:pt x="11894" y="492"/>
                  </a:lnTo>
                  <a:lnTo>
                    <a:pt x="11906" y="488"/>
                  </a:lnTo>
                  <a:lnTo>
                    <a:pt x="11917" y="484"/>
                  </a:lnTo>
                  <a:lnTo>
                    <a:pt x="11928" y="479"/>
                  </a:lnTo>
                  <a:lnTo>
                    <a:pt x="11939" y="473"/>
                  </a:lnTo>
                  <a:lnTo>
                    <a:pt x="11949" y="467"/>
                  </a:lnTo>
                  <a:lnTo>
                    <a:pt x="11960" y="460"/>
                  </a:lnTo>
                  <a:lnTo>
                    <a:pt x="11970" y="453"/>
                  </a:lnTo>
                  <a:lnTo>
                    <a:pt x="11980" y="446"/>
                  </a:lnTo>
                  <a:lnTo>
                    <a:pt x="11989" y="438"/>
                  </a:lnTo>
                  <a:lnTo>
                    <a:pt x="11998" y="430"/>
                  </a:lnTo>
                  <a:lnTo>
                    <a:pt x="12006" y="420"/>
                  </a:lnTo>
                  <a:lnTo>
                    <a:pt x="12014" y="411"/>
                  </a:lnTo>
                  <a:lnTo>
                    <a:pt x="12021" y="402"/>
                  </a:lnTo>
                  <a:lnTo>
                    <a:pt x="12028" y="392"/>
                  </a:lnTo>
                  <a:lnTo>
                    <a:pt x="12035" y="382"/>
                  </a:lnTo>
                  <a:lnTo>
                    <a:pt x="12041" y="371"/>
                  </a:lnTo>
                  <a:lnTo>
                    <a:pt x="12046" y="360"/>
                  </a:lnTo>
                  <a:lnTo>
                    <a:pt x="12051" y="349"/>
                  </a:lnTo>
                  <a:lnTo>
                    <a:pt x="12056" y="338"/>
                  </a:lnTo>
                  <a:lnTo>
                    <a:pt x="12060" y="326"/>
                  </a:lnTo>
                  <a:lnTo>
                    <a:pt x="12063" y="315"/>
                  </a:lnTo>
                  <a:lnTo>
                    <a:pt x="12066" y="303"/>
                  </a:lnTo>
                  <a:lnTo>
                    <a:pt x="12068" y="290"/>
                  </a:lnTo>
                  <a:lnTo>
                    <a:pt x="12070" y="278"/>
                  </a:lnTo>
                  <a:lnTo>
                    <a:pt x="12071" y="264"/>
                  </a:lnTo>
                  <a:lnTo>
                    <a:pt x="12071" y="251"/>
                  </a:lnTo>
                  <a:lnTo>
                    <a:pt x="12071" y="238"/>
                  </a:lnTo>
                  <a:lnTo>
                    <a:pt x="12070" y="226"/>
                  </a:lnTo>
                  <a:lnTo>
                    <a:pt x="12068" y="213"/>
                  </a:lnTo>
                  <a:lnTo>
                    <a:pt x="12066" y="201"/>
                  </a:lnTo>
                  <a:lnTo>
                    <a:pt x="12063" y="189"/>
                  </a:lnTo>
                  <a:lnTo>
                    <a:pt x="12060" y="177"/>
                  </a:lnTo>
                  <a:lnTo>
                    <a:pt x="12056" y="165"/>
                  </a:lnTo>
                  <a:lnTo>
                    <a:pt x="12051" y="154"/>
                  </a:lnTo>
                  <a:lnTo>
                    <a:pt x="12046" y="143"/>
                  </a:lnTo>
                  <a:lnTo>
                    <a:pt x="12041" y="132"/>
                  </a:lnTo>
                  <a:lnTo>
                    <a:pt x="12035" y="121"/>
                  </a:lnTo>
                  <a:lnTo>
                    <a:pt x="12028" y="111"/>
                  </a:lnTo>
                  <a:lnTo>
                    <a:pt x="12021" y="100"/>
                  </a:lnTo>
                  <a:lnTo>
                    <a:pt x="12014" y="91"/>
                  </a:lnTo>
                  <a:lnTo>
                    <a:pt x="12006" y="82"/>
                  </a:lnTo>
                  <a:lnTo>
                    <a:pt x="11998" y="73"/>
                  </a:lnTo>
                  <a:lnTo>
                    <a:pt x="11989" y="65"/>
                  </a:lnTo>
                  <a:lnTo>
                    <a:pt x="11980" y="57"/>
                  </a:lnTo>
                  <a:lnTo>
                    <a:pt x="11970" y="50"/>
                  </a:lnTo>
                  <a:lnTo>
                    <a:pt x="11960" y="43"/>
                  </a:lnTo>
                  <a:lnTo>
                    <a:pt x="11949" y="36"/>
                  </a:lnTo>
                  <a:lnTo>
                    <a:pt x="11939" y="30"/>
                  </a:lnTo>
                  <a:lnTo>
                    <a:pt x="11928" y="25"/>
                  </a:lnTo>
                  <a:lnTo>
                    <a:pt x="11917" y="20"/>
                  </a:lnTo>
                  <a:lnTo>
                    <a:pt x="11906" y="15"/>
                  </a:lnTo>
                  <a:lnTo>
                    <a:pt x="11894" y="11"/>
                  </a:lnTo>
                  <a:lnTo>
                    <a:pt x="11882" y="8"/>
                  </a:lnTo>
                  <a:lnTo>
                    <a:pt x="11870" y="5"/>
                  </a:lnTo>
                  <a:lnTo>
                    <a:pt x="11858" y="3"/>
                  </a:lnTo>
                  <a:lnTo>
                    <a:pt x="11846" y="1"/>
                  </a:lnTo>
                  <a:lnTo>
                    <a:pt x="11833" y="1"/>
                  </a:lnTo>
                  <a:lnTo>
                    <a:pt x="118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37" name="iṥ1íde">
              <a:extLst>
                <a:ext uri="{FF2B5EF4-FFF2-40B4-BE49-F238E27FC236}">
                  <a16:creationId xmlns:a16="http://schemas.microsoft.com/office/drawing/2014/main" id="{CAF96C7B-1B13-42B7-B638-3124C533CBC9}"/>
                </a:ext>
              </a:extLst>
            </p:cNvPr>
            <p:cNvSpPr/>
            <p:nvPr/>
          </p:nvSpPr>
          <p:spPr bwMode="auto">
            <a:xfrm>
              <a:off x="7069914" y="186591"/>
              <a:ext cx="229443" cy="9823"/>
            </a:xfrm>
            <a:custGeom>
              <a:avLst/>
              <a:gdLst>
                <a:gd name="T0" fmla="*/ 238 w 12071"/>
                <a:gd name="T1" fmla="*/ 0 h 503"/>
                <a:gd name="T2" fmla="*/ 201 w 12071"/>
                <a:gd name="T3" fmla="*/ 5 h 503"/>
                <a:gd name="T4" fmla="*/ 165 w 12071"/>
                <a:gd name="T5" fmla="*/ 15 h 503"/>
                <a:gd name="T6" fmla="*/ 132 w 12071"/>
                <a:gd name="T7" fmla="*/ 30 h 503"/>
                <a:gd name="T8" fmla="*/ 100 w 12071"/>
                <a:gd name="T9" fmla="*/ 50 h 503"/>
                <a:gd name="T10" fmla="*/ 73 w 12071"/>
                <a:gd name="T11" fmla="*/ 73 h 503"/>
                <a:gd name="T12" fmla="*/ 50 w 12071"/>
                <a:gd name="T13" fmla="*/ 101 h 503"/>
                <a:gd name="T14" fmla="*/ 30 w 12071"/>
                <a:gd name="T15" fmla="*/ 132 h 503"/>
                <a:gd name="T16" fmla="*/ 15 w 12071"/>
                <a:gd name="T17" fmla="*/ 165 h 503"/>
                <a:gd name="T18" fmla="*/ 5 w 12071"/>
                <a:gd name="T19" fmla="*/ 201 h 503"/>
                <a:gd name="T20" fmla="*/ 0 w 12071"/>
                <a:gd name="T21" fmla="*/ 239 h 503"/>
                <a:gd name="T22" fmla="*/ 1 w 12071"/>
                <a:gd name="T23" fmla="*/ 278 h 503"/>
                <a:gd name="T24" fmla="*/ 8 w 12071"/>
                <a:gd name="T25" fmla="*/ 315 h 503"/>
                <a:gd name="T26" fmla="*/ 20 w 12071"/>
                <a:gd name="T27" fmla="*/ 349 h 503"/>
                <a:gd name="T28" fmla="*/ 36 w 12071"/>
                <a:gd name="T29" fmla="*/ 382 h 503"/>
                <a:gd name="T30" fmla="*/ 57 w 12071"/>
                <a:gd name="T31" fmla="*/ 412 h 503"/>
                <a:gd name="T32" fmla="*/ 82 w 12071"/>
                <a:gd name="T33" fmla="*/ 438 h 503"/>
                <a:gd name="T34" fmla="*/ 111 w 12071"/>
                <a:gd name="T35" fmla="*/ 460 h 503"/>
                <a:gd name="T36" fmla="*/ 143 w 12071"/>
                <a:gd name="T37" fmla="*/ 478 h 503"/>
                <a:gd name="T38" fmla="*/ 177 w 12071"/>
                <a:gd name="T39" fmla="*/ 492 h 503"/>
                <a:gd name="T40" fmla="*/ 213 w 12071"/>
                <a:gd name="T41" fmla="*/ 500 h 503"/>
                <a:gd name="T42" fmla="*/ 251 w 12071"/>
                <a:gd name="T43" fmla="*/ 503 h 503"/>
                <a:gd name="T44" fmla="*/ 11846 w 12071"/>
                <a:gd name="T45" fmla="*/ 502 h 503"/>
                <a:gd name="T46" fmla="*/ 11882 w 12071"/>
                <a:gd name="T47" fmla="*/ 495 h 503"/>
                <a:gd name="T48" fmla="*/ 11917 w 12071"/>
                <a:gd name="T49" fmla="*/ 483 h 503"/>
                <a:gd name="T50" fmla="*/ 11949 w 12071"/>
                <a:gd name="T51" fmla="*/ 467 h 503"/>
                <a:gd name="T52" fmla="*/ 11980 w 12071"/>
                <a:gd name="T53" fmla="*/ 446 h 503"/>
                <a:gd name="T54" fmla="*/ 12006 w 12071"/>
                <a:gd name="T55" fmla="*/ 421 h 503"/>
                <a:gd name="T56" fmla="*/ 12028 w 12071"/>
                <a:gd name="T57" fmla="*/ 392 h 503"/>
                <a:gd name="T58" fmla="*/ 12046 w 12071"/>
                <a:gd name="T59" fmla="*/ 360 h 503"/>
                <a:gd name="T60" fmla="*/ 12060 w 12071"/>
                <a:gd name="T61" fmla="*/ 326 h 503"/>
                <a:gd name="T62" fmla="*/ 12068 w 12071"/>
                <a:gd name="T63" fmla="*/ 290 h 503"/>
                <a:gd name="T64" fmla="*/ 12071 w 12071"/>
                <a:gd name="T65" fmla="*/ 252 h 503"/>
                <a:gd name="T66" fmla="*/ 12068 w 12071"/>
                <a:gd name="T67" fmla="*/ 213 h 503"/>
                <a:gd name="T68" fmla="*/ 12060 w 12071"/>
                <a:gd name="T69" fmla="*/ 177 h 503"/>
                <a:gd name="T70" fmla="*/ 12046 w 12071"/>
                <a:gd name="T71" fmla="*/ 143 h 503"/>
                <a:gd name="T72" fmla="*/ 12028 w 12071"/>
                <a:gd name="T73" fmla="*/ 111 h 503"/>
                <a:gd name="T74" fmla="*/ 12006 w 12071"/>
                <a:gd name="T75" fmla="*/ 83 h 503"/>
                <a:gd name="T76" fmla="*/ 11980 w 12071"/>
                <a:gd name="T77" fmla="*/ 57 h 503"/>
                <a:gd name="T78" fmla="*/ 11949 w 12071"/>
                <a:gd name="T79" fmla="*/ 36 h 503"/>
                <a:gd name="T80" fmla="*/ 11917 w 12071"/>
                <a:gd name="T81" fmla="*/ 20 h 503"/>
                <a:gd name="T82" fmla="*/ 11882 w 12071"/>
                <a:gd name="T83" fmla="*/ 8 h 503"/>
                <a:gd name="T84" fmla="*/ 11846 w 12071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71" h="503">
                  <a:moveTo>
                    <a:pt x="11820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8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3"/>
                  </a:lnTo>
                  <a:lnTo>
                    <a:pt x="100" y="50"/>
                  </a:lnTo>
                  <a:lnTo>
                    <a:pt x="91" y="57"/>
                  </a:lnTo>
                  <a:lnTo>
                    <a:pt x="82" y="65"/>
                  </a:lnTo>
                  <a:lnTo>
                    <a:pt x="73" y="73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1"/>
                  </a:lnTo>
                  <a:lnTo>
                    <a:pt x="43" y="111"/>
                  </a:lnTo>
                  <a:lnTo>
                    <a:pt x="36" y="121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6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0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8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11820" y="503"/>
                  </a:lnTo>
                  <a:lnTo>
                    <a:pt x="11833" y="503"/>
                  </a:lnTo>
                  <a:lnTo>
                    <a:pt x="11846" y="502"/>
                  </a:lnTo>
                  <a:lnTo>
                    <a:pt x="11858" y="500"/>
                  </a:lnTo>
                  <a:lnTo>
                    <a:pt x="11870" y="498"/>
                  </a:lnTo>
                  <a:lnTo>
                    <a:pt x="11882" y="495"/>
                  </a:lnTo>
                  <a:lnTo>
                    <a:pt x="11894" y="492"/>
                  </a:lnTo>
                  <a:lnTo>
                    <a:pt x="11906" y="488"/>
                  </a:lnTo>
                  <a:lnTo>
                    <a:pt x="11917" y="483"/>
                  </a:lnTo>
                  <a:lnTo>
                    <a:pt x="11928" y="478"/>
                  </a:lnTo>
                  <a:lnTo>
                    <a:pt x="11939" y="473"/>
                  </a:lnTo>
                  <a:lnTo>
                    <a:pt x="11949" y="467"/>
                  </a:lnTo>
                  <a:lnTo>
                    <a:pt x="11960" y="460"/>
                  </a:lnTo>
                  <a:lnTo>
                    <a:pt x="11970" y="453"/>
                  </a:lnTo>
                  <a:lnTo>
                    <a:pt x="11980" y="446"/>
                  </a:lnTo>
                  <a:lnTo>
                    <a:pt x="11989" y="438"/>
                  </a:lnTo>
                  <a:lnTo>
                    <a:pt x="11998" y="430"/>
                  </a:lnTo>
                  <a:lnTo>
                    <a:pt x="12006" y="421"/>
                  </a:lnTo>
                  <a:lnTo>
                    <a:pt x="12014" y="412"/>
                  </a:lnTo>
                  <a:lnTo>
                    <a:pt x="12021" y="403"/>
                  </a:lnTo>
                  <a:lnTo>
                    <a:pt x="12028" y="392"/>
                  </a:lnTo>
                  <a:lnTo>
                    <a:pt x="12035" y="382"/>
                  </a:lnTo>
                  <a:lnTo>
                    <a:pt x="12041" y="371"/>
                  </a:lnTo>
                  <a:lnTo>
                    <a:pt x="12046" y="360"/>
                  </a:lnTo>
                  <a:lnTo>
                    <a:pt x="12051" y="349"/>
                  </a:lnTo>
                  <a:lnTo>
                    <a:pt x="12056" y="338"/>
                  </a:lnTo>
                  <a:lnTo>
                    <a:pt x="12060" y="326"/>
                  </a:lnTo>
                  <a:lnTo>
                    <a:pt x="12063" y="315"/>
                  </a:lnTo>
                  <a:lnTo>
                    <a:pt x="12066" y="302"/>
                  </a:lnTo>
                  <a:lnTo>
                    <a:pt x="12068" y="290"/>
                  </a:lnTo>
                  <a:lnTo>
                    <a:pt x="12070" y="278"/>
                  </a:lnTo>
                  <a:lnTo>
                    <a:pt x="12071" y="265"/>
                  </a:lnTo>
                  <a:lnTo>
                    <a:pt x="12071" y="252"/>
                  </a:lnTo>
                  <a:lnTo>
                    <a:pt x="12071" y="239"/>
                  </a:lnTo>
                  <a:lnTo>
                    <a:pt x="12070" y="226"/>
                  </a:lnTo>
                  <a:lnTo>
                    <a:pt x="12068" y="213"/>
                  </a:lnTo>
                  <a:lnTo>
                    <a:pt x="12066" y="201"/>
                  </a:lnTo>
                  <a:lnTo>
                    <a:pt x="12063" y="189"/>
                  </a:lnTo>
                  <a:lnTo>
                    <a:pt x="12060" y="177"/>
                  </a:lnTo>
                  <a:lnTo>
                    <a:pt x="12056" y="165"/>
                  </a:lnTo>
                  <a:lnTo>
                    <a:pt x="12051" y="154"/>
                  </a:lnTo>
                  <a:lnTo>
                    <a:pt x="12046" y="143"/>
                  </a:lnTo>
                  <a:lnTo>
                    <a:pt x="12041" y="132"/>
                  </a:lnTo>
                  <a:lnTo>
                    <a:pt x="12035" y="121"/>
                  </a:lnTo>
                  <a:lnTo>
                    <a:pt x="12028" y="111"/>
                  </a:lnTo>
                  <a:lnTo>
                    <a:pt x="12021" y="101"/>
                  </a:lnTo>
                  <a:lnTo>
                    <a:pt x="12014" y="92"/>
                  </a:lnTo>
                  <a:lnTo>
                    <a:pt x="12006" y="83"/>
                  </a:lnTo>
                  <a:lnTo>
                    <a:pt x="11998" y="73"/>
                  </a:lnTo>
                  <a:lnTo>
                    <a:pt x="11989" y="65"/>
                  </a:lnTo>
                  <a:lnTo>
                    <a:pt x="11980" y="57"/>
                  </a:lnTo>
                  <a:lnTo>
                    <a:pt x="11970" y="50"/>
                  </a:lnTo>
                  <a:lnTo>
                    <a:pt x="11960" y="43"/>
                  </a:lnTo>
                  <a:lnTo>
                    <a:pt x="11949" y="36"/>
                  </a:lnTo>
                  <a:lnTo>
                    <a:pt x="11939" y="30"/>
                  </a:lnTo>
                  <a:lnTo>
                    <a:pt x="11928" y="25"/>
                  </a:lnTo>
                  <a:lnTo>
                    <a:pt x="11917" y="20"/>
                  </a:lnTo>
                  <a:lnTo>
                    <a:pt x="11906" y="15"/>
                  </a:lnTo>
                  <a:lnTo>
                    <a:pt x="11894" y="11"/>
                  </a:lnTo>
                  <a:lnTo>
                    <a:pt x="11882" y="8"/>
                  </a:lnTo>
                  <a:lnTo>
                    <a:pt x="11870" y="5"/>
                  </a:lnTo>
                  <a:lnTo>
                    <a:pt x="11858" y="3"/>
                  </a:lnTo>
                  <a:lnTo>
                    <a:pt x="11846" y="1"/>
                  </a:lnTo>
                  <a:lnTo>
                    <a:pt x="11833" y="0"/>
                  </a:lnTo>
                  <a:lnTo>
                    <a:pt x="118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38" name="íṩļïḑê">
              <a:extLst>
                <a:ext uri="{FF2B5EF4-FFF2-40B4-BE49-F238E27FC236}">
                  <a16:creationId xmlns:a16="http://schemas.microsoft.com/office/drawing/2014/main" id="{551470DA-ECAF-452B-A445-1115B7DC582A}"/>
                </a:ext>
              </a:extLst>
            </p:cNvPr>
            <p:cNvSpPr/>
            <p:nvPr/>
          </p:nvSpPr>
          <p:spPr bwMode="auto">
            <a:xfrm>
              <a:off x="7069914" y="91165"/>
              <a:ext cx="86304" cy="76482"/>
            </a:xfrm>
            <a:custGeom>
              <a:avLst/>
              <a:gdLst>
                <a:gd name="T0" fmla="*/ 3521 w 4527"/>
                <a:gd name="T1" fmla="*/ 3019 h 4026"/>
                <a:gd name="T2" fmla="*/ 503 w 4527"/>
                <a:gd name="T3" fmla="*/ 4026 h 4026"/>
                <a:gd name="T4" fmla="*/ 4076 w 4527"/>
                <a:gd name="T5" fmla="*/ 4023 h 4026"/>
                <a:gd name="T6" fmla="*/ 4149 w 4527"/>
                <a:gd name="T7" fmla="*/ 4009 h 4026"/>
                <a:gd name="T8" fmla="*/ 4220 w 4527"/>
                <a:gd name="T9" fmla="*/ 3986 h 4026"/>
                <a:gd name="T10" fmla="*/ 4285 w 4527"/>
                <a:gd name="T11" fmla="*/ 3953 h 4026"/>
                <a:gd name="T12" fmla="*/ 4345 w 4527"/>
                <a:gd name="T13" fmla="*/ 3911 h 4026"/>
                <a:gd name="T14" fmla="*/ 4397 w 4527"/>
                <a:gd name="T15" fmla="*/ 3861 h 4026"/>
                <a:gd name="T16" fmla="*/ 4441 w 4527"/>
                <a:gd name="T17" fmla="*/ 3804 h 4026"/>
                <a:gd name="T18" fmla="*/ 4477 w 4527"/>
                <a:gd name="T19" fmla="*/ 3741 h 4026"/>
                <a:gd name="T20" fmla="*/ 4504 w 4527"/>
                <a:gd name="T21" fmla="*/ 3672 h 4026"/>
                <a:gd name="T22" fmla="*/ 4522 w 4527"/>
                <a:gd name="T23" fmla="*/ 3599 h 4026"/>
                <a:gd name="T24" fmla="*/ 4527 w 4527"/>
                <a:gd name="T25" fmla="*/ 3522 h 4026"/>
                <a:gd name="T26" fmla="*/ 4525 w 4527"/>
                <a:gd name="T27" fmla="*/ 452 h 4026"/>
                <a:gd name="T28" fmla="*/ 4512 w 4527"/>
                <a:gd name="T29" fmla="*/ 377 h 4026"/>
                <a:gd name="T30" fmla="*/ 4487 w 4527"/>
                <a:gd name="T31" fmla="*/ 307 h 4026"/>
                <a:gd name="T32" fmla="*/ 4454 w 4527"/>
                <a:gd name="T33" fmla="*/ 243 h 4026"/>
                <a:gd name="T34" fmla="*/ 4412 w 4527"/>
                <a:gd name="T35" fmla="*/ 183 h 4026"/>
                <a:gd name="T36" fmla="*/ 4363 w 4527"/>
                <a:gd name="T37" fmla="*/ 131 h 4026"/>
                <a:gd name="T38" fmla="*/ 4305 w 4527"/>
                <a:gd name="T39" fmla="*/ 86 h 4026"/>
                <a:gd name="T40" fmla="*/ 4242 w 4527"/>
                <a:gd name="T41" fmla="*/ 49 h 4026"/>
                <a:gd name="T42" fmla="*/ 4174 w 4527"/>
                <a:gd name="T43" fmla="*/ 22 h 4026"/>
                <a:gd name="T44" fmla="*/ 4101 w 4527"/>
                <a:gd name="T45" fmla="*/ 6 h 4026"/>
                <a:gd name="T46" fmla="*/ 4024 w 4527"/>
                <a:gd name="T47" fmla="*/ 0 h 4026"/>
                <a:gd name="T48" fmla="*/ 452 w 4527"/>
                <a:gd name="T49" fmla="*/ 3 h 4026"/>
                <a:gd name="T50" fmla="*/ 377 w 4527"/>
                <a:gd name="T51" fmla="*/ 16 h 4026"/>
                <a:gd name="T52" fmla="*/ 307 w 4527"/>
                <a:gd name="T53" fmla="*/ 39 h 4026"/>
                <a:gd name="T54" fmla="*/ 242 w 4527"/>
                <a:gd name="T55" fmla="*/ 72 h 4026"/>
                <a:gd name="T56" fmla="*/ 183 w 4527"/>
                <a:gd name="T57" fmla="*/ 115 h 4026"/>
                <a:gd name="T58" fmla="*/ 131 w 4527"/>
                <a:gd name="T59" fmla="*/ 165 h 4026"/>
                <a:gd name="T60" fmla="*/ 85 w 4527"/>
                <a:gd name="T61" fmla="*/ 221 h 4026"/>
                <a:gd name="T62" fmla="*/ 49 w 4527"/>
                <a:gd name="T63" fmla="*/ 285 h 4026"/>
                <a:gd name="T64" fmla="*/ 22 w 4527"/>
                <a:gd name="T65" fmla="*/ 353 h 4026"/>
                <a:gd name="T66" fmla="*/ 6 w 4527"/>
                <a:gd name="T67" fmla="*/ 427 h 4026"/>
                <a:gd name="T68" fmla="*/ 0 w 4527"/>
                <a:gd name="T69" fmla="*/ 503 h 4026"/>
                <a:gd name="T70" fmla="*/ 3 w 4527"/>
                <a:gd name="T71" fmla="*/ 3574 h 4026"/>
                <a:gd name="T72" fmla="*/ 16 w 4527"/>
                <a:gd name="T73" fmla="*/ 3648 h 4026"/>
                <a:gd name="T74" fmla="*/ 39 w 4527"/>
                <a:gd name="T75" fmla="*/ 3719 h 4026"/>
                <a:gd name="T76" fmla="*/ 72 w 4527"/>
                <a:gd name="T77" fmla="*/ 3783 h 4026"/>
                <a:gd name="T78" fmla="*/ 115 w 4527"/>
                <a:gd name="T79" fmla="*/ 3842 h 4026"/>
                <a:gd name="T80" fmla="*/ 165 w 4527"/>
                <a:gd name="T81" fmla="*/ 3895 h 4026"/>
                <a:gd name="T82" fmla="*/ 221 w 4527"/>
                <a:gd name="T83" fmla="*/ 3940 h 4026"/>
                <a:gd name="T84" fmla="*/ 285 w 4527"/>
                <a:gd name="T85" fmla="*/ 3976 h 4026"/>
                <a:gd name="T86" fmla="*/ 353 w 4527"/>
                <a:gd name="T87" fmla="*/ 4003 h 4026"/>
                <a:gd name="T88" fmla="*/ 426 w 4527"/>
                <a:gd name="T89" fmla="*/ 4020 h 4026"/>
                <a:gd name="T90" fmla="*/ 503 w 4527"/>
                <a:gd name="T91" fmla="*/ 4026 h 40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527" h="4026">
                  <a:moveTo>
                    <a:pt x="1006" y="1006"/>
                  </a:moveTo>
                  <a:lnTo>
                    <a:pt x="3521" y="1006"/>
                  </a:lnTo>
                  <a:lnTo>
                    <a:pt x="3521" y="3019"/>
                  </a:lnTo>
                  <a:lnTo>
                    <a:pt x="1006" y="3019"/>
                  </a:lnTo>
                  <a:lnTo>
                    <a:pt x="1006" y="1006"/>
                  </a:lnTo>
                  <a:close/>
                  <a:moveTo>
                    <a:pt x="503" y="4026"/>
                  </a:moveTo>
                  <a:lnTo>
                    <a:pt x="4024" y="4026"/>
                  </a:lnTo>
                  <a:lnTo>
                    <a:pt x="4050" y="4025"/>
                  </a:lnTo>
                  <a:lnTo>
                    <a:pt x="4076" y="4023"/>
                  </a:lnTo>
                  <a:lnTo>
                    <a:pt x="4101" y="4020"/>
                  </a:lnTo>
                  <a:lnTo>
                    <a:pt x="4125" y="4016"/>
                  </a:lnTo>
                  <a:lnTo>
                    <a:pt x="4149" y="4009"/>
                  </a:lnTo>
                  <a:lnTo>
                    <a:pt x="4174" y="4003"/>
                  </a:lnTo>
                  <a:lnTo>
                    <a:pt x="4197" y="3995"/>
                  </a:lnTo>
                  <a:lnTo>
                    <a:pt x="4220" y="3986"/>
                  </a:lnTo>
                  <a:lnTo>
                    <a:pt x="4242" y="3976"/>
                  </a:lnTo>
                  <a:lnTo>
                    <a:pt x="4264" y="3965"/>
                  </a:lnTo>
                  <a:lnTo>
                    <a:pt x="4285" y="3953"/>
                  </a:lnTo>
                  <a:lnTo>
                    <a:pt x="4305" y="3940"/>
                  </a:lnTo>
                  <a:lnTo>
                    <a:pt x="4325" y="3926"/>
                  </a:lnTo>
                  <a:lnTo>
                    <a:pt x="4345" y="3911"/>
                  </a:lnTo>
                  <a:lnTo>
                    <a:pt x="4363" y="3895"/>
                  </a:lnTo>
                  <a:lnTo>
                    <a:pt x="4380" y="3879"/>
                  </a:lnTo>
                  <a:lnTo>
                    <a:pt x="4397" y="3861"/>
                  </a:lnTo>
                  <a:lnTo>
                    <a:pt x="4412" y="3842"/>
                  </a:lnTo>
                  <a:lnTo>
                    <a:pt x="4427" y="3823"/>
                  </a:lnTo>
                  <a:lnTo>
                    <a:pt x="4441" y="3804"/>
                  </a:lnTo>
                  <a:lnTo>
                    <a:pt x="4454" y="3783"/>
                  </a:lnTo>
                  <a:lnTo>
                    <a:pt x="4466" y="3762"/>
                  </a:lnTo>
                  <a:lnTo>
                    <a:pt x="4477" y="3741"/>
                  </a:lnTo>
                  <a:lnTo>
                    <a:pt x="4487" y="3719"/>
                  </a:lnTo>
                  <a:lnTo>
                    <a:pt x="4496" y="3696"/>
                  </a:lnTo>
                  <a:lnTo>
                    <a:pt x="4504" y="3672"/>
                  </a:lnTo>
                  <a:lnTo>
                    <a:pt x="4512" y="3648"/>
                  </a:lnTo>
                  <a:lnTo>
                    <a:pt x="4517" y="3624"/>
                  </a:lnTo>
                  <a:lnTo>
                    <a:pt x="4522" y="3599"/>
                  </a:lnTo>
                  <a:lnTo>
                    <a:pt x="4525" y="3574"/>
                  </a:lnTo>
                  <a:lnTo>
                    <a:pt x="4527" y="3549"/>
                  </a:lnTo>
                  <a:lnTo>
                    <a:pt x="4527" y="3522"/>
                  </a:lnTo>
                  <a:lnTo>
                    <a:pt x="4527" y="503"/>
                  </a:lnTo>
                  <a:lnTo>
                    <a:pt x="4527" y="477"/>
                  </a:lnTo>
                  <a:lnTo>
                    <a:pt x="4525" y="452"/>
                  </a:lnTo>
                  <a:lnTo>
                    <a:pt x="4522" y="427"/>
                  </a:lnTo>
                  <a:lnTo>
                    <a:pt x="4517" y="402"/>
                  </a:lnTo>
                  <a:lnTo>
                    <a:pt x="4512" y="377"/>
                  </a:lnTo>
                  <a:lnTo>
                    <a:pt x="4504" y="353"/>
                  </a:lnTo>
                  <a:lnTo>
                    <a:pt x="4496" y="330"/>
                  </a:lnTo>
                  <a:lnTo>
                    <a:pt x="4487" y="307"/>
                  </a:lnTo>
                  <a:lnTo>
                    <a:pt x="4477" y="285"/>
                  </a:lnTo>
                  <a:lnTo>
                    <a:pt x="4466" y="264"/>
                  </a:lnTo>
                  <a:lnTo>
                    <a:pt x="4454" y="243"/>
                  </a:lnTo>
                  <a:lnTo>
                    <a:pt x="4441" y="221"/>
                  </a:lnTo>
                  <a:lnTo>
                    <a:pt x="4427" y="202"/>
                  </a:lnTo>
                  <a:lnTo>
                    <a:pt x="4412" y="183"/>
                  </a:lnTo>
                  <a:lnTo>
                    <a:pt x="4397" y="165"/>
                  </a:lnTo>
                  <a:lnTo>
                    <a:pt x="4380" y="147"/>
                  </a:lnTo>
                  <a:lnTo>
                    <a:pt x="4363" y="131"/>
                  </a:lnTo>
                  <a:lnTo>
                    <a:pt x="4345" y="115"/>
                  </a:lnTo>
                  <a:lnTo>
                    <a:pt x="4325" y="100"/>
                  </a:lnTo>
                  <a:lnTo>
                    <a:pt x="4305" y="86"/>
                  </a:lnTo>
                  <a:lnTo>
                    <a:pt x="4285" y="72"/>
                  </a:lnTo>
                  <a:lnTo>
                    <a:pt x="4264" y="60"/>
                  </a:lnTo>
                  <a:lnTo>
                    <a:pt x="4242" y="49"/>
                  </a:lnTo>
                  <a:lnTo>
                    <a:pt x="4220" y="39"/>
                  </a:lnTo>
                  <a:lnTo>
                    <a:pt x="4197" y="30"/>
                  </a:lnTo>
                  <a:lnTo>
                    <a:pt x="4174" y="22"/>
                  </a:lnTo>
                  <a:lnTo>
                    <a:pt x="4149" y="16"/>
                  </a:lnTo>
                  <a:lnTo>
                    <a:pt x="4125" y="10"/>
                  </a:lnTo>
                  <a:lnTo>
                    <a:pt x="4101" y="6"/>
                  </a:lnTo>
                  <a:lnTo>
                    <a:pt x="4076" y="3"/>
                  </a:lnTo>
                  <a:lnTo>
                    <a:pt x="4050" y="1"/>
                  </a:lnTo>
                  <a:lnTo>
                    <a:pt x="4024" y="0"/>
                  </a:lnTo>
                  <a:lnTo>
                    <a:pt x="503" y="0"/>
                  </a:lnTo>
                  <a:lnTo>
                    <a:pt x="477" y="1"/>
                  </a:lnTo>
                  <a:lnTo>
                    <a:pt x="452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2" y="60"/>
                  </a:lnTo>
                  <a:lnTo>
                    <a:pt x="242" y="72"/>
                  </a:lnTo>
                  <a:lnTo>
                    <a:pt x="221" y="86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99" y="202"/>
                  </a:lnTo>
                  <a:lnTo>
                    <a:pt x="85" y="221"/>
                  </a:lnTo>
                  <a:lnTo>
                    <a:pt x="72" y="243"/>
                  </a:lnTo>
                  <a:lnTo>
                    <a:pt x="60" y="264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0" y="3522"/>
                  </a:lnTo>
                  <a:lnTo>
                    <a:pt x="1" y="3549"/>
                  </a:lnTo>
                  <a:lnTo>
                    <a:pt x="3" y="3574"/>
                  </a:lnTo>
                  <a:lnTo>
                    <a:pt x="6" y="3599"/>
                  </a:lnTo>
                  <a:lnTo>
                    <a:pt x="10" y="3624"/>
                  </a:lnTo>
                  <a:lnTo>
                    <a:pt x="16" y="3648"/>
                  </a:lnTo>
                  <a:lnTo>
                    <a:pt x="22" y="3672"/>
                  </a:lnTo>
                  <a:lnTo>
                    <a:pt x="30" y="3696"/>
                  </a:lnTo>
                  <a:lnTo>
                    <a:pt x="39" y="3719"/>
                  </a:lnTo>
                  <a:lnTo>
                    <a:pt x="49" y="3741"/>
                  </a:lnTo>
                  <a:lnTo>
                    <a:pt x="60" y="3762"/>
                  </a:lnTo>
                  <a:lnTo>
                    <a:pt x="72" y="3783"/>
                  </a:lnTo>
                  <a:lnTo>
                    <a:pt x="85" y="3804"/>
                  </a:lnTo>
                  <a:lnTo>
                    <a:pt x="99" y="3823"/>
                  </a:lnTo>
                  <a:lnTo>
                    <a:pt x="115" y="3842"/>
                  </a:lnTo>
                  <a:lnTo>
                    <a:pt x="131" y="3861"/>
                  </a:lnTo>
                  <a:lnTo>
                    <a:pt x="147" y="3879"/>
                  </a:lnTo>
                  <a:lnTo>
                    <a:pt x="165" y="3895"/>
                  </a:lnTo>
                  <a:lnTo>
                    <a:pt x="183" y="3911"/>
                  </a:lnTo>
                  <a:lnTo>
                    <a:pt x="202" y="3926"/>
                  </a:lnTo>
                  <a:lnTo>
                    <a:pt x="221" y="3940"/>
                  </a:lnTo>
                  <a:lnTo>
                    <a:pt x="242" y="3953"/>
                  </a:lnTo>
                  <a:lnTo>
                    <a:pt x="262" y="3965"/>
                  </a:lnTo>
                  <a:lnTo>
                    <a:pt x="285" y="3976"/>
                  </a:lnTo>
                  <a:lnTo>
                    <a:pt x="307" y="3986"/>
                  </a:lnTo>
                  <a:lnTo>
                    <a:pt x="330" y="3995"/>
                  </a:lnTo>
                  <a:lnTo>
                    <a:pt x="353" y="4003"/>
                  </a:lnTo>
                  <a:lnTo>
                    <a:pt x="377" y="4009"/>
                  </a:lnTo>
                  <a:lnTo>
                    <a:pt x="401" y="4016"/>
                  </a:lnTo>
                  <a:lnTo>
                    <a:pt x="426" y="4020"/>
                  </a:lnTo>
                  <a:lnTo>
                    <a:pt x="452" y="4023"/>
                  </a:lnTo>
                  <a:lnTo>
                    <a:pt x="477" y="4025"/>
                  </a:lnTo>
                  <a:lnTo>
                    <a:pt x="503" y="40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39" name="ïṥ1íḓè">
              <a:extLst>
                <a:ext uri="{FF2B5EF4-FFF2-40B4-BE49-F238E27FC236}">
                  <a16:creationId xmlns:a16="http://schemas.microsoft.com/office/drawing/2014/main" id="{761196F8-E5E9-4CD6-9385-31A3B743AF8C}"/>
                </a:ext>
              </a:extLst>
            </p:cNvPr>
            <p:cNvSpPr/>
            <p:nvPr/>
          </p:nvSpPr>
          <p:spPr bwMode="auto">
            <a:xfrm>
              <a:off x="6344690" y="676784"/>
              <a:ext cx="159468" cy="102588"/>
            </a:xfrm>
            <a:custGeom>
              <a:avLst/>
              <a:gdLst>
                <a:gd name="T0" fmla="*/ 4713 w 5797"/>
                <a:gd name="T1" fmla="*/ 41 h 3756"/>
                <a:gd name="T2" fmla="*/ 3661 w 5797"/>
                <a:gd name="T3" fmla="*/ 216 h 3756"/>
                <a:gd name="T4" fmla="*/ 2695 w 5797"/>
                <a:gd name="T5" fmla="*/ 516 h 3756"/>
                <a:gd name="T6" fmla="*/ 1839 w 5797"/>
                <a:gd name="T7" fmla="*/ 924 h 3756"/>
                <a:gd name="T8" fmla="*/ 1118 w 5797"/>
                <a:gd name="T9" fmla="*/ 1423 h 3756"/>
                <a:gd name="T10" fmla="*/ 556 w 5797"/>
                <a:gd name="T11" fmla="*/ 2001 h 3756"/>
                <a:gd name="T12" fmla="*/ 178 w 5797"/>
                <a:gd name="T13" fmla="*/ 2641 h 3756"/>
                <a:gd name="T14" fmla="*/ 7 w 5797"/>
                <a:gd name="T15" fmla="*/ 3329 h 3756"/>
                <a:gd name="T16" fmla="*/ 3 w 5797"/>
                <a:gd name="T17" fmla="*/ 3544 h 3756"/>
                <a:gd name="T18" fmla="*/ 15 w 5797"/>
                <a:gd name="T19" fmla="*/ 3592 h 3756"/>
                <a:gd name="T20" fmla="*/ 36 w 5797"/>
                <a:gd name="T21" fmla="*/ 3636 h 3756"/>
                <a:gd name="T22" fmla="*/ 65 w 5797"/>
                <a:gd name="T23" fmla="*/ 3674 h 3756"/>
                <a:gd name="T24" fmla="*/ 100 w 5797"/>
                <a:gd name="T25" fmla="*/ 3706 h 3756"/>
                <a:gd name="T26" fmla="*/ 143 w 5797"/>
                <a:gd name="T27" fmla="*/ 3731 h 3756"/>
                <a:gd name="T28" fmla="*/ 189 w 5797"/>
                <a:gd name="T29" fmla="*/ 3748 h 3756"/>
                <a:gd name="T30" fmla="*/ 239 w 5797"/>
                <a:gd name="T31" fmla="*/ 3756 h 3756"/>
                <a:gd name="T32" fmla="*/ 290 w 5797"/>
                <a:gd name="T33" fmla="*/ 3753 h 3756"/>
                <a:gd name="T34" fmla="*/ 338 w 5797"/>
                <a:gd name="T35" fmla="*/ 3741 h 3756"/>
                <a:gd name="T36" fmla="*/ 383 w 5797"/>
                <a:gd name="T37" fmla="*/ 3720 h 3756"/>
                <a:gd name="T38" fmla="*/ 421 w 5797"/>
                <a:gd name="T39" fmla="*/ 3691 h 3756"/>
                <a:gd name="T40" fmla="*/ 453 w 5797"/>
                <a:gd name="T41" fmla="*/ 3655 h 3756"/>
                <a:gd name="T42" fmla="*/ 479 w 5797"/>
                <a:gd name="T43" fmla="*/ 3614 h 3756"/>
                <a:gd name="T44" fmla="*/ 496 w 5797"/>
                <a:gd name="T45" fmla="*/ 3568 h 3756"/>
                <a:gd name="T46" fmla="*/ 504 w 5797"/>
                <a:gd name="T47" fmla="*/ 3519 h 3756"/>
                <a:gd name="T48" fmla="*/ 564 w 5797"/>
                <a:gd name="T49" fmla="*/ 3062 h 3756"/>
                <a:gd name="T50" fmla="*/ 820 w 5797"/>
                <a:gd name="T51" fmla="*/ 2496 h 3756"/>
                <a:gd name="T52" fmla="*/ 1257 w 5797"/>
                <a:gd name="T53" fmla="*/ 1973 h 3756"/>
                <a:gd name="T54" fmla="*/ 1848 w 5797"/>
                <a:gd name="T55" fmla="*/ 1509 h 3756"/>
                <a:gd name="T56" fmla="*/ 2572 w 5797"/>
                <a:gd name="T57" fmla="*/ 1115 h 3756"/>
                <a:gd name="T58" fmla="*/ 3402 w 5797"/>
                <a:gd name="T59" fmla="*/ 807 h 3756"/>
                <a:gd name="T60" fmla="*/ 4318 w 5797"/>
                <a:gd name="T61" fmla="*/ 599 h 3756"/>
                <a:gd name="T62" fmla="*/ 5294 w 5797"/>
                <a:gd name="T63" fmla="*/ 505 h 3756"/>
                <a:gd name="T64" fmla="*/ 5583 w 5797"/>
                <a:gd name="T65" fmla="*/ 498 h 3756"/>
                <a:gd name="T66" fmla="*/ 5632 w 5797"/>
                <a:gd name="T67" fmla="*/ 486 h 3756"/>
                <a:gd name="T68" fmla="*/ 5676 w 5797"/>
                <a:gd name="T69" fmla="*/ 465 h 3756"/>
                <a:gd name="T70" fmla="*/ 5714 w 5797"/>
                <a:gd name="T71" fmla="*/ 436 h 3756"/>
                <a:gd name="T72" fmla="*/ 5747 w 5797"/>
                <a:gd name="T73" fmla="*/ 401 h 3756"/>
                <a:gd name="T74" fmla="*/ 5772 w 5797"/>
                <a:gd name="T75" fmla="*/ 359 h 3756"/>
                <a:gd name="T76" fmla="*/ 5789 w 5797"/>
                <a:gd name="T77" fmla="*/ 313 h 3756"/>
                <a:gd name="T78" fmla="*/ 5797 w 5797"/>
                <a:gd name="T79" fmla="*/ 264 h 3756"/>
                <a:gd name="T80" fmla="*/ 5794 w 5797"/>
                <a:gd name="T81" fmla="*/ 212 h 3756"/>
                <a:gd name="T82" fmla="*/ 5782 w 5797"/>
                <a:gd name="T83" fmla="*/ 164 h 3756"/>
                <a:gd name="T84" fmla="*/ 5761 w 5797"/>
                <a:gd name="T85" fmla="*/ 120 h 3756"/>
                <a:gd name="T86" fmla="*/ 5732 w 5797"/>
                <a:gd name="T87" fmla="*/ 82 h 3756"/>
                <a:gd name="T88" fmla="*/ 5696 w 5797"/>
                <a:gd name="T89" fmla="*/ 50 h 3756"/>
                <a:gd name="T90" fmla="*/ 5654 w 5797"/>
                <a:gd name="T91" fmla="*/ 25 h 3756"/>
                <a:gd name="T92" fmla="*/ 5609 w 5797"/>
                <a:gd name="T93" fmla="*/ 8 h 3756"/>
                <a:gd name="T94" fmla="*/ 5558 w 5797"/>
                <a:gd name="T95" fmla="*/ 0 h 3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797" h="3756">
                  <a:moveTo>
                    <a:pt x="5545" y="0"/>
                  </a:moveTo>
                  <a:lnTo>
                    <a:pt x="5265" y="5"/>
                  </a:lnTo>
                  <a:lnTo>
                    <a:pt x="4987" y="18"/>
                  </a:lnTo>
                  <a:lnTo>
                    <a:pt x="4713" y="41"/>
                  </a:lnTo>
                  <a:lnTo>
                    <a:pt x="4444" y="73"/>
                  </a:lnTo>
                  <a:lnTo>
                    <a:pt x="4178" y="112"/>
                  </a:lnTo>
                  <a:lnTo>
                    <a:pt x="3917" y="160"/>
                  </a:lnTo>
                  <a:lnTo>
                    <a:pt x="3661" y="216"/>
                  </a:lnTo>
                  <a:lnTo>
                    <a:pt x="3411" y="281"/>
                  </a:lnTo>
                  <a:lnTo>
                    <a:pt x="3166" y="352"/>
                  </a:lnTo>
                  <a:lnTo>
                    <a:pt x="2927" y="431"/>
                  </a:lnTo>
                  <a:lnTo>
                    <a:pt x="2695" y="516"/>
                  </a:lnTo>
                  <a:lnTo>
                    <a:pt x="2470" y="608"/>
                  </a:lnTo>
                  <a:lnTo>
                    <a:pt x="2251" y="707"/>
                  </a:lnTo>
                  <a:lnTo>
                    <a:pt x="2041" y="812"/>
                  </a:lnTo>
                  <a:lnTo>
                    <a:pt x="1839" y="924"/>
                  </a:lnTo>
                  <a:lnTo>
                    <a:pt x="1645" y="1041"/>
                  </a:lnTo>
                  <a:lnTo>
                    <a:pt x="1460" y="1163"/>
                  </a:lnTo>
                  <a:lnTo>
                    <a:pt x="1284" y="1291"/>
                  </a:lnTo>
                  <a:lnTo>
                    <a:pt x="1118" y="1423"/>
                  </a:lnTo>
                  <a:lnTo>
                    <a:pt x="961" y="1562"/>
                  </a:lnTo>
                  <a:lnTo>
                    <a:pt x="815" y="1704"/>
                  </a:lnTo>
                  <a:lnTo>
                    <a:pt x="680" y="1851"/>
                  </a:lnTo>
                  <a:lnTo>
                    <a:pt x="556" y="2001"/>
                  </a:lnTo>
                  <a:lnTo>
                    <a:pt x="443" y="2157"/>
                  </a:lnTo>
                  <a:lnTo>
                    <a:pt x="342" y="2315"/>
                  </a:lnTo>
                  <a:lnTo>
                    <a:pt x="254" y="2477"/>
                  </a:lnTo>
                  <a:lnTo>
                    <a:pt x="178" y="2641"/>
                  </a:lnTo>
                  <a:lnTo>
                    <a:pt x="115" y="2810"/>
                  </a:lnTo>
                  <a:lnTo>
                    <a:pt x="65" y="2980"/>
                  </a:lnTo>
                  <a:lnTo>
                    <a:pt x="29" y="3153"/>
                  </a:lnTo>
                  <a:lnTo>
                    <a:pt x="7" y="3329"/>
                  </a:lnTo>
                  <a:lnTo>
                    <a:pt x="0" y="3506"/>
                  </a:lnTo>
                  <a:lnTo>
                    <a:pt x="0" y="3519"/>
                  </a:lnTo>
                  <a:lnTo>
                    <a:pt x="1" y="3531"/>
                  </a:lnTo>
                  <a:lnTo>
                    <a:pt x="3" y="3544"/>
                  </a:lnTo>
                  <a:lnTo>
                    <a:pt x="5" y="3556"/>
                  </a:lnTo>
                  <a:lnTo>
                    <a:pt x="8" y="3568"/>
                  </a:lnTo>
                  <a:lnTo>
                    <a:pt x="11" y="3580"/>
                  </a:lnTo>
                  <a:lnTo>
                    <a:pt x="15" y="3592"/>
                  </a:lnTo>
                  <a:lnTo>
                    <a:pt x="20" y="3603"/>
                  </a:lnTo>
                  <a:lnTo>
                    <a:pt x="25" y="3614"/>
                  </a:lnTo>
                  <a:lnTo>
                    <a:pt x="30" y="3625"/>
                  </a:lnTo>
                  <a:lnTo>
                    <a:pt x="36" y="3636"/>
                  </a:lnTo>
                  <a:lnTo>
                    <a:pt x="43" y="3646"/>
                  </a:lnTo>
                  <a:lnTo>
                    <a:pt x="50" y="3655"/>
                  </a:lnTo>
                  <a:lnTo>
                    <a:pt x="57" y="3665"/>
                  </a:lnTo>
                  <a:lnTo>
                    <a:pt x="65" y="3674"/>
                  </a:lnTo>
                  <a:lnTo>
                    <a:pt x="73" y="3683"/>
                  </a:lnTo>
                  <a:lnTo>
                    <a:pt x="82" y="3691"/>
                  </a:lnTo>
                  <a:lnTo>
                    <a:pt x="91" y="3699"/>
                  </a:lnTo>
                  <a:lnTo>
                    <a:pt x="100" y="3706"/>
                  </a:lnTo>
                  <a:lnTo>
                    <a:pt x="111" y="3713"/>
                  </a:lnTo>
                  <a:lnTo>
                    <a:pt x="121" y="3720"/>
                  </a:lnTo>
                  <a:lnTo>
                    <a:pt x="132" y="3726"/>
                  </a:lnTo>
                  <a:lnTo>
                    <a:pt x="143" y="3731"/>
                  </a:lnTo>
                  <a:lnTo>
                    <a:pt x="154" y="3736"/>
                  </a:lnTo>
                  <a:lnTo>
                    <a:pt x="165" y="3741"/>
                  </a:lnTo>
                  <a:lnTo>
                    <a:pt x="177" y="3745"/>
                  </a:lnTo>
                  <a:lnTo>
                    <a:pt x="189" y="3748"/>
                  </a:lnTo>
                  <a:lnTo>
                    <a:pt x="201" y="3751"/>
                  </a:lnTo>
                  <a:lnTo>
                    <a:pt x="213" y="3753"/>
                  </a:lnTo>
                  <a:lnTo>
                    <a:pt x="226" y="3755"/>
                  </a:lnTo>
                  <a:lnTo>
                    <a:pt x="239" y="3756"/>
                  </a:lnTo>
                  <a:lnTo>
                    <a:pt x="252" y="3756"/>
                  </a:lnTo>
                  <a:lnTo>
                    <a:pt x="265" y="3756"/>
                  </a:lnTo>
                  <a:lnTo>
                    <a:pt x="278" y="3755"/>
                  </a:lnTo>
                  <a:lnTo>
                    <a:pt x="290" y="3753"/>
                  </a:lnTo>
                  <a:lnTo>
                    <a:pt x="302" y="3751"/>
                  </a:lnTo>
                  <a:lnTo>
                    <a:pt x="315" y="3748"/>
                  </a:lnTo>
                  <a:lnTo>
                    <a:pt x="326" y="3745"/>
                  </a:lnTo>
                  <a:lnTo>
                    <a:pt x="338" y="3741"/>
                  </a:lnTo>
                  <a:lnTo>
                    <a:pt x="349" y="3736"/>
                  </a:lnTo>
                  <a:lnTo>
                    <a:pt x="361" y="3731"/>
                  </a:lnTo>
                  <a:lnTo>
                    <a:pt x="372" y="3726"/>
                  </a:lnTo>
                  <a:lnTo>
                    <a:pt x="383" y="3720"/>
                  </a:lnTo>
                  <a:lnTo>
                    <a:pt x="393" y="3713"/>
                  </a:lnTo>
                  <a:lnTo>
                    <a:pt x="403" y="3706"/>
                  </a:lnTo>
                  <a:lnTo>
                    <a:pt x="412" y="3699"/>
                  </a:lnTo>
                  <a:lnTo>
                    <a:pt x="421" y="3691"/>
                  </a:lnTo>
                  <a:lnTo>
                    <a:pt x="430" y="3683"/>
                  </a:lnTo>
                  <a:lnTo>
                    <a:pt x="438" y="3674"/>
                  </a:lnTo>
                  <a:lnTo>
                    <a:pt x="446" y="3665"/>
                  </a:lnTo>
                  <a:lnTo>
                    <a:pt x="453" y="3655"/>
                  </a:lnTo>
                  <a:lnTo>
                    <a:pt x="460" y="3646"/>
                  </a:lnTo>
                  <a:lnTo>
                    <a:pt x="467" y="3636"/>
                  </a:lnTo>
                  <a:lnTo>
                    <a:pt x="474" y="3625"/>
                  </a:lnTo>
                  <a:lnTo>
                    <a:pt x="479" y="3614"/>
                  </a:lnTo>
                  <a:lnTo>
                    <a:pt x="484" y="3603"/>
                  </a:lnTo>
                  <a:lnTo>
                    <a:pt x="489" y="3592"/>
                  </a:lnTo>
                  <a:lnTo>
                    <a:pt x="493" y="3580"/>
                  </a:lnTo>
                  <a:lnTo>
                    <a:pt x="496" y="3568"/>
                  </a:lnTo>
                  <a:lnTo>
                    <a:pt x="499" y="3556"/>
                  </a:lnTo>
                  <a:lnTo>
                    <a:pt x="501" y="3544"/>
                  </a:lnTo>
                  <a:lnTo>
                    <a:pt x="503" y="3531"/>
                  </a:lnTo>
                  <a:lnTo>
                    <a:pt x="504" y="3519"/>
                  </a:lnTo>
                  <a:lnTo>
                    <a:pt x="504" y="3506"/>
                  </a:lnTo>
                  <a:lnTo>
                    <a:pt x="511" y="3357"/>
                  </a:lnTo>
                  <a:lnTo>
                    <a:pt x="531" y="3208"/>
                  </a:lnTo>
                  <a:lnTo>
                    <a:pt x="564" y="3062"/>
                  </a:lnTo>
                  <a:lnTo>
                    <a:pt x="611" y="2917"/>
                  </a:lnTo>
                  <a:lnTo>
                    <a:pt x="669" y="2775"/>
                  </a:lnTo>
                  <a:lnTo>
                    <a:pt x="739" y="2634"/>
                  </a:lnTo>
                  <a:lnTo>
                    <a:pt x="820" y="2496"/>
                  </a:lnTo>
                  <a:lnTo>
                    <a:pt x="914" y="2361"/>
                  </a:lnTo>
                  <a:lnTo>
                    <a:pt x="1018" y="2229"/>
                  </a:lnTo>
                  <a:lnTo>
                    <a:pt x="1132" y="2100"/>
                  </a:lnTo>
                  <a:lnTo>
                    <a:pt x="1257" y="1973"/>
                  </a:lnTo>
                  <a:lnTo>
                    <a:pt x="1391" y="1851"/>
                  </a:lnTo>
                  <a:lnTo>
                    <a:pt x="1534" y="1733"/>
                  </a:lnTo>
                  <a:lnTo>
                    <a:pt x="1686" y="1619"/>
                  </a:lnTo>
                  <a:lnTo>
                    <a:pt x="1848" y="1509"/>
                  </a:lnTo>
                  <a:lnTo>
                    <a:pt x="2017" y="1403"/>
                  </a:lnTo>
                  <a:lnTo>
                    <a:pt x="2195" y="1302"/>
                  </a:lnTo>
                  <a:lnTo>
                    <a:pt x="2379" y="1206"/>
                  </a:lnTo>
                  <a:lnTo>
                    <a:pt x="2572" y="1115"/>
                  </a:lnTo>
                  <a:lnTo>
                    <a:pt x="2769" y="1030"/>
                  </a:lnTo>
                  <a:lnTo>
                    <a:pt x="2975" y="950"/>
                  </a:lnTo>
                  <a:lnTo>
                    <a:pt x="3186" y="876"/>
                  </a:lnTo>
                  <a:lnTo>
                    <a:pt x="3402" y="807"/>
                  </a:lnTo>
                  <a:lnTo>
                    <a:pt x="3624" y="745"/>
                  </a:lnTo>
                  <a:lnTo>
                    <a:pt x="3851" y="690"/>
                  </a:lnTo>
                  <a:lnTo>
                    <a:pt x="4083" y="641"/>
                  </a:lnTo>
                  <a:lnTo>
                    <a:pt x="4318" y="599"/>
                  </a:lnTo>
                  <a:lnTo>
                    <a:pt x="4557" y="564"/>
                  </a:lnTo>
                  <a:lnTo>
                    <a:pt x="4800" y="537"/>
                  </a:lnTo>
                  <a:lnTo>
                    <a:pt x="5046" y="517"/>
                  </a:lnTo>
                  <a:lnTo>
                    <a:pt x="5294" y="505"/>
                  </a:lnTo>
                  <a:lnTo>
                    <a:pt x="5545" y="501"/>
                  </a:lnTo>
                  <a:lnTo>
                    <a:pt x="5558" y="501"/>
                  </a:lnTo>
                  <a:lnTo>
                    <a:pt x="5571" y="500"/>
                  </a:lnTo>
                  <a:lnTo>
                    <a:pt x="5583" y="498"/>
                  </a:lnTo>
                  <a:lnTo>
                    <a:pt x="5595" y="496"/>
                  </a:lnTo>
                  <a:lnTo>
                    <a:pt x="5609" y="493"/>
                  </a:lnTo>
                  <a:lnTo>
                    <a:pt x="5620" y="490"/>
                  </a:lnTo>
                  <a:lnTo>
                    <a:pt x="5632" y="486"/>
                  </a:lnTo>
                  <a:lnTo>
                    <a:pt x="5643" y="481"/>
                  </a:lnTo>
                  <a:lnTo>
                    <a:pt x="5654" y="476"/>
                  </a:lnTo>
                  <a:lnTo>
                    <a:pt x="5665" y="471"/>
                  </a:lnTo>
                  <a:lnTo>
                    <a:pt x="5676" y="465"/>
                  </a:lnTo>
                  <a:lnTo>
                    <a:pt x="5686" y="458"/>
                  </a:lnTo>
                  <a:lnTo>
                    <a:pt x="5696" y="451"/>
                  </a:lnTo>
                  <a:lnTo>
                    <a:pt x="5705" y="444"/>
                  </a:lnTo>
                  <a:lnTo>
                    <a:pt x="5714" y="436"/>
                  </a:lnTo>
                  <a:lnTo>
                    <a:pt x="5723" y="428"/>
                  </a:lnTo>
                  <a:lnTo>
                    <a:pt x="5732" y="419"/>
                  </a:lnTo>
                  <a:lnTo>
                    <a:pt x="5740" y="410"/>
                  </a:lnTo>
                  <a:lnTo>
                    <a:pt x="5747" y="401"/>
                  </a:lnTo>
                  <a:lnTo>
                    <a:pt x="5754" y="391"/>
                  </a:lnTo>
                  <a:lnTo>
                    <a:pt x="5761" y="381"/>
                  </a:lnTo>
                  <a:lnTo>
                    <a:pt x="5767" y="370"/>
                  </a:lnTo>
                  <a:lnTo>
                    <a:pt x="5772" y="359"/>
                  </a:lnTo>
                  <a:lnTo>
                    <a:pt x="5777" y="348"/>
                  </a:lnTo>
                  <a:lnTo>
                    <a:pt x="5782" y="337"/>
                  </a:lnTo>
                  <a:lnTo>
                    <a:pt x="5786" y="325"/>
                  </a:lnTo>
                  <a:lnTo>
                    <a:pt x="5789" y="313"/>
                  </a:lnTo>
                  <a:lnTo>
                    <a:pt x="5792" y="301"/>
                  </a:lnTo>
                  <a:lnTo>
                    <a:pt x="5794" y="289"/>
                  </a:lnTo>
                  <a:lnTo>
                    <a:pt x="5796" y="277"/>
                  </a:lnTo>
                  <a:lnTo>
                    <a:pt x="5797" y="264"/>
                  </a:lnTo>
                  <a:lnTo>
                    <a:pt x="5797" y="251"/>
                  </a:lnTo>
                  <a:lnTo>
                    <a:pt x="5797" y="237"/>
                  </a:lnTo>
                  <a:lnTo>
                    <a:pt x="5796" y="225"/>
                  </a:lnTo>
                  <a:lnTo>
                    <a:pt x="5794" y="212"/>
                  </a:lnTo>
                  <a:lnTo>
                    <a:pt x="5792" y="200"/>
                  </a:lnTo>
                  <a:lnTo>
                    <a:pt x="5789" y="188"/>
                  </a:lnTo>
                  <a:lnTo>
                    <a:pt x="5786" y="176"/>
                  </a:lnTo>
                  <a:lnTo>
                    <a:pt x="5782" y="164"/>
                  </a:lnTo>
                  <a:lnTo>
                    <a:pt x="5777" y="153"/>
                  </a:lnTo>
                  <a:lnTo>
                    <a:pt x="5772" y="142"/>
                  </a:lnTo>
                  <a:lnTo>
                    <a:pt x="5767" y="131"/>
                  </a:lnTo>
                  <a:lnTo>
                    <a:pt x="5761" y="120"/>
                  </a:lnTo>
                  <a:lnTo>
                    <a:pt x="5754" y="110"/>
                  </a:lnTo>
                  <a:lnTo>
                    <a:pt x="5747" y="100"/>
                  </a:lnTo>
                  <a:lnTo>
                    <a:pt x="5740" y="91"/>
                  </a:lnTo>
                  <a:lnTo>
                    <a:pt x="5732" y="82"/>
                  </a:lnTo>
                  <a:lnTo>
                    <a:pt x="5723" y="73"/>
                  </a:lnTo>
                  <a:lnTo>
                    <a:pt x="5714" y="65"/>
                  </a:lnTo>
                  <a:lnTo>
                    <a:pt x="5705" y="57"/>
                  </a:lnTo>
                  <a:lnTo>
                    <a:pt x="5696" y="50"/>
                  </a:lnTo>
                  <a:lnTo>
                    <a:pt x="5686" y="43"/>
                  </a:lnTo>
                  <a:lnTo>
                    <a:pt x="5676" y="36"/>
                  </a:lnTo>
                  <a:lnTo>
                    <a:pt x="5665" y="30"/>
                  </a:lnTo>
                  <a:lnTo>
                    <a:pt x="5654" y="25"/>
                  </a:lnTo>
                  <a:lnTo>
                    <a:pt x="5643" y="20"/>
                  </a:lnTo>
                  <a:lnTo>
                    <a:pt x="5632" y="15"/>
                  </a:lnTo>
                  <a:lnTo>
                    <a:pt x="5620" y="11"/>
                  </a:lnTo>
                  <a:lnTo>
                    <a:pt x="5609" y="8"/>
                  </a:lnTo>
                  <a:lnTo>
                    <a:pt x="5595" y="5"/>
                  </a:lnTo>
                  <a:lnTo>
                    <a:pt x="5583" y="3"/>
                  </a:lnTo>
                  <a:lnTo>
                    <a:pt x="5571" y="1"/>
                  </a:lnTo>
                  <a:lnTo>
                    <a:pt x="5558" y="0"/>
                  </a:lnTo>
                  <a:lnTo>
                    <a:pt x="55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40" name="ïŝľîďé">
              <a:extLst>
                <a:ext uri="{FF2B5EF4-FFF2-40B4-BE49-F238E27FC236}">
                  <a16:creationId xmlns:a16="http://schemas.microsoft.com/office/drawing/2014/main" id="{A1DE24F6-2374-43D3-ADEC-0D04AA6C4829}"/>
                </a:ext>
              </a:extLst>
            </p:cNvPr>
            <p:cNvSpPr/>
            <p:nvPr/>
          </p:nvSpPr>
          <p:spPr bwMode="auto">
            <a:xfrm>
              <a:off x="6275621" y="607715"/>
              <a:ext cx="442853" cy="384957"/>
            </a:xfrm>
            <a:custGeom>
              <a:avLst/>
              <a:gdLst>
                <a:gd name="T0" fmla="*/ 7365 w 16132"/>
                <a:gd name="T1" fmla="*/ 10992 h 14023"/>
                <a:gd name="T2" fmla="*/ 6620 w 16132"/>
                <a:gd name="T3" fmla="*/ 10910 h 14023"/>
                <a:gd name="T4" fmla="*/ 6344 w 16132"/>
                <a:gd name="T5" fmla="*/ 10917 h 14023"/>
                <a:gd name="T6" fmla="*/ 6106 w 16132"/>
                <a:gd name="T7" fmla="*/ 10988 h 14023"/>
                <a:gd name="T8" fmla="*/ 5892 w 16132"/>
                <a:gd name="T9" fmla="*/ 11114 h 14023"/>
                <a:gd name="T10" fmla="*/ 5710 w 16132"/>
                <a:gd name="T11" fmla="*/ 11296 h 14023"/>
                <a:gd name="T12" fmla="*/ 5336 w 16132"/>
                <a:gd name="T13" fmla="*/ 11674 h 14023"/>
                <a:gd name="T14" fmla="*/ 4873 w 16132"/>
                <a:gd name="T15" fmla="*/ 12065 h 14023"/>
                <a:gd name="T16" fmla="*/ 4310 w 16132"/>
                <a:gd name="T17" fmla="*/ 12459 h 14023"/>
                <a:gd name="T18" fmla="*/ 4388 w 16132"/>
                <a:gd name="T19" fmla="*/ 11971 h 14023"/>
                <a:gd name="T20" fmla="*/ 4488 w 16132"/>
                <a:gd name="T21" fmla="*/ 11553 h 14023"/>
                <a:gd name="T22" fmla="*/ 4535 w 16132"/>
                <a:gd name="T23" fmla="*/ 11121 h 14023"/>
                <a:gd name="T24" fmla="*/ 4531 w 16132"/>
                <a:gd name="T25" fmla="*/ 10842 h 14023"/>
                <a:gd name="T26" fmla="*/ 4442 w 16132"/>
                <a:gd name="T27" fmla="*/ 10547 h 14023"/>
                <a:gd name="T28" fmla="*/ 4269 w 16132"/>
                <a:gd name="T29" fmla="*/ 10296 h 14023"/>
                <a:gd name="T30" fmla="*/ 4023 w 16132"/>
                <a:gd name="T31" fmla="*/ 10106 h 14023"/>
                <a:gd name="T32" fmla="*/ 2737 w 16132"/>
                <a:gd name="T33" fmla="*/ 9277 h 14023"/>
                <a:gd name="T34" fmla="*/ 1706 w 16132"/>
                <a:gd name="T35" fmla="*/ 8163 h 14023"/>
                <a:gd name="T36" fmla="*/ 1123 w 16132"/>
                <a:gd name="T37" fmla="*/ 6901 h 14023"/>
                <a:gd name="T38" fmla="*/ 1090 w 16132"/>
                <a:gd name="T39" fmla="*/ 5248 h 14023"/>
                <a:gd name="T40" fmla="*/ 2215 w 16132"/>
                <a:gd name="T41" fmla="*/ 3211 h 14023"/>
                <a:gd name="T42" fmla="*/ 4409 w 16132"/>
                <a:gd name="T43" fmla="*/ 1728 h 14023"/>
                <a:gd name="T44" fmla="*/ 7345 w 16132"/>
                <a:gd name="T45" fmla="*/ 1028 h 14023"/>
                <a:gd name="T46" fmla="*/ 10490 w 16132"/>
                <a:gd name="T47" fmla="*/ 1306 h 14023"/>
                <a:gd name="T48" fmla="*/ 13054 w 16132"/>
                <a:gd name="T49" fmla="*/ 2470 h 14023"/>
                <a:gd name="T50" fmla="*/ 14695 w 16132"/>
                <a:gd name="T51" fmla="*/ 4290 h 14023"/>
                <a:gd name="T52" fmla="*/ 15087 w 16132"/>
                <a:gd name="T53" fmla="*/ 6521 h 14023"/>
                <a:gd name="T54" fmla="*/ 14100 w 16132"/>
                <a:gd name="T55" fmla="*/ 8605 h 14023"/>
                <a:gd name="T56" fmla="*/ 12009 w 16132"/>
                <a:gd name="T57" fmla="*/ 10162 h 14023"/>
                <a:gd name="T58" fmla="*/ 9140 w 16132"/>
                <a:gd name="T59" fmla="*/ 10960 h 14023"/>
                <a:gd name="T60" fmla="*/ 6051 w 16132"/>
                <a:gd name="T61" fmla="*/ 189 h 14023"/>
                <a:gd name="T62" fmla="*/ 2935 w 16132"/>
                <a:gd name="T63" fmla="*/ 1372 h 14023"/>
                <a:gd name="T64" fmla="*/ 796 w 16132"/>
                <a:gd name="T65" fmla="*/ 3405 h 14023"/>
                <a:gd name="T66" fmla="*/ 0 w 16132"/>
                <a:gd name="T67" fmla="*/ 6010 h 14023"/>
                <a:gd name="T68" fmla="*/ 318 w 16132"/>
                <a:gd name="T69" fmla="*/ 7685 h 14023"/>
                <a:gd name="T70" fmla="*/ 1211 w 16132"/>
                <a:gd name="T71" fmla="*/ 9177 h 14023"/>
                <a:gd name="T72" fmla="*/ 2590 w 16132"/>
                <a:gd name="T73" fmla="*/ 10421 h 14023"/>
                <a:gd name="T74" fmla="*/ 3529 w 16132"/>
                <a:gd name="T75" fmla="*/ 11018 h 14023"/>
                <a:gd name="T76" fmla="*/ 3392 w 16132"/>
                <a:gd name="T77" fmla="*/ 11780 h 14023"/>
                <a:gd name="T78" fmla="*/ 3075 w 16132"/>
                <a:gd name="T79" fmla="*/ 12505 h 14023"/>
                <a:gd name="T80" fmla="*/ 2616 w 16132"/>
                <a:gd name="T81" fmla="*/ 13290 h 14023"/>
                <a:gd name="T82" fmla="*/ 2522 w 16132"/>
                <a:gd name="T83" fmla="*/ 13545 h 14023"/>
                <a:gd name="T84" fmla="*/ 2556 w 16132"/>
                <a:gd name="T85" fmla="*/ 13746 h 14023"/>
                <a:gd name="T86" fmla="*/ 2670 w 16132"/>
                <a:gd name="T87" fmla="*/ 13905 h 14023"/>
                <a:gd name="T88" fmla="*/ 2841 w 16132"/>
                <a:gd name="T89" fmla="*/ 14003 h 14023"/>
                <a:gd name="T90" fmla="*/ 3078 w 16132"/>
                <a:gd name="T91" fmla="*/ 14016 h 14023"/>
                <a:gd name="T92" fmla="*/ 3690 w 16132"/>
                <a:gd name="T93" fmla="*/ 13870 h 14023"/>
                <a:gd name="T94" fmla="*/ 4910 w 16132"/>
                <a:gd name="T95" fmla="*/ 13267 h 14023"/>
                <a:gd name="T96" fmla="*/ 5885 w 16132"/>
                <a:gd name="T97" fmla="*/ 12528 h 14023"/>
                <a:gd name="T98" fmla="*/ 6475 w 16132"/>
                <a:gd name="T99" fmla="*/ 11947 h 14023"/>
                <a:gd name="T100" fmla="*/ 7278 w 16132"/>
                <a:gd name="T101" fmla="*/ 11990 h 14023"/>
                <a:gd name="T102" fmla="*/ 8481 w 16132"/>
                <a:gd name="T103" fmla="*/ 12012 h 14023"/>
                <a:gd name="T104" fmla="*/ 11910 w 16132"/>
                <a:gd name="T105" fmla="*/ 11295 h 14023"/>
                <a:gd name="T106" fmla="*/ 14530 w 16132"/>
                <a:gd name="T107" fmla="*/ 9606 h 14023"/>
                <a:gd name="T108" fmla="*/ 15968 w 16132"/>
                <a:gd name="T109" fmla="*/ 7221 h 14023"/>
                <a:gd name="T110" fmla="*/ 15878 w 16132"/>
                <a:gd name="T111" fmla="*/ 4508 h 14023"/>
                <a:gd name="T112" fmla="*/ 14290 w 16132"/>
                <a:gd name="T113" fmla="*/ 2188 h 14023"/>
                <a:gd name="T114" fmla="*/ 11563 w 16132"/>
                <a:gd name="T115" fmla="*/ 593 h 14023"/>
                <a:gd name="T116" fmla="*/ 8066 w 16132"/>
                <a:gd name="T117" fmla="*/ 0 h 14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132" h="14023">
                  <a:moveTo>
                    <a:pt x="8066" y="11018"/>
                  </a:moveTo>
                  <a:lnTo>
                    <a:pt x="7979" y="11018"/>
                  </a:lnTo>
                  <a:lnTo>
                    <a:pt x="7893" y="11016"/>
                  </a:lnTo>
                  <a:lnTo>
                    <a:pt x="7805" y="11014"/>
                  </a:lnTo>
                  <a:lnTo>
                    <a:pt x="7717" y="11012"/>
                  </a:lnTo>
                  <a:lnTo>
                    <a:pt x="7629" y="11008"/>
                  </a:lnTo>
                  <a:lnTo>
                    <a:pt x="7542" y="11003"/>
                  </a:lnTo>
                  <a:lnTo>
                    <a:pt x="7454" y="10998"/>
                  </a:lnTo>
                  <a:lnTo>
                    <a:pt x="7365" y="10992"/>
                  </a:lnTo>
                  <a:lnTo>
                    <a:pt x="7278" y="10985"/>
                  </a:lnTo>
                  <a:lnTo>
                    <a:pt x="7189" y="10978"/>
                  </a:lnTo>
                  <a:lnTo>
                    <a:pt x="7100" y="10969"/>
                  </a:lnTo>
                  <a:lnTo>
                    <a:pt x="7011" y="10960"/>
                  </a:lnTo>
                  <a:lnTo>
                    <a:pt x="6923" y="10950"/>
                  </a:lnTo>
                  <a:lnTo>
                    <a:pt x="6834" y="10939"/>
                  </a:lnTo>
                  <a:lnTo>
                    <a:pt x="6745" y="10927"/>
                  </a:lnTo>
                  <a:lnTo>
                    <a:pt x="6656" y="10914"/>
                  </a:lnTo>
                  <a:lnTo>
                    <a:pt x="6620" y="10910"/>
                  </a:lnTo>
                  <a:lnTo>
                    <a:pt x="6583" y="10906"/>
                  </a:lnTo>
                  <a:lnTo>
                    <a:pt x="6547" y="10904"/>
                  </a:lnTo>
                  <a:lnTo>
                    <a:pt x="6510" y="10903"/>
                  </a:lnTo>
                  <a:lnTo>
                    <a:pt x="6482" y="10904"/>
                  </a:lnTo>
                  <a:lnTo>
                    <a:pt x="6455" y="10905"/>
                  </a:lnTo>
                  <a:lnTo>
                    <a:pt x="6427" y="10907"/>
                  </a:lnTo>
                  <a:lnTo>
                    <a:pt x="6398" y="10910"/>
                  </a:lnTo>
                  <a:lnTo>
                    <a:pt x="6371" y="10913"/>
                  </a:lnTo>
                  <a:lnTo>
                    <a:pt x="6344" y="10917"/>
                  </a:lnTo>
                  <a:lnTo>
                    <a:pt x="6317" y="10922"/>
                  </a:lnTo>
                  <a:lnTo>
                    <a:pt x="6289" y="10928"/>
                  </a:lnTo>
                  <a:lnTo>
                    <a:pt x="6262" y="10934"/>
                  </a:lnTo>
                  <a:lnTo>
                    <a:pt x="6236" y="10941"/>
                  </a:lnTo>
                  <a:lnTo>
                    <a:pt x="6210" y="10949"/>
                  </a:lnTo>
                  <a:lnTo>
                    <a:pt x="6183" y="10958"/>
                  </a:lnTo>
                  <a:lnTo>
                    <a:pt x="6157" y="10967"/>
                  </a:lnTo>
                  <a:lnTo>
                    <a:pt x="6131" y="10977"/>
                  </a:lnTo>
                  <a:lnTo>
                    <a:pt x="6106" y="10988"/>
                  </a:lnTo>
                  <a:lnTo>
                    <a:pt x="6081" y="10999"/>
                  </a:lnTo>
                  <a:lnTo>
                    <a:pt x="6056" y="11011"/>
                  </a:lnTo>
                  <a:lnTo>
                    <a:pt x="6031" y="11024"/>
                  </a:lnTo>
                  <a:lnTo>
                    <a:pt x="6007" y="11037"/>
                  </a:lnTo>
                  <a:lnTo>
                    <a:pt x="5983" y="11051"/>
                  </a:lnTo>
                  <a:lnTo>
                    <a:pt x="5960" y="11066"/>
                  </a:lnTo>
                  <a:lnTo>
                    <a:pt x="5937" y="11081"/>
                  </a:lnTo>
                  <a:lnTo>
                    <a:pt x="5914" y="11097"/>
                  </a:lnTo>
                  <a:lnTo>
                    <a:pt x="5892" y="11114"/>
                  </a:lnTo>
                  <a:lnTo>
                    <a:pt x="5870" y="11131"/>
                  </a:lnTo>
                  <a:lnTo>
                    <a:pt x="5849" y="11149"/>
                  </a:lnTo>
                  <a:lnTo>
                    <a:pt x="5828" y="11167"/>
                  </a:lnTo>
                  <a:lnTo>
                    <a:pt x="5808" y="11187"/>
                  </a:lnTo>
                  <a:lnTo>
                    <a:pt x="5787" y="11206"/>
                  </a:lnTo>
                  <a:lnTo>
                    <a:pt x="5768" y="11227"/>
                  </a:lnTo>
                  <a:lnTo>
                    <a:pt x="5749" y="11248"/>
                  </a:lnTo>
                  <a:lnTo>
                    <a:pt x="5731" y="11269"/>
                  </a:lnTo>
                  <a:lnTo>
                    <a:pt x="5710" y="11296"/>
                  </a:lnTo>
                  <a:lnTo>
                    <a:pt x="5686" y="11323"/>
                  </a:lnTo>
                  <a:lnTo>
                    <a:pt x="5660" y="11352"/>
                  </a:lnTo>
                  <a:lnTo>
                    <a:pt x="5632" y="11382"/>
                  </a:lnTo>
                  <a:lnTo>
                    <a:pt x="5570" y="11448"/>
                  </a:lnTo>
                  <a:lnTo>
                    <a:pt x="5499" y="11518"/>
                  </a:lnTo>
                  <a:lnTo>
                    <a:pt x="5461" y="11556"/>
                  </a:lnTo>
                  <a:lnTo>
                    <a:pt x="5420" y="11594"/>
                  </a:lnTo>
                  <a:lnTo>
                    <a:pt x="5379" y="11633"/>
                  </a:lnTo>
                  <a:lnTo>
                    <a:pt x="5336" y="11674"/>
                  </a:lnTo>
                  <a:lnTo>
                    <a:pt x="5290" y="11715"/>
                  </a:lnTo>
                  <a:lnTo>
                    <a:pt x="5243" y="11757"/>
                  </a:lnTo>
                  <a:lnTo>
                    <a:pt x="5195" y="11799"/>
                  </a:lnTo>
                  <a:lnTo>
                    <a:pt x="5145" y="11842"/>
                  </a:lnTo>
                  <a:lnTo>
                    <a:pt x="5093" y="11886"/>
                  </a:lnTo>
                  <a:lnTo>
                    <a:pt x="5040" y="11931"/>
                  </a:lnTo>
                  <a:lnTo>
                    <a:pt x="4986" y="11975"/>
                  </a:lnTo>
                  <a:lnTo>
                    <a:pt x="4930" y="12020"/>
                  </a:lnTo>
                  <a:lnTo>
                    <a:pt x="4873" y="12065"/>
                  </a:lnTo>
                  <a:lnTo>
                    <a:pt x="4814" y="12109"/>
                  </a:lnTo>
                  <a:lnTo>
                    <a:pt x="4755" y="12154"/>
                  </a:lnTo>
                  <a:lnTo>
                    <a:pt x="4694" y="12199"/>
                  </a:lnTo>
                  <a:lnTo>
                    <a:pt x="4633" y="12243"/>
                  </a:lnTo>
                  <a:lnTo>
                    <a:pt x="4570" y="12287"/>
                  </a:lnTo>
                  <a:lnTo>
                    <a:pt x="4507" y="12331"/>
                  </a:lnTo>
                  <a:lnTo>
                    <a:pt x="4442" y="12374"/>
                  </a:lnTo>
                  <a:lnTo>
                    <a:pt x="4377" y="12417"/>
                  </a:lnTo>
                  <a:lnTo>
                    <a:pt x="4310" y="12459"/>
                  </a:lnTo>
                  <a:lnTo>
                    <a:pt x="4244" y="12501"/>
                  </a:lnTo>
                  <a:lnTo>
                    <a:pt x="4176" y="12542"/>
                  </a:lnTo>
                  <a:lnTo>
                    <a:pt x="4212" y="12456"/>
                  </a:lnTo>
                  <a:lnTo>
                    <a:pt x="4248" y="12371"/>
                  </a:lnTo>
                  <a:lnTo>
                    <a:pt x="4281" y="12284"/>
                  </a:lnTo>
                  <a:lnTo>
                    <a:pt x="4313" y="12196"/>
                  </a:lnTo>
                  <a:lnTo>
                    <a:pt x="4345" y="12107"/>
                  </a:lnTo>
                  <a:lnTo>
                    <a:pt x="4374" y="12017"/>
                  </a:lnTo>
                  <a:lnTo>
                    <a:pt x="4388" y="11971"/>
                  </a:lnTo>
                  <a:lnTo>
                    <a:pt x="4401" y="11926"/>
                  </a:lnTo>
                  <a:lnTo>
                    <a:pt x="4414" y="11879"/>
                  </a:lnTo>
                  <a:lnTo>
                    <a:pt x="4426" y="11833"/>
                  </a:lnTo>
                  <a:lnTo>
                    <a:pt x="4438" y="11787"/>
                  </a:lnTo>
                  <a:lnTo>
                    <a:pt x="4449" y="11740"/>
                  </a:lnTo>
                  <a:lnTo>
                    <a:pt x="4459" y="11694"/>
                  </a:lnTo>
                  <a:lnTo>
                    <a:pt x="4470" y="11647"/>
                  </a:lnTo>
                  <a:lnTo>
                    <a:pt x="4480" y="11600"/>
                  </a:lnTo>
                  <a:lnTo>
                    <a:pt x="4488" y="11553"/>
                  </a:lnTo>
                  <a:lnTo>
                    <a:pt x="4496" y="11506"/>
                  </a:lnTo>
                  <a:lnTo>
                    <a:pt x="4504" y="11458"/>
                  </a:lnTo>
                  <a:lnTo>
                    <a:pt x="4510" y="11411"/>
                  </a:lnTo>
                  <a:lnTo>
                    <a:pt x="4516" y="11363"/>
                  </a:lnTo>
                  <a:lnTo>
                    <a:pt x="4522" y="11315"/>
                  </a:lnTo>
                  <a:lnTo>
                    <a:pt x="4526" y="11266"/>
                  </a:lnTo>
                  <a:lnTo>
                    <a:pt x="4530" y="11218"/>
                  </a:lnTo>
                  <a:lnTo>
                    <a:pt x="4533" y="11170"/>
                  </a:lnTo>
                  <a:lnTo>
                    <a:pt x="4535" y="11121"/>
                  </a:lnTo>
                  <a:lnTo>
                    <a:pt x="4537" y="11073"/>
                  </a:lnTo>
                  <a:lnTo>
                    <a:pt x="4538" y="11049"/>
                  </a:lnTo>
                  <a:lnTo>
                    <a:pt x="4540" y="11025"/>
                  </a:lnTo>
                  <a:lnTo>
                    <a:pt x="4541" y="11002"/>
                  </a:lnTo>
                  <a:lnTo>
                    <a:pt x="4541" y="10981"/>
                  </a:lnTo>
                  <a:lnTo>
                    <a:pt x="4540" y="10946"/>
                  </a:lnTo>
                  <a:lnTo>
                    <a:pt x="4539" y="10911"/>
                  </a:lnTo>
                  <a:lnTo>
                    <a:pt x="4536" y="10876"/>
                  </a:lnTo>
                  <a:lnTo>
                    <a:pt x="4531" y="10842"/>
                  </a:lnTo>
                  <a:lnTo>
                    <a:pt x="4526" y="10808"/>
                  </a:lnTo>
                  <a:lnTo>
                    <a:pt x="4519" y="10774"/>
                  </a:lnTo>
                  <a:lnTo>
                    <a:pt x="4512" y="10741"/>
                  </a:lnTo>
                  <a:lnTo>
                    <a:pt x="4503" y="10707"/>
                  </a:lnTo>
                  <a:lnTo>
                    <a:pt x="4493" y="10675"/>
                  </a:lnTo>
                  <a:lnTo>
                    <a:pt x="4482" y="10641"/>
                  </a:lnTo>
                  <a:lnTo>
                    <a:pt x="4470" y="10610"/>
                  </a:lnTo>
                  <a:lnTo>
                    <a:pt x="4456" y="10578"/>
                  </a:lnTo>
                  <a:lnTo>
                    <a:pt x="4442" y="10547"/>
                  </a:lnTo>
                  <a:lnTo>
                    <a:pt x="4426" y="10517"/>
                  </a:lnTo>
                  <a:lnTo>
                    <a:pt x="4410" y="10487"/>
                  </a:lnTo>
                  <a:lnTo>
                    <a:pt x="4393" y="10458"/>
                  </a:lnTo>
                  <a:lnTo>
                    <a:pt x="4375" y="10429"/>
                  </a:lnTo>
                  <a:lnTo>
                    <a:pt x="4356" y="10401"/>
                  </a:lnTo>
                  <a:lnTo>
                    <a:pt x="4334" y="10374"/>
                  </a:lnTo>
                  <a:lnTo>
                    <a:pt x="4313" y="10347"/>
                  </a:lnTo>
                  <a:lnTo>
                    <a:pt x="4291" y="10321"/>
                  </a:lnTo>
                  <a:lnTo>
                    <a:pt x="4269" y="10296"/>
                  </a:lnTo>
                  <a:lnTo>
                    <a:pt x="4245" y="10271"/>
                  </a:lnTo>
                  <a:lnTo>
                    <a:pt x="4220" y="10248"/>
                  </a:lnTo>
                  <a:lnTo>
                    <a:pt x="4194" y="10225"/>
                  </a:lnTo>
                  <a:lnTo>
                    <a:pt x="4168" y="10203"/>
                  </a:lnTo>
                  <a:lnTo>
                    <a:pt x="4140" y="10182"/>
                  </a:lnTo>
                  <a:lnTo>
                    <a:pt x="4112" y="10161"/>
                  </a:lnTo>
                  <a:lnTo>
                    <a:pt x="4083" y="10142"/>
                  </a:lnTo>
                  <a:lnTo>
                    <a:pt x="4053" y="10123"/>
                  </a:lnTo>
                  <a:lnTo>
                    <a:pt x="4023" y="10106"/>
                  </a:lnTo>
                  <a:lnTo>
                    <a:pt x="3992" y="10089"/>
                  </a:lnTo>
                  <a:lnTo>
                    <a:pt x="3819" y="9998"/>
                  </a:lnTo>
                  <a:lnTo>
                    <a:pt x="3650" y="9904"/>
                  </a:lnTo>
                  <a:lnTo>
                    <a:pt x="3487" y="9807"/>
                  </a:lnTo>
                  <a:lnTo>
                    <a:pt x="3327" y="9707"/>
                  </a:lnTo>
                  <a:lnTo>
                    <a:pt x="3173" y="9604"/>
                  </a:lnTo>
                  <a:lnTo>
                    <a:pt x="3023" y="9499"/>
                  </a:lnTo>
                  <a:lnTo>
                    <a:pt x="2878" y="9389"/>
                  </a:lnTo>
                  <a:lnTo>
                    <a:pt x="2737" y="9277"/>
                  </a:lnTo>
                  <a:lnTo>
                    <a:pt x="2602" y="9163"/>
                  </a:lnTo>
                  <a:lnTo>
                    <a:pt x="2472" y="9046"/>
                  </a:lnTo>
                  <a:lnTo>
                    <a:pt x="2346" y="8927"/>
                  </a:lnTo>
                  <a:lnTo>
                    <a:pt x="2226" y="8805"/>
                  </a:lnTo>
                  <a:lnTo>
                    <a:pt x="2112" y="8681"/>
                  </a:lnTo>
                  <a:lnTo>
                    <a:pt x="2002" y="8555"/>
                  </a:lnTo>
                  <a:lnTo>
                    <a:pt x="1899" y="8427"/>
                  </a:lnTo>
                  <a:lnTo>
                    <a:pt x="1800" y="8297"/>
                  </a:lnTo>
                  <a:lnTo>
                    <a:pt x="1706" y="8163"/>
                  </a:lnTo>
                  <a:lnTo>
                    <a:pt x="1618" y="8030"/>
                  </a:lnTo>
                  <a:lnTo>
                    <a:pt x="1537" y="7894"/>
                  </a:lnTo>
                  <a:lnTo>
                    <a:pt x="1460" y="7757"/>
                  </a:lnTo>
                  <a:lnTo>
                    <a:pt x="1388" y="7617"/>
                  </a:lnTo>
                  <a:lnTo>
                    <a:pt x="1324" y="7476"/>
                  </a:lnTo>
                  <a:lnTo>
                    <a:pt x="1264" y="7335"/>
                  </a:lnTo>
                  <a:lnTo>
                    <a:pt x="1212" y="7192"/>
                  </a:lnTo>
                  <a:lnTo>
                    <a:pt x="1165" y="7047"/>
                  </a:lnTo>
                  <a:lnTo>
                    <a:pt x="1123" y="6901"/>
                  </a:lnTo>
                  <a:lnTo>
                    <a:pt x="1089" y="6755"/>
                  </a:lnTo>
                  <a:lnTo>
                    <a:pt x="1060" y="6608"/>
                  </a:lnTo>
                  <a:lnTo>
                    <a:pt x="1037" y="6459"/>
                  </a:lnTo>
                  <a:lnTo>
                    <a:pt x="1021" y="6309"/>
                  </a:lnTo>
                  <a:lnTo>
                    <a:pt x="1011" y="6160"/>
                  </a:lnTo>
                  <a:lnTo>
                    <a:pt x="1008" y="6010"/>
                  </a:lnTo>
                  <a:lnTo>
                    <a:pt x="1017" y="5752"/>
                  </a:lnTo>
                  <a:lnTo>
                    <a:pt x="1045" y="5498"/>
                  </a:lnTo>
                  <a:lnTo>
                    <a:pt x="1090" y="5248"/>
                  </a:lnTo>
                  <a:lnTo>
                    <a:pt x="1151" y="5002"/>
                  </a:lnTo>
                  <a:lnTo>
                    <a:pt x="1231" y="4760"/>
                  </a:lnTo>
                  <a:lnTo>
                    <a:pt x="1326" y="4522"/>
                  </a:lnTo>
                  <a:lnTo>
                    <a:pt x="1437" y="4290"/>
                  </a:lnTo>
                  <a:lnTo>
                    <a:pt x="1564" y="4063"/>
                  </a:lnTo>
                  <a:lnTo>
                    <a:pt x="1705" y="3840"/>
                  </a:lnTo>
                  <a:lnTo>
                    <a:pt x="1861" y="3625"/>
                  </a:lnTo>
                  <a:lnTo>
                    <a:pt x="2032" y="3415"/>
                  </a:lnTo>
                  <a:lnTo>
                    <a:pt x="2215" y="3211"/>
                  </a:lnTo>
                  <a:lnTo>
                    <a:pt x="2412" y="3015"/>
                  </a:lnTo>
                  <a:lnTo>
                    <a:pt x="2621" y="2826"/>
                  </a:lnTo>
                  <a:lnTo>
                    <a:pt x="2844" y="2644"/>
                  </a:lnTo>
                  <a:lnTo>
                    <a:pt x="3078" y="2470"/>
                  </a:lnTo>
                  <a:lnTo>
                    <a:pt x="3323" y="2304"/>
                  </a:lnTo>
                  <a:lnTo>
                    <a:pt x="3579" y="2147"/>
                  </a:lnTo>
                  <a:lnTo>
                    <a:pt x="3845" y="1998"/>
                  </a:lnTo>
                  <a:lnTo>
                    <a:pt x="4123" y="1858"/>
                  </a:lnTo>
                  <a:lnTo>
                    <a:pt x="4409" y="1728"/>
                  </a:lnTo>
                  <a:lnTo>
                    <a:pt x="4704" y="1607"/>
                  </a:lnTo>
                  <a:lnTo>
                    <a:pt x="5009" y="1496"/>
                  </a:lnTo>
                  <a:lnTo>
                    <a:pt x="5322" y="1395"/>
                  </a:lnTo>
                  <a:lnTo>
                    <a:pt x="5642" y="1306"/>
                  </a:lnTo>
                  <a:lnTo>
                    <a:pt x="5970" y="1227"/>
                  </a:lnTo>
                  <a:lnTo>
                    <a:pt x="6305" y="1160"/>
                  </a:lnTo>
                  <a:lnTo>
                    <a:pt x="6645" y="1104"/>
                  </a:lnTo>
                  <a:lnTo>
                    <a:pt x="6992" y="1060"/>
                  </a:lnTo>
                  <a:lnTo>
                    <a:pt x="7345" y="1028"/>
                  </a:lnTo>
                  <a:lnTo>
                    <a:pt x="7703" y="1008"/>
                  </a:lnTo>
                  <a:lnTo>
                    <a:pt x="8066" y="1002"/>
                  </a:lnTo>
                  <a:lnTo>
                    <a:pt x="8429" y="1008"/>
                  </a:lnTo>
                  <a:lnTo>
                    <a:pt x="8787" y="1028"/>
                  </a:lnTo>
                  <a:lnTo>
                    <a:pt x="9140" y="1060"/>
                  </a:lnTo>
                  <a:lnTo>
                    <a:pt x="9487" y="1104"/>
                  </a:lnTo>
                  <a:lnTo>
                    <a:pt x="9827" y="1160"/>
                  </a:lnTo>
                  <a:lnTo>
                    <a:pt x="10162" y="1227"/>
                  </a:lnTo>
                  <a:lnTo>
                    <a:pt x="10490" y="1306"/>
                  </a:lnTo>
                  <a:lnTo>
                    <a:pt x="10810" y="1395"/>
                  </a:lnTo>
                  <a:lnTo>
                    <a:pt x="11123" y="1496"/>
                  </a:lnTo>
                  <a:lnTo>
                    <a:pt x="11428" y="1607"/>
                  </a:lnTo>
                  <a:lnTo>
                    <a:pt x="11723" y="1728"/>
                  </a:lnTo>
                  <a:lnTo>
                    <a:pt x="12009" y="1858"/>
                  </a:lnTo>
                  <a:lnTo>
                    <a:pt x="12287" y="1998"/>
                  </a:lnTo>
                  <a:lnTo>
                    <a:pt x="12553" y="2147"/>
                  </a:lnTo>
                  <a:lnTo>
                    <a:pt x="12809" y="2304"/>
                  </a:lnTo>
                  <a:lnTo>
                    <a:pt x="13054" y="2470"/>
                  </a:lnTo>
                  <a:lnTo>
                    <a:pt x="13288" y="2644"/>
                  </a:lnTo>
                  <a:lnTo>
                    <a:pt x="13511" y="2826"/>
                  </a:lnTo>
                  <a:lnTo>
                    <a:pt x="13720" y="3015"/>
                  </a:lnTo>
                  <a:lnTo>
                    <a:pt x="13917" y="3211"/>
                  </a:lnTo>
                  <a:lnTo>
                    <a:pt x="14100" y="3415"/>
                  </a:lnTo>
                  <a:lnTo>
                    <a:pt x="14271" y="3625"/>
                  </a:lnTo>
                  <a:lnTo>
                    <a:pt x="14427" y="3840"/>
                  </a:lnTo>
                  <a:lnTo>
                    <a:pt x="14568" y="4063"/>
                  </a:lnTo>
                  <a:lnTo>
                    <a:pt x="14695" y="4290"/>
                  </a:lnTo>
                  <a:lnTo>
                    <a:pt x="14806" y="4522"/>
                  </a:lnTo>
                  <a:lnTo>
                    <a:pt x="14901" y="4760"/>
                  </a:lnTo>
                  <a:lnTo>
                    <a:pt x="14981" y="5002"/>
                  </a:lnTo>
                  <a:lnTo>
                    <a:pt x="15042" y="5248"/>
                  </a:lnTo>
                  <a:lnTo>
                    <a:pt x="15087" y="5498"/>
                  </a:lnTo>
                  <a:lnTo>
                    <a:pt x="15115" y="5752"/>
                  </a:lnTo>
                  <a:lnTo>
                    <a:pt x="15124" y="6010"/>
                  </a:lnTo>
                  <a:lnTo>
                    <a:pt x="15115" y="6267"/>
                  </a:lnTo>
                  <a:lnTo>
                    <a:pt x="15087" y="6521"/>
                  </a:lnTo>
                  <a:lnTo>
                    <a:pt x="15042" y="6771"/>
                  </a:lnTo>
                  <a:lnTo>
                    <a:pt x="14981" y="7018"/>
                  </a:lnTo>
                  <a:lnTo>
                    <a:pt x="14901" y="7260"/>
                  </a:lnTo>
                  <a:lnTo>
                    <a:pt x="14806" y="7497"/>
                  </a:lnTo>
                  <a:lnTo>
                    <a:pt x="14695" y="7730"/>
                  </a:lnTo>
                  <a:lnTo>
                    <a:pt x="14568" y="7957"/>
                  </a:lnTo>
                  <a:lnTo>
                    <a:pt x="14427" y="8179"/>
                  </a:lnTo>
                  <a:lnTo>
                    <a:pt x="14271" y="8395"/>
                  </a:lnTo>
                  <a:lnTo>
                    <a:pt x="14100" y="8605"/>
                  </a:lnTo>
                  <a:lnTo>
                    <a:pt x="13917" y="8807"/>
                  </a:lnTo>
                  <a:lnTo>
                    <a:pt x="13720" y="9005"/>
                  </a:lnTo>
                  <a:lnTo>
                    <a:pt x="13511" y="9194"/>
                  </a:lnTo>
                  <a:lnTo>
                    <a:pt x="13288" y="9375"/>
                  </a:lnTo>
                  <a:lnTo>
                    <a:pt x="13054" y="9550"/>
                  </a:lnTo>
                  <a:lnTo>
                    <a:pt x="12809" y="9715"/>
                  </a:lnTo>
                  <a:lnTo>
                    <a:pt x="12553" y="9873"/>
                  </a:lnTo>
                  <a:lnTo>
                    <a:pt x="12287" y="10021"/>
                  </a:lnTo>
                  <a:lnTo>
                    <a:pt x="12009" y="10162"/>
                  </a:lnTo>
                  <a:lnTo>
                    <a:pt x="11723" y="10292"/>
                  </a:lnTo>
                  <a:lnTo>
                    <a:pt x="11428" y="10413"/>
                  </a:lnTo>
                  <a:lnTo>
                    <a:pt x="11123" y="10523"/>
                  </a:lnTo>
                  <a:lnTo>
                    <a:pt x="10810" y="10623"/>
                  </a:lnTo>
                  <a:lnTo>
                    <a:pt x="10490" y="10714"/>
                  </a:lnTo>
                  <a:lnTo>
                    <a:pt x="10162" y="10793"/>
                  </a:lnTo>
                  <a:lnTo>
                    <a:pt x="9827" y="10860"/>
                  </a:lnTo>
                  <a:lnTo>
                    <a:pt x="9487" y="10916"/>
                  </a:lnTo>
                  <a:lnTo>
                    <a:pt x="9140" y="10960"/>
                  </a:lnTo>
                  <a:lnTo>
                    <a:pt x="8787" y="10992"/>
                  </a:lnTo>
                  <a:lnTo>
                    <a:pt x="8429" y="11011"/>
                  </a:lnTo>
                  <a:lnTo>
                    <a:pt x="8066" y="11018"/>
                  </a:lnTo>
                  <a:close/>
                  <a:moveTo>
                    <a:pt x="8066" y="0"/>
                  </a:moveTo>
                  <a:lnTo>
                    <a:pt x="7651" y="8"/>
                  </a:lnTo>
                  <a:lnTo>
                    <a:pt x="7241" y="31"/>
                  </a:lnTo>
                  <a:lnTo>
                    <a:pt x="6838" y="69"/>
                  </a:lnTo>
                  <a:lnTo>
                    <a:pt x="6441" y="122"/>
                  </a:lnTo>
                  <a:lnTo>
                    <a:pt x="6051" y="189"/>
                  </a:lnTo>
                  <a:lnTo>
                    <a:pt x="5667" y="270"/>
                  </a:lnTo>
                  <a:lnTo>
                    <a:pt x="5292" y="365"/>
                  </a:lnTo>
                  <a:lnTo>
                    <a:pt x="4926" y="473"/>
                  </a:lnTo>
                  <a:lnTo>
                    <a:pt x="4569" y="593"/>
                  </a:lnTo>
                  <a:lnTo>
                    <a:pt x="4222" y="725"/>
                  </a:lnTo>
                  <a:lnTo>
                    <a:pt x="3884" y="870"/>
                  </a:lnTo>
                  <a:lnTo>
                    <a:pt x="3556" y="1027"/>
                  </a:lnTo>
                  <a:lnTo>
                    <a:pt x="3240" y="1194"/>
                  </a:lnTo>
                  <a:lnTo>
                    <a:pt x="2935" y="1372"/>
                  </a:lnTo>
                  <a:lnTo>
                    <a:pt x="2643" y="1562"/>
                  </a:lnTo>
                  <a:lnTo>
                    <a:pt x="2362" y="1760"/>
                  </a:lnTo>
                  <a:lnTo>
                    <a:pt x="2095" y="1969"/>
                  </a:lnTo>
                  <a:lnTo>
                    <a:pt x="1842" y="2188"/>
                  </a:lnTo>
                  <a:lnTo>
                    <a:pt x="1602" y="2414"/>
                  </a:lnTo>
                  <a:lnTo>
                    <a:pt x="1377" y="2649"/>
                  </a:lnTo>
                  <a:lnTo>
                    <a:pt x="1168" y="2894"/>
                  </a:lnTo>
                  <a:lnTo>
                    <a:pt x="974" y="3145"/>
                  </a:lnTo>
                  <a:lnTo>
                    <a:pt x="796" y="3405"/>
                  </a:lnTo>
                  <a:lnTo>
                    <a:pt x="634" y="3671"/>
                  </a:lnTo>
                  <a:lnTo>
                    <a:pt x="489" y="3943"/>
                  </a:lnTo>
                  <a:lnTo>
                    <a:pt x="363" y="4223"/>
                  </a:lnTo>
                  <a:lnTo>
                    <a:pt x="254" y="4508"/>
                  </a:lnTo>
                  <a:lnTo>
                    <a:pt x="163" y="4799"/>
                  </a:lnTo>
                  <a:lnTo>
                    <a:pt x="93" y="5094"/>
                  </a:lnTo>
                  <a:lnTo>
                    <a:pt x="41" y="5396"/>
                  </a:lnTo>
                  <a:lnTo>
                    <a:pt x="10" y="5700"/>
                  </a:lnTo>
                  <a:lnTo>
                    <a:pt x="0" y="6010"/>
                  </a:lnTo>
                  <a:lnTo>
                    <a:pt x="4" y="6203"/>
                  </a:lnTo>
                  <a:lnTo>
                    <a:pt x="16" y="6394"/>
                  </a:lnTo>
                  <a:lnTo>
                    <a:pt x="36" y="6584"/>
                  </a:lnTo>
                  <a:lnTo>
                    <a:pt x="65" y="6772"/>
                  </a:lnTo>
                  <a:lnTo>
                    <a:pt x="100" y="6958"/>
                  </a:lnTo>
                  <a:lnTo>
                    <a:pt x="143" y="7144"/>
                  </a:lnTo>
                  <a:lnTo>
                    <a:pt x="195" y="7326"/>
                  </a:lnTo>
                  <a:lnTo>
                    <a:pt x="252" y="7506"/>
                  </a:lnTo>
                  <a:lnTo>
                    <a:pt x="318" y="7685"/>
                  </a:lnTo>
                  <a:lnTo>
                    <a:pt x="390" y="7861"/>
                  </a:lnTo>
                  <a:lnTo>
                    <a:pt x="470" y="8034"/>
                  </a:lnTo>
                  <a:lnTo>
                    <a:pt x="556" y="8205"/>
                  </a:lnTo>
                  <a:lnTo>
                    <a:pt x="648" y="8375"/>
                  </a:lnTo>
                  <a:lnTo>
                    <a:pt x="748" y="8541"/>
                  </a:lnTo>
                  <a:lnTo>
                    <a:pt x="855" y="8704"/>
                  </a:lnTo>
                  <a:lnTo>
                    <a:pt x="967" y="8865"/>
                  </a:lnTo>
                  <a:lnTo>
                    <a:pt x="1086" y="9023"/>
                  </a:lnTo>
                  <a:lnTo>
                    <a:pt x="1211" y="9177"/>
                  </a:lnTo>
                  <a:lnTo>
                    <a:pt x="1341" y="9329"/>
                  </a:lnTo>
                  <a:lnTo>
                    <a:pt x="1478" y="9478"/>
                  </a:lnTo>
                  <a:lnTo>
                    <a:pt x="1620" y="9623"/>
                  </a:lnTo>
                  <a:lnTo>
                    <a:pt x="1768" y="9765"/>
                  </a:lnTo>
                  <a:lnTo>
                    <a:pt x="1923" y="9903"/>
                  </a:lnTo>
                  <a:lnTo>
                    <a:pt x="2081" y="10038"/>
                  </a:lnTo>
                  <a:lnTo>
                    <a:pt x="2245" y="10170"/>
                  </a:lnTo>
                  <a:lnTo>
                    <a:pt x="2415" y="10298"/>
                  </a:lnTo>
                  <a:lnTo>
                    <a:pt x="2590" y="10421"/>
                  </a:lnTo>
                  <a:lnTo>
                    <a:pt x="2769" y="10541"/>
                  </a:lnTo>
                  <a:lnTo>
                    <a:pt x="2953" y="10657"/>
                  </a:lnTo>
                  <a:lnTo>
                    <a:pt x="3142" y="10770"/>
                  </a:lnTo>
                  <a:lnTo>
                    <a:pt x="3335" y="10878"/>
                  </a:lnTo>
                  <a:lnTo>
                    <a:pt x="3533" y="10981"/>
                  </a:lnTo>
                  <a:lnTo>
                    <a:pt x="3532" y="10990"/>
                  </a:lnTo>
                  <a:lnTo>
                    <a:pt x="3531" y="10999"/>
                  </a:lnTo>
                  <a:lnTo>
                    <a:pt x="3530" y="11008"/>
                  </a:lnTo>
                  <a:lnTo>
                    <a:pt x="3529" y="11018"/>
                  </a:lnTo>
                  <a:lnTo>
                    <a:pt x="3527" y="11102"/>
                  </a:lnTo>
                  <a:lnTo>
                    <a:pt x="3521" y="11187"/>
                  </a:lnTo>
                  <a:lnTo>
                    <a:pt x="3512" y="11271"/>
                  </a:lnTo>
                  <a:lnTo>
                    <a:pt x="3500" y="11357"/>
                  </a:lnTo>
                  <a:lnTo>
                    <a:pt x="3484" y="11442"/>
                  </a:lnTo>
                  <a:lnTo>
                    <a:pt x="3464" y="11527"/>
                  </a:lnTo>
                  <a:lnTo>
                    <a:pt x="3443" y="11612"/>
                  </a:lnTo>
                  <a:lnTo>
                    <a:pt x="3419" y="11696"/>
                  </a:lnTo>
                  <a:lnTo>
                    <a:pt x="3392" y="11780"/>
                  </a:lnTo>
                  <a:lnTo>
                    <a:pt x="3364" y="11863"/>
                  </a:lnTo>
                  <a:lnTo>
                    <a:pt x="3332" y="11947"/>
                  </a:lnTo>
                  <a:lnTo>
                    <a:pt x="3300" y="12030"/>
                  </a:lnTo>
                  <a:lnTo>
                    <a:pt x="3266" y="12111"/>
                  </a:lnTo>
                  <a:lnTo>
                    <a:pt x="3229" y="12192"/>
                  </a:lnTo>
                  <a:lnTo>
                    <a:pt x="3192" y="12271"/>
                  </a:lnTo>
                  <a:lnTo>
                    <a:pt x="3155" y="12350"/>
                  </a:lnTo>
                  <a:lnTo>
                    <a:pt x="3115" y="12428"/>
                  </a:lnTo>
                  <a:lnTo>
                    <a:pt x="3075" y="12505"/>
                  </a:lnTo>
                  <a:lnTo>
                    <a:pt x="3036" y="12580"/>
                  </a:lnTo>
                  <a:lnTo>
                    <a:pt x="2995" y="12653"/>
                  </a:lnTo>
                  <a:lnTo>
                    <a:pt x="2954" y="12726"/>
                  </a:lnTo>
                  <a:lnTo>
                    <a:pt x="2914" y="12796"/>
                  </a:lnTo>
                  <a:lnTo>
                    <a:pt x="2874" y="12864"/>
                  </a:lnTo>
                  <a:lnTo>
                    <a:pt x="2834" y="12931"/>
                  </a:lnTo>
                  <a:lnTo>
                    <a:pt x="2757" y="13059"/>
                  </a:lnTo>
                  <a:lnTo>
                    <a:pt x="2684" y="13180"/>
                  </a:lnTo>
                  <a:lnTo>
                    <a:pt x="2616" y="13290"/>
                  </a:lnTo>
                  <a:lnTo>
                    <a:pt x="2557" y="13390"/>
                  </a:lnTo>
                  <a:lnTo>
                    <a:pt x="2558" y="13390"/>
                  </a:lnTo>
                  <a:lnTo>
                    <a:pt x="2550" y="13411"/>
                  </a:lnTo>
                  <a:lnTo>
                    <a:pt x="2542" y="13432"/>
                  </a:lnTo>
                  <a:lnTo>
                    <a:pt x="2536" y="13454"/>
                  </a:lnTo>
                  <a:lnTo>
                    <a:pt x="2531" y="13476"/>
                  </a:lnTo>
                  <a:lnTo>
                    <a:pt x="2527" y="13499"/>
                  </a:lnTo>
                  <a:lnTo>
                    <a:pt x="2523" y="13522"/>
                  </a:lnTo>
                  <a:lnTo>
                    <a:pt x="2522" y="13545"/>
                  </a:lnTo>
                  <a:lnTo>
                    <a:pt x="2521" y="13569"/>
                  </a:lnTo>
                  <a:lnTo>
                    <a:pt x="2522" y="13592"/>
                  </a:lnTo>
                  <a:lnTo>
                    <a:pt x="2523" y="13615"/>
                  </a:lnTo>
                  <a:lnTo>
                    <a:pt x="2526" y="13638"/>
                  </a:lnTo>
                  <a:lnTo>
                    <a:pt x="2530" y="13660"/>
                  </a:lnTo>
                  <a:lnTo>
                    <a:pt x="2535" y="13682"/>
                  </a:lnTo>
                  <a:lnTo>
                    <a:pt x="2541" y="13704"/>
                  </a:lnTo>
                  <a:lnTo>
                    <a:pt x="2548" y="13726"/>
                  </a:lnTo>
                  <a:lnTo>
                    <a:pt x="2556" y="13746"/>
                  </a:lnTo>
                  <a:lnTo>
                    <a:pt x="2566" y="13766"/>
                  </a:lnTo>
                  <a:lnTo>
                    <a:pt x="2576" y="13786"/>
                  </a:lnTo>
                  <a:lnTo>
                    <a:pt x="2586" y="13805"/>
                  </a:lnTo>
                  <a:lnTo>
                    <a:pt x="2598" y="13823"/>
                  </a:lnTo>
                  <a:lnTo>
                    <a:pt x="2611" y="13841"/>
                  </a:lnTo>
                  <a:lnTo>
                    <a:pt x="2624" y="13858"/>
                  </a:lnTo>
                  <a:lnTo>
                    <a:pt x="2640" y="13875"/>
                  </a:lnTo>
                  <a:lnTo>
                    <a:pt x="2655" y="13890"/>
                  </a:lnTo>
                  <a:lnTo>
                    <a:pt x="2670" y="13905"/>
                  </a:lnTo>
                  <a:lnTo>
                    <a:pt x="2687" y="13920"/>
                  </a:lnTo>
                  <a:lnTo>
                    <a:pt x="2704" y="13933"/>
                  </a:lnTo>
                  <a:lnTo>
                    <a:pt x="2722" y="13946"/>
                  </a:lnTo>
                  <a:lnTo>
                    <a:pt x="2740" y="13958"/>
                  </a:lnTo>
                  <a:lnTo>
                    <a:pt x="2760" y="13968"/>
                  </a:lnTo>
                  <a:lnTo>
                    <a:pt x="2779" y="13978"/>
                  </a:lnTo>
                  <a:lnTo>
                    <a:pt x="2800" y="13987"/>
                  </a:lnTo>
                  <a:lnTo>
                    <a:pt x="2820" y="13996"/>
                  </a:lnTo>
                  <a:lnTo>
                    <a:pt x="2841" y="14003"/>
                  </a:lnTo>
                  <a:lnTo>
                    <a:pt x="2863" y="14009"/>
                  </a:lnTo>
                  <a:lnTo>
                    <a:pt x="2886" y="14014"/>
                  </a:lnTo>
                  <a:lnTo>
                    <a:pt x="2908" y="14018"/>
                  </a:lnTo>
                  <a:lnTo>
                    <a:pt x="2931" y="14021"/>
                  </a:lnTo>
                  <a:lnTo>
                    <a:pt x="2954" y="14022"/>
                  </a:lnTo>
                  <a:lnTo>
                    <a:pt x="2977" y="14023"/>
                  </a:lnTo>
                  <a:lnTo>
                    <a:pt x="3018" y="14021"/>
                  </a:lnTo>
                  <a:lnTo>
                    <a:pt x="3060" y="14017"/>
                  </a:lnTo>
                  <a:lnTo>
                    <a:pt x="3078" y="14016"/>
                  </a:lnTo>
                  <a:lnTo>
                    <a:pt x="3093" y="14015"/>
                  </a:lnTo>
                  <a:lnTo>
                    <a:pt x="3099" y="14015"/>
                  </a:lnTo>
                  <a:lnTo>
                    <a:pt x="3103" y="14015"/>
                  </a:lnTo>
                  <a:lnTo>
                    <a:pt x="3105" y="14016"/>
                  </a:lnTo>
                  <a:lnTo>
                    <a:pt x="3106" y="14016"/>
                  </a:lnTo>
                  <a:lnTo>
                    <a:pt x="3254" y="13989"/>
                  </a:lnTo>
                  <a:lnTo>
                    <a:pt x="3400" y="13955"/>
                  </a:lnTo>
                  <a:lnTo>
                    <a:pt x="3546" y="13915"/>
                  </a:lnTo>
                  <a:lnTo>
                    <a:pt x="3690" y="13870"/>
                  </a:lnTo>
                  <a:lnTo>
                    <a:pt x="3833" y="13819"/>
                  </a:lnTo>
                  <a:lnTo>
                    <a:pt x="3976" y="13763"/>
                  </a:lnTo>
                  <a:lnTo>
                    <a:pt x="4116" y="13701"/>
                  </a:lnTo>
                  <a:lnTo>
                    <a:pt x="4254" y="13637"/>
                  </a:lnTo>
                  <a:lnTo>
                    <a:pt x="4390" y="13569"/>
                  </a:lnTo>
                  <a:lnTo>
                    <a:pt x="4524" y="13497"/>
                  </a:lnTo>
                  <a:lnTo>
                    <a:pt x="4656" y="13423"/>
                  </a:lnTo>
                  <a:lnTo>
                    <a:pt x="4784" y="13346"/>
                  </a:lnTo>
                  <a:lnTo>
                    <a:pt x="4910" y="13267"/>
                  </a:lnTo>
                  <a:lnTo>
                    <a:pt x="5033" y="13186"/>
                  </a:lnTo>
                  <a:lnTo>
                    <a:pt x="5153" y="13104"/>
                  </a:lnTo>
                  <a:lnTo>
                    <a:pt x="5269" y="13021"/>
                  </a:lnTo>
                  <a:lnTo>
                    <a:pt x="5382" y="12938"/>
                  </a:lnTo>
                  <a:lnTo>
                    <a:pt x="5491" y="12854"/>
                  </a:lnTo>
                  <a:lnTo>
                    <a:pt x="5596" y="12771"/>
                  </a:lnTo>
                  <a:lnTo>
                    <a:pt x="5697" y="12689"/>
                  </a:lnTo>
                  <a:lnTo>
                    <a:pt x="5793" y="12608"/>
                  </a:lnTo>
                  <a:lnTo>
                    <a:pt x="5885" y="12528"/>
                  </a:lnTo>
                  <a:lnTo>
                    <a:pt x="5972" y="12450"/>
                  </a:lnTo>
                  <a:lnTo>
                    <a:pt x="6055" y="12375"/>
                  </a:lnTo>
                  <a:lnTo>
                    <a:pt x="6131" y="12302"/>
                  </a:lnTo>
                  <a:lnTo>
                    <a:pt x="6203" y="12233"/>
                  </a:lnTo>
                  <a:lnTo>
                    <a:pt x="6269" y="12167"/>
                  </a:lnTo>
                  <a:lnTo>
                    <a:pt x="6330" y="12105"/>
                  </a:lnTo>
                  <a:lnTo>
                    <a:pt x="6384" y="12048"/>
                  </a:lnTo>
                  <a:lnTo>
                    <a:pt x="6433" y="11995"/>
                  </a:lnTo>
                  <a:lnTo>
                    <a:pt x="6475" y="11947"/>
                  </a:lnTo>
                  <a:lnTo>
                    <a:pt x="6510" y="11906"/>
                  </a:lnTo>
                  <a:lnTo>
                    <a:pt x="6605" y="11919"/>
                  </a:lnTo>
                  <a:lnTo>
                    <a:pt x="6700" y="11932"/>
                  </a:lnTo>
                  <a:lnTo>
                    <a:pt x="6796" y="11943"/>
                  </a:lnTo>
                  <a:lnTo>
                    <a:pt x="6891" y="11954"/>
                  </a:lnTo>
                  <a:lnTo>
                    <a:pt x="6987" y="11965"/>
                  </a:lnTo>
                  <a:lnTo>
                    <a:pt x="7083" y="11974"/>
                  </a:lnTo>
                  <a:lnTo>
                    <a:pt x="7180" y="11983"/>
                  </a:lnTo>
                  <a:lnTo>
                    <a:pt x="7278" y="11990"/>
                  </a:lnTo>
                  <a:lnTo>
                    <a:pt x="7374" y="11997"/>
                  </a:lnTo>
                  <a:lnTo>
                    <a:pt x="7472" y="12003"/>
                  </a:lnTo>
                  <a:lnTo>
                    <a:pt x="7571" y="12008"/>
                  </a:lnTo>
                  <a:lnTo>
                    <a:pt x="7669" y="12012"/>
                  </a:lnTo>
                  <a:lnTo>
                    <a:pt x="7768" y="12016"/>
                  </a:lnTo>
                  <a:lnTo>
                    <a:pt x="7867" y="12018"/>
                  </a:lnTo>
                  <a:lnTo>
                    <a:pt x="7966" y="12019"/>
                  </a:lnTo>
                  <a:lnTo>
                    <a:pt x="8066" y="12020"/>
                  </a:lnTo>
                  <a:lnTo>
                    <a:pt x="8481" y="12012"/>
                  </a:lnTo>
                  <a:lnTo>
                    <a:pt x="8891" y="11989"/>
                  </a:lnTo>
                  <a:lnTo>
                    <a:pt x="9294" y="11951"/>
                  </a:lnTo>
                  <a:lnTo>
                    <a:pt x="9691" y="11898"/>
                  </a:lnTo>
                  <a:lnTo>
                    <a:pt x="10081" y="11830"/>
                  </a:lnTo>
                  <a:lnTo>
                    <a:pt x="10465" y="11749"/>
                  </a:lnTo>
                  <a:lnTo>
                    <a:pt x="10840" y="11655"/>
                  </a:lnTo>
                  <a:lnTo>
                    <a:pt x="11206" y="11547"/>
                  </a:lnTo>
                  <a:lnTo>
                    <a:pt x="11563" y="11427"/>
                  </a:lnTo>
                  <a:lnTo>
                    <a:pt x="11910" y="11295"/>
                  </a:lnTo>
                  <a:lnTo>
                    <a:pt x="12248" y="11149"/>
                  </a:lnTo>
                  <a:lnTo>
                    <a:pt x="12576" y="10993"/>
                  </a:lnTo>
                  <a:lnTo>
                    <a:pt x="12891" y="10826"/>
                  </a:lnTo>
                  <a:lnTo>
                    <a:pt x="13197" y="10647"/>
                  </a:lnTo>
                  <a:lnTo>
                    <a:pt x="13489" y="10458"/>
                  </a:lnTo>
                  <a:lnTo>
                    <a:pt x="13770" y="10260"/>
                  </a:lnTo>
                  <a:lnTo>
                    <a:pt x="14037" y="10050"/>
                  </a:lnTo>
                  <a:lnTo>
                    <a:pt x="14290" y="9832"/>
                  </a:lnTo>
                  <a:lnTo>
                    <a:pt x="14530" y="9606"/>
                  </a:lnTo>
                  <a:lnTo>
                    <a:pt x="14755" y="9370"/>
                  </a:lnTo>
                  <a:lnTo>
                    <a:pt x="14964" y="9126"/>
                  </a:lnTo>
                  <a:lnTo>
                    <a:pt x="15158" y="8875"/>
                  </a:lnTo>
                  <a:lnTo>
                    <a:pt x="15336" y="8615"/>
                  </a:lnTo>
                  <a:lnTo>
                    <a:pt x="15498" y="8349"/>
                  </a:lnTo>
                  <a:lnTo>
                    <a:pt x="15643" y="8076"/>
                  </a:lnTo>
                  <a:lnTo>
                    <a:pt x="15769" y="7797"/>
                  </a:lnTo>
                  <a:lnTo>
                    <a:pt x="15878" y="7511"/>
                  </a:lnTo>
                  <a:lnTo>
                    <a:pt x="15968" y="7221"/>
                  </a:lnTo>
                  <a:lnTo>
                    <a:pt x="16039" y="6925"/>
                  </a:lnTo>
                  <a:lnTo>
                    <a:pt x="16091" y="6624"/>
                  </a:lnTo>
                  <a:lnTo>
                    <a:pt x="16122" y="6319"/>
                  </a:lnTo>
                  <a:lnTo>
                    <a:pt x="16132" y="6010"/>
                  </a:lnTo>
                  <a:lnTo>
                    <a:pt x="16122" y="5700"/>
                  </a:lnTo>
                  <a:lnTo>
                    <a:pt x="16091" y="5396"/>
                  </a:lnTo>
                  <a:lnTo>
                    <a:pt x="16039" y="5094"/>
                  </a:lnTo>
                  <a:lnTo>
                    <a:pt x="15968" y="4799"/>
                  </a:lnTo>
                  <a:lnTo>
                    <a:pt x="15878" y="4508"/>
                  </a:lnTo>
                  <a:lnTo>
                    <a:pt x="15769" y="4223"/>
                  </a:lnTo>
                  <a:lnTo>
                    <a:pt x="15643" y="3943"/>
                  </a:lnTo>
                  <a:lnTo>
                    <a:pt x="15498" y="3671"/>
                  </a:lnTo>
                  <a:lnTo>
                    <a:pt x="15336" y="3405"/>
                  </a:lnTo>
                  <a:lnTo>
                    <a:pt x="15158" y="3145"/>
                  </a:lnTo>
                  <a:lnTo>
                    <a:pt x="14964" y="2894"/>
                  </a:lnTo>
                  <a:lnTo>
                    <a:pt x="14755" y="2649"/>
                  </a:lnTo>
                  <a:lnTo>
                    <a:pt x="14530" y="2414"/>
                  </a:lnTo>
                  <a:lnTo>
                    <a:pt x="14290" y="2188"/>
                  </a:lnTo>
                  <a:lnTo>
                    <a:pt x="14037" y="1969"/>
                  </a:lnTo>
                  <a:lnTo>
                    <a:pt x="13770" y="1760"/>
                  </a:lnTo>
                  <a:lnTo>
                    <a:pt x="13489" y="1562"/>
                  </a:lnTo>
                  <a:lnTo>
                    <a:pt x="13197" y="1372"/>
                  </a:lnTo>
                  <a:lnTo>
                    <a:pt x="12891" y="1194"/>
                  </a:lnTo>
                  <a:lnTo>
                    <a:pt x="12576" y="1027"/>
                  </a:lnTo>
                  <a:lnTo>
                    <a:pt x="12248" y="870"/>
                  </a:lnTo>
                  <a:lnTo>
                    <a:pt x="11910" y="725"/>
                  </a:lnTo>
                  <a:lnTo>
                    <a:pt x="11563" y="593"/>
                  </a:lnTo>
                  <a:lnTo>
                    <a:pt x="11206" y="473"/>
                  </a:lnTo>
                  <a:lnTo>
                    <a:pt x="10840" y="365"/>
                  </a:lnTo>
                  <a:lnTo>
                    <a:pt x="10465" y="270"/>
                  </a:lnTo>
                  <a:lnTo>
                    <a:pt x="10081" y="189"/>
                  </a:lnTo>
                  <a:lnTo>
                    <a:pt x="9691" y="122"/>
                  </a:lnTo>
                  <a:lnTo>
                    <a:pt x="9294" y="69"/>
                  </a:lnTo>
                  <a:lnTo>
                    <a:pt x="8891" y="31"/>
                  </a:lnTo>
                  <a:lnTo>
                    <a:pt x="8481" y="8"/>
                  </a:lnTo>
                  <a:lnTo>
                    <a:pt x="80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41" name="iṧľîďè">
              <a:extLst>
                <a:ext uri="{FF2B5EF4-FFF2-40B4-BE49-F238E27FC236}">
                  <a16:creationId xmlns:a16="http://schemas.microsoft.com/office/drawing/2014/main" id="{67EE6823-CF0F-49D4-AD23-72CFCC5D0BAB}"/>
                </a:ext>
              </a:extLst>
            </p:cNvPr>
            <p:cNvSpPr/>
            <p:nvPr/>
          </p:nvSpPr>
          <p:spPr bwMode="auto">
            <a:xfrm>
              <a:off x="6295593" y="1041166"/>
              <a:ext cx="535790" cy="613338"/>
            </a:xfrm>
            <a:custGeom>
              <a:avLst/>
              <a:gdLst>
                <a:gd name="T0" fmla="*/ 4158 w 14060"/>
                <a:gd name="T1" fmla="*/ 5259 h 16095"/>
                <a:gd name="T2" fmla="*/ 1877 w 14060"/>
                <a:gd name="T3" fmla="*/ 4442 h 16095"/>
                <a:gd name="T4" fmla="*/ 1004 w 14060"/>
                <a:gd name="T5" fmla="*/ 3269 h 16095"/>
                <a:gd name="T6" fmla="*/ 1877 w 14060"/>
                <a:gd name="T7" fmla="*/ 2095 h 16095"/>
                <a:gd name="T8" fmla="*/ 4158 w 14060"/>
                <a:gd name="T9" fmla="*/ 1279 h 16095"/>
                <a:gd name="T10" fmla="*/ 7340 w 14060"/>
                <a:gd name="T11" fmla="*/ 1009 h 16095"/>
                <a:gd name="T12" fmla="*/ 10399 w 14060"/>
                <a:gd name="T13" fmla="*/ 1392 h 16095"/>
                <a:gd name="T14" fmla="*/ 12461 w 14060"/>
                <a:gd name="T15" fmla="*/ 2288 h 16095"/>
                <a:gd name="T16" fmla="*/ 13025 w 14060"/>
                <a:gd name="T17" fmla="*/ 3501 h 16095"/>
                <a:gd name="T18" fmla="*/ 11859 w 14060"/>
                <a:gd name="T19" fmla="*/ 4623 h 16095"/>
                <a:gd name="T20" fmla="*/ 9376 w 14060"/>
                <a:gd name="T21" fmla="*/ 5355 h 16095"/>
                <a:gd name="T22" fmla="*/ 13055 w 14060"/>
                <a:gd name="T23" fmla="*/ 6798 h 16095"/>
                <a:gd name="T24" fmla="*/ 12329 w 14060"/>
                <a:gd name="T25" fmla="*/ 7877 h 16095"/>
                <a:gd name="T26" fmla="*/ 10154 w 14060"/>
                <a:gd name="T27" fmla="*/ 8729 h 16095"/>
                <a:gd name="T28" fmla="*/ 7030 w 14060"/>
                <a:gd name="T29" fmla="*/ 9053 h 16095"/>
                <a:gd name="T30" fmla="*/ 3906 w 14060"/>
                <a:gd name="T31" fmla="*/ 8729 h 16095"/>
                <a:gd name="T32" fmla="*/ 1731 w 14060"/>
                <a:gd name="T33" fmla="*/ 7877 h 16095"/>
                <a:gd name="T34" fmla="*/ 1005 w 14060"/>
                <a:gd name="T35" fmla="*/ 6798 h 16095"/>
                <a:gd name="T36" fmla="*/ 2178 w 14060"/>
                <a:gd name="T37" fmla="*/ 5717 h 16095"/>
                <a:gd name="T38" fmla="*/ 4255 w 14060"/>
                <a:gd name="T39" fmla="*/ 6300 h 16095"/>
                <a:gd name="T40" fmla="*/ 6598 w 14060"/>
                <a:gd name="T41" fmla="*/ 6533 h 16095"/>
                <a:gd name="T42" fmla="*/ 8968 w 14060"/>
                <a:gd name="T43" fmla="*/ 6425 h 16095"/>
                <a:gd name="T44" fmla="*/ 11177 w 14060"/>
                <a:gd name="T45" fmla="*/ 5970 h 16095"/>
                <a:gd name="T46" fmla="*/ 12929 w 14060"/>
                <a:gd name="T47" fmla="*/ 5154 h 16095"/>
                <a:gd name="T48" fmla="*/ 12866 w 14060"/>
                <a:gd name="T49" fmla="*/ 10385 h 16095"/>
                <a:gd name="T50" fmla="*/ 11291 w 14060"/>
                <a:gd name="T51" fmla="*/ 11413 h 16095"/>
                <a:gd name="T52" fmla="*/ 8535 w 14060"/>
                <a:gd name="T53" fmla="*/ 12001 h 16095"/>
                <a:gd name="T54" fmla="*/ 5238 w 14060"/>
                <a:gd name="T55" fmla="*/ 11971 h 16095"/>
                <a:gd name="T56" fmla="*/ 2570 w 14060"/>
                <a:gd name="T57" fmla="*/ 11335 h 16095"/>
                <a:gd name="T58" fmla="*/ 1127 w 14060"/>
                <a:gd name="T59" fmla="*/ 10277 h 16095"/>
                <a:gd name="T60" fmla="*/ 1334 w 14060"/>
                <a:gd name="T61" fmla="*/ 8216 h 16095"/>
                <a:gd name="T62" fmla="*/ 3083 w 14060"/>
                <a:gd name="T63" fmla="*/ 9035 h 16095"/>
                <a:gd name="T64" fmla="*/ 5412 w 14060"/>
                <a:gd name="T65" fmla="*/ 9477 h 16095"/>
                <a:gd name="T66" fmla="*/ 7960 w 14060"/>
                <a:gd name="T67" fmla="*/ 9530 h 16095"/>
                <a:gd name="T68" fmla="*/ 10383 w 14060"/>
                <a:gd name="T69" fmla="*/ 9193 h 16095"/>
                <a:gd name="T70" fmla="*/ 12328 w 14060"/>
                <a:gd name="T71" fmla="*/ 8477 h 16095"/>
                <a:gd name="T72" fmla="*/ 12986 w 14060"/>
                <a:gd name="T73" fmla="*/ 13170 h 16095"/>
                <a:gd name="T74" fmla="*/ 11680 w 14060"/>
                <a:gd name="T75" fmla="*/ 14265 h 16095"/>
                <a:gd name="T76" fmla="*/ 9102 w 14060"/>
                <a:gd name="T77" fmla="*/ 14951 h 16095"/>
                <a:gd name="T78" fmla="*/ 5816 w 14060"/>
                <a:gd name="T79" fmla="*/ 15043 h 16095"/>
                <a:gd name="T80" fmla="*/ 2979 w 14060"/>
                <a:gd name="T81" fmla="*/ 14501 h 16095"/>
                <a:gd name="T82" fmla="*/ 1275 w 14060"/>
                <a:gd name="T83" fmla="*/ 13499 h 16095"/>
                <a:gd name="T84" fmla="*/ 1459 w 14060"/>
                <a:gd name="T85" fmla="*/ 11324 h 16095"/>
                <a:gd name="T86" fmla="*/ 3277 w 14060"/>
                <a:gd name="T87" fmla="*/ 12109 h 16095"/>
                <a:gd name="T88" fmla="*/ 5640 w 14060"/>
                <a:gd name="T89" fmla="*/ 12516 h 16095"/>
                <a:gd name="T90" fmla="*/ 8191 w 14060"/>
                <a:gd name="T91" fmla="*/ 12534 h 16095"/>
                <a:gd name="T92" fmla="*/ 10586 w 14060"/>
                <a:gd name="T93" fmla="*/ 12162 h 16095"/>
                <a:gd name="T94" fmla="*/ 12468 w 14060"/>
                <a:gd name="T95" fmla="*/ 11410 h 16095"/>
                <a:gd name="T96" fmla="*/ 5756 w 14060"/>
                <a:gd name="T97" fmla="*/ 48 h 16095"/>
                <a:gd name="T98" fmla="*/ 2501 w 14060"/>
                <a:gd name="T99" fmla="*/ 695 h 16095"/>
                <a:gd name="T100" fmla="*/ 359 w 14060"/>
                <a:gd name="T101" fmla="*/ 2134 h 16095"/>
                <a:gd name="T102" fmla="*/ 163 w 14060"/>
                <a:gd name="T103" fmla="*/ 13611 h 16095"/>
                <a:gd name="T104" fmla="*/ 2001 w 14060"/>
                <a:gd name="T105" fmla="*/ 15199 h 16095"/>
                <a:gd name="T106" fmla="*/ 5124 w 14060"/>
                <a:gd name="T107" fmla="*/ 15985 h 16095"/>
                <a:gd name="T108" fmla="*/ 8621 w 14060"/>
                <a:gd name="T109" fmla="*/ 16020 h 16095"/>
                <a:gd name="T110" fmla="*/ 11814 w 14060"/>
                <a:gd name="T111" fmla="*/ 15302 h 16095"/>
                <a:gd name="T112" fmla="*/ 13808 w 14060"/>
                <a:gd name="T113" fmla="*/ 13789 h 16095"/>
                <a:gd name="T114" fmla="*/ 13808 w 14060"/>
                <a:gd name="T115" fmla="*/ 2305 h 16095"/>
                <a:gd name="T116" fmla="*/ 11814 w 14060"/>
                <a:gd name="T117" fmla="*/ 792 h 16095"/>
                <a:gd name="T118" fmla="*/ 8621 w 14060"/>
                <a:gd name="T119" fmla="*/ 75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4060" h="16095">
                  <a:moveTo>
                    <a:pt x="7030" y="5533"/>
                  </a:moveTo>
                  <a:lnTo>
                    <a:pt x="6720" y="5530"/>
                  </a:lnTo>
                  <a:lnTo>
                    <a:pt x="6413" y="5521"/>
                  </a:lnTo>
                  <a:lnTo>
                    <a:pt x="6112" y="5507"/>
                  </a:lnTo>
                  <a:lnTo>
                    <a:pt x="5816" y="5486"/>
                  </a:lnTo>
                  <a:lnTo>
                    <a:pt x="5524" y="5461"/>
                  </a:lnTo>
                  <a:lnTo>
                    <a:pt x="5238" y="5431"/>
                  </a:lnTo>
                  <a:lnTo>
                    <a:pt x="4958" y="5395"/>
                  </a:lnTo>
                  <a:lnTo>
                    <a:pt x="4684" y="5355"/>
                  </a:lnTo>
                  <a:lnTo>
                    <a:pt x="4418" y="5309"/>
                  </a:lnTo>
                  <a:lnTo>
                    <a:pt x="4158" y="5259"/>
                  </a:lnTo>
                  <a:lnTo>
                    <a:pt x="3906" y="5205"/>
                  </a:lnTo>
                  <a:lnTo>
                    <a:pt x="3661" y="5145"/>
                  </a:lnTo>
                  <a:lnTo>
                    <a:pt x="3425" y="5083"/>
                  </a:lnTo>
                  <a:lnTo>
                    <a:pt x="3197" y="5016"/>
                  </a:lnTo>
                  <a:lnTo>
                    <a:pt x="2979" y="4944"/>
                  </a:lnTo>
                  <a:lnTo>
                    <a:pt x="2769" y="4870"/>
                  </a:lnTo>
                  <a:lnTo>
                    <a:pt x="2570" y="4791"/>
                  </a:lnTo>
                  <a:lnTo>
                    <a:pt x="2380" y="4709"/>
                  </a:lnTo>
                  <a:lnTo>
                    <a:pt x="2201" y="4623"/>
                  </a:lnTo>
                  <a:lnTo>
                    <a:pt x="2034" y="4535"/>
                  </a:lnTo>
                  <a:lnTo>
                    <a:pt x="1877" y="4442"/>
                  </a:lnTo>
                  <a:lnTo>
                    <a:pt x="1731" y="4348"/>
                  </a:lnTo>
                  <a:lnTo>
                    <a:pt x="1599" y="4250"/>
                  </a:lnTo>
                  <a:lnTo>
                    <a:pt x="1477" y="4149"/>
                  </a:lnTo>
                  <a:lnTo>
                    <a:pt x="1370" y="4047"/>
                  </a:lnTo>
                  <a:lnTo>
                    <a:pt x="1275" y="3942"/>
                  </a:lnTo>
                  <a:lnTo>
                    <a:pt x="1194" y="3835"/>
                  </a:lnTo>
                  <a:lnTo>
                    <a:pt x="1127" y="3725"/>
                  </a:lnTo>
                  <a:lnTo>
                    <a:pt x="1074" y="3613"/>
                  </a:lnTo>
                  <a:lnTo>
                    <a:pt x="1035" y="3501"/>
                  </a:lnTo>
                  <a:lnTo>
                    <a:pt x="1012" y="3386"/>
                  </a:lnTo>
                  <a:lnTo>
                    <a:pt x="1004" y="3269"/>
                  </a:lnTo>
                  <a:lnTo>
                    <a:pt x="1012" y="3153"/>
                  </a:lnTo>
                  <a:lnTo>
                    <a:pt x="1035" y="3038"/>
                  </a:lnTo>
                  <a:lnTo>
                    <a:pt x="1074" y="2924"/>
                  </a:lnTo>
                  <a:lnTo>
                    <a:pt x="1127" y="2813"/>
                  </a:lnTo>
                  <a:lnTo>
                    <a:pt x="1194" y="2703"/>
                  </a:lnTo>
                  <a:lnTo>
                    <a:pt x="1275" y="2596"/>
                  </a:lnTo>
                  <a:lnTo>
                    <a:pt x="1370" y="2491"/>
                  </a:lnTo>
                  <a:lnTo>
                    <a:pt x="1477" y="2388"/>
                  </a:lnTo>
                  <a:lnTo>
                    <a:pt x="1599" y="2288"/>
                  </a:lnTo>
                  <a:lnTo>
                    <a:pt x="1731" y="2190"/>
                  </a:lnTo>
                  <a:lnTo>
                    <a:pt x="1877" y="2095"/>
                  </a:lnTo>
                  <a:lnTo>
                    <a:pt x="2034" y="2004"/>
                  </a:lnTo>
                  <a:lnTo>
                    <a:pt x="2201" y="1915"/>
                  </a:lnTo>
                  <a:lnTo>
                    <a:pt x="2380" y="1830"/>
                  </a:lnTo>
                  <a:lnTo>
                    <a:pt x="2570" y="1747"/>
                  </a:lnTo>
                  <a:lnTo>
                    <a:pt x="2769" y="1669"/>
                  </a:lnTo>
                  <a:lnTo>
                    <a:pt x="2979" y="1593"/>
                  </a:lnTo>
                  <a:lnTo>
                    <a:pt x="3197" y="1523"/>
                  </a:lnTo>
                  <a:lnTo>
                    <a:pt x="3425" y="1456"/>
                  </a:lnTo>
                  <a:lnTo>
                    <a:pt x="3661" y="1392"/>
                  </a:lnTo>
                  <a:lnTo>
                    <a:pt x="3906" y="1334"/>
                  </a:lnTo>
                  <a:lnTo>
                    <a:pt x="4158" y="1279"/>
                  </a:lnTo>
                  <a:lnTo>
                    <a:pt x="4418" y="1229"/>
                  </a:lnTo>
                  <a:lnTo>
                    <a:pt x="4684" y="1184"/>
                  </a:lnTo>
                  <a:lnTo>
                    <a:pt x="4958" y="1143"/>
                  </a:lnTo>
                  <a:lnTo>
                    <a:pt x="5238" y="1108"/>
                  </a:lnTo>
                  <a:lnTo>
                    <a:pt x="5524" y="1077"/>
                  </a:lnTo>
                  <a:lnTo>
                    <a:pt x="5816" y="1052"/>
                  </a:lnTo>
                  <a:lnTo>
                    <a:pt x="6112" y="1032"/>
                  </a:lnTo>
                  <a:lnTo>
                    <a:pt x="6413" y="1018"/>
                  </a:lnTo>
                  <a:lnTo>
                    <a:pt x="6720" y="1009"/>
                  </a:lnTo>
                  <a:lnTo>
                    <a:pt x="7030" y="1006"/>
                  </a:lnTo>
                  <a:lnTo>
                    <a:pt x="7340" y="1009"/>
                  </a:lnTo>
                  <a:lnTo>
                    <a:pt x="7647" y="1018"/>
                  </a:lnTo>
                  <a:lnTo>
                    <a:pt x="7948" y="1032"/>
                  </a:lnTo>
                  <a:lnTo>
                    <a:pt x="8244" y="1052"/>
                  </a:lnTo>
                  <a:lnTo>
                    <a:pt x="8536" y="1077"/>
                  </a:lnTo>
                  <a:lnTo>
                    <a:pt x="8822" y="1108"/>
                  </a:lnTo>
                  <a:lnTo>
                    <a:pt x="9102" y="1143"/>
                  </a:lnTo>
                  <a:lnTo>
                    <a:pt x="9376" y="1184"/>
                  </a:lnTo>
                  <a:lnTo>
                    <a:pt x="9642" y="1229"/>
                  </a:lnTo>
                  <a:lnTo>
                    <a:pt x="9902" y="1279"/>
                  </a:lnTo>
                  <a:lnTo>
                    <a:pt x="10154" y="1334"/>
                  </a:lnTo>
                  <a:lnTo>
                    <a:pt x="10399" y="1392"/>
                  </a:lnTo>
                  <a:lnTo>
                    <a:pt x="10635" y="1456"/>
                  </a:lnTo>
                  <a:lnTo>
                    <a:pt x="10863" y="1523"/>
                  </a:lnTo>
                  <a:lnTo>
                    <a:pt x="11081" y="1593"/>
                  </a:lnTo>
                  <a:lnTo>
                    <a:pt x="11291" y="1669"/>
                  </a:lnTo>
                  <a:lnTo>
                    <a:pt x="11490" y="1747"/>
                  </a:lnTo>
                  <a:lnTo>
                    <a:pt x="11680" y="1830"/>
                  </a:lnTo>
                  <a:lnTo>
                    <a:pt x="11859" y="1915"/>
                  </a:lnTo>
                  <a:lnTo>
                    <a:pt x="12026" y="2004"/>
                  </a:lnTo>
                  <a:lnTo>
                    <a:pt x="12183" y="2095"/>
                  </a:lnTo>
                  <a:lnTo>
                    <a:pt x="12329" y="2190"/>
                  </a:lnTo>
                  <a:lnTo>
                    <a:pt x="12461" y="2288"/>
                  </a:lnTo>
                  <a:lnTo>
                    <a:pt x="12583" y="2388"/>
                  </a:lnTo>
                  <a:lnTo>
                    <a:pt x="12690" y="2491"/>
                  </a:lnTo>
                  <a:lnTo>
                    <a:pt x="12785" y="2596"/>
                  </a:lnTo>
                  <a:lnTo>
                    <a:pt x="12866" y="2703"/>
                  </a:lnTo>
                  <a:lnTo>
                    <a:pt x="12933" y="2813"/>
                  </a:lnTo>
                  <a:lnTo>
                    <a:pt x="12986" y="2924"/>
                  </a:lnTo>
                  <a:lnTo>
                    <a:pt x="13025" y="3038"/>
                  </a:lnTo>
                  <a:lnTo>
                    <a:pt x="13048" y="3153"/>
                  </a:lnTo>
                  <a:lnTo>
                    <a:pt x="13056" y="3269"/>
                  </a:lnTo>
                  <a:lnTo>
                    <a:pt x="13048" y="3386"/>
                  </a:lnTo>
                  <a:lnTo>
                    <a:pt x="13025" y="3501"/>
                  </a:lnTo>
                  <a:lnTo>
                    <a:pt x="12986" y="3613"/>
                  </a:lnTo>
                  <a:lnTo>
                    <a:pt x="12933" y="3725"/>
                  </a:lnTo>
                  <a:lnTo>
                    <a:pt x="12866" y="3835"/>
                  </a:lnTo>
                  <a:lnTo>
                    <a:pt x="12785" y="3942"/>
                  </a:lnTo>
                  <a:lnTo>
                    <a:pt x="12690" y="4047"/>
                  </a:lnTo>
                  <a:lnTo>
                    <a:pt x="12583" y="4149"/>
                  </a:lnTo>
                  <a:lnTo>
                    <a:pt x="12461" y="4250"/>
                  </a:lnTo>
                  <a:lnTo>
                    <a:pt x="12329" y="4348"/>
                  </a:lnTo>
                  <a:lnTo>
                    <a:pt x="12183" y="4442"/>
                  </a:lnTo>
                  <a:lnTo>
                    <a:pt x="12026" y="4535"/>
                  </a:lnTo>
                  <a:lnTo>
                    <a:pt x="11859" y="4623"/>
                  </a:lnTo>
                  <a:lnTo>
                    <a:pt x="11680" y="4709"/>
                  </a:lnTo>
                  <a:lnTo>
                    <a:pt x="11490" y="4791"/>
                  </a:lnTo>
                  <a:lnTo>
                    <a:pt x="11291" y="4870"/>
                  </a:lnTo>
                  <a:lnTo>
                    <a:pt x="11081" y="4944"/>
                  </a:lnTo>
                  <a:lnTo>
                    <a:pt x="10863" y="5016"/>
                  </a:lnTo>
                  <a:lnTo>
                    <a:pt x="10635" y="5083"/>
                  </a:lnTo>
                  <a:lnTo>
                    <a:pt x="10399" y="5145"/>
                  </a:lnTo>
                  <a:lnTo>
                    <a:pt x="10154" y="5205"/>
                  </a:lnTo>
                  <a:lnTo>
                    <a:pt x="9902" y="5259"/>
                  </a:lnTo>
                  <a:lnTo>
                    <a:pt x="9642" y="5309"/>
                  </a:lnTo>
                  <a:lnTo>
                    <a:pt x="9376" y="5355"/>
                  </a:lnTo>
                  <a:lnTo>
                    <a:pt x="9102" y="5395"/>
                  </a:lnTo>
                  <a:lnTo>
                    <a:pt x="8822" y="5431"/>
                  </a:lnTo>
                  <a:lnTo>
                    <a:pt x="8536" y="5461"/>
                  </a:lnTo>
                  <a:lnTo>
                    <a:pt x="8244" y="5486"/>
                  </a:lnTo>
                  <a:lnTo>
                    <a:pt x="7948" y="5507"/>
                  </a:lnTo>
                  <a:lnTo>
                    <a:pt x="7647" y="5521"/>
                  </a:lnTo>
                  <a:lnTo>
                    <a:pt x="7340" y="5530"/>
                  </a:lnTo>
                  <a:lnTo>
                    <a:pt x="7030" y="5533"/>
                  </a:lnTo>
                  <a:close/>
                  <a:moveTo>
                    <a:pt x="13056" y="6790"/>
                  </a:moveTo>
                  <a:lnTo>
                    <a:pt x="13054" y="6790"/>
                  </a:lnTo>
                  <a:lnTo>
                    <a:pt x="13055" y="6798"/>
                  </a:lnTo>
                  <a:lnTo>
                    <a:pt x="13056" y="6805"/>
                  </a:lnTo>
                  <a:lnTo>
                    <a:pt x="13048" y="6921"/>
                  </a:lnTo>
                  <a:lnTo>
                    <a:pt x="13025" y="7036"/>
                  </a:lnTo>
                  <a:lnTo>
                    <a:pt x="12986" y="7148"/>
                  </a:lnTo>
                  <a:lnTo>
                    <a:pt x="12933" y="7259"/>
                  </a:lnTo>
                  <a:lnTo>
                    <a:pt x="12866" y="7367"/>
                  </a:lnTo>
                  <a:lnTo>
                    <a:pt x="12785" y="7474"/>
                  </a:lnTo>
                  <a:lnTo>
                    <a:pt x="12690" y="7579"/>
                  </a:lnTo>
                  <a:lnTo>
                    <a:pt x="12582" y="7680"/>
                  </a:lnTo>
                  <a:lnTo>
                    <a:pt x="12461" y="7780"/>
                  </a:lnTo>
                  <a:lnTo>
                    <a:pt x="12329" y="7877"/>
                  </a:lnTo>
                  <a:lnTo>
                    <a:pt x="12183" y="7971"/>
                  </a:lnTo>
                  <a:lnTo>
                    <a:pt x="12026" y="8063"/>
                  </a:lnTo>
                  <a:lnTo>
                    <a:pt x="11859" y="8151"/>
                  </a:lnTo>
                  <a:lnTo>
                    <a:pt x="11680" y="8236"/>
                  </a:lnTo>
                  <a:lnTo>
                    <a:pt x="11490" y="8317"/>
                  </a:lnTo>
                  <a:lnTo>
                    <a:pt x="11291" y="8396"/>
                  </a:lnTo>
                  <a:lnTo>
                    <a:pt x="11081" y="8470"/>
                  </a:lnTo>
                  <a:lnTo>
                    <a:pt x="10862" y="8540"/>
                  </a:lnTo>
                  <a:lnTo>
                    <a:pt x="10635" y="8607"/>
                  </a:lnTo>
                  <a:lnTo>
                    <a:pt x="10399" y="8670"/>
                  </a:lnTo>
                  <a:lnTo>
                    <a:pt x="10154" y="8729"/>
                  </a:lnTo>
                  <a:lnTo>
                    <a:pt x="9902" y="8782"/>
                  </a:lnTo>
                  <a:lnTo>
                    <a:pt x="9642" y="8832"/>
                  </a:lnTo>
                  <a:lnTo>
                    <a:pt x="9375" y="8876"/>
                  </a:lnTo>
                  <a:lnTo>
                    <a:pt x="9102" y="8917"/>
                  </a:lnTo>
                  <a:lnTo>
                    <a:pt x="8822" y="8953"/>
                  </a:lnTo>
                  <a:lnTo>
                    <a:pt x="8535" y="8983"/>
                  </a:lnTo>
                  <a:lnTo>
                    <a:pt x="8244" y="9008"/>
                  </a:lnTo>
                  <a:lnTo>
                    <a:pt x="7948" y="9027"/>
                  </a:lnTo>
                  <a:lnTo>
                    <a:pt x="7646" y="9041"/>
                  </a:lnTo>
                  <a:lnTo>
                    <a:pt x="7340" y="9050"/>
                  </a:lnTo>
                  <a:lnTo>
                    <a:pt x="7030" y="9053"/>
                  </a:lnTo>
                  <a:lnTo>
                    <a:pt x="6720" y="9050"/>
                  </a:lnTo>
                  <a:lnTo>
                    <a:pt x="6414" y="9041"/>
                  </a:lnTo>
                  <a:lnTo>
                    <a:pt x="6112" y="9027"/>
                  </a:lnTo>
                  <a:lnTo>
                    <a:pt x="5816" y="9008"/>
                  </a:lnTo>
                  <a:lnTo>
                    <a:pt x="5525" y="8983"/>
                  </a:lnTo>
                  <a:lnTo>
                    <a:pt x="5238" y="8953"/>
                  </a:lnTo>
                  <a:lnTo>
                    <a:pt x="4958" y="8917"/>
                  </a:lnTo>
                  <a:lnTo>
                    <a:pt x="4685" y="8876"/>
                  </a:lnTo>
                  <a:lnTo>
                    <a:pt x="4418" y="8832"/>
                  </a:lnTo>
                  <a:lnTo>
                    <a:pt x="4158" y="8782"/>
                  </a:lnTo>
                  <a:lnTo>
                    <a:pt x="3906" y="8729"/>
                  </a:lnTo>
                  <a:lnTo>
                    <a:pt x="3661" y="8670"/>
                  </a:lnTo>
                  <a:lnTo>
                    <a:pt x="3425" y="8607"/>
                  </a:lnTo>
                  <a:lnTo>
                    <a:pt x="3197" y="8540"/>
                  </a:lnTo>
                  <a:lnTo>
                    <a:pt x="2979" y="8470"/>
                  </a:lnTo>
                  <a:lnTo>
                    <a:pt x="2769" y="8396"/>
                  </a:lnTo>
                  <a:lnTo>
                    <a:pt x="2570" y="8317"/>
                  </a:lnTo>
                  <a:lnTo>
                    <a:pt x="2380" y="8236"/>
                  </a:lnTo>
                  <a:lnTo>
                    <a:pt x="2201" y="8151"/>
                  </a:lnTo>
                  <a:lnTo>
                    <a:pt x="2034" y="8063"/>
                  </a:lnTo>
                  <a:lnTo>
                    <a:pt x="1877" y="7971"/>
                  </a:lnTo>
                  <a:lnTo>
                    <a:pt x="1731" y="7877"/>
                  </a:lnTo>
                  <a:lnTo>
                    <a:pt x="1599" y="7780"/>
                  </a:lnTo>
                  <a:lnTo>
                    <a:pt x="1477" y="7680"/>
                  </a:lnTo>
                  <a:lnTo>
                    <a:pt x="1370" y="7579"/>
                  </a:lnTo>
                  <a:lnTo>
                    <a:pt x="1275" y="7474"/>
                  </a:lnTo>
                  <a:lnTo>
                    <a:pt x="1194" y="7367"/>
                  </a:lnTo>
                  <a:lnTo>
                    <a:pt x="1127" y="7259"/>
                  </a:lnTo>
                  <a:lnTo>
                    <a:pt x="1074" y="7148"/>
                  </a:lnTo>
                  <a:lnTo>
                    <a:pt x="1035" y="7036"/>
                  </a:lnTo>
                  <a:lnTo>
                    <a:pt x="1012" y="6921"/>
                  </a:lnTo>
                  <a:lnTo>
                    <a:pt x="1004" y="6805"/>
                  </a:lnTo>
                  <a:lnTo>
                    <a:pt x="1005" y="6798"/>
                  </a:lnTo>
                  <a:lnTo>
                    <a:pt x="1006" y="6790"/>
                  </a:lnTo>
                  <a:lnTo>
                    <a:pt x="1004" y="6790"/>
                  </a:lnTo>
                  <a:lnTo>
                    <a:pt x="1004" y="5062"/>
                  </a:lnTo>
                  <a:lnTo>
                    <a:pt x="1131" y="5154"/>
                  </a:lnTo>
                  <a:lnTo>
                    <a:pt x="1263" y="5244"/>
                  </a:lnTo>
                  <a:lnTo>
                    <a:pt x="1402" y="5330"/>
                  </a:lnTo>
                  <a:lnTo>
                    <a:pt x="1547" y="5414"/>
                  </a:lnTo>
                  <a:lnTo>
                    <a:pt x="1697" y="5493"/>
                  </a:lnTo>
                  <a:lnTo>
                    <a:pt x="1852" y="5571"/>
                  </a:lnTo>
                  <a:lnTo>
                    <a:pt x="2013" y="5645"/>
                  </a:lnTo>
                  <a:lnTo>
                    <a:pt x="2178" y="5717"/>
                  </a:lnTo>
                  <a:lnTo>
                    <a:pt x="2348" y="5784"/>
                  </a:lnTo>
                  <a:lnTo>
                    <a:pt x="2523" y="5850"/>
                  </a:lnTo>
                  <a:lnTo>
                    <a:pt x="2701" y="5911"/>
                  </a:lnTo>
                  <a:lnTo>
                    <a:pt x="2883" y="5970"/>
                  </a:lnTo>
                  <a:lnTo>
                    <a:pt x="3070" y="6027"/>
                  </a:lnTo>
                  <a:lnTo>
                    <a:pt x="3260" y="6080"/>
                  </a:lnTo>
                  <a:lnTo>
                    <a:pt x="3453" y="6129"/>
                  </a:lnTo>
                  <a:lnTo>
                    <a:pt x="3650" y="6176"/>
                  </a:lnTo>
                  <a:lnTo>
                    <a:pt x="3848" y="6221"/>
                  </a:lnTo>
                  <a:lnTo>
                    <a:pt x="4050" y="6262"/>
                  </a:lnTo>
                  <a:lnTo>
                    <a:pt x="4255" y="6300"/>
                  </a:lnTo>
                  <a:lnTo>
                    <a:pt x="4461" y="6336"/>
                  </a:lnTo>
                  <a:lnTo>
                    <a:pt x="4670" y="6369"/>
                  </a:lnTo>
                  <a:lnTo>
                    <a:pt x="4880" y="6399"/>
                  </a:lnTo>
                  <a:lnTo>
                    <a:pt x="5092" y="6425"/>
                  </a:lnTo>
                  <a:lnTo>
                    <a:pt x="5305" y="6449"/>
                  </a:lnTo>
                  <a:lnTo>
                    <a:pt x="5519" y="6470"/>
                  </a:lnTo>
                  <a:lnTo>
                    <a:pt x="5733" y="6488"/>
                  </a:lnTo>
                  <a:lnTo>
                    <a:pt x="5949" y="6503"/>
                  </a:lnTo>
                  <a:lnTo>
                    <a:pt x="6165" y="6516"/>
                  </a:lnTo>
                  <a:lnTo>
                    <a:pt x="6382" y="6527"/>
                  </a:lnTo>
                  <a:lnTo>
                    <a:pt x="6598" y="6533"/>
                  </a:lnTo>
                  <a:lnTo>
                    <a:pt x="6814" y="6538"/>
                  </a:lnTo>
                  <a:lnTo>
                    <a:pt x="7030" y="6539"/>
                  </a:lnTo>
                  <a:lnTo>
                    <a:pt x="7246" y="6538"/>
                  </a:lnTo>
                  <a:lnTo>
                    <a:pt x="7462" y="6533"/>
                  </a:lnTo>
                  <a:lnTo>
                    <a:pt x="7678" y="6527"/>
                  </a:lnTo>
                  <a:lnTo>
                    <a:pt x="7895" y="6516"/>
                  </a:lnTo>
                  <a:lnTo>
                    <a:pt x="8111" y="6503"/>
                  </a:lnTo>
                  <a:lnTo>
                    <a:pt x="8327" y="6488"/>
                  </a:lnTo>
                  <a:lnTo>
                    <a:pt x="8541" y="6470"/>
                  </a:lnTo>
                  <a:lnTo>
                    <a:pt x="8755" y="6449"/>
                  </a:lnTo>
                  <a:lnTo>
                    <a:pt x="8968" y="6425"/>
                  </a:lnTo>
                  <a:lnTo>
                    <a:pt x="9180" y="6399"/>
                  </a:lnTo>
                  <a:lnTo>
                    <a:pt x="9390" y="6369"/>
                  </a:lnTo>
                  <a:lnTo>
                    <a:pt x="9599" y="6336"/>
                  </a:lnTo>
                  <a:lnTo>
                    <a:pt x="9805" y="6300"/>
                  </a:lnTo>
                  <a:lnTo>
                    <a:pt x="10010" y="6262"/>
                  </a:lnTo>
                  <a:lnTo>
                    <a:pt x="10212" y="6221"/>
                  </a:lnTo>
                  <a:lnTo>
                    <a:pt x="10410" y="6176"/>
                  </a:lnTo>
                  <a:lnTo>
                    <a:pt x="10607" y="6129"/>
                  </a:lnTo>
                  <a:lnTo>
                    <a:pt x="10800" y="6080"/>
                  </a:lnTo>
                  <a:lnTo>
                    <a:pt x="10990" y="6027"/>
                  </a:lnTo>
                  <a:lnTo>
                    <a:pt x="11177" y="5970"/>
                  </a:lnTo>
                  <a:lnTo>
                    <a:pt x="11358" y="5911"/>
                  </a:lnTo>
                  <a:lnTo>
                    <a:pt x="11537" y="5850"/>
                  </a:lnTo>
                  <a:lnTo>
                    <a:pt x="11712" y="5784"/>
                  </a:lnTo>
                  <a:lnTo>
                    <a:pt x="11882" y="5717"/>
                  </a:lnTo>
                  <a:lnTo>
                    <a:pt x="12047" y="5645"/>
                  </a:lnTo>
                  <a:lnTo>
                    <a:pt x="12208" y="5571"/>
                  </a:lnTo>
                  <a:lnTo>
                    <a:pt x="12363" y="5493"/>
                  </a:lnTo>
                  <a:lnTo>
                    <a:pt x="12513" y="5414"/>
                  </a:lnTo>
                  <a:lnTo>
                    <a:pt x="12658" y="5330"/>
                  </a:lnTo>
                  <a:lnTo>
                    <a:pt x="12797" y="5244"/>
                  </a:lnTo>
                  <a:lnTo>
                    <a:pt x="12929" y="5154"/>
                  </a:lnTo>
                  <a:lnTo>
                    <a:pt x="13056" y="5062"/>
                  </a:lnTo>
                  <a:lnTo>
                    <a:pt x="13056" y="6790"/>
                  </a:lnTo>
                  <a:close/>
                  <a:moveTo>
                    <a:pt x="13056" y="9808"/>
                  </a:moveTo>
                  <a:lnTo>
                    <a:pt x="13054" y="9808"/>
                  </a:lnTo>
                  <a:lnTo>
                    <a:pt x="13055" y="9816"/>
                  </a:lnTo>
                  <a:lnTo>
                    <a:pt x="13056" y="9824"/>
                  </a:lnTo>
                  <a:lnTo>
                    <a:pt x="13048" y="9940"/>
                  </a:lnTo>
                  <a:lnTo>
                    <a:pt x="13025" y="10053"/>
                  </a:lnTo>
                  <a:lnTo>
                    <a:pt x="12986" y="10166"/>
                  </a:lnTo>
                  <a:lnTo>
                    <a:pt x="12933" y="10277"/>
                  </a:lnTo>
                  <a:lnTo>
                    <a:pt x="12866" y="10385"/>
                  </a:lnTo>
                  <a:lnTo>
                    <a:pt x="12785" y="10492"/>
                  </a:lnTo>
                  <a:lnTo>
                    <a:pt x="12690" y="10597"/>
                  </a:lnTo>
                  <a:lnTo>
                    <a:pt x="12582" y="10698"/>
                  </a:lnTo>
                  <a:lnTo>
                    <a:pt x="12461" y="10798"/>
                  </a:lnTo>
                  <a:lnTo>
                    <a:pt x="12329" y="10895"/>
                  </a:lnTo>
                  <a:lnTo>
                    <a:pt x="12183" y="10989"/>
                  </a:lnTo>
                  <a:lnTo>
                    <a:pt x="12026" y="11080"/>
                  </a:lnTo>
                  <a:lnTo>
                    <a:pt x="11859" y="11169"/>
                  </a:lnTo>
                  <a:lnTo>
                    <a:pt x="11680" y="11253"/>
                  </a:lnTo>
                  <a:lnTo>
                    <a:pt x="11490" y="11335"/>
                  </a:lnTo>
                  <a:lnTo>
                    <a:pt x="11291" y="11413"/>
                  </a:lnTo>
                  <a:lnTo>
                    <a:pt x="11081" y="11488"/>
                  </a:lnTo>
                  <a:lnTo>
                    <a:pt x="10862" y="11558"/>
                  </a:lnTo>
                  <a:lnTo>
                    <a:pt x="10635" y="11625"/>
                  </a:lnTo>
                  <a:lnTo>
                    <a:pt x="10399" y="11688"/>
                  </a:lnTo>
                  <a:lnTo>
                    <a:pt x="10154" y="11746"/>
                  </a:lnTo>
                  <a:lnTo>
                    <a:pt x="9902" y="11800"/>
                  </a:lnTo>
                  <a:lnTo>
                    <a:pt x="9642" y="11850"/>
                  </a:lnTo>
                  <a:lnTo>
                    <a:pt x="9375" y="11895"/>
                  </a:lnTo>
                  <a:lnTo>
                    <a:pt x="9102" y="11934"/>
                  </a:lnTo>
                  <a:lnTo>
                    <a:pt x="8822" y="11971"/>
                  </a:lnTo>
                  <a:lnTo>
                    <a:pt x="8535" y="12001"/>
                  </a:lnTo>
                  <a:lnTo>
                    <a:pt x="8244" y="12026"/>
                  </a:lnTo>
                  <a:lnTo>
                    <a:pt x="7948" y="12045"/>
                  </a:lnTo>
                  <a:lnTo>
                    <a:pt x="7646" y="12060"/>
                  </a:lnTo>
                  <a:lnTo>
                    <a:pt x="7340" y="12068"/>
                  </a:lnTo>
                  <a:lnTo>
                    <a:pt x="7030" y="12071"/>
                  </a:lnTo>
                  <a:lnTo>
                    <a:pt x="6720" y="12068"/>
                  </a:lnTo>
                  <a:lnTo>
                    <a:pt x="6414" y="12060"/>
                  </a:lnTo>
                  <a:lnTo>
                    <a:pt x="6112" y="12045"/>
                  </a:lnTo>
                  <a:lnTo>
                    <a:pt x="5816" y="12026"/>
                  </a:lnTo>
                  <a:lnTo>
                    <a:pt x="5525" y="12001"/>
                  </a:lnTo>
                  <a:lnTo>
                    <a:pt x="5238" y="11971"/>
                  </a:lnTo>
                  <a:lnTo>
                    <a:pt x="4958" y="11934"/>
                  </a:lnTo>
                  <a:lnTo>
                    <a:pt x="4685" y="11895"/>
                  </a:lnTo>
                  <a:lnTo>
                    <a:pt x="4418" y="11850"/>
                  </a:lnTo>
                  <a:lnTo>
                    <a:pt x="4158" y="11800"/>
                  </a:lnTo>
                  <a:lnTo>
                    <a:pt x="3906" y="11746"/>
                  </a:lnTo>
                  <a:lnTo>
                    <a:pt x="3661" y="11688"/>
                  </a:lnTo>
                  <a:lnTo>
                    <a:pt x="3425" y="11625"/>
                  </a:lnTo>
                  <a:lnTo>
                    <a:pt x="3197" y="11558"/>
                  </a:lnTo>
                  <a:lnTo>
                    <a:pt x="2979" y="11488"/>
                  </a:lnTo>
                  <a:lnTo>
                    <a:pt x="2769" y="11413"/>
                  </a:lnTo>
                  <a:lnTo>
                    <a:pt x="2570" y="11335"/>
                  </a:lnTo>
                  <a:lnTo>
                    <a:pt x="2380" y="11253"/>
                  </a:lnTo>
                  <a:lnTo>
                    <a:pt x="2201" y="11169"/>
                  </a:lnTo>
                  <a:lnTo>
                    <a:pt x="2034" y="11080"/>
                  </a:lnTo>
                  <a:lnTo>
                    <a:pt x="1877" y="10989"/>
                  </a:lnTo>
                  <a:lnTo>
                    <a:pt x="1731" y="10895"/>
                  </a:lnTo>
                  <a:lnTo>
                    <a:pt x="1599" y="10798"/>
                  </a:lnTo>
                  <a:lnTo>
                    <a:pt x="1477" y="10698"/>
                  </a:lnTo>
                  <a:lnTo>
                    <a:pt x="1370" y="10597"/>
                  </a:lnTo>
                  <a:lnTo>
                    <a:pt x="1275" y="10492"/>
                  </a:lnTo>
                  <a:lnTo>
                    <a:pt x="1194" y="10385"/>
                  </a:lnTo>
                  <a:lnTo>
                    <a:pt x="1127" y="10277"/>
                  </a:lnTo>
                  <a:lnTo>
                    <a:pt x="1074" y="10166"/>
                  </a:lnTo>
                  <a:lnTo>
                    <a:pt x="1035" y="10053"/>
                  </a:lnTo>
                  <a:lnTo>
                    <a:pt x="1012" y="9940"/>
                  </a:lnTo>
                  <a:lnTo>
                    <a:pt x="1004" y="9824"/>
                  </a:lnTo>
                  <a:lnTo>
                    <a:pt x="1005" y="9816"/>
                  </a:lnTo>
                  <a:lnTo>
                    <a:pt x="1006" y="9808"/>
                  </a:lnTo>
                  <a:lnTo>
                    <a:pt x="1004" y="9808"/>
                  </a:lnTo>
                  <a:lnTo>
                    <a:pt x="1004" y="7929"/>
                  </a:lnTo>
                  <a:lnTo>
                    <a:pt x="1106" y="8027"/>
                  </a:lnTo>
                  <a:lnTo>
                    <a:pt x="1215" y="8124"/>
                  </a:lnTo>
                  <a:lnTo>
                    <a:pt x="1334" y="8216"/>
                  </a:lnTo>
                  <a:lnTo>
                    <a:pt x="1459" y="8306"/>
                  </a:lnTo>
                  <a:lnTo>
                    <a:pt x="1592" y="8393"/>
                  </a:lnTo>
                  <a:lnTo>
                    <a:pt x="1732" y="8477"/>
                  </a:lnTo>
                  <a:lnTo>
                    <a:pt x="1880" y="8558"/>
                  </a:lnTo>
                  <a:lnTo>
                    <a:pt x="2034" y="8635"/>
                  </a:lnTo>
                  <a:lnTo>
                    <a:pt x="2194" y="8709"/>
                  </a:lnTo>
                  <a:lnTo>
                    <a:pt x="2361" y="8781"/>
                  </a:lnTo>
                  <a:lnTo>
                    <a:pt x="2534" y="8849"/>
                  </a:lnTo>
                  <a:lnTo>
                    <a:pt x="2712" y="8915"/>
                  </a:lnTo>
                  <a:lnTo>
                    <a:pt x="2895" y="8976"/>
                  </a:lnTo>
                  <a:lnTo>
                    <a:pt x="3083" y="9035"/>
                  </a:lnTo>
                  <a:lnTo>
                    <a:pt x="3277" y="9092"/>
                  </a:lnTo>
                  <a:lnTo>
                    <a:pt x="3474" y="9144"/>
                  </a:lnTo>
                  <a:lnTo>
                    <a:pt x="3677" y="9193"/>
                  </a:lnTo>
                  <a:lnTo>
                    <a:pt x="3883" y="9241"/>
                  </a:lnTo>
                  <a:lnTo>
                    <a:pt x="4091" y="9284"/>
                  </a:lnTo>
                  <a:lnTo>
                    <a:pt x="4305" y="9324"/>
                  </a:lnTo>
                  <a:lnTo>
                    <a:pt x="4521" y="9360"/>
                  </a:lnTo>
                  <a:lnTo>
                    <a:pt x="4740" y="9394"/>
                  </a:lnTo>
                  <a:lnTo>
                    <a:pt x="4962" y="9426"/>
                  </a:lnTo>
                  <a:lnTo>
                    <a:pt x="5186" y="9453"/>
                  </a:lnTo>
                  <a:lnTo>
                    <a:pt x="5412" y="9477"/>
                  </a:lnTo>
                  <a:lnTo>
                    <a:pt x="5640" y="9498"/>
                  </a:lnTo>
                  <a:lnTo>
                    <a:pt x="5869" y="9516"/>
                  </a:lnTo>
                  <a:lnTo>
                    <a:pt x="6100" y="9530"/>
                  </a:lnTo>
                  <a:lnTo>
                    <a:pt x="6332" y="9541"/>
                  </a:lnTo>
                  <a:lnTo>
                    <a:pt x="6564" y="9549"/>
                  </a:lnTo>
                  <a:lnTo>
                    <a:pt x="6797" y="9554"/>
                  </a:lnTo>
                  <a:lnTo>
                    <a:pt x="7030" y="9556"/>
                  </a:lnTo>
                  <a:lnTo>
                    <a:pt x="7263" y="9554"/>
                  </a:lnTo>
                  <a:lnTo>
                    <a:pt x="7496" y="9549"/>
                  </a:lnTo>
                  <a:lnTo>
                    <a:pt x="7728" y="9541"/>
                  </a:lnTo>
                  <a:lnTo>
                    <a:pt x="7960" y="9530"/>
                  </a:lnTo>
                  <a:lnTo>
                    <a:pt x="8191" y="9516"/>
                  </a:lnTo>
                  <a:lnTo>
                    <a:pt x="8420" y="9498"/>
                  </a:lnTo>
                  <a:lnTo>
                    <a:pt x="8648" y="9477"/>
                  </a:lnTo>
                  <a:lnTo>
                    <a:pt x="8874" y="9453"/>
                  </a:lnTo>
                  <a:lnTo>
                    <a:pt x="9098" y="9426"/>
                  </a:lnTo>
                  <a:lnTo>
                    <a:pt x="9320" y="9394"/>
                  </a:lnTo>
                  <a:lnTo>
                    <a:pt x="9539" y="9360"/>
                  </a:lnTo>
                  <a:lnTo>
                    <a:pt x="9755" y="9324"/>
                  </a:lnTo>
                  <a:lnTo>
                    <a:pt x="9969" y="9284"/>
                  </a:lnTo>
                  <a:lnTo>
                    <a:pt x="10177" y="9241"/>
                  </a:lnTo>
                  <a:lnTo>
                    <a:pt x="10383" y="9193"/>
                  </a:lnTo>
                  <a:lnTo>
                    <a:pt x="10586" y="9144"/>
                  </a:lnTo>
                  <a:lnTo>
                    <a:pt x="10783" y="9092"/>
                  </a:lnTo>
                  <a:lnTo>
                    <a:pt x="10977" y="9035"/>
                  </a:lnTo>
                  <a:lnTo>
                    <a:pt x="11165" y="8976"/>
                  </a:lnTo>
                  <a:lnTo>
                    <a:pt x="11348" y="8915"/>
                  </a:lnTo>
                  <a:lnTo>
                    <a:pt x="11526" y="8849"/>
                  </a:lnTo>
                  <a:lnTo>
                    <a:pt x="11699" y="8781"/>
                  </a:lnTo>
                  <a:lnTo>
                    <a:pt x="11866" y="8709"/>
                  </a:lnTo>
                  <a:lnTo>
                    <a:pt x="12026" y="8635"/>
                  </a:lnTo>
                  <a:lnTo>
                    <a:pt x="12180" y="8558"/>
                  </a:lnTo>
                  <a:lnTo>
                    <a:pt x="12328" y="8477"/>
                  </a:lnTo>
                  <a:lnTo>
                    <a:pt x="12468" y="8393"/>
                  </a:lnTo>
                  <a:lnTo>
                    <a:pt x="12601" y="8306"/>
                  </a:lnTo>
                  <a:lnTo>
                    <a:pt x="12726" y="8216"/>
                  </a:lnTo>
                  <a:lnTo>
                    <a:pt x="12845" y="8124"/>
                  </a:lnTo>
                  <a:lnTo>
                    <a:pt x="12954" y="8027"/>
                  </a:lnTo>
                  <a:lnTo>
                    <a:pt x="13056" y="7929"/>
                  </a:lnTo>
                  <a:lnTo>
                    <a:pt x="13056" y="9808"/>
                  </a:lnTo>
                  <a:close/>
                  <a:moveTo>
                    <a:pt x="13056" y="12826"/>
                  </a:moveTo>
                  <a:lnTo>
                    <a:pt x="13048" y="12942"/>
                  </a:lnTo>
                  <a:lnTo>
                    <a:pt x="13025" y="13057"/>
                  </a:lnTo>
                  <a:lnTo>
                    <a:pt x="12986" y="13170"/>
                  </a:lnTo>
                  <a:lnTo>
                    <a:pt x="12933" y="13281"/>
                  </a:lnTo>
                  <a:lnTo>
                    <a:pt x="12866" y="13391"/>
                  </a:lnTo>
                  <a:lnTo>
                    <a:pt x="12785" y="13499"/>
                  </a:lnTo>
                  <a:lnTo>
                    <a:pt x="12690" y="13603"/>
                  </a:lnTo>
                  <a:lnTo>
                    <a:pt x="12583" y="13707"/>
                  </a:lnTo>
                  <a:lnTo>
                    <a:pt x="12461" y="13806"/>
                  </a:lnTo>
                  <a:lnTo>
                    <a:pt x="12329" y="13904"/>
                  </a:lnTo>
                  <a:lnTo>
                    <a:pt x="12183" y="13999"/>
                  </a:lnTo>
                  <a:lnTo>
                    <a:pt x="12026" y="14091"/>
                  </a:lnTo>
                  <a:lnTo>
                    <a:pt x="11859" y="14180"/>
                  </a:lnTo>
                  <a:lnTo>
                    <a:pt x="11680" y="14265"/>
                  </a:lnTo>
                  <a:lnTo>
                    <a:pt x="11490" y="14348"/>
                  </a:lnTo>
                  <a:lnTo>
                    <a:pt x="11291" y="14426"/>
                  </a:lnTo>
                  <a:lnTo>
                    <a:pt x="11081" y="14501"/>
                  </a:lnTo>
                  <a:lnTo>
                    <a:pt x="10863" y="14572"/>
                  </a:lnTo>
                  <a:lnTo>
                    <a:pt x="10635" y="14639"/>
                  </a:lnTo>
                  <a:lnTo>
                    <a:pt x="10399" y="14703"/>
                  </a:lnTo>
                  <a:lnTo>
                    <a:pt x="10154" y="14761"/>
                  </a:lnTo>
                  <a:lnTo>
                    <a:pt x="9902" y="14815"/>
                  </a:lnTo>
                  <a:lnTo>
                    <a:pt x="9642" y="14866"/>
                  </a:lnTo>
                  <a:lnTo>
                    <a:pt x="9376" y="14911"/>
                  </a:lnTo>
                  <a:lnTo>
                    <a:pt x="9102" y="14951"/>
                  </a:lnTo>
                  <a:lnTo>
                    <a:pt x="8822" y="14987"/>
                  </a:lnTo>
                  <a:lnTo>
                    <a:pt x="8536" y="15018"/>
                  </a:lnTo>
                  <a:lnTo>
                    <a:pt x="8244" y="15043"/>
                  </a:lnTo>
                  <a:lnTo>
                    <a:pt x="7948" y="15063"/>
                  </a:lnTo>
                  <a:lnTo>
                    <a:pt x="7647" y="15077"/>
                  </a:lnTo>
                  <a:lnTo>
                    <a:pt x="7340" y="15086"/>
                  </a:lnTo>
                  <a:lnTo>
                    <a:pt x="7030" y="15089"/>
                  </a:lnTo>
                  <a:lnTo>
                    <a:pt x="6720" y="15086"/>
                  </a:lnTo>
                  <a:lnTo>
                    <a:pt x="6413" y="15077"/>
                  </a:lnTo>
                  <a:lnTo>
                    <a:pt x="6112" y="15063"/>
                  </a:lnTo>
                  <a:lnTo>
                    <a:pt x="5816" y="15043"/>
                  </a:lnTo>
                  <a:lnTo>
                    <a:pt x="5524" y="15018"/>
                  </a:lnTo>
                  <a:lnTo>
                    <a:pt x="5238" y="14987"/>
                  </a:lnTo>
                  <a:lnTo>
                    <a:pt x="4958" y="14951"/>
                  </a:lnTo>
                  <a:lnTo>
                    <a:pt x="4684" y="14911"/>
                  </a:lnTo>
                  <a:lnTo>
                    <a:pt x="4418" y="14866"/>
                  </a:lnTo>
                  <a:lnTo>
                    <a:pt x="4158" y="14815"/>
                  </a:lnTo>
                  <a:lnTo>
                    <a:pt x="3906" y="14761"/>
                  </a:lnTo>
                  <a:lnTo>
                    <a:pt x="3661" y="14703"/>
                  </a:lnTo>
                  <a:lnTo>
                    <a:pt x="3425" y="14639"/>
                  </a:lnTo>
                  <a:lnTo>
                    <a:pt x="3197" y="14572"/>
                  </a:lnTo>
                  <a:lnTo>
                    <a:pt x="2979" y="14501"/>
                  </a:lnTo>
                  <a:lnTo>
                    <a:pt x="2769" y="14426"/>
                  </a:lnTo>
                  <a:lnTo>
                    <a:pt x="2570" y="14348"/>
                  </a:lnTo>
                  <a:lnTo>
                    <a:pt x="2380" y="14265"/>
                  </a:lnTo>
                  <a:lnTo>
                    <a:pt x="2201" y="14180"/>
                  </a:lnTo>
                  <a:lnTo>
                    <a:pt x="2034" y="14091"/>
                  </a:lnTo>
                  <a:lnTo>
                    <a:pt x="1877" y="13999"/>
                  </a:lnTo>
                  <a:lnTo>
                    <a:pt x="1731" y="13904"/>
                  </a:lnTo>
                  <a:lnTo>
                    <a:pt x="1599" y="13806"/>
                  </a:lnTo>
                  <a:lnTo>
                    <a:pt x="1477" y="13707"/>
                  </a:lnTo>
                  <a:lnTo>
                    <a:pt x="1370" y="13603"/>
                  </a:lnTo>
                  <a:lnTo>
                    <a:pt x="1275" y="13499"/>
                  </a:lnTo>
                  <a:lnTo>
                    <a:pt x="1194" y="13391"/>
                  </a:lnTo>
                  <a:lnTo>
                    <a:pt x="1127" y="13281"/>
                  </a:lnTo>
                  <a:lnTo>
                    <a:pt x="1074" y="13170"/>
                  </a:lnTo>
                  <a:lnTo>
                    <a:pt x="1035" y="13057"/>
                  </a:lnTo>
                  <a:lnTo>
                    <a:pt x="1012" y="12942"/>
                  </a:lnTo>
                  <a:lnTo>
                    <a:pt x="1004" y="12826"/>
                  </a:lnTo>
                  <a:lnTo>
                    <a:pt x="1004" y="10947"/>
                  </a:lnTo>
                  <a:lnTo>
                    <a:pt x="1106" y="11045"/>
                  </a:lnTo>
                  <a:lnTo>
                    <a:pt x="1215" y="11141"/>
                  </a:lnTo>
                  <a:lnTo>
                    <a:pt x="1334" y="11234"/>
                  </a:lnTo>
                  <a:lnTo>
                    <a:pt x="1459" y="11324"/>
                  </a:lnTo>
                  <a:lnTo>
                    <a:pt x="1592" y="11410"/>
                  </a:lnTo>
                  <a:lnTo>
                    <a:pt x="1732" y="11495"/>
                  </a:lnTo>
                  <a:lnTo>
                    <a:pt x="1880" y="11575"/>
                  </a:lnTo>
                  <a:lnTo>
                    <a:pt x="2034" y="11653"/>
                  </a:lnTo>
                  <a:lnTo>
                    <a:pt x="2194" y="11727"/>
                  </a:lnTo>
                  <a:lnTo>
                    <a:pt x="2361" y="11799"/>
                  </a:lnTo>
                  <a:lnTo>
                    <a:pt x="2534" y="11867"/>
                  </a:lnTo>
                  <a:lnTo>
                    <a:pt x="2712" y="11932"/>
                  </a:lnTo>
                  <a:lnTo>
                    <a:pt x="2895" y="11994"/>
                  </a:lnTo>
                  <a:lnTo>
                    <a:pt x="3083" y="12053"/>
                  </a:lnTo>
                  <a:lnTo>
                    <a:pt x="3277" y="12109"/>
                  </a:lnTo>
                  <a:lnTo>
                    <a:pt x="3474" y="12162"/>
                  </a:lnTo>
                  <a:lnTo>
                    <a:pt x="3677" y="12211"/>
                  </a:lnTo>
                  <a:lnTo>
                    <a:pt x="3883" y="12258"/>
                  </a:lnTo>
                  <a:lnTo>
                    <a:pt x="4091" y="12302"/>
                  </a:lnTo>
                  <a:lnTo>
                    <a:pt x="4305" y="12342"/>
                  </a:lnTo>
                  <a:lnTo>
                    <a:pt x="4521" y="12378"/>
                  </a:lnTo>
                  <a:lnTo>
                    <a:pt x="4740" y="12412"/>
                  </a:lnTo>
                  <a:lnTo>
                    <a:pt x="4962" y="12443"/>
                  </a:lnTo>
                  <a:lnTo>
                    <a:pt x="5186" y="12471"/>
                  </a:lnTo>
                  <a:lnTo>
                    <a:pt x="5412" y="12495"/>
                  </a:lnTo>
                  <a:lnTo>
                    <a:pt x="5640" y="12516"/>
                  </a:lnTo>
                  <a:lnTo>
                    <a:pt x="5869" y="12534"/>
                  </a:lnTo>
                  <a:lnTo>
                    <a:pt x="6100" y="12548"/>
                  </a:lnTo>
                  <a:lnTo>
                    <a:pt x="6332" y="12559"/>
                  </a:lnTo>
                  <a:lnTo>
                    <a:pt x="6564" y="12567"/>
                  </a:lnTo>
                  <a:lnTo>
                    <a:pt x="6797" y="12572"/>
                  </a:lnTo>
                  <a:lnTo>
                    <a:pt x="7030" y="12574"/>
                  </a:lnTo>
                  <a:lnTo>
                    <a:pt x="7263" y="12572"/>
                  </a:lnTo>
                  <a:lnTo>
                    <a:pt x="7496" y="12567"/>
                  </a:lnTo>
                  <a:lnTo>
                    <a:pt x="7728" y="12559"/>
                  </a:lnTo>
                  <a:lnTo>
                    <a:pt x="7960" y="12548"/>
                  </a:lnTo>
                  <a:lnTo>
                    <a:pt x="8191" y="12534"/>
                  </a:lnTo>
                  <a:lnTo>
                    <a:pt x="8420" y="12516"/>
                  </a:lnTo>
                  <a:lnTo>
                    <a:pt x="8648" y="12495"/>
                  </a:lnTo>
                  <a:lnTo>
                    <a:pt x="8874" y="12471"/>
                  </a:lnTo>
                  <a:lnTo>
                    <a:pt x="9098" y="12443"/>
                  </a:lnTo>
                  <a:lnTo>
                    <a:pt x="9320" y="12412"/>
                  </a:lnTo>
                  <a:lnTo>
                    <a:pt x="9539" y="12378"/>
                  </a:lnTo>
                  <a:lnTo>
                    <a:pt x="9755" y="12342"/>
                  </a:lnTo>
                  <a:lnTo>
                    <a:pt x="9969" y="12302"/>
                  </a:lnTo>
                  <a:lnTo>
                    <a:pt x="10177" y="12258"/>
                  </a:lnTo>
                  <a:lnTo>
                    <a:pt x="10383" y="12211"/>
                  </a:lnTo>
                  <a:lnTo>
                    <a:pt x="10586" y="12162"/>
                  </a:lnTo>
                  <a:lnTo>
                    <a:pt x="10783" y="12109"/>
                  </a:lnTo>
                  <a:lnTo>
                    <a:pt x="10977" y="12053"/>
                  </a:lnTo>
                  <a:lnTo>
                    <a:pt x="11165" y="11994"/>
                  </a:lnTo>
                  <a:lnTo>
                    <a:pt x="11348" y="11932"/>
                  </a:lnTo>
                  <a:lnTo>
                    <a:pt x="11526" y="11867"/>
                  </a:lnTo>
                  <a:lnTo>
                    <a:pt x="11699" y="11799"/>
                  </a:lnTo>
                  <a:lnTo>
                    <a:pt x="11866" y="11727"/>
                  </a:lnTo>
                  <a:lnTo>
                    <a:pt x="12026" y="11653"/>
                  </a:lnTo>
                  <a:lnTo>
                    <a:pt x="12180" y="11575"/>
                  </a:lnTo>
                  <a:lnTo>
                    <a:pt x="12328" y="11495"/>
                  </a:lnTo>
                  <a:lnTo>
                    <a:pt x="12468" y="11410"/>
                  </a:lnTo>
                  <a:lnTo>
                    <a:pt x="12601" y="11324"/>
                  </a:lnTo>
                  <a:lnTo>
                    <a:pt x="12726" y="11234"/>
                  </a:lnTo>
                  <a:lnTo>
                    <a:pt x="12845" y="11141"/>
                  </a:lnTo>
                  <a:lnTo>
                    <a:pt x="12954" y="11045"/>
                  </a:lnTo>
                  <a:lnTo>
                    <a:pt x="13056" y="10947"/>
                  </a:lnTo>
                  <a:lnTo>
                    <a:pt x="13056" y="12826"/>
                  </a:lnTo>
                  <a:close/>
                  <a:moveTo>
                    <a:pt x="7030" y="0"/>
                  </a:moveTo>
                  <a:lnTo>
                    <a:pt x="6712" y="3"/>
                  </a:lnTo>
                  <a:lnTo>
                    <a:pt x="6393" y="12"/>
                  </a:lnTo>
                  <a:lnTo>
                    <a:pt x="6074" y="27"/>
                  </a:lnTo>
                  <a:lnTo>
                    <a:pt x="5756" y="48"/>
                  </a:lnTo>
                  <a:lnTo>
                    <a:pt x="5439" y="75"/>
                  </a:lnTo>
                  <a:lnTo>
                    <a:pt x="5124" y="110"/>
                  </a:lnTo>
                  <a:lnTo>
                    <a:pt x="4812" y="149"/>
                  </a:lnTo>
                  <a:lnTo>
                    <a:pt x="4503" y="195"/>
                  </a:lnTo>
                  <a:lnTo>
                    <a:pt x="4199" y="247"/>
                  </a:lnTo>
                  <a:lnTo>
                    <a:pt x="3900" y="306"/>
                  </a:lnTo>
                  <a:lnTo>
                    <a:pt x="3605" y="370"/>
                  </a:lnTo>
                  <a:lnTo>
                    <a:pt x="3318" y="442"/>
                  </a:lnTo>
                  <a:lnTo>
                    <a:pt x="3037" y="520"/>
                  </a:lnTo>
                  <a:lnTo>
                    <a:pt x="2765" y="604"/>
                  </a:lnTo>
                  <a:lnTo>
                    <a:pt x="2501" y="695"/>
                  </a:lnTo>
                  <a:lnTo>
                    <a:pt x="2246" y="792"/>
                  </a:lnTo>
                  <a:lnTo>
                    <a:pt x="2001" y="896"/>
                  </a:lnTo>
                  <a:lnTo>
                    <a:pt x="1766" y="1007"/>
                  </a:lnTo>
                  <a:lnTo>
                    <a:pt x="1543" y="1124"/>
                  </a:lnTo>
                  <a:lnTo>
                    <a:pt x="1332" y="1247"/>
                  </a:lnTo>
                  <a:lnTo>
                    <a:pt x="1133" y="1378"/>
                  </a:lnTo>
                  <a:lnTo>
                    <a:pt x="948" y="1515"/>
                  </a:lnTo>
                  <a:lnTo>
                    <a:pt x="778" y="1660"/>
                  </a:lnTo>
                  <a:lnTo>
                    <a:pt x="623" y="1811"/>
                  </a:lnTo>
                  <a:lnTo>
                    <a:pt x="482" y="1969"/>
                  </a:lnTo>
                  <a:lnTo>
                    <a:pt x="359" y="2134"/>
                  </a:lnTo>
                  <a:lnTo>
                    <a:pt x="252" y="2305"/>
                  </a:lnTo>
                  <a:lnTo>
                    <a:pt x="163" y="2484"/>
                  </a:lnTo>
                  <a:lnTo>
                    <a:pt x="93" y="2670"/>
                  </a:lnTo>
                  <a:lnTo>
                    <a:pt x="42" y="2862"/>
                  </a:lnTo>
                  <a:lnTo>
                    <a:pt x="11" y="3062"/>
                  </a:lnTo>
                  <a:lnTo>
                    <a:pt x="0" y="3269"/>
                  </a:lnTo>
                  <a:lnTo>
                    <a:pt x="0" y="12826"/>
                  </a:lnTo>
                  <a:lnTo>
                    <a:pt x="11" y="13033"/>
                  </a:lnTo>
                  <a:lnTo>
                    <a:pt x="42" y="13232"/>
                  </a:lnTo>
                  <a:lnTo>
                    <a:pt x="93" y="13425"/>
                  </a:lnTo>
                  <a:lnTo>
                    <a:pt x="163" y="13611"/>
                  </a:lnTo>
                  <a:lnTo>
                    <a:pt x="252" y="13789"/>
                  </a:lnTo>
                  <a:lnTo>
                    <a:pt x="359" y="13961"/>
                  </a:lnTo>
                  <a:lnTo>
                    <a:pt x="482" y="14126"/>
                  </a:lnTo>
                  <a:lnTo>
                    <a:pt x="623" y="14284"/>
                  </a:lnTo>
                  <a:lnTo>
                    <a:pt x="778" y="14435"/>
                  </a:lnTo>
                  <a:lnTo>
                    <a:pt x="948" y="14579"/>
                  </a:lnTo>
                  <a:lnTo>
                    <a:pt x="1133" y="14717"/>
                  </a:lnTo>
                  <a:lnTo>
                    <a:pt x="1332" y="14847"/>
                  </a:lnTo>
                  <a:lnTo>
                    <a:pt x="1543" y="14971"/>
                  </a:lnTo>
                  <a:lnTo>
                    <a:pt x="1766" y="15088"/>
                  </a:lnTo>
                  <a:lnTo>
                    <a:pt x="2001" y="15199"/>
                  </a:lnTo>
                  <a:lnTo>
                    <a:pt x="2246" y="15302"/>
                  </a:lnTo>
                  <a:lnTo>
                    <a:pt x="2501" y="15400"/>
                  </a:lnTo>
                  <a:lnTo>
                    <a:pt x="2765" y="15490"/>
                  </a:lnTo>
                  <a:lnTo>
                    <a:pt x="3037" y="15575"/>
                  </a:lnTo>
                  <a:lnTo>
                    <a:pt x="3318" y="15652"/>
                  </a:lnTo>
                  <a:lnTo>
                    <a:pt x="3605" y="15724"/>
                  </a:lnTo>
                  <a:lnTo>
                    <a:pt x="3900" y="15789"/>
                  </a:lnTo>
                  <a:lnTo>
                    <a:pt x="4199" y="15848"/>
                  </a:lnTo>
                  <a:lnTo>
                    <a:pt x="4503" y="15900"/>
                  </a:lnTo>
                  <a:lnTo>
                    <a:pt x="4812" y="15946"/>
                  </a:lnTo>
                  <a:lnTo>
                    <a:pt x="5124" y="15985"/>
                  </a:lnTo>
                  <a:lnTo>
                    <a:pt x="5439" y="16020"/>
                  </a:lnTo>
                  <a:lnTo>
                    <a:pt x="5756" y="16047"/>
                  </a:lnTo>
                  <a:lnTo>
                    <a:pt x="6074" y="16068"/>
                  </a:lnTo>
                  <a:lnTo>
                    <a:pt x="6393" y="16083"/>
                  </a:lnTo>
                  <a:lnTo>
                    <a:pt x="6712" y="16092"/>
                  </a:lnTo>
                  <a:lnTo>
                    <a:pt x="7030" y="16095"/>
                  </a:lnTo>
                  <a:lnTo>
                    <a:pt x="7348" y="16092"/>
                  </a:lnTo>
                  <a:lnTo>
                    <a:pt x="7667" y="16083"/>
                  </a:lnTo>
                  <a:lnTo>
                    <a:pt x="7986" y="16068"/>
                  </a:lnTo>
                  <a:lnTo>
                    <a:pt x="8304" y="16047"/>
                  </a:lnTo>
                  <a:lnTo>
                    <a:pt x="8621" y="16020"/>
                  </a:lnTo>
                  <a:lnTo>
                    <a:pt x="8936" y="15985"/>
                  </a:lnTo>
                  <a:lnTo>
                    <a:pt x="9248" y="15946"/>
                  </a:lnTo>
                  <a:lnTo>
                    <a:pt x="9557" y="15900"/>
                  </a:lnTo>
                  <a:lnTo>
                    <a:pt x="9861" y="15848"/>
                  </a:lnTo>
                  <a:lnTo>
                    <a:pt x="10160" y="15789"/>
                  </a:lnTo>
                  <a:lnTo>
                    <a:pt x="10455" y="15724"/>
                  </a:lnTo>
                  <a:lnTo>
                    <a:pt x="10742" y="15652"/>
                  </a:lnTo>
                  <a:lnTo>
                    <a:pt x="11023" y="15575"/>
                  </a:lnTo>
                  <a:lnTo>
                    <a:pt x="11295" y="15490"/>
                  </a:lnTo>
                  <a:lnTo>
                    <a:pt x="11559" y="15400"/>
                  </a:lnTo>
                  <a:lnTo>
                    <a:pt x="11814" y="15302"/>
                  </a:lnTo>
                  <a:lnTo>
                    <a:pt x="12059" y="15199"/>
                  </a:lnTo>
                  <a:lnTo>
                    <a:pt x="12294" y="15088"/>
                  </a:lnTo>
                  <a:lnTo>
                    <a:pt x="12517" y="14971"/>
                  </a:lnTo>
                  <a:lnTo>
                    <a:pt x="12728" y="14847"/>
                  </a:lnTo>
                  <a:lnTo>
                    <a:pt x="12927" y="14717"/>
                  </a:lnTo>
                  <a:lnTo>
                    <a:pt x="13112" y="14579"/>
                  </a:lnTo>
                  <a:lnTo>
                    <a:pt x="13282" y="14435"/>
                  </a:lnTo>
                  <a:lnTo>
                    <a:pt x="13437" y="14284"/>
                  </a:lnTo>
                  <a:lnTo>
                    <a:pt x="13578" y="14126"/>
                  </a:lnTo>
                  <a:lnTo>
                    <a:pt x="13701" y="13961"/>
                  </a:lnTo>
                  <a:lnTo>
                    <a:pt x="13808" y="13789"/>
                  </a:lnTo>
                  <a:lnTo>
                    <a:pt x="13897" y="13611"/>
                  </a:lnTo>
                  <a:lnTo>
                    <a:pt x="13967" y="13425"/>
                  </a:lnTo>
                  <a:lnTo>
                    <a:pt x="14018" y="13232"/>
                  </a:lnTo>
                  <a:lnTo>
                    <a:pt x="14049" y="13033"/>
                  </a:lnTo>
                  <a:lnTo>
                    <a:pt x="14060" y="12826"/>
                  </a:lnTo>
                  <a:lnTo>
                    <a:pt x="14060" y="3269"/>
                  </a:lnTo>
                  <a:lnTo>
                    <a:pt x="14049" y="3062"/>
                  </a:lnTo>
                  <a:lnTo>
                    <a:pt x="14018" y="2862"/>
                  </a:lnTo>
                  <a:lnTo>
                    <a:pt x="13967" y="2670"/>
                  </a:lnTo>
                  <a:lnTo>
                    <a:pt x="13897" y="2484"/>
                  </a:lnTo>
                  <a:lnTo>
                    <a:pt x="13808" y="2305"/>
                  </a:lnTo>
                  <a:lnTo>
                    <a:pt x="13701" y="2134"/>
                  </a:lnTo>
                  <a:lnTo>
                    <a:pt x="13578" y="1969"/>
                  </a:lnTo>
                  <a:lnTo>
                    <a:pt x="13437" y="1811"/>
                  </a:lnTo>
                  <a:lnTo>
                    <a:pt x="13282" y="1660"/>
                  </a:lnTo>
                  <a:lnTo>
                    <a:pt x="13112" y="1515"/>
                  </a:lnTo>
                  <a:lnTo>
                    <a:pt x="12927" y="1378"/>
                  </a:lnTo>
                  <a:lnTo>
                    <a:pt x="12728" y="1247"/>
                  </a:lnTo>
                  <a:lnTo>
                    <a:pt x="12517" y="1124"/>
                  </a:lnTo>
                  <a:lnTo>
                    <a:pt x="12294" y="1007"/>
                  </a:lnTo>
                  <a:lnTo>
                    <a:pt x="12059" y="896"/>
                  </a:lnTo>
                  <a:lnTo>
                    <a:pt x="11814" y="792"/>
                  </a:lnTo>
                  <a:lnTo>
                    <a:pt x="11559" y="695"/>
                  </a:lnTo>
                  <a:lnTo>
                    <a:pt x="11295" y="604"/>
                  </a:lnTo>
                  <a:lnTo>
                    <a:pt x="11023" y="520"/>
                  </a:lnTo>
                  <a:lnTo>
                    <a:pt x="10742" y="442"/>
                  </a:lnTo>
                  <a:lnTo>
                    <a:pt x="10455" y="370"/>
                  </a:lnTo>
                  <a:lnTo>
                    <a:pt x="10160" y="306"/>
                  </a:lnTo>
                  <a:lnTo>
                    <a:pt x="9861" y="247"/>
                  </a:lnTo>
                  <a:lnTo>
                    <a:pt x="9557" y="195"/>
                  </a:lnTo>
                  <a:lnTo>
                    <a:pt x="9248" y="149"/>
                  </a:lnTo>
                  <a:lnTo>
                    <a:pt x="8936" y="110"/>
                  </a:lnTo>
                  <a:lnTo>
                    <a:pt x="8621" y="75"/>
                  </a:lnTo>
                  <a:lnTo>
                    <a:pt x="8304" y="48"/>
                  </a:lnTo>
                  <a:lnTo>
                    <a:pt x="7986" y="27"/>
                  </a:lnTo>
                  <a:lnTo>
                    <a:pt x="7667" y="12"/>
                  </a:lnTo>
                  <a:lnTo>
                    <a:pt x="7348" y="3"/>
                  </a:lnTo>
                  <a:lnTo>
                    <a:pt x="703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42" name="îṥľíḍê">
              <a:extLst>
                <a:ext uri="{FF2B5EF4-FFF2-40B4-BE49-F238E27FC236}">
                  <a16:creationId xmlns:a16="http://schemas.microsoft.com/office/drawing/2014/main" id="{B1C43186-AB2F-4E3F-AA67-416BC5D0E73D}"/>
                </a:ext>
              </a:extLst>
            </p:cNvPr>
            <p:cNvSpPr/>
            <p:nvPr/>
          </p:nvSpPr>
          <p:spPr bwMode="auto">
            <a:xfrm>
              <a:off x="6717176" y="1520556"/>
              <a:ext cx="38070" cy="38070"/>
            </a:xfrm>
            <a:custGeom>
              <a:avLst/>
              <a:gdLst>
                <a:gd name="T0" fmla="*/ 554 w 1004"/>
                <a:gd name="T1" fmla="*/ 1003 h 1006"/>
                <a:gd name="T2" fmla="*/ 628 w 1004"/>
                <a:gd name="T3" fmla="*/ 990 h 1006"/>
                <a:gd name="T4" fmla="*/ 698 w 1004"/>
                <a:gd name="T5" fmla="*/ 967 h 1006"/>
                <a:gd name="T6" fmla="*/ 762 w 1004"/>
                <a:gd name="T7" fmla="*/ 934 h 1006"/>
                <a:gd name="T8" fmla="*/ 822 w 1004"/>
                <a:gd name="T9" fmla="*/ 891 h 1006"/>
                <a:gd name="T10" fmla="*/ 874 w 1004"/>
                <a:gd name="T11" fmla="*/ 841 h 1006"/>
                <a:gd name="T12" fmla="*/ 919 w 1004"/>
                <a:gd name="T13" fmla="*/ 785 h 1006"/>
                <a:gd name="T14" fmla="*/ 955 w 1004"/>
                <a:gd name="T15" fmla="*/ 721 h 1006"/>
                <a:gd name="T16" fmla="*/ 981 w 1004"/>
                <a:gd name="T17" fmla="*/ 653 h 1006"/>
                <a:gd name="T18" fmla="*/ 998 w 1004"/>
                <a:gd name="T19" fmla="*/ 580 h 1006"/>
                <a:gd name="T20" fmla="*/ 1004 w 1004"/>
                <a:gd name="T21" fmla="*/ 503 h 1006"/>
                <a:gd name="T22" fmla="*/ 998 w 1004"/>
                <a:gd name="T23" fmla="*/ 427 h 1006"/>
                <a:gd name="T24" fmla="*/ 981 w 1004"/>
                <a:gd name="T25" fmla="*/ 353 h 1006"/>
                <a:gd name="T26" fmla="*/ 955 w 1004"/>
                <a:gd name="T27" fmla="*/ 285 h 1006"/>
                <a:gd name="T28" fmla="*/ 919 w 1004"/>
                <a:gd name="T29" fmla="*/ 222 h 1006"/>
                <a:gd name="T30" fmla="*/ 874 w 1004"/>
                <a:gd name="T31" fmla="*/ 165 h 1006"/>
                <a:gd name="T32" fmla="*/ 822 w 1004"/>
                <a:gd name="T33" fmla="*/ 115 h 1006"/>
                <a:gd name="T34" fmla="*/ 762 w 1004"/>
                <a:gd name="T35" fmla="*/ 73 h 1006"/>
                <a:gd name="T36" fmla="*/ 698 w 1004"/>
                <a:gd name="T37" fmla="*/ 39 h 1006"/>
                <a:gd name="T38" fmla="*/ 628 w 1004"/>
                <a:gd name="T39" fmla="*/ 16 h 1006"/>
                <a:gd name="T40" fmla="*/ 554 w 1004"/>
                <a:gd name="T41" fmla="*/ 3 h 1006"/>
                <a:gd name="T42" fmla="*/ 476 w 1004"/>
                <a:gd name="T43" fmla="*/ 1 h 1006"/>
                <a:gd name="T44" fmla="*/ 401 w 1004"/>
                <a:gd name="T45" fmla="*/ 10 h 1006"/>
                <a:gd name="T46" fmla="*/ 330 w 1004"/>
                <a:gd name="T47" fmla="*/ 30 h 1006"/>
                <a:gd name="T48" fmla="*/ 262 w 1004"/>
                <a:gd name="T49" fmla="*/ 61 h 1006"/>
                <a:gd name="T50" fmla="*/ 202 w 1004"/>
                <a:gd name="T51" fmla="*/ 100 h 1006"/>
                <a:gd name="T52" fmla="*/ 147 w 1004"/>
                <a:gd name="T53" fmla="*/ 147 h 1006"/>
                <a:gd name="T54" fmla="*/ 100 w 1004"/>
                <a:gd name="T55" fmla="*/ 202 h 1006"/>
                <a:gd name="T56" fmla="*/ 60 w 1004"/>
                <a:gd name="T57" fmla="*/ 263 h 1006"/>
                <a:gd name="T58" fmla="*/ 30 w 1004"/>
                <a:gd name="T59" fmla="*/ 330 h 1006"/>
                <a:gd name="T60" fmla="*/ 10 w 1004"/>
                <a:gd name="T61" fmla="*/ 402 h 1006"/>
                <a:gd name="T62" fmla="*/ 1 w 1004"/>
                <a:gd name="T63" fmla="*/ 477 h 1006"/>
                <a:gd name="T64" fmla="*/ 3 w 1004"/>
                <a:gd name="T65" fmla="*/ 554 h 1006"/>
                <a:gd name="T66" fmla="*/ 16 w 1004"/>
                <a:gd name="T67" fmla="*/ 629 h 1006"/>
                <a:gd name="T68" fmla="*/ 39 w 1004"/>
                <a:gd name="T69" fmla="*/ 699 h 1006"/>
                <a:gd name="T70" fmla="*/ 72 w 1004"/>
                <a:gd name="T71" fmla="*/ 764 h 1006"/>
                <a:gd name="T72" fmla="*/ 115 w 1004"/>
                <a:gd name="T73" fmla="*/ 823 h 1006"/>
                <a:gd name="T74" fmla="*/ 165 w 1004"/>
                <a:gd name="T75" fmla="*/ 875 h 1006"/>
                <a:gd name="T76" fmla="*/ 221 w 1004"/>
                <a:gd name="T77" fmla="*/ 921 h 1006"/>
                <a:gd name="T78" fmla="*/ 284 w 1004"/>
                <a:gd name="T79" fmla="*/ 957 h 1006"/>
                <a:gd name="T80" fmla="*/ 353 w 1004"/>
                <a:gd name="T81" fmla="*/ 984 h 1006"/>
                <a:gd name="T82" fmla="*/ 426 w 1004"/>
                <a:gd name="T83" fmla="*/ 1000 h 1006"/>
                <a:gd name="T84" fmla="*/ 502 w 1004"/>
                <a:gd name="T85" fmla="*/ 10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4" h="1006">
                  <a:moveTo>
                    <a:pt x="502" y="1006"/>
                  </a:moveTo>
                  <a:lnTo>
                    <a:pt x="528" y="1005"/>
                  </a:lnTo>
                  <a:lnTo>
                    <a:pt x="554" y="1003"/>
                  </a:lnTo>
                  <a:lnTo>
                    <a:pt x="579" y="1000"/>
                  </a:lnTo>
                  <a:lnTo>
                    <a:pt x="604" y="996"/>
                  </a:lnTo>
                  <a:lnTo>
                    <a:pt x="628" y="990"/>
                  </a:lnTo>
                  <a:lnTo>
                    <a:pt x="652" y="984"/>
                  </a:lnTo>
                  <a:lnTo>
                    <a:pt x="675" y="976"/>
                  </a:lnTo>
                  <a:lnTo>
                    <a:pt x="698" y="967"/>
                  </a:lnTo>
                  <a:lnTo>
                    <a:pt x="720" y="957"/>
                  </a:lnTo>
                  <a:lnTo>
                    <a:pt x="741" y="946"/>
                  </a:lnTo>
                  <a:lnTo>
                    <a:pt x="762" y="934"/>
                  </a:lnTo>
                  <a:lnTo>
                    <a:pt x="783" y="921"/>
                  </a:lnTo>
                  <a:lnTo>
                    <a:pt x="803" y="907"/>
                  </a:lnTo>
                  <a:lnTo>
                    <a:pt x="822" y="891"/>
                  </a:lnTo>
                  <a:lnTo>
                    <a:pt x="840" y="875"/>
                  </a:lnTo>
                  <a:lnTo>
                    <a:pt x="858" y="859"/>
                  </a:lnTo>
                  <a:lnTo>
                    <a:pt x="874" y="841"/>
                  </a:lnTo>
                  <a:lnTo>
                    <a:pt x="890" y="823"/>
                  </a:lnTo>
                  <a:lnTo>
                    <a:pt x="905" y="804"/>
                  </a:lnTo>
                  <a:lnTo>
                    <a:pt x="919" y="785"/>
                  </a:lnTo>
                  <a:lnTo>
                    <a:pt x="932" y="764"/>
                  </a:lnTo>
                  <a:lnTo>
                    <a:pt x="944" y="743"/>
                  </a:lnTo>
                  <a:lnTo>
                    <a:pt x="955" y="721"/>
                  </a:lnTo>
                  <a:lnTo>
                    <a:pt x="965" y="699"/>
                  </a:lnTo>
                  <a:lnTo>
                    <a:pt x="974" y="676"/>
                  </a:lnTo>
                  <a:lnTo>
                    <a:pt x="981" y="653"/>
                  </a:lnTo>
                  <a:lnTo>
                    <a:pt x="988" y="629"/>
                  </a:lnTo>
                  <a:lnTo>
                    <a:pt x="994" y="605"/>
                  </a:lnTo>
                  <a:lnTo>
                    <a:pt x="998" y="580"/>
                  </a:lnTo>
                  <a:lnTo>
                    <a:pt x="1001" y="554"/>
                  </a:lnTo>
                  <a:lnTo>
                    <a:pt x="1003" y="529"/>
                  </a:lnTo>
                  <a:lnTo>
                    <a:pt x="1004" y="503"/>
                  </a:lnTo>
                  <a:lnTo>
                    <a:pt x="1003" y="477"/>
                  </a:lnTo>
                  <a:lnTo>
                    <a:pt x="1001" y="452"/>
                  </a:lnTo>
                  <a:lnTo>
                    <a:pt x="998" y="427"/>
                  </a:lnTo>
                  <a:lnTo>
                    <a:pt x="994" y="402"/>
                  </a:lnTo>
                  <a:lnTo>
                    <a:pt x="988" y="377"/>
                  </a:lnTo>
                  <a:lnTo>
                    <a:pt x="981" y="353"/>
                  </a:lnTo>
                  <a:lnTo>
                    <a:pt x="974" y="330"/>
                  </a:lnTo>
                  <a:lnTo>
                    <a:pt x="965" y="307"/>
                  </a:lnTo>
                  <a:lnTo>
                    <a:pt x="955" y="285"/>
                  </a:lnTo>
                  <a:lnTo>
                    <a:pt x="944" y="263"/>
                  </a:lnTo>
                  <a:lnTo>
                    <a:pt x="932" y="243"/>
                  </a:lnTo>
                  <a:lnTo>
                    <a:pt x="919" y="222"/>
                  </a:lnTo>
                  <a:lnTo>
                    <a:pt x="905" y="202"/>
                  </a:lnTo>
                  <a:lnTo>
                    <a:pt x="890" y="183"/>
                  </a:lnTo>
                  <a:lnTo>
                    <a:pt x="874" y="165"/>
                  </a:lnTo>
                  <a:lnTo>
                    <a:pt x="858" y="147"/>
                  </a:lnTo>
                  <a:lnTo>
                    <a:pt x="840" y="131"/>
                  </a:lnTo>
                  <a:lnTo>
                    <a:pt x="822" y="115"/>
                  </a:lnTo>
                  <a:lnTo>
                    <a:pt x="803" y="100"/>
                  </a:lnTo>
                  <a:lnTo>
                    <a:pt x="783" y="86"/>
                  </a:lnTo>
                  <a:lnTo>
                    <a:pt x="762" y="73"/>
                  </a:lnTo>
                  <a:lnTo>
                    <a:pt x="741" y="61"/>
                  </a:lnTo>
                  <a:lnTo>
                    <a:pt x="720" y="50"/>
                  </a:lnTo>
                  <a:lnTo>
                    <a:pt x="698" y="39"/>
                  </a:lnTo>
                  <a:lnTo>
                    <a:pt x="675" y="30"/>
                  </a:lnTo>
                  <a:lnTo>
                    <a:pt x="652" y="22"/>
                  </a:lnTo>
                  <a:lnTo>
                    <a:pt x="628" y="16"/>
                  </a:lnTo>
                  <a:lnTo>
                    <a:pt x="604" y="10"/>
                  </a:lnTo>
                  <a:lnTo>
                    <a:pt x="579" y="6"/>
                  </a:lnTo>
                  <a:lnTo>
                    <a:pt x="554" y="3"/>
                  </a:lnTo>
                  <a:lnTo>
                    <a:pt x="528" y="1"/>
                  </a:lnTo>
                  <a:lnTo>
                    <a:pt x="502" y="0"/>
                  </a:lnTo>
                  <a:lnTo>
                    <a:pt x="476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6" y="39"/>
                  </a:lnTo>
                  <a:lnTo>
                    <a:pt x="284" y="50"/>
                  </a:lnTo>
                  <a:lnTo>
                    <a:pt x="262" y="61"/>
                  </a:lnTo>
                  <a:lnTo>
                    <a:pt x="242" y="73"/>
                  </a:lnTo>
                  <a:lnTo>
                    <a:pt x="221" y="86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100" y="202"/>
                  </a:lnTo>
                  <a:lnTo>
                    <a:pt x="86" y="222"/>
                  </a:lnTo>
                  <a:lnTo>
                    <a:pt x="72" y="243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1" y="529"/>
                  </a:lnTo>
                  <a:lnTo>
                    <a:pt x="3" y="554"/>
                  </a:lnTo>
                  <a:lnTo>
                    <a:pt x="6" y="580"/>
                  </a:lnTo>
                  <a:lnTo>
                    <a:pt x="10" y="605"/>
                  </a:lnTo>
                  <a:lnTo>
                    <a:pt x="16" y="629"/>
                  </a:lnTo>
                  <a:lnTo>
                    <a:pt x="22" y="653"/>
                  </a:lnTo>
                  <a:lnTo>
                    <a:pt x="30" y="676"/>
                  </a:lnTo>
                  <a:lnTo>
                    <a:pt x="39" y="699"/>
                  </a:lnTo>
                  <a:lnTo>
                    <a:pt x="49" y="721"/>
                  </a:lnTo>
                  <a:lnTo>
                    <a:pt x="60" y="743"/>
                  </a:lnTo>
                  <a:lnTo>
                    <a:pt x="72" y="764"/>
                  </a:lnTo>
                  <a:lnTo>
                    <a:pt x="86" y="785"/>
                  </a:lnTo>
                  <a:lnTo>
                    <a:pt x="100" y="804"/>
                  </a:lnTo>
                  <a:lnTo>
                    <a:pt x="115" y="823"/>
                  </a:lnTo>
                  <a:lnTo>
                    <a:pt x="131" y="841"/>
                  </a:lnTo>
                  <a:lnTo>
                    <a:pt x="147" y="859"/>
                  </a:lnTo>
                  <a:lnTo>
                    <a:pt x="165" y="875"/>
                  </a:lnTo>
                  <a:lnTo>
                    <a:pt x="183" y="891"/>
                  </a:lnTo>
                  <a:lnTo>
                    <a:pt x="202" y="907"/>
                  </a:lnTo>
                  <a:lnTo>
                    <a:pt x="221" y="921"/>
                  </a:lnTo>
                  <a:lnTo>
                    <a:pt x="242" y="934"/>
                  </a:lnTo>
                  <a:lnTo>
                    <a:pt x="262" y="946"/>
                  </a:lnTo>
                  <a:lnTo>
                    <a:pt x="284" y="957"/>
                  </a:lnTo>
                  <a:lnTo>
                    <a:pt x="306" y="967"/>
                  </a:lnTo>
                  <a:lnTo>
                    <a:pt x="330" y="976"/>
                  </a:lnTo>
                  <a:lnTo>
                    <a:pt x="353" y="984"/>
                  </a:lnTo>
                  <a:lnTo>
                    <a:pt x="377" y="990"/>
                  </a:lnTo>
                  <a:lnTo>
                    <a:pt x="401" y="996"/>
                  </a:lnTo>
                  <a:lnTo>
                    <a:pt x="426" y="1000"/>
                  </a:lnTo>
                  <a:lnTo>
                    <a:pt x="451" y="1003"/>
                  </a:lnTo>
                  <a:lnTo>
                    <a:pt x="476" y="1005"/>
                  </a:lnTo>
                  <a:lnTo>
                    <a:pt x="502" y="10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43" name="íSļïďé">
              <a:extLst>
                <a:ext uri="{FF2B5EF4-FFF2-40B4-BE49-F238E27FC236}">
                  <a16:creationId xmlns:a16="http://schemas.microsoft.com/office/drawing/2014/main" id="{A093C248-FEE3-453A-89EC-17AF43CD61CF}"/>
                </a:ext>
              </a:extLst>
            </p:cNvPr>
            <p:cNvSpPr/>
            <p:nvPr/>
          </p:nvSpPr>
          <p:spPr bwMode="auto">
            <a:xfrm>
              <a:off x="6717176" y="1404939"/>
              <a:ext cx="38070" cy="38070"/>
            </a:xfrm>
            <a:custGeom>
              <a:avLst/>
              <a:gdLst>
                <a:gd name="T0" fmla="*/ 554 w 1004"/>
                <a:gd name="T1" fmla="*/ 1003 h 1006"/>
                <a:gd name="T2" fmla="*/ 628 w 1004"/>
                <a:gd name="T3" fmla="*/ 990 h 1006"/>
                <a:gd name="T4" fmla="*/ 698 w 1004"/>
                <a:gd name="T5" fmla="*/ 967 h 1006"/>
                <a:gd name="T6" fmla="*/ 762 w 1004"/>
                <a:gd name="T7" fmla="*/ 934 h 1006"/>
                <a:gd name="T8" fmla="*/ 822 w 1004"/>
                <a:gd name="T9" fmla="*/ 892 h 1006"/>
                <a:gd name="T10" fmla="*/ 874 w 1004"/>
                <a:gd name="T11" fmla="*/ 841 h 1006"/>
                <a:gd name="T12" fmla="*/ 919 w 1004"/>
                <a:gd name="T13" fmla="*/ 785 h 1006"/>
                <a:gd name="T14" fmla="*/ 955 w 1004"/>
                <a:gd name="T15" fmla="*/ 722 h 1006"/>
                <a:gd name="T16" fmla="*/ 981 w 1004"/>
                <a:gd name="T17" fmla="*/ 653 h 1006"/>
                <a:gd name="T18" fmla="*/ 998 w 1004"/>
                <a:gd name="T19" fmla="*/ 580 h 1006"/>
                <a:gd name="T20" fmla="*/ 1004 w 1004"/>
                <a:gd name="T21" fmla="*/ 503 h 1006"/>
                <a:gd name="T22" fmla="*/ 998 w 1004"/>
                <a:gd name="T23" fmla="*/ 427 h 1006"/>
                <a:gd name="T24" fmla="*/ 981 w 1004"/>
                <a:gd name="T25" fmla="*/ 353 h 1006"/>
                <a:gd name="T26" fmla="*/ 955 w 1004"/>
                <a:gd name="T27" fmla="*/ 285 h 1006"/>
                <a:gd name="T28" fmla="*/ 919 w 1004"/>
                <a:gd name="T29" fmla="*/ 222 h 1006"/>
                <a:gd name="T30" fmla="*/ 874 w 1004"/>
                <a:gd name="T31" fmla="*/ 165 h 1006"/>
                <a:gd name="T32" fmla="*/ 822 w 1004"/>
                <a:gd name="T33" fmla="*/ 115 h 1006"/>
                <a:gd name="T34" fmla="*/ 762 w 1004"/>
                <a:gd name="T35" fmla="*/ 73 h 1006"/>
                <a:gd name="T36" fmla="*/ 698 w 1004"/>
                <a:gd name="T37" fmla="*/ 40 h 1006"/>
                <a:gd name="T38" fmla="*/ 628 w 1004"/>
                <a:gd name="T39" fmla="*/ 17 h 1006"/>
                <a:gd name="T40" fmla="*/ 554 w 1004"/>
                <a:gd name="T41" fmla="*/ 3 h 1006"/>
                <a:gd name="T42" fmla="*/ 476 w 1004"/>
                <a:gd name="T43" fmla="*/ 1 h 1006"/>
                <a:gd name="T44" fmla="*/ 401 w 1004"/>
                <a:gd name="T45" fmla="*/ 10 h 1006"/>
                <a:gd name="T46" fmla="*/ 330 w 1004"/>
                <a:gd name="T47" fmla="*/ 31 h 1006"/>
                <a:gd name="T48" fmla="*/ 262 w 1004"/>
                <a:gd name="T49" fmla="*/ 61 h 1006"/>
                <a:gd name="T50" fmla="*/ 202 w 1004"/>
                <a:gd name="T51" fmla="*/ 100 h 1006"/>
                <a:gd name="T52" fmla="*/ 147 w 1004"/>
                <a:gd name="T53" fmla="*/ 147 h 1006"/>
                <a:gd name="T54" fmla="*/ 100 w 1004"/>
                <a:gd name="T55" fmla="*/ 203 h 1006"/>
                <a:gd name="T56" fmla="*/ 60 w 1004"/>
                <a:gd name="T57" fmla="*/ 263 h 1006"/>
                <a:gd name="T58" fmla="*/ 30 w 1004"/>
                <a:gd name="T59" fmla="*/ 330 h 1006"/>
                <a:gd name="T60" fmla="*/ 10 w 1004"/>
                <a:gd name="T61" fmla="*/ 402 h 1006"/>
                <a:gd name="T62" fmla="*/ 1 w 1004"/>
                <a:gd name="T63" fmla="*/ 477 h 1006"/>
                <a:gd name="T64" fmla="*/ 3 w 1004"/>
                <a:gd name="T65" fmla="*/ 555 h 1006"/>
                <a:gd name="T66" fmla="*/ 16 w 1004"/>
                <a:gd name="T67" fmla="*/ 629 h 1006"/>
                <a:gd name="T68" fmla="*/ 39 w 1004"/>
                <a:gd name="T69" fmla="*/ 700 h 1006"/>
                <a:gd name="T70" fmla="*/ 72 w 1004"/>
                <a:gd name="T71" fmla="*/ 764 h 1006"/>
                <a:gd name="T72" fmla="*/ 115 w 1004"/>
                <a:gd name="T73" fmla="*/ 823 h 1006"/>
                <a:gd name="T74" fmla="*/ 165 w 1004"/>
                <a:gd name="T75" fmla="*/ 876 h 1006"/>
                <a:gd name="T76" fmla="*/ 221 w 1004"/>
                <a:gd name="T77" fmla="*/ 921 h 1006"/>
                <a:gd name="T78" fmla="*/ 284 w 1004"/>
                <a:gd name="T79" fmla="*/ 957 h 1006"/>
                <a:gd name="T80" fmla="*/ 353 w 1004"/>
                <a:gd name="T81" fmla="*/ 983 h 1006"/>
                <a:gd name="T82" fmla="*/ 426 w 1004"/>
                <a:gd name="T83" fmla="*/ 1000 h 1006"/>
                <a:gd name="T84" fmla="*/ 502 w 1004"/>
                <a:gd name="T85" fmla="*/ 10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4" h="1006">
                  <a:moveTo>
                    <a:pt x="502" y="1006"/>
                  </a:moveTo>
                  <a:lnTo>
                    <a:pt x="528" y="1005"/>
                  </a:lnTo>
                  <a:lnTo>
                    <a:pt x="554" y="1003"/>
                  </a:lnTo>
                  <a:lnTo>
                    <a:pt x="579" y="1000"/>
                  </a:lnTo>
                  <a:lnTo>
                    <a:pt x="604" y="996"/>
                  </a:lnTo>
                  <a:lnTo>
                    <a:pt x="628" y="990"/>
                  </a:lnTo>
                  <a:lnTo>
                    <a:pt x="652" y="983"/>
                  </a:lnTo>
                  <a:lnTo>
                    <a:pt x="675" y="976"/>
                  </a:lnTo>
                  <a:lnTo>
                    <a:pt x="698" y="967"/>
                  </a:lnTo>
                  <a:lnTo>
                    <a:pt x="720" y="957"/>
                  </a:lnTo>
                  <a:lnTo>
                    <a:pt x="741" y="946"/>
                  </a:lnTo>
                  <a:lnTo>
                    <a:pt x="762" y="934"/>
                  </a:lnTo>
                  <a:lnTo>
                    <a:pt x="783" y="921"/>
                  </a:lnTo>
                  <a:lnTo>
                    <a:pt x="803" y="907"/>
                  </a:lnTo>
                  <a:lnTo>
                    <a:pt x="822" y="892"/>
                  </a:lnTo>
                  <a:lnTo>
                    <a:pt x="840" y="876"/>
                  </a:lnTo>
                  <a:lnTo>
                    <a:pt x="858" y="859"/>
                  </a:lnTo>
                  <a:lnTo>
                    <a:pt x="874" y="841"/>
                  </a:lnTo>
                  <a:lnTo>
                    <a:pt x="890" y="823"/>
                  </a:lnTo>
                  <a:lnTo>
                    <a:pt x="905" y="804"/>
                  </a:lnTo>
                  <a:lnTo>
                    <a:pt x="919" y="785"/>
                  </a:lnTo>
                  <a:lnTo>
                    <a:pt x="932" y="764"/>
                  </a:lnTo>
                  <a:lnTo>
                    <a:pt x="944" y="743"/>
                  </a:lnTo>
                  <a:lnTo>
                    <a:pt x="955" y="722"/>
                  </a:lnTo>
                  <a:lnTo>
                    <a:pt x="965" y="700"/>
                  </a:lnTo>
                  <a:lnTo>
                    <a:pt x="974" y="676"/>
                  </a:lnTo>
                  <a:lnTo>
                    <a:pt x="981" y="653"/>
                  </a:lnTo>
                  <a:lnTo>
                    <a:pt x="988" y="629"/>
                  </a:lnTo>
                  <a:lnTo>
                    <a:pt x="994" y="605"/>
                  </a:lnTo>
                  <a:lnTo>
                    <a:pt x="998" y="580"/>
                  </a:lnTo>
                  <a:lnTo>
                    <a:pt x="1001" y="555"/>
                  </a:lnTo>
                  <a:lnTo>
                    <a:pt x="1003" y="530"/>
                  </a:lnTo>
                  <a:lnTo>
                    <a:pt x="1004" y="503"/>
                  </a:lnTo>
                  <a:lnTo>
                    <a:pt x="1003" y="477"/>
                  </a:lnTo>
                  <a:lnTo>
                    <a:pt x="1001" y="452"/>
                  </a:lnTo>
                  <a:lnTo>
                    <a:pt x="998" y="427"/>
                  </a:lnTo>
                  <a:lnTo>
                    <a:pt x="994" y="402"/>
                  </a:lnTo>
                  <a:lnTo>
                    <a:pt x="988" y="378"/>
                  </a:lnTo>
                  <a:lnTo>
                    <a:pt x="981" y="353"/>
                  </a:lnTo>
                  <a:lnTo>
                    <a:pt x="974" y="330"/>
                  </a:lnTo>
                  <a:lnTo>
                    <a:pt x="965" y="307"/>
                  </a:lnTo>
                  <a:lnTo>
                    <a:pt x="955" y="285"/>
                  </a:lnTo>
                  <a:lnTo>
                    <a:pt x="944" y="263"/>
                  </a:lnTo>
                  <a:lnTo>
                    <a:pt x="932" y="243"/>
                  </a:lnTo>
                  <a:lnTo>
                    <a:pt x="919" y="222"/>
                  </a:lnTo>
                  <a:lnTo>
                    <a:pt x="905" y="203"/>
                  </a:lnTo>
                  <a:lnTo>
                    <a:pt x="890" y="183"/>
                  </a:lnTo>
                  <a:lnTo>
                    <a:pt x="874" y="165"/>
                  </a:lnTo>
                  <a:lnTo>
                    <a:pt x="858" y="147"/>
                  </a:lnTo>
                  <a:lnTo>
                    <a:pt x="840" y="131"/>
                  </a:lnTo>
                  <a:lnTo>
                    <a:pt x="822" y="115"/>
                  </a:lnTo>
                  <a:lnTo>
                    <a:pt x="803" y="100"/>
                  </a:lnTo>
                  <a:lnTo>
                    <a:pt x="783" y="86"/>
                  </a:lnTo>
                  <a:lnTo>
                    <a:pt x="762" y="73"/>
                  </a:lnTo>
                  <a:lnTo>
                    <a:pt x="741" y="61"/>
                  </a:lnTo>
                  <a:lnTo>
                    <a:pt x="720" y="50"/>
                  </a:lnTo>
                  <a:lnTo>
                    <a:pt x="698" y="40"/>
                  </a:lnTo>
                  <a:lnTo>
                    <a:pt x="675" y="31"/>
                  </a:lnTo>
                  <a:lnTo>
                    <a:pt x="652" y="23"/>
                  </a:lnTo>
                  <a:lnTo>
                    <a:pt x="628" y="17"/>
                  </a:lnTo>
                  <a:lnTo>
                    <a:pt x="604" y="10"/>
                  </a:lnTo>
                  <a:lnTo>
                    <a:pt x="579" y="6"/>
                  </a:lnTo>
                  <a:lnTo>
                    <a:pt x="554" y="3"/>
                  </a:lnTo>
                  <a:lnTo>
                    <a:pt x="528" y="1"/>
                  </a:lnTo>
                  <a:lnTo>
                    <a:pt x="502" y="0"/>
                  </a:lnTo>
                  <a:lnTo>
                    <a:pt x="476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7"/>
                  </a:lnTo>
                  <a:lnTo>
                    <a:pt x="353" y="23"/>
                  </a:lnTo>
                  <a:lnTo>
                    <a:pt x="330" y="31"/>
                  </a:lnTo>
                  <a:lnTo>
                    <a:pt x="306" y="40"/>
                  </a:lnTo>
                  <a:lnTo>
                    <a:pt x="284" y="50"/>
                  </a:lnTo>
                  <a:lnTo>
                    <a:pt x="262" y="61"/>
                  </a:lnTo>
                  <a:lnTo>
                    <a:pt x="242" y="73"/>
                  </a:lnTo>
                  <a:lnTo>
                    <a:pt x="221" y="86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100" y="203"/>
                  </a:lnTo>
                  <a:lnTo>
                    <a:pt x="86" y="222"/>
                  </a:lnTo>
                  <a:lnTo>
                    <a:pt x="72" y="243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8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1" y="530"/>
                  </a:lnTo>
                  <a:lnTo>
                    <a:pt x="3" y="555"/>
                  </a:lnTo>
                  <a:lnTo>
                    <a:pt x="6" y="580"/>
                  </a:lnTo>
                  <a:lnTo>
                    <a:pt x="10" y="605"/>
                  </a:lnTo>
                  <a:lnTo>
                    <a:pt x="16" y="629"/>
                  </a:lnTo>
                  <a:lnTo>
                    <a:pt x="22" y="653"/>
                  </a:lnTo>
                  <a:lnTo>
                    <a:pt x="30" y="676"/>
                  </a:lnTo>
                  <a:lnTo>
                    <a:pt x="39" y="700"/>
                  </a:lnTo>
                  <a:lnTo>
                    <a:pt x="49" y="722"/>
                  </a:lnTo>
                  <a:lnTo>
                    <a:pt x="60" y="743"/>
                  </a:lnTo>
                  <a:lnTo>
                    <a:pt x="72" y="764"/>
                  </a:lnTo>
                  <a:lnTo>
                    <a:pt x="86" y="785"/>
                  </a:lnTo>
                  <a:lnTo>
                    <a:pt x="100" y="804"/>
                  </a:lnTo>
                  <a:lnTo>
                    <a:pt x="115" y="823"/>
                  </a:lnTo>
                  <a:lnTo>
                    <a:pt x="131" y="841"/>
                  </a:lnTo>
                  <a:lnTo>
                    <a:pt x="147" y="859"/>
                  </a:lnTo>
                  <a:lnTo>
                    <a:pt x="165" y="876"/>
                  </a:lnTo>
                  <a:lnTo>
                    <a:pt x="183" y="892"/>
                  </a:lnTo>
                  <a:lnTo>
                    <a:pt x="202" y="907"/>
                  </a:lnTo>
                  <a:lnTo>
                    <a:pt x="221" y="921"/>
                  </a:lnTo>
                  <a:lnTo>
                    <a:pt x="242" y="934"/>
                  </a:lnTo>
                  <a:lnTo>
                    <a:pt x="262" y="946"/>
                  </a:lnTo>
                  <a:lnTo>
                    <a:pt x="284" y="957"/>
                  </a:lnTo>
                  <a:lnTo>
                    <a:pt x="306" y="967"/>
                  </a:lnTo>
                  <a:lnTo>
                    <a:pt x="330" y="976"/>
                  </a:lnTo>
                  <a:lnTo>
                    <a:pt x="353" y="983"/>
                  </a:lnTo>
                  <a:lnTo>
                    <a:pt x="377" y="990"/>
                  </a:lnTo>
                  <a:lnTo>
                    <a:pt x="401" y="996"/>
                  </a:lnTo>
                  <a:lnTo>
                    <a:pt x="426" y="1000"/>
                  </a:lnTo>
                  <a:lnTo>
                    <a:pt x="451" y="1003"/>
                  </a:lnTo>
                  <a:lnTo>
                    <a:pt x="476" y="1005"/>
                  </a:lnTo>
                  <a:lnTo>
                    <a:pt x="502" y="10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44" name="iṣḷiḑê">
              <a:extLst>
                <a:ext uri="{FF2B5EF4-FFF2-40B4-BE49-F238E27FC236}">
                  <a16:creationId xmlns:a16="http://schemas.microsoft.com/office/drawing/2014/main" id="{A1B54F90-677C-4C63-8218-7495E4626ACB}"/>
                </a:ext>
              </a:extLst>
            </p:cNvPr>
            <p:cNvSpPr/>
            <p:nvPr/>
          </p:nvSpPr>
          <p:spPr bwMode="auto">
            <a:xfrm>
              <a:off x="6717176" y="1290731"/>
              <a:ext cx="38070" cy="38070"/>
            </a:xfrm>
            <a:custGeom>
              <a:avLst/>
              <a:gdLst>
                <a:gd name="T0" fmla="*/ 554 w 1004"/>
                <a:gd name="T1" fmla="*/ 1003 h 1006"/>
                <a:gd name="T2" fmla="*/ 628 w 1004"/>
                <a:gd name="T3" fmla="*/ 989 h 1006"/>
                <a:gd name="T4" fmla="*/ 698 w 1004"/>
                <a:gd name="T5" fmla="*/ 966 h 1006"/>
                <a:gd name="T6" fmla="*/ 762 w 1004"/>
                <a:gd name="T7" fmla="*/ 933 h 1006"/>
                <a:gd name="T8" fmla="*/ 822 w 1004"/>
                <a:gd name="T9" fmla="*/ 891 h 1006"/>
                <a:gd name="T10" fmla="*/ 874 w 1004"/>
                <a:gd name="T11" fmla="*/ 841 h 1006"/>
                <a:gd name="T12" fmla="*/ 919 w 1004"/>
                <a:gd name="T13" fmla="*/ 784 h 1006"/>
                <a:gd name="T14" fmla="*/ 955 w 1004"/>
                <a:gd name="T15" fmla="*/ 721 h 1006"/>
                <a:gd name="T16" fmla="*/ 981 w 1004"/>
                <a:gd name="T17" fmla="*/ 652 h 1006"/>
                <a:gd name="T18" fmla="*/ 998 w 1004"/>
                <a:gd name="T19" fmla="*/ 579 h 1006"/>
                <a:gd name="T20" fmla="*/ 1004 w 1004"/>
                <a:gd name="T21" fmla="*/ 503 h 1006"/>
                <a:gd name="T22" fmla="*/ 998 w 1004"/>
                <a:gd name="T23" fmla="*/ 426 h 1006"/>
                <a:gd name="T24" fmla="*/ 981 w 1004"/>
                <a:gd name="T25" fmla="*/ 353 h 1006"/>
                <a:gd name="T26" fmla="*/ 955 w 1004"/>
                <a:gd name="T27" fmla="*/ 284 h 1006"/>
                <a:gd name="T28" fmla="*/ 919 w 1004"/>
                <a:gd name="T29" fmla="*/ 221 h 1006"/>
                <a:gd name="T30" fmla="*/ 874 w 1004"/>
                <a:gd name="T31" fmla="*/ 165 h 1006"/>
                <a:gd name="T32" fmla="*/ 822 w 1004"/>
                <a:gd name="T33" fmla="*/ 114 h 1006"/>
                <a:gd name="T34" fmla="*/ 762 w 1004"/>
                <a:gd name="T35" fmla="*/ 72 h 1006"/>
                <a:gd name="T36" fmla="*/ 698 w 1004"/>
                <a:gd name="T37" fmla="*/ 39 h 1006"/>
                <a:gd name="T38" fmla="*/ 628 w 1004"/>
                <a:gd name="T39" fmla="*/ 16 h 1006"/>
                <a:gd name="T40" fmla="*/ 554 w 1004"/>
                <a:gd name="T41" fmla="*/ 3 h 1006"/>
                <a:gd name="T42" fmla="*/ 476 w 1004"/>
                <a:gd name="T43" fmla="*/ 1 h 1006"/>
                <a:gd name="T44" fmla="*/ 401 w 1004"/>
                <a:gd name="T45" fmla="*/ 10 h 1006"/>
                <a:gd name="T46" fmla="*/ 330 w 1004"/>
                <a:gd name="T47" fmla="*/ 30 h 1006"/>
                <a:gd name="T48" fmla="*/ 262 w 1004"/>
                <a:gd name="T49" fmla="*/ 60 h 1006"/>
                <a:gd name="T50" fmla="*/ 202 w 1004"/>
                <a:gd name="T51" fmla="*/ 99 h 1006"/>
                <a:gd name="T52" fmla="*/ 147 w 1004"/>
                <a:gd name="T53" fmla="*/ 146 h 1006"/>
                <a:gd name="T54" fmla="*/ 100 w 1004"/>
                <a:gd name="T55" fmla="*/ 202 h 1006"/>
                <a:gd name="T56" fmla="*/ 60 w 1004"/>
                <a:gd name="T57" fmla="*/ 263 h 1006"/>
                <a:gd name="T58" fmla="*/ 30 w 1004"/>
                <a:gd name="T59" fmla="*/ 330 h 1006"/>
                <a:gd name="T60" fmla="*/ 10 w 1004"/>
                <a:gd name="T61" fmla="*/ 401 h 1006"/>
                <a:gd name="T62" fmla="*/ 1 w 1004"/>
                <a:gd name="T63" fmla="*/ 476 h 1006"/>
                <a:gd name="T64" fmla="*/ 3 w 1004"/>
                <a:gd name="T65" fmla="*/ 554 h 1006"/>
                <a:gd name="T66" fmla="*/ 16 w 1004"/>
                <a:gd name="T67" fmla="*/ 628 h 1006"/>
                <a:gd name="T68" fmla="*/ 39 w 1004"/>
                <a:gd name="T69" fmla="*/ 699 h 1006"/>
                <a:gd name="T70" fmla="*/ 72 w 1004"/>
                <a:gd name="T71" fmla="*/ 763 h 1006"/>
                <a:gd name="T72" fmla="*/ 115 w 1004"/>
                <a:gd name="T73" fmla="*/ 822 h 1006"/>
                <a:gd name="T74" fmla="*/ 165 w 1004"/>
                <a:gd name="T75" fmla="*/ 875 h 1006"/>
                <a:gd name="T76" fmla="*/ 221 w 1004"/>
                <a:gd name="T77" fmla="*/ 920 h 1006"/>
                <a:gd name="T78" fmla="*/ 284 w 1004"/>
                <a:gd name="T79" fmla="*/ 956 h 1006"/>
                <a:gd name="T80" fmla="*/ 353 w 1004"/>
                <a:gd name="T81" fmla="*/ 983 h 1006"/>
                <a:gd name="T82" fmla="*/ 426 w 1004"/>
                <a:gd name="T83" fmla="*/ 999 h 1006"/>
                <a:gd name="T84" fmla="*/ 502 w 1004"/>
                <a:gd name="T85" fmla="*/ 10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4" h="1006">
                  <a:moveTo>
                    <a:pt x="502" y="1006"/>
                  </a:moveTo>
                  <a:lnTo>
                    <a:pt x="528" y="1005"/>
                  </a:lnTo>
                  <a:lnTo>
                    <a:pt x="554" y="1003"/>
                  </a:lnTo>
                  <a:lnTo>
                    <a:pt x="579" y="999"/>
                  </a:lnTo>
                  <a:lnTo>
                    <a:pt x="604" y="995"/>
                  </a:lnTo>
                  <a:lnTo>
                    <a:pt x="628" y="989"/>
                  </a:lnTo>
                  <a:lnTo>
                    <a:pt x="652" y="983"/>
                  </a:lnTo>
                  <a:lnTo>
                    <a:pt x="675" y="975"/>
                  </a:lnTo>
                  <a:lnTo>
                    <a:pt x="698" y="966"/>
                  </a:lnTo>
                  <a:lnTo>
                    <a:pt x="720" y="956"/>
                  </a:lnTo>
                  <a:lnTo>
                    <a:pt x="741" y="945"/>
                  </a:lnTo>
                  <a:lnTo>
                    <a:pt x="762" y="933"/>
                  </a:lnTo>
                  <a:lnTo>
                    <a:pt x="783" y="920"/>
                  </a:lnTo>
                  <a:lnTo>
                    <a:pt x="803" y="906"/>
                  </a:lnTo>
                  <a:lnTo>
                    <a:pt x="822" y="891"/>
                  </a:lnTo>
                  <a:lnTo>
                    <a:pt x="840" y="875"/>
                  </a:lnTo>
                  <a:lnTo>
                    <a:pt x="858" y="859"/>
                  </a:lnTo>
                  <a:lnTo>
                    <a:pt x="874" y="841"/>
                  </a:lnTo>
                  <a:lnTo>
                    <a:pt x="890" y="822"/>
                  </a:lnTo>
                  <a:lnTo>
                    <a:pt x="905" y="803"/>
                  </a:lnTo>
                  <a:lnTo>
                    <a:pt x="919" y="784"/>
                  </a:lnTo>
                  <a:lnTo>
                    <a:pt x="932" y="763"/>
                  </a:lnTo>
                  <a:lnTo>
                    <a:pt x="944" y="743"/>
                  </a:lnTo>
                  <a:lnTo>
                    <a:pt x="955" y="721"/>
                  </a:lnTo>
                  <a:lnTo>
                    <a:pt x="965" y="699"/>
                  </a:lnTo>
                  <a:lnTo>
                    <a:pt x="974" y="676"/>
                  </a:lnTo>
                  <a:lnTo>
                    <a:pt x="981" y="652"/>
                  </a:lnTo>
                  <a:lnTo>
                    <a:pt x="988" y="628"/>
                  </a:lnTo>
                  <a:lnTo>
                    <a:pt x="994" y="604"/>
                  </a:lnTo>
                  <a:lnTo>
                    <a:pt x="998" y="579"/>
                  </a:lnTo>
                  <a:lnTo>
                    <a:pt x="1001" y="554"/>
                  </a:lnTo>
                  <a:lnTo>
                    <a:pt x="1003" y="529"/>
                  </a:lnTo>
                  <a:lnTo>
                    <a:pt x="1004" y="503"/>
                  </a:lnTo>
                  <a:lnTo>
                    <a:pt x="1003" y="476"/>
                  </a:lnTo>
                  <a:lnTo>
                    <a:pt x="1001" y="451"/>
                  </a:lnTo>
                  <a:lnTo>
                    <a:pt x="998" y="426"/>
                  </a:lnTo>
                  <a:lnTo>
                    <a:pt x="994" y="401"/>
                  </a:lnTo>
                  <a:lnTo>
                    <a:pt x="988" y="377"/>
                  </a:lnTo>
                  <a:lnTo>
                    <a:pt x="981" y="353"/>
                  </a:lnTo>
                  <a:lnTo>
                    <a:pt x="974" y="330"/>
                  </a:lnTo>
                  <a:lnTo>
                    <a:pt x="965" y="306"/>
                  </a:lnTo>
                  <a:lnTo>
                    <a:pt x="955" y="284"/>
                  </a:lnTo>
                  <a:lnTo>
                    <a:pt x="944" y="263"/>
                  </a:lnTo>
                  <a:lnTo>
                    <a:pt x="932" y="242"/>
                  </a:lnTo>
                  <a:lnTo>
                    <a:pt x="919" y="221"/>
                  </a:lnTo>
                  <a:lnTo>
                    <a:pt x="905" y="202"/>
                  </a:lnTo>
                  <a:lnTo>
                    <a:pt x="890" y="183"/>
                  </a:lnTo>
                  <a:lnTo>
                    <a:pt x="874" y="165"/>
                  </a:lnTo>
                  <a:lnTo>
                    <a:pt x="858" y="146"/>
                  </a:lnTo>
                  <a:lnTo>
                    <a:pt x="840" y="130"/>
                  </a:lnTo>
                  <a:lnTo>
                    <a:pt x="822" y="114"/>
                  </a:lnTo>
                  <a:lnTo>
                    <a:pt x="803" y="99"/>
                  </a:lnTo>
                  <a:lnTo>
                    <a:pt x="783" y="85"/>
                  </a:lnTo>
                  <a:lnTo>
                    <a:pt x="762" y="72"/>
                  </a:lnTo>
                  <a:lnTo>
                    <a:pt x="741" y="60"/>
                  </a:lnTo>
                  <a:lnTo>
                    <a:pt x="720" y="49"/>
                  </a:lnTo>
                  <a:lnTo>
                    <a:pt x="698" y="39"/>
                  </a:lnTo>
                  <a:lnTo>
                    <a:pt x="675" y="30"/>
                  </a:lnTo>
                  <a:lnTo>
                    <a:pt x="652" y="22"/>
                  </a:lnTo>
                  <a:lnTo>
                    <a:pt x="628" y="16"/>
                  </a:lnTo>
                  <a:lnTo>
                    <a:pt x="604" y="10"/>
                  </a:lnTo>
                  <a:lnTo>
                    <a:pt x="579" y="6"/>
                  </a:lnTo>
                  <a:lnTo>
                    <a:pt x="554" y="3"/>
                  </a:lnTo>
                  <a:lnTo>
                    <a:pt x="528" y="1"/>
                  </a:lnTo>
                  <a:lnTo>
                    <a:pt x="502" y="0"/>
                  </a:lnTo>
                  <a:lnTo>
                    <a:pt x="476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6" y="39"/>
                  </a:lnTo>
                  <a:lnTo>
                    <a:pt x="284" y="49"/>
                  </a:lnTo>
                  <a:lnTo>
                    <a:pt x="262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4"/>
                  </a:lnTo>
                  <a:lnTo>
                    <a:pt x="165" y="130"/>
                  </a:lnTo>
                  <a:lnTo>
                    <a:pt x="147" y="146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100" y="202"/>
                  </a:lnTo>
                  <a:lnTo>
                    <a:pt x="86" y="221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4"/>
                  </a:lnTo>
                  <a:lnTo>
                    <a:pt x="39" y="306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1"/>
                  </a:lnTo>
                  <a:lnTo>
                    <a:pt x="1" y="476"/>
                  </a:lnTo>
                  <a:lnTo>
                    <a:pt x="0" y="503"/>
                  </a:lnTo>
                  <a:lnTo>
                    <a:pt x="1" y="529"/>
                  </a:lnTo>
                  <a:lnTo>
                    <a:pt x="3" y="554"/>
                  </a:lnTo>
                  <a:lnTo>
                    <a:pt x="6" y="579"/>
                  </a:lnTo>
                  <a:lnTo>
                    <a:pt x="10" y="604"/>
                  </a:lnTo>
                  <a:lnTo>
                    <a:pt x="16" y="628"/>
                  </a:lnTo>
                  <a:lnTo>
                    <a:pt x="22" y="652"/>
                  </a:lnTo>
                  <a:lnTo>
                    <a:pt x="30" y="676"/>
                  </a:lnTo>
                  <a:lnTo>
                    <a:pt x="39" y="699"/>
                  </a:lnTo>
                  <a:lnTo>
                    <a:pt x="49" y="721"/>
                  </a:lnTo>
                  <a:lnTo>
                    <a:pt x="60" y="743"/>
                  </a:lnTo>
                  <a:lnTo>
                    <a:pt x="72" y="763"/>
                  </a:lnTo>
                  <a:lnTo>
                    <a:pt x="86" y="784"/>
                  </a:lnTo>
                  <a:lnTo>
                    <a:pt x="100" y="803"/>
                  </a:lnTo>
                  <a:lnTo>
                    <a:pt x="115" y="822"/>
                  </a:lnTo>
                  <a:lnTo>
                    <a:pt x="131" y="841"/>
                  </a:lnTo>
                  <a:lnTo>
                    <a:pt x="147" y="859"/>
                  </a:lnTo>
                  <a:lnTo>
                    <a:pt x="165" y="875"/>
                  </a:lnTo>
                  <a:lnTo>
                    <a:pt x="183" y="891"/>
                  </a:lnTo>
                  <a:lnTo>
                    <a:pt x="202" y="906"/>
                  </a:lnTo>
                  <a:lnTo>
                    <a:pt x="221" y="920"/>
                  </a:lnTo>
                  <a:lnTo>
                    <a:pt x="242" y="933"/>
                  </a:lnTo>
                  <a:lnTo>
                    <a:pt x="262" y="945"/>
                  </a:lnTo>
                  <a:lnTo>
                    <a:pt x="284" y="956"/>
                  </a:lnTo>
                  <a:lnTo>
                    <a:pt x="306" y="966"/>
                  </a:lnTo>
                  <a:lnTo>
                    <a:pt x="330" y="975"/>
                  </a:lnTo>
                  <a:lnTo>
                    <a:pt x="353" y="983"/>
                  </a:lnTo>
                  <a:lnTo>
                    <a:pt x="377" y="989"/>
                  </a:lnTo>
                  <a:lnTo>
                    <a:pt x="401" y="995"/>
                  </a:lnTo>
                  <a:lnTo>
                    <a:pt x="426" y="999"/>
                  </a:lnTo>
                  <a:lnTo>
                    <a:pt x="451" y="1003"/>
                  </a:lnTo>
                  <a:lnTo>
                    <a:pt x="476" y="1005"/>
                  </a:lnTo>
                  <a:lnTo>
                    <a:pt x="502" y="10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45" name="í$líḓè">
              <a:extLst>
                <a:ext uri="{FF2B5EF4-FFF2-40B4-BE49-F238E27FC236}">
                  <a16:creationId xmlns:a16="http://schemas.microsoft.com/office/drawing/2014/main" id="{B5E82685-1C16-407D-9CD9-8BBC2382D327}"/>
                </a:ext>
              </a:extLst>
            </p:cNvPr>
            <p:cNvSpPr/>
            <p:nvPr/>
          </p:nvSpPr>
          <p:spPr bwMode="auto">
            <a:xfrm>
              <a:off x="7343797" y="1162347"/>
              <a:ext cx="613339" cy="535789"/>
            </a:xfrm>
            <a:custGeom>
              <a:avLst/>
              <a:gdLst>
                <a:gd name="T0" fmla="*/ 1006 w 16095"/>
                <a:gd name="T1" fmla="*/ 3013 h 14060"/>
                <a:gd name="T2" fmla="*/ 5802 w 16095"/>
                <a:gd name="T3" fmla="*/ 1392 h 14060"/>
                <a:gd name="T4" fmla="*/ 6204 w 16095"/>
                <a:gd name="T5" fmla="*/ 1861 h 14060"/>
                <a:gd name="T6" fmla="*/ 6751 w 16095"/>
                <a:gd name="T7" fmla="*/ 2221 h 14060"/>
                <a:gd name="T8" fmla="*/ 7413 w 16095"/>
                <a:gd name="T9" fmla="*/ 2445 h 14060"/>
                <a:gd name="T10" fmla="*/ 8157 w 16095"/>
                <a:gd name="T11" fmla="*/ 2509 h 14060"/>
                <a:gd name="T12" fmla="*/ 8881 w 16095"/>
                <a:gd name="T13" fmla="*/ 2397 h 14060"/>
                <a:gd name="T14" fmla="*/ 9513 w 16095"/>
                <a:gd name="T15" fmla="*/ 2131 h 14060"/>
                <a:gd name="T16" fmla="*/ 10022 w 16095"/>
                <a:gd name="T17" fmla="*/ 1737 h 14060"/>
                <a:gd name="T18" fmla="*/ 10376 w 16095"/>
                <a:gd name="T19" fmla="*/ 1241 h 14060"/>
                <a:gd name="T20" fmla="*/ 9936 w 16095"/>
                <a:gd name="T21" fmla="*/ 1004 h 14060"/>
                <a:gd name="T22" fmla="*/ 9691 w 16095"/>
                <a:gd name="T23" fmla="*/ 1361 h 14060"/>
                <a:gd name="T24" fmla="*/ 9334 w 16095"/>
                <a:gd name="T25" fmla="*/ 1655 h 14060"/>
                <a:gd name="T26" fmla="*/ 8886 w 16095"/>
                <a:gd name="T27" fmla="*/ 1870 h 14060"/>
                <a:gd name="T28" fmla="*/ 8368 w 16095"/>
                <a:gd name="T29" fmla="*/ 1989 h 14060"/>
                <a:gd name="T30" fmla="*/ 7806 w 16095"/>
                <a:gd name="T31" fmla="*/ 1998 h 14060"/>
                <a:gd name="T32" fmla="*/ 7279 w 16095"/>
                <a:gd name="T33" fmla="*/ 1893 h 14060"/>
                <a:gd name="T34" fmla="*/ 6819 w 16095"/>
                <a:gd name="T35" fmla="*/ 1691 h 14060"/>
                <a:gd name="T36" fmla="*/ 6449 w 16095"/>
                <a:gd name="T37" fmla="*/ 1407 h 14060"/>
                <a:gd name="T38" fmla="*/ 6187 w 16095"/>
                <a:gd name="T39" fmla="*/ 1059 h 14060"/>
                <a:gd name="T40" fmla="*/ 13098 w 16095"/>
                <a:gd name="T41" fmla="*/ 147 h 14060"/>
                <a:gd name="T42" fmla="*/ 12827 w 16095"/>
                <a:gd name="T43" fmla="*/ 32 h 14060"/>
                <a:gd name="T44" fmla="*/ 3521 w 16095"/>
                <a:gd name="T45" fmla="*/ 0 h 14060"/>
                <a:gd name="T46" fmla="*/ 3228 w 16095"/>
                <a:gd name="T47" fmla="*/ 43 h 14060"/>
                <a:gd name="T48" fmla="*/ 2960 w 16095"/>
                <a:gd name="T49" fmla="*/ 170 h 14060"/>
                <a:gd name="T50" fmla="*/ 264 w 16095"/>
                <a:gd name="T51" fmla="*/ 2335 h 14060"/>
                <a:gd name="T52" fmla="*/ 112 w 16095"/>
                <a:gd name="T53" fmla="*/ 2554 h 14060"/>
                <a:gd name="T54" fmla="*/ 22 w 16095"/>
                <a:gd name="T55" fmla="*/ 2802 h 14060"/>
                <a:gd name="T56" fmla="*/ 1 w 16095"/>
                <a:gd name="T57" fmla="*/ 3065 h 14060"/>
                <a:gd name="T58" fmla="*/ 52 w 16095"/>
                <a:gd name="T59" fmla="*/ 3331 h 14060"/>
                <a:gd name="T60" fmla="*/ 1127 w 16095"/>
                <a:gd name="T61" fmla="*/ 6504 h 14060"/>
                <a:gd name="T62" fmla="*/ 1239 w 16095"/>
                <a:gd name="T63" fmla="*/ 6669 h 14060"/>
                <a:gd name="T64" fmla="*/ 1382 w 16095"/>
                <a:gd name="T65" fmla="*/ 6809 h 14060"/>
                <a:gd name="T66" fmla="*/ 1551 w 16095"/>
                <a:gd name="T67" fmla="*/ 6919 h 14060"/>
                <a:gd name="T68" fmla="*/ 1766 w 16095"/>
                <a:gd name="T69" fmla="*/ 7000 h 14060"/>
                <a:gd name="T70" fmla="*/ 2045 w 16095"/>
                <a:gd name="T71" fmla="*/ 7029 h 14060"/>
                <a:gd name="T72" fmla="*/ 2271 w 16095"/>
                <a:gd name="T73" fmla="*/ 6996 h 14060"/>
                <a:gd name="T74" fmla="*/ 2486 w 16095"/>
                <a:gd name="T75" fmla="*/ 6911 h 14060"/>
                <a:gd name="T76" fmla="*/ 2546 w 16095"/>
                <a:gd name="T77" fmla="*/ 13307 h 14060"/>
                <a:gd name="T78" fmla="*/ 2687 w 16095"/>
                <a:gd name="T79" fmla="*/ 13617 h 14060"/>
                <a:gd name="T80" fmla="*/ 2919 w 16095"/>
                <a:gd name="T81" fmla="*/ 13860 h 14060"/>
                <a:gd name="T82" fmla="*/ 3222 w 16095"/>
                <a:gd name="T83" fmla="*/ 14015 h 14060"/>
                <a:gd name="T84" fmla="*/ 12574 w 16095"/>
                <a:gd name="T85" fmla="*/ 14060 h 14060"/>
                <a:gd name="T86" fmla="*/ 12920 w 16095"/>
                <a:gd name="T87" fmla="*/ 13999 h 14060"/>
                <a:gd name="T88" fmla="*/ 13214 w 16095"/>
                <a:gd name="T89" fmla="*/ 13831 h 14060"/>
                <a:gd name="T90" fmla="*/ 13434 w 16095"/>
                <a:gd name="T91" fmla="*/ 13576 h 14060"/>
                <a:gd name="T92" fmla="*/ 13560 w 16095"/>
                <a:gd name="T93" fmla="*/ 13258 h 14060"/>
                <a:gd name="T94" fmla="*/ 13639 w 16095"/>
                <a:gd name="T95" fmla="*/ 6927 h 14060"/>
                <a:gd name="T96" fmla="*/ 13856 w 16095"/>
                <a:gd name="T97" fmla="*/ 7004 h 14060"/>
                <a:gd name="T98" fmla="*/ 14083 w 16095"/>
                <a:gd name="T99" fmla="*/ 7030 h 14060"/>
                <a:gd name="T100" fmla="*/ 14370 w 16095"/>
                <a:gd name="T101" fmla="*/ 6989 h 14060"/>
                <a:gd name="T102" fmla="*/ 14569 w 16095"/>
                <a:gd name="T103" fmla="*/ 6905 h 14060"/>
                <a:gd name="T104" fmla="*/ 14735 w 16095"/>
                <a:gd name="T105" fmla="*/ 6791 h 14060"/>
                <a:gd name="T106" fmla="*/ 14874 w 16095"/>
                <a:gd name="T107" fmla="*/ 6647 h 14060"/>
                <a:gd name="T108" fmla="*/ 14981 w 16095"/>
                <a:gd name="T109" fmla="*/ 6478 h 14060"/>
                <a:gd name="T110" fmla="*/ 16055 w 16095"/>
                <a:gd name="T111" fmla="*/ 3293 h 14060"/>
                <a:gd name="T112" fmla="*/ 16095 w 16095"/>
                <a:gd name="T113" fmla="*/ 3027 h 14060"/>
                <a:gd name="T114" fmla="*/ 16064 w 16095"/>
                <a:gd name="T115" fmla="*/ 2765 h 14060"/>
                <a:gd name="T116" fmla="*/ 15966 w 16095"/>
                <a:gd name="T117" fmla="*/ 2521 h 14060"/>
                <a:gd name="T118" fmla="*/ 15805 w 16095"/>
                <a:gd name="T119" fmla="*/ 2307 h 14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95" h="14060">
                  <a:moveTo>
                    <a:pt x="14083" y="6026"/>
                  </a:moveTo>
                  <a:lnTo>
                    <a:pt x="12574" y="5021"/>
                  </a:lnTo>
                  <a:lnTo>
                    <a:pt x="12574" y="13056"/>
                  </a:lnTo>
                  <a:lnTo>
                    <a:pt x="3521" y="13056"/>
                  </a:lnTo>
                  <a:lnTo>
                    <a:pt x="3521" y="5021"/>
                  </a:lnTo>
                  <a:lnTo>
                    <a:pt x="2012" y="6026"/>
                  </a:lnTo>
                  <a:lnTo>
                    <a:pt x="1006" y="3013"/>
                  </a:lnTo>
                  <a:lnTo>
                    <a:pt x="3521" y="1004"/>
                  </a:lnTo>
                  <a:lnTo>
                    <a:pt x="5622" y="1004"/>
                  </a:lnTo>
                  <a:lnTo>
                    <a:pt x="5650" y="1085"/>
                  </a:lnTo>
                  <a:lnTo>
                    <a:pt x="5683" y="1164"/>
                  </a:lnTo>
                  <a:lnTo>
                    <a:pt x="5719" y="1241"/>
                  </a:lnTo>
                  <a:lnTo>
                    <a:pt x="5758" y="1318"/>
                  </a:lnTo>
                  <a:lnTo>
                    <a:pt x="5802" y="1392"/>
                  </a:lnTo>
                  <a:lnTo>
                    <a:pt x="5850" y="1464"/>
                  </a:lnTo>
                  <a:lnTo>
                    <a:pt x="5900" y="1536"/>
                  </a:lnTo>
                  <a:lnTo>
                    <a:pt x="5954" y="1605"/>
                  </a:lnTo>
                  <a:lnTo>
                    <a:pt x="6011" y="1672"/>
                  </a:lnTo>
                  <a:lnTo>
                    <a:pt x="6073" y="1737"/>
                  </a:lnTo>
                  <a:lnTo>
                    <a:pt x="6136" y="1800"/>
                  </a:lnTo>
                  <a:lnTo>
                    <a:pt x="6204" y="1861"/>
                  </a:lnTo>
                  <a:lnTo>
                    <a:pt x="6274" y="1920"/>
                  </a:lnTo>
                  <a:lnTo>
                    <a:pt x="6346" y="1976"/>
                  </a:lnTo>
                  <a:lnTo>
                    <a:pt x="6422" y="2031"/>
                  </a:lnTo>
                  <a:lnTo>
                    <a:pt x="6500" y="2082"/>
                  </a:lnTo>
                  <a:lnTo>
                    <a:pt x="6582" y="2131"/>
                  </a:lnTo>
                  <a:lnTo>
                    <a:pt x="6665" y="2177"/>
                  </a:lnTo>
                  <a:lnTo>
                    <a:pt x="6751" y="2221"/>
                  </a:lnTo>
                  <a:lnTo>
                    <a:pt x="6839" y="2262"/>
                  </a:lnTo>
                  <a:lnTo>
                    <a:pt x="6930" y="2300"/>
                  </a:lnTo>
                  <a:lnTo>
                    <a:pt x="7022" y="2336"/>
                  </a:lnTo>
                  <a:lnTo>
                    <a:pt x="7117" y="2368"/>
                  </a:lnTo>
                  <a:lnTo>
                    <a:pt x="7215" y="2397"/>
                  </a:lnTo>
                  <a:lnTo>
                    <a:pt x="7313" y="2423"/>
                  </a:lnTo>
                  <a:lnTo>
                    <a:pt x="7413" y="2445"/>
                  </a:lnTo>
                  <a:lnTo>
                    <a:pt x="7515" y="2466"/>
                  </a:lnTo>
                  <a:lnTo>
                    <a:pt x="7619" y="2482"/>
                  </a:lnTo>
                  <a:lnTo>
                    <a:pt x="7724" y="2495"/>
                  </a:lnTo>
                  <a:lnTo>
                    <a:pt x="7830" y="2504"/>
                  </a:lnTo>
                  <a:lnTo>
                    <a:pt x="7939" y="2509"/>
                  </a:lnTo>
                  <a:lnTo>
                    <a:pt x="8048" y="2511"/>
                  </a:lnTo>
                  <a:lnTo>
                    <a:pt x="8157" y="2509"/>
                  </a:lnTo>
                  <a:lnTo>
                    <a:pt x="8265" y="2504"/>
                  </a:lnTo>
                  <a:lnTo>
                    <a:pt x="8371" y="2495"/>
                  </a:lnTo>
                  <a:lnTo>
                    <a:pt x="8476" y="2482"/>
                  </a:lnTo>
                  <a:lnTo>
                    <a:pt x="8580" y="2466"/>
                  </a:lnTo>
                  <a:lnTo>
                    <a:pt x="8682" y="2445"/>
                  </a:lnTo>
                  <a:lnTo>
                    <a:pt x="8783" y="2423"/>
                  </a:lnTo>
                  <a:lnTo>
                    <a:pt x="8881" y="2397"/>
                  </a:lnTo>
                  <a:lnTo>
                    <a:pt x="8978" y="2368"/>
                  </a:lnTo>
                  <a:lnTo>
                    <a:pt x="9073" y="2336"/>
                  </a:lnTo>
                  <a:lnTo>
                    <a:pt x="9165" y="2300"/>
                  </a:lnTo>
                  <a:lnTo>
                    <a:pt x="9256" y="2262"/>
                  </a:lnTo>
                  <a:lnTo>
                    <a:pt x="9344" y="2221"/>
                  </a:lnTo>
                  <a:lnTo>
                    <a:pt x="9430" y="2177"/>
                  </a:lnTo>
                  <a:lnTo>
                    <a:pt x="9513" y="2131"/>
                  </a:lnTo>
                  <a:lnTo>
                    <a:pt x="9595" y="2082"/>
                  </a:lnTo>
                  <a:lnTo>
                    <a:pt x="9673" y="2031"/>
                  </a:lnTo>
                  <a:lnTo>
                    <a:pt x="9749" y="1976"/>
                  </a:lnTo>
                  <a:lnTo>
                    <a:pt x="9821" y="1920"/>
                  </a:lnTo>
                  <a:lnTo>
                    <a:pt x="9891" y="1861"/>
                  </a:lnTo>
                  <a:lnTo>
                    <a:pt x="9959" y="1800"/>
                  </a:lnTo>
                  <a:lnTo>
                    <a:pt x="10022" y="1737"/>
                  </a:lnTo>
                  <a:lnTo>
                    <a:pt x="10084" y="1672"/>
                  </a:lnTo>
                  <a:lnTo>
                    <a:pt x="10141" y="1605"/>
                  </a:lnTo>
                  <a:lnTo>
                    <a:pt x="10195" y="1536"/>
                  </a:lnTo>
                  <a:lnTo>
                    <a:pt x="10245" y="1464"/>
                  </a:lnTo>
                  <a:lnTo>
                    <a:pt x="10293" y="1392"/>
                  </a:lnTo>
                  <a:lnTo>
                    <a:pt x="10337" y="1318"/>
                  </a:lnTo>
                  <a:lnTo>
                    <a:pt x="10376" y="1241"/>
                  </a:lnTo>
                  <a:lnTo>
                    <a:pt x="10412" y="1164"/>
                  </a:lnTo>
                  <a:lnTo>
                    <a:pt x="10445" y="1085"/>
                  </a:lnTo>
                  <a:lnTo>
                    <a:pt x="10473" y="1004"/>
                  </a:lnTo>
                  <a:lnTo>
                    <a:pt x="12574" y="1004"/>
                  </a:lnTo>
                  <a:lnTo>
                    <a:pt x="15089" y="3013"/>
                  </a:lnTo>
                  <a:lnTo>
                    <a:pt x="14083" y="6026"/>
                  </a:lnTo>
                  <a:close/>
                  <a:moveTo>
                    <a:pt x="9936" y="1004"/>
                  </a:moveTo>
                  <a:lnTo>
                    <a:pt x="9908" y="1059"/>
                  </a:lnTo>
                  <a:lnTo>
                    <a:pt x="9878" y="1112"/>
                  </a:lnTo>
                  <a:lnTo>
                    <a:pt x="9846" y="1164"/>
                  </a:lnTo>
                  <a:lnTo>
                    <a:pt x="9811" y="1215"/>
                  </a:lnTo>
                  <a:lnTo>
                    <a:pt x="9773" y="1264"/>
                  </a:lnTo>
                  <a:lnTo>
                    <a:pt x="9733" y="1314"/>
                  </a:lnTo>
                  <a:lnTo>
                    <a:pt x="9691" y="1361"/>
                  </a:lnTo>
                  <a:lnTo>
                    <a:pt x="9646" y="1407"/>
                  </a:lnTo>
                  <a:lnTo>
                    <a:pt x="9600" y="1452"/>
                  </a:lnTo>
                  <a:lnTo>
                    <a:pt x="9550" y="1495"/>
                  </a:lnTo>
                  <a:lnTo>
                    <a:pt x="9500" y="1538"/>
                  </a:lnTo>
                  <a:lnTo>
                    <a:pt x="9447" y="1579"/>
                  </a:lnTo>
                  <a:lnTo>
                    <a:pt x="9391" y="1617"/>
                  </a:lnTo>
                  <a:lnTo>
                    <a:pt x="9334" y="1655"/>
                  </a:lnTo>
                  <a:lnTo>
                    <a:pt x="9276" y="1691"/>
                  </a:lnTo>
                  <a:lnTo>
                    <a:pt x="9215" y="1725"/>
                  </a:lnTo>
                  <a:lnTo>
                    <a:pt x="9152" y="1758"/>
                  </a:lnTo>
                  <a:lnTo>
                    <a:pt x="9089" y="1789"/>
                  </a:lnTo>
                  <a:lnTo>
                    <a:pt x="9022" y="1818"/>
                  </a:lnTo>
                  <a:lnTo>
                    <a:pt x="8956" y="1845"/>
                  </a:lnTo>
                  <a:lnTo>
                    <a:pt x="8886" y="1870"/>
                  </a:lnTo>
                  <a:lnTo>
                    <a:pt x="8816" y="1893"/>
                  </a:lnTo>
                  <a:lnTo>
                    <a:pt x="8745" y="1914"/>
                  </a:lnTo>
                  <a:lnTo>
                    <a:pt x="8672" y="1933"/>
                  </a:lnTo>
                  <a:lnTo>
                    <a:pt x="8598" y="1951"/>
                  </a:lnTo>
                  <a:lnTo>
                    <a:pt x="8522" y="1965"/>
                  </a:lnTo>
                  <a:lnTo>
                    <a:pt x="8446" y="1978"/>
                  </a:lnTo>
                  <a:lnTo>
                    <a:pt x="8368" y="1989"/>
                  </a:lnTo>
                  <a:lnTo>
                    <a:pt x="8289" y="1998"/>
                  </a:lnTo>
                  <a:lnTo>
                    <a:pt x="8209" y="2004"/>
                  </a:lnTo>
                  <a:lnTo>
                    <a:pt x="8129" y="2008"/>
                  </a:lnTo>
                  <a:lnTo>
                    <a:pt x="8048" y="2009"/>
                  </a:lnTo>
                  <a:lnTo>
                    <a:pt x="7966" y="2008"/>
                  </a:lnTo>
                  <a:lnTo>
                    <a:pt x="7886" y="2004"/>
                  </a:lnTo>
                  <a:lnTo>
                    <a:pt x="7806" y="1998"/>
                  </a:lnTo>
                  <a:lnTo>
                    <a:pt x="7727" y="1989"/>
                  </a:lnTo>
                  <a:lnTo>
                    <a:pt x="7649" y="1978"/>
                  </a:lnTo>
                  <a:lnTo>
                    <a:pt x="7573" y="1965"/>
                  </a:lnTo>
                  <a:lnTo>
                    <a:pt x="7497" y="1951"/>
                  </a:lnTo>
                  <a:lnTo>
                    <a:pt x="7423" y="1933"/>
                  </a:lnTo>
                  <a:lnTo>
                    <a:pt x="7350" y="1914"/>
                  </a:lnTo>
                  <a:lnTo>
                    <a:pt x="7279" y="1893"/>
                  </a:lnTo>
                  <a:lnTo>
                    <a:pt x="7209" y="1870"/>
                  </a:lnTo>
                  <a:lnTo>
                    <a:pt x="7139" y="1845"/>
                  </a:lnTo>
                  <a:lnTo>
                    <a:pt x="7073" y="1818"/>
                  </a:lnTo>
                  <a:lnTo>
                    <a:pt x="7006" y="1789"/>
                  </a:lnTo>
                  <a:lnTo>
                    <a:pt x="6943" y="1758"/>
                  </a:lnTo>
                  <a:lnTo>
                    <a:pt x="6881" y="1725"/>
                  </a:lnTo>
                  <a:lnTo>
                    <a:pt x="6819" y="1691"/>
                  </a:lnTo>
                  <a:lnTo>
                    <a:pt x="6761" y="1655"/>
                  </a:lnTo>
                  <a:lnTo>
                    <a:pt x="6704" y="1617"/>
                  </a:lnTo>
                  <a:lnTo>
                    <a:pt x="6648" y="1579"/>
                  </a:lnTo>
                  <a:lnTo>
                    <a:pt x="6596" y="1538"/>
                  </a:lnTo>
                  <a:lnTo>
                    <a:pt x="6545" y="1495"/>
                  </a:lnTo>
                  <a:lnTo>
                    <a:pt x="6495" y="1452"/>
                  </a:lnTo>
                  <a:lnTo>
                    <a:pt x="6449" y="1407"/>
                  </a:lnTo>
                  <a:lnTo>
                    <a:pt x="6404" y="1361"/>
                  </a:lnTo>
                  <a:lnTo>
                    <a:pt x="6362" y="1314"/>
                  </a:lnTo>
                  <a:lnTo>
                    <a:pt x="6322" y="1264"/>
                  </a:lnTo>
                  <a:lnTo>
                    <a:pt x="6284" y="1215"/>
                  </a:lnTo>
                  <a:lnTo>
                    <a:pt x="6249" y="1164"/>
                  </a:lnTo>
                  <a:lnTo>
                    <a:pt x="6217" y="1112"/>
                  </a:lnTo>
                  <a:lnTo>
                    <a:pt x="6187" y="1059"/>
                  </a:lnTo>
                  <a:lnTo>
                    <a:pt x="6159" y="1004"/>
                  </a:lnTo>
                  <a:lnTo>
                    <a:pt x="9936" y="1004"/>
                  </a:lnTo>
                  <a:close/>
                  <a:moveTo>
                    <a:pt x="15718" y="2229"/>
                  </a:moveTo>
                  <a:lnTo>
                    <a:pt x="13203" y="220"/>
                  </a:lnTo>
                  <a:lnTo>
                    <a:pt x="13169" y="194"/>
                  </a:lnTo>
                  <a:lnTo>
                    <a:pt x="13135" y="170"/>
                  </a:lnTo>
                  <a:lnTo>
                    <a:pt x="13098" y="147"/>
                  </a:lnTo>
                  <a:lnTo>
                    <a:pt x="13061" y="126"/>
                  </a:lnTo>
                  <a:lnTo>
                    <a:pt x="13024" y="105"/>
                  </a:lnTo>
                  <a:lnTo>
                    <a:pt x="12986" y="87"/>
                  </a:lnTo>
                  <a:lnTo>
                    <a:pt x="12946" y="71"/>
                  </a:lnTo>
                  <a:lnTo>
                    <a:pt x="12907" y="56"/>
                  </a:lnTo>
                  <a:lnTo>
                    <a:pt x="12867" y="43"/>
                  </a:lnTo>
                  <a:lnTo>
                    <a:pt x="12827" y="32"/>
                  </a:lnTo>
                  <a:lnTo>
                    <a:pt x="12785" y="22"/>
                  </a:lnTo>
                  <a:lnTo>
                    <a:pt x="12743" y="14"/>
                  </a:lnTo>
                  <a:lnTo>
                    <a:pt x="12702" y="8"/>
                  </a:lnTo>
                  <a:lnTo>
                    <a:pt x="12660" y="4"/>
                  </a:lnTo>
                  <a:lnTo>
                    <a:pt x="12616" y="1"/>
                  </a:lnTo>
                  <a:lnTo>
                    <a:pt x="12574" y="0"/>
                  </a:lnTo>
                  <a:lnTo>
                    <a:pt x="3521" y="0"/>
                  </a:lnTo>
                  <a:lnTo>
                    <a:pt x="3479" y="1"/>
                  </a:lnTo>
                  <a:lnTo>
                    <a:pt x="3435" y="4"/>
                  </a:lnTo>
                  <a:lnTo>
                    <a:pt x="3393" y="8"/>
                  </a:lnTo>
                  <a:lnTo>
                    <a:pt x="3352" y="14"/>
                  </a:lnTo>
                  <a:lnTo>
                    <a:pt x="3310" y="22"/>
                  </a:lnTo>
                  <a:lnTo>
                    <a:pt x="3268" y="32"/>
                  </a:lnTo>
                  <a:lnTo>
                    <a:pt x="3228" y="43"/>
                  </a:lnTo>
                  <a:lnTo>
                    <a:pt x="3188" y="56"/>
                  </a:lnTo>
                  <a:lnTo>
                    <a:pt x="3149" y="71"/>
                  </a:lnTo>
                  <a:lnTo>
                    <a:pt x="3109" y="87"/>
                  </a:lnTo>
                  <a:lnTo>
                    <a:pt x="3071" y="105"/>
                  </a:lnTo>
                  <a:lnTo>
                    <a:pt x="3034" y="126"/>
                  </a:lnTo>
                  <a:lnTo>
                    <a:pt x="2997" y="147"/>
                  </a:lnTo>
                  <a:lnTo>
                    <a:pt x="2960" y="170"/>
                  </a:lnTo>
                  <a:lnTo>
                    <a:pt x="2926" y="194"/>
                  </a:lnTo>
                  <a:lnTo>
                    <a:pt x="2892" y="220"/>
                  </a:lnTo>
                  <a:lnTo>
                    <a:pt x="377" y="2229"/>
                  </a:lnTo>
                  <a:lnTo>
                    <a:pt x="347" y="2254"/>
                  </a:lnTo>
                  <a:lnTo>
                    <a:pt x="318" y="2280"/>
                  </a:lnTo>
                  <a:lnTo>
                    <a:pt x="290" y="2307"/>
                  </a:lnTo>
                  <a:lnTo>
                    <a:pt x="264" y="2335"/>
                  </a:lnTo>
                  <a:lnTo>
                    <a:pt x="237" y="2364"/>
                  </a:lnTo>
                  <a:lnTo>
                    <a:pt x="213" y="2393"/>
                  </a:lnTo>
                  <a:lnTo>
                    <a:pt x="191" y="2424"/>
                  </a:lnTo>
                  <a:lnTo>
                    <a:pt x="169" y="2455"/>
                  </a:lnTo>
                  <a:lnTo>
                    <a:pt x="148" y="2488"/>
                  </a:lnTo>
                  <a:lnTo>
                    <a:pt x="129" y="2521"/>
                  </a:lnTo>
                  <a:lnTo>
                    <a:pt x="112" y="2554"/>
                  </a:lnTo>
                  <a:lnTo>
                    <a:pt x="95" y="2588"/>
                  </a:lnTo>
                  <a:lnTo>
                    <a:pt x="79" y="2622"/>
                  </a:lnTo>
                  <a:lnTo>
                    <a:pt x="65" y="2657"/>
                  </a:lnTo>
                  <a:lnTo>
                    <a:pt x="52" y="2692"/>
                  </a:lnTo>
                  <a:lnTo>
                    <a:pt x="41" y="2729"/>
                  </a:lnTo>
                  <a:lnTo>
                    <a:pt x="31" y="2765"/>
                  </a:lnTo>
                  <a:lnTo>
                    <a:pt x="22" y="2802"/>
                  </a:lnTo>
                  <a:lnTo>
                    <a:pt x="15" y="2839"/>
                  </a:lnTo>
                  <a:lnTo>
                    <a:pt x="9" y="2876"/>
                  </a:lnTo>
                  <a:lnTo>
                    <a:pt x="5" y="2913"/>
                  </a:lnTo>
                  <a:lnTo>
                    <a:pt x="2" y="2952"/>
                  </a:lnTo>
                  <a:lnTo>
                    <a:pt x="0" y="2989"/>
                  </a:lnTo>
                  <a:lnTo>
                    <a:pt x="0" y="3027"/>
                  </a:lnTo>
                  <a:lnTo>
                    <a:pt x="1" y="3065"/>
                  </a:lnTo>
                  <a:lnTo>
                    <a:pt x="4" y="3103"/>
                  </a:lnTo>
                  <a:lnTo>
                    <a:pt x="8" y="3141"/>
                  </a:lnTo>
                  <a:lnTo>
                    <a:pt x="14" y="3180"/>
                  </a:lnTo>
                  <a:lnTo>
                    <a:pt x="21" y="3218"/>
                  </a:lnTo>
                  <a:lnTo>
                    <a:pt x="30" y="3256"/>
                  </a:lnTo>
                  <a:lnTo>
                    <a:pt x="40" y="3293"/>
                  </a:lnTo>
                  <a:lnTo>
                    <a:pt x="52" y="3331"/>
                  </a:lnTo>
                  <a:lnTo>
                    <a:pt x="1057" y="6344"/>
                  </a:lnTo>
                  <a:lnTo>
                    <a:pt x="1067" y="6371"/>
                  </a:lnTo>
                  <a:lnTo>
                    <a:pt x="1078" y="6398"/>
                  </a:lnTo>
                  <a:lnTo>
                    <a:pt x="1089" y="6425"/>
                  </a:lnTo>
                  <a:lnTo>
                    <a:pt x="1100" y="6452"/>
                  </a:lnTo>
                  <a:lnTo>
                    <a:pt x="1114" y="6478"/>
                  </a:lnTo>
                  <a:lnTo>
                    <a:pt x="1127" y="6504"/>
                  </a:lnTo>
                  <a:lnTo>
                    <a:pt x="1141" y="6529"/>
                  </a:lnTo>
                  <a:lnTo>
                    <a:pt x="1156" y="6553"/>
                  </a:lnTo>
                  <a:lnTo>
                    <a:pt x="1171" y="6577"/>
                  </a:lnTo>
                  <a:lnTo>
                    <a:pt x="1187" y="6601"/>
                  </a:lnTo>
                  <a:lnTo>
                    <a:pt x="1204" y="6624"/>
                  </a:lnTo>
                  <a:lnTo>
                    <a:pt x="1221" y="6647"/>
                  </a:lnTo>
                  <a:lnTo>
                    <a:pt x="1239" y="6669"/>
                  </a:lnTo>
                  <a:lnTo>
                    <a:pt x="1258" y="6692"/>
                  </a:lnTo>
                  <a:lnTo>
                    <a:pt x="1278" y="6713"/>
                  </a:lnTo>
                  <a:lnTo>
                    <a:pt x="1298" y="6733"/>
                  </a:lnTo>
                  <a:lnTo>
                    <a:pt x="1318" y="6753"/>
                  </a:lnTo>
                  <a:lnTo>
                    <a:pt x="1339" y="6772"/>
                  </a:lnTo>
                  <a:lnTo>
                    <a:pt x="1360" y="6791"/>
                  </a:lnTo>
                  <a:lnTo>
                    <a:pt x="1382" y="6809"/>
                  </a:lnTo>
                  <a:lnTo>
                    <a:pt x="1405" y="6827"/>
                  </a:lnTo>
                  <a:lnTo>
                    <a:pt x="1428" y="6844"/>
                  </a:lnTo>
                  <a:lnTo>
                    <a:pt x="1452" y="6860"/>
                  </a:lnTo>
                  <a:lnTo>
                    <a:pt x="1476" y="6875"/>
                  </a:lnTo>
                  <a:lnTo>
                    <a:pt x="1501" y="6890"/>
                  </a:lnTo>
                  <a:lnTo>
                    <a:pt x="1526" y="6905"/>
                  </a:lnTo>
                  <a:lnTo>
                    <a:pt x="1551" y="6919"/>
                  </a:lnTo>
                  <a:lnTo>
                    <a:pt x="1577" y="6932"/>
                  </a:lnTo>
                  <a:lnTo>
                    <a:pt x="1603" y="6944"/>
                  </a:lnTo>
                  <a:lnTo>
                    <a:pt x="1631" y="6956"/>
                  </a:lnTo>
                  <a:lnTo>
                    <a:pt x="1658" y="6966"/>
                  </a:lnTo>
                  <a:lnTo>
                    <a:pt x="1686" y="6976"/>
                  </a:lnTo>
                  <a:lnTo>
                    <a:pt x="1725" y="6989"/>
                  </a:lnTo>
                  <a:lnTo>
                    <a:pt x="1766" y="7000"/>
                  </a:lnTo>
                  <a:lnTo>
                    <a:pt x="1807" y="7009"/>
                  </a:lnTo>
                  <a:lnTo>
                    <a:pt x="1848" y="7016"/>
                  </a:lnTo>
                  <a:lnTo>
                    <a:pt x="1888" y="7022"/>
                  </a:lnTo>
                  <a:lnTo>
                    <a:pt x="1929" y="7027"/>
                  </a:lnTo>
                  <a:lnTo>
                    <a:pt x="1971" y="7029"/>
                  </a:lnTo>
                  <a:lnTo>
                    <a:pt x="2012" y="7030"/>
                  </a:lnTo>
                  <a:lnTo>
                    <a:pt x="2045" y="7029"/>
                  </a:lnTo>
                  <a:lnTo>
                    <a:pt x="2077" y="7028"/>
                  </a:lnTo>
                  <a:lnTo>
                    <a:pt x="2110" y="7025"/>
                  </a:lnTo>
                  <a:lnTo>
                    <a:pt x="2143" y="7021"/>
                  </a:lnTo>
                  <a:lnTo>
                    <a:pt x="2175" y="7017"/>
                  </a:lnTo>
                  <a:lnTo>
                    <a:pt x="2207" y="7011"/>
                  </a:lnTo>
                  <a:lnTo>
                    <a:pt x="2239" y="7004"/>
                  </a:lnTo>
                  <a:lnTo>
                    <a:pt x="2271" y="6996"/>
                  </a:lnTo>
                  <a:lnTo>
                    <a:pt x="2303" y="6987"/>
                  </a:lnTo>
                  <a:lnTo>
                    <a:pt x="2334" y="6977"/>
                  </a:lnTo>
                  <a:lnTo>
                    <a:pt x="2365" y="6966"/>
                  </a:lnTo>
                  <a:lnTo>
                    <a:pt x="2396" y="6954"/>
                  </a:lnTo>
                  <a:lnTo>
                    <a:pt x="2426" y="6941"/>
                  </a:lnTo>
                  <a:lnTo>
                    <a:pt x="2456" y="6927"/>
                  </a:lnTo>
                  <a:lnTo>
                    <a:pt x="2486" y="6911"/>
                  </a:lnTo>
                  <a:lnTo>
                    <a:pt x="2515" y="6895"/>
                  </a:lnTo>
                  <a:lnTo>
                    <a:pt x="2515" y="13056"/>
                  </a:lnTo>
                  <a:lnTo>
                    <a:pt x="2516" y="13107"/>
                  </a:lnTo>
                  <a:lnTo>
                    <a:pt x="2520" y="13158"/>
                  </a:lnTo>
                  <a:lnTo>
                    <a:pt x="2526" y="13208"/>
                  </a:lnTo>
                  <a:lnTo>
                    <a:pt x="2535" y="13258"/>
                  </a:lnTo>
                  <a:lnTo>
                    <a:pt x="2546" y="13307"/>
                  </a:lnTo>
                  <a:lnTo>
                    <a:pt x="2560" y="13354"/>
                  </a:lnTo>
                  <a:lnTo>
                    <a:pt x="2576" y="13401"/>
                  </a:lnTo>
                  <a:lnTo>
                    <a:pt x="2594" y="13446"/>
                  </a:lnTo>
                  <a:lnTo>
                    <a:pt x="2614" y="13491"/>
                  </a:lnTo>
                  <a:lnTo>
                    <a:pt x="2637" y="13535"/>
                  </a:lnTo>
                  <a:lnTo>
                    <a:pt x="2661" y="13576"/>
                  </a:lnTo>
                  <a:lnTo>
                    <a:pt x="2687" y="13617"/>
                  </a:lnTo>
                  <a:lnTo>
                    <a:pt x="2715" y="13656"/>
                  </a:lnTo>
                  <a:lnTo>
                    <a:pt x="2744" y="13694"/>
                  </a:lnTo>
                  <a:lnTo>
                    <a:pt x="2776" y="13731"/>
                  </a:lnTo>
                  <a:lnTo>
                    <a:pt x="2810" y="13766"/>
                  </a:lnTo>
                  <a:lnTo>
                    <a:pt x="2845" y="13799"/>
                  </a:lnTo>
                  <a:lnTo>
                    <a:pt x="2881" y="13831"/>
                  </a:lnTo>
                  <a:lnTo>
                    <a:pt x="2919" y="13860"/>
                  </a:lnTo>
                  <a:lnTo>
                    <a:pt x="2958" y="13888"/>
                  </a:lnTo>
                  <a:lnTo>
                    <a:pt x="3000" y="13914"/>
                  </a:lnTo>
                  <a:lnTo>
                    <a:pt x="3041" y="13938"/>
                  </a:lnTo>
                  <a:lnTo>
                    <a:pt x="3085" y="13961"/>
                  </a:lnTo>
                  <a:lnTo>
                    <a:pt x="3129" y="13981"/>
                  </a:lnTo>
                  <a:lnTo>
                    <a:pt x="3175" y="13999"/>
                  </a:lnTo>
                  <a:lnTo>
                    <a:pt x="3222" y="14015"/>
                  </a:lnTo>
                  <a:lnTo>
                    <a:pt x="3269" y="14028"/>
                  </a:lnTo>
                  <a:lnTo>
                    <a:pt x="3319" y="14040"/>
                  </a:lnTo>
                  <a:lnTo>
                    <a:pt x="3368" y="14048"/>
                  </a:lnTo>
                  <a:lnTo>
                    <a:pt x="3418" y="14055"/>
                  </a:lnTo>
                  <a:lnTo>
                    <a:pt x="3469" y="14059"/>
                  </a:lnTo>
                  <a:lnTo>
                    <a:pt x="3521" y="14060"/>
                  </a:lnTo>
                  <a:lnTo>
                    <a:pt x="12574" y="14060"/>
                  </a:lnTo>
                  <a:lnTo>
                    <a:pt x="12626" y="14059"/>
                  </a:lnTo>
                  <a:lnTo>
                    <a:pt x="12677" y="14055"/>
                  </a:lnTo>
                  <a:lnTo>
                    <a:pt x="12727" y="14048"/>
                  </a:lnTo>
                  <a:lnTo>
                    <a:pt x="12776" y="14040"/>
                  </a:lnTo>
                  <a:lnTo>
                    <a:pt x="12826" y="14028"/>
                  </a:lnTo>
                  <a:lnTo>
                    <a:pt x="12873" y="14015"/>
                  </a:lnTo>
                  <a:lnTo>
                    <a:pt x="12920" y="13999"/>
                  </a:lnTo>
                  <a:lnTo>
                    <a:pt x="12966" y="13981"/>
                  </a:lnTo>
                  <a:lnTo>
                    <a:pt x="13010" y="13961"/>
                  </a:lnTo>
                  <a:lnTo>
                    <a:pt x="13054" y="13938"/>
                  </a:lnTo>
                  <a:lnTo>
                    <a:pt x="13095" y="13914"/>
                  </a:lnTo>
                  <a:lnTo>
                    <a:pt x="13137" y="13888"/>
                  </a:lnTo>
                  <a:lnTo>
                    <a:pt x="13176" y="13860"/>
                  </a:lnTo>
                  <a:lnTo>
                    <a:pt x="13214" y="13831"/>
                  </a:lnTo>
                  <a:lnTo>
                    <a:pt x="13250" y="13799"/>
                  </a:lnTo>
                  <a:lnTo>
                    <a:pt x="13285" y="13766"/>
                  </a:lnTo>
                  <a:lnTo>
                    <a:pt x="13319" y="13731"/>
                  </a:lnTo>
                  <a:lnTo>
                    <a:pt x="13351" y="13694"/>
                  </a:lnTo>
                  <a:lnTo>
                    <a:pt x="13380" y="13656"/>
                  </a:lnTo>
                  <a:lnTo>
                    <a:pt x="13408" y="13617"/>
                  </a:lnTo>
                  <a:lnTo>
                    <a:pt x="13434" y="13576"/>
                  </a:lnTo>
                  <a:lnTo>
                    <a:pt x="13458" y="13535"/>
                  </a:lnTo>
                  <a:lnTo>
                    <a:pt x="13481" y="13491"/>
                  </a:lnTo>
                  <a:lnTo>
                    <a:pt x="13501" y="13446"/>
                  </a:lnTo>
                  <a:lnTo>
                    <a:pt x="13519" y="13401"/>
                  </a:lnTo>
                  <a:lnTo>
                    <a:pt x="13535" y="13354"/>
                  </a:lnTo>
                  <a:lnTo>
                    <a:pt x="13548" y="13307"/>
                  </a:lnTo>
                  <a:lnTo>
                    <a:pt x="13560" y="13258"/>
                  </a:lnTo>
                  <a:lnTo>
                    <a:pt x="13568" y="13208"/>
                  </a:lnTo>
                  <a:lnTo>
                    <a:pt x="13575" y="13158"/>
                  </a:lnTo>
                  <a:lnTo>
                    <a:pt x="13579" y="13107"/>
                  </a:lnTo>
                  <a:lnTo>
                    <a:pt x="13580" y="13056"/>
                  </a:lnTo>
                  <a:lnTo>
                    <a:pt x="13580" y="6895"/>
                  </a:lnTo>
                  <a:lnTo>
                    <a:pt x="13609" y="6911"/>
                  </a:lnTo>
                  <a:lnTo>
                    <a:pt x="13639" y="6927"/>
                  </a:lnTo>
                  <a:lnTo>
                    <a:pt x="13669" y="6941"/>
                  </a:lnTo>
                  <a:lnTo>
                    <a:pt x="13699" y="6954"/>
                  </a:lnTo>
                  <a:lnTo>
                    <a:pt x="13730" y="6966"/>
                  </a:lnTo>
                  <a:lnTo>
                    <a:pt x="13761" y="6977"/>
                  </a:lnTo>
                  <a:lnTo>
                    <a:pt x="13792" y="6987"/>
                  </a:lnTo>
                  <a:lnTo>
                    <a:pt x="13824" y="6996"/>
                  </a:lnTo>
                  <a:lnTo>
                    <a:pt x="13856" y="7004"/>
                  </a:lnTo>
                  <a:lnTo>
                    <a:pt x="13888" y="7011"/>
                  </a:lnTo>
                  <a:lnTo>
                    <a:pt x="13920" y="7017"/>
                  </a:lnTo>
                  <a:lnTo>
                    <a:pt x="13952" y="7021"/>
                  </a:lnTo>
                  <a:lnTo>
                    <a:pt x="13985" y="7025"/>
                  </a:lnTo>
                  <a:lnTo>
                    <a:pt x="14018" y="7028"/>
                  </a:lnTo>
                  <a:lnTo>
                    <a:pt x="14050" y="7029"/>
                  </a:lnTo>
                  <a:lnTo>
                    <a:pt x="14083" y="7030"/>
                  </a:lnTo>
                  <a:lnTo>
                    <a:pt x="14124" y="7029"/>
                  </a:lnTo>
                  <a:lnTo>
                    <a:pt x="14166" y="7027"/>
                  </a:lnTo>
                  <a:lnTo>
                    <a:pt x="14207" y="7022"/>
                  </a:lnTo>
                  <a:lnTo>
                    <a:pt x="14247" y="7016"/>
                  </a:lnTo>
                  <a:lnTo>
                    <a:pt x="14288" y="7009"/>
                  </a:lnTo>
                  <a:lnTo>
                    <a:pt x="14329" y="7000"/>
                  </a:lnTo>
                  <a:lnTo>
                    <a:pt x="14370" y="6989"/>
                  </a:lnTo>
                  <a:lnTo>
                    <a:pt x="14410" y="6976"/>
                  </a:lnTo>
                  <a:lnTo>
                    <a:pt x="14437" y="6966"/>
                  </a:lnTo>
                  <a:lnTo>
                    <a:pt x="14464" y="6956"/>
                  </a:lnTo>
                  <a:lnTo>
                    <a:pt x="14492" y="6944"/>
                  </a:lnTo>
                  <a:lnTo>
                    <a:pt x="14518" y="6932"/>
                  </a:lnTo>
                  <a:lnTo>
                    <a:pt x="14544" y="6919"/>
                  </a:lnTo>
                  <a:lnTo>
                    <a:pt x="14569" y="6905"/>
                  </a:lnTo>
                  <a:lnTo>
                    <a:pt x="14594" y="6890"/>
                  </a:lnTo>
                  <a:lnTo>
                    <a:pt x="14619" y="6875"/>
                  </a:lnTo>
                  <a:lnTo>
                    <a:pt x="14643" y="6860"/>
                  </a:lnTo>
                  <a:lnTo>
                    <a:pt x="14667" y="6844"/>
                  </a:lnTo>
                  <a:lnTo>
                    <a:pt x="14690" y="6827"/>
                  </a:lnTo>
                  <a:lnTo>
                    <a:pt x="14713" y="6809"/>
                  </a:lnTo>
                  <a:lnTo>
                    <a:pt x="14735" y="6791"/>
                  </a:lnTo>
                  <a:lnTo>
                    <a:pt x="14756" y="6772"/>
                  </a:lnTo>
                  <a:lnTo>
                    <a:pt x="14777" y="6753"/>
                  </a:lnTo>
                  <a:lnTo>
                    <a:pt x="14797" y="6733"/>
                  </a:lnTo>
                  <a:lnTo>
                    <a:pt x="14817" y="6713"/>
                  </a:lnTo>
                  <a:lnTo>
                    <a:pt x="14837" y="6692"/>
                  </a:lnTo>
                  <a:lnTo>
                    <a:pt x="14856" y="6669"/>
                  </a:lnTo>
                  <a:lnTo>
                    <a:pt x="14874" y="6647"/>
                  </a:lnTo>
                  <a:lnTo>
                    <a:pt x="14891" y="6624"/>
                  </a:lnTo>
                  <a:lnTo>
                    <a:pt x="14908" y="6601"/>
                  </a:lnTo>
                  <a:lnTo>
                    <a:pt x="14924" y="6577"/>
                  </a:lnTo>
                  <a:lnTo>
                    <a:pt x="14939" y="6553"/>
                  </a:lnTo>
                  <a:lnTo>
                    <a:pt x="14954" y="6529"/>
                  </a:lnTo>
                  <a:lnTo>
                    <a:pt x="14968" y="6504"/>
                  </a:lnTo>
                  <a:lnTo>
                    <a:pt x="14981" y="6478"/>
                  </a:lnTo>
                  <a:lnTo>
                    <a:pt x="14995" y="6452"/>
                  </a:lnTo>
                  <a:lnTo>
                    <a:pt x="15006" y="6425"/>
                  </a:lnTo>
                  <a:lnTo>
                    <a:pt x="15017" y="6398"/>
                  </a:lnTo>
                  <a:lnTo>
                    <a:pt x="15028" y="6371"/>
                  </a:lnTo>
                  <a:lnTo>
                    <a:pt x="15038" y="6344"/>
                  </a:lnTo>
                  <a:lnTo>
                    <a:pt x="16044" y="3331"/>
                  </a:lnTo>
                  <a:lnTo>
                    <a:pt x="16055" y="3293"/>
                  </a:lnTo>
                  <a:lnTo>
                    <a:pt x="16065" y="3256"/>
                  </a:lnTo>
                  <a:lnTo>
                    <a:pt x="16074" y="3218"/>
                  </a:lnTo>
                  <a:lnTo>
                    <a:pt x="16081" y="3180"/>
                  </a:lnTo>
                  <a:lnTo>
                    <a:pt x="16087" y="3141"/>
                  </a:lnTo>
                  <a:lnTo>
                    <a:pt x="16091" y="3103"/>
                  </a:lnTo>
                  <a:lnTo>
                    <a:pt x="16094" y="3065"/>
                  </a:lnTo>
                  <a:lnTo>
                    <a:pt x="16095" y="3027"/>
                  </a:lnTo>
                  <a:lnTo>
                    <a:pt x="16095" y="2989"/>
                  </a:lnTo>
                  <a:lnTo>
                    <a:pt x="16093" y="2952"/>
                  </a:lnTo>
                  <a:lnTo>
                    <a:pt x="16090" y="2913"/>
                  </a:lnTo>
                  <a:lnTo>
                    <a:pt x="16086" y="2876"/>
                  </a:lnTo>
                  <a:lnTo>
                    <a:pt x="16080" y="2839"/>
                  </a:lnTo>
                  <a:lnTo>
                    <a:pt x="16073" y="2802"/>
                  </a:lnTo>
                  <a:lnTo>
                    <a:pt x="16064" y="2765"/>
                  </a:lnTo>
                  <a:lnTo>
                    <a:pt x="16054" y="2729"/>
                  </a:lnTo>
                  <a:lnTo>
                    <a:pt x="16043" y="2692"/>
                  </a:lnTo>
                  <a:lnTo>
                    <a:pt x="16030" y="2657"/>
                  </a:lnTo>
                  <a:lnTo>
                    <a:pt x="16016" y="2622"/>
                  </a:lnTo>
                  <a:lnTo>
                    <a:pt x="16000" y="2588"/>
                  </a:lnTo>
                  <a:lnTo>
                    <a:pt x="15983" y="2554"/>
                  </a:lnTo>
                  <a:lnTo>
                    <a:pt x="15966" y="2521"/>
                  </a:lnTo>
                  <a:lnTo>
                    <a:pt x="15947" y="2488"/>
                  </a:lnTo>
                  <a:lnTo>
                    <a:pt x="15926" y="2455"/>
                  </a:lnTo>
                  <a:lnTo>
                    <a:pt x="15904" y="2424"/>
                  </a:lnTo>
                  <a:lnTo>
                    <a:pt x="15882" y="2393"/>
                  </a:lnTo>
                  <a:lnTo>
                    <a:pt x="15858" y="2364"/>
                  </a:lnTo>
                  <a:lnTo>
                    <a:pt x="15831" y="2335"/>
                  </a:lnTo>
                  <a:lnTo>
                    <a:pt x="15805" y="2307"/>
                  </a:lnTo>
                  <a:lnTo>
                    <a:pt x="15777" y="2280"/>
                  </a:lnTo>
                  <a:lnTo>
                    <a:pt x="15748" y="2254"/>
                  </a:lnTo>
                  <a:lnTo>
                    <a:pt x="15718" y="222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46" name="îṩļîḋè">
              <a:extLst>
                <a:ext uri="{FF2B5EF4-FFF2-40B4-BE49-F238E27FC236}">
                  <a16:creationId xmlns:a16="http://schemas.microsoft.com/office/drawing/2014/main" id="{BD40D062-BAF3-4EBC-9425-6494044D8B03}"/>
                </a:ext>
              </a:extLst>
            </p:cNvPr>
            <p:cNvSpPr/>
            <p:nvPr/>
          </p:nvSpPr>
          <p:spPr bwMode="auto">
            <a:xfrm>
              <a:off x="8065458" y="169433"/>
              <a:ext cx="344793" cy="215594"/>
            </a:xfrm>
            <a:custGeom>
              <a:avLst/>
              <a:gdLst>
                <a:gd name="T0" fmla="*/ 13020 w 16095"/>
                <a:gd name="T1" fmla="*/ 8973 h 10072"/>
                <a:gd name="T2" fmla="*/ 12851 w 16095"/>
                <a:gd name="T3" fmla="*/ 9064 h 10072"/>
                <a:gd name="T4" fmla="*/ 3118 w 16095"/>
                <a:gd name="T5" fmla="*/ 9014 h 10072"/>
                <a:gd name="T6" fmla="*/ 3021 w 16095"/>
                <a:gd name="T7" fmla="*/ 8851 h 10072"/>
                <a:gd name="T8" fmla="*/ 1042 w 16095"/>
                <a:gd name="T9" fmla="*/ 5660 h 10072"/>
                <a:gd name="T10" fmla="*/ 1195 w 16095"/>
                <a:gd name="T11" fmla="*/ 5548 h 10072"/>
                <a:gd name="T12" fmla="*/ 10059 w 16095"/>
                <a:gd name="T13" fmla="*/ 5540 h 10072"/>
                <a:gd name="T14" fmla="*/ 14935 w 16095"/>
                <a:gd name="T15" fmla="*/ 5560 h 10072"/>
                <a:gd name="T16" fmla="*/ 15069 w 16095"/>
                <a:gd name="T17" fmla="*/ 5694 h 10072"/>
                <a:gd name="T18" fmla="*/ 7182 w 16095"/>
                <a:gd name="T19" fmla="*/ 2122 h 10072"/>
                <a:gd name="T20" fmla="*/ 5328 w 16095"/>
                <a:gd name="T21" fmla="*/ 3305 h 10072"/>
                <a:gd name="T22" fmla="*/ 4445 w 16095"/>
                <a:gd name="T23" fmla="*/ 3756 h 10072"/>
                <a:gd name="T24" fmla="*/ 6257 w 16095"/>
                <a:gd name="T25" fmla="*/ 1933 h 10072"/>
                <a:gd name="T26" fmla="*/ 8794 w 16095"/>
                <a:gd name="T27" fmla="*/ 1580 h 10072"/>
                <a:gd name="T28" fmla="*/ 10814 w 16095"/>
                <a:gd name="T29" fmla="*/ 2621 h 10072"/>
                <a:gd name="T30" fmla="*/ 11031 w 16095"/>
                <a:gd name="T31" fmla="*/ 3674 h 10072"/>
                <a:gd name="T32" fmla="*/ 9553 w 16095"/>
                <a:gd name="T33" fmla="*/ 2355 h 10072"/>
                <a:gd name="T34" fmla="*/ 7924 w 16095"/>
                <a:gd name="T35" fmla="*/ 4034 h 10072"/>
                <a:gd name="T36" fmla="*/ 7322 w 16095"/>
                <a:gd name="T37" fmla="*/ 4219 h 10072"/>
                <a:gd name="T38" fmla="*/ 6384 w 16095"/>
                <a:gd name="T39" fmla="*/ 4423 h 10072"/>
                <a:gd name="T40" fmla="*/ 7147 w 16095"/>
                <a:gd name="T41" fmla="*/ 3742 h 10072"/>
                <a:gd name="T42" fmla="*/ 8185 w 16095"/>
                <a:gd name="T43" fmla="*/ 3530 h 10072"/>
                <a:gd name="T44" fmla="*/ 9169 w 16095"/>
                <a:gd name="T45" fmla="*/ 3874 h 10072"/>
                <a:gd name="T46" fmla="*/ 9138 w 16095"/>
                <a:gd name="T47" fmla="*/ 4504 h 10072"/>
                <a:gd name="T48" fmla="*/ 8633 w 16095"/>
                <a:gd name="T49" fmla="*/ 4150 h 10072"/>
                <a:gd name="T50" fmla="*/ 10349 w 16095"/>
                <a:gd name="T51" fmla="*/ 4532 h 10072"/>
                <a:gd name="T52" fmla="*/ 9438 w 16095"/>
                <a:gd name="T53" fmla="*/ 3445 h 10072"/>
                <a:gd name="T54" fmla="*/ 8048 w 16095"/>
                <a:gd name="T55" fmla="*/ 3022 h 10072"/>
                <a:gd name="T56" fmla="*/ 6657 w 16095"/>
                <a:gd name="T57" fmla="*/ 3445 h 10072"/>
                <a:gd name="T58" fmla="*/ 5746 w 16095"/>
                <a:gd name="T59" fmla="*/ 4532 h 10072"/>
                <a:gd name="T60" fmla="*/ 6200 w 16095"/>
                <a:gd name="T61" fmla="*/ 3155 h 10072"/>
                <a:gd name="T62" fmla="*/ 7925 w 16095"/>
                <a:gd name="T63" fmla="*/ 2521 h 10072"/>
                <a:gd name="T64" fmla="*/ 9633 w 16095"/>
                <a:gd name="T65" fmla="*/ 2970 h 10072"/>
                <a:gd name="T66" fmla="*/ 10773 w 16095"/>
                <a:gd name="T67" fmla="*/ 4245 h 10072"/>
                <a:gd name="T68" fmla="*/ 10173 w 16095"/>
                <a:gd name="T69" fmla="*/ 978 h 10072"/>
                <a:gd name="T70" fmla="*/ 12273 w 16095"/>
                <a:gd name="T71" fmla="*/ 2821 h 10072"/>
                <a:gd name="T72" fmla="*/ 11152 w 16095"/>
                <a:gd name="T73" fmla="*/ 2245 h 10072"/>
                <a:gd name="T74" fmla="*/ 8885 w 16095"/>
                <a:gd name="T75" fmla="*/ 1085 h 10072"/>
                <a:gd name="T76" fmla="*/ 5992 w 16095"/>
                <a:gd name="T77" fmla="*/ 1502 h 10072"/>
                <a:gd name="T78" fmla="*/ 3945 w 16095"/>
                <a:gd name="T79" fmla="*/ 3628 h 10072"/>
                <a:gd name="T80" fmla="*/ 3980 w 16095"/>
                <a:gd name="T81" fmla="*/ 2580 h 10072"/>
                <a:gd name="T82" fmla="*/ 6731 w 16095"/>
                <a:gd name="T83" fmla="*/ 679 h 10072"/>
                <a:gd name="T84" fmla="*/ 13476 w 16095"/>
                <a:gd name="T85" fmla="*/ 4487 h 10072"/>
                <a:gd name="T86" fmla="*/ 15974 w 16095"/>
                <a:gd name="T87" fmla="*/ 2845 h 10072"/>
                <a:gd name="T88" fmla="*/ 16094 w 16095"/>
                <a:gd name="T89" fmla="*/ 2486 h 10072"/>
                <a:gd name="T90" fmla="*/ 15919 w 16095"/>
                <a:gd name="T91" fmla="*/ 2135 h 10072"/>
                <a:gd name="T92" fmla="*/ 15560 w 16095"/>
                <a:gd name="T93" fmla="*/ 2015 h 10072"/>
                <a:gd name="T94" fmla="*/ 12347 w 16095"/>
                <a:gd name="T95" fmla="*/ 2066 h 10072"/>
                <a:gd name="T96" fmla="*/ 9834 w 16095"/>
                <a:gd name="T97" fmla="*/ 297 h 10072"/>
                <a:gd name="T98" fmla="*/ 6349 w 16095"/>
                <a:gd name="T99" fmla="*/ 267 h 10072"/>
                <a:gd name="T100" fmla="*/ 3404 w 16095"/>
                <a:gd name="T101" fmla="*/ 2536 h 10072"/>
                <a:gd name="T102" fmla="*/ 884 w 16095"/>
                <a:gd name="T103" fmla="*/ 4589 h 10072"/>
                <a:gd name="T104" fmla="*/ 152 w 16095"/>
                <a:gd name="T105" fmla="*/ 5192 h 10072"/>
                <a:gd name="T106" fmla="*/ 9 w 16095"/>
                <a:gd name="T107" fmla="*/ 5929 h 10072"/>
                <a:gd name="T108" fmla="*/ 123 w 16095"/>
                <a:gd name="T109" fmla="*/ 6274 h 10072"/>
                <a:gd name="T110" fmla="*/ 2038 w 16095"/>
                <a:gd name="T111" fmla="*/ 9067 h 10072"/>
                <a:gd name="T112" fmla="*/ 2567 w 16095"/>
                <a:gd name="T113" fmla="*/ 9856 h 10072"/>
                <a:gd name="T114" fmla="*/ 13017 w 16095"/>
                <a:gd name="T115" fmla="*/ 10058 h 10072"/>
                <a:gd name="T116" fmla="*/ 13833 w 16095"/>
                <a:gd name="T117" fmla="*/ 9566 h 10072"/>
                <a:gd name="T118" fmla="*/ 15856 w 16095"/>
                <a:gd name="T119" fmla="*/ 6443 h 10072"/>
                <a:gd name="T120" fmla="*/ 16037 w 16095"/>
                <a:gd name="T121" fmla="*/ 6128 h 10072"/>
                <a:gd name="T122" fmla="*/ 16093 w 16095"/>
                <a:gd name="T123" fmla="*/ 5727 h 10072"/>
                <a:gd name="T124" fmla="*/ 15683 w 16095"/>
                <a:gd name="T125" fmla="*/ 4860 h 100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95" h="10072">
                  <a:moveTo>
                    <a:pt x="13077" y="8058"/>
                  </a:moveTo>
                  <a:lnTo>
                    <a:pt x="13077" y="8813"/>
                  </a:lnTo>
                  <a:lnTo>
                    <a:pt x="13076" y="8826"/>
                  </a:lnTo>
                  <a:lnTo>
                    <a:pt x="13076" y="8838"/>
                  </a:lnTo>
                  <a:lnTo>
                    <a:pt x="13074" y="8851"/>
                  </a:lnTo>
                  <a:lnTo>
                    <a:pt x="13072" y="8863"/>
                  </a:lnTo>
                  <a:lnTo>
                    <a:pt x="13069" y="8875"/>
                  </a:lnTo>
                  <a:lnTo>
                    <a:pt x="13066" y="8888"/>
                  </a:lnTo>
                  <a:lnTo>
                    <a:pt x="13062" y="8900"/>
                  </a:lnTo>
                  <a:lnTo>
                    <a:pt x="13057" y="8911"/>
                  </a:lnTo>
                  <a:lnTo>
                    <a:pt x="13052" y="8922"/>
                  </a:lnTo>
                  <a:lnTo>
                    <a:pt x="13047" y="8933"/>
                  </a:lnTo>
                  <a:lnTo>
                    <a:pt x="13041" y="8944"/>
                  </a:lnTo>
                  <a:lnTo>
                    <a:pt x="13034" y="8954"/>
                  </a:lnTo>
                  <a:lnTo>
                    <a:pt x="13027" y="8964"/>
                  </a:lnTo>
                  <a:lnTo>
                    <a:pt x="13020" y="8973"/>
                  </a:lnTo>
                  <a:lnTo>
                    <a:pt x="13012" y="8982"/>
                  </a:lnTo>
                  <a:lnTo>
                    <a:pt x="13003" y="8991"/>
                  </a:lnTo>
                  <a:lnTo>
                    <a:pt x="12995" y="8999"/>
                  </a:lnTo>
                  <a:lnTo>
                    <a:pt x="12986" y="9007"/>
                  </a:lnTo>
                  <a:lnTo>
                    <a:pt x="12976" y="9014"/>
                  </a:lnTo>
                  <a:lnTo>
                    <a:pt x="12967" y="9021"/>
                  </a:lnTo>
                  <a:lnTo>
                    <a:pt x="12955" y="9029"/>
                  </a:lnTo>
                  <a:lnTo>
                    <a:pt x="12945" y="9035"/>
                  </a:lnTo>
                  <a:lnTo>
                    <a:pt x="12934" y="9040"/>
                  </a:lnTo>
                  <a:lnTo>
                    <a:pt x="12923" y="9045"/>
                  </a:lnTo>
                  <a:lnTo>
                    <a:pt x="12912" y="9050"/>
                  </a:lnTo>
                  <a:lnTo>
                    <a:pt x="12900" y="9054"/>
                  </a:lnTo>
                  <a:lnTo>
                    <a:pt x="12888" y="9057"/>
                  </a:lnTo>
                  <a:lnTo>
                    <a:pt x="12876" y="9060"/>
                  </a:lnTo>
                  <a:lnTo>
                    <a:pt x="12864" y="9062"/>
                  </a:lnTo>
                  <a:lnTo>
                    <a:pt x="12851" y="9064"/>
                  </a:lnTo>
                  <a:lnTo>
                    <a:pt x="12839" y="9065"/>
                  </a:lnTo>
                  <a:lnTo>
                    <a:pt x="12826" y="9065"/>
                  </a:lnTo>
                  <a:lnTo>
                    <a:pt x="3269" y="9065"/>
                  </a:lnTo>
                  <a:lnTo>
                    <a:pt x="3256" y="9065"/>
                  </a:lnTo>
                  <a:lnTo>
                    <a:pt x="3243" y="9064"/>
                  </a:lnTo>
                  <a:lnTo>
                    <a:pt x="3231" y="9062"/>
                  </a:lnTo>
                  <a:lnTo>
                    <a:pt x="3219" y="9060"/>
                  </a:lnTo>
                  <a:lnTo>
                    <a:pt x="3206" y="9057"/>
                  </a:lnTo>
                  <a:lnTo>
                    <a:pt x="3195" y="9054"/>
                  </a:lnTo>
                  <a:lnTo>
                    <a:pt x="3183" y="9050"/>
                  </a:lnTo>
                  <a:lnTo>
                    <a:pt x="3172" y="9045"/>
                  </a:lnTo>
                  <a:lnTo>
                    <a:pt x="3161" y="9040"/>
                  </a:lnTo>
                  <a:lnTo>
                    <a:pt x="3150" y="9035"/>
                  </a:lnTo>
                  <a:lnTo>
                    <a:pt x="3139" y="9029"/>
                  </a:lnTo>
                  <a:lnTo>
                    <a:pt x="3128" y="9021"/>
                  </a:lnTo>
                  <a:lnTo>
                    <a:pt x="3118" y="9014"/>
                  </a:lnTo>
                  <a:lnTo>
                    <a:pt x="3109" y="9007"/>
                  </a:lnTo>
                  <a:lnTo>
                    <a:pt x="3100" y="8999"/>
                  </a:lnTo>
                  <a:lnTo>
                    <a:pt x="3091" y="8991"/>
                  </a:lnTo>
                  <a:lnTo>
                    <a:pt x="3083" y="8982"/>
                  </a:lnTo>
                  <a:lnTo>
                    <a:pt x="3075" y="8973"/>
                  </a:lnTo>
                  <a:lnTo>
                    <a:pt x="3068" y="8964"/>
                  </a:lnTo>
                  <a:lnTo>
                    <a:pt x="3061" y="8954"/>
                  </a:lnTo>
                  <a:lnTo>
                    <a:pt x="3054" y="8944"/>
                  </a:lnTo>
                  <a:lnTo>
                    <a:pt x="3048" y="8933"/>
                  </a:lnTo>
                  <a:lnTo>
                    <a:pt x="3043" y="8922"/>
                  </a:lnTo>
                  <a:lnTo>
                    <a:pt x="3038" y="8911"/>
                  </a:lnTo>
                  <a:lnTo>
                    <a:pt x="3033" y="8900"/>
                  </a:lnTo>
                  <a:lnTo>
                    <a:pt x="3029" y="8888"/>
                  </a:lnTo>
                  <a:lnTo>
                    <a:pt x="3026" y="8875"/>
                  </a:lnTo>
                  <a:lnTo>
                    <a:pt x="3023" y="8863"/>
                  </a:lnTo>
                  <a:lnTo>
                    <a:pt x="3021" y="8851"/>
                  </a:lnTo>
                  <a:lnTo>
                    <a:pt x="3019" y="8838"/>
                  </a:lnTo>
                  <a:lnTo>
                    <a:pt x="3018" y="8826"/>
                  </a:lnTo>
                  <a:lnTo>
                    <a:pt x="3018" y="8813"/>
                  </a:lnTo>
                  <a:lnTo>
                    <a:pt x="3018" y="8058"/>
                  </a:lnTo>
                  <a:lnTo>
                    <a:pt x="1006" y="5791"/>
                  </a:lnTo>
                  <a:lnTo>
                    <a:pt x="1006" y="5778"/>
                  </a:lnTo>
                  <a:lnTo>
                    <a:pt x="1007" y="5765"/>
                  </a:lnTo>
                  <a:lnTo>
                    <a:pt x="1009" y="5753"/>
                  </a:lnTo>
                  <a:lnTo>
                    <a:pt x="1011" y="5741"/>
                  </a:lnTo>
                  <a:lnTo>
                    <a:pt x="1014" y="5729"/>
                  </a:lnTo>
                  <a:lnTo>
                    <a:pt x="1017" y="5717"/>
                  </a:lnTo>
                  <a:lnTo>
                    <a:pt x="1021" y="5705"/>
                  </a:lnTo>
                  <a:lnTo>
                    <a:pt x="1026" y="5694"/>
                  </a:lnTo>
                  <a:lnTo>
                    <a:pt x="1031" y="5683"/>
                  </a:lnTo>
                  <a:lnTo>
                    <a:pt x="1036" y="5672"/>
                  </a:lnTo>
                  <a:lnTo>
                    <a:pt x="1042" y="5660"/>
                  </a:lnTo>
                  <a:lnTo>
                    <a:pt x="1049" y="5650"/>
                  </a:lnTo>
                  <a:lnTo>
                    <a:pt x="1056" y="5641"/>
                  </a:lnTo>
                  <a:lnTo>
                    <a:pt x="1063" y="5631"/>
                  </a:lnTo>
                  <a:lnTo>
                    <a:pt x="1071" y="5622"/>
                  </a:lnTo>
                  <a:lnTo>
                    <a:pt x="1079" y="5613"/>
                  </a:lnTo>
                  <a:lnTo>
                    <a:pt x="1088" y="5605"/>
                  </a:lnTo>
                  <a:lnTo>
                    <a:pt x="1097" y="5597"/>
                  </a:lnTo>
                  <a:lnTo>
                    <a:pt x="1107" y="5590"/>
                  </a:lnTo>
                  <a:lnTo>
                    <a:pt x="1117" y="5583"/>
                  </a:lnTo>
                  <a:lnTo>
                    <a:pt x="1127" y="5576"/>
                  </a:lnTo>
                  <a:lnTo>
                    <a:pt x="1138" y="5570"/>
                  </a:lnTo>
                  <a:lnTo>
                    <a:pt x="1149" y="5565"/>
                  </a:lnTo>
                  <a:lnTo>
                    <a:pt x="1160" y="5560"/>
                  </a:lnTo>
                  <a:lnTo>
                    <a:pt x="1171" y="5555"/>
                  </a:lnTo>
                  <a:lnTo>
                    <a:pt x="1183" y="5551"/>
                  </a:lnTo>
                  <a:lnTo>
                    <a:pt x="1195" y="5548"/>
                  </a:lnTo>
                  <a:lnTo>
                    <a:pt x="1207" y="5545"/>
                  </a:lnTo>
                  <a:lnTo>
                    <a:pt x="1219" y="5543"/>
                  </a:lnTo>
                  <a:lnTo>
                    <a:pt x="1231" y="5541"/>
                  </a:lnTo>
                  <a:lnTo>
                    <a:pt x="1244" y="5541"/>
                  </a:lnTo>
                  <a:lnTo>
                    <a:pt x="1257" y="5540"/>
                  </a:lnTo>
                  <a:lnTo>
                    <a:pt x="2515" y="5540"/>
                  </a:lnTo>
                  <a:lnTo>
                    <a:pt x="3018" y="5540"/>
                  </a:lnTo>
                  <a:lnTo>
                    <a:pt x="3521" y="5540"/>
                  </a:lnTo>
                  <a:lnTo>
                    <a:pt x="4024" y="5540"/>
                  </a:lnTo>
                  <a:lnTo>
                    <a:pt x="4527" y="5540"/>
                  </a:lnTo>
                  <a:lnTo>
                    <a:pt x="5030" y="5540"/>
                  </a:lnTo>
                  <a:lnTo>
                    <a:pt x="5533" y="5540"/>
                  </a:lnTo>
                  <a:lnTo>
                    <a:pt x="6036" y="5540"/>
                  </a:lnTo>
                  <a:lnTo>
                    <a:pt x="6539" y="5540"/>
                  </a:lnTo>
                  <a:lnTo>
                    <a:pt x="9556" y="5540"/>
                  </a:lnTo>
                  <a:lnTo>
                    <a:pt x="10059" y="5540"/>
                  </a:lnTo>
                  <a:lnTo>
                    <a:pt x="10562" y="5540"/>
                  </a:lnTo>
                  <a:lnTo>
                    <a:pt x="11065" y="5540"/>
                  </a:lnTo>
                  <a:lnTo>
                    <a:pt x="11568" y="5540"/>
                  </a:lnTo>
                  <a:lnTo>
                    <a:pt x="12071" y="5540"/>
                  </a:lnTo>
                  <a:lnTo>
                    <a:pt x="12574" y="5540"/>
                  </a:lnTo>
                  <a:lnTo>
                    <a:pt x="13077" y="5540"/>
                  </a:lnTo>
                  <a:lnTo>
                    <a:pt x="13580" y="5540"/>
                  </a:lnTo>
                  <a:lnTo>
                    <a:pt x="14838" y="5540"/>
                  </a:lnTo>
                  <a:lnTo>
                    <a:pt x="14851" y="5541"/>
                  </a:lnTo>
                  <a:lnTo>
                    <a:pt x="14863" y="5541"/>
                  </a:lnTo>
                  <a:lnTo>
                    <a:pt x="14876" y="5543"/>
                  </a:lnTo>
                  <a:lnTo>
                    <a:pt x="14888" y="5545"/>
                  </a:lnTo>
                  <a:lnTo>
                    <a:pt x="14900" y="5548"/>
                  </a:lnTo>
                  <a:lnTo>
                    <a:pt x="14912" y="5551"/>
                  </a:lnTo>
                  <a:lnTo>
                    <a:pt x="14924" y="5555"/>
                  </a:lnTo>
                  <a:lnTo>
                    <a:pt x="14935" y="5560"/>
                  </a:lnTo>
                  <a:lnTo>
                    <a:pt x="14946" y="5565"/>
                  </a:lnTo>
                  <a:lnTo>
                    <a:pt x="14957" y="5570"/>
                  </a:lnTo>
                  <a:lnTo>
                    <a:pt x="14967" y="5576"/>
                  </a:lnTo>
                  <a:lnTo>
                    <a:pt x="14977" y="5583"/>
                  </a:lnTo>
                  <a:lnTo>
                    <a:pt x="14987" y="5590"/>
                  </a:lnTo>
                  <a:lnTo>
                    <a:pt x="14998" y="5597"/>
                  </a:lnTo>
                  <a:lnTo>
                    <a:pt x="15007" y="5605"/>
                  </a:lnTo>
                  <a:lnTo>
                    <a:pt x="15015" y="5613"/>
                  </a:lnTo>
                  <a:lnTo>
                    <a:pt x="15024" y="5622"/>
                  </a:lnTo>
                  <a:lnTo>
                    <a:pt x="15032" y="5631"/>
                  </a:lnTo>
                  <a:lnTo>
                    <a:pt x="15039" y="5641"/>
                  </a:lnTo>
                  <a:lnTo>
                    <a:pt x="15046" y="5650"/>
                  </a:lnTo>
                  <a:lnTo>
                    <a:pt x="15052" y="5660"/>
                  </a:lnTo>
                  <a:lnTo>
                    <a:pt x="15058" y="5672"/>
                  </a:lnTo>
                  <a:lnTo>
                    <a:pt x="15064" y="5683"/>
                  </a:lnTo>
                  <a:lnTo>
                    <a:pt x="15069" y="5694"/>
                  </a:lnTo>
                  <a:lnTo>
                    <a:pt x="15073" y="5705"/>
                  </a:lnTo>
                  <a:lnTo>
                    <a:pt x="15077" y="5717"/>
                  </a:lnTo>
                  <a:lnTo>
                    <a:pt x="15081" y="5729"/>
                  </a:lnTo>
                  <a:lnTo>
                    <a:pt x="15084" y="5741"/>
                  </a:lnTo>
                  <a:lnTo>
                    <a:pt x="15086" y="5753"/>
                  </a:lnTo>
                  <a:lnTo>
                    <a:pt x="15087" y="5765"/>
                  </a:lnTo>
                  <a:lnTo>
                    <a:pt x="15088" y="5778"/>
                  </a:lnTo>
                  <a:lnTo>
                    <a:pt x="15089" y="5791"/>
                  </a:lnTo>
                  <a:lnTo>
                    <a:pt x="13077" y="8058"/>
                  </a:lnTo>
                  <a:close/>
                  <a:moveTo>
                    <a:pt x="8048" y="2014"/>
                  </a:moveTo>
                  <a:lnTo>
                    <a:pt x="7899" y="2017"/>
                  </a:lnTo>
                  <a:lnTo>
                    <a:pt x="7752" y="2027"/>
                  </a:lnTo>
                  <a:lnTo>
                    <a:pt x="7607" y="2042"/>
                  </a:lnTo>
                  <a:lnTo>
                    <a:pt x="7463" y="2063"/>
                  </a:lnTo>
                  <a:lnTo>
                    <a:pt x="7321" y="2090"/>
                  </a:lnTo>
                  <a:lnTo>
                    <a:pt x="7182" y="2122"/>
                  </a:lnTo>
                  <a:lnTo>
                    <a:pt x="7045" y="2160"/>
                  </a:lnTo>
                  <a:lnTo>
                    <a:pt x="6910" y="2204"/>
                  </a:lnTo>
                  <a:lnTo>
                    <a:pt x="6777" y="2252"/>
                  </a:lnTo>
                  <a:lnTo>
                    <a:pt x="6647" y="2306"/>
                  </a:lnTo>
                  <a:lnTo>
                    <a:pt x="6519" y="2364"/>
                  </a:lnTo>
                  <a:lnTo>
                    <a:pt x="6395" y="2428"/>
                  </a:lnTo>
                  <a:lnTo>
                    <a:pt x="6273" y="2496"/>
                  </a:lnTo>
                  <a:lnTo>
                    <a:pt x="6154" y="2569"/>
                  </a:lnTo>
                  <a:lnTo>
                    <a:pt x="6040" y="2646"/>
                  </a:lnTo>
                  <a:lnTo>
                    <a:pt x="5927" y="2729"/>
                  </a:lnTo>
                  <a:lnTo>
                    <a:pt x="5818" y="2814"/>
                  </a:lnTo>
                  <a:lnTo>
                    <a:pt x="5713" y="2905"/>
                  </a:lnTo>
                  <a:lnTo>
                    <a:pt x="5611" y="2998"/>
                  </a:lnTo>
                  <a:lnTo>
                    <a:pt x="5514" y="3097"/>
                  </a:lnTo>
                  <a:lnTo>
                    <a:pt x="5419" y="3199"/>
                  </a:lnTo>
                  <a:lnTo>
                    <a:pt x="5328" y="3305"/>
                  </a:lnTo>
                  <a:lnTo>
                    <a:pt x="5243" y="3413"/>
                  </a:lnTo>
                  <a:lnTo>
                    <a:pt x="5161" y="3525"/>
                  </a:lnTo>
                  <a:lnTo>
                    <a:pt x="5084" y="3641"/>
                  </a:lnTo>
                  <a:lnTo>
                    <a:pt x="5011" y="3760"/>
                  </a:lnTo>
                  <a:lnTo>
                    <a:pt x="4943" y="3882"/>
                  </a:lnTo>
                  <a:lnTo>
                    <a:pt x="4879" y="4007"/>
                  </a:lnTo>
                  <a:lnTo>
                    <a:pt x="4820" y="4135"/>
                  </a:lnTo>
                  <a:lnTo>
                    <a:pt x="4767" y="4265"/>
                  </a:lnTo>
                  <a:lnTo>
                    <a:pt x="4719" y="4397"/>
                  </a:lnTo>
                  <a:lnTo>
                    <a:pt x="4675" y="4532"/>
                  </a:lnTo>
                  <a:lnTo>
                    <a:pt x="4156" y="4532"/>
                  </a:lnTo>
                  <a:lnTo>
                    <a:pt x="4201" y="4371"/>
                  </a:lnTo>
                  <a:lnTo>
                    <a:pt x="4253" y="4213"/>
                  </a:lnTo>
                  <a:lnTo>
                    <a:pt x="4311" y="4057"/>
                  </a:lnTo>
                  <a:lnTo>
                    <a:pt x="4375" y="3905"/>
                  </a:lnTo>
                  <a:lnTo>
                    <a:pt x="4445" y="3756"/>
                  </a:lnTo>
                  <a:lnTo>
                    <a:pt x="4522" y="3610"/>
                  </a:lnTo>
                  <a:lnTo>
                    <a:pt x="4603" y="3468"/>
                  </a:lnTo>
                  <a:lnTo>
                    <a:pt x="4690" y="3329"/>
                  </a:lnTo>
                  <a:lnTo>
                    <a:pt x="4782" y="3194"/>
                  </a:lnTo>
                  <a:lnTo>
                    <a:pt x="4881" y="3063"/>
                  </a:lnTo>
                  <a:lnTo>
                    <a:pt x="4983" y="2937"/>
                  </a:lnTo>
                  <a:lnTo>
                    <a:pt x="5091" y="2814"/>
                  </a:lnTo>
                  <a:lnTo>
                    <a:pt x="5204" y="2696"/>
                  </a:lnTo>
                  <a:lnTo>
                    <a:pt x="5320" y="2583"/>
                  </a:lnTo>
                  <a:lnTo>
                    <a:pt x="5442" y="2475"/>
                  </a:lnTo>
                  <a:lnTo>
                    <a:pt x="5568" y="2371"/>
                  </a:lnTo>
                  <a:lnTo>
                    <a:pt x="5699" y="2273"/>
                  </a:lnTo>
                  <a:lnTo>
                    <a:pt x="5832" y="2180"/>
                  </a:lnTo>
                  <a:lnTo>
                    <a:pt x="5970" y="2092"/>
                  </a:lnTo>
                  <a:lnTo>
                    <a:pt x="6112" y="2009"/>
                  </a:lnTo>
                  <a:lnTo>
                    <a:pt x="6257" y="1933"/>
                  </a:lnTo>
                  <a:lnTo>
                    <a:pt x="6406" y="1862"/>
                  </a:lnTo>
                  <a:lnTo>
                    <a:pt x="6558" y="1798"/>
                  </a:lnTo>
                  <a:lnTo>
                    <a:pt x="6713" y="1739"/>
                  </a:lnTo>
                  <a:lnTo>
                    <a:pt x="6872" y="1687"/>
                  </a:lnTo>
                  <a:lnTo>
                    <a:pt x="7032" y="1642"/>
                  </a:lnTo>
                  <a:lnTo>
                    <a:pt x="7195" y="1602"/>
                  </a:lnTo>
                  <a:lnTo>
                    <a:pt x="7361" y="1570"/>
                  </a:lnTo>
                  <a:lnTo>
                    <a:pt x="7529" y="1544"/>
                  </a:lnTo>
                  <a:lnTo>
                    <a:pt x="7700" y="1526"/>
                  </a:lnTo>
                  <a:lnTo>
                    <a:pt x="7872" y="1515"/>
                  </a:lnTo>
                  <a:lnTo>
                    <a:pt x="8048" y="1511"/>
                  </a:lnTo>
                  <a:lnTo>
                    <a:pt x="8199" y="1514"/>
                  </a:lnTo>
                  <a:lnTo>
                    <a:pt x="8350" y="1522"/>
                  </a:lnTo>
                  <a:lnTo>
                    <a:pt x="8500" y="1536"/>
                  </a:lnTo>
                  <a:lnTo>
                    <a:pt x="8648" y="1556"/>
                  </a:lnTo>
                  <a:lnTo>
                    <a:pt x="8794" y="1580"/>
                  </a:lnTo>
                  <a:lnTo>
                    <a:pt x="8939" y="1611"/>
                  </a:lnTo>
                  <a:lnTo>
                    <a:pt x="9081" y="1646"/>
                  </a:lnTo>
                  <a:lnTo>
                    <a:pt x="9221" y="1686"/>
                  </a:lnTo>
                  <a:lnTo>
                    <a:pt x="9359" y="1731"/>
                  </a:lnTo>
                  <a:lnTo>
                    <a:pt x="9495" y="1782"/>
                  </a:lnTo>
                  <a:lnTo>
                    <a:pt x="9629" y="1836"/>
                  </a:lnTo>
                  <a:lnTo>
                    <a:pt x="9760" y="1896"/>
                  </a:lnTo>
                  <a:lnTo>
                    <a:pt x="9888" y="1959"/>
                  </a:lnTo>
                  <a:lnTo>
                    <a:pt x="10014" y="2028"/>
                  </a:lnTo>
                  <a:lnTo>
                    <a:pt x="10138" y="2100"/>
                  </a:lnTo>
                  <a:lnTo>
                    <a:pt x="10259" y="2177"/>
                  </a:lnTo>
                  <a:lnTo>
                    <a:pt x="10375" y="2258"/>
                  </a:lnTo>
                  <a:lnTo>
                    <a:pt x="10490" y="2343"/>
                  </a:lnTo>
                  <a:lnTo>
                    <a:pt x="10602" y="2431"/>
                  </a:lnTo>
                  <a:lnTo>
                    <a:pt x="10709" y="2524"/>
                  </a:lnTo>
                  <a:lnTo>
                    <a:pt x="10814" y="2621"/>
                  </a:lnTo>
                  <a:lnTo>
                    <a:pt x="10915" y="2720"/>
                  </a:lnTo>
                  <a:lnTo>
                    <a:pt x="11013" y="2824"/>
                  </a:lnTo>
                  <a:lnTo>
                    <a:pt x="11108" y="2931"/>
                  </a:lnTo>
                  <a:lnTo>
                    <a:pt x="11197" y="3041"/>
                  </a:lnTo>
                  <a:lnTo>
                    <a:pt x="11284" y="3154"/>
                  </a:lnTo>
                  <a:lnTo>
                    <a:pt x="11366" y="3270"/>
                  </a:lnTo>
                  <a:lnTo>
                    <a:pt x="11445" y="3390"/>
                  </a:lnTo>
                  <a:lnTo>
                    <a:pt x="11519" y="3512"/>
                  </a:lnTo>
                  <a:lnTo>
                    <a:pt x="11589" y="3637"/>
                  </a:lnTo>
                  <a:lnTo>
                    <a:pt x="11655" y="3765"/>
                  </a:lnTo>
                  <a:lnTo>
                    <a:pt x="11716" y="3895"/>
                  </a:lnTo>
                  <a:lnTo>
                    <a:pt x="11268" y="4120"/>
                  </a:lnTo>
                  <a:lnTo>
                    <a:pt x="11214" y="4006"/>
                  </a:lnTo>
                  <a:lnTo>
                    <a:pt x="11157" y="3893"/>
                  </a:lnTo>
                  <a:lnTo>
                    <a:pt x="11095" y="3782"/>
                  </a:lnTo>
                  <a:lnTo>
                    <a:pt x="11031" y="3674"/>
                  </a:lnTo>
                  <a:lnTo>
                    <a:pt x="10963" y="3569"/>
                  </a:lnTo>
                  <a:lnTo>
                    <a:pt x="10890" y="3466"/>
                  </a:lnTo>
                  <a:lnTo>
                    <a:pt x="10815" y="3366"/>
                  </a:lnTo>
                  <a:lnTo>
                    <a:pt x="10735" y="3268"/>
                  </a:lnTo>
                  <a:lnTo>
                    <a:pt x="10653" y="3175"/>
                  </a:lnTo>
                  <a:lnTo>
                    <a:pt x="10567" y="3083"/>
                  </a:lnTo>
                  <a:lnTo>
                    <a:pt x="10479" y="2995"/>
                  </a:lnTo>
                  <a:lnTo>
                    <a:pt x="10387" y="2910"/>
                  </a:lnTo>
                  <a:lnTo>
                    <a:pt x="10292" y="2828"/>
                  </a:lnTo>
                  <a:lnTo>
                    <a:pt x="10194" y="2750"/>
                  </a:lnTo>
                  <a:lnTo>
                    <a:pt x="10095" y="2675"/>
                  </a:lnTo>
                  <a:lnTo>
                    <a:pt x="9991" y="2604"/>
                  </a:lnTo>
                  <a:lnTo>
                    <a:pt x="9885" y="2535"/>
                  </a:lnTo>
                  <a:lnTo>
                    <a:pt x="9777" y="2471"/>
                  </a:lnTo>
                  <a:lnTo>
                    <a:pt x="9666" y="2411"/>
                  </a:lnTo>
                  <a:lnTo>
                    <a:pt x="9553" y="2355"/>
                  </a:lnTo>
                  <a:lnTo>
                    <a:pt x="9438" y="2301"/>
                  </a:lnTo>
                  <a:lnTo>
                    <a:pt x="9321" y="2254"/>
                  </a:lnTo>
                  <a:lnTo>
                    <a:pt x="9201" y="2210"/>
                  </a:lnTo>
                  <a:lnTo>
                    <a:pt x="9080" y="2170"/>
                  </a:lnTo>
                  <a:lnTo>
                    <a:pt x="8956" y="2134"/>
                  </a:lnTo>
                  <a:lnTo>
                    <a:pt x="8831" y="2103"/>
                  </a:lnTo>
                  <a:lnTo>
                    <a:pt x="8704" y="2076"/>
                  </a:lnTo>
                  <a:lnTo>
                    <a:pt x="8576" y="2055"/>
                  </a:lnTo>
                  <a:lnTo>
                    <a:pt x="8446" y="2037"/>
                  </a:lnTo>
                  <a:lnTo>
                    <a:pt x="8314" y="2025"/>
                  </a:lnTo>
                  <a:lnTo>
                    <a:pt x="8181" y="2017"/>
                  </a:lnTo>
                  <a:lnTo>
                    <a:pt x="8048" y="2014"/>
                  </a:lnTo>
                  <a:close/>
                  <a:moveTo>
                    <a:pt x="8048" y="4029"/>
                  </a:moveTo>
                  <a:lnTo>
                    <a:pt x="8006" y="4030"/>
                  </a:lnTo>
                  <a:lnTo>
                    <a:pt x="7965" y="4031"/>
                  </a:lnTo>
                  <a:lnTo>
                    <a:pt x="7924" y="4034"/>
                  </a:lnTo>
                  <a:lnTo>
                    <a:pt x="7884" y="4038"/>
                  </a:lnTo>
                  <a:lnTo>
                    <a:pt x="7843" y="4043"/>
                  </a:lnTo>
                  <a:lnTo>
                    <a:pt x="7803" y="4049"/>
                  </a:lnTo>
                  <a:lnTo>
                    <a:pt x="7764" y="4056"/>
                  </a:lnTo>
                  <a:lnTo>
                    <a:pt x="7725" y="4064"/>
                  </a:lnTo>
                  <a:lnTo>
                    <a:pt x="7685" y="4074"/>
                  </a:lnTo>
                  <a:lnTo>
                    <a:pt x="7647" y="4084"/>
                  </a:lnTo>
                  <a:lnTo>
                    <a:pt x="7609" y="4095"/>
                  </a:lnTo>
                  <a:lnTo>
                    <a:pt x="7572" y="4107"/>
                  </a:lnTo>
                  <a:lnTo>
                    <a:pt x="7534" y="4120"/>
                  </a:lnTo>
                  <a:lnTo>
                    <a:pt x="7498" y="4135"/>
                  </a:lnTo>
                  <a:lnTo>
                    <a:pt x="7462" y="4150"/>
                  </a:lnTo>
                  <a:lnTo>
                    <a:pt x="7426" y="4166"/>
                  </a:lnTo>
                  <a:lnTo>
                    <a:pt x="7391" y="4183"/>
                  </a:lnTo>
                  <a:lnTo>
                    <a:pt x="7356" y="4200"/>
                  </a:lnTo>
                  <a:lnTo>
                    <a:pt x="7322" y="4219"/>
                  </a:lnTo>
                  <a:lnTo>
                    <a:pt x="7289" y="4238"/>
                  </a:lnTo>
                  <a:lnTo>
                    <a:pt x="7256" y="4258"/>
                  </a:lnTo>
                  <a:lnTo>
                    <a:pt x="7223" y="4280"/>
                  </a:lnTo>
                  <a:lnTo>
                    <a:pt x="7190" y="4302"/>
                  </a:lnTo>
                  <a:lnTo>
                    <a:pt x="7159" y="4325"/>
                  </a:lnTo>
                  <a:lnTo>
                    <a:pt x="7129" y="4348"/>
                  </a:lnTo>
                  <a:lnTo>
                    <a:pt x="7098" y="4372"/>
                  </a:lnTo>
                  <a:lnTo>
                    <a:pt x="7069" y="4397"/>
                  </a:lnTo>
                  <a:lnTo>
                    <a:pt x="7040" y="4423"/>
                  </a:lnTo>
                  <a:lnTo>
                    <a:pt x="7011" y="4449"/>
                  </a:lnTo>
                  <a:lnTo>
                    <a:pt x="6984" y="4476"/>
                  </a:lnTo>
                  <a:lnTo>
                    <a:pt x="6957" y="4504"/>
                  </a:lnTo>
                  <a:lnTo>
                    <a:pt x="6931" y="4532"/>
                  </a:lnTo>
                  <a:lnTo>
                    <a:pt x="6315" y="4532"/>
                  </a:lnTo>
                  <a:lnTo>
                    <a:pt x="6348" y="4477"/>
                  </a:lnTo>
                  <a:lnTo>
                    <a:pt x="6384" y="4423"/>
                  </a:lnTo>
                  <a:lnTo>
                    <a:pt x="6421" y="4369"/>
                  </a:lnTo>
                  <a:lnTo>
                    <a:pt x="6459" y="4317"/>
                  </a:lnTo>
                  <a:lnTo>
                    <a:pt x="6499" y="4267"/>
                  </a:lnTo>
                  <a:lnTo>
                    <a:pt x="6541" y="4217"/>
                  </a:lnTo>
                  <a:lnTo>
                    <a:pt x="6584" y="4169"/>
                  </a:lnTo>
                  <a:lnTo>
                    <a:pt x="6629" y="4122"/>
                  </a:lnTo>
                  <a:lnTo>
                    <a:pt x="6674" y="4077"/>
                  </a:lnTo>
                  <a:lnTo>
                    <a:pt x="6723" y="4034"/>
                  </a:lnTo>
                  <a:lnTo>
                    <a:pt x="6771" y="3992"/>
                  </a:lnTo>
                  <a:lnTo>
                    <a:pt x="6821" y="3950"/>
                  </a:lnTo>
                  <a:lnTo>
                    <a:pt x="6873" y="3912"/>
                  </a:lnTo>
                  <a:lnTo>
                    <a:pt x="6925" y="3874"/>
                  </a:lnTo>
                  <a:lnTo>
                    <a:pt x="6979" y="3838"/>
                  </a:lnTo>
                  <a:lnTo>
                    <a:pt x="7035" y="3804"/>
                  </a:lnTo>
                  <a:lnTo>
                    <a:pt x="7090" y="3772"/>
                  </a:lnTo>
                  <a:lnTo>
                    <a:pt x="7147" y="3742"/>
                  </a:lnTo>
                  <a:lnTo>
                    <a:pt x="7207" y="3713"/>
                  </a:lnTo>
                  <a:lnTo>
                    <a:pt x="7266" y="3686"/>
                  </a:lnTo>
                  <a:lnTo>
                    <a:pt x="7326" y="3661"/>
                  </a:lnTo>
                  <a:lnTo>
                    <a:pt x="7388" y="3638"/>
                  </a:lnTo>
                  <a:lnTo>
                    <a:pt x="7450" y="3618"/>
                  </a:lnTo>
                  <a:lnTo>
                    <a:pt x="7513" y="3599"/>
                  </a:lnTo>
                  <a:lnTo>
                    <a:pt x="7577" y="3582"/>
                  </a:lnTo>
                  <a:lnTo>
                    <a:pt x="7642" y="3567"/>
                  </a:lnTo>
                  <a:lnTo>
                    <a:pt x="7707" y="3554"/>
                  </a:lnTo>
                  <a:lnTo>
                    <a:pt x="7774" y="3544"/>
                  </a:lnTo>
                  <a:lnTo>
                    <a:pt x="7841" y="3536"/>
                  </a:lnTo>
                  <a:lnTo>
                    <a:pt x="7910" y="3530"/>
                  </a:lnTo>
                  <a:lnTo>
                    <a:pt x="7978" y="3526"/>
                  </a:lnTo>
                  <a:lnTo>
                    <a:pt x="8048" y="3525"/>
                  </a:lnTo>
                  <a:lnTo>
                    <a:pt x="8117" y="3526"/>
                  </a:lnTo>
                  <a:lnTo>
                    <a:pt x="8185" y="3530"/>
                  </a:lnTo>
                  <a:lnTo>
                    <a:pt x="8253" y="3536"/>
                  </a:lnTo>
                  <a:lnTo>
                    <a:pt x="8320" y="3544"/>
                  </a:lnTo>
                  <a:lnTo>
                    <a:pt x="8387" y="3554"/>
                  </a:lnTo>
                  <a:lnTo>
                    <a:pt x="8453" y="3567"/>
                  </a:lnTo>
                  <a:lnTo>
                    <a:pt x="8517" y="3582"/>
                  </a:lnTo>
                  <a:lnTo>
                    <a:pt x="8582" y="3599"/>
                  </a:lnTo>
                  <a:lnTo>
                    <a:pt x="8645" y="3618"/>
                  </a:lnTo>
                  <a:lnTo>
                    <a:pt x="8707" y="3638"/>
                  </a:lnTo>
                  <a:lnTo>
                    <a:pt x="8769" y="3661"/>
                  </a:lnTo>
                  <a:lnTo>
                    <a:pt x="8829" y="3686"/>
                  </a:lnTo>
                  <a:lnTo>
                    <a:pt x="8888" y="3713"/>
                  </a:lnTo>
                  <a:lnTo>
                    <a:pt x="8947" y="3742"/>
                  </a:lnTo>
                  <a:lnTo>
                    <a:pt x="9004" y="3772"/>
                  </a:lnTo>
                  <a:lnTo>
                    <a:pt x="9060" y="3804"/>
                  </a:lnTo>
                  <a:lnTo>
                    <a:pt x="9116" y="3838"/>
                  </a:lnTo>
                  <a:lnTo>
                    <a:pt x="9169" y="3874"/>
                  </a:lnTo>
                  <a:lnTo>
                    <a:pt x="9222" y="3912"/>
                  </a:lnTo>
                  <a:lnTo>
                    <a:pt x="9274" y="3950"/>
                  </a:lnTo>
                  <a:lnTo>
                    <a:pt x="9324" y="3992"/>
                  </a:lnTo>
                  <a:lnTo>
                    <a:pt x="9372" y="4034"/>
                  </a:lnTo>
                  <a:lnTo>
                    <a:pt x="9420" y="4077"/>
                  </a:lnTo>
                  <a:lnTo>
                    <a:pt x="9466" y="4122"/>
                  </a:lnTo>
                  <a:lnTo>
                    <a:pt x="9510" y="4169"/>
                  </a:lnTo>
                  <a:lnTo>
                    <a:pt x="9553" y="4217"/>
                  </a:lnTo>
                  <a:lnTo>
                    <a:pt x="9596" y="4267"/>
                  </a:lnTo>
                  <a:lnTo>
                    <a:pt x="9635" y="4317"/>
                  </a:lnTo>
                  <a:lnTo>
                    <a:pt x="9674" y="4369"/>
                  </a:lnTo>
                  <a:lnTo>
                    <a:pt x="9710" y="4423"/>
                  </a:lnTo>
                  <a:lnTo>
                    <a:pt x="9747" y="4477"/>
                  </a:lnTo>
                  <a:lnTo>
                    <a:pt x="9780" y="4532"/>
                  </a:lnTo>
                  <a:lnTo>
                    <a:pt x="9164" y="4532"/>
                  </a:lnTo>
                  <a:lnTo>
                    <a:pt x="9138" y="4504"/>
                  </a:lnTo>
                  <a:lnTo>
                    <a:pt x="9111" y="4476"/>
                  </a:lnTo>
                  <a:lnTo>
                    <a:pt x="9083" y="4449"/>
                  </a:lnTo>
                  <a:lnTo>
                    <a:pt x="9054" y="4423"/>
                  </a:lnTo>
                  <a:lnTo>
                    <a:pt x="9025" y="4397"/>
                  </a:lnTo>
                  <a:lnTo>
                    <a:pt x="8996" y="4372"/>
                  </a:lnTo>
                  <a:lnTo>
                    <a:pt x="8966" y="4348"/>
                  </a:lnTo>
                  <a:lnTo>
                    <a:pt x="8935" y="4325"/>
                  </a:lnTo>
                  <a:lnTo>
                    <a:pt x="8904" y="4302"/>
                  </a:lnTo>
                  <a:lnTo>
                    <a:pt x="8871" y="4280"/>
                  </a:lnTo>
                  <a:lnTo>
                    <a:pt x="8839" y="4258"/>
                  </a:lnTo>
                  <a:lnTo>
                    <a:pt x="8806" y="4238"/>
                  </a:lnTo>
                  <a:lnTo>
                    <a:pt x="8773" y="4219"/>
                  </a:lnTo>
                  <a:lnTo>
                    <a:pt x="8739" y="4200"/>
                  </a:lnTo>
                  <a:lnTo>
                    <a:pt x="8703" y="4183"/>
                  </a:lnTo>
                  <a:lnTo>
                    <a:pt x="8668" y="4166"/>
                  </a:lnTo>
                  <a:lnTo>
                    <a:pt x="8633" y="4150"/>
                  </a:lnTo>
                  <a:lnTo>
                    <a:pt x="8597" y="4135"/>
                  </a:lnTo>
                  <a:lnTo>
                    <a:pt x="8560" y="4120"/>
                  </a:lnTo>
                  <a:lnTo>
                    <a:pt x="8523" y="4107"/>
                  </a:lnTo>
                  <a:lnTo>
                    <a:pt x="8485" y="4095"/>
                  </a:lnTo>
                  <a:lnTo>
                    <a:pt x="8447" y="4084"/>
                  </a:lnTo>
                  <a:lnTo>
                    <a:pt x="8409" y="4074"/>
                  </a:lnTo>
                  <a:lnTo>
                    <a:pt x="8370" y="4064"/>
                  </a:lnTo>
                  <a:lnTo>
                    <a:pt x="8331" y="4056"/>
                  </a:lnTo>
                  <a:lnTo>
                    <a:pt x="8292" y="4049"/>
                  </a:lnTo>
                  <a:lnTo>
                    <a:pt x="8252" y="4043"/>
                  </a:lnTo>
                  <a:lnTo>
                    <a:pt x="8211" y="4038"/>
                  </a:lnTo>
                  <a:lnTo>
                    <a:pt x="8171" y="4034"/>
                  </a:lnTo>
                  <a:lnTo>
                    <a:pt x="8130" y="4031"/>
                  </a:lnTo>
                  <a:lnTo>
                    <a:pt x="8089" y="4030"/>
                  </a:lnTo>
                  <a:lnTo>
                    <a:pt x="8048" y="4029"/>
                  </a:lnTo>
                  <a:close/>
                  <a:moveTo>
                    <a:pt x="10349" y="4532"/>
                  </a:moveTo>
                  <a:lnTo>
                    <a:pt x="10311" y="4450"/>
                  </a:lnTo>
                  <a:lnTo>
                    <a:pt x="10271" y="4369"/>
                  </a:lnTo>
                  <a:lnTo>
                    <a:pt x="10226" y="4290"/>
                  </a:lnTo>
                  <a:lnTo>
                    <a:pt x="10180" y="4213"/>
                  </a:lnTo>
                  <a:lnTo>
                    <a:pt x="10132" y="4138"/>
                  </a:lnTo>
                  <a:lnTo>
                    <a:pt x="10079" y="4063"/>
                  </a:lnTo>
                  <a:lnTo>
                    <a:pt x="10026" y="3992"/>
                  </a:lnTo>
                  <a:lnTo>
                    <a:pt x="9970" y="3922"/>
                  </a:lnTo>
                  <a:lnTo>
                    <a:pt x="9910" y="3855"/>
                  </a:lnTo>
                  <a:lnTo>
                    <a:pt x="9850" y="3789"/>
                  </a:lnTo>
                  <a:lnTo>
                    <a:pt x="9787" y="3726"/>
                  </a:lnTo>
                  <a:lnTo>
                    <a:pt x="9720" y="3664"/>
                  </a:lnTo>
                  <a:lnTo>
                    <a:pt x="9653" y="3606"/>
                  </a:lnTo>
                  <a:lnTo>
                    <a:pt x="9584" y="3549"/>
                  </a:lnTo>
                  <a:lnTo>
                    <a:pt x="9511" y="3496"/>
                  </a:lnTo>
                  <a:lnTo>
                    <a:pt x="9438" y="3445"/>
                  </a:lnTo>
                  <a:lnTo>
                    <a:pt x="9362" y="3395"/>
                  </a:lnTo>
                  <a:lnTo>
                    <a:pt x="9285" y="3350"/>
                  </a:lnTo>
                  <a:lnTo>
                    <a:pt x="9205" y="3307"/>
                  </a:lnTo>
                  <a:lnTo>
                    <a:pt x="9125" y="3265"/>
                  </a:lnTo>
                  <a:lnTo>
                    <a:pt x="9042" y="3228"/>
                  </a:lnTo>
                  <a:lnTo>
                    <a:pt x="8959" y="3194"/>
                  </a:lnTo>
                  <a:lnTo>
                    <a:pt x="8873" y="3162"/>
                  </a:lnTo>
                  <a:lnTo>
                    <a:pt x="8786" y="3133"/>
                  </a:lnTo>
                  <a:lnTo>
                    <a:pt x="8697" y="3107"/>
                  </a:lnTo>
                  <a:lnTo>
                    <a:pt x="8608" y="3085"/>
                  </a:lnTo>
                  <a:lnTo>
                    <a:pt x="8517" y="3066"/>
                  </a:lnTo>
                  <a:lnTo>
                    <a:pt x="8426" y="3051"/>
                  </a:lnTo>
                  <a:lnTo>
                    <a:pt x="8332" y="3038"/>
                  </a:lnTo>
                  <a:lnTo>
                    <a:pt x="8239" y="3029"/>
                  </a:lnTo>
                  <a:lnTo>
                    <a:pt x="8143" y="3024"/>
                  </a:lnTo>
                  <a:lnTo>
                    <a:pt x="8048" y="3022"/>
                  </a:lnTo>
                  <a:lnTo>
                    <a:pt x="7951" y="3024"/>
                  </a:lnTo>
                  <a:lnTo>
                    <a:pt x="7856" y="3029"/>
                  </a:lnTo>
                  <a:lnTo>
                    <a:pt x="7762" y="3038"/>
                  </a:lnTo>
                  <a:lnTo>
                    <a:pt x="7669" y="3051"/>
                  </a:lnTo>
                  <a:lnTo>
                    <a:pt x="7577" y="3066"/>
                  </a:lnTo>
                  <a:lnTo>
                    <a:pt x="7486" y="3085"/>
                  </a:lnTo>
                  <a:lnTo>
                    <a:pt x="7397" y="3107"/>
                  </a:lnTo>
                  <a:lnTo>
                    <a:pt x="7308" y="3133"/>
                  </a:lnTo>
                  <a:lnTo>
                    <a:pt x="7222" y="3162"/>
                  </a:lnTo>
                  <a:lnTo>
                    <a:pt x="7136" y="3194"/>
                  </a:lnTo>
                  <a:lnTo>
                    <a:pt x="7053" y="3228"/>
                  </a:lnTo>
                  <a:lnTo>
                    <a:pt x="6970" y="3265"/>
                  </a:lnTo>
                  <a:lnTo>
                    <a:pt x="6889" y="3307"/>
                  </a:lnTo>
                  <a:lnTo>
                    <a:pt x="6810" y="3350"/>
                  </a:lnTo>
                  <a:lnTo>
                    <a:pt x="6733" y="3395"/>
                  </a:lnTo>
                  <a:lnTo>
                    <a:pt x="6657" y="3445"/>
                  </a:lnTo>
                  <a:lnTo>
                    <a:pt x="6583" y="3496"/>
                  </a:lnTo>
                  <a:lnTo>
                    <a:pt x="6511" y="3549"/>
                  </a:lnTo>
                  <a:lnTo>
                    <a:pt x="6442" y="3606"/>
                  </a:lnTo>
                  <a:lnTo>
                    <a:pt x="6374" y="3664"/>
                  </a:lnTo>
                  <a:lnTo>
                    <a:pt x="6308" y="3726"/>
                  </a:lnTo>
                  <a:lnTo>
                    <a:pt x="6245" y="3789"/>
                  </a:lnTo>
                  <a:lnTo>
                    <a:pt x="6183" y="3855"/>
                  </a:lnTo>
                  <a:lnTo>
                    <a:pt x="6125" y="3922"/>
                  </a:lnTo>
                  <a:lnTo>
                    <a:pt x="6069" y="3992"/>
                  </a:lnTo>
                  <a:lnTo>
                    <a:pt x="6015" y="4063"/>
                  </a:lnTo>
                  <a:lnTo>
                    <a:pt x="5963" y="4138"/>
                  </a:lnTo>
                  <a:lnTo>
                    <a:pt x="5914" y="4213"/>
                  </a:lnTo>
                  <a:lnTo>
                    <a:pt x="5868" y="4290"/>
                  </a:lnTo>
                  <a:lnTo>
                    <a:pt x="5824" y="4369"/>
                  </a:lnTo>
                  <a:lnTo>
                    <a:pt x="5784" y="4450"/>
                  </a:lnTo>
                  <a:lnTo>
                    <a:pt x="5746" y="4532"/>
                  </a:lnTo>
                  <a:lnTo>
                    <a:pt x="5206" y="4532"/>
                  </a:lnTo>
                  <a:lnTo>
                    <a:pt x="5247" y="4424"/>
                  </a:lnTo>
                  <a:lnTo>
                    <a:pt x="5291" y="4317"/>
                  </a:lnTo>
                  <a:lnTo>
                    <a:pt x="5341" y="4212"/>
                  </a:lnTo>
                  <a:lnTo>
                    <a:pt x="5393" y="4109"/>
                  </a:lnTo>
                  <a:lnTo>
                    <a:pt x="5450" y="4010"/>
                  </a:lnTo>
                  <a:lnTo>
                    <a:pt x="5510" y="3912"/>
                  </a:lnTo>
                  <a:lnTo>
                    <a:pt x="5574" y="3816"/>
                  </a:lnTo>
                  <a:lnTo>
                    <a:pt x="5640" y="3724"/>
                  </a:lnTo>
                  <a:lnTo>
                    <a:pt x="5711" y="3634"/>
                  </a:lnTo>
                  <a:lnTo>
                    <a:pt x="5785" y="3546"/>
                  </a:lnTo>
                  <a:lnTo>
                    <a:pt x="5862" y="3462"/>
                  </a:lnTo>
                  <a:lnTo>
                    <a:pt x="5942" y="3380"/>
                  </a:lnTo>
                  <a:lnTo>
                    <a:pt x="6025" y="3302"/>
                  </a:lnTo>
                  <a:lnTo>
                    <a:pt x="6111" y="3227"/>
                  </a:lnTo>
                  <a:lnTo>
                    <a:pt x="6200" y="3155"/>
                  </a:lnTo>
                  <a:lnTo>
                    <a:pt x="6291" y="3086"/>
                  </a:lnTo>
                  <a:lnTo>
                    <a:pt x="6385" y="3021"/>
                  </a:lnTo>
                  <a:lnTo>
                    <a:pt x="6481" y="2959"/>
                  </a:lnTo>
                  <a:lnTo>
                    <a:pt x="6581" y="2901"/>
                  </a:lnTo>
                  <a:lnTo>
                    <a:pt x="6681" y="2846"/>
                  </a:lnTo>
                  <a:lnTo>
                    <a:pt x="6785" y="2796"/>
                  </a:lnTo>
                  <a:lnTo>
                    <a:pt x="6891" y="2750"/>
                  </a:lnTo>
                  <a:lnTo>
                    <a:pt x="6999" y="2706"/>
                  </a:lnTo>
                  <a:lnTo>
                    <a:pt x="7109" y="2668"/>
                  </a:lnTo>
                  <a:lnTo>
                    <a:pt x="7221" y="2634"/>
                  </a:lnTo>
                  <a:lnTo>
                    <a:pt x="7334" y="2604"/>
                  </a:lnTo>
                  <a:lnTo>
                    <a:pt x="7449" y="2578"/>
                  </a:lnTo>
                  <a:lnTo>
                    <a:pt x="7566" y="2556"/>
                  </a:lnTo>
                  <a:lnTo>
                    <a:pt x="7684" y="2540"/>
                  </a:lnTo>
                  <a:lnTo>
                    <a:pt x="7804" y="2528"/>
                  </a:lnTo>
                  <a:lnTo>
                    <a:pt x="7925" y="2521"/>
                  </a:lnTo>
                  <a:lnTo>
                    <a:pt x="8048" y="2518"/>
                  </a:lnTo>
                  <a:lnTo>
                    <a:pt x="8163" y="2520"/>
                  </a:lnTo>
                  <a:lnTo>
                    <a:pt x="8278" y="2527"/>
                  </a:lnTo>
                  <a:lnTo>
                    <a:pt x="8392" y="2538"/>
                  </a:lnTo>
                  <a:lnTo>
                    <a:pt x="8503" y="2552"/>
                  </a:lnTo>
                  <a:lnTo>
                    <a:pt x="8614" y="2571"/>
                  </a:lnTo>
                  <a:lnTo>
                    <a:pt x="8723" y="2595"/>
                  </a:lnTo>
                  <a:lnTo>
                    <a:pt x="8832" y="2622"/>
                  </a:lnTo>
                  <a:lnTo>
                    <a:pt x="8939" y="2653"/>
                  </a:lnTo>
                  <a:lnTo>
                    <a:pt x="9043" y="2687"/>
                  </a:lnTo>
                  <a:lnTo>
                    <a:pt x="9146" y="2726"/>
                  </a:lnTo>
                  <a:lnTo>
                    <a:pt x="9248" y="2768"/>
                  </a:lnTo>
                  <a:lnTo>
                    <a:pt x="9347" y="2813"/>
                  </a:lnTo>
                  <a:lnTo>
                    <a:pt x="9444" y="2862"/>
                  </a:lnTo>
                  <a:lnTo>
                    <a:pt x="9539" y="2915"/>
                  </a:lnTo>
                  <a:lnTo>
                    <a:pt x="9633" y="2970"/>
                  </a:lnTo>
                  <a:lnTo>
                    <a:pt x="9723" y="3029"/>
                  </a:lnTo>
                  <a:lnTo>
                    <a:pt x="9813" y="3091"/>
                  </a:lnTo>
                  <a:lnTo>
                    <a:pt x="9899" y="3157"/>
                  </a:lnTo>
                  <a:lnTo>
                    <a:pt x="9983" y="3224"/>
                  </a:lnTo>
                  <a:lnTo>
                    <a:pt x="10064" y="3296"/>
                  </a:lnTo>
                  <a:lnTo>
                    <a:pt x="10144" y="3369"/>
                  </a:lnTo>
                  <a:lnTo>
                    <a:pt x="10219" y="3446"/>
                  </a:lnTo>
                  <a:lnTo>
                    <a:pt x="10294" y="3525"/>
                  </a:lnTo>
                  <a:lnTo>
                    <a:pt x="10364" y="3607"/>
                  </a:lnTo>
                  <a:lnTo>
                    <a:pt x="10432" y="3690"/>
                  </a:lnTo>
                  <a:lnTo>
                    <a:pt x="10496" y="3778"/>
                  </a:lnTo>
                  <a:lnTo>
                    <a:pt x="10558" y="3867"/>
                  </a:lnTo>
                  <a:lnTo>
                    <a:pt x="10617" y="3958"/>
                  </a:lnTo>
                  <a:lnTo>
                    <a:pt x="10672" y="4052"/>
                  </a:lnTo>
                  <a:lnTo>
                    <a:pt x="10724" y="4148"/>
                  </a:lnTo>
                  <a:lnTo>
                    <a:pt x="10773" y="4245"/>
                  </a:lnTo>
                  <a:lnTo>
                    <a:pt x="10818" y="4345"/>
                  </a:lnTo>
                  <a:lnTo>
                    <a:pt x="10444" y="4532"/>
                  </a:lnTo>
                  <a:lnTo>
                    <a:pt x="10349" y="4532"/>
                  </a:lnTo>
                  <a:close/>
                  <a:moveTo>
                    <a:pt x="8048" y="504"/>
                  </a:moveTo>
                  <a:lnTo>
                    <a:pt x="8237" y="508"/>
                  </a:lnTo>
                  <a:lnTo>
                    <a:pt x="8424" y="518"/>
                  </a:lnTo>
                  <a:lnTo>
                    <a:pt x="8609" y="535"/>
                  </a:lnTo>
                  <a:lnTo>
                    <a:pt x="8793" y="559"/>
                  </a:lnTo>
                  <a:lnTo>
                    <a:pt x="8974" y="590"/>
                  </a:lnTo>
                  <a:lnTo>
                    <a:pt x="9153" y="627"/>
                  </a:lnTo>
                  <a:lnTo>
                    <a:pt x="9330" y="670"/>
                  </a:lnTo>
                  <a:lnTo>
                    <a:pt x="9504" y="720"/>
                  </a:lnTo>
                  <a:lnTo>
                    <a:pt x="9676" y="776"/>
                  </a:lnTo>
                  <a:lnTo>
                    <a:pt x="9844" y="837"/>
                  </a:lnTo>
                  <a:lnTo>
                    <a:pt x="10010" y="904"/>
                  </a:lnTo>
                  <a:lnTo>
                    <a:pt x="10173" y="978"/>
                  </a:lnTo>
                  <a:lnTo>
                    <a:pt x="10333" y="1057"/>
                  </a:lnTo>
                  <a:lnTo>
                    <a:pt x="10490" y="1140"/>
                  </a:lnTo>
                  <a:lnTo>
                    <a:pt x="10643" y="1230"/>
                  </a:lnTo>
                  <a:lnTo>
                    <a:pt x="10793" y="1324"/>
                  </a:lnTo>
                  <a:lnTo>
                    <a:pt x="10939" y="1424"/>
                  </a:lnTo>
                  <a:lnTo>
                    <a:pt x="11081" y="1529"/>
                  </a:lnTo>
                  <a:lnTo>
                    <a:pt x="11220" y="1639"/>
                  </a:lnTo>
                  <a:lnTo>
                    <a:pt x="11355" y="1754"/>
                  </a:lnTo>
                  <a:lnTo>
                    <a:pt x="11485" y="1872"/>
                  </a:lnTo>
                  <a:lnTo>
                    <a:pt x="11612" y="1995"/>
                  </a:lnTo>
                  <a:lnTo>
                    <a:pt x="11733" y="2123"/>
                  </a:lnTo>
                  <a:lnTo>
                    <a:pt x="11851" y="2255"/>
                  </a:lnTo>
                  <a:lnTo>
                    <a:pt x="11964" y="2390"/>
                  </a:lnTo>
                  <a:lnTo>
                    <a:pt x="12072" y="2530"/>
                  </a:lnTo>
                  <a:lnTo>
                    <a:pt x="12176" y="2674"/>
                  </a:lnTo>
                  <a:lnTo>
                    <a:pt x="12273" y="2821"/>
                  </a:lnTo>
                  <a:lnTo>
                    <a:pt x="12367" y="2972"/>
                  </a:lnTo>
                  <a:lnTo>
                    <a:pt x="12456" y="3126"/>
                  </a:lnTo>
                  <a:lnTo>
                    <a:pt x="12538" y="3285"/>
                  </a:lnTo>
                  <a:lnTo>
                    <a:pt x="12615" y="3446"/>
                  </a:lnTo>
                  <a:lnTo>
                    <a:pt x="12167" y="3669"/>
                  </a:lnTo>
                  <a:lnTo>
                    <a:pt x="12097" y="3523"/>
                  </a:lnTo>
                  <a:lnTo>
                    <a:pt x="12024" y="3381"/>
                  </a:lnTo>
                  <a:lnTo>
                    <a:pt x="11945" y="3241"/>
                  </a:lnTo>
                  <a:lnTo>
                    <a:pt x="11861" y="3104"/>
                  </a:lnTo>
                  <a:lnTo>
                    <a:pt x="11772" y="2971"/>
                  </a:lnTo>
                  <a:lnTo>
                    <a:pt x="11680" y="2841"/>
                  </a:lnTo>
                  <a:lnTo>
                    <a:pt x="11582" y="2714"/>
                  </a:lnTo>
                  <a:lnTo>
                    <a:pt x="11481" y="2592"/>
                  </a:lnTo>
                  <a:lnTo>
                    <a:pt x="11375" y="2473"/>
                  </a:lnTo>
                  <a:lnTo>
                    <a:pt x="11265" y="2357"/>
                  </a:lnTo>
                  <a:lnTo>
                    <a:pt x="11152" y="2245"/>
                  </a:lnTo>
                  <a:lnTo>
                    <a:pt x="11034" y="2137"/>
                  </a:lnTo>
                  <a:lnTo>
                    <a:pt x="10912" y="2035"/>
                  </a:lnTo>
                  <a:lnTo>
                    <a:pt x="10788" y="1935"/>
                  </a:lnTo>
                  <a:lnTo>
                    <a:pt x="10660" y="1840"/>
                  </a:lnTo>
                  <a:lnTo>
                    <a:pt x="10528" y="1751"/>
                  </a:lnTo>
                  <a:lnTo>
                    <a:pt x="10392" y="1665"/>
                  </a:lnTo>
                  <a:lnTo>
                    <a:pt x="10255" y="1583"/>
                  </a:lnTo>
                  <a:lnTo>
                    <a:pt x="10113" y="1508"/>
                  </a:lnTo>
                  <a:lnTo>
                    <a:pt x="9969" y="1436"/>
                  </a:lnTo>
                  <a:lnTo>
                    <a:pt x="9822" y="1370"/>
                  </a:lnTo>
                  <a:lnTo>
                    <a:pt x="9672" y="1309"/>
                  </a:lnTo>
                  <a:lnTo>
                    <a:pt x="9519" y="1253"/>
                  </a:lnTo>
                  <a:lnTo>
                    <a:pt x="9364" y="1203"/>
                  </a:lnTo>
                  <a:lnTo>
                    <a:pt x="9207" y="1158"/>
                  </a:lnTo>
                  <a:lnTo>
                    <a:pt x="9047" y="1119"/>
                  </a:lnTo>
                  <a:lnTo>
                    <a:pt x="8885" y="1085"/>
                  </a:lnTo>
                  <a:lnTo>
                    <a:pt x="8721" y="1058"/>
                  </a:lnTo>
                  <a:lnTo>
                    <a:pt x="8555" y="1035"/>
                  </a:lnTo>
                  <a:lnTo>
                    <a:pt x="8388" y="1020"/>
                  </a:lnTo>
                  <a:lnTo>
                    <a:pt x="8219" y="1010"/>
                  </a:lnTo>
                  <a:lnTo>
                    <a:pt x="8048" y="1007"/>
                  </a:lnTo>
                  <a:lnTo>
                    <a:pt x="7846" y="1012"/>
                  </a:lnTo>
                  <a:lnTo>
                    <a:pt x="7648" y="1025"/>
                  </a:lnTo>
                  <a:lnTo>
                    <a:pt x="7452" y="1047"/>
                  </a:lnTo>
                  <a:lnTo>
                    <a:pt x="7258" y="1077"/>
                  </a:lnTo>
                  <a:lnTo>
                    <a:pt x="7068" y="1114"/>
                  </a:lnTo>
                  <a:lnTo>
                    <a:pt x="6880" y="1160"/>
                  </a:lnTo>
                  <a:lnTo>
                    <a:pt x="6696" y="1214"/>
                  </a:lnTo>
                  <a:lnTo>
                    <a:pt x="6514" y="1274"/>
                  </a:lnTo>
                  <a:lnTo>
                    <a:pt x="6336" y="1343"/>
                  </a:lnTo>
                  <a:lnTo>
                    <a:pt x="6162" y="1419"/>
                  </a:lnTo>
                  <a:lnTo>
                    <a:pt x="5992" y="1502"/>
                  </a:lnTo>
                  <a:lnTo>
                    <a:pt x="5826" y="1590"/>
                  </a:lnTo>
                  <a:lnTo>
                    <a:pt x="5664" y="1687"/>
                  </a:lnTo>
                  <a:lnTo>
                    <a:pt x="5507" y="1790"/>
                  </a:lnTo>
                  <a:lnTo>
                    <a:pt x="5354" y="1899"/>
                  </a:lnTo>
                  <a:lnTo>
                    <a:pt x="5206" y="2013"/>
                  </a:lnTo>
                  <a:lnTo>
                    <a:pt x="5063" y="2134"/>
                  </a:lnTo>
                  <a:lnTo>
                    <a:pt x="4925" y="2261"/>
                  </a:lnTo>
                  <a:lnTo>
                    <a:pt x="4792" y="2393"/>
                  </a:lnTo>
                  <a:lnTo>
                    <a:pt x="4666" y="2530"/>
                  </a:lnTo>
                  <a:lnTo>
                    <a:pt x="4544" y="2673"/>
                  </a:lnTo>
                  <a:lnTo>
                    <a:pt x="4429" y="2821"/>
                  </a:lnTo>
                  <a:lnTo>
                    <a:pt x="4319" y="2973"/>
                  </a:lnTo>
                  <a:lnTo>
                    <a:pt x="4216" y="3130"/>
                  </a:lnTo>
                  <a:lnTo>
                    <a:pt x="4119" y="3293"/>
                  </a:lnTo>
                  <a:lnTo>
                    <a:pt x="4029" y="3458"/>
                  </a:lnTo>
                  <a:lnTo>
                    <a:pt x="3945" y="3628"/>
                  </a:lnTo>
                  <a:lnTo>
                    <a:pt x="3869" y="3802"/>
                  </a:lnTo>
                  <a:lnTo>
                    <a:pt x="3799" y="3979"/>
                  </a:lnTo>
                  <a:lnTo>
                    <a:pt x="3738" y="4161"/>
                  </a:lnTo>
                  <a:lnTo>
                    <a:pt x="3683" y="4345"/>
                  </a:lnTo>
                  <a:lnTo>
                    <a:pt x="3636" y="4532"/>
                  </a:lnTo>
                  <a:lnTo>
                    <a:pt x="3119" y="4532"/>
                  </a:lnTo>
                  <a:lnTo>
                    <a:pt x="3168" y="4319"/>
                  </a:lnTo>
                  <a:lnTo>
                    <a:pt x="3225" y="4109"/>
                  </a:lnTo>
                  <a:lnTo>
                    <a:pt x="3291" y="3903"/>
                  </a:lnTo>
                  <a:lnTo>
                    <a:pt x="3366" y="3700"/>
                  </a:lnTo>
                  <a:lnTo>
                    <a:pt x="3448" y="3502"/>
                  </a:lnTo>
                  <a:lnTo>
                    <a:pt x="3540" y="3309"/>
                  </a:lnTo>
                  <a:lnTo>
                    <a:pt x="3638" y="3119"/>
                  </a:lnTo>
                  <a:lnTo>
                    <a:pt x="3745" y="2935"/>
                  </a:lnTo>
                  <a:lnTo>
                    <a:pt x="3859" y="2755"/>
                  </a:lnTo>
                  <a:lnTo>
                    <a:pt x="3980" y="2580"/>
                  </a:lnTo>
                  <a:lnTo>
                    <a:pt x="4108" y="2412"/>
                  </a:lnTo>
                  <a:lnTo>
                    <a:pt x="4244" y="2249"/>
                  </a:lnTo>
                  <a:lnTo>
                    <a:pt x="4385" y="2092"/>
                  </a:lnTo>
                  <a:lnTo>
                    <a:pt x="4534" y="1941"/>
                  </a:lnTo>
                  <a:lnTo>
                    <a:pt x="4688" y="1796"/>
                  </a:lnTo>
                  <a:lnTo>
                    <a:pt x="4848" y="1657"/>
                  </a:lnTo>
                  <a:lnTo>
                    <a:pt x="5014" y="1526"/>
                  </a:lnTo>
                  <a:lnTo>
                    <a:pt x="5186" y="1401"/>
                  </a:lnTo>
                  <a:lnTo>
                    <a:pt x="5362" y="1283"/>
                  </a:lnTo>
                  <a:lnTo>
                    <a:pt x="5544" y="1173"/>
                  </a:lnTo>
                  <a:lnTo>
                    <a:pt x="5731" y="1071"/>
                  </a:lnTo>
                  <a:lnTo>
                    <a:pt x="5922" y="976"/>
                  </a:lnTo>
                  <a:lnTo>
                    <a:pt x="6118" y="889"/>
                  </a:lnTo>
                  <a:lnTo>
                    <a:pt x="6318" y="811"/>
                  </a:lnTo>
                  <a:lnTo>
                    <a:pt x="6522" y="740"/>
                  </a:lnTo>
                  <a:lnTo>
                    <a:pt x="6731" y="679"/>
                  </a:lnTo>
                  <a:lnTo>
                    <a:pt x="6942" y="627"/>
                  </a:lnTo>
                  <a:lnTo>
                    <a:pt x="7157" y="583"/>
                  </a:lnTo>
                  <a:lnTo>
                    <a:pt x="7376" y="549"/>
                  </a:lnTo>
                  <a:lnTo>
                    <a:pt x="7597" y="524"/>
                  </a:lnTo>
                  <a:lnTo>
                    <a:pt x="7821" y="509"/>
                  </a:lnTo>
                  <a:lnTo>
                    <a:pt x="8048" y="504"/>
                  </a:lnTo>
                  <a:close/>
                  <a:moveTo>
                    <a:pt x="12976" y="4532"/>
                  </a:moveTo>
                  <a:lnTo>
                    <a:pt x="12693" y="4532"/>
                  </a:lnTo>
                  <a:lnTo>
                    <a:pt x="12943" y="4407"/>
                  </a:lnTo>
                  <a:lnTo>
                    <a:pt x="12951" y="4438"/>
                  </a:lnTo>
                  <a:lnTo>
                    <a:pt x="12959" y="4469"/>
                  </a:lnTo>
                  <a:lnTo>
                    <a:pt x="12969" y="4501"/>
                  </a:lnTo>
                  <a:lnTo>
                    <a:pt x="12976" y="4532"/>
                  </a:lnTo>
                  <a:close/>
                  <a:moveTo>
                    <a:pt x="14838" y="4532"/>
                  </a:moveTo>
                  <a:lnTo>
                    <a:pt x="13484" y="4532"/>
                  </a:lnTo>
                  <a:lnTo>
                    <a:pt x="13476" y="4487"/>
                  </a:lnTo>
                  <a:lnTo>
                    <a:pt x="13466" y="4443"/>
                  </a:lnTo>
                  <a:lnTo>
                    <a:pt x="13456" y="4398"/>
                  </a:lnTo>
                  <a:lnTo>
                    <a:pt x="13446" y="4354"/>
                  </a:lnTo>
                  <a:lnTo>
                    <a:pt x="13436" y="4310"/>
                  </a:lnTo>
                  <a:lnTo>
                    <a:pt x="13425" y="4266"/>
                  </a:lnTo>
                  <a:lnTo>
                    <a:pt x="13414" y="4221"/>
                  </a:lnTo>
                  <a:lnTo>
                    <a:pt x="13403" y="4177"/>
                  </a:lnTo>
                  <a:lnTo>
                    <a:pt x="15816" y="2969"/>
                  </a:lnTo>
                  <a:lnTo>
                    <a:pt x="15839" y="2957"/>
                  </a:lnTo>
                  <a:lnTo>
                    <a:pt x="15862" y="2943"/>
                  </a:lnTo>
                  <a:lnTo>
                    <a:pt x="15883" y="2929"/>
                  </a:lnTo>
                  <a:lnTo>
                    <a:pt x="15903" y="2914"/>
                  </a:lnTo>
                  <a:lnTo>
                    <a:pt x="15922" y="2898"/>
                  </a:lnTo>
                  <a:lnTo>
                    <a:pt x="15940" y="2882"/>
                  </a:lnTo>
                  <a:lnTo>
                    <a:pt x="15957" y="2863"/>
                  </a:lnTo>
                  <a:lnTo>
                    <a:pt x="15974" y="2845"/>
                  </a:lnTo>
                  <a:lnTo>
                    <a:pt x="15989" y="2826"/>
                  </a:lnTo>
                  <a:lnTo>
                    <a:pt x="16003" y="2807"/>
                  </a:lnTo>
                  <a:lnTo>
                    <a:pt x="16018" y="2787"/>
                  </a:lnTo>
                  <a:lnTo>
                    <a:pt x="16030" y="2766"/>
                  </a:lnTo>
                  <a:lnTo>
                    <a:pt x="16041" y="2745"/>
                  </a:lnTo>
                  <a:lnTo>
                    <a:pt x="16052" y="2722"/>
                  </a:lnTo>
                  <a:lnTo>
                    <a:pt x="16061" y="2700"/>
                  </a:lnTo>
                  <a:lnTo>
                    <a:pt x="16069" y="2677"/>
                  </a:lnTo>
                  <a:lnTo>
                    <a:pt x="16076" y="2654"/>
                  </a:lnTo>
                  <a:lnTo>
                    <a:pt x="16082" y="2631"/>
                  </a:lnTo>
                  <a:lnTo>
                    <a:pt x="16087" y="2608"/>
                  </a:lnTo>
                  <a:lnTo>
                    <a:pt x="16091" y="2583"/>
                  </a:lnTo>
                  <a:lnTo>
                    <a:pt x="16093" y="2559"/>
                  </a:lnTo>
                  <a:lnTo>
                    <a:pt x="16095" y="2535"/>
                  </a:lnTo>
                  <a:lnTo>
                    <a:pt x="16095" y="2511"/>
                  </a:lnTo>
                  <a:lnTo>
                    <a:pt x="16094" y="2486"/>
                  </a:lnTo>
                  <a:lnTo>
                    <a:pt x="16092" y="2462"/>
                  </a:lnTo>
                  <a:lnTo>
                    <a:pt x="16088" y="2437"/>
                  </a:lnTo>
                  <a:lnTo>
                    <a:pt x="16084" y="2413"/>
                  </a:lnTo>
                  <a:lnTo>
                    <a:pt x="16078" y="2388"/>
                  </a:lnTo>
                  <a:lnTo>
                    <a:pt x="16071" y="2364"/>
                  </a:lnTo>
                  <a:lnTo>
                    <a:pt x="16063" y="2341"/>
                  </a:lnTo>
                  <a:lnTo>
                    <a:pt x="16053" y="2317"/>
                  </a:lnTo>
                  <a:lnTo>
                    <a:pt x="16042" y="2293"/>
                  </a:lnTo>
                  <a:lnTo>
                    <a:pt x="16030" y="2270"/>
                  </a:lnTo>
                  <a:lnTo>
                    <a:pt x="16017" y="2248"/>
                  </a:lnTo>
                  <a:lnTo>
                    <a:pt x="16002" y="2227"/>
                  </a:lnTo>
                  <a:lnTo>
                    <a:pt x="15987" y="2207"/>
                  </a:lnTo>
                  <a:lnTo>
                    <a:pt x="15971" y="2188"/>
                  </a:lnTo>
                  <a:lnTo>
                    <a:pt x="15954" y="2170"/>
                  </a:lnTo>
                  <a:lnTo>
                    <a:pt x="15937" y="2152"/>
                  </a:lnTo>
                  <a:lnTo>
                    <a:pt x="15919" y="2135"/>
                  </a:lnTo>
                  <a:lnTo>
                    <a:pt x="15900" y="2120"/>
                  </a:lnTo>
                  <a:lnTo>
                    <a:pt x="15880" y="2106"/>
                  </a:lnTo>
                  <a:lnTo>
                    <a:pt x="15860" y="2092"/>
                  </a:lnTo>
                  <a:lnTo>
                    <a:pt x="15839" y="2080"/>
                  </a:lnTo>
                  <a:lnTo>
                    <a:pt x="15817" y="2069"/>
                  </a:lnTo>
                  <a:lnTo>
                    <a:pt x="15796" y="2058"/>
                  </a:lnTo>
                  <a:lnTo>
                    <a:pt x="15774" y="2049"/>
                  </a:lnTo>
                  <a:lnTo>
                    <a:pt x="15751" y="2041"/>
                  </a:lnTo>
                  <a:lnTo>
                    <a:pt x="15728" y="2034"/>
                  </a:lnTo>
                  <a:lnTo>
                    <a:pt x="15705" y="2028"/>
                  </a:lnTo>
                  <a:lnTo>
                    <a:pt x="15681" y="2022"/>
                  </a:lnTo>
                  <a:lnTo>
                    <a:pt x="15657" y="2019"/>
                  </a:lnTo>
                  <a:lnTo>
                    <a:pt x="15633" y="2016"/>
                  </a:lnTo>
                  <a:lnTo>
                    <a:pt x="15609" y="2015"/>
                  </a:lnTo>
                  <a:lnTo>
                    <a:pt x="15584" y="2014"/>
                  </a:lnTo>
                  <a:lnTo>
                    <a:pt x="15560" y="2015"/>
                  </a:lnTo>
                  <a:lnTo>
                    <a:pt x="15536" y="2017"/>
                  </a:lnTo>
                  <a:lnTo>
                    <a:pt x="15511" y="2021"/>
                  </a:lnTo>
                  <a:lnTo>
                    <a:pt x="15486" y="2026"/>
                  </a:lnTo>
                  <a:lnTo>
                    <a:pt x="15462" y="2032"/>
                  </a:lnTo>
                  <a:lnTo>
                    <a:pt x="15438" y="2039"/>
                  </a:lnTo>
                  <a:lnTo>
                    <a:pt x="15414" y="2047"/>
                  </a:lnTo>
                  <a:lnTo>
                    <a:pt x="15391" y="2057"/>
                  </a:lnTo>
                  <a:lnTo>
                    <a:pt x="15367" y="2068"/>
                  </a:lnTo>
                  <a:lnTo>
                    <a:pt x="13065" y="3220"/>
                  </a:lnTo>
                  <a:lnTo>
                    <a:pt x="12980" y="3044"/>
                  </a:lnTo>
                  <a:lnTo>
                    <a:pt x="12888" y="2872"/>
                  </a:lnTo>
                  <a:lnTo>
                    <a:pt x="12790" y="2702"/>
                  </a:lnTo>
                  <a:lnTo>
                    <a:pt x="12688" y="2537"/>
                  </a:lnTo>
                  <a:lnTo>
                    <a:pt x="12579" y="2376"/>
                  </a:lnTo>
                  <a:lnTo>
                    <a:pt x="12466" y="2219"/>
                  </a:lnTo>
                  <a:lnTo>
                    <a:pt x="12347" y="2066"/>
                  </a:lnTo>
                  <a:lnTo>
                    <a:pt x="12223" y="1917"/>
                  </a:lnTo>
                  <a:lnTo>
                    <a:pt x="12093" y="1773"/>
                  </a:lnTo>
                  <a:lnTo>
                    <a:pt x="11960" y="1633"/>
                  </a:lnTo>
                  <a:lnTo>
                    <a:pt x="11821" y="1498"/>
                  </a:lnTo>
                  <a:lnTo>
                    <a:pt x="11677" y="1368"/>
                  </a:lnTo>
                  <a:lnTo>
                    <a:pt x="11529" y="1243"/>
                  </a:lnTo>
                  <a:lnTo>
                    <a:pt x="11377" y="1123"/>
                  </a:lnTo>
                  <a:lnTo>
                    <a:pt x="11220" y="1008"/>
                  </a:lnTo>
                  <a:lnTo>
                    <a:pt x="11060" y="898"/>
                  </a:lnTo>
                  <a:lnTo>
                    <a:pt x="10895" y="795"/>
                  </a:lnTo>
                  <a:lnTo>
                    <a:pt x="10727" y="697"/>
                  </a:lnTo>
                  <a:lnTo>
                    <a:pt x="10555" y="605"/>
                  </a:lnTo>
                  <a:lnTo>
                    <a:pt x="10380" y="519"/>
                  </a:lnTo>
                  <a:lnTo>
                    <a:pt x="10201" y="439"/>
                  </a:lnTo>
                  <a:lnTo>
                    <a:pt x="10019" y="365"/>
                  </a:lnTo>
                  <a:lnTo>
                    <a:pt x="9834" y="297"/>
                  </a:lnTo>
                  <a:lnTo>
                    <a:pt x="9645" y="237"/>
                  </a:lnTo>
                  <a:lnTo>
                    <a:pt x="9454" y="182"/>
                  </a:lnTo>
                  <a:lnTo>
                    <a:pt x="9261" y="135"/>
                  </a:lnTo>
                  <a:lnTo>
                    <a:pt x="9063" y="95"/>
                  </a:lnTo>
                  <a:lnTo>
                    <a:pt x="8865" y="60"/>
                  </a:lnTo>
                  <a:lnTo>
                    <a:pt x="8664" y="34"/>
                  </a:lnTo>
                  <a:lnTo>
                    <a:pt x="8460" y="16"/>
                  </a:lnTo>
                  <a:lnTo>
                    <a:pt x="8255" y="4"/>
                  </a:lnTo>
                  <a:lnTo>
                    <a:pt x="8048" y="0"/>
                  </a:lnTo>
                  <a:lnTo>
                    <a:pt x="7795" y="6"/>
                  </a:lnTo>
                  <a:lnTo>
                    <a:pt x="7546" y="23"/>
                  </a:lnTo>
                  <a:lnTo>
                    <a:pt x="7299" y="50"/>
                  </a:lnTo>
                  <a:lnTo>
                    <a:pt x="7056" y="90"/>
                  </a:lnTo>
                  <a:lnTo>
                    <a:pt x="6816" y="139"/>
                  </a:lnTo>
                  <a:lnTo>
                    <a:pt x="6581" y="198"/>
                  </a:lnTo>
                  <a:lnTo>
                    <a:pt x="6349" y="267"/>
                  </a:lnTo>
                  <a:lnTo>
                    <a:pt x="6123" y="347"/>
                  </a:lnTo>
                  <a:lnTo>
                    <a:pt x="5900" y="435"/>
                  </a:lnTo>
                  <a:lnTo>
                    <a:pt x="5683" y="533"/>
                  </a:lnTo>
                  <a:lnTo>
                    <a:pt x="5470" y="640"/>
                  </a:lnTo>
                  <a:lnTo>
                    <a:pt x="5263" y="755"/>
                  </a:lnTo>
                  <a:lnTo>
                    <a:pt x="5061" y="880"/>
                  </a:lnTo>
                  <a:lnTo>
                    <a:pt x="4866" y="1012"/>
                  </a:lnTo>
                  <a:lnTo>
                    <a:pt x="4676" y="1153"/>
                  </a:lnTo>
                  <a:lnTo>
                    <a:pt x="4493" y="1301"/>
                  </a:lnTo>
                  <a:lnTo>
                    <a:pt x="4315" y="1456"/>
                  </a:lnTo>
                  <a:lnTo>
                    <a:pt x="4144" y="1620"/>
                  </a:lnTo>
                  <a:lnTo>
                    <a:pt x="3982" y="1790"/>
                  </a:lnTo>
                  <a:lnTo>
                    <a:pt x="3826" y="1967"/>
                  </a:lnTo>
                  <a:lnTo>
                    <a:pt x="3678" y="2150"/>
                  </a:lnTo>
                  <a:lnTo>
                    <a:pt x="3537" y="2341"/>
                  </a:lnTo>
                  <a:lnTo>
                    <a:pt x="3404" y="2536"/>
                  </a:lnTo>
                  <a:lnTo>
                    <a:pt x="3280" y="2739"/>
                  </a:lnTo>
                  <a:lnTo>
                    <a:pt x="3164" y="2946"/>
                  </a:lnTo>
                  <a:lnTo>
                    <a:pt x="3057" y="3159"/>
                  </a:lnTo>
                  <a:lnTo>
                    <a:pt x="2958" y="3376"/>
                  </a:lnTo>
                  <a:lnTo>
                    <a:pt x="2870" y="3599"/>
                  </a:lnTo>
                  <a:lnTo>
                    <a:pt x="2790" y="3826"/>
                  </a:lnTo>
                  <a:lnTo>
                    <a:pt x="2720" y="4057"/>
                  </a:lnTo>
                  <a:lnTo>
                    <a:pt x="2661" y="4293"/>
                  </a:lnTo>
                  <a:lnTo>
                    <a:pt x="2610" y="4532"/>
                  </a:lnTo>
                  <a:lnTo>
                    <a:pt x="1257" y="4532"/>
                  </a:lnTo>
                  <a:lnTo>
                    <a:pt x="1193" y="4534"/>
                  </a:lnTo>
                  <a:lnTo>
                    <a:pt x="1129" y="4539"/>
                  </a:lnTo>
                  <a:lnTo>
                    <a:pt x="1066" y="4548"/>
                  </a:lnTo>
                  <a:lnTo>
                    <a:pt x="1004" y="4559"/>
                  </a:lnTo>
                  <a:lnTo>
                    <a:pt x="944" y="4573"/>
                  </a:lnTo>
                  <a:lnTo>
                    <a:pt x="884" y="4589"/>
                  </a:lnTo>
                  <a:lnTo>
                    <a:pt x="826" y="4609"/>
                  </a:lnTo>
                  <a:lnTo>
                    <a:pt x="769" y="4631"/>
                  </a:lnTo>
                  <a:lnTo>
                    <a:pt x="713" y="4657"/>
                  </a:lnTo>
                  <a:lnTo>
                    <a:pt x="659" y="4685"/>
                  </a:lnTo>
                  <a:lnTo>
                    <a:pt x="606" y="4715"/>
                  </a:lnTo>
                  <a:lnTo>
                    <a:pt x="555" y="4748"/>
                  </a:lnTo>
                  <a:lnTo>
                    <a:pt x="506" y="4783"/>
                  </a:lnTo>
                  <a:lnTo>
                    <a:pt x="458" y="4820"/>
                  </a:lnTo>
                  <a:lnTo>
                    <a:pt x="412" y="4860"/>
                  </a:lnTo>
                  <a:lnTo>
                    <a:pt x="369" y="4902"/>
                  </a:lnTo>
                  <a:lnTo>
                    <a:pt x="327" y="4945"/>
                  </a:lnTo>
                  <a:lnTo>
                    <a:pt x="288" y="4991"/>
                  </a:lnTo>
                  <a:lnTo>
                    <a:pt x="250" y="5039"/>
                  </a:lnTo>
                  <a:lnTo>
                    <a:pt x="215" y="5088"/>
                  </a:lnTo>
                  <a:lnTo>
                    <a:pt x="182" y="5139"/>
                  </a:lnTo>
                  <a:lnTo>
                    <a:pt x="152" y="5192"/>
                  </a:lnTo>
                  <a:lnTo>
                    <a:pt x="125" y="5247"/>
                  </a:lnTo>
                  <a:lnTo>
                    <a:pt x="99" y="5302"/>
                  </a:lnTo>
                  <a:lnTo>
                    <a:pt x="76" y="5359"/>
                  </a:lnTo>
                  <a:lnTo>
                    <a:pt x="56" y="5418"/>
                  </a:lnTo>
                  <a:lnTo>
                    <a:pt x="39" y="5477"/>
                  </a:lnTo>
                  <a:lnTo>
                    <a:pt x="25" y="5538"/>
                  </a:lnTo>
                  <a:lnTo>
                    <a:pt x="14" y="5600"/>
                  </a:lnTo>
                  <a:lnTo>
                    <a:pt x="7" y="5662"/>
                  </a:lnTo>
                  <a:lnTo>
                    <a:pt x="2" y="5727"/>
                  </a:lnTo>
                  <a:lnTo>
                    <a:pt x="0" y="5791"/>
                  </a:lnTo>
                  <a:lnTo>
                    <a:pt x="0" y="5815"/>
                  </a:lnTo>
                  <a:lnTo>
                    <a:pt x="1" y="5838"/>
                  </a:lnTo>
                  <a:lnTo>
                    <a:pt x="2" y="5861"/>
                  </a:lnTo>
                  <a:lnTo>
                    <a:pt x="4" y="5883"/>
                  </a:lnTo>
                  <a:lnTo>
                    <a:pt x="7" y="5906"/>
                  </a:lnTo>
                  <a:lnTo>
                    <a:pt x="9" y="5929"/>
                  </a:lnTo>
                  <a:lnTo>
                    <a:pt x="13" y="5952"/>
                  </a:lnTo>
                  <a:lnTo>
                    <a:pt x="17" y="5975"/>
                  </a:lnTo>
                  <a:lnTo>
                    <a:pt x="21" y="5997"/>
                  </a:lnTo>
                  <a:lnTo>
                    <a:pt x="26" y="6019"/>
                  </a:lnTo>
                  <a:lnTo>
                    <a:pt x="31" y="6041"/>
                  </a:lnTo>
                  <a:lnTo>
                    <a:pt x="37" y="6063"/>
                  </a:lnTo>
                  <a:lnTo>
                    <a:pt x="43" y="6085"/>
                  </a:lnTo>
                  <a:lnTo>
                    <a:pt x="50" y="6107"/>
                  </a:lnTo>
                  <a:lnTo>
                    <a:pt x="58" y="6128"/>
                  </a:lnTo>
                  <a:lnTo>
                    <a:pt x="65" y="6150"/>
                  </a:lnTo>
                  <a:lnTo>
                    <a:pt x="74" y="6171"/>
                  </a:lnTo>
                  <a:lnTo>
                    <a:pt x="82" y="6191"/>
                  </a:lnTo>
                  <a:lnTo>
                    <a:pt x="93" y="6212"/>
                  </a:lnTo>
                  <a:lnTo>
                    <a:pt x="102" y="6234"/>
                  </a:lnTo>
                  <a:lnTo>
                    <a:pt x="112" y="6254"/>
                  </a:lnTo>
                  <a:lnTo>
                    <a:pt x="123" y="6274"/>
                  </a:lnTo>
                  <a:lnTo>
                    <a:pt x="134" y="6294"/>
                  </a:lnTo>
                  <a:lnTo>
                    <a:pt x="145" y="6313"/>
                  </a:lnTo>
                  <a:lnTo>
                    <a:pt x="157" y="6332"/>
                  </a:lnTo>
                  <a:lnTo>
                    <a:pt x="170" y="6351"/>
                  </a:lnTo>
                  <a:lnTo>
                    <a:pt x="183" y="6371"/>
                  </a:lnTo>
                  <a:lnTo>
                    <a:pt x="196" y="6390"/>
                  </a:lnTo>
                  <a:lnTo>
                    <a:pt x="210" y="6408"/>
                  </a:lnTo>
                  <a:lnTo>
                    <a:pt x="224" y="6426"/>
                  </a:lnTo>
                  <a:lnTo>
                    <a:pt x="238" y="6443"/>
                  </a:lnTo>
                  <a:lnTo>
                    <a:pt x="253" y="6461"/>
                  </a:lnTo>
                  <a:lnTo>
                    <a:pt x="2012" y="8441"/>
                  </a:lnTo>
                  <a:lnTo>
                    <a:pt x="2012" y="8813"/>
                  </a:lnTo>
                  <a:lnTo>
                    <a:pt x="2014" y="8877"/>
                  </a:lnTo>
                  <a:lnTo>
                    <a:pt x="2019" y="8942"/>
                  </a:lnTo>
                  <a:lnTo>
                    <a:pt x="2026" y="9004"/>
                  </a:lnTo>
                  <a:lnTo>
                    <a:pt x="2038" y="9067"/>
                  </a:lnTo>
                  <a:lnTo>
                    <a:pt x="2052" y="9127"/>
                  </a:lnTo>
                  <a:lnTo>
                    <a:pt x="2068" y="9187"/>
                  </a:lnTo>
                  <a:lnTo>
                    <a:pt x="2088" y="9245"/>
                  </a:lnTo>
                  <a:lnTo>
                    <a:pt x="2110" y="9303"/>
                  </a:lnTo>
                  <a:lnTo>
                    <a:pt x="2137" y="9358"/>
                  </a:lnTo>
                  <a:lnTo>
                    <a:pt x="2164" y="9412"/>
                  </a:lnTo>
                  <a:lnTo>
                    <a:pt x="2194" y="9466"/>
                  </a:lnTo>
                  <a:lnTo>
                    <a:pt x="2227" y="9516"/>
                  </a:lnTo>
                  <a:lnTo>
                    <a:pt x="2262" y="9566"/>
                  </a:lnTo>
                  <a:lnTo>
                    <a:pt x="2300" y="9614"/>
                  </a:lnTo>
                  <a:lnTo>
                    <a:pt x="2339" y="9659"/>
                  </a:lnTo>
                  <a:lnTo>
                    <a:pt x="2381" y="9703"/>
                  </a:lnTo>
                  <a:lnTo>
                    <a:pt x="2424" y="9745"/>
                  </a:lnTo>
                  <a:lnTo>
                    <a:pt x="2471" y="9784"/>
                  </a:lnTo>
                  <a:lnTo>
                    <a:pt x="2518" y="9821"/>
                  </a:lnTo>
                  <a:lnTo>
                    <a:pt x="2567" y="9856"/>
                  </a:lnTo>
                  <a:lnTo>
                    <a:pt x="2617" y="9890"/>
                  </a:lnTo>
                  <a:lnTo>
                    <a:pt x="2671" y="9920"/>
                  </a:lnTo>
                  <a:lnTo>
                    <a:pt x="2725" y="9948"/>
                  </a:lnTo>
                  <a:lnTo>
                    <a:pt x="2780" y="9973"/>
                  </a:lnTo>
                  <a:lnTo>
                    <a:pt x="2838" y="9995"/>
                  </a:lnTo>
                  <a:lnTo>
                    <a:pt x="2896" y="10016"/>
                  </a:lnTo>
                  <a:lnTo>
                    <a:pt x="2955" y="10033"/>
                  </a:lnTo>
                  <a:lnTo>
                    <a:pt x="3016" y="10047"/>
                  </a:lnTo>
                  <a:lnTo>
                    <a:pt x="3078" y="10058"/>
                  </a:lnTo>
                  <a:lnTo>
                    <a:pt x="3141" y="10066"/>
                  </a:lnTo>
                  <a:lnTo>
                    <a:pt x="3205" y="10070"/>
                  </a:lnTo>
                  <a:lnTo>
                    <a:pt x="3269" y="10072"/>
                  </a:lnTo>
                  <a:lnTo>
                    <a:pt x="12826" y="10072"/>
                  </a:lnTo>
                  <a:lnTo>
                    <a:pt x="12890" y="10070"/>
                  </a:lnTo>
                  <a:lnTo>
                    <a:pt x="12953" y="10066"/>
                  </a:lnTo>
                  <a:lnTo>
                    <a:pt x="13017" y="10058"/>
                  </a:lnTo>
                  <a:lnTo>
                    <a:pt x="13078" y="10047"/>
                  </a:lnTo>
                  <a:lnTo>
                    <a:pt x="13140" y="10033"/>
                  </a:lnTo>
                  <a:lnTo>
                    <a:pt x="13199" y="10016"/>
                  </a:lnTo>
                  <a:lnTo>
                    <a:pt x="13257" y="9995"/>
                  </a:lnTo>
                  <a:lnTo>
                    <a:pt x="13315" y="9973"/>
                  </a:lnTo>
                  <a:lnTo>
                    <a:pt x="13370" y="9948"/>
                  </a:lnTo>
                  <a:lnTo>
                    <a:pt x="13424" y="9920"/>
                  </a:lnTo>
                  <a:lnTo>
                    <a:pt x="13477" y="9890"/>
                  </a:lnTo>
                  <a:lnTo>
                    <a:pt x="13528" y="9856"/>
                  </a:lnTo>
                  <a:lnTo>
                    <a:pt x="13577" y="9821"/>
                  </a:lnTo>
                  <a:lnTo>
                    <a:pt x="13624" y="9784"/>
                  </a:lnTo>
                  <a:lnTo>
                    <a:pt x="13671" y="9745"/>
                  </a:lnTo>
                  <a:lnTo>
                    <a:pt x="13714" y="9703"/>
                  </a:lnTo>
                  <a:lnTo>
                    <a:pt x="13756" y="9659"/>
                  </a:lnTo>
                  <a:lnTo>
                    <a:pt x="13795" y="9614"/>
                  </a:lnTo>
                  <a:lnTo>
                    <a:pt x="13833" y="9566"/>
                  </a:lnTo>
                  <a:lnTo>
                    <a:pt x="13868" y="9516"/>
                  </a:lnTo>
                  <a:lnTo>
                    <a:pt x="13900" y="9466"/>
                  </a:lnTo>
                  <a:lnTo>
                    <a:pt x="13931" y="9412"/>
                  </a:lnTo>
                  <a:lnTo>
                    <a:pt x="13958" y="9358"/>
                  </a:lnTo>
                  <a:lnTo>
                    <a:pt x="13984" y="9303"/>
                  </a:lnTo>
                  <a:lnTo>
                    <a:pt x="14007" y="9245"/>
                  </a:lnTo>
                  <a:lnTo>
                    <a:pt x="14026" y="9187"/>
                  </a:lnTo>
                  <a:lnTo>
                    <a:pt x="14043" y="9127"/>
                  </a:lnTo>
                  <a:lnTo>
                    <a:pt x="14057" y="9067"/>
                  </a:lnTo>
                  <a:lnTo>
                    <a:pt x="14068" y="9004"/>
                  </a:lnTo>
                  <a:lnTo>
                    <a:pt x="14076" y="8942"/>
                  </a:lnTo>
                  <a:lnTo>
                    <a:pt x="14081" y="8877"/>
                  </a:lnTo>
                  <a:lnTo>
                    <a:pt x="14083" y="8813"/>
                  </a:lnTo>
                  <a:lnTo>
                    <a:pt x="14083" y="8441"/>
                  </a:lnTo>
                  <a:lnTo>
                    <a:pt x="15840" y="6461"/>
                  </a:lnTo>
                  <a:lnTo>
                    <a:pt x="15856" y="6443"/>
                  </a:lnTo>
                  <a:lnTo>
                    <a:pt x="15871" y="6426"/>
                  </a:lnTo>
                  <a:lnTo>
                    <a:pt x="15885" y="6408"/>
                  </a:lnTo>
                  <a:lnTo>
                    <a:pt x="15899" y="6390"/>
                  </a:lnTo>
                  <a:lnTo>
                    <a:pt x="15912" y="6371"/>
                  </a:lnTo>
                  <a:lnTo>
                    <a:pt x="15925" y="6351"/>
                  </a:lnTo>
                  <a:lnTo>
                    <a:pt x="15937" y="6332"/>
                  </a:lnTo>
                  <a:lnTo>
                    <a:pt x="15949" y="6313"/>
                  </a:lnTo>
                  <a:lnTo>
                    <a:pt x="15961" y="6294"/>
                  </a:lnTo>
                  <a:lnTo>
                    <a:pt x="15972" y="6274"/>
                  </a:lnTo>
                  <a:lnTo>
                    <a:pt x="15982" y="6254"/>
                  </a:lnTo>
                  <a:lnTo>
                    <a:pt x="15992" y="6234"/>
                  </a:lnTo>
                  <a:lnTo>
                    <a:pt x="16002" y="6212"/>
                  </a:lnTo>
                  <a:lnTo>
                    <a:pt x="16012" y="6191"/>
                  </a:lnTo>
                  <a:lnTo>
                    <a:pt x="16021" y="6171"/>
                  </a:lnTo>
                  <a:lnTo>
                    <a:pt x="16029" y="6150"/>
                  </a:lnTo>
                  <a:lnTo>
                    <a:pt x="16037" y="6128"/>
                  </a:lnTo>
                  <a:lnTo>
                    <a:pt x="16044" y="6107"/>
                  </a:lnTo>
                  <a:lnTo>
                    <a:pt x="16051" y="6085"/>
                  </a:lnTo>
                  <a:lnTo>
                    <a:pt x="16058" y="6063"/>
                  </a:lnTo>
                  <a:lnTo>
                    <a:pt x="16063" y="6041"/>
                  </a:lnTo>
                  <a:lnTo>
                    <a:pt x="16069" y="6019"/>
                  </a:lnTo>
                  <a:lnTo>
                    <a:pt x="16074" y="5997"/>
                  </a:lnTo>
                  <a:lnTo>
                    <a:pt x="16078" y="5975"/>
                  </a:lnTo>
                  <a:lnTo>
                    <a:pt x="16082" y="5952"/>
                  </a:lnTo>
                  <a:lnTo>
                    <a:pt x="16085" y="5929"/>
                  </a:lnTo>
                  <a:lnTo>
                    <a:pt x="16088" y="5906"/>
                  </a:lnTo>
                  <a:lnTo>
                    <a:pt x="16090" y="5883"/>
                  </a:lnTo>
                  <a:lnTo>
                    <a:pt x="16092" y="5861"/>
                  </a:lnTo>
                  <a:lnTo>
                    <a:pt x="16093" y="5838"/>
                  </a:lnTo>
                  <a:lnTo>
                    <a:pt x="16094" y="5815"/>
                  </a:lnTo>
                  <a:lnTo>
                    <a:pt x="16095" y="5791"/>
                  </a:lnTo>
                  <a:lnTo>
                    <a:pt x="16093" y="5727"/>
                  </a:lnTo>
                  <a:lnTo>
                    <a:pt x="16088" y="5662"/>
                  </a:lnTo>
                  <a:lnTo>
                    <a:pt x="16080" y="5600"/>
                  </a:lnTo>
                  <a:lnTo>
                    <a:pt x="16069" y="5538"/>
                  </a:lnTo>
                  <a:lnTo>
                    <a:pt x="16055" y="5477"/>
                  </a:lnTo>
                  <a:lnTo>
                    <a:pt x="16038" y="5418"/>
                  </a:lnTo>
                  <a:lnTo>
                    <a:pt x="16019" y="5359"/>
                  </a:lnTo>
                  <a:lnTo>
                    <a:pt x="15995" y="5302"/>
                  </a:lnTo>
                  <a:lnTo>
                    <a:pt x="15970" y="5247"/>
                  </a:lnTo>
                  <a:lnTo>
                    <a:pt x="15942" y="5192"/>
                  </a:lnTo>
                  <a:lnTo>
                    <a:pt x="15912" y="5139"/>
                  </a:lnTo>
                  <a:lnTo>
                    <a:pt x="15880" y="5088"/>
                  </a:lnTo>
                  <a:lnTo>
                    <a:pt x="15845" y="5039"/>
                  </a:lnTo>
                  <a:lnTo>
                    <a:pt x="15807" y="4991"/>
                  </a:lnTo>
                  <a:lnTo>
                    <a:pt x="15767" y="4945"/>
                  </a:lnTo>
                  <a:lnTo>
                    <a:pt x="15726" y="4902"/>
                  </a:lnTo>
                  <a:lnTo>
                    <a:pt x="15683" y="4860"/>
                  </a:lnTo>
                  <a:lnTo>
                    <a:pt x="15636" y="4820"/>
                  </a:lnTo>
                  <a:lnTo>
                    <a:pt x="15589" y="4783"/>
                  </a:lnTo>
                  <a:lnTo>
                    <a:pt x="15540" y="4748"/>
                  </a:lnTo>
                  <a:lnTo>
                    <a:pt x="15488" y="4715"/>
                  </a:lnTo>
                  <a:lnTo>
                    <a:pt x="15436" y="4685"/>
                  </a:lnTo>
                  <a:lnTo>
                    <a:pt x="15382" y="4657"/>
                  </a:lnTo>
                  <a:lnTo>
                    <a:pt x="15326" y="4631"/>
                  </a:lnTo>
                  <a:lnTo>
                    <a:pt x="15269" y="4609"/>
                  </a:lnTo>
                  <a:lnTo>
                    <a:pt x="15211" y="4589"/>
                  </a:lnTo>
                  <a:lnTo>
                    <a:pt x="15151" y="4573"/>
                  </a:lnTo>
                  <a:lnTo>
                    <a:pt x="15090" y="4559"/>
                  </a:lnTo>
                  <a:lnTo>
                    <a:pt x="15029" y="4548"/>
                  </a:lnTo>
                  <a:lnTo>
                    <a:pt x="14965" y="4539"/>
                  </a:lnTo>
                  <a:lnTo>
                    <a:pt x="14902" y="4534"/>
                  </a:lnTo>
                  <a:lnTo>
                    <a:pt x="14838" y="45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3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47" name="îṧļiḋê">
              <a:extLst>
                <a:ext uri="{FF2B5EF4-FFF2-40B4-BE49-F238E27FC236}">
                  <a16:creationId xmlns:a16="http://schemas.microsoft.com/office/drawing/2014/main" id="{0493A8AF-798E-4E71-828B-87606132AE88}"/>
                </a:ext>
              </a:extLst>
            </p:cNvPr>
            <p:cNvSpPr/>
            <p:nvPr/>
          </p:nvSpPr>
          <p:spPr bwMode="auto">
            <a:xfrm>
              <a:off x="8148684" y="88585"/>
              <a:ext cx="24571" cy="80848"/>
            </a:xfrm>
            <a:custGeom>
              <a:avLst/>
              <a:gdLst>
                <a:gd name="T0" fmla="*/ 123 w 1136"/>
                <a:gd name="T1" fmla="*/ 3641 h 3777"/>
                <a:gd name="T2" fmla="*/ 162 w 1136"/>
                <a:gd name="T3" fmla="*/ 3696 h 3777"/>
                <a:gd name="T4" fmla="*/ 214 w 1136"/>
                <a:gd name="T5" fmla="*/ 3740 h 3777"/>
                <a:gd name="T6" fmla="*/ 276 w 1136"/>
                <a:gd name="T7" fmla="*/ 3767 h 3777"/>
                <a:gd name="T8" fmla="*/ 346 w 1136"/>
                <a:gd name="T9" fmla="*/ 3777 h 3777"/>
                <a:gd name="T10" fmla="*/ 396 w 1136"/>
                <a:gd name="T11" fmla="*/ 3772 h 3777"/>
                <a:gd name="T12" fmla="*/ 444 w 1136"/>
                <a:gd name="T13" fmla="*/ 3757 h 3777"/>
                <a:gd name="T14" fmla="*/ 487 w 1136"/>
                <a:gd name="T15" fmla="*/ 3734 h 3777"/>
                <a:gd name="T16" fmla="*/ 524 w 1136"/>
                <a:gd name="T17" fmla="*/ 3704 h 3777"/>
                <a:gd name="T18" fmla="*/ 555 w 1136"/>
                <a:gd name="T19" fmla="*/ 3665 h 3777"/>
                <a:gd name="T20" fmla="*/ 578 w 1136"/>
                <a:gd name="T21" fmla="*/ 3623 h 3777"/>
                <a:gd name="T22" fmla="*/ 593 w 1136"/>
                <a:gd name="T23" fmla="*/ 3575 h 3777"/>
                <a:gd name="T24" fmla="*/ 599 w 1136"/>
                <a:gd name="T25" fmla="*/ 3524 h 3777"/>
                <a:gd name="T26" fmla="*/ 589 w 1136"/>
                <a:gd name="T27" fmla="*/ 3461 h 3777"/>
                <a:gd name="T28" fmla="*/ 558 w 1136"/>
                <a:gd name="T29" fmla="*/ 3368 h 3777"/>
                <a:gd name="T30" fmla="*/ 520 w 1136"/>
                <a:gd name="T31" fmla="*/ 3197 h 3777"/>
                <a:gd name="T32" fmla="*/ 510 w 1136"/>
                <a:gd name="T33" fmla="*/ 3023 h 3777"/>
                <a:gd name="T34" fmla="*/ 526 w 1136"/>
                <a:gd name="T35" fmla="*/ 2844 h 3777"/>
                <a:gd name="T36" fmla="*/ 562 w 1136"/>
                <a:gd name="T37" fmla="*/ 2662 h 3777"/>
                <a:gd name="T38" fmla="*/ 616 w 1136"/>
                <a:gd name="T39" fmla="*/ 2476 h 3777"/>
                <a:gd name="T40" fmla="*/ 720 w 1136"/>
                <a:gd name="T41" fmla="*/ 2190 h 3777"/>
                <a:gd name="T42" fmla="*/ 889 w 1136"/>
                <a:gd name="T43" fmla="*/ 1780 h 3777"/>
                <a:gd name="T44" fmla="*/ 974 w 1136"/>
                <a:gd name="T45" fmla="*/ 1559 h 3777"/>
                <a:gd name="T46" fmla="*/ 1046 w 1136"/>
                <a:gd name="T47" fmla="*/ 1334 h 3777"/>
                <a:gd name="T48" fmla="*/ 1100 w 1136"/>
                <a:gd name="T49" fmla="*/ 1104 h 3777"/>
                <a:gd name="T50" fmla="*/ 1132 w 1136"/>
                <a:gd name="T51" fmla="*/ 871 h 3777"/>
                <a:gd name="T52" fmla="*/ 1132 w 1136"/>
                <a:gd name="T53" fmla="*/ 636 h 3777"/>
                <a:gd name="T54" fmla="*/ 1093 w 1136"/>
                <a:gd name="T55" fmla="*/ 398 h 3777"/>
                <a:gd name="T56" fmla="*/ 1012 w 1136"/>
                <a:gd name="T57" fmla="*/ 158 h 3777"/>
                <a:gd name="T58" fmla="*/ 976 w 1136"/>
                <a:gd name="T59" fmla="*/ 95 h 3777"/>
                <a:gd name="T60" fmla="*/ 923 w 1136"/>
                <a:gd name="T61" fmla="*/ 44 h 3777"/>
                <a:gd name="T62" fmla="*/ 858 w 1136"/>
                <a:gd name="T63" fmla="*/ 12 h 3777"/>
                <a:gd name="T64" fmla="*/ 783 w 1136"/>
                <a:gd name="T65" fmla="*/ 0 h 3777"/>
                <a:gd name="T66" fmla="*/ 733 w 1136"/>
                <a:gd name="T67" fmla="*/ 5 h 3777"/>
                <a:gd name="T68" fmla="*/ 687 w 1136"/>
                <a:gd name="T69" fmla="*/ 20 h 3777"/>
                <a:gd name="T70" fmla="*/ 645 w 1136"/>
                <a:gd name="T71" fmla="*/ 42 h 3777"/>
                <a:gd name="T72" fmla="*/ 609 w 1136"/>
                <a:gd name="T73" fmla="*/ 73 h 3777"/>
                <a:gd name="T74" fmla="*/ 578 w 1136"/>
                <a:gd name="T75" fmla="*/ 110 h 3777"/>
                <a:gd name="T76" fmla="*/ 555 w 1136"/>
                <a:gd name="T77" fmla="*/ 151 h 3777"/>
                <a:gd name="T78" fmla="*/ 541 w 1136"/>
                <a:gd name="T79" fmla="*/ 197 h 3777"/>
                <a:gd name="T80" fmla="*/ 536 w 1136"/>
                <a:gd name="T81" fmla="*/ 247 h 3777"/>
                <a:gd name="T82" fmla="*/ 540 w 1136"/>
                <a:gd name="T83" fmla="*/ 291 h 3777"/>
                <a:gd name="T84" fmla="*/ 553 w 1136"/>
                <a:gd name="T85" fmla="*/ 335 h 3777"/>
                <a:gd name="T86" fmla="*/ 574 w 1136"/>
                <a:gd name="T87" fmla="*/ 389 h 3777"/>
                <a:gd name="T88" fmla="*/ 625 w 1136"/>
                <a:gd name="T89" fmla="*/ 561 h 3777"/>
                <a:gd name="T90" fmla="*/ 642 w 1136"/>
                <a:gd name="T91" fmla="*/ 736 h 3777"/>
                <a:gd name="T92" fmla="*/ 632 w 1136"/>
                <a:gd name="T93" fmla="*/ 913 h 3777"/>
                <a:gd name="T94" fmla="*/ 599 w 1136"/>
                <a:gd name="T95" fmla="*/ 1092 h 3777"/>
                <a:gd name="T96" fmla="*/ 546 w 1136"/>
                <a:gd name="T97" fmla="*/ 1275 h 3777"/>
                <a:gd name="T98" fmla="*/ 462 w 1136"/>
                <a:gd name="T99" fmla="*/ 1511 h 3777"/>
                <a:gd name="T100" fmla="*/ 298 w 1136"/>
                <a:gd name="T101" fmla="*/ 1908 h 3777"/>
                <a:gd name="T102" fmla="*/ 190 w 1136"/>
                <a:gd name="T103" fmla="*/ 2178 h 3777"/>
                <a:gd name="T104" fmla="*/ 114 w 1136"/>
                <a:gd name="T105" fmla="*/ 2398 h 3777"/>
                <a:gd name="T106" fmla="*/ 52 w 1136"/>
                <a:gd name="T107" fmla="*/ 2623 h 3777"/>
                <a:gd name="T108" fmla="*/ 12 w 1136"/>
                <a:gd name="T109" fmla="*/ 2851 h 3777"/>
                <a:gd name="T110" fmla="*/ 0 w 1136"/>
                <a:gd name="T111" fmla="*/ 3083 h 3777"/>
                <a:gd name="T112" fmla="*/ 23 w 1136"/>
                <a:gd name="T113" fmla="*/ 3317 h 3777"/>
                <a:gd name="T114" fmla="*/ 86 w 1136"/>
                <a:gd name="T115" fmla="*/ 3551 h 3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36" h="3777">
                  <a:moveTo>
                    <a:pt x="118" y="3632"/>
                  </a:moveTo>
                  <a:lnTo>
                    <a:pt x="120" y="3637"/>
                  </a:lnTo>
                  <a:lnTo>
                    <a:pt x="122" y="3641"/>
                  </a:lnTo>
                  <a:lnTo>
                    <a:pt x="123" y="3641"/>
                  </a:lnTo>
                  <a:lnTo>
                    <a:pt x="132" y="3656"/>
                  </a:lnTo>
                  <a:lnTo>
                    <a:pt x="141" y="3670"/>
                  </a:lnTo>
                  <a:lnTo>
                    <a:pt x="151" y="3683"/>
                  </a:lnTo>
                  <a:lnTo>
                    <a:pt x="162" y="3696"/>
                  </a:lnTo>
                  <a:lnTo>
                    <a:pt x="174" y="3709"/>
                  </a:lnTo>
                  <a:lnTo>
                    <a:pt x="186" y="3720"/>
                  </a:lnTo>
                  <a:lnTo>
                    <a:pt x="200" y="3730"/>
                  </a:lnTo>
                  <a:lnTo>
                    <a:pt x="214" y="3740"/>
                  </a:lnTo>
                  <a:lnTo>
                    <a:pt x="228" y="3748"/>
                  </a:lnTo>
                  <a:lnTo>
                    <a:pt x="243" y="3756"/>
                  </a:lnTo>
                  <a:lnTo>
                    <a:pt x="260" y="3762"/>
                  </a:lnTo>
                  <a:lnTo>
                    <a:pt x="276" y="3767"/>
                  </a:lnTo>
                  <a:lnTo>
                    <a:pt x="293" y="3772"/>
                  </a:lnTo>
                  <a:lnTo>
                    <a:pt x="310" y="3775"/>
                  </a:lnTo>
                  <a:lnTo>
                    <a:pt x="328" y="3777"/>
                  </a:lnTo>
                  <a:lnTo>
                    <a:pt x="346" y="3777"/>
                  </a:lnTo>
                  <a:lnTo>
                    <a:pt x="359" y="3777"/>
                  </a:lnTo>
                  <a:lnTo>
                    <a:pt x="371" y="3776"/>
                  </a:lnTo>
                  <a:lnTo>
                    <a:pt x="384" y="3774"/>
                  </a:lnTo>
                  <a:lnTo>
                    <a:pt x="396" y="3772"/>
                  </a:lnTo>
                  <a:lnTo>
                    <a:pt x="408" y="3769"/>
                  </a:lnTo>
                  <a:lnTo>
                    <a:pt x="420" y="3766"/>
                  </a:lnTo>
                  <a:lnTo>
                    <a:pt x="433" y="3762"/>
                  </a:lnTo>
                  <a:lnTo>
                    <a:pt x="444" y="3757"/>
                  </a:lnTo>
                  <a:lnTo>
                    <a:pt x="456" y="3752"/>
                  </a:lnTo>
                  <a:lnTo>
                    <a:pt x="466" y="3747"/>
                  </a:lnTo>
                  <a:lnTo>
                    <a:pt x="477" y="3741"/>
                  </a:lnTo>
                  <a:lnTo>
                    <a:pt x="487" y="3734"/>
                  </a:lnTo>
                  <a:lnTo>
                    <a:pt x="497" y="3727"/>
                  </a:lnTo>
                  <a:lnTo>
                    <a:pt x="506" y="3720"/>
                  </a:lnTo>
                  <a:lnTo>
                    <a:pt x="516" y="3712"/>
                  </a:lnTo>
                  <a:lnTo>
                    <a:pt x="524" y="3704"/>
                  </a:lnTo>
                  <a:lnTo>
                    <a:pt x="533" y="3694"/>
                  </a:lnTo>
                  <a:lnTo>
                    <a:pt x="541" y="3685"/>
                  </a:lnTo>
                  <a:lnTo>
                    <a:pt x="548" y="3675"/>
                  </a:lnTo>
                  <a:lnTo>
                    <a:pt x="555" y="3665"/>
                  </a:lnTo>
                  <a:lnTo>
                    <a:pt x="562" y="3655"/>
                  </a:lnTo>
                  <a:lnTo>
                    <a:pt x="568" y="3644"/>
                  </a:lnTo>
                  <a:lnTo>
                    <a:pt x="573" y="3634"/>
                  </a:lnTo>
                  <a:lnTo>
                    <a:pt x="578" y="3623"/>
                  </a:lnTo>
                  <a:lnTo>
                    <a:pt x="583" y="3611"/>
                  </a:lnTo>
                  <a:lnTo>
                    <a:pt x="587" y="3599"/>
                  </a:lnTo>
                  <a:lnTo>
                    <a:pt x="590" y="3587"/>
                  </a:lnTo>
                  <a:lnTo>
                    <a:pt x="593" y="3575"/>
                  </a:lnTo>
                  <a:lnTo>
                    <a:pt x="595" y="3563"/>
                  </a:lnTo>
                  <a:lnTo>
                    <a:pt x="598" y="3549"/>
                  </a:lnTo>
                  <a:lnTo>
                    <a:pt x="599" y="3537"/>
                  </a:lnTo>
                  <a:lnTo>
                    <a:pt x="599" y="3524"/>
                  </a:lnTo>
                  <a:lnTo>
                    <a:pt x="599" y="3508"/>
                  </a:lnTo>
                  <a:lnTo>
                    <a:pt x="597" y="3492"/>
                  </a:lnTo>
                  <a:lnTo>
                    <a:pt x="593" y="3476"/>
                  </a:lnTo>
                  <a:lnTo>
                    <a:pt x="589" y="3461"/>
                  </a:lnTo>
                  <a:lnTo>
                    <a:pt x="590" y="3456"/>
                  </a:lnTo>
                  <a:lnTo>
                    <a:pt x="589" y="3452"/>
                  </a:lnTo>
                  <a:lnTo>
                    <a:pt x="572" y="3409"/>
                  </a:lnTo>
                  <a:lnTo>
                    <a:pt x="558" y="3368"/>
                  </a:lnTo>
                  <a:lnTo>
                    <a:pt x="546" y="3326"/>
                  </a:lnTo>
                  <a:lnTo>
                    <a:pt x="535" y="3283"/>
                  </a:lnTo>
                  <a:lnTo>
                    <a:pt x="527" y="3240"/>
                  </a:lnTo>
                  <a:lnTo>
                    <a:pt x="520" y="3197"/>
                  </a:lnTo>
                  <a:lnTo>
                    <a:pt x="515" y="3154"/>
                  </a:lnTo>
                  <a:lnTo>
                    <a:pt x="512" y="3110"/>
                  </a:lnTo>
                  <a:lnTo>
                    <a:pt x="510" y="3067"/>
                  </a:lnTo>
                  <a:lnTo>
                    <a:pt x="510" y="3023"/>
                  </a:lnTo>
                  <a:lnTo>
                    <a:pt x="512" y="2978"/>
                  </a:lnTo>
                  <a:lnTo>
                    <a:pt x="515" y="2934"/>
                  </a:lnTo>
                  <a:lnTo>
                    <a:pt x="520" y="2889"/>
                  </a:lnTo>
                  <a:lnTo>
                    <a:pt x="526" y="2844"/>
                  </a:lnTo>
                  <a:lnTo>
                    <a:pt x="533" y="2799"/>
                  </a:lnTo>
                  <a:lnTo>
                    <a:pt x="541" y="2754"/>
                  </a:lnTo>
                  <a:lnTo>
                    <a:pt x="551" y="2707"/>
                  </a:lnTo>
                  <a:lnTo>
                    <a:pt x="562" y="2662"/>
                  </a:lnTo>
                  <a:lnTo>
                    <a:pt x="574" y="2616"/>
                  </a:lnTo>
                  <a:lnTo>
                    <a:pt x="587" y="2569"/>
                  </a:lnTo>
                  <a:lnTo>
                    <a:pt x="601" y="2523"/>
                  </a:lnTo>
                  <a:lnTo>
                    <a:pt x="616" y="2476"/>
                  </a:lnTo>
                  <a:lnTo>
                    <a:pt x="632" y="2429"/>
                  </a:lnTo>
                  <a:lnTo>
                    <a:pt x="648" y="2382"/>
                  </a:lnTo>
                  <a:lnTo>
                    <a:pt x="683" y="2286"/>
                  </a:lnTo>
                  <a:lnTo>
                    <a:pt x="720" y="2190"/>
                  </a:lnTo>
                  <a:lnTo>
                    <a:pt x="759" y="2093"/>
                  </a:lnTo>
                  <a:lnTo>
                    <a:pt x="800" y="1995"/>
                  </a:lnTo>
                  <a:lnTo>
                    <a:pt x="845" y="1889"/>
                  </a:lnTo>
                  <a:lnTo>
                    <a:pt x="889" y="1780"/>
                  </a:lnTo>
                  <a:lnTo>
                    <a:pt x="910" y="1725"/>
                  </a:lnTo>
                  <a:lnTo>
                    <a:pt x="932" y="1670"/>
                  </a:lnTo>
                  <a:lnTo>
                    <a:pt x="953" y="1615"/>
                  </a:lnTo>
                  <a:lnTo>
                    <a:pt x="974" y="1559"/>
                  </a:lnTo>
                  <a:lnTo>
                    <a:pt x="993" y="1503"/>
                  </a:lnTo>
                  <a:lnTo>
                    <a:pt x="1011" y="1446"/>
                  </a:lnTo>
                  <a:lnTo>
                    <a:pt x="1029" y="1390"/>
                  </a:lnTo>
                  <a:lnTo>
                    <a:pt x="1046" y="1334"/>
                  </a:lnTo>
                  <a:lnTo>
                    <a:pt x="1061" y="1276"/>
                  </a:lnTo>
                  <a:lnTo>
                    <a:pt x="1076" y="1220"/>
                  </a:lnTo>
                  <a:lnTo>
                    <a:pt x="1089" y="1162"/>
                  </a:lnTo>
                  <a:lnTo>
                    <a:pt x="1100" y="1104"/>
                  </a:lnTo>
                  <a:lnTo>
                    <a:pt x="1112" y="1047"/>
                  </a:lnTo>
                  <a:lnTo>
                    <a:pt x="1120" y="988"/>
                  </a:lnTo>
                  <a:lnTo>
                    <a:pt x="1127" y="930"/>
                  </a:lnTo>
                  <a:lnTo>
                    <a:pt x="1132" y="871"/>
                  </a:lnTo>
                  <a:lnTo>
                    <a:pt x="1135" y="813"/>
                  </a:lnTo>
                  <a:lnTo>
                    <a:pt x="1136" y="753"/>
                  </a:lnTo>
                  <a:lnTo>
                    <a:pt x="1135" y="695"/>
                  </a:lnTo>
                  <a:lnTo>
                    <a:pt x="1132" y="636"/>
                  </a:lnTo>
                  <a:lnTo>
                    <a:pt x="1126" y="576"/>
                  </a:lnTo>
                  <a:lnTo>
                    <a:pt x="1118" y="517"/>
                  </a:lnTo>
                  <a:lnTo>
                    <a:pt x="1107" y="457"/>
                  </a:lnTo>
                  <a:lnTo>
                    <a:pt x="1093" y="398"/>
                  </a:lnTo>
                  <a:lnTo>
                    <a:pt x="1077" y="338"/>
                  </a:lnTo>
                  <a:lnTo>
                    <a:pt x="1059" y="278"/>
                  </a:lnTo>
                  <a:lnTo>
                    <a:pt x="1037" y="219"/>
                  </a:lnTo>
                  <a:lnTo>
                    <a:pt x="1012" y="158"/>
                  </a:lnTo>
                  <a:lnTo>
                    <a:pt x="1005" y="141"/>
                  </a:lnTo>
                  <a:lnTo>
                    <a:pt x="996" y="125"/>
                  </a:lnTo>
                  <a:lnTo>
                    <a:pt x="987" y="110"/>
                  </a:lnTo>
                  <a:lnTo>
                    <a:pt x="976" y="95"/>
                  </a:lnTo>
                  <a:lnTo>
                    <a:pt x="965" y="81"/>
                  </a:lnTo>
                  <a:lnTo>
                    <a:pt x="952" y="68"/>
                  </a:lnTo>
                  <a:lnTo>
                    <a:pt x="938" y="55"/>
                  </a:lnTo>
                  <a:lnTo>
                    <a:pt x="923" y="44"/>
                  </a:lnTo>
                  <a:lnTo>
                    <a:pt x="908" y="35"/>
                  </a:lnTo>
                  <a:lnTo>
                    <a:pt x="892" y="26"/>
                  </a:lnTo>
                  <a:lnTo>
                    <a:pt x="875" y="18"/>
                  </a:lnTo>
                  <a:lnTo>
                    <a:pt x="858" y="12"/>
                  </a:lnTo>
                  <a:lnTo>
                    <a:pt x="840" y="7"/>
                  </a:lnTo>
                  <a:lnTo>
                    <a:pt x="821" y="3"/>
                  </a:lnTo>
                  <a:lnTo>
                    <a:pt x="803" y="1"/>
                  </a:lnTo>
                  <a:lnTo>
                    <a:pt x="783" y="0"/>
                  </a:lnTo>
                  <a:lnTo>
                    <a:pt x="771" y="1"/>
                  </a:lnTo>
                  <a:lnTo>
                    <a:pt x="757" y="2"/>
                  </a:lnTo>
                  <a:lnTo>
                    <a:pt x="745" y="3"/>
                  </a:lnTo>
                  <a:lnTo>
                    <a:pt x="733" y="5"/>
                  </a:lnTo>
                  <a:lnTo>
                    <a:pt x="721" y="8"/>
                  </a:lnTo>
                  <a:lnTo>
                    <a:pt x="709" y="11"/>
                  </a:lnTo>
                  <a:lnTo>
                    <a:pt x="698" y="15"/>
                  </a:lnTo>
                  <a:lnTo>
                    <a:pt x="687" y="20"/>
                  </a:lnTo>
                  <a:lnTo>
                    <a:pt x="676" y="25"/>
                  </a:lnTo>
                  <a:lnTo>
                    <a:pt x="666" y="30"/>
                  </a:lnTo>
                  <a:lnTo>
                    <a:pt x="655" y="36"/>
                  </a:lnTo>
                  <a:lnTo>
                    <a:pt x="645" y="42"/>
                  </a:lnTo>
                  <a:lnTo>
                    <a:pt x="636" y="49"/>
                  </a:lnTo>
                  <a:lnTo>
                    <a:pt x="626" y="56"/>
                  </a:lnTo>
                  <a:lnTo>
                    <a:pt x="618" y="65"/>
                  </a:lnTo>
                  <a:lnTo>
                    <a:pt x="609" y="73"/>
                  </a:lnTo>
                  <a:lnTo>
                    <a:pt x="601" y="82"/>
                  </a:lnTo>
                  <a:lnTo>
                    <a:pt x="592" y="91"/>
                  </a:lnTo>
                  <a:lnTo>
                    <a:pt x="585" y="100"/>
                  </a:lnTo>
                  <a:lnTo>
                    <a:pt x="578" y="110"/>
                  </a:lnTo>
                  <a:lnTo>
                    <a:pt x="572" y="119"/>
                  </a:lnTo>
                  <a:lnTo>
                    <a:pt x="566" y="130"/>
                  </a:lnTo>
                  <a:lnTo>
                    <a:pt x="560" y="140"/>
                  </a:lnTo>
                  <a:lnTo>
                    <a:pt x="555" y="151"/>
                  </a:lnTo>
                  <a:lnTo>
                    <a:pt x="551" y="162"/>
                  </a:lnTo>
                  <a:lnTo>
                    <a:pt x="547" y="174"/>
                  </a:lnTo>
                  <a:lnTo>
                    <a:pt x="544" y="185"/>
                  </a:lnTo>
                  <a:lnTo>
                    <a:pt x="541" y="197"/>
                  </a:lnTo>
                  <a:lnTo>
                    <a:pt x="539" y="210"/>
                  </a:lnTo>
                  <a:lnTo>
                    <a:pt x="537" y="222"/>
                  </a:lnTo>
                  <a:lnTo>
                    <a:pt x="537" y="235"/>
                  </a:lnTo>
                  <a:lnTo>
                    <a:pt x="536" y="247"/>
                  </a:lnTo>
                  <a:lnTo>
                    <a:pt x="536" y="259"/>
                  </a:lnTo>
                  <a:lnTo>
                    <a:pt x="537" y="270"/>
                  </a:lnTo>
                  <a:lnTo>
                    <a:pt x="539" y="281"/>
                  </a:lnTo>
                  <a:lnTo>
                    <a:pt x="540" y="291"/>
                  </a:lnTo>
                  <a:lnTo>
                    <a:pt x="546" y="312"/>
                  </a:lnTo>
                  <a:lnTo>
                    <a:pt x="552" y="332"/>
                  </a:lnTo>
                  <a:lnTo>
                    <a:pt x="552" y="333"/>
                  </a:lnTo>
                  <a:lnTo>
                    <a:pt x="553" y="335"/>
                  </a:lnTo>
                  <a:lnTo>
                    <a:pt x="554" y="337"/>
                  </a:lnTo>
                  <a:lnTo>
                    <a:pt x="555" y="339"/>
                  </a:lnTo>
                  <a:lnTo>
                    <a:pt x="557" y="346"/>
                  </a:lnTo>
                  <a:lnTo>
                    <a:pt x="574" y="389"/>
                  </a:lnTo>
                  <a:lnTo>
                    <a:pt x="590" y="432"/>
                  </a:lnTo>
                  <a:lnTo>
                    <a:pt x="604" y="474"/>
                  </a:lnTo>
                  <a:lnTo>
                    <a:pt x="616" y="518"/>
                  </a:lnTo>
                  <a:lnTo>
                    <a:pt x="625" y="561"/>
                  </a:lnTo>
                  <a:lnTo>
                    <a:pt x="632" y="605"/>
                  </a:lnTo>
                  <a:lnTo>
                    <a:pt x="637" y="649"/>
                  </a:lnTo>
                  <a:lnTo>
                    <a:pt x="641" y="692"/>
                  </a:lnTo>
                  <a:lnTo>
                    <a:pt x="642" y="736"/>
                  </a:lnTo>
                  <a:lnTo>
                    <a:pt x="642" y="780"/>
                  </a:lnTo>
                  <a:lnTo>
                    <a:pt x="640" y="824"/>
                  </a:lnTo>
                  <a:lnTo>
                    <a:pt x="637" y="868"/>
                  </a:lnTo>
                  <a:lnTo>
                    <a:pt x="632" y="913"/>
                  </a:lnTo>
                  <a:lnTo>
                    <a:pt x="626" y="957"/>
                  </a:lnTo>
                  <a:lnTo>
                    <a:pt x="618" y="1002"/>
                  </a:lnTo>
                  <a:lnTo>
                    <a:pt x="609" y="1048"/>
                  </a:lnTo>
                  <a:lnTo>
                    <a:pt x="599" y="1092"/>
                  </a:lnTo>
                  <a:lnTo>
                    <a:pt x="587" y="1138"/>
                  </a:lnTo>
                  <a:lnTo>
                    <a:pt x="574" y="1184"/>
                  </a:lnTo>
                  <a:lnTo>
                    <a:pt x="561" y="1230"/>
                  </a:lnTo>
                  <a:lnTo>
                    <a:pt x="546" y="1275"/>
                  </a:lnTo>
                  <a:lnTo>
                    <a:pt x="531" y="1321"/>
                  </a:lnTo>
                  <a:lnTo>
                    <a:pt x="515" y="1369"/>
                  </a:lnTo>
                  <a:lnTo>
                    <a:pt x="498" y="1415"/>
                  </a:lnTo>
                  <a:lnTo>
                    <a:pt x="462" y="1511"/>
                  </a:lnTo>
                  <a:lnTo>
                    <a:pt x="423" y="1607"/>
                  </a:lnTo>
                  <a:lnTo>
                    <a:pt x="383" y="1703"/>
                  </a:lnTo>
                  <a:lnTo>
                    <a:pt x="342" y="1802"/>
                  </a:lnTo>
                  <a:lnTo>
                    <a:pt x="298" y="1908"/>
                  </a:lnTo>
                  <a:lnTo>
                    <a:pt x="253" y="2014"/>
                  </a:lnTo>
                  <a:lnTo>
                    <a:pt x="232" y="2069"/>
                  </a:lnTo>
                  <a:lnTo>
                    <a:pt x="211" y="2122"/>
                  </a:lnTo>
                  <a:lnTo>
                    <a:pt x="190" y="2178"/>
                  </a:lnTo>
                  <a:lnTo>
                    <a:pt x="170" y="2232"/>
                  </a:lnTo>
                  <a:lnTo>
                    <a:pt x="150" y="2287"/>
                  </a:lnTo>
                  <a:lnTo>
                    <a:pt x="132" y="2343"/>
                  </a:lnTo>
                  <a:lnTo>
                    <a:pt x="114" y="2398"/>
                  </a:lnTo>
                  <a:lnTo>
                    <a:pt x="97" y="2454"/>
                  </a:lnTo>
                  <a:lnTo>
                    <a:pt x="80" y="2510"/>
                  </a:lnTo>
                  <a:lnTo>
                    <a:pt x="65" y="2566"/>
                  </a:lnTo>
                  <a:lnTo>
                    <a:pt x="52" y="2623"/>
                  </a:lnTo>
                  <a:lnTo>
                    <a:pt x="39" y="2679"/>
                  </a:lnTo>
                  <a:lnTo>
                    <a:pt x="29" y="2737"/>
                  </a:lnTo>
                  <a:lnTo>
                    <a:pt x="20" y="2794"/>
                  </a:lnTo>
                  <a:lnTo>
                    <a:pt x="12" y="2851"/>
                  </a:lnTo>
                  <a:lnTo>
                    <a:pt x="6" y="2909"/>
                  </a:lnTo>
                  <a:lnTo>
                    <a:pt x="2" y="2966"/>
                  </a:lnTo>
                  <a:lnTo>
                    <a:pt x="0" y="3025"/>
                  </a:lnTo>
                  <a:lnTo>
                    <a:pt x="0" y="3083"/>
                  </a:lnTo>
                  <a:lnTo>
                    <a:pt x="2" y="3140"/>
                  </a:lnTo>
                  <a:lnTo>
                    <a:pt x="7" y="3199"/>
                  </a:lnTo>
                  <a:lnTo>
                    <a:pt x="14" y="3257"/>
                  </a:lnTo>
                  <a:lnTo>
                    <a:pt x="23" y="3317"/>
                  </a:lnTo>
                  <a:lnTo>
                    <a:pt x="34" y="3375"/>
                  </a:lnTo>
                  <a:lnTo>
                    <a:pt x="49" y="3434"/>
                  </a:lnTo>
                  <a:lnTo>
                    <a:pt x="66" y="3493"/>
                  </a:lnTo>
                  <a:lnTo>
                    <a:pt x="86" y="3551"/>
                  </a:lnTo>
                  <a:lnTo>
                    <a:pt x="110" y="3611"/>
                  </a:lnTo>
                  <a:lnTo>
                    <a:pt x="114" y="3622"/>
                  </a:lnTo>
                  <a:lnTo>
                    <a:pt x="118" y="36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48" name="íṡlíďé">
              <a:extLst>
                <a:ext uri="{FF2B5EF4-FFF2-40B4-BE49-F238E27FC236}">
                  <a16:creationId xmlns:a16="http://schemas.microsoft.com/office/drawing/2014/main" id="{EB0E4155-2328-4C5F-A12E-06EC65AC54D3}"/>
                </a:ext>
              </a:extLst>
            </p:cNvPr>
            <p:cNvSpPr/>
            <p:nvPr/>
          </p:nvSpPr>
          <p:spPr bwMode="auto">
            <a:xfrm>
              <a:off x="8280260" y="87000"/>
              <a:ext cx="23779" cy="80848"/>
            </a:xfrm>
            <a:custGeom>
              <a:avLst/>
              <a:gdLst>
                <a:gd name="T0" fmla="*/ 123 w 1136"/>
                <a:gd name="T1" fmla="*/ 3641 h 3776"/>
                <a:gd name="T2" fmla="*/ 162 w 1136"/>
                <a:gd name="T3" fmla="*/ 3695 h 3776"/>
                <a:gd name="T4" fmla="*/ 214 w 1136"/>
                <a:gd name="T5" fmla="*/ 3738 h 3776"/>
                <a:gd name="T6" fmla="*/ 277 w 1136"/>
                <a:gd name="T7" fmla="*/ 3766 h 3776"/>
                <a:gd name="T8" fmla="*/ 346 w 1136"/>
                <a:gd name="T9" fmla="*/ 3776 h 3776"/>
                <a:gd name="T10" fmla="*/ 396 w 1136"/>
                <a:gd name="T11" fmla="*/ 3770 h 3776"/>
                <a:gd name="T12" fmla="*/ 445 w 1136"/>
                <a:gd name="T13" fmla="*/ 3756 h 3776"/>
                <a:gd name="T14" fmla="*/ 487 w 1136"/>
                <a:gd name="T15" fmla="*/ 3732 h 3776"/>
                <a:gd name="T16" fmla="*/ 525 w 1136"/>
                <a:gd name="T17" fmla="*/ 3702 h 3776"/>
                <a:gd name="T18" fmla="*/ 555 w 1136"/>
                <a:gd name="T19" fmla="*/ 3664 h 3776"/>
                <a:gd name="T20" fmla="*/ 580 w 1136"/>
                <a:gd name="T21" fmla="*/ 3621 h 3776"/>
                <a:gd name="T22" fmla="*/ 594 w 1136"/>
                <a:gd name="T23" fmla="*/ 3574 h 3776"/>
                <a:gd name="T24" fmla="*/ 599 w 1136"/>
                <a:gd name="T25" fmla="*/ 3523 h 3776"/>
                <a:gd name="T26" fmla="*/ 590 w 1136"/>
                <a:gd name="T27" fmla="*/ 3460 h 3776"/>
                <a:gd name="T28" fmla="*/ 558 w 1136"/>
                <a:gd name="T29" fmla="*/ 3367 h 3776"/>
                <a:gd name="T30" fmla="*/ 520 w 1136"/>
                <a:gd name="T31" fmla="*/ 3195 h 3776"/>
                <a:gd name="T32" fmla="*/ 511 w 1136"/>
                <a:gd name="T33" fmla="*/ 3021 h 3776"/>
                <a:gd name="T34" fmla="*/ 526 w 1136"/>
                <a:gd name="T35" fmla="*/ 2843 h 3776"/>
                <a:gd name="T36" fmla="*/ 562 w 1136"/>
                <a:gd name="T37" fmla="*/ 2661 h 3776"/>
                <a:gd name="T38" fmla="*/ 616 w 1136"/>
                <a:gd name="T39" fmla="*/ 2474 h 3776"/>
                <a:gd name="T40" fmla="*/ 720 w 1136"/>
                <a:gd name="T41" fmla="*/ 2189 h 3776"/>
                <a:gd name="T42" fmla="*/ 889 w 1136"/>
                <a:gd name="T43" fmla="*/ 1778 h 3776"/>
                <a:gd name="T44" fmla="*/ 974 w 1136"/>
                <a:gd name="T45" fmla="*/ 1558 h 3776"/>
                <a:gd name="T46" fmla="*/ 1046 w 1136"/>
                <a:gd name="T47" fmla="*/ 1332 h 3776"/>
                <a:gd name="T48" fmla="*/ 1102 w 1136"/>
                <a:gd name="T49" fmla="*/ 1103 h 3776"/>
                <a:gd name="T50" fmla="*/ 1132 w 1136"/>
                <a:gd name="T51" fmla="*/ 870 h 3776"/>
                <a:gd name="T52" fmla="*/ 1132 w 1136"/>
                <a:gd name="T53" fmla="*/ 634 h 3776"/>
                <a:gd name="T54" fmla="*/ 1094 w 1136"/>
                <a:gd name="T55" fmla="*/ 396 h 3776"/>
                <a:gd name="T56" fmla="*/ 1012 w 1136"/>
                <a:gd name="T57" fmla="*/ 158 h 3776"/>
                <a:gd name="T58" fmla="*/ 976 w 1136"/>
                <a:gd name="T59" fmla="*/ 93 h 3776"/>
                <a:gd name="T60" fmla="*/ 924 w 1136"/>
                <a:gd name="T61" fmla="*/ 44 h 3776"/>
                <a:gd name="T62" fmla="*/ 858 w 1136"/>
                <a:gd name="T63" fmla="*/ 11 h 3776"/>
                <a:gd name="T64" fmla="*/ 783 w 1136"/>
                <a:gd name="T65" fmla="*/ 0 h 3776"/>
                <a:gd name="T66" fmla="*/ 733 w 1136"/>
                <a:gd name="T67" fmla="*/ 5 h 3776"/>
                <a:gd name="T68" fmla="*/ 687 w 1136"/>
                <a:gd name="T69" fmla="*/ 19 h 3776"/>
                <a:gd name="T70" fmla="*/ 646 w 1136"/>
                <a:gd name="T71" fmla="*/ 42 h 3776"/>
                <a:gd name="T72" fmla="*/ 609 w 1136"/>
                <a:gd name="T73" fmla="*/ 72 h 3776"/>
                <a:gd name="T74" fmla="*/ 579 w 1136"/>
                <a:gd name="T75" fmla="*/ 108 h 3776"/>
                <a:gd name="T76" fmla="*/ 556 w 1136"/>
                <a:gd name="T77" fmla="*/ 150 h 3776"/>
                <a:gd name="T78" fmla="*/ 541 w 1136"/>
                <a:gd name="T79" fmla="*/ 196 h 3776"/>
                <a:gd name="T80" fmla="*/ 536 w 1136"/>
                <a:gd name="T81" fmla="*/ 246 h 3776"/>
                <a:gd name="T82" fmla="*/ 541 w 1136"/>
                <a:gd name="T83" fmla="*/ 290 h 3776"/>
                <a:gd name="T84" fmla="*/ 553 w 1136"/>
                <a:gd name="T85" fmla="*/ 334 h 3776"/>
                <a:gd name="T86" fmla="*/ 576 w 1136"/>
                <a:gd name="T87" fmla="*/ 387 h 3776"/>
                <a:gd name="T88" fmla="*/ 625 w 1136"/>
                <a:gd name="T89" fmla="*/ 561 h 3776"/>
                <a:gd name="T90" fmla="*/ 642 w 1136"/>
                <a:gd name="T91" fmla="*/ 735 h 3776"/>
                <a:gd name="T92" fmla="*/ 632 w 1136"/>
                <a:gd name="T93" fmla="*/ 911 h 3776"/>
                <a:gd name="T94" fmla="*/ 599 w 1136"/>
                <a:gd name="T95" fmla="*/ 1091 h 3776"/>
                <a:gd name="T96" fmla="*/ 546 w 1136"/>
                <a:gd name="T97" fmla="*/ 1275 h 3776"/>
                <a:gd name="T98" fmla="*/ 462 w 1136"/>
                <a:gd name="T99" fmla="*/ 1509 h 3776"/>
                <a:gd name="T100" fmla="*/ 298 w 1136"/>
                <a:gd name="T101" fmla="*/ 1906 h 3776"/>
                <a:gd name="T102" fmla="*/ 190 w 1136"/>
                <a:gd name="T103" fmla="*/ 2176 h 3776"/>
                <a:gd name="T104" fmla="*/ 114 w 1136"/>
                <a:gd name="T105" fmla="*/ 2397 h 3776"/>
                <a:gd name="T106" fmla="*/ 52 w 1136"/>
                <a:gd name="T107" fmla="*/ 2621 h 3776"/>
                <a:gd name="T108" fmla="*/ 12 w 1136"/>
                <a:gd name="T109" fmla="*/ 2850 h 3776"/>
                <a:gd name="T110" fmla="*/ 0 w 1136"/>
                <a:gd name="T111" fmla="*/ 3082 h 3776"/>
                <a:gd name="T112" fmla="*/ 23 w 1136"/>
                <a:gd name="T113" fmla="*/ 3315 h 3776"/>
                <a:gd name="T114" fmla="*/ 87 w 1136"/>
                <a:gd name="T115" fmla="*/ 3551 h 37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36" h="3776">
                  <a:moveTo>
                    <a:pt x="118" y="3630"/>
                  </a:moveTo>
                  <a:lnTo>
                    <a:pt x="120" y="3636"/>
                  </a:lnTo>
                  <a:lnTo>
                    <a:pt x="122" y="3641"/>
                  </a:lnTo>
                  <a:lnTo>
                    <a:pt x="123" y="3641"/>
                  </a:lnTo>
                  <a:lnTo>
                    <a:pt x="132" y="3655"/>
                  </a:lnTo>
                  <a:lnTo>
                    <a:pt x="141" y="3669"/>
                  </a:lnTo>
                  <a:lnTo>
                    <a:pt x="151" y="3683"/>
                  </a:lnTo>
                  <a:lnTo>
                    <a:pt x="162" y="3695"/>
                  </a:lnTo>
                  <a:lnTo>
                    <a:pt x="174" y="3707"/>
                  </a:lnTo>
                  <a:lnTo>
                    <a:pt x="186" y="3718"/>
                  </a:lnTo>
                  <a:lnTo>
                    <a:pt x="200" y="3729"/>
                  </a:lnTo>
                  <a:lnTo>
                    <a:pt x="214" y="3738"/>
                  </a:lnTo>
                  <a:lnTo>
                    <a:pt x="228" y="3746"/>
                  </a:lnTo>
                  <a:lnTo>
                    <a:pt x="245" y="3754"/>
                  </a:lnTo>
                  <a:lnTo>
                    <a:pt x="260" y="3760"/>
                  </a:lnTo>
                  <a:lnTo>
                    <a:pt x="277" y="3766"/>
                  </a:lnTo>
                  <a:lnTo>
                    <a:pt x="293" y="3770"/>
                  </a:lnTo>
                  <a:lnTo>
                    <a:pt x="310" y="3773"/>
                  </a:lnTo>
                  <a:lnTo>
                    <a:pt x="328" y="3776"/>
                  </a:lnTo>
                  <a:lnTo>
                    <a:pt x="346" y="3776"/>
                  </a:lnTo>
                  <a:lnTo>
                    <a:pt x="359" y="3776"/>
                  </a:lnTo>
                  <a:lnTo>
                    <a:pt x="372" y="3775"/>
                  </a:lnTo>
                  <a:lnTo>
                    <a:pt x="384" y="3773"/>
                  </a:lnTo>
                  <a:lnTo>
                    <a:pt x="396" y="3770"/>
                  </a:lnTo>
                  <a:lnTo>
                    <a:pt x="410" y="3768"/>
                  </a:lnTo>
                  <a:lnTo>
                    <a:pt x="422" y="3764"/>
                  </a:lnTo>
                  <a:lnTo>
                    <a:pt x="433" y="3760"/>
                  </a:lnTo>
                  <a:lnTo>
                    <a:pt x="445" y="3756"/>
                  </a:lnTo>
                  <a:lnTo>
                    <a:pt x="456" y="3751"/>
                  </a:lnTo>
                  <a:lnTo>
                    <a:pt x="467" y="3745"/>
                  </a:lnTo>
                  <a:lnTo>
                    <a:pt x="477" y="3739"/>
                  </a:lnTo>
                  <a:lnTo>
                    <a:pt x="487" y="3732"/>
                  </a:lnTo>
                  <a:lnTo>
                    <a:pt x="497" y="3725"/>
                  </a:lnTo>
                  <a:lnTo>
                    <a:pt x="507" y="3718"/>
                  </a:lnTo>
                  <a:lnTo>
                    <a:pt x="516" y="3710"/>
                  </a:lnTo>
                  <a:lnTo>
                    <a:pt x="525" y="3702"/>
                  </a:lnTo>
                  <a:lnTo>
                    <a:pt x="533" y="3693"/>
                  </a:lnTo>
                  <a:lnTo>
                    <a:pt x="541" y="3684"/>
                  </a:lnTo>
                  <a:lnTo>
                    <a:pt x="548" y="3674"/>
                  </a:lnTo>
                  <a:lnTo>
                    <a:pt x="555" y="3664"/>
                  </a:lnTo>
                  <a:lnTo>
                    <a:pt x="562" y="3654"/>
                  </a:lnTo>
                  <a:lnTo>
                    <a:pt x="568" y="3644"/>
                  </a:lnTo>
                  <a:lnTo>
                    <a:pt x="575" y="3632"/>
                  </a:lnTo>
                  <a:lnTo>
                    <a:pt x="580" y="3621"/>
                  </a:lnTo>
                  <a:lnTo>
                    <a:pt x="584" y="3609"/>
                  </a:lnTo>
                  <a:lnTo>
                    <a:pt x="588" y="3598"/>
                  </a:lnTo>
                  <a:lnTo>
                    <a:pt x="591" y="3586"/>
                  </a:lnTo>
                  <a:lnTo>
                    <a:pt x="594" y="3574"/>
                  </a:lnTo>
                  <a:lnTo>
                    <a:pt x="596" y="3561"/>
                  </a:lnTo>
                  <a:lnTo>
                    <a:pt x="598" y="3549"/>
                  </a:lnTo>
                  <a:lnTo>
                    <a:pt x="599" y="3536"/>
                  </a:lnTo>
                  <a:lnTo>
                    <a:pt x="599" y="3523"/>
                  </a:lnTo>
                  <a:lnTo>
                    <a:pt x="599" y="3507"/>
                  </a:lnTo>
                  <a:lnTo>
                    <a:pt x="597" y="3490"/>
                  </a:lnTo>
                  <a:lnTo>
                    <a:pt x="594" y="3475"/>
                  </a:lnTo>
                  <a:lnTo>
                    <a:pt x="590" y="3460"/>
                  </a:lnTo>
                  <a:lnTo>
                    <a:pt x="591" y="3455"/>
                  </a:lnTo>
                  <a:lnTo>
                    <a:pt x="590" y="3450"/>
                  </a:lnTo>
                  <a:lnTo>
                    <a:pt x="573" y="3409"/>
                  </a:lnTo>
                  <a:lnTo>
                    <a:pt x="558" y="3367"/>
                  </a:lnTo>
                  <a:lnTo>
                    <a:pt x="546" y="3324"/>
                  </a:lnTo>
                  <a:lnTo>
                    <a:pt x="535" y="3282"/>
                  </a:lnTo>
                  <a:lnTo>
                    <a:pt x="527" y="3239"/>
                  </a:lnTo>
                  <a:lnTo>
                    <a:pt x="520" y="3195"/>
                  </a:lnTo>
                  <a:lnTo>
                    <a:pt x="515" y="3152"/>
                  </a:lnTo>
                  <a:lnTo>
                    <a:pt x="512" y="3109"/>
                  </a:lnTo>
                  <a:lnTo>
                    <a:pt x="511" y="3065"/>
                  </a:lnTo>
                  <a:lnTo>
                    <a:pt x="511" y="3021"/>
                  </a:lnTo>
                  <a:lnTo>
                    <a:pt x="512" y="2977"/>
                  </a:lnTo>
                  <a:lnTo>
                    <a:pt x="515" y="2932"/>
                  </a:lnTo>
                  <a:lnTo>
                    <a:pt x="520" y="2888"/>
                  </a:lnTo>
                  <a:lnTo>
                    <a:pt x="526" y="2843"/>
                  </a:lnTo>
                  <a:lnTo>
                    <a:pt x="533" y="2798"/>
                  </a:lnTo>
                  <a:lnTo>
                    <a:pt x="542" y="2752"/>
                  </a:lnTo>
                  <a:lnTo>
                    <a:pt x="551" y="2707"/>
                  </a:lnTo>
                  <a:lnTo>
                    <a:pt x="562" y="2661"/>
                  </a:lnTo>
                  <a:lnTo>
                    <a:pt x="575" y="2614"/>
                  </a:lnTo>
                  <a:lnTo>
                    <a:pt x="588" y="2568"/>
                  </a:lnTo>
                  <a:lnTo>
                    <a:pt x="602" y="2522"/>
                  </a:lnTo>
                  <a:lnTo>
                    <a:pt x="616" y="2474"/>
                  </a:lnTo>
                  <a:lnTo>
                    <a:pt x="632" y="2428"/>
                  </a:lnTo>
                  <a:lnTo>
                    <a:pt x="648" y="2381"/>
                  </a:lnTo>
                  <a:lnTo>
                    <a:pt x="683" y="2285"/>
                  </a:lnTo>
                  <a:lnTo>
                    <a:pt x="720" y="2189"/>
                  </a:lnTo>
                  <a:lnTo>
                    <a:pt x="760" y="2091"/>
                  </a:lnTo>
                  <a:lnTo>
                    <a:pt x="800" y="1994"/>
                  </a:lnTo>
                  <a:lnTo>
                    <a:pt x="845" y="1887"/>
                  </a:lnTo>
                  <a:lnTo>
                    <a:pt x="889" y="1778"/>
                  </a:lnTo>
                  <a:lnTo>
                    <a:pt x="912" y="1724"/>
                  </a:lnTo>
                  <a:lnTo>
                    <a:pt x="933" y="1668"/>
                  </a:lnTo>
                  <a:lnTo>
                    <a:pt x="954" y="1613"/>
                  </a:lnTo>
                  <a:lnTo>
                    <a:pt x="974" y="1558"/>
                  </a:lnTo>
                  <a:lnTo>
                    <a:pt x="993" y="1501"/>
                  </a:lnTo>
                  <a:lnTo>
                    <a:pt x="1012" y="1446"/>
                  </a:lnTo>
                  <a:lnTo>
                    <a:pt x="1029" y="1389"/>
                  </a:lnTo>
                  <a:lnTo>
                    <a:pt x="1046" y="1332"/>
                  </a:lnTo>
                  <a:lnTo>
                    <a:pt x="1062" y="1276"/>
                  </a:lnTo>
                  <a:lnTo>
                    <a:pt x="1076" y="1218"/>
                  </a:lnTo>
                  <a:lnTo>
                    <a:pt x="1090" y="1161"/>
                  </a:lnTo>
                  <a:lnTo>
                    <a:pt x="1102" y="1103"/>
                  </a:lnTo>
                  <a:lnTo>
                    <a:pt x="1112" y="1045"/>
                  </a:lnTo>
                  <a:lnTo>
                    <a:pt x="1120" y="987"/>
                  </a:lnTo>
                  <a:lnTo>
                    <a:pt x="1127" y="928"/>
                  </a:lnTo>
                  <a:lnTo>
                    <a:pt x="1132" y="870"/>
                  </a:lnTo>
                  <a:lnTo>
                    <a:pt x="1135" y="811"/>
                  </a:lnTo>
                  <a:lnTo>
                    <a:pt x="1136" y="753"/>
                  </a:lnTo>
                  <a:lnTo>
                    <a:pt x="1135" y="693"/>
                  </a:lnTo>
                  <a:lnTo>
                    <a:pt x="1132" y="634"/>
                  </a:lnTo>
                  <a:lnTo>
                    <a:pt x="1126" y="576"/>
                  </a:lnTo>
                  <a:lnTo>
                    <a:pt x="1118" y="516"/>
                  </a:lnTo>
                  <a:lnTo>
                    <a:pt x="1107" y="457"/>
                  </a:lnTo>
                  <a:lnTo>
                    <a:pt x="1094" y="396"/>
                  </a:lnTo>
                  <a:lnTo>
                    <a:pt x="1077" y="337"/>
                  </a:lnTo>
                  <a:lnTo>
                    <a:pt x="1059" y="278"/>
                  </a:lnTo>
                  <a:lnTo>
                    <a:pt x="1037" y="217"/>
                  </a:lnTo>
                  <a:lnTo>
                    <a:pt x="1012" y="158"/>
                  </a:lnTo>
                  <a:lnTo>
                    <a:pt x="1005" y="141"/>
                  </a:lnTo>
                  <a:lnTo>
                    <a:pt x="997" y="124"/>
                  </a:lnTo>
                  <a:lnTo>
                    <a:pt x="987" y="108"/>
                  </a:lnTo>
                  <a:lnTo>
                    <a:pt x="976" y="93"/>
                  </a:lnTo>
                  <a:lnTo>
                    <a:pt x="965" y="80"/>
                  </a:lnTo>
                  <a:lnTo>
                    <a:pt x="952" y="67"/>
                  </a:lnTo>
                  <a:lnTo>
                    <a:pt x="939" y="55"/>
                  </a:lnTo>
                  <a:lnTo>
                    <a:pt x="924" y="44"/>
                  </a:lnTo>
                  <a:lnTo>
                    <a:pt x="908" y="34"/>
                  </a:lnTo>
                  <a:lnTo>
                    <a:pt x="892" y="25"/>
                  </a:lnTo>
                  <a:lnTo>
                    <a:pt x="875" y="18"/>
                  </a:lnTo>
                  <a:lnTo>
                    <a:pt x="858" y="11"/>
                  </a:lnTo>
                  <a:lnTo>
                    <a:pt x="840" y="6"/>
                  </a:lnTo>
                  <a:lnTo>
                    <a:pt x="822" y="3"/>
                  </a:lnTo>
                  <a:lnTo>
                    <a:pt x="803" y="0"/>
                  </a:lnTo>
                  <a:lnTo>
                    <a:pt x="783" y="0"/>
                  </a:lnTo>
                  <a:lnTo>
                    <a:pt x="771" y="0"/>
                  </a:lnTo>
                  <a:lnTo>
                    <a:pt x="758" y="1"/>
                  </a:lnTo>
                  <a:lnTo>
                    <a:pt x="746" y="3"/>
                  </a:lnTo>
                  <a:lnTo>
                    <a:pt x="733" y="5"/>
                  </a:lnTo>
                  <a:lnTo>
                    <a:pt x="721" y="7"/>
                  </a:lnTo>
                  <a:lnTo>
                    <a:pt x="710" y="11"/>
                  </a:lnTo>
                  <a:lnTo>
                    <a:pt x="698" y="15"/>
                  </a:lnTo>
                  <a:lnTo>
                    <a:pt x="687" y="19"/>
                  </a:lnTo>
                  <a:lnTo>
                    <a:pt x="676" y="24"/>
                  </a:lnTo>
                  <a:lnTo>
                    <a:pt x="666" y="29"/>
                  </a:lnTo>
                  <a:lnTo>
                    <a:pt x="656" y="35"/>
                  </a:lnTo>
                  <a:lnTo>
                    <a:pt x="646" y="42"/>
                  </a:lnTo>
                  <a:lnTo>
                    <a:pt x="636" y="48"/>
                  </a:lnTo>
                  <a:lnTo>
                    <a:pt x="627" y="56"/>
                  </a:lnTo>
                  <a:lnTo>
                    <a:pt x="618" y="63"/>
                  </a:lnTo>
                  <a:lnTo>
                    <a:pt x="609" y="72"/>
                  </a:lnTo>
                  <a:lnTo>
                    <a:pt x="601" y="80"/>
                  </a:lnTo>
                  <a:lnTo>
                    <a:pt x="593" y="89"/>
                  </a:lnTo>
                  <a:lnTo>
                    <a:pt x="586" y="98"/>
                  </a:lnTo>
                  <a:lnTo>
                    <a:pt x="579" y="108"/>
                  </a:lnTo>
                  <a:lnTo>
                    <a:pt x="573" y="118"/>
                  </a:lnTo>
                  <a:lnTo>
                    <a:pt x="566" y="128"/>
                  </a:lnTo>
                  <a:lnTo>
                    <a:pt x="561" y="140"/>
                  </a:lnTo>
                  <a:lnTo>
                    <a:pt x="556" y="150"/>
                  </a:lnTo>
                  <a:lnTo>
                    <a:pt x="551" y="162"/>
                  </a:lnTo>
                  <a:lnTo>
                    <a:pt x="547" y="173"/>
                  </a:lnTo>
                  <a:lnTo>
                    <a:pt x="544" y="185"/>
                  </a:lnTo>
                  <a:lnTo>
                    <a:pt x="541" y="196"/>
                  </a:lnTo>
                  <a:lnTo>
                    <a:pt x="539" y="208"/>
                  </a:lnTo>
                  <a:lnTo>
                    <a:pt x="538" y="221"/>
                  </a:lnTo>
                  <a:lnTo>
                    <a:pt x="537" y="233"/>
                  </a:lnTo>
                  <a:lnTo>
                    <a:pt x="536" y="246"/>
                  </a:lnTo>
                  <a:lnTo>
                    <a:pt x="537" y="257"/>
                  </a:lnTo>
                  <a:lnTo>
                    <a:pt x="537" y="268"/>
                  </a:lnTo>
                  <a:lnTo>
                    <a:pt x="539" y="280"/>
                  </a:lnTo>
                  <a:lnTo>
                    <a:pt x="541" y="290"/>
                  </a:lnTo>
                  <a:lnTo>
                    <a:pt x="546" y="311"/>
                  </a:lnTo>
                  <a:lnTo>
                    <a:pt x="552" y="331"/>
                  </a:lnTo>
                  <a:lnTo>
                    <a:pt x="552" y="333"/>
                  </a:lnTo>
                  <a:lnTo>
                    <a:pt x="553" y="334"/>
                  </a:lnTo>
                  <a:lnTo>
                    <a:pt x="554" y="336"/>
                  </a:lnTo>
                  <a:lnTo>
                    <a:pt x="555" y="339"/>
                  </a:lnTo>
                  <a:lnTo>
                    <a:pt x="557" y="345"/>
                  </a:lnTo>
                  <a:lnTo>
                    <a:pt x="576" y="387"/>
                  </a:lnTo>
                  <a:lnTo>
                    <a:pt x="591" y="431"/>
                  </a:lnTo>
                  <a:lnTo>
                    <a:pt x="605" y="474"/>
                  </a:lnTo>
                  <a:lnTo>
                    <a:pt x="616" y="517"/>
                  </a:lnTo>
                  <a:lnTo>
                    <a:pt x="625" y="561"/>
                  </a:lnTo>
                  <a:lnTo>
                    <a:pt x="632" y="604"/>
                  </a:lnTo>
                  <a:lnTo>
                    <a:pt x="637" y="647"/>
                  </a:lnTo>
                  <a:lnTo>
                    <a:pt x="641" y="690"/>
                  </a:lnTo>
                  <a:lnTo>
                    <a:pt x="642" y="735"/>
                  </a:lnTo>
                  <a:lnTo>
                    <a:pt x="642" y="778"/>
                  </a:lnTo>
                  <a:lnTo>
                    <a:pt x="640" y="822"/>
                  </a:lnTo>
                  <a:lnTo>
                    <a:pt x="637" y="867"/>
                  </a:lnTo>
                  <a:lnTo>
                    <a:pt x="632" y="911"/>
                  </a:lnTo>
                  <a:lnTo>
                    <a:pt x="626" y="956"/>
                  </a:lnTo>
                  <a:lnTo>
                    <a:pt x="618" y="1001"/>
                  </a:lnTo>
                  <a:lnTo>
                    <a:pt x="609" y="1046"/>
                  </a:lnTo>
                  <a:lnTo>
                    <a:pt x="599" y="1091"/>
                  </a:lnTo>
                  <a:lnTo>
                    <a:pt x="588" y="1137"/>
                  </a:lnTo>
                  <a:lnTo>
                    <a:pt x="575" y="1182"/>
                  </a:lnTo>
                  <a:lnTo>
                    <a:pt x="561" y="1228"/>
                  </a:lnTo>
                  <a:lnTo>
                    <a:pt x="546" y="1275"/>
                  </a:lnTo>
                  <a:lnTo>
                    <a:pt x="531" y="1321"/>
                  </a:lnTo>
                  <a:lnTo>
                    <a:pt x="515" y="1367"/>
                  </a:lnTo>
                  <a:lnTo>
                    <a:pt x="498" y="1415"/>
                  </a:lnTo>
                  <a:lnTo>
                    <a:pt x="462" y="1509"/>
                  </a:lnTo>
                  <a:lnTo>
                    <a:pt x="424" y="1605"/>
                  </a:lnTo>
                  <a:lnTo>
                    <a:pt x="383" y="1703"/>
                  </a:lnTo>
                  <a:lnTo>
                    <a:pt x="342" y="1801"/>
                  </a:lnTo>
                  <a:lnTo>
                    <a:pt x="298" y="1906"/>
                  </a:lnTo>
                  <a:lnTo>
                    <a:pt x="254" y="2013"/>
                  </a:lnTo>
                  <a:lnTo>
                    <a:pt x="233" y="2067"/>
                  </a:lnTo>
                  <a:lnTo>
                    <a:pt x="211" y="2122"/>
                  </a:lnTo>
                  <a:lnTo>
                    <a:pt x="190" y="2176"/>
                  </a:lnTo>
                  <a:lnTo>
                    <a:pt x="170" y="2230"/>
                  </a:lnTo>
                  <a:lnTo>
                    <a:pt x="151" y="2286"/>
                  </a:lnTo>
                  <a:lnTo>
                    <a:pt x="132" y="2341"/>
                  </a:lnTo>
                  <a:lnTo>
                    <a:pt x="114" y="2397"/>
                  </a:lnTo>
                  <a:lnTo>
                    <a:pt x="97" y="2452"/>
                  </a:lnTo>
                  <a:lnTo>
                    <a:pt x="81" y="2508"/>
                  </a:lnTo>
                  <a:lnTo>
                    <a:pt x="66" y="2565"/>
                  </a:lnTo>
                  <a:lnTo>
                    <a:pt x="52" y="2621"/>
                  </a:lnTo>
                  <a:lnTo>
                    <a:pt x="40" y="2679"/>
                  </a:lnTo>
                  <a:lnTo>
                    <a:pt x="29" y="2735"/>
                  </a:lnTo>
                  <a:lnTo>
                    <a:pt x="20" y="2792"/>
                  </a:lnTo>
                  <a:lnTo>
                    <a:pt x="12" y="2850"/>
                  </a:lnTo>
                  <a:lnTo>
                    <a:pt x="6" y="2907"/>
                  </a:lnTo>
                  <a:lnTo>
                    <a:pt x="2" y="2966"/>
                  </a:lnTo>
                  <a:lnTo>
                    <a:pt x="0" y="3023"/>
                  </a:lnTo>
                  <a:lnTo>
                    <a:pt x="0" y="3082"/>
                  </a:lnTo>
                  <a:lnTo>
                    <a:pt x="3" y="3140"/>
                  </a:lnTo>
                  <a:lnTo>
                    <a:pt x="7" y="3198"/>
                  </a:lnTo>
                  <a:lnTo>
                    <a:pt x="14" y="3257"/>
                  </a:lnTo>
                  <a:lnTo>
                    <a:pt x="23" y="3315"/>
                  </a:lnTo>
                  <a:lnTo>
                    <a:pt x="35" y="3374"/>
                  </a:lnTo>
                  <a:lnTo>
                    <a:pt x="49" y="3433"/>
                  </a:lnTo>
                  <a:lnTo>
                    <a:pt x="67" y="3491"/>
                  </a:lnTo>
                  <a:lnTo>
                    <a:pt x="87" y="3551"/>
                  </a:lnTo>
                  <a:lnTo>
                    <a:pt x="110" y="3610"/>
                  </a:lnTo>
                  <a:lnTo>
                    <a:pt x="114" y="3620"/>
                  </a:lnTo>
                  <a:lnTo>
                    <a:pt x="118" y="36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49" name="ïšḷïḑè">
              <a:extLst>
                <a:ext uri="{FF2B5EF4-FFF2-40B4-BE49-F238E27FC236}">
                  <a16:creationId xmlns:a16="http://schemas.microsoft.com/office/drawing/2014/main" id="{5F52BE24-E245-4841-AC4F-B70D5B872E36}"/>
                </a:ext>
              </a:extLst>
            </p:cNvPr>
            <p:cNvSpPr/>
            <p:nvPr/>
          </p:nvSpPr>
          <p:spPr bwMode="auto">
            <a:xfrm>
              <a:off x="8224776" y="40235"/>
              <a:ext cx="24571" cy="80848"/>
            </a:xfrm>
            <a:custGeom>
              <a:avLst/>
              <a:gdLst>
                <a:gd name="T0" fmla="*/ 123 w 1136"/>
                <a:gd name="T1" fmla="*/ 3641 h 3777"/>
                <a:gd name="T2" fmla="*/ 162 w 1136"/>
                <a:gd name="T3" fmla="*/ 3696 h 3777"/>
                <a:gd name="T4" fmla="*/ 213 w 1136"/>
                <a:gd name="T5" fmla="*/ 3739 h 3777"/>
                <a:gd name="T6" fmla="*/ 276 w 1136"/>
                <a:gd name="T7" fmla="*/ 3767 h 3777"/>
                <a:gd name="T8" fmla="*/ 346 w 1136"/>
                <a:gd name="T9" fmla="*/ 3777 h 3777"/>
                <a:gd name="T10" fmla="*/ 396 w 1136"/>
                <a:gd name="T11" fmla="*/ 3772 h 3777"/>
                <a:gd name="T12" fmla="*/ 444 w 1136"/>
                <a:gd name="T13" fmla="*/ 3757 h 3777"/>
                <a:gd name="T14" fmla="*/ 487 w 1136"/>
                <a:gd name="T15" fmla="*/ 3734 h 3777"/>
                <a:gd name="T16" fmla="*/ 524 w 1136"/>
                <a:gd name="T17" fmla="*/ 3702 h 3777"/>
                <a:gd name="T18" fmla="*/ 555 w 1136"/>
                <a:gd name="T19" fmla="*/ 3665 h 3777"/>
                <a:gd name="T20" fmla="*/ 578 w 1136"/>
                <a:gd name="T21" fmla="*/ 3622 h 3777"/>
                <a:gd name="T22" fmla="*/ 593 w 1136"/>
                <a:gd name="T23" fmla="*/ 3575 h 3777"/>
                <a:gd name="T24" fmla="*/ 598 w 1136"/>
                <a:gd name="T25" fmla="*/ 3523 h 3777"/>
                <a:gd name="T26" fmla="*/ 589 w 1136"/>
                <a:gd name="T27" fmla="*/ 3461 h 3777"/>
                <a:gd name="T28" fmla="*/ 558 w 1136"/>
                <a:gd name="T29" fmla="*/ 3367 h 3777"/>
                <a:gd name="T30" fmla="*/ 520 w 1136"/>
                <a:gd name="T31" fmla="*/ 3197 h 3777"/>
                <a:gd name="T32" fmla="*/ 510 w 1136"/>
                <a:gd name="T33" fmla="*/ 3023 h 3777"/>
                <a:gd name="T34" fmla="*/ 526 w 1136"/>
                <a:gd name="T35" fmla="*/ 2844 h 3777"/>
                <a:gd name="T36" fmla="*/ 562 w 1136"/>
                <a:gd name="T37" fmla="*/ 2662 h 3777"/>
                <a:gd name="T38" fmla="*/ 616 w 1136"/>
                <a:gd name="T39" fmla="*/ 2476 h 3777"/>
                <a:gd name="T40" fmla="*/ 720 w 1136"/>
                <a:gd name="T41" fmla="*/ 2190 h 3777"/>
                <a:gd name="T42" fmla="*/ 889 w 1136"/>
                <a:gd name="T43" fmla="*/ 1780 h 3777"/>
                <a:gd name="T44" fmla="*/ 973 w 1136"/>
                <a:gd name="T45" fmla="*/ 1558 h 3777"/>
                <a:gd name="T46" fmla="*/ 1046 w 1136"/>
                <a:gd name="T47" fmla="*/ 1334 h 3777"/>
                <a:gd name="T48" fmla="*/ 1100 w 1136"/>
                <a:gd name="T49" fmla="*/ 1104 h 3777"/>
                <a:gd name="T50" fmla="*/ 1132 w 1136"/>
                <a:gd name="T51" fmla="*/ 871 h 3777"/>
                <a:gd name="T52" fmla="*/ 1131 w 1136"/>
                <a:gd name="T53" fmla="*/ 636 h 3777"/>
                <a:gd name="T54" fmla="*/ 1093 w 1136"/>
                <a:gd name="T55" fmla="*/ 398 h 3777"/>
                <a:gd name="T56" fmla="*/ 1012 w 1136"/>
                <a:gd name="T57" fmla="*/ 158 h 3777"/>
                <a:gd name="T58" fmla="*/ 976 w 1136"/>
                <a:gd name="T59" fmla="*/ 95 h 3777"/>
                <a:gd name="T60" fmla="*/ 923 w 1136"/>
                <a:gd name="T61" fmla="*/ 44 h 3777"/>
                <a:gd name="T62" fmla="*/ 858 w 1136"/>
                <a:gd name="T63" fmla="*/ 12 h 3777"/>
                <a:gd name="T64" fmla="*/ 783 w 1136"/>
                <a:gd name="T65" fmla="*/ 0 h 3777"/>
                <a:gd name="T66" fmla="*/ 733 w 1136"/>
                <a:gd name="T67" fmla="*/ 5 h 3777"/>
                <a:gd name="T68" fmla="*/ 687 w 1136"/>
                <a:gd name="T69" fmla="*/ 19 h 3777"/>
                <a:gd name="T70" fmla="*/ 645 w 1136"/>
                <a:gd name="T71" fmla="*/ 42 h 3777"/>
                <a:gd name="T72" fmla="*/ 608 w 1136"/>
                <a:gd name="T73" fmla="*/ 73 h 3777"/>
                <a:gd name="T74" fmla="*/ 578 w 1136"/>
                <a:gd name="T75" fmla="*/ 109 h 3777"/>
                <a:gd name="T76" fmla="*/ 555 w 1136"/>
                <a:gd name="T77" fmla="*/ 151 h 3777"/>
                <a:gd name="T78" fmla="*/ 541 w 1136"/>
                <a:gd name="T79" fmla="*/ 197 h 3777"/>
                <a:gd name="T80" fmla="*/ 536 w 1136"/>
                <a:gd name="T81" fmla="*/ 247 h 3777"/>
                <a:gd name="T82" fmla="*/ 540 w 1136"/>
                <a:gd name="T83" fmla="*/ 291 h 3777"/>
                <a:gd name="T84" fmla="*/ 553 w 1136"/>
                <a:gd name="T85" fmla="*/ 334 h 3777"/>
                <a:gd name="T86" fmla="*/ 574 w 1136"/>
                <a:gd name="T87" fmla="*/ 389 h 3777"/>
                <a:gd name="T88" fmla="*/ 625 w 1136"/>
                <a:gd name="T89" fmla="*/ 561 h 3777"/>
                <a:gd name="T90" fmla="*/ 642 w 1136"/>
                <a:gd name="T91" fmla="*/ 735 h 3777"/>
                <a:gd name="T92" fmla="*/ 632 w 1136"/>
                <a:gd name="T93" fmla="*/ 913 h 3777"/>
                <a:gd name="T94" fmla="*/ 598 w 1136"/>
                <a:gd name="T95" fmla="*/ 1092 h 3777"/>
                <a:gd name="T96" fmla="*/ 546 w 1136"/>
                <a:gd name="T97" fmla="*/ 1275 h 3777"/>
                <a:gd name="T98" fmla="*/ 462 w 1136"/>
                <a:gd name="T99" fmla="*/ 1510 h 3777"/>
                <a:gd name="T100" fmla="*/ 298 w 1136"/>
                <a:gd name="T101" fmla="*/ 1908 h 3777"/>
                <a:gd name="T102" fmla="*/ 190 w 1136"/>
                <a:gd name="T103" fmla="*/ 2177 h 3777"/>
                <a:gd name="T104" fmla="*/ 114 w 1136"/>
                <a:gd name="T105" fmla="*/ 2397 h 3777"/>
                <a:gd name="T106" fmla="*/ 51 w 1136"/>
                <a:gd name="T107" fmla="*/ 2623 h 3777"/>
                <a:gd name="T108" fmla="*/ 12 w 1136"/>
                <a:gd name="T109" fmla="*/ 2850 h 3777"/>
                <a:gd name="T110" fmla="*/ 0 w 1136"/>
                <a:gd name="T111" fmla="*/ 3082 h 3777"/>
                <a:gd name="T112" fmla="*/ 23 w 1136"/>
                <a:gd name="T113" fmla="*/ 3316 h 3777"/>
                <a:gd name="T114" fmla="*/ 86 w 1136"/>
                <a:gd name="T115" fmla="*/ 3551 h 3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36" h="3777">
                  <a:moveTo>
                    <a:pt x="118" y="3632"/>
                  </a:moveTo>
                  <a:lnTo>
                    <a:pt x="120" y="3636"/>
                  </a:lnTo>
                  <a:lnTo>
                    <a:pt x="122" y="3641"/>
                  </a:lnTo>
                  <a:lnTo>
                    <a:pt x="123" y="3641"/>
                  </a:lnTo>
                  <a:lnTo>
                    <a:pt x="132" y="3656"/>
                  </a:lnTo>
                  <a:lnTo>
                    <a:pt x="141" y="3670"/>
                  </a:lnTo>
                  <a:lnTo>
                    <a:pt x="151" y="3683"/>
                  </a:lnTo>
                  <a:lnTo>
                    <a:pt x="162" y="3696"/>
                  </a:lnTo>
                  <a:lnTo>
                    <a:pt x="174" y="3708"/>
                  </a:lnTo>
                  <a:lnTo>
                    <a:pt x="186" y="3720"/>
                  </a:lnTo>
                  <a:lnTo>
                    <a:pt x="200" y="3730"/>
                  </a:lnTo>
                  <a:lnTo>
                    <a:pt x="213" y="3739"/>
                  </a:lnTo>
                  <a:lnTo>
                    <a:pt x="228" y="3748"/>
                  </a:lnTo>
                  <a:lnTo>
                    <a:pt x="243" y="3755"/>
                  </a:lnTo>
                  <a:lnTo>
                    <a:pt x="259" y="3762"/>
                  </a:lnTo>
                  <a:lnTo>
                    <a:pt x="276" y="3767"/>
                  </a:lnTo>
                  <a:lnTo>
                    <a:pt x="293" y="3771"/>
                  </a:lnTo>
                  <a:lnTo>
                    <a:pt x="310" y="3774"/>
                  </a:lnTo>
                  <a:lnTo>
                    <a:pt x="328" y="3776"/>
                  </a:lnTo>
                  <a:lnTo>
                    <a:pt x="346" y="3777"/>
                  </a:lnTo>
                  <a:lnTo>
                    <a:pt x="359" y="3777"/>
                  </a:lnTo>
                  <a:lnTo>
                    <a:pt x="371" y="3776"/>
                  </a:lnTo>
                  <a:lnTo>
                    <a:pt x="384" y="3774"/>
                  </a:lnTo>
                  <a:lnTo>
                    <a:pt x="396" y="3772"/>
                  </a:lnTo>
                  <a:lnTo>
                    <a:pt x="408" y="3769"/>
                  </a:lnTo>
                  <a:lnTo>
                    <a:pt x="420" y="3766"/>
                  </a:lnTo>
                  <a:lnTo>
                    <a:pt x="432" y="3762"/>
                  </a:lnTo>
                  <a:lnTo>
                    <a:pt x="444" y="3757"/>
                  </a:lnTo>
                  <a:lnTo>
                    <a:pt x="456" y="3752"/>
                  </a:lnTo>
                  <a:lnTo>
                    <a:pt x="466" y="3747"/>
                  </a:lnTo>
                  <a:lnTo>
                    <a:pt x="477" y="3740"/>
                  </a:lnTo>
                  <a:lnTo>
                    <a:pt x="487" y="3734"/>
                  </a:lnTo>
                  <a:lnTo>
                    <a:pt x="497" y="3727"/>
                  </a:lnTo>
                  <a:lnTo>
                    <a:pt x="506" y="3719"/>
                  </a:lnTo>
                  <a:lnTo>
                    <a:pt x="516" y="3712"/>
                  </a:lnTo>
                  <a:lnTo>
                    <a:pt x="524" y="3702"/>
                  </a:lnTo>
                  <a:lnTo>
                    <a:pt x="533" y="3693"/>
                  </a:lnTo>
                  <a:lnTo>
                    <a:pt x="541" y="3684"/>
                  </a:lnTo>
                  <a:lnTo>
                    <a:pt x="548" y="3675"/>
                  </a:lnTo>
                  <a:lnTo>
                    <a:pt x="555" y="3665"/>
                  </a:lnTo>
                  <a:lnTo>
                    <a:pt x="562" y="3655"/>
                  </a:lnTo>
                  <a:lnTo>
                    <a:pt x="568" y="3644"/>
                  </a:lnTo>
                  <a:lnTo>
                    <a:pt x="573" y="3633"/>
                  </a:lnTo>
                  <a:lnTo>
                    <a:pt x="578" y="3622"/>
                  </a:lnTo>
                  <a:lnTo>
                    <a:pt x="583" y="3611"/>
                  </a:lnTo>
                  <a:lnTo>
                    <a:pt x="587" y="3599"/>
                  </a:lnTo>
                  <a:lnTo>
                    <a:pt x="590" y="3587"/>
                  </a:lnTo>
                  <a:lnTo>
                    <a:pt x="593" y="3575"/>
                  </a:lnTo>
                  <a:lnTo>
                    <a:pt x="595" y="3562"/>
                  </a:lnTo>
                  <a:lnTo>
                    <a:pt x="597" y="3549"/>
                  </a:lnTo>
                  <a:lnTo>
                    <a:pt x="598" y="3536"/>
                  </a:lnTo>
                  <a:lnTo>
                    <a:pt x="598" y="3523"/>
                  </a:lnTo>
                  <a:lnTo>
                    <a:pt x="597" y="3507"/>
                  </a:lnTo>
                  <a:lnTo>
                    <a:pt x="595" y="3492"/>
                  </a:lnTo>
                  <a:lnTo>
                    <a:pt x="593" y="3476"/>
                  </a:lnTo>
                  <a:lnTo>
                    <a:pt x="589" y="3461"/>
                  </a:lnTo>
                  <a:lnTo>
                    <a:pt x="590" y="3456"/>
                  </a:lnTo>
                  <a:lnTo>
                    <a:pt x="589" y="3451"/>
                  </a:lnTo>
                  <a:lnTo>
                    <a:pt x="572" y="3409"/>
                  </a:lnTo>
                  <a:lnTo>
                    <a:pt x="558" y="3367"/>
                  </a:lnTo>
                  <a:lnTo>
                    <a:pt x="545" y="3325"/>
                  </a:lnTo>
                  <a:lnTo>
                    <a:pt x="535" y="3282"/>
                  </a:lnTo>
                  <a:lnTo>
                    <a:pt x="526" y="3240"/>
                  </a:lnTo>
                  <a:lnTo>
                    <a:pt x="520" y="3197"/>
                  </a:lnTo>
                  <a:lnTo>
                    <a:pt x="515" y="3154"/>
                  </a:lnTo>
                  <a:lnTo>
                    <a:pt x="512" y="3110"/>
                  </a:lnTo>
                  <a:lnTo>
                    <a:pt x="510" y="3066"/>
                  </a:lnTo>
                  <a:lnTo>
                    <a:pt x="510" y="3023"/>
                  </a:lnTo>
                  <a:lnTo>
                    <a:pt x="512" y="2978"/>
                  </a:lnTo>
                  <a:lnTo>
                    <a:pt x="515" y="2934"/>
                  </a:lnTo>
                  <a:lnTo>
                    <a:pt x="520" y="2889"/>
                  </a:lnTo>
                  <a:lnTo>
                    <a:pt x="526" y="2844"/>
                  </a:lnTo>
                  <a:lnTo>
                    <a:pt x="533" y="2799"/>
                  </a:lnTo>
                  <a:lnTo>
                    <a:pt x="541" y="2753"/>
                  </a:lnTo>
                  <a:lnTo>
                    <a:pt x="551" y="2707"/>
                  </a:lnTo>
                  <a:lnTo>
                    <a:pt x="562" y="2662"/>
                  </a:lnTo>
                  <a:lnTo>
                    <a:pt x="574" y="2616"/>
                  </a:lnTo>
                  <a:lnTo>
                    <a:pt x="586" y="2569"/>
                  </a:lnTo>
                  <a:lnTo>
                    <a:pt x="600" y="2522"/>
                  </a:lnTo>
                  <a:lnTo>
                    <a:pt x="616" y="2476"/>
                  </a:lnTo>
                  <a:lnTo>
                    <a:pt x="632" y="2428"/>
                  </a:lnTo>
                  <a:lnTo>
                    <a:pt x="648" y="2381"/>
                  </a:lnTo>
                  <a:lnTo>
                    <a:pt x="683" y="2286"/>
                  </a:lnTo>
                  <a:lnTo>
                    <a:pt x="720" y="2190"/>
                  </a:lnTo>
                  <a:lnTo>
                    <a:pt x="759" y="2093"/>
                  </a:lnTo>
                  <a:lnTo>
                    <a:pt x="800" y="1995"/>
                  </a:lnTo>
                  <a:lnTo>
                    <a:pt x="845" y="1887"/>
                  </a:lnTo>
                  <a:lnTo>
                    <a:pt x="889" y="1780"/>
                  </a:lnTo>
                  <a:lnTo>
                    <a:pt x="910" y="1724"/>
                  </a:lnTo>
                  <a:lnTo>
                    <a:pt x="932" y="1670"/>
                  </a:lnTo>
                  <a:lnTo>
                    <a:pt x="953" y="1615"/>
                  </a:lnTo>
                  <a:lnTo>
                    <a:pt x="973" y="1558"/>
                  </a:lnTo>
                  <a:lnTo>
                    <a:pt x="993" y="1503"/>
                  </a:lnTo>
                  <a:lnTo>
                    <a:pt x="1011" y="1446"/>
                  </a:lnTo>
                  <a:lnTo>
                    <a:pt x="1029" y="1390"/>
                  </a:lnTo>
                  <a:lnTo>
                    <a:pt x="1046" y="1334"/>
                  </a:lnTo>
                  <a:lnTo>
                    <a:pt x="1061" y="1276"/>
                  </a:lnTo>
                  <a:lnTo>
                    <a:pt x="1076" y="1219"/>
                  </a:lnTo>
                  <a:lnTo>
                    <a:pt x="1089" y="1161"/>
                  </a:lnTo>
                  <a:lnTo>
                    <a:pt x="1100" y="1104"/>
                  </a:lnTo>
                  <a:lnTo>
                    <a:pt x="1110" y="1045"/>
                  </a:lnTo>
                  <a:lnTo>
                    <a:pt x="1119" y="988"/>
                  </a:lnTo>
                  <a:lnTo>
                    <a:pt x="1127" y="930"/>
                  </a:lnTo>
                  <a:lnTo>
                    <a:pt x="1132" y="871"/>
                  </a:lnTo>
                  <a:lnTo>
                    <a:pt x="1135" y="813"/>
                  </a:lnTo>
                  <a:lnTo>
                    <a:pt x="1136" y="753"/>
                  </a:lnTo>
                  <a:lnTo>
                    <a:pt x="1135" y="695"/>
                  </a:lnTo>
                  <a:lnTo>
                    <a:pt x="1131" y="636"/>
                  </a:lnTo>
                  <a:lnTo>
                    <a:pt x="1126" y="576"/>
                  </a:lnTo>
                  <a:lnTo>
                    <a:pt x="1117" y="517"/>
                  </a:lnTo>
                  <a:lnTo>
                    <a:pt x="1106" y="457"/>
                  </a:lnTo>
                  <a:lnTo>
                    <a:pt x="1093" y="398"/>
                  </a:lnTo>
                  <a:lnTo>
                    <a:pt x="1077" y="337"/>
                  </a:lnTo>
                  <a:lnTo>
                    <a:pt x="1058" y="278"/>
                  </a:lnTo>
                  <a:lnTo>
                    <a:pt x="1037" y="219"/>
                  </a:lnTo>
                  <a:lnTo>
                    <a:pt x="1012" y="158"/>
                  </a:lnTo>
                  <a:lnTo>
                    <a:pt x="1005" y="141"/>
                  </a:lnTo>
                  <a:lnTo>
                    <a:pt x="996" y="125"/>
                  </a:lnTo>
                  <a:lnTo>
                    <a:pt x="987" y="109"/>
                  </a:lnTo>
                  <a:lnTo>
                    <a:pt x="976" y="95"/>
                  </a:lnTo>
                  <a:lnTo>
                    <a:pt x="965" y="81"/>
                  </a:lnTo>
                  <a:lnTo>
                    <a:pt x="952" y="67"/>
                  </a:lnTo>
                  <a:lnTo>
                    <a:pt x="937" y="55"/>
                  </a:lnTo>
                  <a:lnTo>
                    <a:pt x="923" y="44"/>
                  </a:lnTo>
                  <a:lnTo>
                    <a:pt x="908" y="34"/>
                  </a:lnTo>
                  <a:lnTo>
                    <a:pt x="892" y="25"/>
                  </a:lnTo>
                  <a:lnTo>
                    <a:pt x="875" y="18"/>
                  </a:lnTo>
                  <a:lnTo>
                    <a:pt x="858" y="12"/>
                  </a:lnTo>
                  <a:lnTo>
                    <a:pt x="840" y="7"/>
                  </a:lnTo>
                  <a:lnTo>
                    <a:pt x="821" y="3"/>
                  </a:lnTo>
                  <a:lnTo>
                    <a:pt x="802" y="1"/>
                  </a:lnTo>
                  <a:lnTo>
                    <a:pt x="783" y="0"/>
                  </a:lnTo>
                  <a:lnTo>
                    <a:pt x="769" y="0"/>
                  </a:lnTo>
                  <a:lnTo>
                    <a:pt x="757" y="1"/>
                  </a:lnTo>
                  <a:lnTo>
                    <a:pt x="745" y="3"/>
                  </a:lnTo>
                  <a:lnTo>
                    <a:pt x="733" y="5"/>
                  </a:lnTo>
                  <a:lnTo>
                    <a:pt x="721" y="8"/>
                  </a:lnTo>
                  <a:lnTo>
                    <a:pt x="709" y="11"/>
                  </a:lnTo>
                  <a:lnTo>
                    <a:pt x="698" y="15"/>
                  </a:lnTo>
                  <a:lnTo>
                    <a:pt x="687" y="19"/>
                  </a:lnTo>
                  <a:lnTo>
                    <a:pt x="676" y="24"/>
                  </a:lnTo>
                  <a:lnTo>
                    <a:pt x="665" y="30"/>
                  </a:lnTo>
                  <a:lnTo>
                    <a:pt x="655" y="36"/>
                  </a:lnTo>
                  <a:lnTo>
                    <a:pt x="645" y="42"/>
                  </a:lnTo>
                  <a:lnTo>
                    <a:pt x="636" y="49"/>
                  </a:lnTo>
                  <a:lnTo>
                    <a:pt x="626" y="56"/>
                  </a:lnTo>
                  <a:lnTo>
                    <a:pt x="618" y="64"/>
                  </a:lnTo>
                  <a:lnTo>
                    <a:pt x="608" y="73"/>
                  </a:lnTo>
                  <a:lnTo>
                    <a:pt x="600" y="81"/>
                  </a:lnTo>
                  <a:lnTo>
                    <a:pt x="592" y="90"/>
                  </a:lnTo>
                  <a:lnTo>
                    <a:pt x="585" y="100"/>
                  </a:lnTo>
                  <a:lnTo>
                    <a:pt x="578" y="109"/>
                  </a:lnTo>
                  <a:lnTo>
                    <a:pt x="572" y="119"/>
                  </a:lnTo>
                  <a:lnTo>
                    <a:pt x="566" y="129"/>
                  </a:lnTo>
                  <a:lnTo>
                    <a:pt x="560" y="140"/>
                  </a:lnTo>
                  <a:lnTo>
                    <a:pt x="555" y="151"/>
                  </a:lnTo>
                  <a:lnTo>
                    <a:pt x="551" y="162"/>
                  </a:lnTo>
                  <a:lnTo>
                    <a:pt x="547" y="173"/>
                  </a:lnTo>
                  <a:lnTo>
                    <a:pt x="544" y="185"/>
                  </a:lnTo>
                  <a:lnTo>
                    <a:pt x="541" y="197"/>
                  </a:lnTo>
                  <a:lnTo>
                    <a:pt x="539" y="209"/>
                  </a:lnTo>
                  <a:lnTo>
                    <a:pt x="537" y="222"/>
                  </a:lnTo>
                  <a:lnTo>
                    <a:pt x="537" y="234"/>
                  </a:lnTo>
                  <a:lnTo>
                    <a:pt x="536" y="247"/>
                  </a:lnTo>
                  <a:lnTo>
                    <a:pt x="536" y="258"/>
                  </a:lnTo>
                  <a:lnTo>
                    <a:pt x="537" y="269"/>
                  </a:lnTo>
                  <a:lnTo>
                    <a:pt x="539" y="280"/>
                  </a:lnTo>
                  <a:lnTo>
                    <a:pt x="540" y="291"/>
                  </a:lnTo>
                  <a:lnTo>
                    <a:pt x="545" y="312"/>
                  </a:lnTo>
                  <a:lnTo>
                    <a:pt x="552" y="332"/>
                  </a:lnTo>
                  <a:lnTo>
                    <a:pt x="552" y="333"/>
                  </a:lnTo>
                  <a:lnTo>
                    <a:pt x="553" y="334"/>
                  </a:lnTo>
                  <a:lnTo>
                    <a:pt x="553" y="337"/>
                  </a:lnTo>
                  <a:lnTo>
                    <a:pt x="555" y="339"/>
                  </a:lnTo>
                  <a:lnTo>
                    <a:pt x="557" y="345"/>
                  </a:lnTo>
                  <a:lnTo>
                    <a:pt x="574" y="389"/>
                  </a:lnTo>
                  <a:lnTo>
                    <a:pt x="590" y="431"/>
                  </a:lnTo>
                  <a:lnTo>
                    <a:pt x="603" y="474"/>
                  </a:lnTo>
                  <a:lnTo>
                    <a:pt x="615" y="518"/>
                  </a:lnTo>
                  <a:lnTo>
                    <a:pt x="625" y="561"/>
                  </a:lnTo>
                  <a:lnTo>
                    <a:pt x="632" y="604"/>
                  </a:lnTo>
                  <a:lnTo>
                    <a:pt x="637" y="648"/>
                  </a:lnTo>
                  <a:lnTo>
                    <a:pt x="640" y="692"/>
                  </a:lnTo>
                  <a:lnTo>
                    <a:pt x="642" y="735"/>
                  </a:lnTo>
                  <a:lnTo>
                    <a:pt x="642" y="780"/>
                  </a:lnTo>
                  <a:lnTo>
                    <a:pt x="640" y="824"/>
                  </a:lnTo>
                  <a:lnTo>
                    <a:pt x="637" y="868"/>
                  </a:lnTo>
                  <a:lnTo>
                    <a:pt x="632" y="913"/>
                  </a:lnTo>
                  <a:lnTo>
                    <a:pt x="626" y="957"/>
                  </a:lnTo>
                  <a:lnTo>
                    <a:pt x="618" y="1001"/>
                  </a:lnTo>
                  <a:lnTo>
                    <a:pt x="608" y="1046"/>
                  </a:lnTo>
                  <a:lnTo>
                    <a:pt x="598" y="1092"/>
                  </a:lnTo>
                  <a:lnTo>
                    <a:pt x="586" y="1137"/>
                  </a:lnTo>
                  <a:lnTo>
                    <a:pt x="574" y="1183"/>
                  </a:lnTo>
                  <a:lnTo>
                    <a:pt x="561" y="1229"/>
                  </a:lnTo>
                  <a:lnTo>
                    <a:pt x="546" y="1275"/>
                  </a:lnTo>
                  <a:lnTo>
                    <a:pt x="531" y="1321"/>
                  </a:lnTo>
                  <a:lnTo>
                    <a:pt x="514" y="1368"/>
                  </a:lnTo>
                  <a:lnTo>
                    <a:pt x="498" y="1415"/>
                  </a:lnTo>
                  <a:lnTo>
                    <a:pt x="462" y="1510"/>
                  </a:lnTo>
                  <a:lnTo>
                    <a:pt x="422" y="1605"/>
                  </a:lnTo>
                  <a:lnTo>
                    <a:pt x="383" y="1703"/>
                  </a:lnTo>
                  <a:lnTo>
                    <a:pt x="342" y="1802"/>
                  </a:lnTo>
                  <a:lnTo>
                    <a:pt x="298" y="1908"/>
                  </a:lnTo>
                  <a:lnTo>
                    <a:pt x="253" y="2014"/>
                  </a:lnTo>
                  <a:lnTo>
                    <a:pt x="232" y="2068"/>
                  </a:lnTo>
                  <a:lnTo>
                    <a:pt x="211" y="2122"/>
                  </a:lnTo>
                  <a:lnTo>
                    <a:pt x="190" y="2177"/>
                  </a:lnTo>
                  <a:lnTo>
                    <a:pt x="170" y="2232"/>
                  </a:lnTo>
                  <a:lnTo>
                    <a:pt x="150" y="2286"/>
                  </a:lnTo>
                  <a:lnTo>
                    <a:pt x="131" y="2342"/>
                  </a:lnTo>
                  <a:lnTo>
                    <a:pt x="114" y="2397"/>
                  </a:lnTo>
                  <a:lnTo>
                    <a:pt x="96" y="2454"/>
                  </a:lnTo>
                  <a:lnTo>
                    <a:pt x="80" y="2510"/>
                  </a:lnTo>
                  <a:lnTo>
                    <a:pt x="65" y="2565"/>
                  </a:lnTo>
                  <a:lnTo>
                    <a:pt x="51" y="2623"/>
                  </a:lnTo>
                  <a:lnTo>
                    <a:pt x="39" y="2679"/>
                  </a:lnTo>
                  <a:lnTo>
                    <a:pt x="29" y="2737"/>
                  </a:lnTo>
                  <a:lnTo>
                    <a:pt x="19" y="2793"/>
                  </a:lnTo>
                  <a:lnTo>
                    <a:pt x="12" y="2850"/>
                  </a:lnTo>
                  <a:lnTo>
                    <a:pt x="6" y="2909"/>
                  </a:lnTo>
                  <a:lnTo>
                    <a:pt x="2" y="2966"/>
                  </a:lnTo>
                  <a:lnTo>
                    <a:pt x="0" y="3025"/>
                  </a:lnTo>
                  <a:lnTo>
                    <a:pt x="0" y="3082"/>
                  </a:lnTo>
                  <a:lnTo>
                    <a:pt x="2" y="3140"/>
                  </a:lnTo>
                  <a:lnTo>
                    <a:pt x="7" y="3199"/>
                  </a:lnTo>
                  <a:lnTo>
                    <a:pt x="13" y="3257"/>
                  </a:lnTo>
                  <a:lnTo>
                    <a:pt x="23" y="3316"/>
                  </a:lnTo>
                  <a:lnTo>
                    <a:pt x="34" y="3375"/>
                  </a:lnTo>
                  <a:lnTo>
                    <a:pt x="49" y="3434"/>
                  </a:lnTo>
                  <a:lnTo>
                    <a:pt x="66" y="3493"/>
                  </a:lnTo>
                  <a:lnTo>
                    <a:pt x="86" y="3551"/>
                  </a:lnTo>
                  <a:lnTo>
                    <a:pt x="110" y="3611"/>
                  </a:lnTo>
                  <a:lnTo>
                    <a:pt x="114" y="3622"/>
                  </a:lnTo>
                  <a:lnTo>
                    <a:pt x="118" y="36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50" name="ïšlîḋé">
              <a:extLst>
                <a:ext uri="{FF2B5EF4-FFF2-40B4-BE49-F238E27FC236}">
                  <a16:creationId xmlns:a16="http://schemas.microsoft.com/office/drawing/2014/main" id="{7E8ABF19-EC58-4E4D-B79C-9C54FB150EDB}"/>
                </a:ext>
              </a:extLst>
            </p:cNvPr>
            <p:cNvSpPr/>
            <p:nvPr/>
          </p:nvSpPr>
          <p:spPr bwMode="auto">
            <a:xfrm>
              <a:off x="8503694" y="45036"/>
              <a:ext cx="238394" cy="347625"/>
            </a:xfrm>
            <a:custGeom>
              <a:avLst/>
              <a:gdLst>
                <a:gd name="T0" fmla="*/ 9581 w 11062"/>
                <a:gd name="T1" fmla="*/ 13339 h 16132"/>
                <a:gd name="T2" fmla="*/ 8775 w 11062"/>
                <a:gd name="T3" fmla="*/ 14325 h 16132"/>
                <a:gd name="T4" fmla="*/ 6999 w 11062"/>
                <a:gd name="T5" fmla="*/ 14980 h 16132"/>
                <a:gd name="T6" fmla="*/ 4346 w 11062"/>
                <a:gd name="T7" fmla="*/ 15077 h 16132"/>
                <a:gd name="T8" fmla="*/ 2649 w 11062"/>
                <a:gd name="T9" fmla="*/ 14454 h 16132"/>
                <a:gd name="T10" fmla="*/ 1519 w 11062"/>
                <a:gd name="T11" fmla="*/ 13302 h 16132"/>
                <a:gd name="T12" fmla="*/ 1023 w 11062"/>
                <a:gd name="T13" fmla="*/ 11870 h 16132"/>
                <a:gd name="T14" fmla="*/ 1038 w 11062"/>
                <a:gd name="T15" fmla="*/ 10686 h 16132"/>
                <a:gd name="T16" fmla="*/ 1161 w 11062"/>
                <a:gd name="T17" fmla="*/ 9659 h 16132"/>
                <a:gd name="T18" fmla="*/ 1368 w 11062"/>
                <a:gd name="T19" fmla="*/ 8565 h 16132"/>
                <a:gd name="T20" fmla="*/ 1751 w 11062"/>
                <a:gd name="T21" fmla="*/ 6782 h 16132"/>
                <a:gd name="T22" fmla="*/ 1969 w 11062"/>
                <a:gd name="T23" fmla="*/ 5444 h 16132"/>
                <a:gd name="T24" fmla="*/ 2066 w 11062"/>
                <a:gd name="T25" fmla="*/ 3973 h 16132"/>
                <a:gd name="T26" fmla="*/ 2442 w 11062"/>
                <a:gd name="T27" fmla="*/ 3510 h 16132"/>
                <a:gd name="T28" fmla="*/ 3378 w 11062"/>
                <a:gd name="T29" fmla="*/ 5418 h 16132"/>
                <a:gd name="T30" fmla="*/ 3921 w 11062"/>
                <a:gd name="T31" fmla="*/ 7026 h 16132"/>
                <a:gd name="T32" fmla="*/ 4134 w 11062"/>
                <a:gd name="T33" fmla="*/ 7893 h 16132"/>
                <a:gd name="T34" fmla="*/ 4981 w 11062"/>
                <a:gd name="T35" fmla="*/ 6640 h 16132"/>
                <a:gd name="T36" fmla="*/ 5652 w 11062"/>
                <a:gd name="T37" fmla="*/ 5541 h 16132"/>
                <a:gd name="T38" fmla="*/ 6048 w 11062"/>
                <a:gd name="T39" fmla="*/ 5124 h 16132"/>
                <a:gd name="T40" fmla="*/ 6276 w 11062"/>
                <a:gd name="T41" fmla="*/ 6127 h 16132"/>
                <a:gd name="T42" fmla="*/ 6449 w 11062"/>
                <a:gd name="T43" fmla="*/ 7550 h 16132"/>
                <a:gd name="T44" fmla="*/ 6532 w 11062"/>
                <a:gd name="T45" fmla="*/ 9200 h 16132"/>
                <a:gd name="T46" fmla="*/ 6940 w 11062"/>
                <a:gd name="T47" fmla="*/ 9209 h 16132"/>
                <a:gd name="T48" fmla="*/ 7692 w 11062"/>
                <a:gd name="T49" fmla="*/ 8420 h 16132"/>
                <a:gd name="T50" fmla="*/ 8583 w 11062"/>
                <a:gd name="T51" fmla="*/ 7268 h 16132"/>
                <a:gd name="T52" fmla="*/ 9393 w 11062"/>
                <a:gd name="T53" fmla="*/ 7890 h 16132"/>
                <a:gd name="T54" fmla="*/ 9897 w 11062"/>
                <a:gd name="T55" fmla="*/ 9499 h 16132"/>
                <a:gd name="T56" fmla="*/ 10055 w 11062"/>
                <a:gd name="T57" fmla="*/ 11059 h 16132"/>
                <a:gd name="T58" fmla="*/ 8546 w 11062"/>
                <a:gd name="T59" fmla="*/ 4537 h 16132"/>
                <a:gd name="T60" fmla="*/ 8332 w 11062"/>
                <a:gd name="T61" fmla="*/ 5604 h 16132"/>
                <a:gd name="T62" fmla="*/ 7919 w 11062"/>
                <a:gd name="T63" fmla="*/ 6448 h 16132"/>
                <a:gd name="T64" fmla="*/ 7572 w 11062"/>
                <a:gd name="T65" fmla="*/ 6944 h 16132"/>
                <a:gd name="T66" fmla="*/ 7322 w 11062"/>
                <a:gd name="T67" fmla="*/ 5677 h 16132"/>
                <a:gd name="T68" fmla="*/ 6610 w 11062"/>
                <a:gd name="T69" fmla="*/ 3988 h 16132"/>
                <a:gd name="T70" fmla="*/ 5839 w 11062"/>
                <a:gd name="T71" fmla="*/ 2871 h 16132"/>
                <a:gd name="T72" fmla="*/ 5524 w 11062"/>
                <a:gd name="T73" fmla="*/ 2624 h 16132"/>
                <a:gd name="T74" fmla="*/ 5435 w 11062"/>
                <a:gd name="T75" fmla="*/ 3254 h 16132"/>
                <a:gd name="T76" fmla="*/ 5137 w 11062"/>
                <a:gd name="T77" fmla="*/ 4285 h 16132"/>
                <a:gd name="T78" fmla="*/ 4503 w 11062"/>
                <a:gd name="T79" fmla="*/ 5519 h 16132"/>
                <a:gd name="T80" fmla="*/ 3295 w 11062"/>
                <a:gd name="T81" fmla="*/ 2924 h 16132"/>
                <a:gd name="T82" fmla="*/ 1805 w 11062"/>
                <a:gd name="T83" fmla="*/ 1110 h 16132"/>
                <a:gd name="T84" fmla="*/ 701 w 11062"/>
                <a:gd name="T85" fmla="*/ 145 h 16132"/>
                <a:gd name="T86" fmla="*/ 1011 w 11062"/>
                <a:gd name="T87" fmla="*/ 2771 h 16132"/>
                <a:gd name="T88" fmla="*/ 870 w 11062"/>
                <a:gd name="T89" fmla="*/ 6014 h 16132"/>
                <a:gd name="T90" fmla="*/ 290 w 11062"/>
                <a:gd name="T91" fmla="*/ 8820 h 16132"/>
                <a:gd name="T92" fmla="*/ 6 w 11062"/>
                <a:gd name="T93" fmla="*/ 11760 h 16132"/>
                <a:gd name="T94" fmla="*/ 554 w 11062"/>
                <a:gd name="T95" fmla="*/ 13649 h 16132"/>
                <a:gd name="T96" fmla="*/ 1906 w 11062"/>
                <a:gd name="T97" fmla="*/ 15167 h 16132"/>
                <a:gd name="T98" fmla="*/ 3939 w 11062"/>
                <a:gd name="T99" fmla="*/ 16031 h 16132"/>
                <a:gd name="T100" fmla="*/ 6884 w 11062"/>
                <a:gd name="T101" fmla="*/ 16016 h 16132"/>
                <a:gd name="T102" fmla="*/ 9121 w 11062"/>
                <a:gd name="T103" fmla="*/ 15301 h 16132"/>
                <a:gd name="T104" fmla="*/ 10305 w 11062"/>
                <a:gd name="T105" fmla="*/ 14100 h 16132"/>
                <a:gd name="T106" fmla="*/ 10866 w 11062"/>
                <a:gd name="T107" fmla="*/ 12606 h 16132"/>
                <a:gd name="T108" fmla="*/ 11039 w 11062"/>
                <a:gd name="T109" fmla="*/ 10358 h 16132"/>
                <a:gd name="T110" fmla="*/ 10527 w 11062"/>
                <a:gd name="T111" fmla="*/ 8031 h 16132"/>
                <a:gd name="T112" fmla="*/ 9405 w 11062"/>
                <a:gd name="T113" fmla="*/ 5745 h 16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062" h="16132">
                  <a:moveTo>
                    <a:pt x="9891" y="12362"/>
                  </a:moveTo>
                  <a:lnTo>
                    <a:pt x="9860" y="12483"/>
                  </a:lnTo>
                  <a:lnTo>
                    <a:pt x="9829" y="12606"/>
                  </a:lnTo>
                  <a:lnTo>
                    <a:pt x="9795" y="12729"/>
                  </a:lnTo>
                  <a:lnTo>
                    <a:pt x="9760" y="12852"/>
                  </a:lnTo>
                  <a:lnTo>
                    <a:pt x="9722" y="12975"/>
                  </a:lnTo>
                  <a:lnTo>
                    <a:pt x="9680" y="13097"/>
                  </a:lnTo>
                  <a:lnTo>
                    <a:pt x="9634" y="13219"/>
                  </a:lnTo>
                  <a:lnTo>
                    <a:pt x="9581" y="13339"/>
                  </a:lnTo>
                  <a:lnTo>
                    <a:pt x="9524" y="13458"/>
                  </a:lnTo>
                  <a:lnTo>
                    <a:pt x="9461" y="13576"/>
                  </a:lnTo>
                  <a:lnTo>
                    <a:pt x="9389" y="13691"/>
                  </a:lnTo>
                  <a:lnTo>
                    <a:pt x="9311" y="13805"/>
                  </a:lnTo>
                  <a:lnTo>
                    <a:pt x="9223" y="13915"/>
                  </a:lnTo>
                  <a:lnTo>
                    <a:pt x="9127" y="14023"/>
                  </a:lnTo>
                  <a:lnTo>
                    <a:pt x="9020" y="14128"/>
                  </a:lnTo>
                  <a:lnTo>
                    <a:pt x="8904" y="14228"/>
                  </a:lnTo>
                  <a:lnTo>
                    <a:pt x="8775" y="14325"/>
                  </a:lnTo>
                  <a:lnTo>
                    <a:pt x="8635" y="14419"/>
                  </a:lnTo>
                  <a:lnTo>
                    <a:pt x="8482" y="14508"/>
                  </a:lnTo>
                  <a:lnTo>
                    <a:pt x="8316" y="14591"/>
                  </a:lnTo>
                  <a:lnTo>
                    <a:pt x="8136" y="14670"/>
                  </a:lnTo>
                  <a:lnTo>
                    <a:pt x="7941" y="14744"/>
                  </a:lnTo>
                  <a:lnTo>
                    <a:pt x="7730" y="14812"/>
                  </a:lnTo>
                  <a:lnTo>
                    <a:pt x="7503" y="14875"/>
                  </a:lnTo>
                  <a:lnTo>
                    <a:pt x="7260" y="14930"/>
                  </a:lnTo>
                  <a:lnTo>
                    <a:pt x="6999" y="14980"/>
                  </a:lnTo>
                  <a:lnTo>
                    <a:pt x="6719" y="15023"/>
                  </a:lnTo>
                  <a:lnTo>
                    <a:pt x="6422" y="15058"/>
                  </a:lnTo>
                  <a:lnTo>
                    <a:pt x="6104" y="15086"/>
                  </a:lnTo>
                  <a:lnTo>
                    <a:pt x="5766" y="15107"/>
                  </a:lnTo>
                  <a:lnTo>
                    <a:pt x="5407" y="15120"/>
                  </a:lnTo>
                  <a:lnTo>
                    <a:pt x="5027" y="15124"/>
                  </a:lnTo>
                  <a:lnTo>
                    <a:pt x="4794" y="15119"/>
                  </a:lnTo>
                  <a:lnTo>
                    <a:pt x="4567" y="15103"/>
                  </a:lnTo>
                  <a:lnTo>
                    <a:pt x="4346" y="15077"/>
                  </a:lnTo>
                  <a:lnTo>
                    <a:pt x="4132" y="15042"/>
                  </a:lnTo>
                  <a:lnTo>
                    <a:pt x="3924" y="14998"/>
                  </a:lnTo>
                  <a:lnTo>
                    <a:pt x="3722" y="14944"/>
                  </a:lnTo>
                  <a:lnTo>
                    <a:pt x="3525" y="14882"/>
                  </a:lnTo>
                  <a:lnTo>
                    <a:pt x="3336" y="14811"/>
                  </a:lnTo>
                  <a:lnTo>
                    <a:pt x="3155" y="14734"/>
                  </a:lnTo>
                  <a:lnTo>
                    <a:pt x="2979" y="14648"/>
                  </a:lnTo>
                  <a:lnTo>
                    <a:pt x="2811" y="14554"/>
                  </a:lnTo>
                  <a:lnTo>
                    <a:pt x="2649" y="14454"/>
                  </a:lnTo>
                  <a:lnTo>
                    <a:pt x="2494" y="14347"/>
                  </a:lnTo>
                  <a:lnTo>
                    <a:pt x="2346" y="14235"/>
                  </a:lnTo>
                  <a:lnTo>
                    <a:pt x="2206" y="14117"/>
                  </a:lnTo>
                  <a:lnTo>
                    <a:pt x="2073" y="13992"/>
                  </a:lnTo>
                  <a:lnTo>
                    <a:pt x="1946" y="13863"/>
                  </a:lnTo>
                  <a:lnTo>
                    <a:pt x="1829" y="13729"/>
                  </a:lnTo>
                  <a:lnTo>
                    <a:pt x="1718" y="13590"/>
                  </a:lnTo>
                  <a:lnTo>
                    <a:pt x="1614" y="13448"/>
                  </a:lnTo>
                  <a:lnTo>
                    <a:pt x="1519" y="13302"/>
                  </a:lnTo>
                  <a:lnTo>
                    <a:pt x="1432" y="13152"/>
                  </a:lnTo>
                  <a:lnTo>
                    <a:pt x="1352" y="12998"/>
                  </a:lnTo>
                  <a:lnTo>
                    <a:pt x="1280" y="12843"/>
                  </a:lnTo>
                  <a:lnTo>
                    <a:pt x="1216" y="12685"/>
                  </a:lnTo>
                  <a:lnTo>
                    <a:pt x="1161" y="12524"/>
                  </a:lnTo>
                  <a:lnTo>
                    <a:pt x="1114" y="12363"/>
                  </a:lnTo>
                  <a:lnTo>
                    <a:pt x="1076" y="12200"/>
                  </a:lnTo>
                  <a:lnTo>
                    <a:pt x="1045" y="12035"/>
                  </a:lnTo>
                  <a:lnTo>
                    <a:pt x="1023" y="11870"/>
                  </a:lnTo>
                  <a:lnTo>
                    <a:pt x="1010" y="11706"/>
                  </a:lnTo>
                  <a:lnTo>
                    <a:pt x="1006" y="11540"/>
                  </a:lnTo>
                  <a:lnTo>
                    <a:pt x="1006" y="11414"/>
                  </a:lnTo>
                  <a:lnTo>
                    <a:pt x="1008" y="11289"/>
                  </a:lnTo>
                  <a:lnTo>
                    <a:pt x="1012" y="11166"/>
                  </a:lnTo>
                  <a:lnTo>
                    <a:pt x="1017" y="11044"/>
                  </a:lnTo>
                  <a:lnTo>
                    <a:pt x="1023" y="10924"/>
                  </a:lnTo>
                  <a:lnTo>
                    <a:pt x="1030" y="10804"/>
                  </a:lnTo>
                  <a:lnTo>
                    <a:pt x="1038" y="10686"/>
                  </a:lnTo>
                  <a:lnTo>
                    <a:pt x="1048" y="10568"/>
                  </a:lnTo>
                  <a:lnTo>
                    <a:pt x="1059" y="10453"/>
                  </a:lnTo>
                  <a:lnTo>
                    <a:pt x="1071" y="10337"/>
                  </a:lnTo>
                  <a:lnTo>
                    <a:pt x="1084" y="10222"/>
                  </a:lnTo>
                  <a:lnTo>
                    <a:pt x="1097" y="10108"/>
                  </a:lnTo>
                  <a:lnTo>
                    <a:pt x="1112" y="9995"/>
                  </a:lnTo>
                  <a:lnTo>
                    <a:pt x="1128" y="9883"/>
                  </a:lnTo>
                  <a:lnTo>
                    <a:pt x="1144" y="9771"/>
                  </a:lnTo>
                  <a:lnTo>
                    <a:pt x="1161" y="9659"/>
                  </a:lnTo>
                  <a:lnTo>
                    <a:pt x="1179" y="9548"/>
                  </a:lnTo>
                  <a:lnTo>
                    <a:pt x="1197" y="9438"/>
                  </a:lnTo>
                  <a:lnTo>
                    <a:pt x="1217" y="9328"/>
                  </a:lnTo>
                  <a:lnTo>
                    <a:pt x="1237" y="9218"/>
                  </a:lnTo>
                  <a:lnTo>
                    <a:pt x="1258" y="9110"/>
                  </a:lnTo>
                  <a:lnTo>
                    <a:pt x="1279" y="9001"/>
                  </a:lnTo>
                  <a:lnTo>
                    <a:pt x="1301" y="8892"/>
                  </a:lnTo>
                  <a:lnTo>
                    <a:pt x="1322" y="8783"/>
                  </a:lnTo>
                  <a:lnTo>
                    <a:pt x="1368" y="8565"/>
                  </a:lnTo>
                  <a:lnTo>
                    <a:pt x="1414" y="8348"/>
                  </a:lnTo>
                  <a:lnTo>
                    <a:pt x="1463" y="8130"/>
                  </a:lnTo>
                  <a:lnTo>
                    <a:pt x="1511" y="7911"/>
                  </a:lnTo>
                  <a:lnTo>
                    <a:pt x="1572" y="7631"/>
                  </a:lnTo>
                  <a:lnTo>
                    <a:pt x="1634" y="7351"/>
                  </a:lnTo>
                  <a:lnTo>
                    <a:pt x="1664" y="7210"/>
                  </a:lnTo>
                  <a:lnTo>
                    <a:pt x="1694" y="7068"/>
                  </a:lnTo>
                  <a:lnTo>
                    <a:pt x="1723" y="6926"/>
                  </a:lnTo>
                  <a:lnTo>
                    <a:pt x="1751" y="6782"/>
                  </a:lnTo>
                  <a:lnTo>
                    <a:pt x="1779" y="6638"/>
                  </a:lnTo>
                  <a:lnTo>
                    <a:pt x="1806" y="6493"/>
                  </a:lnTo>
                  <a:lnTo>
                    <a:pt x="1834" y="6347"/>
                  </a:lnTo>
                  <a:lnTo>
                    <a:pt x="1859" y="6200"/>
                  </a:lnTo>
                  <a:lnTo>
                    <a:pt x="1883" y="6051"/>
                  </a:lnTo>
                  <a:lnTo>
                    <a:pt x="1907" y="5901"/>
                  </a:lnTo>
                  <a:lnTo>
                    <a:pt x="1929" y="5750"/>
                  </a:lnTo>
                  <a:lnTo>
                    <a:pt x="1949" y="5598"/>
                  </a:lnTo>
                  <a:lnTo>
                    <a:pt x="1969" y="5444"/>
                  </a:lnTo>
                  <a:lnTo>
                    <a:pt x="1987" y="5287"/>
                  </a:lnTo>
                  <a:lnTo>
                    <a:pt x="2004" y="5130"/>
                  </a:lnTo>
                  <a:lnTo>
                    <a:pt x="2018" y="4971"/>
                  </a:lnTo>
                  <a:lnTo>
                    <a:pt x="2031" y="4809"/>
                  </a:lnTo>
                  <a:lnTo>
                    <a:pt x="2042" y="4646"/>
                  </a:lnTo>
                  <a:lnTo>
                    <a:pt x="2051" y="4482"/>
                  </a:lnTo>
                  <a:lnTo>
                    <a:pt x="2059" y="4314"/>
                  </a:lnTo>
                  <a:lnTo>
                    <a:pt x="2064" y="4145"/>
                  </a:lnTo>
                  <a:lnTo>
                    <a:pt x="2066" y="3973"/>
                  </a:lnTo>
                  <a:lnTo>
                    <a:pt x="2067" y="3798"/>
                  </a:lnTo>
                  <a:lnTo>
                    <a:pt x="2065" y="3622"/>
                  </a:lnTo>
                  <a:lnTo>
                    <a:pt x="2061" y="3443"/>
                  </a:lnTo>
                  <a:lnTo>
                    <a:pt x="2054" y="3261"/>
                  </a:lnTo>
                  <a:lnTo>
                    <a:pt x="2044" y="3076"/>
                  </a:lnTo>
                  <a:lnTo>
                    <a:pt x="2032" y="2890"/>
                  </a:lnTo>
                  <a:lnTo>
                    <a:pt x="2174" y="3093"/>
                  </a:lnTo>
                  <a:lnTo>
                    <a:pt x="2311" y="3300"/>
                  </a:lnTo>
                  <a:lnTo>
                    <a:pt x="2442" y="3510"/>
                  </a:lnTo>
                  <a:lnTo>
                    <a:pt x="2567" y="3722"/>
                  </a:lnTo>
                  <a:lnTo>
                    <a:pt x="2687" y="3935"/>
                  </a:lnTo>
                  <a:lnTo>
                    <a:pt x="2802" y="4150"/>
                  </a:lnTo>
                  <a:lnTo>
                    <a:pt x="2910" y="4365"/>
                  </a:lnTo>
                  <a:lnTo>
                    <a:pt x="3014" y="4578"/>
                  </a:lnTo>
                  <a:lnTo>
                    <a:pt x="3112" y="4792"/>
                  </a:lnTo>
                  <a:lnTo>
                    <a:pt x="3206" y="5003"/>
                  </a:lnTo>
                  <a:lnTo>
                    <a:pt x="3294" y="5213"/>
                  </a:lnTo>
                  <a:lnTo>
                    <a:pt x="3378" y="5418"/>
                  </a:lnTo>
                  <a:lnTo>
                    <a:pt x="3457" y="5620"/>
                  </a:lnTo>
                  <a:lnTo>
                    <a:pt x="3531" y="5818"/>
                  </a:lnTo>
                  <a:lnTo>
                    <a:pt x="3600" y="6011"/>
                  </a:lnTo>
                  <a:lnTo>
                    <a:pt x="3664" y="6198"/>
                  </a:lnTo>
                  <a:lnTo>
                    <a:pt x="3725" y="6379"/>
                  </a:lnTo>
                  <a:lnTo>
                    <a:pt x="3780" y="6553"/>
                  </a:lnTo>
                  <a:lnTo>
                    <a:pt x="3831" y="6719"/>
                  </a:lnTo>
                  <a:lnTo>
                    <a:pt x="3877" y="6877"/>
                  </a:lnTo>
                  <a:lnTo>
                    <a:pt x="3921" y="7026"/>
                  </a:lnTo>
                  <a:lnTo>
                    <a:pt x="3959" y="7166"/>
                  </a:lnTo>
                  <a:lnTo>
                    <a:pt x="3993" y="7295"/>
                  </a:lnTo>
                  <a:lnTo>
                    <a:pt x="4023" y="7414"/>
                  </a:lnTo>
                  <a:lnTo>
                    <a:pt x="4050" y="7521"/>
                  </a:lnTo>
                  <a:lnTo>
                    <a:pt x="4072" y="7615"/>
                  </a:lnTo>
                  <a:lnTo>
                    <a:pt x="4091" y="7697"/>
                  </a:lnTo>
                  <a:lnTo>
                    <a:pt x="4108" y="7766"/>
                  </a:lnTo>
                  <a:lnTo>
                    <a:pt x="4128" y="7860"/>
                  </a:lnTo>
                  <a:lnTo>
                    <a:pt x="4134" y="7893"/>
                  </a:lnTo>
                  <a:lnTo>
                    <a:pt x="4150" y="7869"/>
                  </a:lnTo>
                  <a:lnTo>
                    <a:pt x="4197" y="7804"/>
                  </a:lnTo>
                  <a:lnTo>
                    <a:pt x="4269" y="7699"/>
                  </a:lnTo>
                  <a:lnTo>
                    <a:pt x="4366" y="7560"/>
                  </a:lnTo>
                  <a:lnTo>
                    <a:pt x="4480" y="7392"/>
                  </a:lnTo>
                  <a:lnTo>
                    <a:pt x="4611" y="7200"/>
                  </a:lnTo>
                  <a:lnTo>
                    <a:pt x="4753" y="6987"/>
                  </a:lnTo>
                  <a:lnTo>
                    <a:pt x="4904" y="6758"/>
                  </a:lnTo>
                  <a:lnTo>
                    <a:pt x="4981" y="6640"/>
                  </a:lnTo>
                  <a:lnTo>
                    <a:pt x="5059" y="6519"/>
                  </a:lnTo>
                  <a:lnTo>
                    <a:pt x="5137" y="6396"/>
                  </a:lnTo>
                  <a:lnTo>
                    <a:pt x="5215" y="6273"/>
                  </a:lnTo>
                  <a:lnTo>
                    <a:pt x="5292" y="6149"/>
                  </a:lnTo>
                  <a:lnTo>
                    <a:pt x="5368" y="6025"/>
                  </a:lnTo>
                  <a:lnTo>
                    <a:pt x="5443" y="5901"/>
                  </a:lnTo>
                  <a:lnTo>
                    <a:pt x="5515" y="5779"/>
                  </a:lnTo>
                  <a:lnTo>
                    <a:pt x="5585" y="5659"/>
                  </a:lnTo>
                  <a:lnTo>
                    <a:pt x="5652" y="5541"/>
                  </a:lnTo>
                  <a:lnTo>
                    <a:pt x="5715" y="5426"/>
                  </a:lnTo>
                  <a:lnTo>
                    <a:pt x="5774" y="5315"/>
                  </a:lnTo>
                  <a:lnTo>
                    <a:pt x="5830" y="5208"/>
                  </a:lnTo>
                  <a:lnTo>
                    <a:pt x="5880" y="5106"/>
                  </a:lnTo>
                  <a:lnTo>
                    <a:pt x="5925" y="5008"/>
                  </a:lnTo>
                  <a:lnTo>
                    <a:pt x="5964" y="4916"/>
                  </a:lnTo>
                  <a:lnTo>
                    <a:pt x="5992" y="4978"/>
                  </a:lnTo>
                  <a:lnTo>
                    <a:pt x="6020" y="5046"/>
                  </a:lnTo>
                  <a:lnTo>
                    <a:pt x="6048" y="5124"/>
                  </a:lnTo>
                  <a:lnTo>
                    <a:pt x="6075" y="5209"/>
                  </a:lnTo>
                  <a:lnTo>
                    <a:pt x="6101" y="5300"/>
                  </a:lnTo>
                  <a:lnTo>
                    <a:pt x="6128" y="5399"/>
                  </a:lnTo>
                  <a:lnTo>
                    <a:pt x="6153" y="5505"/>
                  </a:lnTo>
                  <a:lnTo>
                    <a:pt x="6179" y="5617"/>
                  </a:lnTo>
                  <a:lnTo>
                    <a:pt x="6205" y="5736"/>
                  </a:lnTo>
                  <a:lnTo>
                    <a:pt x="6229" y="5861"/>
                  </a:lnTo>
                  <a:lnTo>
                    <a:pt x="6253" y="5991"/>
                  </a:lnTo>
                  <a:lnTo>
                    <a:pt x="6276" y="6127"/>
                  </a:lnTo>
                  <a:lnTo>
                    <a:pt x="6298" y="6267"/>
                  </a:lnTo>
                  <a:lnTo>
                    <a:pt x="6320" y="6413"/>
                  </a:lnTo>
                  <a:lnTo>
                    <a:pt x="6341" y="6564"/>
                  </a:lnTo>
                  <a:lnTo>
                    <a:pt x="6361" y="6719"/>
                  </a:lnTo>
                  <a:lnTo>
                    <a:pt x="6380" y="6878"/>
                  </a:lnTo>
                  <a:lnTo>
                    <a:pt x="6400" y="7041"/>
                  </a:lnTo>
                  <a:lnTo>
                    <a:pt x="6417" y="7208"/>
                  </a:lnTo>
                  <a:lnTo>
                    <a:pt x="6433" y="7377"/>
                  </a:lnTo>
                  <a:lnTo>
                    <a:pt x="6449" y="7550"/>
                  </a:lnTo>
                  <a:lnTo>
                    <a:pt x="6463" y="7726"/>
                  </a:lnTo>
                  <a:lnTo>
                    <a:pt x="6476" y="7904"/>
                  </a:lnTo>
                  <a:lnTo>
                    <a:pt x="6488" y="8085"/>
                  </a:lnTo>
                  <a:lnTo>
                    <a:pt x="6498" y="8268"/>
                  </a:lnTo>
                  <a:lnTo>
                    <a:pt x="6508" y="8451"/>
                  </a:lnTo>
                  <a:lnTo>
                    <a:pt x="6516" y="8637"/>
                  </a:lnTo>
                  <a:lnTo>
                    <a:pt x="6523" y="8824"/>
                  </a:lnTo>
                  <a:lnTo>
                    <a:pt x="6528" y="9012"/>
                  </a:lnTo>
                  <a:lnTo>
                    <a:pt x="6532" y="9200"/>
                  </a:lnTo>
                  <a:lnTo>
                    <a:pt x="6534" y="9390"/>
                  </a:lnTo>
                  <a:lnTo>
                    <a:pt x="6535" y="9578"/>
                  </a:lnTo>
                  <a:lnTo>
                    <a:pt x="6550" y="9565"/>
                  </a:lnTo>
                  <a:lnTo>
                    <a:pt x="6595" y="9528"/>
                  </a:lnTo>
                  <a:lnTo>
                    <a:pt x="6665" y="9465"/>
                  </a:lnTo>
                  <a:lnTo>
                    <a:pt x="6759" y="9380"/>
                  </a:lnTo>
                  <a:lnTo>
                    <a:pt x="6815" y="9329"/>
                  </a:lnTo>
                  <a:lnTo>
                    <a:pt x="6875" y="9272"/>
                  </a:lnTo>
                  <a:lnTo>
                    <a:pt x="6940" y="9209"/>
                  </a:lnTo>
                  <a:lnTo>
                    <a:pt x="7011" y="9142"/>
                  </a:lnTo>
                  <a:lnTo>
                    <a:pt x="7084" y="9069"/>
                  </a:lnTo>
                  <a:lnTo>
                    <a:pt x="7162" y="8991"/>
                  </a:lnTo>
                  <a:lnTo>
                    <a:pt x="7243" y="8908"/>
                  </a:lnTo>
                  <a:lnTo>
                    <a:pt x="7327" y="8819"/>
                  </a:lnTo>
                  <a:lnTo>
                    <a:pt x="7415" y="8726"/>
                  </a:lnTo>
                  <a:lnTo>
                    <a:pt x="7505" y="8629"/>
                  </a:lnTo>
                  <a:lnTo>
                    <a:pt x="7598" y="8527"/>
                  </a:lnTo>
                  <a:lnTo>
                    <a:pt x="7692" y="8420"/>
                  </a:lnTo>
                  <a:lnTo>
                    <a:pt x="7789" y="8308"/>
                  </a:lnTo>
                  <a:lnTo>
                    <a:pt x="7886" y="8192"/>
                  </a:lnTo>
                  <a:lnTo>
                    <a:pt x="7985" y="8072"/>
                  </a:lnTo>
                  <a:lnTo>
                    <a:pt x="8084" y="7948"/>
                  </a:lnTo>
                  <a:lnTo>
                    <a:pt x="8184" y="7820"/>
                  </a:lnTo>
                  <a:lnTo>
                    <a:pt x="8284" y="7688"/>
                  </a:lnTo>
                  <a:lnTo>
                    <a:pt x="8384" y="7552"/>
                  </a:lnTo>
                  <a:lnTo>
                    <a:pt x="8483" y="7412"/>
                  </a:lnTo>
                  <a:lnTo>
                    <a:pt x="8583" y="7268"/>
                  </a:lnTo>
                  <a:lnTo>
                    <a:pt x="8681" y="7121"/>
                  </a:lnTo>
                  <a:lnTo>
                    <a:pt x="8777" y="6971"/>
                  </a:lnTo>
                  <a:lnTo>
                    <a:pt x="8872" y="6817"/>
                  </a:lnTo>
                  <a:lnTo>
                    <a:pt x="8969" y="6995"/>
                  </a:lnTo>
                  <a:lnTo>
                    <a:pt x="9062" y="7174"/>
                  </a:lnTo>
                  <a:lnTo>
                    <a:pt x="9150" y="7352"/>
                  </a:lnTo>
                  <a:lnTo>
                    <a:pt x="9235" y="7532"/>
                  </a:lnTo>
                  <a:lnTo>
                    <a:pt x="9316" y="7710"/>
                  </a:lnTo>
                  <a:lnTo>
                    <a:pt x="9393" y="7890"/>
                  </a:lnTo>
                  <a:lnTo>
                    <a:pt x="9466" y="8069"/>
                  </a:lnTo>
                  <a:lnTo>
                    <a:pt x="9534" y="8248"/>
                  </a:lnTo>
                  <a:lnTo>
                    <a:pt x="9598" y="8428"/>
                  </a:lnTo>
                  <a:lnTo>
                    <a:pt x="9659" y="8607"/>
                  </a:lnTo>
                  <a:lnTo>
                    <a:pt x="9715" y="8787"/>
                  </a:lnTo>
                  <a:lnTo>
                    <a:pt x="9767" y="8965"/>
                  </a:lnTo>
                  <a:lnTo>
                    <a:pt x="9814" y="9144"/>
                  </a:lnTo>
                  <a:lnTo>
                    <a:pt x="9858" y="9321"/>
                  </a:lnTo>
                  <a:lnTo>
                    <a:pt x="9897" y="9499"/>
                  </a:lnTo>
                  <a:lnTo>
                    <a:pt x="9932" y="9675"/>
                  </a:lnTo>
                  <a:lnTo>
                    <a:pt x="9963" y="9852"/>
                  </a:lnTo>
                  <a:lnTo>
                    <a:pt x="9989" y="10027"/>
                  </a:lnTo>
                  <a:lnTo>
                    <a:pt x="10011" y="10201"/>
                  </a:lnTo>
                  <a:lnTo>
                    <a:pt x="10029" y="10375"/>
                  </a:lnTo>
                  <a:lnTo>
                    <a:pt x="10042" y="10547"/>
                  </a:lnTo>
                  <a:lnTo>
                    <a:pt x="10051" y="10720"/>
                  </a:lnTo>
                  <a:lnTo>
                    <a:pt x="10055" y="10890"/>
                  </a:lnTo>
                  <a:lnTo>
                    <a:pt x="10055" y="11059"/>
                  </a:lnTo>
                  <a:lnTo>
                    <a:pt x="10051" y="11227"/>
                  </a:lnTo>
                  <a:lnTo>
                    <a:pt x="10042" y="11394"/>
                  </a:lnTo>
                  <a:lnTo>
                    <a:pt x="10028" y="11559"/>
                  </a:lnTo>
                  <a:lnTo>
                    <a:pt x="10009" y="11723"/>
                  </a:lnTo>
                  <a:lnTo>
                    <a:pt x="9986" y="11885"/>
                  </a:lnTo>
                  <a:lnTo>
                    <a:pt x="9959" y="12046"/>
                  </a:lnTo>
                  <a:lnTo>
                    <a:pt x="9927" y="12205"/>
                  </a:lnTo>
                  <a:lnTo>
                    <a:pt x="9891" y="12362"/>
                  </a:lnTo>
                  <a:close/>
                  <a:moveTo>
                    <a:pt x="8546" y="4537"/>
                  </a:moveTo>
                  <a:lnTo>
                    <a:pt x="8540" y="4663"/>
                  </a:lnTo>
                  <a:lnTo>
                    <a:pt x="8529" y="4787"/>
                  </a:lnTo>
                  <a:lnTo>
                    <a:pt x="8513" y="4910"/>
                  </a:lnTo>
                  <a:lnTo>
                    <a:pt x="8492" y="5031"/>
                  </a:lnTo>
                  <a:lnTo>
                    <a:pt x="8467" y="5150"/>
                  </a:lnTo>
                  <a:lnTo>
                    <a:pt x="8438" y="5267"/>
                  </a:lnTo>
                  <a:lnTo>
                    <a:pt x="8406" y="5382"/>
                  </a:lnTo>
                  <a:lnTo>
                    <a:pt x="8370" y="5494"/>
                  </a:lnTo>
                  <a:lnTo>
                    <a:pt x="8332" y="5604"/>
                  </a:lnTo>
                  <a:lnTo>
                    <a:pt x="8290" y="5712"/>
                  </a:lnTo>
                  <a:lnTo>
                    <a:pt x="8247" y="5816"/>
                  </a:lnTo>
                  <a:lnTo>
                    <a:pt x="8203" y="5916"/>
                  </a:lnTo>
                  <a:lnTo>
                    <a:pt x="8157" y="6014"/>
                  </a:lnTo>
                  <a:lnTo>
                    <a:pt x="8110" y="6108"/>
                  </a:lnTo>
                  <a:lnTo>
                    <a:pt x="8061" y="6199"/>
                  </a:lnTo>
                  <a:lnTo>
                    <a:pt x="8014" y="6286"/>
                  </a:lnTo>
                  <a:lnTo>
                    <a:pt x="7966" y="6369"/>
                  </a:lnTo>
                  <a:lnTo>
                    <a:pt x="7919" y="6448"/>
                  </a:lnTo>
                  <a:lnTo>
                    <a:pt x="7871" y="6522"/>
                  </a:lnTo>
                  <a:lnTo>
                    <a:pt x="7826" y="6593"/>
                  </a:lnTo>
                  <a:lnTo>
                    <a:pt x="7782" y="6658"/>
                  </a:lnTo>
                  <a:lnTo>
                    <a:pt x="7741" y="6719"/>
                  </a:lnTo>
                  <a:lnTo>
                    <a:pt x="7700" y="6774"/>
                  </a:lnTo>
                  <a:lnTo>
                    <a:pt x="7663" y="6825"/>
                  </a:lnTo>
                  <a:lnTo>
                    <a:pt x="7629" y="6870"/>
                  </a:lnTo>
                  <a:lnTo>
                    <a:pt x="7599" y="6911"/>
                  </a:lnTo>
                  <a:lnTo>
                    <a:pt x="7572" y="6944"/>
                  </a:lnTo>
                  <a:lnTo>
                    <a:pt x="7549" y="6972"/>
                  </a:lnTo>
                  <a:lnTo>
                    <a:pt x="7516" y="7011"/>
                  </a:lnTo>
                  <a:lnTo>
                    <a:pt x="7505" y="7024"/>
                  </a:lnTo>
                  <a:lnTo>
                    <a:pt x="7499" y="6791"/>
                  </a:lnTo>
                  <a:lnTo>
                    <a:pt x="7483" y="6560"/>
                  </a:lnTo>
                  <a:lnTo>
                    <a:pt x="7456" y="6334"/>
                  </a:lnTo>
                  <a:lnTo>
                    <a:pt x="7420" y="6110"/>
                  </a:lnTo>
                  <a:lnTo>
                    <a:pt x="7376" y="5891"/>
                  </a:lnTo>
                  <a:lnTo>
                    <a:pt x="7322" y="5677"/>
                  </a:lnTo>
                  <a:lnTo>
                    <a:pt x="7263" y="5468"/>
                  </a:lnTo>
                  <a:lnTo>
                    <a:pt x="7197" y="5262"/>
                  </a:lnTo>
                  <a:lnTo>
                    <a:pt x="7124" y="5062"/>
                  </a:lnTo>
                  <a:lnTo>
                    <a:pt x="7047" y="4868"/>
                  </a:lnTo>
                  <a:lnTo>
                    <a:pt x="6966" y="4679"/>
                  </a:lnTo>
                  <a:lnTo>
                    <a:pt x="6880" y="4497"/>
                  </a:lnTo>
                  <a:lnTo>
                    <a:pt x="6792" y="4320"/>
                  </a:lnTo>
                  <a:lnTo>
                    <a:pt x="6702" y="4151"/>
                  </a:lnTo>
                  <a:lnTo>
                    <a:pt x="6610" y="3988"/>
                  </a:lnTo>
                  <a:lnTo>
                    <a:pt x="6517" y="3832"/>
                  </a:lnTo>
                  <a:lnTo>
                    <a:pt x="6425" y="3683"/>
                  </a:lnTo>
                  <a:lnTo>
                    <a:pt x="6333" y="3542"/>
                  </a:lnTo>
                  <a:lnTo>
                    <a:pt x="6243" y="3409"/>
                  </a:lnTo>
                  <a:lnTo>
                    <a:pt x="6154" y="3284"/>
                  </a:lnTo>
                  <a:lnTo>
                    <a:pt x="6070" y="3168"/>
                  </a:lnTo>
                  <a:lnTo>
                    <a:pt x="5987" y="3060"/>
                  </a:lnTo>
                  <a:lnTo>
                    <a:pt x="5911" y="2961"/>
                  </a:lnTo>
                  <a:lnTo>
                    <a:pt x="5839" y="2871"/>
                  </a:lnTo>
                  <a:lnTo>
                    <a:pt x="5772" y="2792"/>
                  </a:lnTo>
                  <a:lnTo>
                    <a:pt x="5712" y="2721"/>
                  </a:lnTo>
                  <a:lnTo>
                    <a:pt x="5660" y="2661"/>
                  </a:lnTo>
                  <a:lnTo>
                    <a:pt x="5614" y="2611"/>
                  </a:lnTo>
                  <a:lnTo>
                    <a:pt x="5552" y="2544"/>
                  </a:lnTo>
                  <a:lnTo>
                    <a:pt x="5530" y="2521"/>
                  </a:lnTo>
                  <a:lnTo>
                    <a:pt x="5529" y="2538"/>
                  </a:lnTo>
                  <a:lnTo>
                    <a:pt x="5527" y="2588"/>
                  </a:lnTo>
                  <a:lnTo>
                    <a:pt x="5524" y="2624"/>
                  </a:lnTo>
                  <a:lnTo>
                    <a:pt x="5521" y="2669"/>
                  </a:lnTo>
                  <a:lnTo>
                    <a:pt x="5516" y="2719"/>
                  </a:lnTo>
                  <a:lnTo>
                    <a:pt x="5510" y="2778"/>
                  </a:lnTo>
                  <a:lnTo>
                    <a:pt x="5503" y="2842"/>
                  </a:lnTo>
                  <a:lnTo>
                    <a:pt x="5493" y="2913"/>
                  </a:lnTo>
                  <a:lnTo>
                    <a:pt x="5482" y="2989"/>
                  </a:lnTo>
                  <a:lnTo>
                    <a:pt x="5469" y="3072"/>
                  </a:lnTo>
                  <a:lnTo>
                    <a:pt x="5453" y="3161"/>
                  </a:lnTo>
                  <a:lnTo>
                    <a:pt x="5435" y="3254"/>
                  </a:lnTo>
                  <a:lnTo>
                    <a:pt x="5414" y="3352"/>
                  </a:lnTo>
                  <a:lnTo>
                    <a:pt x="5391" y="3455"/>
                  </a:lnTo>
                  <a:lnTo>
                    <a:pt x="5365" y="3563"/>
                  </a:lnTo>
                  <a:lnTo>
                    <a:pt x="5336" y="3674"/>
                  </a:lnTo>
                  <a:lnTo>
                    <a:pt x="5304" y="3790"/>
                  </a:lnTo>
                  <a:lnTo>
                    <a:pt x="5268" y="3909"/>
                  </a:lnTo>
                  <a:lnTo>
                    <a:pt x="5227" y="4031"/>
                  </a:lnTo>
                  <a:lnTo>
                    <a:pt x="5184" y="4156"/>
                  </a:lnTo>
                  <a:lnTo>
                    <a:pt x="5137" y="4285"/>
                  </a:lnTo>
                  <a:lnTo>
                    <a:pt x="5086" y="4415"/>
                  </a:lnTo>
                  <a:lnTo>
                    <a:pt x="5029" y="4548"/>
                  </a:lnTo>
                  <a:lnTo>
                    <a:pt x="4969" y="4683"/>
                  </a:lnTo>
                  <a:lnTo>
                    <a:pt x="4904" y="4819"/>
                  </a:lnTo>
                  <a:lnTo>
                    <a:pt x="4834" y="4958"/>
                  </a:lnTo>
                  <a:lnTo>
                    <a:pt x="4759" y="5097"/>
                  </a:lnTo>
                  <a:lnTo>
                    <a:pt x="4680" y="5237"/>
                  </a:lnTo>
                  <a:lnTo>
                    <a:pt x="4594" y="5378"/>
                  </a:lnTo>
                  <a:lnTo>
                    <a:pt x="4503" y="5519"/>
                  </a:lnTo>
                  <a:lnTo>
                    <a:pt x="4403" y="5195"/>
                  </a:lnTo>
                  <a:lnTo>
                    <a:pt x="4293" y="4878"/>
                  </a:lnTo>
                  <a:lnTo>
                    <a:pt x="4173" y="4571"/>
                  </a:lnTo>
                  <a:lnTo>
                    <a:pt x="4043" y="4274"/>
                  </a:lnTo>
                  <a:lnTo>
                    <a:pt x="3906" y="3985"/>
                  </a:lnTo>
                  <a:lnTo>
                    <a:pt x="3762" y="3705"/>
                  </a:lnTo>
                  <a:lnTo>
                    <a:pt x="3611" y="3435"/>
                  </a:lnTo>
                  <a:lnTo>
                    <a:pt x="3455" y="3175"/>
                  </a:lnTo>
                  <a:lnTo>
                    <a:pt x="3295" y="2924"/>
                  </a:lnTo>
                  <a:lnTo>
                    <a:pt x="3131" y="2683"/>
                  </a:lnTo>
                  <a:lnTo>
                    <a:pt x="2965" y="2451"/>
                  </a:lnTo>
                  <a:lnTo>
                    <a:pt x="2797" y="2229"/>
                  </a:lnTo>
                  <a:lnTo>
                    <a:pt x="2628" y="2018"/>
                  </a:lnTo>
                  <a:lnTo>
                    <a:pt x="2459" y="1816"/>
                  </a:lnTo>
                  <a:lnTo>
                    <a:pt x="2292" y="1624"/>
                  </a:lnTo>
                  <a:lnTo>
                    <a:pt x="2126" y="1443"/>
                  </a:lnTo>
                  <a:lnTo>
                    <a:pt x="1964" y="1271"/>
                  </a:lnTo>
                  <a:lnTo>
                    <a:pt x="1805" y="1110"/>
                  </a:lnTo>
                  <a:lnTo>
                    <a:pt x="1651" y="960"/>
                  </a:lnTo>
                  <a:lnTo>
                    <a:pt x="1503" y="820"/>
                  </a:lnTo>
                  <a:lnTo>
                    <a:pt x="1361" y="691"/>
                  </a:lnTo>
                  <a:lnTo>
                    <a:pt x="1227" y="573"/>
                  </a:lnTo>
                  <a:lnTo>
                    <a:pt x="1102" y="465"/>
                  </a:lnTo>
                  <a:lnTo>
                    <a:pt x="985" y="368"/>
                  </a:lnTo>
                  <a:lnTo>
                    <a:pt x="879" y="283"/>
                  </a:lnTo>
                  <a:lnTo>
                    <a:pt x="784" y="209"/>
                  </a:lnTo>
                  <a:lnTo>
                    <a:pt x="701" y="145"/>
                  </a:lnTo>
                  <a:lnTo>
                    <a:pt x="631" y="93"/>
                  </a:lnTo>
                  <a:lnTo>
                    <a:pt x="534" y="23"/>
                  </a:lnTo>
                  <a:lnTo>
                    <a:pt x="501" y="0"/>
                  </a:lnTo>
                  <a:lnTo>
                    <a:pt x="630" y="507"/>
                  </a:lnTo>
                  <a:lnTo>
                    <a:pt x="742" y="995"/>
                  </a:lnTo>
                  <a:lnTo>
                    <a:pt x="834" y="1464"/>
                  </a:lnTo>
                  <a:lnTo>
                    <a:pt x="910" y="1916"/>
                  </a:lnTo>
                  <a:lnTo>
                    <a:pt x="968" y="2351"/>
                  </a:lnTo>
                  <a:lnTo>
                    <a:pt x="1011" y="2771"/>
                  </a:lnTo>
                  <a:lnTo>
                    <a:pt x="1040" y="3176"/>
                  </a:lnTo>
                  <a:lnTo>
                    <a:pt x="1056" y="3567"/>
                  </a:lnTo>
                  <a:lnTo>
                    <a:pt x="1059" y="3946"/>
                  </a:lnTo>
                  <a:lnTo>
                    <a:pt x="1050" y="4313"/>
                  </a:lnTo>
                  <a:lnTo>
                    <a:pt x="1030" y="4671"/>
                  </a:lnTo>
                  <a:lnTo>
                    <a:pt x="1001" y="5018"/>
                  </a:lnTo>
                  <a:lnTo>
                    <a:pt x="965" y="5358"/>
                  </a:lnTo>
                  <a:lnTo>
                    <a:pt x="920" y="5690"/>
                  </a:lnTo>
                  <a:lnTo>
                    <a:pt x="870" y="6014"/>
                  </a:lnTo>
                  <a:lnTo>
                    <a:pt x="813" y="6335"/>
                  </a:lnTo>
                  <a:lnTo>
                    <a:pt x="753" y="6650"/>
                  </a:lnTo>
                  <a:lnTo>
                    <a:pt x="689" y="6962"/>
                  </a:lnTo>
                  <a:lnTo>
                    <a:pt x="622" y="7271"/>
                  </a:lnTo>
                  <a:lnTo>
                    <a:pt x="554" y="7580"/>
                  </a:lnTo>
                  <a:lnTo>
                    <a:pt x="486" y="7888"/>
                  </a:lnTo>
                  <a:lnTo>
                    <a:pt x="418" y="8197"/>
                  </a:lnTo>
                  <a:lnTo>
                    <a:pt x="353" y="8507"/>
                  </a:lnTo>
                  <a:lnTo>
                    <a:pt x="290" y="8820"/>
                  </a:lnTo>
                  <a:lnTo>
                    <a:pt x="229" y="9137"/>
                  </a:lnTo>
                  <a:lnTo>
                    <a:pt x="175" y="9457"/>
                  </a:lnTo>
                  <a:lnTo>
                    <a:pt x="126" y="9784"/>
                  </a:lnTo>
                  <a:lnTo>
                    <a:pt x="83" y="10118"/>
                  </a:lnTo>
                  <a:lnTo>
                    <a:pt x="48" y="10460"/>
                  </a:lnTo>
                  <a:lnTo>
                    <a:pt x="22" y="10809"/>
                  </a:lnTo>
                  <a:lnTo>
                    <a:pt x="6" y="11169"/>
                  </a:lnTo>
                  <a:lnTo>
                    <a:pt x="0" y="11540"/>
                  </a:lnTo>
                  <a:lnTo>
                    <a:pt x="6" y="11760"/>
                  </a:lnTo>
                  <a:lnTo>
                    <a:pt x="23" y="11980"/>
                  </a:lnTo>
                  <a:lnTo>
                    <a:pt x="51" y="12198"/>
                  </a:lnTo>
                  <a:lnTo>
                    <a:pt x="91" y="12414"/>
                  </a:lnTo>
                  <a:lnTo>
                    <a:pt x="142" y="12627"/>
                  </a:lnTo>
                  <a:lnTo>
                    <a:pt x="203" y="12838"/>
                  </a:lnTo>
                  <a:lnTo>
                    <a:pt x="275" y="13047"/>
                  </a:lnTo>
                  <a:lnTo>
                    <a:pt x="358" y="13251"/>
                  </a:lnTo>
                  <a:lnTo>
                    <a:pt x="450" y="13452"/>
                  </a:lnTo>
                  <a:lnTo>
                    <a:pt x="554" y="13649"/>
                  </a:lnTo>
                  <a:lnTo>
                    <a:pt x="666" y="13841"/>
                  </a:lnTo>
                  <a:lnTo>
                    <a:pt x="789" y="14028"/>
                  </a:lnTo>
                  <a:lnTo>
                    <a:pt x="922" y="14210"/>
                  </a:lnTo>
                  <a:lnTo>
                    <a:pt x="1063" y="14386"/>
                  </a:lnTo>
                  <a:lnTo>
                    <a:pt x="1213" y="14556"/>
                  </a:lnTo>
                  <a:lnTo>
                    <a:pt x="1374" y="14719"/>
                  </a:lnTo>
                  <a:lnTo>
                    <a:pt x="1542" y="14876"/>
                  </a:lnTo>
                  <a:lnTo>
                    <a:pt x="1720" y="15025"/>
                  </a:lnTo>
                  <a:lnTo>
                    <a:pt x="1906" y="15167"/>
                  </a:lnTo>
                  <a:lnTo>
                    <a:pt x="2101" y="15300"/>
                  </a:lnTo>
                  <a:lnTo>
                    <a:pt x="2303" y="15425"/>
                  </a:lnTo>
                  <a:lnTo>
                    <a:pt x="2514" y="15541"/>
                  </a:lnTo>
                  <a:lnTo>
                    <a:pt x="2733" y="15648"/>
                  </a:lnTo>
                  <a:lnTo>
                    <a:pt x="2960" y="15746"/>
                  </a:lnTo>
                  <a:lnTo>
                    <a:pt x="3193" y="15834"/>
                  </a:lnTo>
                  <a:lnTo>
                    <a:pt x="3434" y="15910"/>
                  </a:lnTo>
                  <a:lnTo>
                    <a:pt x="3683" y="15977"/>
                  </a:lnTo>
                  <a:lnTo>
                    <a:pt x="3939" y="16031"/>
                  </a:lnTo>
                  <a:lnTo>
                    <a:pt x="4201" y="16075"/>
                  </a:lnTo>
                  <a:lnTo>
                    <a:pt x="4469" y="16107"/>
                  </a:lnTo>
                  <a:lnTo>
                    <a:pt x="4745" y="16126"/>
                  </a:lnTo>
                  <a:lnTo>
                    <a:pt x="5027" y="16132"/>
                  </a:lnTo>
                  <a:lnTo>
                    <a:pt x="5439" y="16127"/>
                  </a:lnTo>
                  <a:lnTo>
                    <a:pt x="5830" y="16113"/>
                  </a:lnTo>
                  <a:lnTo>
                    <a:pt x="6201" y="16090"/>
                  </a:lnTo>
                  <a:lnTo>
                    <a:pt x="6551" y="16057"/>
                  </a:lnTo>
                  <a:lnTo>
                    <a:pt x="6884" y="16016"/>
                  </a:lnTo>
                  <a:lnTo>
                    <a:pt x="7198" y="15967"/>
                  </a:lnTo>
                  <a:lnTo>
                    <a:pt x="7494" y="15909"/>
                  </a:lnTo>
                  <a:lnTo>
                    <a:pt x="7774" y="15844"/>
                  </a:lnTo>
                  <a:lnTo>
                    <a:pt x="8036" y="15771"/>
                  </a:lnTo>
                  <a:lnTo>
                    <a:pt x="8282" y="15690"/>
                  </a:lnTo>
                  <a:lnTo>
                    <a:pt x="8514" y="15603"/>
                  </a:lnTo>
                  <a:lnTo>
                    <a:pt x="8731" y="15509"/>
                  </a:lnTo>
                  <a:lnTo>
                    <a:pt x="8933" y="15408"/>
                  </a:lnTo>
                  <a:lnTo>
                    <a:pt x="9121" y="15301"/>
                  </a:lnTo>
                  <a:lnTo>
                    <a:pt x="9297" y="15188"/>
                  </a:lnTo>
                  <a:lnTo>
                    <a:pt x="9461" y="15069"/>
                  </a:lnTo>
                  <a:lnTo>
                    <a:pt x="9611" y="14945"/>
                  </a:lnTo>
                  <a:lnTo>
                    <a:pt x="9752" y="14816"/>
                  </a:lnTo>
                  <a:lnTo>
                    <a:pt x="9882" y="14681"/>
                  </a:lnTo>
                  <a:lnTo>
                    <a:pt x="10001" y="14543"/>
                  </a:lnTo>
                  <a:lnTo>
                    <a:pt x="10111" y="14399"/>
                  </a:lnTo>
                  <a:lnTo>
                    <a:pt x="10213" y="14252"/>
                  </a:lnTo>
                  <a:lnTo>
                    <a:pt x="10305" y="14100"/>
                  </a:lnTo>
                  <a:lnTo>
                    <a:pt x="10390" y="13945"/>
                  </a:lnTo>
                  <a:lnTo>
                    <a:pt x="10468" y="13787"/>
                  </a:lnTo>
                  <a:lnTo>
                    <a:pt x="10540" y="13625"/>
                  </a:lnTo>
                  <a:lnTo>
                    <a:pt x="10606" y="13461"/>
                  </a:lnTo>
                  <a:lnTo>
                    <a:pt x="10666" y="13294"/>
                  </a:lnTo>
                  <a:lnTo>
                    <a:pt x="10721" y="13124"/>
                  </a:lnTo>
                  <a:lnTo>
                    <a:pt x="10772" y="12954"/>
                  </a:lnTo>
                  <a:lnTo>
                    <a:pt x="10821" y="12781"/>
                  </a:lnTo>
                  <a:lnTo>
                    <a:pt x="10866" y="12606"/>
                  </a:lnTo>
                  <a:lnTo>
                    <a:pt x="10921" y="12364"/>
                  </a:lnTo>
                  <a:lnTo>
                    <a:pt x="10967" y="12119"/>
                  </a:lnTo>
                  <a:lnTo>
                    <a:pt x="11004" y="11873"/>
                  </a:lnTo>
                  <a:lnTo>
                    <a:pt x="11032" y="11624"/>
                  </a:lnTo>
                  <a:lnTo>
                    <a:pt x="11051" y="11374"/>
                  </a:lnTo>
                  <a:lnTo>
                    <a:pt x="11061" y="11122"/>
                  </a:lnTo>
                  <a:lnTo>
                    <a:pt x="11062" y="10868"/>
                  </a:lnTo>
                  <a:lnTo>
                    <a:pt x="11055" y="10614"/>
                  </a:lnTo>
                  <a:lnTo>
                    <a:pt x="11039" y="10358"/>
                  </a:lnTo>
                  <a:lnTo>
                    <a:pt x="11015" y="10101"/>
                  </a:lnTo>
                  <a:lnTo>
                    <a:pt x="10982" y="9843"/>
                  </a:lnTo>
                  <a:lnTo>
                    <a:pt x="10941" y="9584"/>
                  </a:lnTo>
                  <a:lnTo>
                    <a:pt x="10892" y="9325"/>
                  </a:lnTo>
                  <a:lnTo>
                    <a:pt x="10835" y="9066"/>
                  </a:lnTo>
                  <a:lnTo>
                    <a:pt x="10769" y="8807"/>
                  </a:lnTo>
                  <a:lnTo>
                    <a:pt x="10696" y="8548"/>
                  </a:lnTo>
                  <a:lnTo>
                    <a:pt x="10616" y="8289"/>
                  </a:lnTo>
                  <a:lnTo>
                    <a:pt x="10527" y="8031"/>
                  </a:lnTo>
                  <a:lnTo>
                    <a:pt x="10432" y="7772"/>
                  </a:lnTo>
                  <a:lnTo>
                    <a:pt x="10328" y="7514"/>
                  </a:lnTo>
                  <a:lnTo>
                    <a:pt x="10218" y="7257"/>
                  </a:lnTo>
                  <a:lnTo>
                    <a:pt x="10100" y="7002"/>
                  </a:lnTo>
                  <a:lnTo>
                    <a:pt x="9974" y="6747"/>
                  </a:lnTo>
                  <a:lnTo>
                    <a:pt x="9843" y="6494"/>
                  </a:lnTo>
                  <a:lnTo>
                    <a:pt x="9704" y="6243"/>
                  </a:lnTo>
                  <a:lnTo>
                    <a:pt x="9558" y="5993"/>
                  </a:lnTo>
                  <a:lnTo>
                    <a:pt x="9405" y="5745"/>
                  </a:lnTo>
                  <a:lnTo>
                    <a:pt x="9246" y="5498"/>
                  </a:lnTo>
                  <a:lnTo>
                    <a:pt x="9081" y="5254"/>
                  </a:lnTo>
                  <a:lnTo>
                    <a:pt x="8909" y="5013"/>
                  </a:lnTo>
                  <a:lnTo>
                    <a:pt x="8730" y="4774"/>
                  </a:lnTo>
                  <a:lnTo>
                    <a:pt x="8546" y="45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51" name="isḻiďê">
              <a:extLst>
                <a:ext uri="{FF2B5EF4-FFF2-40B4-BE49-F238E27FC236}">
                  <a16:creationId xmlns:a16="http://schemas.microsoft.com/office/drawing/2014/main" id="{5B266F42-2657-4752-A098-D2ECF8994C28}"/>
                </a:ext>
              </a:extLst>
            </p:cNvPr>
            <p:cNvSpPr/>
            <p:nvPr/>
          </p:nvSpPr>
          <p:spPr bwMode="auto">
            <a:xfrm>
              <a:off x="8542762" y="193335"/>
              <a:ext cx="153880" cy="124380"/>
            </a:xfrm>
            <a:custGeom>
              <a:avLst/>
              <a:gdLst>
                <a:gd name="T0" fmla="*/ 6161 w 7135"/>
                <a:gd name="T1" fmla="*/ 2475 h 5775"/>
                <a:gd name="T2" fmla="*/ 5762 w 7135"/>
                <a:gd name="T3" fmla="*/ 2876 h 5775"/>
                <a:gd name="T4" fmla="*/ 5263 w 7135"/>
                <a:gd name="T5" fmla="*/ 3283 h 5775"/>
                <a:gd name="T6" fmla="*/ 4610 w 7135"/>
                <a:gd name="T7" fmla="*/ 3704 h 5775"/>
                <a:gd name="T8" fmla="*/ 4041 w 7135"/>
                <a:gd name="T9" fmla="*/ 3621 h 5775"/>
                <a:gd name="T10" fmla="*/ 3918 w 7135"/>
                <a:gd name="T11" fmla="*/ 3141 h 5775"/>
                <a:gd name="T12" fmla="*/ 3836 w 7135"/>
                <a:gd name="T13" fmla="*/ 2666 h 5775"/>
                <a:gd name="T14" fmla="*/ 3788 w 7135"/>
                <a:gd name="T15" fmla="*/ 2122 h 5775"/>
                <a:gd name="T16" fmla="*/ 2970 w 7135"/>
                <a:gd name="T17" fmla="*/ 2186 h 5775"/>
                <a:gd name="T18" fmla="*/ 2646 w 7135"/>
                <a:gd name="T19" fmla="*/ 2694 h 5775"/>
                <a:gd name="T20" fmla="*/ 2288 w 7135"/>
                <a:gd name="T21" fmla="*/ 3226 h 5775"/>
                <a:gd name="T22" fmla="*/ 1744 w 7135"/>
                <a:gd name="T23" fmla="*/ 2191 h 5775"/>
                <a:gd name="T24" fmla="*/ 1302 w 7135"/>
                <a:gd name="T25" fmla="*/ 1101 h 5775"/>
                <a:gd name="T26" fmla="*/ 523 w 7135"/>
                <a:gd name="T27" fmla="*/ 1126 h 5775"/>
                <a:gd name="T28" fmla="*/ 322 w 7135"/>
                <a:gd name="T29" fmla="*/ 1803 h 5775"/>
                <a:gd name="T30" fmla="*/ 155 w 7135"/>
                <a:gd name="T31" fmla="*/ 2614 h 5775"/>
                <a:gd name="T32" fmla="*/ 42 w 7135"/>
                <a:gd name="T33" fmla="*/ 3654 h 5775"/>
                <a:gd name="T34" fmla="*/ 0 w 7135"/>
                <a:gd name="T35" fmla="*/ 5018 h 5775"/>
                <a:gd name="T36" fmla="*/ 15 w 7135"/>
                <a:gd name="T37" fmla="*/ 5105 h 5775"/>
                <a:gd name="T38" fmla="*/ 57 w 7135"/>
                <a:gd name="T39" fmla="*/ 5179 h 5775"/>
                <a:gd name="T40" fmla="*/ 120 w 7135"/>
                <a:gd name="T41" fmla="*/ 5234 h 5775"/>
                <a:gd name="T42" fmla="*/ 201 w 7135"/>
                <a:gd name="T43" fmla="*/ 5265 h 5775"/>
                <a:gd name="T44" fmla="*/ 289 w 7135"/>
                <a:gd name="T45" fmla="*/ 5267 h 5775"/>
                <a:gd name="T46" fmla="*/ 370 w 7135"/>
                <a:gd name="T47" fmla="*/ 5240 h 5775"/>
                <a:gd name="T48" fmla="*/ 437 w 7135"/>
                <a:gd name="T49" fmla="*/ 5188 h 5775"/>
                <a:gd name="T50" fmla="*/ 482 w 7135"/>
                <a:gd name="T51" fmla="*/ 5117 h 5775"/>
                <a:gd name="T52" fmla="*/ 502 w 7135"/>
                <a:gd name="T53" fmla="*/ 5032 h 5775"/>
                <a:gd name="T54" fmla="*/ 520 w 7135"/>
                <a:gd name="T55" fmla="*/ 4087 h 5775"/>
                <a:gd name="T56" fmla="*/ 584 w 7135"/>
                <a:gd name="T57" fmla="*/ 3203 h 5775"/>
                <a:gd name="T58" fmla="*/ 685 w 7135"/>
                <a:gd name="T59" fmla="*/ 2490 h 5775"/>
                <a:gd name="T60" fmla="*/ 816 w 7135"/>
                <a:gd name="T61" fmla="*/ 1897 h 5775"/>
                <a:gd name="T62" fmla="*/ 1026 w 7135"/>
                <a:gd name="T63" fmla="*/ 1774 h 5775"/>
                <a:gd name="T64" fmla="*/ 1436 w 7135"/>
                <a:gd name="T65" fmla="*/ 2753 h 5775"/>
                <a:gd name="T66" fmla="*/ 1949 w 7135"/>
                <a:gd name="T67" fmla="*/ 3914 h 5775"/>
                <a:gd name="T68" fmla="*/ 2728 w 7135"/>
                <a:gd name="T69" fmla="*/ 3474 h 5775"/>
                <a:gd name="T70" fmla="*/ 3116 w 7135"/>
                <a:gd name="T71" fmla="*/ 2895 h 5775"/>
                <a:gd name="T72" fmla="*/ 3343 w 7135"/>
                <a:gd name="T73" fmla="*/ 2782 h 5775"/>
                <a:gd name="T74" fmla="*/ 3419 w 7135"/>
                <a:gd name="T75" fmla="*/ 3221 h 5775"/>
                <a:gd name="T76" fmla="*/ 3595 w 7135"/>
                <a:gd name="T77" fmla="*/ 3883 h 5775"/>
                <a:gd name="T78" fmla="*/ 4108 w 7135"/>
                <a:gd name="T79" fmla="*/ 4532 h 5775"/>
                <a:gd name="T80" fmla="*/ 4902 w 7135"/>
                <a:gd name="T81" fmla="*/ 4116 h 5775"/>
                <a:gd name="T82" fmla="*/ 5527 w 7135"/>
                <a:gd name="T83" fmla="*/ 3714 h 5775"/>
                <a:gd name="T84" fmla="*/ 6017 w 7135"/>
                <a:gd name="T85" fmla="*/ 3324 h 5775"/>
                <a:gd name="T86" fmla="*/ 6411 w 7135"/>
                <a:gd name="T87" fmla="*/ 2943 h 5775"/>
                <a:gd name="T88" fmla="*/ 6624 w 7135"/>
                <a:gd name="T89" fmla="*/ 2997 h 5775"/>
                <a:gd name="T90" fmla="*/ 6623 w 7135"/>
                <a:gd name="T91" fmla="*/ 3626 h 5775"/>
                <a:gd name="T92" fmla="*/ 6567 w 7135"/>
                <a:gd name="T93" fmla="*/ 4245 h 5775"/>
                <a:gd name="T94" fmla="*/ 6457 w 7135"/>
                <a:gd name="T95" fmla="*/ 4831 h 5775"/>
                <a:gd name="T96" fmla="*/ 6297 w 7135"/>
                <a:gd name="T97" fmla="*/ 5360 h 5775"/>
                <a:gd name="T98" fmla="*/ 6251 w 7135"/>
                <a:gd name="T99" fmla="*/ 5502 h 5775"/>
                <a:gd name="T100" fmla="*/ 6259 w 7135"/>
                <a:gd name="T101" fmla="*/ 5587 h 5775"/>
                <a:gd name="T102" fmla="*/ 6295 w 7135"/>
                <a:gd name="T103" fmla="*/ 5664 h 5775"/>
                <a:gd name="T104" fmla="*/ 6353 w 7135"/>
                <a:gd name="T105" fmla="*/ 5726 h 5775"/>
                <a:gd name="T106" fmla="*/ 6431 w 7135"/>
                <a:gd name="T107" fmla="*/ 5765 h 5775"/>
                <a:gd name="T108" fmla="*/ 6522 w 7135"/>
                <a:gd name="T109" fmla="*/ 5775 h 5775"/>
                <a:gd name="T110" fmla="*/ 6641 w 7135"/>
                <a:gd name="T111" fmla="*/ 5733 h 5775"/>
                <a:gd name="T112" fmla="*/ 6728 w 7135"/>
                <a:gd name="T113" fmla="*/ 5635 h 5775"/>
                <a:gd name="T114" fmla="*/ 6926 w 7135"/>
                <a:gd name="T115" fmla="*/ 5033 h 5775"/>
                <a:gd name="T116" fmla="*/ 7072 w 7135"/>
                <a:gd name="T117" fmla="*/ 4273 h 5775"/>
                <a:gd name="T118" fmla="*/ 7134 w 7135"/>
                <a:gd name="T119" fmla="*/ 3469 h 5775"/>
                <a:gd name="T120" fmla="*/ 7108 w 7135"/>
                <a:gd name="T121" fmla="*/ 2658 h 5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135" h="5775">
                  <a:moveTo>
                    <a:pt x="6940" y="1575"/>
                  </a:moveTo>
                  <a:lnTo>
                    <a:pt x="6513" y="2072"/>
                  </a:lnTo>
                  <a:lnTo>
                    <a:pt x="6413" y="2188"/>
                  </a:lnTo>
                  <a:lnTo>
                    <a:pt x="6314" y="2303"/>
                  </a:lnTo>
                  <a:lnTo>
                    <a:pt x="6263" y="2361"/>
                  </a:lnTo>
                  <a:lnTo>
                    <a:pt x="6212" y="2418"/>
                  </a:lnTo>
                  <a:lnTo>
                    <a:pt x="6161" y="2475"/>
                  </a:lnTo>
                  <a:lnTo>
                    <a:pt x="6108" y="2532"/>
                  </a:lnTo>
                  <a:lnTo>
                    <a:pt x="6053" y="2590"/>
                  </a:lnTo>
                  <a:lnTo>
                    <a:pt x="5999" y="2647"/>
                  </a:lnTo>
                  <a:lnTo>
                    <a:pt x="5942" y="2704"/>
                  </a:lnTo>
                  <a:lnTo>
                    <a:pt x="5883" y="2761"/>
                  </a:lnTo>
                  <a:lnTo>
                    <a:pt x="5824" y="2818"/>
                  </a:lnTo>
                  <a:lnTo>
                    <a:pt x="5762" y="2876"/>
                  </a:lnTo>
                  <a:lnTo>
                    <a:pt x="5698" y="2933"/>
                  </a:lnTo>
                  <a:lnTo>
                    <a:pt x="5632" y="2992"/>
                  </a:lnTo>
                  <a:lnTo>
                    <a:pt x="5564" y="3049"/>
                  </a:lnTo>
                  <a:lnTo>
                    <a:pt x="5492" y="3108"/>
                  </a:lnTo>
                  <a:lnTo>
                    <a:pt x="5419" y="3166"/>
                  </a:lnTo>
                  <a:lnTo>
                    <a:pt x="5343" y="3225"/>
                  </a:lnTo>
                  <a:lnTo>
                    <a:pt x="5263" y="3283"/>
                  </a:lnTo>
                  <a:lnTo>
                    <a:pt x="5181" y="3343"/>
                  </a:lnTo>
                  <a:lnTo>
                    <a:pt x="5094" y="3402"/>
                  </a:lnTo>
                  <a:lnTo>
                    <a:pt x="5005" y="3462"/>
                  </a:lnTo>
                  <a:lnTo>
                    <a:pt x="4912" y="3521"/>
                  </a:lnTo>
                  <a:lnTo>
                    <a:pt x="4815" y="3582"/>
                  </a:lnTo>
                  <a:lnTo>
                    <a:pt x="4714" y="3642"/>
                  </a:lnTo>
                  <a:lnTo>
                    <a:pt x="4610" y="3704"/>
                  </a:lnTo>
                  <a:lnTo>
                    <a:pt x="4500" y="3765"/>
                  </a:lnTo>
                  <a:lnTo>
                    <a:pt x="4387" y="3828"/>
                  </a:lnTo>
                  <a:lnTo>
                    <a:pt x="4268" y="3890"/>
                  </a:lnTo>
                  <a:lnTo>
                    <a:pt x="4145" y="3953"/>
                  </a:lnTo>
                  <a:lnTo>
                    <a:pt x="4110" y="3844"/>
                  </a:lnTo>
                  <a:lnTo>
                    <a:pt x="4075" y="3734"/>
                  </a:lnTo>
                  <a:lnTo>
                    <a:pt x="4041" y="3621"/>
                  </a:lnTo>
                  <a:lnTo>
                    <a:pt x="4008" y="3506"/>
                  </a:lnTo>
                  <a:lnTo>
                    <a:pt x="3991" y="3448"/>
                  </a:lnTo>
                  <a:lnTo>
                    <a:pt x="3976" y="3388"/>
                  </a:lnTo>
                  <a:lnTo>
                    <a:pt x="3961" y="3328"/>
                  </a:lnTo>
                  <a:lnTo>
                    <a:pt x="3946" y="3266"/>
                  </a:lnTo>
                  <a:lnTo>
                    <a:pt x="3931" y="3204"/>
                  </a:lnTo>
                  <a:lnTo>
                    <a:pt x="3918" y="3141"/>
                  </a:lnTo>
                  <a:lnTo>
                    <a:pt x="3904" y="3077"/>
                  </a:lnTo>
                  <a:lnTo>
                    <a:pt x="3891" y="3011"/>
                  </a:lnTo>
                  <a:lnTo>
                    <a:pt x="3879" y="2944"/>
                  </a:lnTo>
                  <a:lnTo>
                    <a:pt x="3867" y="2877"/>
                  </a:lnTo>
                  <a:lnTo>
                    <a:pt x="3856" y="2807"/>
                  </a:lnTo>
                  <a:lnTo>
                    <a:pt x="3846" y="2738"/>
                  </a:lnTo>
                  <a:lnTo>
                    <a:pt x="3836" y="2666"/>
                  </a:lnTo>
                  <a:lnTo>
                    <a:pt x="3827" y="2593"/>
                  </a:lnTo>
                  <a:lnTo>
                    <a:pt x="3819" y="2518"/>
                  </a:lnTo>
                  <a:lnTo>
                    <a:pt x="3811" y="2442"/>
                  </a:lnTo>
                  <a:lnTo>
                    <a:pt x="3803" y="2365"/>
                  </a:lnTo>
                  <a:lnTo>
                    <a:pt x="3797" y="2285"/>
                  </a:lnTo>
                  <a:lnTo>
                    <a:pt x="3792" y="2204"/>
                  </a:lnTo>
                  <a:lnTo>
                    <a:pt x="3788" y="2122"/>
                  </a:lnTo>
                  <a:lnTo>
                    <a:pt x="3785" y="2038"/>
                  </a:lnTo>
                  <a:lnTo>
                    <a:pt x="3782" y="1951"/>
                  </a:lnTo>
                  <a:lnTo>
                    <a:pt x="3781" y="1864"/>
                  </a:lnTo>
                  <a:lnTo>
                    <a:pt x="3780" y="1774"/>
                  </a:lnTo>
                  <a:lnTo>
                    <a:pt x="3780" y="912"/>
                  </a:lnTo>
                  <a:lnTo>
                    <a:pt x="3017" y="2111"/>
                  </a:lnTo>
                  <a:lnTo>
                    <a:pt x="2970" y="2186"/>
                  </a:lnTo>
                  <a:lnTo>
                    <a:pt x="2923" y="2261"/>
                  </a:lnTo>
                  <a:lnTo>
                    <a:pt x="2877" y="2334"/>
                  </a:lnTo>
                  <a:lnTo>
                    <a:pt x="2830" y="2407"/>
                  </a:lnTo>
                  <a:lnTo>
                    <a:pt x="2785" y="2479"/>
                  </a:lnTo>
                  <a:lnTo>
                    <a:pt x="2739" y="2550"/>
                  </a:lnTo>
                  <a:lnTo>
                    <a:pt x="2693" y="2622"/>
                  </a:lnTo>
                  <a:lnTo>
                    <a:pt x="2646" y="2694"/>
                  </a:lnTo>
                  <a:lnTo>
                    <a:pt x="2599" y="2766"/>
                  </a:lnTo>
                  <a:lnTo>
                    <a:pt x="2551" y="2840"/>
                  </a:lnTo>
                  <a:lnTo>
                    <a:pt x="2502" y="2913"/>
                  </a:lnTo>
                  <a:lnTo>
                    <a:pt x="2450" y="2989"/>
                  </a:lnTo>
                  <a:lnTo>
                    <a:pt x="2398" y="3066"/>
                  </a:lnTo>
                  <a:lnTo>
                    <a:pt x="2344" y="3145"/>
                  </a:lnTo>
                  <a:lnTo>
                    <a:pt x="2288" y="3226"/>
                  </a:lnTo>
                  <a:lnTo>
                    <a:pt x="2229" y="3308"/>
                  </a:lnTo>
                  <a:lnTo>
                    <a:pt x="2141" y="3108"/>
                  </a:lnTo>
                  <a:lnTo>
                    <a:pt x="2055" y="2913"/>
                  </a:lnTo>
                  <a:lnTo>
                    <a:pt x="1973" y="2724"/>
                  </a:lnTo>
                  <a:lnTo>
                    <a:pt x="1893" y="2541"/>
                  </a:lnTo>
                  <a:lnTo>
                    <a:pt x="1817" y="2364"/>
                  </a:lnTo>
                  <a:lnTo>
                    <a:pt x="1744" y="2191"/>
                  </a:lnTo>
                  <a:lnTo>
                    <a:pt x="1672" y="2023"/>
                  </a:lnTo>
                  <a:lnTo>
                    <a:pt x="1605" y="1861"/>
                  </a:lnTo>
                  <a:lnTo>
                    <a:pt x="1540" y="1701"/>
                  </a:lnTo>
                  <a:lnTo>
                    <a:pt x="1476" y="1546"/>
                  </a:lnTo>
                  <a:lnTo>
                    <a:pt x="1416" y="1395"/>
                  </a:lnTo>
                  <a:lnTo>
                    <a:pt x="1358" y="1247"/>
                  </a:lnTo>
                  <a:lnTo>
                    <a:pt x="1302" y="1101"/>
                  </a:lnTo>
                  <a:lnTo>
                    <a:pt x="1249" y="959"/>
                  </a:lnTo>
                  <a:lnTo>
                    <a:pt x="1197" y="819"/>
                  </a:lnTo>
                  <a:lnTo>
                    <a:pt x="1148" y="681"/>
                  </a:lnTo>
                  <a:lnTo>
                    <a:pt x="907" y="0"/>
                  </a:lnTo>
                  <a:lnTo>
                    <a:pt x="646" y="762"/>
                  </a:lnTo>
                  <a:lnTo>
                    <a:pt x="584" y="943"/>
                  </a:lnTo>
                  <a:lnTo>
                    <a:pt x="523" y="1126"/>
                  </a:lnTo>
                  <a:lnTo>
                    <a:pt x="493" y="1217"/>
                  </a:lnTo>
                  <a:lnTo>
                    <a:pt x="463" y="1311"/>
                  </a:lnTo>
                  <a:lnTo>
                    <a:pt x="434" y="1406"/>
                  </a:lnTo>
                  <a:lnTo>
                    <a:pt x="405" y="1502"/>
                  </a:lnTo>
                  <a:lnTo>
                    <a:pt x="377" y="1599"/>
                  </a:lnTo>
                  <a:lnTo>
                    <a:pt x="348" y="1700"/>
                  </a:lnTo>
                  <a:lnTo>
                    <a:pt x="322" y="1803"/>
                  </a:lnTo>
                  <a:lnTo>
                    <a:pt x="295" y="1908"/>
                  </a:lnTo>
                  <a:lnTo>
                    <a:pt x="270" y="2017"/>
                  </a:lnTo>
                  <a:lnTo>
                    <a:pt x="245" y="2129"/>
                  </a:lnTo>
                  <a:lnTo>
                    <a:pt x="221" y="2244"/>
                  </a:lnTo>
                  <a:lnTo>
                    <a:pt x="199" y="2363"/>
                  </a:lnTo>
                  <a:lnTo>
                    <a:pt x="176" y="2487"/>
                  </a:lnTo>
                  <a:lnTo>
                    <a:pt x="155" y="2614"/>
                  </a:lnTo>
                  <a:lnTo>
                    <a:pt x="135" y="2747"/>
                  </a:lnTo>
                  <a:lnTo>
                    <a:pt x="116" y="2884"/>
                  </a:lnTo>
                  <a:lnTo>
                    <a:pt x="99" y="3026"/>
                  </a:lnTo>
                  <a:lnTo>
                    <a:pt x="83" y="3174"/>
                  </a:lnTo>
                  <a:lnTo>
                    <a:pt x="68" y="3329"/>
                  </a:lnTo>
                  <a:lnTo>
                    <a:pt x="54" y="3488"/>
                  </a:lnTo>
                  <a:lnTo>
                    <a:pt x="42" y="3654"/>
                  </a:lnTo>
                  <a:lnTo>
                    <a:pt x="31" y="3828"/>
                  </a:lnTo>
                  <a:lnTo>
                    <a:pt x="22" y="4007"/>
                  </a:lnTo>
                  <a:lnTo>
                    <a:pt x="14" y="4194"/>
                  </a:lnTo>
                  <a:lnTo>
                    <a:pt x="8" y="4388"/>
                  </a:lnTo>
                  <a:lnTo>
                    <a:pt x="4" y="4590"/>
                  </a:lnTo>
                  <a:lnTo>
                    <a:pt x="1" y="4801"/>
                  </a:lnTo>
                  <a:lnTo>
                    <a:pt x="0" y="5018"/>
                  </a:lnTo>
                  <a:lnTo>
                    <a:pt x="0" y="5032"/>
                  </a:lnTo>
                  <a:lnTo>
                    <a:pt x="1" y="5045"/>
                  </a:lnTo>
                  <a:lnTo>
                    <a:pt x="3" y="5057"/>
                  </a:lnTo>
                  <a:lnTo>
                    <a:pt x="5" y="5070"/>
                  </a:lnTo>
                  <a:lnTo>
                    <a:pt x="8" y="5082"/>
                  </a:lnTo>
                  <a:lnTo>
                    <a:pt x="11" y="5094"/>
                  </a:lnTo>
                  <a:lnTo>
                    <a:pt x="15" y="5105"/>
                  </a:lnTo>
                  <a:lnTo>
                    <a:pt x="20" y="5117"/>
                  </a:lnTo>
                  <a:lnTo>
                    <a:pt x="25" y="5128"/>
                  </a:lnTo>
                  <a:lnTo>
                    <a:pt x="30" y="5138"/>
                  </a:lnTo>
                  <a:lnTo>
                    <a:pt x="36" y="5150"/>
                  </a:lnTo>
                  <a:lnTo>
                    <a:pt x="43" y="5160"/>
                  </a:lnTo>
                  <a:lnTo>
                    <a:pt x="50" y="5170"/>
                  </a:lnTo>
                  <a:lnTo>
                    <a:pt x="57" y="5179"/>
                  </a:lnTo>
                  <a:lnTo>
                    <a:pt x="65" y="5188"/>
                  </a:lnTo>
                  <a:lnTo>
                    <a:pt x="73" y="5197"/>
                  </a:lnTo>
                  <a:lnTo>
                    <a:pt x="82" y="5205"/>
                  </a:lnTo>
                  <a:lnTo>
                    <a:pt x="91" y="5213"/>
                  </a:lnTo>
                  <a:lnTo>
                    <a:pt x="100" y="5221"/>
                  </a:lnTo>
                  <a:lnTo>
                    <a:pt x="110" y="5228"/>
                  </a:lnTo>
                  <a:lnTo>
                    <a:pt x="120" y="5234"/>
                  </a:lnTo>
                  <a:lnTo>
                    <a:pt x="131" y="5240"/>
                  </a:lnTo>
                  <a:lnTo>
                    <a:pt x="141" y="5246"/>
                  </a:lnTo>
                  <a:lnTo>
                    <a:pt x="152" y="5251"/>
                  </a:lnTo>
                  <a:lnTo>
                    <a:pt x="164" y="5255"/>
                  </a:lnTo>
                  <a:lnTo>
                    <a:pt x="176" y="5259"/>
                  </a:lnTo>
                  <a:lnTo>
                    <a:pt x="188" y="5262"/>
                  </a:lnTo>
                  <a:lnTo>
                    <a:pt x="201" y="5265"/>
                  </a:lnTo>
                  <a:lnTo>
                    <a:pt x="213" y="5267"/>
                  </a:lnTo>
                  <a:lnTo>
                    <a:pt x="225" y="5270"/>
                  </a:lnTo>
                  <a:lnTo>
                    <a:pt x="238" y="5271"/>
                  </a:lnTo>
                  <a:lnTo>
                    <a:pt x="251" y="5271"/>
                  </a:lnTo>
                  <a:lnTo>
                    <a:pt x="264" y="5271"/>
                  </a:lnTo>
                  <a:lnTo>
                    <a:pt x="277" y="5270"/>
                  </a:lnTo>
                  <a:lnTo>
                    <a:pt x="289" y="5267"/>
                  </a:lnTo>
                  <a:lnTo>
                    <a:pt x="301" y="5265"/>
                  </a:lnTo>
                  <a:lnTo>
                    <a:pt x="313" y="5262"/>
                  </a:lnTo>
                  <a:lnTo>
                    <a:pt x="325" y="5259"/>
                  </a:lnTo>
                  <a:lnTo>
                    <a:pt x="337" y="5255"/>
                  </a:lnTo>
                  <a:lnTo>
                    <a:pt x="348" y="5251"/>
                  </a:lnTo>
                  <a:lnTo>
                    <a:pt x="359" y="5246"/>
                  </a:lnTo>
                  <a:lnTo>
                    <a:pt x="370" y="5240"/>
                  </a:lnTo>
                  <a:lnTo>
                    <a:pt x="382" y="5234"/>
                  </a:lnTo>
                  <a:lnTo>
                    <a:pt x="392" y="5228"/>
                  </a:lnTo>
                  <a:lnTo>
                    <a:pt x="402" y="5221"/>
                  </a:lnTo>
                  <a:lnTo>
                    <a:pt x="411" y="5213"/>
                  </a:lnTo>
                  <a:lnTo>
                    <a:pt x="420" y="5205"/>
                  </a:lnTo>
                  <a:lnTo>
                    <a:pt x="429" y="5197"/>
                  </a:lnTo>
                  <a:lnTo>
                    <a:pt x="437" y="5188"/>
                  </a:lnTo>
                  <a:lnTo>
                    <a:pt x="445" y="5179"/>
                  </a:lnTo>
                  <a:lnTo>
                    <a:pt x="452" y="5170"/>
                  </a:lnTo>
                  <a:lnTo>
                    <a:pt x="459" y="5160"/>
                  </a:lnTo>
                  <a:lnTo>
                    <a:pt x="466" y="5150"/>
                  </a:lnTo>
                  <a:lnTo>
                    <a:pt x="472" y="5138"/>
                  </a:lnTo>
                  <a:lnTo>
                    <a:pt x="477" y="5128"/>
                  </a:lnTo>
                  <a:lnTo>
                    <a:pt x="482" y="5117"/>
                  </a:lnTo>
                  <a:lnTo>
                    <a:pt x="487" y="5105"/>
                  </a:lnTo>
                  <a:lnTo>
                    <a:pt x="491" y="5094"/>
                  </a:lnTo>
                  <a:lnTo>
                    <a:pt x="494" y="5082"/>
                  </a:lnTo>
                  <a:lnTo>
                    <a:pt x="497" y="5070"/>
                  </a:lnTo>
                  <a:lnTo>
                    <a:pt x="499" y="5057"/>
                  </a:lnTo>
                  <a:lnTo>
                    <a:pt x="501" y="5045"/>
                  </a:lnTo>
                  <a:lnTo>
                    <a:pt x="502" y="5032"/>
                  </a:lnTo>
                  <a:lnTo>
                    <a:pt x="502" y="5018"/>
                  </a:lnTo>
                  <a:lnTo>
                    <a:pt x="503" y="4851"/>
                  </a:lnTo>
                  <a:lnTo>
                    <a:pt x="504" y="4688"/>
                  </a:lnTo>
                  <a:lnTo>
                    <a:pt x="507" y="4530"/>
                  </a:lnTo>
                  <a:lnTo>
                    <a:pt x="510" y="4378"/>
                  </a:lnTo>
                  <a:lnTo>
                    <a:pt x="515" y="4230"/>
                  </a:lnTo>
                  <a:lnTo>
                    <a:pt x="520" y="4087"/>
                  </a:lnTo>
                  <a:lnTo>
                    <a:pt x="527" y="3949"/>
                  </a:lnTo>
                  <a:lnTo>
                    <a:pt x="534" y="3814"/>
                  </a:lnTo>
                  <a:lnTo>
                    <a:pt x="542" y="3684"/>
                  </a:lnTo>
                  <a:lnTo>
                    <a:pt x="551" y="3557"/>
                  </a:lnTo>
                  <a:lnTo>
                    <a:pt x="562" y="3435"/>
                  </a:lnTo>
                  <a:lnTo>
                    <a:pt x="573" y="3318"/>
                  </a:lnTo>
                  <a:lnTo>
                    <a:pt x="584" y="3203"/>
                  </a:lnTo>
                  <a:lnTo>
                    <a:pt x="596" y="3092"/>
                  </a:lnTo>
                  <a:lnTo>
                    <a:pt x="609" y="2984"/>
                  </a:lnTo>
                  <a:lnTo>
                    <a:pt x="623" y="2879"/>
                  </a:lnTo>
                  <a:lnTo>
                    <a:pt x="637" y="2777"/>
                  </a:lnTo>
                  <a:lnTo>
                    <a:pt x="653" y="2678"/>
                  </a:lnTo>
                  <a:lnTo>
                    <a:pt x="668" y="2583"/>
                  </a:lnTo>
                  <a:lnTo>
                    <a:pt x="685" y="2490"/>
                  </a:lnTo>
                  <a:lnTo>
                    <a:pt x="702" y="2398"/>
                  </a:lnTo>
                  <a:lnTo>
                    <a:pt x="719" y="2310"/>
                  </a:lnTo>
                  <a:lnTo>
                    <a:pt x="737" y="2224"/>
                  </a:lnTo>
                  <a:lnTo>
                    <a:pt x="757" y="2139"/>
                  </a:lnTo>
                  <a:lnTo>
                    <a:pt x="776" y="2056"/>
                  </a:lnTo>
                  <a:lnTo>
                    <a:pt x="796" y="1976"/>
                  </a:lnTo>
                  <a:lnTo>
                    <a:pt x="816" y="1897"/>
                  </a:lnTo>
                  <a:lnTo>
                    <a:pt x="837" y="1819"/>
                  </a:lnTo>
                  <a:lnTo>
                    <a:pt x="858" y="1743"/>
                  </a:lnTo>
                  <a:lnTo>
                    <a:pt x="880" y="1667"/>
                  </a:lnTo>
                  <a:lnTo>
                    <a:pt x="902" y="1593"/>
                  </a:lnTo>
                  <a:lnTo>
                    <a:pt x="924" y="1520"/>
                  </a:lnTo>
                  <a:lnTo>
                    <a:pt x="975" y="1646"/>
                  </a:lnTo>
                  <a:lnTo>
                    <a:pt x="1026" y="1774"/>
                  </a:lnTo>
                  <a:lnTo>
                    <a:pt x="1079" y="1905"/>
                  </a:lnTo>
                  <a:lnTo>
                    <a:pt x="1134" y="2038"/>
                  </a:lnTo>
                  <a:lnTo>
                    <a:pt x="1191" y="2175"/>
                  </a:lnTo>
                  <a:lnTo>
                    <a:pt x="1249" y="2314"/>
                  </a:lnTo>
                  <a:lnTo>
                    <a:pt x="1309" y="2456"/>
                  </a:lnTo>
                  <a:lnTo>
                    <a:pt x="1372" y="2603"/>
                  </a:lnTo>
                  <a:lnTo>
                    <a:pt x="1436" y="2753"/>
                  </a:lnTo>
                  <a:lnTo>
                    <a:pt x="1503" y="2906"/>
                  </a:lnTo>
                  <a:lnTo>
                    <a:pt x="1572" y="3063"/>
                  </a:lnTo>
                  <a:lnTo>
                    <a:pt x="1642" y="3225"/>
                  </a:lnTo>
                  <a:lnTo>
                    <a:pt x="1716" y="3390"/>
                  </a:lnTo>
                  <a:lnTo>
                    <a:pt x="1791" y="3561"/>
                  </a:lnTo>
                  <a:lnTo>
                    <a:pt x="1868" y="3735"/>
                  </a:lnTo>
                  <a:lnTo>
                    <a:pt x="1949" y="3914"/>
                  </a:lnTo>
                  <a:lnTo>
                    <a:pt x="2126" y="4310"/>
                  </a:lnTo>
                  <a:lnTo>
                    <a:pt x="2381" y="3960"/>
                  </a:lnTo>
                  <a:lnTo>
                    <a:pt x="2456" y="3856"/>
                  </a:lnTo>
                  <a:lnTo>
                    <a:pt x="2530" y="3755"/>
                  </a:lnTo>
                  <a:lnTo>
                    <a:pt x="2599" y="3658"/>
                  </a:lnTo>
                  <a:lnTo>
                    <a:pt x="2665" y="3565"/>
                  </a:lnTo>
                  <a:lnTo>
                    <a:pt x="2728" y="3474"/>
                  </a:lnTo>
                  <a:lnTo>
                    <a:pt x="2789" y="3386"/>
                  </a:lnTo>
                  <a:lnTo>
                    <a:pt x="2847" y="3300"/>
                  </a:lnTo>
                  <a:lnTo>
                    <a:pt x="2904" y="3217"/>
                  </a:lnTo>
                  <a:lnTo>
                    <a:pt x="2959" y="3135"/>
                  </a:lnTo>
                  <a:lnTo>
                    <a:pt x="3012" y="3054"/>
                  </a:lnTo>
                  <a:lnTo>
                    <a:pt x="3065" y="2974"/>
                  </a:lnTo>
                  <a:lnTo>
                    <a:pt x="3116" y="2895"/>
                  </a:lnTo>
                  <a:lnTo>
                    <a:pt x="3166" y="2816"/>
                  </a:lnTo>
                  <a:lnTo>
                    <a:pt x="3216" y="2737"/>
                  </a:lnTo>
                  <a:lnTo>
                    <a:pt x="3268" y="2657"/>
                  </a:lnTo>
                  <a:lnTo>
                    <a:pt x="3318" y="2577"/>
                  </a:lnTo>
                  <a:lnTo>
                    <a:pt x="3326" y="2647"/>
                  </a:lnTo>
                  <a:lnTo>
                    <a:pt x="3334" y="2715"/>
                  </a:lnTo>
                  <a:lnTo>
                    <a:pt x="3343" y="2782"/>
                  </a:lnTo>
                  <a:lnTo>
                    <a:pt x="3353" y="2848"/>
                  </a:lnTo>
                  <a:lnTo>
                    <a:pt x="3362" y="2912"/>
                  </a:lnTo>
                  <a:lnTo>
                    <a:pt x="3373" y="2976"/>
                  </a:lnTo>
                  <a:lnTo>
                    <a:pt x="3384" y="3038"/>
                  </a:lnTo>
                  <a:lnTo>
                    <a:pt x="3395" y="3101"/>
                  </a:lnTo>
                  <a:lnTo>
                    <a:pt x="3407" y="3161"/>
                  </a:lnTo>
                  <a:lnTo>
                    <a:pt x="3419" y="3221"/>
                  </a:lnTo>
                  <a:lnTo>
                    <a:pt x="3433" y="3280"/>
                  </a:lnTo>
                  <a:lnTo>
                    <a:pt x="3446" y="3339"/>
                  </a:lnTo>
                  <a:lnTo>
                    <a:pt x="3474" y="3453"/>
                  </a:lnTo>
                  <a:lnTo>
                    <a:pt x="3502" y="3564"/>
                  </a:lnTo>
                  <a:lnTo>
                    <a:pt x="3532" y="3672"/>
                  </a:lnTo>
                  <a:lnTo>
                    <a:pt x="3563" y="3778"/>
                  </a:lnTo>
                  <a:lnTo>
                    <a:pt x="3595" y="3883"/>
                  </a:lnTo>
                  <a:lnTo>
                    <a:pt x="3628" y="3986"/>
                  </a:lnTo>
                  <a:lnTo>
                    <a:pt x="3661" y="4088"/>
                  </a:lnTo>
                  <a:lnTo>
                    <a:pt x="3695" y="4188"/>
                  </a:lnTo>
                  <a:lnTo>
                    <a:pt x="3729" y="4287"/>
                  </a:lnTo>
                  <a:lnTo>
                    <a:pt x="3763" y="4387"/>
                  </a:lnTo>
                  <a:lnTo>
                    <a:pt x="3854" y="4653"/>
                  </a:lnTo>
                  <a:lnTo>
                    <a:pt x="4108" y="4532"/>
                  </a:lnTo>
                  <a:lnTo>
                    <a:pt x="4234" y="4472"/>
                  </a:lnTo>
                  <a:lnTo>
                    <a:pt x="4354" y="4412"/>
                  </a:lnTo>
                  <a:lnTo>
                    <a:pt x="4472" y="4352"/>
                  </a:lnTo>
                  <a:lnTo>
                    <a:pt x="4585" y="4293"/>
                  </a:lnTo>
                  <a:lnTo>
                    <a:pt x="4694" y="4233"/>
                  </a:lnTo>
                  <a:lnTo>
                    <a:pt x="4801" y="4175"/>
                  </a:lnTo>
                  <a:lnTo>
                    <a:pt x="4902" y="4116"/>
                  </a:lnTo>
                  <a:lnTo>
                    <a:pt x="5001" y="4058"/>
                  </a:lnTo>
                  <a:lnTo>
                    <a:pt x="5096" y="4000"/>
                  </a:lnTo>
                  <a:lnTo>
                    <a:pt x="5189" y="3942"/>
                  </a:lnTo>
                  <a:lnTo>
                    <a:pt x="5277" y="3884"/>
                  </a:lnTo>
                  <a:lnTo>
                    <a:pt x="5364" y="3828"/>
                  </a:lnTo>
                  <a:lnTo>
                    <a:pt x="5446" y="3770"/>
                  </a:lnTo>
                  <a:lnTo>
                    <a:pt x="5527" y="3714"/>
                  </a:lnTo>
                  <a:lnTo>
                    <a:pt x="5604" y="3657"/>
                  </a:lnTo>
                  <a:lnTo>
                    <a:pt x="5678" y="3601"/>
                  </a:lnTo>
                  <a:lnTo>
                    <a:pt x="5751" y="3545"/>
                  </a:lnTo>
                  <a:lnTo>
                    <a:pt x="5820" y="3489"/>
                  </a:lnTo>
                  <a:lnTo>
                    <a:pt x="5888" y="3433"/>
                  </a:lnTo>
                  <a:lnTo>
                    <a:pt x="5954" y="3379"/>
                  </a:lnTo>
                  <a:lnTo>
                    <a:pt x="6017" y="3324"/>
                  </a:lnTo>
                  <a:lnTo>
                    <a:pt x="6078" y="3269"/>
                  </a:lnTo>
                  <a:lnTo>
                    <a:pt x="6138" y="3214"/>
                  </a:lnTo>
                  <a:lnTo>
                    <a:pt x="6195" y="3159"/>
                  </a:lnTo>
                  <a:lnTo>
                    <a:pt x="6251" y="3106"/>
                  </a:lnTo>
                  <a:lnTo>
                    <a:pt x="6307" y="3051"/>
                  </a:lnTo>
                  <a:lnTo>
                    <a:pt x="6360" y="2998"/>
                  </a:lnTo>
                  <a:lnTo>
                    <a:pt x="6411" y="2943"/>
                  </a:lnTo>
                  <a:lnTo>
                    <a:pt x="6462" y="2890"/>
                  </a:lnTo>
                  <a:lnTo>
                    <a:pt x="6512" y="2837"/>
                  </a:lnTo>
                  <a:lnTo>
                    <a:pt x="6560" y="2783"/>
                  </a:lnTo>
                  <a:lnTo>
                    <a:pt x="6608" y="2731"/>
                  </a:lnTo>
                  <a:lnTo>
                    <a:pt x="6615" y="2818"/>
                  </a:lnTo>
                  <a:lnTo>
                    <a:pt x="6620" y="2907"/>
                  </a:lnTo>
                  <a:lnTo>
                    <a:pt x="6624" y="2997"/>
                  </a:lnTo>
                  <a:lnTo>
                    <a:pt x="6628" y="3087"/>
                  </a:lnTo>
                  <a:lnTo>
                    <a:pt x="6630" y="3176"/>
                  </a:lnTo>
                  <a:lnTo>
                    <a:pt x="6631" y="3266"/>
                  </a:lnTo>
                  <a:lnTo>
                    <a:pt x="6630" y="3356"/>
                  </a:lnTo>
                  <a:lnTo>
                    <a:pt x="6629" y="3446"/>
                  </a:lnTo>
                  <a:lnTo>
                    <a:pt x="6627" y="3535"/>
                  </a:lnTo>
                  <a:lnTo>
                    <a:pt x="6623" y="3626"/>
                  </a:lnTo>
                  <a:lnTo>
                    <a:pt x="6618" y="3715"/>
                  </a:lnTo>
                  <a:lnTo>
                    <a:pt x="6612" y="3805"/>
                  </a:lnTo>
                  <a:lnTo>
                    <a:pt x="6605" y="3893"/>
                  </a:lnTo>
                  <a:lnTo>
                    <a:pt x="6597" y="3982"/>
                  </a:lnTo>
                  <a:lnTo>
                    <a:pt x="6588" y="4071"/>
                  </a:lnTo>
                  <a:lnTo>
                    <a:pt x="6578" y="4158"/>
                  </a:lnTo>
                  <a:lnTo>
                    <a:pt x="6567" y="4245"/>
                  </a:lnTo>
                  <a:lnTo>
                    <a:pt x="6554" y="4332"/>
                  </a:lnTo>
                  <a:lnTo>
                    <a:pt x="6541" y="4418"/>
                  </a:lnTo>
                  <a:lnTo>
                    <a:pt x="6526" y="4502"/>
                  </a:lnTo>
                  <a:lnTo>
                    <a:pt x="6511" y="4586"/>
                  </a:lnTo>
                  <a:lnTo>
                    <a:pt x="6494" y="4669"/>
                  </a:lnTo>
                  <a:lnTo>
                    <a:pt x="6476" y="4750"/>
                  </a:lnTo>
                  <a:lnTo>
                    <a:pt x="6457" y="4831"/>
                  </a:lnTo>
                  <a:lnTo>
                    <a:pt x="6437" y="4911"/>
                  </a:lnTo>
                  <a:lnTo>
                    <a:pt x="6416" y="4989"/>
                  </a:lnTo>
                  <a:lnTo>
                    <a:pt x="6394" y="5067"/>
                  </a:lnTo>
                  <a:lnTo>
                    <a:pt x="6371" y="5142"/>
                  </a:lnTo>
                  <a:lnTo>
                    <a:pt x="6347" y="5216"/>
                  </a:lnTo>
                  <a:lnTo>
                    <a:pt x="6322" y="5289"/>
                  </a:lnTo>
                  <a:lnTo>
                    <a:pt x="6297" y="5360"/>
                  </a:lnTo>
                  <a:lnTo>
                    <a:pt x="6269" y="5429"/>
                  </a:lnTo>
                  <a:lnTo>
                    <a:pt x="6264" y="5441"/>
                  </a:lnTo>
                  <a:lnTo>
                    <a:pt x="6260" y="5453"/>
                  </a:lnTo>
                  <a:lnTo>
                    <a:pt x="6257" y="5466"/>
                  </a:lnTo>
                  <a:lnTo>
                    <a:pt x="6255" y="5478"/>
                  </a:lnTo>
                  <a:lnTo>
                    <a:pt x="6253" y="5490"/>
                  </a:lnTo>
                  <a:lnTo>
                    <a:pt x="6251" y="5502"/>
                  </a:lnTo>
                  <a:lnTo>
                    <a:pt x="6251" y="5515"/>
                  </a:lnTo>
                  <a:lnTo>
                    <a:pt x="6251" y="5528"/>
                  </a:lnTo>
                  <a:lnTo>
                    <a:pt x="6251" y="5540"/>
                  </a:lnTo>
                  <a:lnTo>
                    <a:pt x="6252" y="5552"/>
                  </a:lnTo>
                  <a:lnTo>
                    <a:pt x="6254" y="5564"/>
                  </a:lnTo>
                  <a:lnTo>
                    <a:pt x="6256" y="5575"/>
                  </a:lnTo>
                  <a:lnTo>
                    <a:pt x="6259" y="5587"/>
                  </a:lnTo>
                  <a:lnTo>
                    <a:pt x="6263" y="5599"/>
                  </a:lnTo>
                  <a:lnTo>
                    <a:pt x="6266" y="5610"/>
                  </a:lnTo>
                  <a:lnTo>
                    <a:pt x="6271" y="5621"/>
                  </a:lnTo>
                  <a:lnTo>
                    <a:pt x="6276" y="5632"/>
                  </a:lnTo>
                  <a:lnTo>
                    <a:pt x="6281" y="5644"/>
                  </a:lnTo>
                  <a:lnTo>
                    <a:pt x="6288" y="5654"/>
                  </a:lnTo>
                  <a:lnTo>
                    <a:pt x="6295" y="5664"/>
                  </a:lnTo>
                  <a:lnTo>
                    <a:pt x="6302" y="5674"/>
                  </a:lnTo>
                  <a:lnTo>
                    <a:pt x="6309" y="5683"/>
                  </a:lnTo>
                  <a:lnTo>
                    <a:pt x="6317" y="5693"/>
                  </a:lnTo>
                  <a:lnTo>
                    <a:pt x="6326" y="5702"/>
                  </a:lnTo>
                  <a:lnTo>
                    <a:pt x="6334" y="5710"/>
                  </a:lnTo>
                  <a:lnTo>
                    <a:pt x="6344" y="5718"/>
                  </a:lnTo>
                  <a:lnTo>
                    <a:pt x="6353" y="5726"/>
                  </a:lnTo>
                  <a:lnTo>
                    <a:pt x="6364" y="5733"/>
                  </a:lnTo>
                  <a:lnTo>
                    <a:pt x="6374" y="5739"/>
                  </a:lnTo>
                  <a:lnTo>
                    <a:pt x="6385" y="5745"/>
                  </a:lnTo>
                  <a:lnTo>
                    <a:pt x="6396" y="5751"/>
                  </a:lnTo>
                  <a:lnTo>
                    <a:pt x="6408" y="5756"/>
                  </a:lnTo>
                  <a:lnTo>
                    <a:pt x="6420" y="5761"/>
                  </a:lnTo>
                  <a:lnTo>
                    <a:pt x="6431" y="5765"/>
                  </a:lnTo>
                  <a:lnTo>
                    <a:pt x="6443" y="5768"/>
                  </a:lnTo>
                  <a:lnTo>
                    <a:pt x="6455" y="5771"/>
                  </a:lnTo>
                  <a:lnTo>
                    <a:pt x="6467" y="5773"/>
                  </a:lnTo>
                  <a:lnTo>
                    <a:pt x="6480" y="5774"/>
                  </a:lnTo>
                  <a:lnTo>
                    <a:pt x="6491" y="5775"/>
                  </a:lnTo>
                  <a:lnTo>
                    <a:pt x="6503" y="5775"/>
                  </a:lnTo>
                  <a:lnTo>
                    <a:pt x="6522" y="5775"/>
                  </a:lnTo>
                  <a:lnTo>
                    <a:pt x="6540" y="5773"/>
                  </a:lnTo>
                  <a:lnTo>
                    <a:pt x="6558" y="5769"/>
                  </a:lnTo>
                  <a:lnTo>
                    <a:pt x="6576" y="5765"/>
                  </a:lnTo>
                  <a:lnTo>
                    <a:pt x="6593" y="5759"/>
                  </a:lnTo>
                  <a:lnTo>
                    <a:pt x="6610" y="5750"/>
                  </a:lnTo>
                  <a:lnTo>
                    <a:pt x="6626" y="5742"/>
                  </a:lnTo>
                  <a:lnTo>
                    <a:pt x="6641" y="5733"/>
                  </a:lnTo>
                  <a:lnTo>
                    <a:pt x="6656" y="5722"/>
                  </a:lnTo>
                  <a:lnTo>
                    <a:pt x="6671" y="5710"/>
                  </a:lnTo>
                  <a:lnTo>
                    <a:pt x="6685" y="5697"/>
                  </a:lnTo>
                  <a:lnTo>
                    <a:pt x="6697" y="5683"/>
                  </a:lnTo>
                  <a:lnTo>
                    <a:pt x="6708" y="5668"/>
                  </a:lnTo>
                  <a:lnTo>
                    <a:pt x="6719" y="5652"/>
                  </a:lnTo>
                  <a:lnTo>
                    <a:pt x="6728" y="5635"/>
                  </a:lnTo>
                  <a:lnTo>
                    <a:pt x="6736" y="5617"/>
                  </a:lnTo>
                  <a:lnTo>
                    <a:pt x="6771" y="5525"/>
                  </a:lnTo>
                  <a:lnTo>
                    <a:pt x="6805" y="5431"/>
                  </a:lnTo>
                  <a:lnTo>
                    <a:pt x="6838" y="5334"/>
                  </a:lnTo>
                  <a:lnTo>
                    <a:pt x="6869" y="5235"/>
                  </a:lnTo>
                  <a:lnTo>
                    <a:pt x="6898" y="5134"/>
                  </a:lnTo>
                  <a:lnTo>
                    <a:pt x="6926" y="5033"/>
                  </a:lnTo>
                  <a:lnTo>
                    <a:pt x="6952" y="4928"/>
                  </a:lnTo>
                  <a:lnTo>
                    <a:pt x="6976" y="4822"/>
                  </a:lnTo>
                  <a:lnTo>
                    <a:pt x="6998" y="4715"/>
                  </a:lnTo>
                  <a:lnTo>
                    <a:pt x="7019" y="4606"/>
                  </a:lnTo>
                  <a:lnTo>
                    <a:pt x="7038" y="4496"/>
                  </a:lnTo>
                  <a:lnTo>
                    <a:pt x="7057" y="4385"/>
                  </a:lnTo>
                  <a:lnTo>
                    <a:pt x="7072" y="4273"/>
                  </a:lnTo>
                  <a:lnTo>
                    <a:pt x="7086" y="4160"/>
                  </a:lnTo>
                  <a:lnTo>
                    <a:pt x="7099" y="4046"/>
                  </a:lnTo>
                  <a:lnTo>
                    <a:pt x="7109" y="3932"/>
                  </a:lnTo>
                  <a:lnTo>
                    <a:pt x="7118" y="3817"/>
                  </a:lnTo>
                  <a:lnTo>
                    <a:pt x="7125" y="3701"/>
                  </a:lnTo>
                  <a:lnTo>
                    <a:pt x="7130" y="3585"/>
                  </a:lnTo>
                  <a:lnTo>
                    <a:pt x="7134" y="3469"/>
                  </a:lnTo>
                  <a:lnTo>
                    <a:pt x="7135" y="3353"/>
                  </a:lnTo>
                  <a:lnTo>
                    <a:pt x="7135" y="3236"/>
                  </a:lnTo>
                  <a:lnTo>
                    <a:pt x="7133" y="3120"/>
                  </a:lnTo>
                  <a:lnTo>
                    <a:pt x="7130" y="3004"/>
                  </a:lnTo>
                  <a:lnTo>
                    <a:pt x="7124" y="2888"/>
                  </a:lnTo>
                  <a:lnTo>
                    <a:pt x="7117" y="2773"/>
                  </a:lnTo>
                  <a:lnTo>
                    <a:pt x="7108" y="2658"/>
                  </a:lnTo>
                  <a:lnTo>
                    <a:pt x="7097" y="2544"/>
                  </a:lnTo>
                  <a:lnTo>
                    <a:pt x="7084" y="2430"/>
                  </a:lnTo>
                  <a:lnTo>
                    <a:pt x="7069" y="2318"/>
                  </a:lnTo>
                  <a:lnTo>
                    <a:pt x="7052" y="2207"/>
                  </a:lnTo>
                  <a:lnTo>
                    <a:pt x="7033" y="2097"/>
                  </a:lnTo>
                  <a:lnTo>
                    <a:pt x="6940" y="15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52" name="íšḷiḋe">
              <a:extLst>
                <a:ext uri="{FF2B5EF4-FFF2-40B4-BE49-F238E27FC236}">
                  <a16:creationId xmlns:a16="http://schemas.microsoft.com/office/drawing/2014/main" id="{063297C1-ADE4-4F8F-B9CC-EA2FF32D4AF5}"/>
                </a:ext>
              </a:extLst>
            </p:cNvPr>
            <p:cNvSpPr/>
            <p:nvPr/>
          </p:nvSpPr>
          <p:spPr bwMode="auto">
            <a:xfrm>
              <a:off x="9065011" y="929319"/>
              <a:ext cx="464950" cy="466054"/>
            </a:xfrm>
            <a:custGeom>
              <a:avLst/>
              <a:gdLst>
                <a:gd name="T0" fmla="*/ 11438 w 16419"/>
                <a:gd name="T1" fmla="*/ 11992 h 16036"/>
                <a:gd name="T2" fmla="*/ 12051 w 16419"/>
                <a:gd name="T3" fmla="*/ 9611 h 16036"/>
                <a:gd name="T4" fmla="*/ 15080 w 16419"/>
                <a:gd name="T5" fmla="*/ 9931 h 16036"/>
                <a:gd name="T6" fmla="*/ 13248 w 16419"/>
                <a:gd name="T7" fmla="*/ 12967 h 16036"/>
                <a:gd name="T8" fmla="*/ 4590 w 16419"/>
                <a:gd name="T9" fmla="*/ 10655 h 16036"/>
                <a:gd name="T10" fmla="*/ 4429 w 16419"/>
                <a:gd name="T11" fmla="*/ 12231 h 16036"/>
                <a:gd name="T12" fmla="*/ 2147 w 16419"/>
                <a:gd name="T13" fmla="*/ 11712 h 16036"/>
                <a:gd name="T14" fmla="*/ 1073 w 16419"/>
                <a:gd name="T15" fmla="*/ 8277 h 16036"/>
                <a:gd name="T16" fmla="*/ 4139 w 16419"/>
                <a:gd name="T17" fmla="*/ 4183 h 16036"/>
                <a:gd name="T18" fmla="*/ 4533 w 16419"/>
                <a:gd name="T19" fmla="*/ 5582 h 16036"/>
                <a:gd name="T20" fmla="*/ 1073 w 16419"/>
                <a:gd name="T21" fmla="*/ 7759 h 16036"/>
                <a:gd name="T22" fmla="*/ 1997 w 16419"/>
                <a:gd name="T23" fmla="*/ 4578 h 16036"/>
                <a:gd name="T24" fmla="*/ 9313 w 16419"/>
                <a:gd name="T25" fmla="*/ 5095 h 16036"/>
                <a:gd name="T26" fmla="*/ 11066 w 16419"/>
                <a:gd name="T27" fmla="*/ 4695 h 16036"/>
                <a:gd name="T28" fmla="*/ 11565 w 16419"/>
                <a:gd name="T29" fmla="*/ 6759 h 16036"/>
                <a:gd name="T30" fmla="*/ 10152 w 16419"/>
                <a:gd name="T31" fmla="*/ 11598 h 16036"/>
                <a:gd name="T32" fmla="*/ 8474 w 16419"/>
                <a:gd name="T33" fmla="*/ 11394 h 16036"/>
                <a:gd name="T34" fmla="*/ 11313 w 16419"/>
                <a:gd name="T35" fmla="*/ 10543 h 16036"/>
                <a:gd name="T36" fmla="*/ 12142 w 16419"/>
                <a:gd name="T37" fmla="*/ 12889 h 16036"/>
                <a:gd name="T38" fmla="*/ 11354 w 16419"/>
                <a:gd name="T39" fmla="*/ 14282 h 16036"/>
                <a:gd name="T40" fmla="*/ 9710 w 16419"/>
                <a:gd name="T41" fmla="*/ 14564 h 16036"/>
                <a:gd name="T42" fmla="*/ 10935 w 16419"/>
                <a:gd name="T43" fmla="*/ 12871 h 16036"/>
                <a:gd name="T44" fmla="*/ 9524 w 16419"/>
                <a:gd name="T45" fmla="*/ 12005 h 16036"/>
                <a:gd name="T46" fmla="*/ 10393 w 16419"/>
                <a:gd name="T47" fmla="*/ 12757 h 16036"/>
                <a:gd name="T48" fmla="*/ 8904 w 16419"/>
                <a:gd name="T49" fmla="*/ 14636 h 16036"/>
                <a:gd name="T50" fmla="*/ 5284 w 16419"/>
                <a:gd name="T51" fmla="*/ 14382 h 16036"/>
                <a:gd name="T52" fmla="*/ 4071 w 16419"/>
                <a:gd name="T53" fmla="*/ 13005 h 16036"/>
                <a:gd name="T54" fmla="*/ 5783 w 16419"/>
                <a:gd name="T55" fmla="*/ 13367 h 16036"/>
                <a:gd name="T56" fmla="*/ 7945 w 16419"/>
                <a:gd name="T57" fmla="*/ 8277 h 16036"/>
                <a:gd name="T58" fmla="*/ 6342 w 16419"/>
                <a:gd name="T59" fmla="*/ 11582 h 16036"/>
                <a:gd name="T60" fmla="*/ 5136 w 16419"/>
                <a:gd name="T61" fmla="*/ 10650 h 16036"/>
                <a:gd name="T62" fmla="*/ 7945 w 16419"/>
                <a:gd name="T63" fmla="*/ 8277 h 16036"/>
                <a:gd name="T64" fmla="*/ 7024 w 16419"/>
                <a:gd name="T65" fmla="*/ 5084 h 16036"/>
                <a:gd name="T66" fmla="*/ 4843 w 16419"/>
                <a:gd name="T67" fmla="*/ 6857 h 16036"/>
                <a:gd name="T68" fmla="*/ 5321 w 16419"/>
                <a:gd name="T69" fmla="*/ 4784 h 16036"/>
                <a:gd name="T70" fmla="*/ 3667 w 16419"/>
                <a:gd name="T71" fmla="*/ 3305 h 16036"/>
                <a:gd name="T72" fmla="*/ 5215 w 16419"/>
                <a:gd name="T73" fmla="*/ 1684 h 16036"/>
                <a:gd name="T74" fmla="*/ 6448 w 16419"/>
                <a:gd name="T75" fmla="*/ 1771 h 16036"/>
                <a:gd name="T76" fmla="*/ 5148 w 16419"/>
                <a:gd name="T77" fmla="*/ 3833 h 16036"/>
                <a:gd name="T78" fmla="*/ 6569 w 16419"/>
                <a:gd name="T79" fmla="*/ 4486 h 16036"/>
                <a:gd name="T80" fmla="*/ 6014 w 16419"/>
                <a:gd name="T81" fmla="*/ 3301 h 16036"/>
                <a:gd name="T82" fmla="*/ 7732 w 16419"/>
                <a:gd name="T83" fmla="*/ 1205 h 16036"/>
                <a:gd name="T84" fmla="*/ 11565 w 16419"/>
                <a:gd name="T85" fmla="*/ 1859 h 16036"/>
                <a:gd name="T86" fmla="*/ 12421 w 16419"/>
                <a:gd name="T87" fmla="*/ 3513 h 16036"/>
                <a:gd name="T88" fmla="*/ 11123 w 16419"/>
                <a:gd name="T89" fmla="*/ 3527 h 16036"/>
                <a:gd name="T90" fmla="*/ 9758 w 16419"/>
                <a:gd name="T91" fmla="*/ 1525 h 16036"/>
                <a:gd name="T92" fmla="*/ 9852 w 16419"/>
                <a:gd name="T93" fmla="*/ 2463 h 16036"/>
                <a:gd name="T94" fmla="*/ 10437 w 16419"/>
                <a:gd name="T95" fmla="*/ 4348 h 16036"/>
                <a:gd name="T96" fmla="*/ 8786 w 16419"/>
                <a:gd name="T97" fmla="*/ 4626 h 16036"/>
                <a:gd name="T98" fmla="*/ 6848 w 16419"/>
                <a:gd name="T99" fmla="*/ 13930 h 16036"/>
                <a:gd name="T100" fmla="*/ 6020 w 16419"/>
                <a:gd name="T101" fmla="*/ 12187 h 16036"/>
                <a:gd name="T102" fmla="*/ 7521 w 16419"/>
                <a:gd name="T103" fmla="*/ 11934 h 16036"/>
                <a:gd name="T104" fmla="*/ 12063 w 16419"/>
                <a:gd name="T105" fmla="*/ 6494 h 16036"/>
                <a:gd name="T106" fmla="*/ 11695 w 16419"/>
                <a:gd name="T107" fmla="*/ 4461 h 16036"/>
                <a:gd name="T108" fmla="*/ 13078 w 16419"/>
                <a:gd name="T109" fmla="*/ 3710 h 16036"/>
                <a:gd name="T110" fmla="*/ 14700 w 16419"/>
                <a:gd name="T111" fmla="*/ 5106 h 16036"/>
                <a:gd name="T112" fmla="*/ 6960 w 16419"/>
                <a:gd name="T113" fmla="*/ 92 h 16036"/>
                <a:gd name="T114" fmla="*/ 498 w 16419"/>
                <a:gd name="T115" fmla="*/ 5261 h 16036"/>
                <a:gd name="T116" fmla="*/ 2132 w 16419"/>
                <a:gd name="T117" fmla="*/ 13409 h 16036"/>
                <a:gd name="T118" fmla="*/ 10261 w 16419"/>
                <a:gd name="T119" fmla="*/ 15783 h 16036"/>
                <a:gd name="T120" fmla="*/ 16160 w 16419"/>
                <a:gd name="T121" fmla="*/ 10021 h 16036"/>
                <a:gd name="T122" fmla="*/ 13729 w 16419"/>
                <a:gd name="T123" fmla="*/ 2083 h 160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19" h="16036">
                  <a:moveTo>
                    <a:pt x="13248" y="12967"/>
                  </a:moveTo>
                  <a:lnTo>
                    <a:pt x="13139" y="12892"/>
                  </a:lnTo>
                  <a:lnTo>
                    <a:pt x="13030" y="12819"/>
                  </a:lnTo>
                  <a:lnTo>
                    <a:pt x="12919" y="12748"/>
                  </a:lnTo>
                  <a:lnTo>
                    <a:pt x="12807" y="12676"/>
                  </a:lnTo>
                  <a:lnTo>
                    <a:pt x="12693" y="12608"/>
                  </a:lnTo>
                  <a:lnTo>
                    <a:pt x="12579" y="12541"/>
                  </a:lnTo>
                  <a:lnTo>
                    <a:pt x="12463" y="12476"/>
                  </a:lnTo>
                  <a:lnTo>
                    <a:pt x="12347" y="12413"/>
                  </a:lnTo>
                  <a:lnTo>
                    <a:pt x="12229" y="12351"/>
                  </a:lnTo>
                  <a:lnTo>
                    <a:pt x="12110" y="12291"/>
                  </a:lnTo>
                  <a:lnTo>
                    <a:pt x="12051" y="12261"/>
                  </a:lnTo>
                  <a:lnTo>
                    <a:pt x="11990" y="12231"/>
                  </a:lnTo>
                  <a:lnTo>
                    <a:pt x="11930" y="12203"/>
                  </a:lnTo>
                  <a:lnTo>
                    <a:pt x="11869" y="12175"/>
                  </a:lnTo>
                  <a:lnTo>
                    <a:pt x="11808" y="12147"/>
                  </a:lnTo>
                  <a:lnTo>
                    <a:pt x="11747" y="12120"/>
                  </a:lnTo>
                  <a:lnTo>
                    <a:pt x="11686" y="12094"/>
                  </a:lnTo>
                  <a:lnTo>
                    <a:pt x="11625" y="12068"/>
                  </a:lnTo>
                  <a:lnTo>
                    <a:pt x="11562" y="12042"/>
                  </a:lnTo>
                  <a:lnTo>
                    <a:pt x="11499" y="12017"/>
                  </a:lnTo>
                  <a:lnTo>
                    <a:pt x="11438" y="11992"/>
                  </a:lnTo>
                  <a:lnTo>
                    <a:pt x="11374" y="11968"/>
                  </a:lnTo>
                  <a:lnTo>
                    <a:pt x="11419" y="11863"/>
                  </a:lnTo>
                  <a:lnTo>
                    <a:pt x="11463" y="11756"/>
                  </a:lnTo>
                  <a:lnTo>
                    <a:pt x="11505" y="11649"/>
                  </a:lnTo>
                  <a:lnTo>
                    <a:pt x="11546" y="11541"/>
                  </a:lnTo>
                  <a:lnTo>
                    <a:pt x="11585" y="11433"/>
                  </a:lnTo>
                  <a:lnTo>
                    <a:pt x="11624" y="11323"/>
                  </a:lnTo>
                  <a:lnTo>
                    <a:pt x="11661" y="11214"/>
                  </a:lnTo>
                  <a:lnTo>
                    <a:pt x="11696" y="11104"/>
                  </a:lnTo>
                  <a:lnTo>
                    <a:pt x="11731" y="10993"/>
                  </a:lnTo>
                  <a:lnTo>
                    <a:pt x="11765" y="10880"/>
                  </a:lnTo>
                  <a:lnTo>
                    <a:pt x="11798" y="10768"/>
                  </a:lnTo>
                  <a:lnTo>
                    <a:pt x="11829" y="10655"/>
                  </a:lnTo>
                  <a:lnTo>
                    <a:pt x="11859" y="10542"/>
                  </a:lnTo>
                  <a:lnTo>
                    <a:pt x="11887" y="10427"/>
                  </a:lnTo>
                  <a:lnTo>
                    <a:pt x="11914" y="10312"/>
                  </a:lnTo>
                  <a:lnTo>
                    <a:pt x="11941" y="10197"/>
                  </a:lnTo>
                  <a:lnTo>
                    <a:pt x="11965" y="10081"/>
                  </a:lnTo>
                  <a:lnTo>
                    <a:pt x="11988" y="9964"/>
                  </a:lnTo>
                  <a:lnTo>
                    <a:pt x="12010" y="9847"/>
                  </a:lnTo>
                  <a:lnTo>
                    <a:pt x="12031" y="9729"/>
                  </a:lnTo>
                  <a:lnTo>
                    <a:pt x="12051" y="9611"/>
                  </a:lnTo>
                  <a:lnTo>
                    <a:pt x="12068" y="9492"/>
                  </a:lnTo>
                  <a:lnTo>
                    <a:pt x="12084" y="9373"/>
                  </a:lnTo>
                  <a:lnTo>
                    <a:pt x="12100" y="9253"/>
                  </a:lnTo>
                  <a:lnTo>
                    <a:pt x="12113" y="9133"/>
                  </a:lnTo>
                  <a:lnTo>
                    <a:pt x="12126" y="9011"/>
                  </a:lnTo>
                  <a:lnTo>
                    <a:pt x="12137" y="8890"/>
                  </a:lnTo>
                  <a:lnTo>
                    <a:pt x="12147" y="8769"/>
                  </a:lnTo>
                  <a:lnTo>
                    <a:pt x="12155" y="8646"/>
                  </a:lnTo>
                  <a:lnTo>
                    <a:pt x="12161" y="8523"/>
                  </a:lnTo>
                  <a:lnTo>
                    <a:pt x="12166" y="8400"/>
                  </a:lnTo>
                  <a:lnTo>
                    <a:pt x="12171" y="8277"/>
                  </a:lnTo>
                  <a:lnTo>
                    <a:pt x="15347" y="8277"/>
                  </a:lnTo>
                  <a:lnTo>
                    <a:pt x="15337" y="8448"/>
                  </a:lnTo>
                  <a:lnTo>
                    <a:pt x="15325" y="8617"/>
                  </a:lnTo>
                  <a:lnTo>
                    <a:pt x="15309" y="8786"/>
                  </a:lnTo>
                  <a:lnTo>
                    <a:pt x="15287" y="8954"/>
                  </a:lnTo>
                  <a:lnTo>
                    <a:pt x="15262" y="9119"/>
                  </a:lnTo>
                  <a:lnTo>
                    <a:pt x="15234" y="9285"/>
                  </a:lnTo>
                  <a:lnTo>
                    <a:pt x="15201" y="9449"/>
                  </a:lnTo>
                  <a:lnTo>
                    <a:pt x="15164" y="9612"/>
                  </a:lnTo>
                  <a:lnTo>
                    <a:pt x="15124" y="9772"/>
                  </a:lnTo>
                  <a:lnTo>
                    <a:pt x="15080" y="9931"/>
                  </a:lnTo>
                  <a:lnTo>
                    <a:pt x="15032" y="10090"/>
                  </a:lnTo>
                  <a:lnTo>
                    <a:pt x="14980" y="10246"/>
                  </a:lnTo>
                  <a:lnTo>
                    <a:pt x="14925" y="10400"/>
                  </a:lnTo>
                  <a:lnTo>
                    <a:pt x="14866" y="10554"/>
                  </a:lnTo>
                  <a:lnTo>
                    <a:pt x="14804" y="10705"/>
                  </a:lnTo>
                  <a:lnTo>
                    <a:pt x="14738" y="10854"/>
                  </a:lnTo>
                  <a:lnTo>
                    <a:pt x="14668" y="11002"/>
                  </a:lnTo>
                  <a:lnTo>
                    <a:pt x="14596" y="11148"/>
                  </a:lnTo>
                  <a:lnTo>
                    <a:pt x="14521" y="11292"/>
                  </a:lnTo>
                  <a:lnTo>
                    <a:pt x="14441" y="11434"/>
                  </a:lnTo>
                  <a:lnTo>
                    <a:pt x="14358" y="11574"/>
                  </a:lnTo>
                  <a:lnTo>
                    <a:pt x="14272" y="11712"/>
                  </a:lnTo>
                  <a:lnTo>
                    <a:pt x="14183" y="11848"/>
                  </a:lnTo>
                  <a:lnTo>
                    <a:pt x="14092" y="11981"/>
                  </a:lnTo>
                  <a:lnTo>
                    <a:pt x="13996" y="12113"/>
                  </a:lnTo>
                  <a:lnTo>
                    <a:pt x="13898" y="12241"/>
                  </a:lnTo>
                  <a:lnTo>
                    <a:pt x="13797" y="12369"/>
                  </a:lnTo>
                  <a:lnTo>
                    <a:pt x="13693" y="12493"/>
                  </a:lnTo>
                  <a:lnTo>
                    <a:pt x="13586" y="12615"/>
                  </a:lnTo>
                  <a:lnTo>
                    <a:pt x="13476" y="12735"/>
                  </a:lnTo>
                  <a:lnTo>
                    <a:pt x="13364" y="12852"/>
                  </a:lnTo>
                  <a:lnTo>
                    <a:pt x="13248" y="12967"/>
                  </a:lnTo>
                  <a:close/>
                  <a:moveTo>
                    <a:pt x="1073" y="8277"/>
                  </a:moveTo>
                  <a:lnTo>
                    <a:pt x="4248" y="8277"/>
                  </a:lnTo>
                  <a:lnTo>
                    <a:pt x="4253" y="8400"/>
                  </a:lnTo>
                  <a:lnTo>
                    <a:pt x="4258" y="8523"/>
                  </a:lnTo>
                  <a:lnTo>
                    <a:pt x="4265" y="8646"/>
                  </a:lnTo>
                  <a:lnTo>
                    <a:pt x="4273" y="8769"/>
                  </a:lnTo>
                  <a:lnTo>
                    <a:pt x="4282" y="8890"/>
                  </a:lnTo>
                  <a:lnTo>
                    <a:pt x="4294" y="9011"/>
                  </a:lnTo>
                  <a:lnTo>
                    <a:pt x="4306" y="9133"/>
                  </a:lnTo>
                  <a:lnTo>
                    <a:pt x="4319" y="9253"/>
                  </a:lnTo>
                  <a:lnTo>
                    <a:pt x="4335" y="9373"/>
                  </a:lnTo>
                  <a:lnTo>
                    <a:pt x="4351" y="9492"/>
                  </a:lnTo>
                  <a:lnTo>
                    <a:pt x="4370" y="9611"/>
                  </a:lnTo>
                  <a:lnTo>
                    <a:pt x="4388" y="9729"/>
                  </a:lnTo>
                  <a:lnTo>
                    <a:pt x="4410" y="9847"/>
                  </a:lnTo>
                  <a:lnTo>
                    <a:pt x="4431" y="9964"/>
                  </a:lnTo>
                  <a:lnTo>
                    <a:pt x="4455" y="10081"/>
                  </a:lnTo>
                  <a:lnTo>
                    <a:pt x="4479" y="10197"/>
                  </a:lnTo>
                  <a:lnTo>
                    <a:pt x="4505" y="10312"/>
                  </a:lnTo>
                  <a:lnTo>
                    <a:pt x="4533" y="10427"/>
                  </a:lnTo>
                  <a:lnTo>
                    <a:pt x="4560" y="10542"/>
                  </a:lnTo>
                  <a:lnTo>
                    <a:pt x="4590" y="10655"/>
                  </a:lnTo>
                  <a:lnTo>
                    <a:pt x="4622" y="10768"/>
                  </a:lnTo>
                  <a:lnTo>
                    <a:pt x="4654" y="10880"/>
                  </a:lnTo>
                  <a:lnTo>
                    <a:pt x="4688" y="10993"/>
                  </a:lnTo>
                  <a:lnTo>
                    <a:pt x="4723" y="11104"/>
                  </a:lnTo>
                  <a:lnTo>
                    <a:pt x="4758" y="11214"/>
                  </a:lnTo>
                  <a:lnTo>
                    <a:pt x="4795" y="11323"/>
                  </a:lnTo>
                  <a:lnTo>
                    <a:pt x="4834" y="11433"/>
                  </a:lnTo>
                  <a:lnTo>
                    <a:pt x="4874" y="11541"/>
                  </a:lnTo>
                  <a:lnTo>
                    <a:pt x="4915" y="11649"/>
                  </a:lnTo>
                  <a:lnTo>
                    <a:pt x="4958" y="11756"/>
                  </a:lnTo>
                  <a:lnTo>
                    <a:pt x="5001" y="11863"/>
                  </a:lnTo>
                  <a:lnTo>
                    <a:pt x="5045" y="11968"/>
                  </a:lnTo>
                  <a:lnTo>
                    <a:pt x="4982" y="11992"/>
                  </a:lnTo>
                  <a:lnTo>
                    <a:pt x="4920" y="12017"/>
                  </a:lnTo>
                  <a:lnTo>
                    <a:pt x="4857" y="12042"/>
                  </a:lnTo>
                  <a:lnTo>
                    <a:pt x="4795" y="12068"/>
                  </a:lnTo>
                  <a:lnTo>
                    <a:pt x="4734" y="12094"/>
                  </a:lnTo>
                  <a:lnTo>
                    <a:pt x="4672" y="12120"/>
                  </a:lnTo>
                  <a:lnTo>
                    <a:pt x="4611" y="12147"/>
                  </a:lnTo>
                  <a:lnTo>
                    <a:pt x="4550" y="12175"/>
                  </a:lnTo>
                  <a:lnTo>
                    <a:pt x="4490" y="12203"/>
                  </a:lnTo>
                  <a:lnTo>
                    <a:pt x="4429" y="12231"/>
                  </a:lnTo>
                  <a:lnTo>
                    <a:pt x="4370" y="12261"/>
                  </a:lnTo>
                  <a:lnTo>
                    <a:pt x="4309" y="12291"/>
                  </a:lnTo>
                  <a:lnTo>
                    <a:pt x="4191" y="12351"/>
                  </a:lnTo>
                  <a:lnTo>
                    <a:pt x="4073" y="12413"/>
                  </a:lnTo>
                  <a:lnTo>
                    <a:pt x="3956" y="12476"/>
                  </a:lnTo>
                  <a:lnTo>
                    <a:pt x="3841" y="12541"/>
                  </a:lnTo>
                  <a:lnTo>
                    <a:pt x="3726" y="12608"/>
                  </a:lnTo>
                  <a:lnTo>
                    <a:pt x="3613" y="12676"/>
                  </a:lnTo>
                  <a:lnTo>
                    <a:pt x="3501" y="12748"/>
                  </a:lnTo>
                  <a:lnTo>
                    <a:pt x="3389" y="12819"/>
                  </a:lnTo>
                  <a:lnTo>
                    <a:pt x="3280" y="12892"/>
                  </a:lnTo>
                  <a:lnTo>
                    <a:pt x="3171" y="12967"/>
                  </a:lnTo>
                  <a:lnTo>
                    <a:pt x="3056" y="12852"/>
                  </a:lnTo>
                  <a:lnTo>
                    <a:pt x="2943" y="12735"/>
                  </a:lnTo>
                  <a:lnTo>
                    <a:pt x="2833" y="12615"/>
                  </a:lnTo>
                  <a:lnTo>
                    <a:pt x="2727" y="12493"/>
                  </a:lnTo>
                  <a:lnTo>
                    <a:pt x="2623" y="12369"/>
                  </a:lnTo>
                  <a:lnTo>
                    <a:pt x="2521" y="12241"/>
                  </a:lnTo>
                  <a:lnTo>
                    <a:pt x="2423" y="12113"/>
                  </a:lnTo>
                  <a:lnTo>
                    <a:pt x="2328" y="11981"/>
                  </a:lnTo>
                  <a:lnTo>
                    <a:pt x="2236" y="11848"/>
                  </a:lnTo>
                  <a:lnTo>
                    <a:pt x="2147" y="11712"/>
                  </a:lnTo>
                  <a:lnTo>
                    <a:pt x="2062" y="11574"/>
                  </a:lnTo>
                  <a:lnTo>
                    <a:pt x="1978" y="11434"/>
                  </a:lnTo>
                  <a:lnTo>
                    <a:pt x="1899" y="11292"/>
                  </a:lnTo>
                  <a:lnTo>
                    <a:pt x="1824" y="11148"/>
                  </a:lnTo>
                  <a:lnTo>
                    <a:pt x="1751" y="11002"/>
                  </a:lnTo>
                  <a:lnTo>
                    <a:pt x="1682" y="10854"/>
                  </a:lnTo>
                  <a:lnTo>
                    <a:pt x="1615" y="10705"/>
                  </a:lnTo>
                  <a:lnTo>
                    <a:pt x="1554" y="10554"/>
                  </a:lnTo>
                  <a:lnTo>
                    <a:pt x="1494" y="10400"/>
                  </a:lnTo>
                  <a:lnTo>
                    <a:pt x="1440" y="10246"/>
                  </a:lnTo>
                  <a:lnTo>
                    <a:pt x="1387" y="10090"/>
                  </a:lnTo>
                  <a:lnTo>
                    <a:pt x="1340" y="9931"/>
                  </a:lnTo>
                  <a:lnTo>
                    <a:pt x="1296" y="9772"/>
                  </a:lnTo>
                  <a:lnTo>
                    <a:pt x="1255" y="9612"/>
                  </a:lnTo>
                  <a:lnTo>
                    <a:pt x="1219" y="9449"/>
                  </a:lnTo>
                  <a:lnTo>
                    <a:pt x="1186" y="9285"/>
                  </a:lnTo>
                  <a:lnTo>
                    <a:pt x="1158" y="9119"/>
                  </a:lnTo>
                  <a:lnTo>
                    <a:pt x="1132" y="8954"/>
                  </a:lnTo>
                  <a:lnTo>
                    <a:pt x="1111" y="8786"/>
                  </a:lnTo>
                  <a:lnTo>
                    <a:pt x="1095" y="8617"/>
                  </a:lnTo>
                  <a:lnTo>
                    <a:pt x="1082" y="8448"/>
                  </a:lnTo>
                  <a:lnTo>
                    <a:pt x="1073" y="8277"/>
                  </a:lnTo>
                  <a:close/>
                  <a:moveTo>
                    <a:pt x="2878" y="3381"/>
                  </a:moveTo>
                  <a:lnTo>
                    <a:pt x="2935" y="3423"/>
                  </a:lnTo>
                  <a:lnTo>
                    <a:pt x="2992" y="3466"/>
                  </a:lnTo>
                  <a:lnTo>
                    <a:pt x="3050" y="3507"/>
                  </a:lnTo>
                  <a:lnTo>
                    <a:pt x="3107" y="3549"/>
                  </a:lnTo>
                  <a:lnTo>
                    <a:pt x="3165" y="3590"/>
                  </a:lnTo>
                  <a:lnTo>
                    <a:pt x="3223" y="3630"/>
                  </a:lnTo>
                  <a:lnTo>
                    <a:pt x="3282" y="3670"/>
                  </a:lnTo>
                  <a:lnTo>
                    <a:pt x="3341" y="3710"/>
                  </a:lnTo>
                  <a:lnTo>
                    <a:pt x="3401" y="3749"/>
                  </a:lnTo>
                  <a:lnTo>
                    <a:pt x="3460" y="3789"/>
                  </a:lnTo>
                  <a:lnTo>
                    <a:pt x="3521" y="3827"/>
                  </a:lnTo>
                  <a:lnTo>
                    <a:pt x="3581" y="3865"/>
                  </a:lnTo>
                  <a:lnTo>
                    <a:pt x="3642" y="3902"/>
                  </a:lnTo>
                  <a:lnTo>
                    <a:pt x="3702" y="3939"/>
                  </a:lnTo>
                  <a:lnTo>
                    <a:pt x="3764" y="3975"/>
                  </a:lnTo>
                  <a:lnTo>
                    <a:pt x="3826" y="4011"/>
                  </a:lnTo>
                  <a:lnTo>
                    <a:pt x="3887" y="4046"/>
                  </a:lnTo>
                  <a:lnTo>
                    <a:pt x="3950" y="4081"/>
                  </a:lnTo>
                  <a:lnTo>
                    <a:pt x="4012" y="4116"/>
                  </a:lnTo>
                  <a:lnTo>
                    <a:pt x="4076" y="4150"/>
                  </a:lnTo>
                  <a:lnTo>
                    <a:pt x="4139" y="4183"/>
                  </a:lnTo>
                  <a:lnTo>
                    <a:pt x="4202" y="4216"/>
                  </a:lnTo>
                  <a:lnTo>
                    <a:pt x="4267" y="4249"/>
                  </a:lnTo>
                  <a:lnTo>
                    <a:pt x="4331" y="4281"/>
                  </a:lnTo>
                  <a:lnTo>
                    <a:pt x="4395" y="4312"/>
                  </a:lnTo>
                  <a:lnTo>
                    <a:pt x="4461" y="4343"/>
                  </a:lnTo>
                  <a:lnTo>
                    <a:pt x="4525" y="4374"/>
                  </a:lnTo>
                  <a:lnTo>
                    <a:pt x="4591" y="4403"/>
                  </a:lnTo>
                  <a:lnTo>
                    <a:pt x="4657" y="4432"/>
                  </a:lnTo>
                  <a:lnTo>
                    <a:pt x="4724" y="4461"/>
                  </a:lnTo>
                  <a:lnTo>
                    <a:pt x="4789" y="4489"/>
                  </a:lnTo>
                  <a:lnTo>
                    <a:pt x="4856" y="4517"/>
                  </a:lnTo>
                  <a:lnTo>
                    <a:pt x="4822" y="4611"/>
                  </a:lnTo>
                  <a:lnTo>
                    <a:pt x="4789" y="4706"/>
                  </a:lnTo>
                  <a:lnTo>
                    <a:pt x="4756" y="4801"/>
                  </a:lnTo>
                  <a:lnTo>
                    <a:pt x="4726" y="4897"/>
                  </a:lnTo>
                  <a:lnTo>
                    <a:pt x="4695" y="4993"/>
                  </a:lnTo>
                  <a:lnTo>
                    <a:pt x="4665" y="5090"/>
                  </a:lnTo>
                  <a:lnTo>
                    <a:pt x="4637" y="5188"/>
                  </a:lnTo>
                  <a:lnTo>
                    <a:pt x="4610" y="5285"/>
                  </a:lnTo>
                  <a:lnTo>
                    <a:pt x="4583" y="5383"/>
                  </a:lnTo>
                  <a:lnTo>
                    <a:pt x="4557" y="5482"/>
                  </a:lnTo>
                  <a:lnTo>
                    <a:pt x="4533" y="5582"/>
                  </a:lnTo>
                  <a:lnTo>
                    <a:pt x="4509" y="5681"/>
                  </a:lnTo>
                  <a:lnTo>
                    <a:pt x="4486" y="5781"/>
                  </a:lnTo>
                  <a:lnTo>
                    <a:pt x="4465" y="5881"/>
                  </a:lnTo>
                  <a:lnTo>
                    <a:pt x="4444" y="5982"/>
                  </a:lnTo>
                  <a:lnTo>
                    <a:pt x="4425" y="6084"/>
                  </a:lnTo>
                  <a:lnTo>
                    <a:pt x="4406" y="6186"/>
                  </a:lnTo>
                  <a:lnTo>
                    <a:pt x="4388" y="6288"/>
                  </a:lnTo>
                  <a:lnTo>
                    <a:pt x="4372" y="6391"/>
                  </a:lnTo>
                  <a:lnTo>
                    <a:pt x="4356" y="6494"/>
                  </a:lnTo>
                  <a:lnTo>
                    <a:pt x="4342" y="6598"/>
                  </a:lnTo>
                  <a:lnTo>
                    <a:pt x="4328" y="6701"/>
                  </a:lnTo>
                  <a:lnTo>
                    <a:pt x="4315" y="6805"/>
                  </a:lnTo>
                  <a:lnTo>
                    <a:pt x="4304" y="6911"/>
                  </a:lnTo>
                  <a:lnTo>
                    <a:pt x="4294" y="7015"/>
                  </a:lnTo>
                  <a:lnTo>
                    <a:pt x="4284" y="7120"/>
                  </a:lnTo>
                  <a:lnTo>
                    <a:pt x="4275" y="7226"/>
                  </a:lnTo>
                  <a:lnTo>
                    <a:pt x="4268" y="7332"/>
                  </a:lnTo>
                  <a:lnTo>
                    <a:pt x="4262" y="7439"/>
                  </a:lnTo>
                  <a:lnTo>
                    <a:pt x="4257" y="7545"/>
                  </a:lnTo>
                  <a:lnTo>
                    <a:pt x="4253" y="7652"/>
                  </a:lnTo>
                  <a:lnTo>
                    <a:pt x="4248" y="7759"/>
                  </a:lnTo>
                  <a:lnTo>
                    <a:pt x="1073" y="7759"/>
                  </a:lnTo>
                  <a:lnTo>
                    <a:pt x="1081" y="7602"/>
                  </a:lnTo>
                  <a:lnTo>
                    <a:pt x="1092" y="7446"/>
                  </a:lnTo>
                  <a:lnTo>
                    <a:pt x="1107" y="7291"/>
                  </a:lnTo>
                  <a:lnTo>
                    <a:pt x="1125" y="7137"/>
                  </a:lnTo>
                  <a:lnTo>
                    <a:pt x="1146" y="6984"/>
                  </a:lnTo>
                  <a:lnTo>
                    <a:pt x="1171" y="6832"/>
                  </a:lnTo>
                  <a:lnTo>
                    <a:pt x="1200" y="6681"/>
                  </a:lnTo>
                  <a:lnTo>
                    <a:pt x="1231" y="6532"/>
                  </a:lnTo>
                  <a:lnTo>
                    <a:pt x="1265" y="6383"/>
                  </a:lnTo>
                  <a:lnTo>
                    <a:pt x="1304" y="6236"/>
                  </a:lnTo>
                  <a:lnTo>
                    <a:pt x="1345" y="6090"/>
                  </a:lnTo>
                  <a:lnTo>
                    <a:pt x="1389" y="5945"/>
                  </a:lnTo>
                  <a:lnTo>
                    <a:pt x="1437" y="5802"/>
                  </a:lnTo>
                  <a:lnTo>
                    <a:pt x="1487" y="5660"/>
                  </a:lnTo>
                  <a:lnTo>
                    <a:pt x="1540" y="5519"/>
                  </a:lnTo>
                  <a:lnTo>
                    <a:pt x="1597" y="5380"/>
                  </a:lnTo>
                  <a:lnTo>
                    <a:pt x="1656" y="5243"/>
                  </a:lnTo>
                  <a:lnTo>
                    <a:pt x="1719" y="5106"/>
                  </a:lnTo>
                  <a:lnTo>
                    <a:pt x="1785" y="4972"/>
                  </a:lnTo>
                  <a:lnTo>
                    <a:pt x="1852" y="4839"/>
                  </a:lnTo>
                  <a:lnTo>
                    <a:pt x="1923" y="4708"/>
                  </a:lnTo>
                  <a:lnTo>
                    <a:pt x="1997" y="4578"/>
                  </a:lnTo>
                  <a:lnTo>
                    <a:pt x="2074" y="4450"/>
                  </a:lnTo>
                  <a:lnTo>
                    <a:pt x="2153" y="4324"/>
                  </a:lnTo>
                  <a:lnTo>
                    <a:pt x="2234" y="4199"/>
                  </a:lnTo>
                  <a:lnTo>
                    <a:pt x="2319" y="4076"/>
                  </a:lnTo>
                  <a:lnTo>
                    <a:pt x="2405" y="3956"/>
                  </a:lnTo>
                  <a:lnTo>
                    <a:pt x="2496" y="3837"/>
                  </a:lnTo>
                  <a:lnTo>
                    <a:pt x="2587" y="3719"/>
                  </a:lnTo>
                  <a:lnTo>
                    <a:pt x="2681" y="3605"/>
                  </a:lnTo>
                  <a:lnTo>
                    <a:pt x="2779" y="3492"/>
                  </a:lnTo>
                  <a:lnTo>
                    <a:pt x="2878" y="3381"/>
                  </a:lnTo>
                  <a:close/>
                  <a:moveTo>
                    <a:pt x="8474" y="7759"/>
                  </a:moveTo>
                  <a:lnTo>
                    <a:pt x="8474" y="5160"/>
                  </a:lnTo>
                  <a:lnTo>
                    <a:pt x="8559" y="5157"/>
                  </a:lnTo>
                  <a:lnTo>
                    <a:pt x="8644" y="5153"/>
                  </a:lnTo>
                  <a:lnTo>
                    <a:pt x="8728" y="5149"/>
                  </a:lnTo>
                  <a:lnTo>
                    <a:pt x="8812" y="5143"/>
                  </a:lnTo>
                  <a:lnTo>
                    <a:pt x="8896" y="5137"/>
                  </a:lnTo>
                  <a:lnTo>
                    <a:pt x="8980" y="5131"/>
                  </a:lnTo>
                  <a:lnTo>
                    <a:pt x="9063" y="5122"/>
                  </a:lnTo>
                  <a:lnTo>
                    <a:pt x="9146" y="5114"/>
                  </a:lnTo>
                  <a:lnTo>
                    <a:pt x="9230" y="5105"/>
                  </a:lnTo>
                  <a:lnTo>
                    <a:pt x="9313" y="5095"/>
                  </a:lnTo>
                  <a:lnTo>
                    <a:pt x="9395" y="5084"/>
                  </a:lnTo>
                  <a:lnTo>
                    <a:pt x="9477" y="5073"/>
                  </a:lnTo>
                  <a:lnTo>
                    <a:pt x="9559" y="5061"/>
                  </a:lnTo>
                  <a:lnTo>
                    <a:pt x="9641" y="5048"/>
                  </a:lnTo>
                  <a:lnTo>
                    <a:pt x="9723" y="5035"/>
                  </a:lnTo>
                  <a:lnTo>
                    <a:pt x="9804" y="5020"/>
                  </a:lnTo>
                  <a:lnTo>
                    <a:pt x="9885" y="5005"/>
                  </a:lnTo>
                  <a:lnTo>
                    <a:pt x="9965" y="4990"/>
                  </a:lnTo>
                  <a:lnTo>
                    <a:pt x="10046" y="4973"/>
                  </a:lnTo>
                  <a:lnTo>
                    <a:pt x="10126" y="4956"/>
                  </a:lnTo>
                  <a:lnTo>
                    <a:pt x="10206" y="4938"/>
                  </a:lnTo>
                  <a:lnTo>
                    <a:pt x="10287" y="4920"/>
                  </a:lnTo>
                  <a:lnTo>
                    <a:pt x="10366" y="4900"/>
                  </a:lnTo>
                  <a:lnTo>
                    <a:pt x="10445" y="4880"/>
                  </a:lnTo>
                  <a:lnTo>
                    <a:pt x="10524" y="4860"/>
                  </a:lnTo>
                  <a:lnTo>
                    <a:pt x="10602" y="4838"/>
                  </a:lnTo>
                  <a:lnTo>
                    <a:pt x="10681" y="4816"/>
                  </a:lnTo>
                  <a:lnTo>
                    <a:pt x="10759" y="4793"/>
                  </a:lnTo>
                  <a:lnTo>
                    <a:pt x="10836" y="4770"/>
                  </a:lnTo>
                  <a:lnTo>
                    <a:pt x="10914" y="4746"/>
                  </a:lnTo>
                  <a:lnTo>
                    <a:pt x="10990" y="4721"/>
                  </a:lnTo>
                  <a:lnTo>
                    <a:pt x="11066" y="4695"/>
                  </a:lnTo>
                  <a:lnTo>
                    <a:pt x="11099" y="4784"/>
                  </a:lnTo>
                  <a:lnTo>
                    <a:pt x="11130" y="4873"/>
                  </a:lnTo>
                  <a:lnTo>
                    <a:pt x="11161" y="4963"/>
                  </a:lnTo>
                  <a:lnTo>
                    <a:pt x="11191" y="5053"/>
                  </a:lnTo>
                  <a:lnTo>
                    <a:pt x="11219" y="5145"/>
                  </a:lnTo>
                  <a:lnTo>
                    <a:pt x="11247" y="5236"/>
                  </a:lnTo>
                  <a:lnTo>
                    <a:pt x="11274" y="5328"/>
                  </a:lnTo>
                  <a:lnTo>
                    <a:pt x="11299" y="5420"/>
                  </a:lnTo>
                  <a:lnTo>
                    <a:pt x="11325" y="5513"/>
                  </a:lnTo>
                  <a:lnTo>
                    <a:pt x="11349" y="5607"/>
                  </a:lnTo>
                  <a:lnTo>
                    <a:pt x="11372" y="5701"/>
                  </a:lnTo>
                  <a:lnTo>
                    <a:pt x="11395" y="5795"/>
                  </a:lnTo>
                  <a:lnTo>
                    <a:pt x="11415" y="5889"/>
                  </a:lnTo>
                  <a:lnTo>
                    <a:pt x="11436" y="5984"/>
                  </a:lnTo>
                  <a:lnTo>
                    <a:pt x="11455" y="6080"/>
                  </a:lnTo>
                  <a:lnTo>
                    <a:pt x="11474" y="6176"/>
                  </a:lnTo>
                  <a:lnTo>
                    <a:pt x="11491" y="6272"/>
                  </a:lnTo>
                  <a:lnTo>
                    <a:pt x="11509" y="6368"/>
                  </a:lnTo>
                  <a:lnTo>
                    <a:pt x="11524" y="6466"/>
                  </a:lnTo>
                  <a:lnTo>
                    <a:pt x="11538" y="6563"/>
                  </a:lnTo>
                  <a:lnTo>
                    <a:pt x="11553" y="6661"/>
                  </a:lnTo>
                  <a:lnTo>
                    <a:pt x="11565" y="6759"/>
                  </a:lnTo>
                  <a:lnTo>
                    <a:pt x="11577" y="6857"/>
                  </a:lnTo>
                  <a:lnTo>
                    <a:pt x="11589" y="6957"/>
                  </a:lnTo>
                  <a:lnTo>
                    <a:pt x="11598" y="7056"/>
                  </a:lnTo>
                  <a:lnTo>
                    <a:pt x="11607" y="7155"/>
                  </a:lnTo>
                  <a:lnTo>
                    <a:pt x="11615" y="7255"/>
                  </a:lnTo>
                  <a:lnTo>
                    <a:pt x="11623" y="7356"/>
                  </a:lnTo>
                  <a:lnTo>
                    <a:pt x="11629" y="7456"/>
                  </a:lnTo>
                  <a:lnTo>
                    <a:pt x="11634" y="7557"/>
                  </a:lnTo>
                  <a:lnTo>
                    <a:pt x="11638" y="7658"/>
                  </a:lnTo>
                  <a:lnTo>
                    <a:pt x="11641" y="7759"/>
                  </a:lnTo>
                  <a:lnTo>
                    <a:pt x="8474" y="7759"/>
                  </a:lnTo>
                  <a:close/>
                  <a:moveTo>
                    <a:pt x="10879" y="11791"/>
                  </a:moveTo>
                  <a:lnTo>
                    <a:pt x="10807" y="11768"/>
                  </a:lnTo>
                  <a:lnTo>
                    <a:pt x="10735" y="11747"/>
                  </a:lnTo>
                  <a:lnTo>
                    <a:pt x="10663" y="11726"/>
                  </a:lnTo>
                  <a:lnTo>
                    <a:pt x="10590" y="11706"/>
                  </a:lnTo>
                  <a:lnTo>
                    <a:pt x="10518" y="11686"/>
                  </a:lnTo>
                  <a:lnTo>
                    <a:pt x="10446" y="11667"/>
                  </a:lnTo>
                  <a:lnTo>
                    <a:pt x="10373" y="11649"/>
                  </a:lnTo>
                  <a:lnTo>
                    <a:pt x="10299" y="11631"/>
                  </a:lnTo>
                  <a:lnTo>
                    <a:pt x="10226" y="11614"/>
                  </a:lnTo>
                  <a:lnTo>
                    <a:pt x="10152" y="11598"/>
                  </a:lnTo>
                  <a:lnTo>
                    <a:pt x="10078" y="11582"/>
                  </a:lnTo>
                  <a:lnTo>
                    <a:pt x="10003" y="11566"/>
                  </a:lnTo>
                  <a:lnTo>
                    <a:pt x="9929" y="11552"/>
                  </a:lnTo>
                  <a:lnTo>
                    <a:pt x="9854" y="11538"/>
                  </a:lnTo>
                  <a:lnTo>
                    <a:pt x="9780" y="11525"/>
                  </a:lnTo>
                  <a:lnTo>
                    <a:pt x="9704" y="11512"/>
                  </a:lnTo>
                  <a:lnTo>
                    <a:pt x="9629" y="11500"/>
                  </a:lnTo>
                  <a:lnTo>
                    <a:pt x="9553" y="11488"/>
                  </a:lnTo>
                  <a:lnTo>
                    <a:pt x="9477" y="11477"/>
                  </a:lnTo>
                  <a:lnTo>
                    <a:pt x="9401" y="11467"/>
                  </a:lnTo>
                  <a:lnTo>
                    <a:pt x="9325" y="11458"/>
                  </a:lnTo>
                  <a:lnTo>
                    <a:pt x="9249" y="11449"/>
                  </a:lnTo>
                  <a:lnTo>
                    <a:pt x="9172" y="11440"/>
                  </a:lnTo>
                  <a:lnTo>
                    <a:pt x="9095" y="11433"/>
                  </a:lnTo>
                  <a:lnTo>
                    <a:pt x="9018" y="11425"/>
                  </a:lnTo>
                  <a:lnTo>
                    <a:pt x="8941" y="11419"/>
                  </a:lnTo>
                  <a:lnTo>
                    <a:pt x="8864" y="11413"/>
                  </a:lnTo>
                  <a:lnTo>
                    <a:pt x="8786" y="11408"/>
                  </a:lnTo>
                  <a:lnTo>
                    <a:pt x="8708" y="11404"/>
                  </a:lnTo>
                  <a:lnTo>
                    <a:pt x="8630" y="11400"/>
                  </a:lnTo>
                  <a:lnTo>
                    <a:pt x="8552" y="11396"/>
                  </a:lnTo>
                  <a:lnTo>
                    <a:pt x="8474" y="11394"/>
                  </a:lnTo>
                  <a:lnTo>
                    <a:pt x="8474" y="8277"/>
                  </a:lnTo>
                  <a:lnTo>
                    <a:pt x="11641" y="8277"/>
                  </a:lnTo>
                  <a:lnTo>
                    <a:pt x="11637" y="8394"/>
                  </a:lnTo>
                  <a:lnTo>
                    <a:pt x="11632" y="8512"/>
                  </a:lnTo>
                  <a:lnTo>
                    <a:pt x="11626" y="8628"/>
                  </a:lnTo>
                  <a:lnTo>
                    <a:pt x="11617" y="8746"/>
                  </a:lnTo>
                  <a:lnTo>
                    <a:pt x="11608" y="8862"/>
                  </a:lnTo>
                  <a:lnTo>
                    <a:pt x="11598" y="8977"/>
                  </a:lnTo>
                  <a:lnTo>
                    <a:pt x="11586" y="9092"/>
                  </a:lnTo>
                  <a:lnTo>
                    <a:pt x="11572" y="9207"/>
                  </a:lnTo>
                  <a:lnTo>
                    <a:pt x="11558" y="9321"/>
                  </a:lnTo>
                  <a:lnTo>
                    <a:pt x="11542" y="9435"/>
                  </a:lnTo>
                  <a:lnTo>
                    <a:pt x="11525" y="9548"/>
                  </a:lnTo>
                  <a:lnTo>
                    <a:pt x="11506" y="9661"/>
                  </a:lnTo>
                  <a:lnTo>
                    <a:pt x="11486" y="9773"/>
                  </a:lnTo>
                  <a:lnTo>
                    <a:pt x="11466" y="9884"/>
                  </a:lnTo>
                  <a:lnTo>
                    <a:pt x="11443" y="9995"/>
                  </a:lnTo>
                  <a:lnTo>
                    <a:pt x="11419" y="10106"/>
                  </a:lnTo>
                  <a:lnTo>
                    <a:pt x="11395" y="10216"/>
                  </a:lnTo>
                  <a:lnTo>
                    <a:pt x="11368" y="10325"/>
                  </a:lnTo>
                  <a:lnTo>
                    <a:pt x="11341" y="10434"/>
                  </a:lnTo>
                  <a:lnTo>
                    <a:pt x="11313" y="10543"/>
                  </a:lnTo>
                  <a:lnTo>
                    <a:pt x="11283" y="10650"/>
                  </a:lnTo>
                  <a:lnTo>
                    <a:pt x="11252" y="10757"/>
                  </a:lnTo>
                  <a:lnTo>
                    <a:pt x="11220" y="10863"/>
                  </a:lnTo>
                  <a:lnTo>
                    <a:pt x="11186" y="10969"/>
                  </a:lnTo>
                  <a:lnTo>
                    <a:pt x="11152" y="11074"/>
                  </a:lnTo>
                  <a:lnTo>
                    <a:pt x="11117" y="11178"/>
                  </a:lnTo>
                  <a:lnTo>
                    <a:pt x="11080" y="11282"/>
                  </a:lnTo>
                  <a:lnTo>
                    <a:pt x="11042" y="11386"/>
                  </a:lnTo>
                  <a:lnTo>
                    <a:pt x="11003" y="11488"/>
                  </a:lnTo>
                  <a:lnTo>
                    <a:pt x="10962" y="11590"/>
                  </a:lnTo>
                  <a:lnTo>
                    <a:pt x="10921" y="11690"/>
                  </a:lnTo>
                  <a:lnTo>
                    <a:pt x="10879" y="11791"/>
                  </a:lnTo>
                  <a:close/>
                  <a:moveTo>
                    <a:pt x="11162" y="12440"/>
                  </a:moveTo>
                  <a:lnTo>
                    <a:pt x="11275" y="12484"/>
                  </a:lnTo>
                  <a:lnTo>
                    <a:pt x="11387" y="12529"/>
                  </a:lnTo>
                  <a:lnTo>
                    <a:pt x="11497" y="12575"/>
                  </a:lnTo>
                  <a:lnTo>
                    <a:pt x="11606" y="12624"/>
                  </a:lnTo>
                  <a:lnTo>
                    <a:pt x="11715" y="12674"/>
                  </a:lnTo>
                  <a:lnTo>
                    <a:pt x="11824" y="12726"/>
                  </a:lnTo>
                  <a:lnTo>
                    <a:pt x="11930" y="12779"/>
                  </a:lnTo>
                  <a:lnTo>
                    <a:pt x="12036" y="12833"/>
                  </a:lnTo>
                  <a:lnTo>
                    <a:pt x="12142" y="12889"/>
                  </a:lnTo>
                  <a:lnTo>
                    <a:pt x="12245" y="12946"/>
                  </a:lnTo>
                  <a:lnTo>
                    <a:pt x="12349" y="13005"/>
                  </a:lnTo>
                  <a:lnTo>
                    <a:pt x="12451" y="13065"/>
                  </a:lnTo>
                  <a:lnTo>
                    <a:pt x="12552" y="13127"/>
                  </a:lnTo>
                  <a:lnTo>
                    <a:pt x="12653" y="13191"/>
                  </a:lnTo>
                  <a:lnTo>
                    <a:pt x="12751" y="13255"/>
                  </a:lnTo>
                  <a:lnTo>
                    <a:pt x="12850" y="13320"/>
                  </a:lnTo>
                  <a:lnTo>
                    <a:pt x="12759" y="13395"/>
                  </a:lnTo>
                  <a:lnTo>
                    <a:pt x="12666" y="13469"/>
                  </a:lnTo>
                  <a:lnTo>
                    <a:pt x="12573" y="13540"/>
                  </a:lnTo>
                  <a:lnTo>
                    <a:pt x="12477" y="13612"/>
                  </a:lnTo>
                  <a:lnTo>
                    <a:pt x="12381" y="13681"/>
                  </a:lnTo>
                  <a:lnTo>
                    <a:pt x="12283" y="13748"/>
                  </a:lnTo>
                  <a:lnTo>
                    <a:pt x="12185" y="13814"/>
                  </a:lnTo>
                  <a:lnTo>
                    <a:pt x="12084" y="13878"/>
                  </a:lnTo>
                  <a:lnTo>
                    <a:pt x="11984" y="13940"/>
                  </a:lnTo>
                  <a:lnTo>
                    <a:pt x="11881" y="14001"/>
                  </a:lnTo>
                  <a:lnTo>
                    <a:pt x="11779" y="14062"/>
                  </a:lnTo>
                  <a:lnTo>
                    <a:pt x="11674" y="14119"/>
                  </a:lnTo>
                  <a:lnTo>
                    <a:pt x="11568" y="14175"/>
                  </a:lnTo>
                  <a:lnTo>
                    <a:pt x="11461" y="14229"/>
                  </a:lnTo>
                  <a:lnTo>
                    <a:pt x="11354" y="14282"/>
                  </a:lnTo>
                  <a:lnTo>
                    <a:pt x="11245" y="14333"/>
                  </a:lnTo>
                  <a:lnTo>
                    <a:pt x="11136" y="14382"/>
                  </a:lnTo>
                  <a:lnTo>
                    <a:pt x="11025" y="14429"/>
                  </a:lnTo>
                  <a:lnTo>
                    <a:pt x="10914" y="14475"/>
                  </a:lnTo>
                  <a:lnTo>
                    <a:pt x="10802" y="14519"/>
                  </a:lnTo>
                  <a:lnTo>
                    <a:pt x="10688" y="14561"/>
                  </a:lnTo>
                  <a:lnTo>
                    <a:pt x="10573" y="14601"/>
                  </a:lnTo>
                  <a:lnTo>
                    <a:pt x="10458" y="14639"/>
                  </a:lnTo>
                  <a:lnTo>
                    <a:pt x="10342" y="14676"/>
                  </a:lnTo>
                  <a:lnTo>
                    <a:pt x="10225" y="14710"/>
                  </a:lnTo>
                  <a:lnTo>
                    <a:pt x="10107" y="14743"/>
                  </a:lnTo>
                  <a:lnTo>
                    <a:pt x="9989" y="14774"/>
                  </a:lnTo>
                  <a:lnTo>
                    <a:pt x="9869" y="14802"/>
                  </a:lnTo>
                  <a:lnTo>
                    <a:pt x="9749" y="14829"/>
                  </a:lnTo>
                  <a:lnTo>
                    <a:pt x="9628" y="14854"/>
                  </a:lnTo>
                  <a:lnTo>
                    <a:pt x="9507" y="14877"/>
                  </a:lnTo>
                  <a:lnTo>
                    <a:pt x="9383" y="14898"/>
                  </a:lnTo>
                  <a:lnTo>
                    <a:pt x="9450" y="14833"/>
                  </a:lnTo>
                  <a:lnTo>
                    <a:pt x="9516" y="14767"/>
                  </a:lnTo>
                  <a:lnTo>
                    <a:pt x="9582" y="14700"/>
                  </a:lnTo>
                  <a:lnTo>
                    <a:pt x="9645" y="14633"/>
                  </a:lnTo>
                  <a:lnTo>
                    <a:pt x="9710" y="14564"/>
                  </a:lnTo>
                  <a:lnTo>
                    <a:pt x="9772" y="14495"/>
                  </a:lnTo>
                  <a:lnTo>
                    <a:pt x="9835" y="14424"/>
                  </a:lnTo>
                  <a:lnTo>
                    <a:pt x="9897" y="14354"/>
                  </a:lnTo>
                  <a:lnTo>
                    <a:pt x="9958" y="14282"/>
                  </a:lnTo>
                  <a:lnTo>
                    <a:pt x="10019" y="14210"/>
                  </a:lnTo>
                  <a:lnTo>
                    <a:pt x="10078" y="14137"/>
                  </a:lnTo>
                  <a:lnTo>
                    <a:pt x="10138" y="14064"/>
                  </a:lnTo>
                  <a:lnTo>
                    <a:pt x="10195" y="13988"/>
                  </a:lnTo>
                  <a:lnTo>
                    <a:pt x="10254" y="13913"/>
                  </a:lnTo>
                  <a:lnTo>
                    <a:pt x="10310" y="13837"/>
                  </a:lnTo>
                  <a:lnTo>
                    <a:pt x="10367" y="13761"/>
                  </a:lnTo>
                  <a:lnTo>
                    <a:pt x="10422" y="13684"/>
                  </a:lnTo>
                  <a:lnTo>
                    <a:pt x="10476" y="13606"/>
                  </a:lnTo>
                  <a:lnTo>
                    <a:pt x="10531" y="13526"/>
                  </a:lnTo>
                  <a:lnTo>
                    <a:pt x="10584" y="13447"/>
                  </a:lnTo>
                  <a:lnTo>
                    <a:pt x="10636" y="13367"/>
                  </a:lnTo>
                  <a:lnTo>
                    <a:pt x="10688" y="13286"/>
                  </a:lnTo>
                  <a:lnTo>
                    <a:pt x="10739" y="13204"/>
                  </a:lnTo>
                  <a:lnTo>
                    <a:pt x="10789" y="13121"/>
                  </a:lnTo>
                  <a:lnTo>
                    <a:pt x="10839" y="13039"/>
                  </a:lnTo>
                  <a:lnTo>
                    <a:pt x="10888" y="12955"/>
                  </a:lnTo>
                  <a:lnTo>
                    <a:pt x="10935" y="12871"/>
                  </a:lnTo>
                  <a:lnTo>
                    <a:pt x="10982" y="12786"/>
                  </a:lnTo>
                  <a:lnTo>
                    <a:pt x="11028" y="12701"/>
                  </a:lnTo>
                  <a:lnTo>
                    <a:pt x="11074" y="12614"/>
                  </a:lnTo>
                  <a:lnTo>
                    <a:pt x="11119" y="12528"/>
                  </a:lnTo>
                  <a:lnTo>
                    <a:pt x="11162" y="12440"/>
                  </a:lnTo>
                  <a:close/>
                  <a:moveTo>
                    <a:pt x="8474" y="14988"/>
                  </a:moveTo>
                  <a:lnTo>
                    <a:pt x="8474" y="11911"/>
                  </a:lnTo>
                  <a:lnTo>
                    <a:pt x="8545" y="11913"/>
                  </a:lnTo>
                  <a:lnTo>
                    <a:pt x="8616" y="11916"/>
                  </a:lnTo>
                  <a:lnTo>
                    <a:pt x="8687" y="11920"/>
                  </a:lnTo>
                  <a:lnTo>
                    <a:pt x="8757" y="11924"/>
                  </a:lnTo>
                  <a:lnTo>
                    <a:pt x="8828" y="11929"/>
                  </a:lnTo>
                  <a:lnTo>
                    <a:pt x="8899" y="11934"/>
                  </a:lnTo>
                  <a:lnTo>
                    <a:pt x="8969" y="11940"/>
                  </a:lnTo>
                  <a:lnTo>
                    <a:pt x="9039" y="11946"/>
                  </a:lnTo>
                  <a:lnTo>
                    <a:pt x="9108" y="11953"/>
                  </a:lnTo>
                  <a:lnTo>
                    <a:pt x="9178" y="11960"/>
                  </a:lnTo>
                  <a:lnTo>
                    <a:pt x="9248" y="11968"/>
                  </a:lnTo>
                  <a:lnTo>
                    <a:pt x="9317" y="11976"/>
                  </a:lnTo>
                  <a:lnTo>
                    <a:pt x="9387" y="11986"/>
                  </a:lnTo>
                  <a:lnTo>
                    <a:pt x="9455" y="11995"/>
                  </a:lnTo>
                  <a:lnTo>
                    <a:pt x="9524" y="12005"/>
                  </a:lnTo>
                  <a:lnTo>
                    <a:pt x="9593" y="12016"/>
                  </a:lnTo>
                  <a:lnTo>
                    <a:pt x="9661" y="12027"/>
                  </a:lnTo>
                  <a:lnTo>
                    <a:pt x="9729" y="12039"/>
                  </a:lnTo>
                  <a:lnTo>
                    <a:pt x="9797" y="12051"/>
                  </a:lnTo>
                  <a:lnTo>
                    <a:pt x="9865" y="12064"/>
                  </a:lnTo>
                  <a:lnTo>
                    <a:pt x="9932" y="12077"/>
                  </a:lnTo>
                  <a:lnTo>
                    <a:pt x="10000" y="12091"/>
                  </a:lnTo>
                  <a:lnTo>
                    <a:pt x="10067" y="12106"/>
                  </a:lnTo>
                  <a:lnTo>
                    <a:pt x="10134" y="12121"/>
                  </a:lnTo>
                  <a:lnTo>
                    <a:pt x="10200" y="12136"/>
                  </a:lnTo>
                  <a:lnTo>
                    <a:pt x="10267" y="12153"/>
                  </a:lnTo>
                  <a:lnTo>
                    <a:pt x="10334" y="12169"/>
                  </a:lnTo>
                  <a:lnTo>
                    <a:pt x="10399" y="12187"/>
                  </a:lnTo>
                  <a:lnTo>
                    <a:pt x="10465" y="12204"/>
                  </a:lnTo>
                  <a:lnTo>
                    <a:pt x="10531" y="12223"/>
                  </a:lnTo>
                  <a:lnTo>
                    <a:pt x="10596" y="12242"/>
                  </a:lnTo>
                  <a:lnTo>
                    <a:pt x="10661" y="12262"/>
                  </a:lnTo>
                  <a:lnTo>
                    <a:pt x="10610" y="12363"/>
                  </a:lnTo>
                  <a:lnTo>
                    <a:pt x="10557" y="12462"/>
                  </a:lnTo>
                  <a:lnTo>
                    <a:pt x="10504" y="12561"/>
                  </a:lnTo>
                  <a:lnTo>
                    <a:pt x="10450" y="12659"/>
                  </a:lnTo>
                  <a:lnTo>
                    <a:pt x="10393" y="12757"/>
                  </a:lnTo>
                  <a:lnTo>
                    <a:pt x="10337" y="12853"/>
                  </a:lnTo>
                  <a:lnTo>
                    <a:pt x="10279" y="12948"/>
                  </a:lnTo>
                  <a:lnTo>
                    <a:pt x="10220" y="13042"/>
                  </a:lnTo>
                  <a:lnTo>
                    <a:pt x="10159" y="13135"/>
                  </a:lnTo>
                  <a:lnTo>
                    <a:pt x="10099" y="13228"/>
                  </a:lnTo>
                  <a:lnTo>
                    <a:pt x="10036" y="13319"/>
                  </a:lnTo>
                  <a:lnTo>
                    <a:pt x="9972" y="13410"/>
                  </a:lnTo>
                  <a:lnTo>
                    <a:pt x="9909" y="13499"/>
                  </a:lnTo>
                  <a:lnTo>
                    <a:pt x="9843" y="13588"/>
                  </a:lnTo>
                  <a:lnTo>
                    <a:pt x="9776" y="13675"/>
                  </a:lnTo>
                  <a:lnTo>
                    <a:pt x="9710" y="13761"/>
                  </a:lnTo>
                  <a:lnTo>
                    <a:pt x="9641" y="13846"/>
                  </a:lnTo>
                  <a:lnTo>
                    <a:pt x="9571" y="13930"/>
                  </a:lnTo>
                  <a:lnTo>
                    <a:pt x="9501" y="14012"/>
                  </a:lnTo>
                  <a:lnTo>
                    <a:pt x="9430" y="14095"/>
                  </a:lnTo>
                  <a:lnTo>
                    <a:pt x="9358" y="14175"/>
                  </a:lnTo>
                  <a:lnTo>
                    <a:pt x="9284" y="14255"/>
                  </a:lnTo>
                  <a:lnTo>
                    <a:pt x="9210" y="14333"/>
                  </a:lnTo>
                  <a:lnTo>
                    <a:pt x="9135" y="14410"/>
                  </a:lnTo>
                  <a:lnTo>
                    <a:pt x="9059" y="14487"/>
                  </a:lnTo>
                  <a:lnTo>
                    <a:pt x="8982" y="14562"/>
                  </a:lnTo>
                  <a:lnTo>
                    <a:pt x="8904" y="14636"/>
                  </a:lnTo>
                  <a:lnTo>
                    <a:pt x="8825" y="14708"/>
                  </a:lnTo>
                  <a:lnTo>
                    <a:pt x="8746" y="14779"/>
                  </a:lnTo>
                  <a:lnTo>
                    <a:pt x="8666" y="14850"/>
                  </a:lnTo>
                  <a:lnTo>
                    <a:pt x="8584" y="14918"/>
                  </a:lnTo>
                  <a:lnTo>
                    <a:pt x="8502" y="14987"/>
                  </a:lnTo>
                  <a:lnTo>
                    <a:pt x="8474" y="14988"/>
                  </a:lnTo>
                  <a:close/>
                  <a:moveTo>
                    <a:pt x="7036" y="14898"/>
                  </a:moveTo>
                  <a:lnTo>
                    <a:pt x="6913" y="14877"/>
                  </a:lnTo>
                  <a:lnTo>
                    <a:pt x="6791" y="14854"/>
                  </a:lnTo>
                  <a:lnTo>
                    <a:pt x="6670" y="14829"/>
                  </a:lnTo>
                  <a:lnTo>
                    <a:pt x="6550" y="14802"/>
                  </a:lnTo>
                  <a:lnTo>
                    <a:pt x="6431" y="14774"/>
                  </a:lnTo>
                  <a:lnTo>
                    <a:pt x="6312" y="14743"/>
                  </a:lnTo>
                  <a:lnTo>
                    <a:pt x="6194" y="14710"/>
                  </a:lnTo>
                  <a:lnTo>
                    <a:pt x="6077" y="14676"/>
                  </a:lnTo>
                  <a:lnTo>
                    <a:pt x="5961" y="14639"/>
                  </a:lnTo>
                  <a:lnTo>
                    <a:pt x="5846" y="14601"/>
                  </a:lnTo>
                  <a:lnTo>
                    <a:pt x="5731" y="14561"/>
                  </a:lnTo>
                  <a:lnTo>
                    <a:pt x="5618" y="14519"/>
                  </a:lnTo>
                  <a:lnTo>
                    <a:pt x="5505" y="14475"/>
                  </a:lnTo>
                  <a:lnTo>
                    <a:pt x="5395" y="14429"/>
                  </a:lnTo>
                  <a:lnTo>
                    <a:pt x="5284" y="14382"/>
                  </a:lnTo>
                  <a:lnTo>
                    <a:pt x="5174" y="14333"/>
                  </a:lnTo>
                  <a:lnTo>
                    <a:pt x="5065" y="14282"/>
                  </a:lnTo>
                  <a:lnTo>
                    <a:pt x="4958" y="14229"/>
                  </a:lnTo>
                  <a:lnTo>
                    <a:pt x="4851" y="14175"/>
                  </a:lnTo>
                  <a:lnTo>
                    <a:pt x="4746" y="14119"/>
                  </a:lnTo>
                  <a:lnTo>
                    <a:pt x="4641" y="14062"/>
                  </a:lnTo>
                  <a:lnTo>
                    <a:pt x="4538" y="14001"/>
                  </a:lnTo>
                  <a:lnTo>
                    <a:pt x="4436" y="13940"/>
                  </a:lnTo>
                  <a:lnTo>
                    <a:pt x="4335" y="13878"/>
                  </a:lnTo>
                  <a:lnTo>
                    <a:pt x="4235" y="13814"/>
                  </a:lnTo>
                  <a:lnTo>
                    <a:pt x="4137" y="13748"/>
                  </a:lnTo>
                  <a:lnTo>
                    <a:pt x="4038" y="13681"/>
                  </a:lnTo>
                  <a:lnTo>
                    <a:pt x="3943" y="13612"/>
                  </a:lnTo>
                  <a:lnTo>
                    <a:pt x="3847" y="13540"/>
                  </a:lnTo>
                  <a:lnTo>
                    <a:pt x="3753" y="13469"/>
                  </a:lnTo>
                  <a:lnTo>
                    <a:pt x="3660" y="13395"/>
                  </a:lnTo>
                  <a:lnTo>
                    <a:pt x="3569" y="13320"/>
                  </a:lnTo>
                  <a:lnTo>
                    <a:pt x="3668" y="13255"/>
                  </a:lnTo>
                  <a:lnTo>
                    <a:pt x="3767" y="13191"/>
                  </a:lnTo>
                  <a:lnTo>
                    <a:pt x="3867" y="13127"/>
                  </a:lnTo>
                  <a:lnTo>
                    <a:pt x="3968" y="13065"/>
                  </a:lnTo>
                  <a:lnTo>
                    <a:pt x="4071" y="13005"/>
                  </a:lnTo>
                  <a:lnTo>
                    <a:pt x="4174" y="12946"/>
                  </a:lnTo>
                  <a:lnTo>
                    <a:pt x="4278" y="12889"/>
                  </a:lnTo>
                  <a:lnTo>
                    <a:pt x="4383" y="12833"/>
                  </a:lnTo>
                  <a:lnTo>
                    <a:pt x="4489" y="12779"/>
                  </a:lnTo>
                  <a:lnTo>
                    <a:pt x="4596" y="12726"/>
                  </a:lnTo>
                  <a:lnTo>
                    <a:pt x="4704" y="12674"/>
                  </a:lnTo>
                  <a:lnTo>
                    <a:pt x="4813" y="12624"/>
                  </a:lnTo>
                  <a:lnTo>
                    <a:pt x="4923" y="12575"/>
                  </a:lnTo>
                  <a:lnTo>
                    <a:pt x="5033" y="12529"/>
                  </a:lnTo>
                  <a:lnTo>
                    <a:pt x="5144" y="12484"/>
                  </a:lnTo>
                  <a:lnTo>
                    <a:pt x="5257" y="12440"/>
                  </a:lnTo>
                  <a:lnTo>
                    <a:pt x="5301" y="12528"/>
                  </a:lnTo>
                  <a:lnTo>
                    <a:pt x="5345" y="12614"/>
                  </a:lnTo>
                  <a:lnTo>
                    <a:pt x="5391" y="12701"/>
                  </a:lnTo>
                  <a:lnTo>
                    <a:pt x="5437" y="12786"/>
                  </a:lnTo>
                  <a:lnTo>
                    <a:pt x="5484" y="12871"/>
                  </a:lnTo>
                  <a:lnTo>
                    <a:pt x="5532" y="12955"/>
                  </a:lnTo>
                  <a:lnTo>
                    <a:pt x="5580" y="13039"/>
                  </a:lnTo>
                  <a:lnTo>
                    <a:pt x="5630" y="13121"/>
                  </a:lnTo>
                  <a:lnTo>
                    <a:pt x="5680" y="13204"/>
                  </a:lnTo>
                  <a:lnTo>
                    <a:pt x="5731" y="13286"/>
                  </a:lnTo>
                  <a:lnTo>
                    <a:pt x="5783" y="13367"/>
                  </a:lnTo>
                  <a:lnTo>
                    <a:pt x="5835" y="13447"/>
                  </a:lnTo>
                  <a:lnTo>
                    <a:pt x="5888" y="13526"/>
                  </a:lnTo>
                  <a:lnTo>
                    <a:pt x="5943" y="13606"/>
                  </a:lnTo>
                  <a:lnTo>
                    <a:pt x="5997" y="13684"/>
                  </a:lnTo>
                  <a:lnTo>
                    <a:pt x="6052" y="13761"/>
                  </a:lnTo>
                  <a:lnTo>
                    <a:pt x="6109" y="13837"/>
                  </a:lnTo>
                  <a:lnTo>
                    <a:pt x="6166" y="13913"/>
                  </a:lnTo>
                  <a:lnTo>
                    <a:pt x="6224" y="13988"/>
                  </a:lnTo>
                  <a:lnTo>
                    <a:pt x="6282" y="14064"/>
                  </a:lnTo>
                  <a:lnTo>
                    <a:pt x="6341" y="14137"/>
                  </a:lnTo>
                  <a:lnTo>
                    <a:pt x="6400" y="14210"/>
                  </a:lnTo>
                  <a:lnTo>
                    <a:pt x="6461" y="14282"/>
                  </a:lnTo>
                  <a:lnTo>
                    <a:pt x="6522" y="14354"/>
                  </a:lnTo>
                  <a:lnTo>
                    <a:pt x="6584" y="14424"/>
                  </a:lnTo>
                  <a:lnTo>
                    <a:pt x="6647" y="14495"/>
                  </a:lnTo>
                  <a:lnTo>
                    <a:pt x="6710" y="14564"/>
                  </a:lnTo>
                  <a:lnTo>
                    <a:pt x="6774" y="14633"/>
                  </a:lnTo>
                  <a:lnTo>
                    <a:pt x="6839" y="14700"/>
                  </a:lnTo>
                  <a:lnTo>
                    <a:pt x="6903" y="14767"/>
                  </a:lnTo>
                  <a:lnTo>
                    <a:pt x="6969" y="14833"/>
                  </a:lnTo>
                  <a:lnTo>
                    <a:pt x="7036" y="14898"/>
                  </a:lnTo>
                  <a:close/>
                  <a:moveTo>
                    <a:pt x="7945" y="8277"/>
                  </a:moveTo>
                  <a:lnTo>
                    <a:pt x="7945" y="11394"/>
                  </a:lnTo>
                  <a:lnTo>
                    <a:pt x="7867" y="11396"/>
                  </a:lnTo>
                  <a:lnTo>
                    <a:pt x="7789" y="11400"/>
                  </a:lnTo>
                  <a:lnTo>
                    <a:pt x="7711" y="11404"/>
                  </a:lnTo>
                  <a:lnTo>
                    <a:pt x="7633" y="11408"/>
                  </a:lnTo>
                  <a:lnTo>
                    <a:pt x="7555" y="11413"/>
                  </a:lnTo>
                  <a:lnTo>
                    <a:pt x="7478" y="11419"/>
                  </a:lnTo>
                  <a:lnTo>
                    <a:pt x="7401" y="11425"/>
                  </a:lnTo>
                  <a:lnTo>
                    <a:pt x="7324" y="11433"/>
                  </a:lnTo>
                  <a:lnTo>
                    <a:pt x="7247" y="11440"/>
                  </a:lnTo>
                  <a:lnTo>
                    <a:pt x="7170" y="11449"/>
                  </a:lnTo>
                  <a:lnTo>
                    <a:pt x="7094" y="11458"/>
                  </a:lnTo>
                  <a:lnTo>
                    <a:pt x="7018" y="11467"/>
                  </a:lnTo>
                  <a:lnTo>
                    <a:pt x="6942" y="11477"/>
                  </a:lnTo>
                  <a:lnTo>
                    <a:pt x="6866" y="11488"/>
                  </a:lnTo>
                  <a:lnTo>
                    <a:pt x="6790" y="11500"/>
                  </a:lnTo>
                  <a:lnTo>
                    <a:pt x="6715" y="11512"/>
                  </a:lnTo>
                  <a:lnTo>
                    <a:pt x="6640" y="11525"/>
                  </a:lnTo>
                  <a:lnTo>
                    <a:pt x="6565" y="11538"/>
                  </a:lnTo>
                  <a:lnTo>
                    <a:pt x="6491" y="11552"/>
                  </a:lnTo>
                  <a:lnTo>
                    <a:pt x="6416" y="11566"/>
                  </a:lnTo>
                  <a:lnTo>
                    <a:pt x="6342" y="11582"/>
                  </a:lnTo>
                  <a:lnTo>
                    <a:pt x="6268" y="11598"/>
                  </a:lnTo>
                  <a:lnTo>
                    <a:pt x="6194" y="11614"/>
                  </a:lnTo>
                  <a:lnTo>
                    <a:pt x="6120" y="11631"/>
                  </a:lnTo>
                  <a:lnTo>
                    <a:pt x="6047" y="11649"/>
                  </a:lnTo>
                  <a:lnTo>
                    <a:pt x="5973" y="11667"/>
                  </a:lnTo>
                  <a:lnTo>
                    <a:pt x="5901" y="11686"/>
                  </a:lnTo>
                  <a:lnTo>
                    <a:pt x="5829" y="11706"/>
                  </a:lnTo>
                  <a:lnTo>
                    <a:pt x="5756" y="11726"/>
                  </a:lnTo>
                  <a:lnTo>
                    <a:pt x="5684" y="11747"/>
                  </a:lnTo>
                  <a:lnTo>
                    <a:pt x="5612" y="11768"/>
                  </a:lnTo>
                  <a:lnTo>
                    <a:pt x="5540" y="11791"/>
                  </a:lnTo>
                  <a:lnTo>
                    <a:pt x="5498" y="11690"/>
                  </a:lnTo>
                  <a:lnTo>
                    <a:pt x="5457" y="11590"/>
                  </a:lnTo>
                  <a:lnTo>
                    <a:pt x="5417" y="11488"/>
                  </a:lnTo>
                  <a:lnTo>
                    <a:pt x="5377" y="11386"/>
                  </a:lnTo>
                  <a:lnTo>
                    <a:pt x="5339" y="11282"/>
                  </a:lnTo>
                  <a:lnTo>
                    <a:pt x="5303" y="11178"/>
                  </a:lnTo>
                  <a:lnTo>
                    <a:pt x="5267" y="11074"/>
                  </a:lnTo>
                  <a:lnTo>
                    <a:pt x="5233" y="10969"/>
                  </a:lnTo>
                  <a:lnTo>
                    <a:pt x="5200" y="10863"/>
                  </a:lnTo>
                  <a:lnTo>
                    <a:pt x="5167" y="10757"/>
                  </a:lnTo>
                  <a:lnTo>
                    <a:pt x="5136" y="10650"/>
                  </a:lnTo>
                  <a:lnTo>
                    <a:pt x="5106" y="10543"/>
                  </a:lnTo>
                  <a:lnTo>
                    <a:pt x="5079" y="10434"/>
                  </a:lnTo>
                  <a:lnTo>
                    <a:pt x="5051" y="10325"/>
                  </a:lnTo>
                  <a:lnTo>
                    <a:pt x="5025" y="10216"/>
                  </a:lnTo>
                  <a:lnTo>
                    <a:pt x="5000" y="10106"/>
                  </a:lnTo>
                  <a:lnTo>
                    <a:pt x="4976" y="9995"/>
                  </a:lnTo>
                  <a:lnTo>
                    <a:pt x="4954" y="9884"/>
                  </a:lnTo>
                  <a:lnTo>
                    <a:pt x="4933" y="9773"/>
                  </a:lnTo>
                  <a:lnTo>
                    <a:pt x="4913" y="9661"/>
                  </a:lnTo>
                  <a:lnTo>
                    <a:pt x="4895" y="9548"/>
                  </a:lnTo>
                  <a:lnTo>
                    <a:pt x="4877" y="9435"/>
                  </a:lnTo>
                  <a:lnTo>
                    <a:pt x="4861" y="9321"/>
                  </a:lnTo>
                  <a:lnTo>
                    <a:pt x="4847" y="9207"/>
                  </a:lnTo>
                  <a:lnTo>
                    <a:pt x="4833" y="9092"/>
                  </a:lnTo>
                  <a:lnTo>
                    <a:pt x="4822" y="8977"/>
                  </a:lnTo>
                  <a:lnTo>
                    <a:pt x="4811" y="8862"/>
                  </a:lnTo>
                  <a:lnTo>
                    <a:pt x="4802" y="8746"/>
                  </a:lnTo>
                  <a:lnTo>
                    <a:pt x="4794" y="8628"/>
                  </a:lnTo>
                  <a:lnTo>
                    <a:pt x="4787" y="8512"/>
                  </a:lnTo>
                  <a:lnTo>
                    <a:pt x="4782" y="8394"/>
                  </a:lnTo>
                  <a:lnTo>
                    <a:pt x="4779" y="8277"/>
                  </a:lnTo>
                  <a:lnTo>
                    <a:pt x="7945" y="8277"/>
                  </a:lnTo>
                  <a:close/>
                  <a:moveTo>
                    <a:pt x="5353" y="4695"/>
                  </a:moveTo>
                  <a:lnTo>
                    <a:pt x="5430" y="4721"/>
                  </a:lnTo>
                  <a:lnTo>
                    <a:pt x="5507" y="4746"/>
                  </a:lnTo>
                  <a:lnTo>
                    <a:pt x="5583" y="4770"/>
                  </a:lnTo>
                  <a:lnTo>
                    <a:pt x="5661" y="4793"/>
                  </a:lnTo>
                  <a:lnTo>
                    <a:pt x="5739" y="4816"/>
                  </a:lnTo>
                  <a:lnTo>
                    <a:pt x="5817" y="4838"/>
                  </a:lnTo>
                  <a:lnTo>
                    <a:pt x="5896" y="4860"/>
                  </a:lnTo>
                  <a:lnTo>
                    <a:pt x="5974" y="4880"/>
                  </a:lnTo>
                  <a:lnTo>
                    <a:pt x="6053" y="4900"/>
                  </a:lnTo>
                  <a:lnTo>
                    <a:pt x="6134" y="4920"/>
                  </a:lnTo>
                  <a:lnTo>
                    <a:pt x="6213" y="4938"/>
                  </a:lnTo>
                  <a:lnTo>
                    <a:pt x="6293" y="4956"/>
                  </a:lnTo>
                  <a:lnTo>
                    <a:pt x="6373" y="4973"/>
                  </a:lnTo>
                  <a:lnTo>
                    <a:pt x="6454" y="4990"/>
                  </a:lnTo>
                  <a:lnTo>
                    <a:pt x="6535" y="5005"/>
                  </a:lnTo>
                  <a:lnTo>
                    <a:pt x="6615" y="5020"/>
                  </a:lnTo>
                  <a:lnTo>
                    <a:pt x="6697" y="5035"/>
                  </a:lnTo>
                  <a:lnTo>
                    <a:pt x="6778" y="5048"/>
                  </a:lnTo>
                  <a:lnTo>
                    <a:pt x="6860" y="5061"/>
                  </a:lnTo>
                  <a:lnTo>
                    <a:pt x="6942" y="5073"/>
                  </a:lnTo>
                  <a:lnTo>
                    <a:pt x="7024" y="5084"/>
                  </a:lnTo>
                  <a:lnTo>
                    <a:pt x="7106" y="5095"/>
                  </a:lnTo>
                  <a:lnTo>
                    <a:pt x="7189" y="5105"/>
                  </a:lnTo>
                  <a:lnTo>
                    <a:pt x="7273" y="5114"/>
                  </a:lnTo>
                  <a:lnTo>
                    <a:pt x="7356" y="5122"/>
                  </a:lnTo>
                  <a:lnTo>
                    <a:pt x="7439" y="5131"/>
                  </a:lnTo>
                  <a:lnTo>
                    <a:pt x="7523" y="5137"/>
                  </a:lnTo>
                  <a:lnTo>
                    <a:pt x="7607" y="5143"/>
                  </a:lnTo>
                  <a:lnTo>
                    <a:pt x="7691" y="5149"/>
                  </a:lnTo>
                  <a:lnTo>
                    <a:pt x="7775" y="5153"/>
                  </a:lnTo>
                  <a:lnTo>
                    <a:pt x="7860" y="5157"/>
                  </a:lnTo>
                  <a:lnTo>
                    <a:pt x="7945" y="5160"/>
                  </a:lnTo>
                  <a:lnTo>
                    <a:pt x="7945" y="7759"/>
                  </a:lnTo>
                  <a:lnTo>
                    <a:pt x="4779" y="7759"/>
                  </a:lnTo>
                  <a:lnTo>
                    <a:pt x="4782" y="7658"/>
                  </a:lnTo>
                  <a:lnTo>
                    <a:pt x="4786" y="7557"/>
                  </a:lnTo>
                  <a:lnTo>
                    <a:pt x="4791" y="7456"/>
                  </a:lnTo>
                  <a:lnTo>
                    <a:pt x="4797" y="7356"/>
                  </a:lnTo>
                  <a:lnTo>
                    <a:pt x="4805" y="7255"/>
                  </a:lnTo>
                  <a:lnTo>
                    <a:pt x="4812" y="7155"/>
                  </a:lnTo>
                  <a:lnTo>
                    <a:pt x="4821" y="7056"/>
                  </a:lnTo>
                  <a:lnTo>
                    <a:pt x="4831" y="6957"/>
                  </a:lnTo>
                  <a:lnTo>
                    <a:pt x="4843" y="6857"/>
                  </a:lnTo>
                  <a:lnTo>
                    <a:pt x="4854" y="6759"/>
                  </a:lnTo>
                  <a:lnTo>
                    <a:pt x="4867" y="6661"/>
                  </a:lnTo>
                  <a:lnTo>
                    <a:pt x="4881" y="6563"/>
                  </a:lnTo>
                  <a:lnTo>
                    <a:pt x="4896" y="6466"/>
                  </a:lnTo>
                  <a:lnTo>
                    <a:pt x="4911" y="6368"/>
                  </a:lnTo>
                  <a:lnTo>
                    <a:pt x="4928" y="6272"/>
                  </a:lnTo>
                  <a:lnTo>
                    <a:pt x="4945" y="6176"/>
                  </a:lnTo>
                  <a:lnTo>
                    <a:pt x="4964" y="6080"/>
                  </a:lnTo>
                  <a:lnTo>
                    <a:pt x="4983" y="5984"/>
                  </a:lnTo>
                  <a:lnTo>
                    <a:pt x="5004" y="5889"/>
                  </a:lnTo>
                  <a:lnTo>
                    <a:pt x="5025" y="5795"/>
                  </a:lnTo>
                  <a:lnTo>
                    <a:pt x="5048" y="5701"/>
                  </a:lnTo>
                  <a:lnTo>
                    <a:pt x="5070" y="5607"/>
                  </a:lnTo>
                  <a:lnTo>
                    <a:pt x="5095" y="5513"/>
                  </a:lnTo>
                  <a:lnTo>
                    <a:pt x="5120" y="5420"/>
                  </a:lnTo>
                  <a:lnTo>
                    <a:pt x="5145" y="5328"/>
                  </a:lnTo>
                  <a:lnTo>
                    <a:pt x="5172" y="5236"/>
                  </a:lnTo>
                  <a:lnTo>
                    <a:pt x="5201" y="5145"/>
                  </a:lnTo>
                  <a:lnTo>
                    <a:pt x="5228" y="5053"/>
                  </a:lnTo>
                  <a:lnTo>
                    <a:pt x="5258" y="4963"/>
                  </a:lnTo>
                  <a:lnTo>
                    <a:pt x="5289" y="4873"/>
                  </a:lnTo>
                  <a:lnTo>
                    <a:pt x="5321" y="4784"/>
                  </a:lnTo>
                  <a:lnTo>
                    <a:pt x="5353" y="4695"/>
                  </a:lnTo>
                  <a:close/>
                  <a:moveTo>
                    <a:pt x="5056" y="4040"/>
                  </a:moveTo>
                  <a:lnTo>
                    <a:pt x="4994" y="4015"/>
                  </a:lnTo>
                  <a:lnTo>
                    <a:pt x="4934" y="3989"/>
                  </a:lnTo>
                  <a:lnTo>
                    <a:pt x="4873" y="3963"/>
                  </a:lnTo>
                  <a:lnTo>
                    <a:pt x="4813" y="3936"/>
                  </a:lnTo>
                  <a:lnTo>
                    <a:pt x="4753" y="3909"/>
                  </a:lnTo>
                  <a:lnTo>
                    <a:pt x="4693" y="3882"/>
                  </a:lnTo>
                  <a:lnTo>
                    <a:pt x="4633" y="3854"/>
                  </a:lnTo>
                  <a:lnTo>
                    <a:pt x="4575" y="3825"/>
                  </a:lnTo>
                  <a:lnTo>
                    <a:pt x="4515" y="3796"/>
                  </a:lnTo>
                  <a:lnTo>
                    <a:pt x="4457" y="3766"/>
                  </a:lnTo>
                  <a:lnTo>
                    <a:pt x="4398" y="3736"/>
                  </a:lnTo>
                  <a:lnTo>
                    <a:pt x="4341" y="3705"/>
                  </a:lnTo>
                  <a:lnTo>
                    <a:pt x="4282" y="3674"/>
                  </a:lnTo>
                  <a:lnTo>
                    <a:pt x="4225" y="3643"/>
                  </a:lnTo>
                  <a:lnTo>
                    <a:pt x="4168" y="3611"/>
                  </a:lnTo>
                  <a:lnTo>
                    <a:pt x="4111" y="3579"/>
                  </a:lnTo>
                  <a:lnTo>
                    <a:pt x="3998" y="3513"/>
                  </a:lnTo>
                  <a:lnTo>
                    <a:pt x="3886" y="3446"/>
                  </a:lnTo>
                  <a:lnTo>
                    <a:pt x="3776" y="3377"/>
                  </a:lnTo>
                  <a:lnTo>
                    <a:pt x="3667" y="3305"/>
                  </a:lnTo>
                  <a:lnTo>
                    <a:pt x="3559" y="3233"/>
                  </a:lnTo>
                  <a:lnTo>
                    <a:pt x="3451" y="3159"/>
                  </a:lnTo>
                  <a:lnTo>
                    <a:pt x="3345" y="3084"/>
                  </a:lnTo>
                  <a:lnTo>
                    <a:pt x="3241" y="3007"/>
                  </a:lnTo>
                  <a:lnTo>
                    <a:pt x="3337" y="2917"/>
                  </a:lnTo>
                  <a:lnTo>
                    <a:pt x="3436" y="2829"/>
                  </a:lnTo>
                  <a:lnTo>
                    <a:pt x="3535" y="2743"/>
                  </a:lnTo>
                  <a:lnTo>
                    <a:pt x="3637" y="2659"/>
                  </a:lnTo>
                  <a:lnTo>
                    <a:pt x="3740" y="2576"/>
                  </a:lnTo>
                  <a:lnTo>
                    <a:pt x="3845" y="2496"/>
                  </a:lnTo>
                  <a:lnTo>
                    <a:pt x="3951" y="2417"/>
                  </a:lnTo>
                  <a:lnTo>
                    <a:pt x="4059" y="2340"/>
                  </a:lnTo>
                  <a:lnTo>
                    <a:pt x="4168" y="2266"/>
                  </a:lnTo>
                  <a:lnTo>
                    <a:pt x="4279" y="2193"/>
                  </a:lnTo>
                  <a:lnTo>
                    <a:pt x="4391" y="2122"/>
                  </a:lnTo>
                  <a:lnTo>
                    <a:pt x="4505" y="2054"/>
                  </a:lnTo>
                  <a:lnTo>
                    <a:pt x="4620" y="1986"/>
                  </a:lnTo>
                  <a:lnTo>
                    <a:pt x="4736" y="1921"/>
                  </a:lnTo>
                  <a:lnTo>
                    <a:pt x="4854" y="1859"/>
                  </a:lnTo>
                  <a:lnTo>
                    <a:pt x="4973" y="1799"/>
                  </a:lnTo>
                  <a:lnTo>
                    <a:pt x="5093" y="1740"/>
                  </a:lnTo>
                  <a:lnTo>
                    <a:pt x="5215" y="1684"/>
                  </a:lnTo>
                  <a:lnTo>
                    <a:pt x="5338" y="1630"/>
                  </a:lnTo>
                  <a:lnTo>
                    <a:pt x="5461" y="1579"/>
                  </a:lnTo>
                  <a:lnTo>
                    <a:pt x="5587" y="1528"/>
                  </a:lnTo>
                  <a:lnTo>
                    <a:pt x="5714" y="1481"/>
                  </a:lnTo>
                  <a:lnTo>
                    <a:pt x="5841" y="1436"/>
                  </a:lnTo>
                  <a:lnTo>
                    <a:pt x="5969" y="1393"/>
                  </a:lnTo>
                  <a:lnTo>
                    <a:pt x="6100" y="1353"/>
                  </a:lnTo>
                  <a:lnTo>
                    <a:pt x="6230" y="1315"/>
                  </a:lnTo>
                  <a:lnTo>
                    <a:pt x="6362" y="1279"/>
                  </a:lnTo>
                  <a:lnTo>
                    <a:pt x="6495" y="1246"/>
                  </a:lnTo>
                  <a:lnTo>
                    <a:pt x="6628" y="1215"/>
                  </a:lnTo>
                  <a:lnTo>
                    <a:pt x="6764" y="1187"/>
                  </a:lnTo>
                  <a:lnTo>
                    <a:pt x="6899" y="1161"/>
                  </a:lnTo>
                  <a:lnTo>
                    <a:pt x="7036" y="1137"/>
                  </a:lnTo>
                  <a:lnTo>
                    <a:pt x="6960" y="1213"/>
                  </a:lnTo>
                  <a:lnTo>
                    <a:pt x="6884" y="1289"/>
                  </a:lnTo>
                  <a:lnTo>
                    <a:pt x="6809" y="1367"/>
                  </a:lnTo>
                  <a:lnTo>
                    <a:pt x="6735" y="1446"/>
                  </a:lnTo>
                  <a:lnTo>
                    <a:pt x="6662" y="1525"/>
                  </a:lnTo>
                  <a:lnTo>
                    <a:pt x="6589" y="1607"/>
                  </a:lnTo>
                  <a:lnTo>
                    <a:pt x="6518" y="1689"/>
                  </a:lnTo>
                  <a:lnTo>
                    <a:pt x="6448" y="1771"/>
                  </a:lnTo>
                  <a:lnTo>
                    <a:pt x="6379" y="1855"/>
                  </a:lnTo>
                  <a:lnTo>
                    <a:pt x="6310" y="1940"/>
                  </a:lnTo>
                  <a:lnTo>
                    <a:pt x="6242" y="2027"/>
                  </a:lnTo>
                  <a:lnTo>
                    <a:pt x="6176" y="2113"/>
                  </a:lnTo>
                  <a:lnTo>
                    <a:pt x="6110" y="2201"/>
                  </a:lnTo>
                  <a:lnTo>
                    <a:pt x="6045" y="2290"/>
                  </a:lnTo>
                  <a:lnTo>
                    <a:pt x="5982" y="2379"/>
                  </a:lnTo>
                  <a:lnTo>
                    <a:pt x="5919" y="2471"/>
                  </a:lnTo>
                  <a:lnTo>
                    <a:pt x="5857" y="2562"/>
                  </a:lnTo>
                  <a:lnTo>
                    <a:pt x="5797" y="2654"/>
                  </a:lnTo>
                  <a:lnTo>
                    <a:pt x="5736" y="2748"/>
                  </a:lnTo>
                  <a:lnTo>
                    <a:pt x="5678" y="2842"/>
                  </a:lnTo>
                  <a:lnTo>
                    <a:pt x="5620" y="2938"/>
                  </a:lnTo>
                  <a:lnTo>
                    <a:pt x="5564" y="3034"/>
                  </a:lnTo>
                  <a:lnTo>
                    <a:pt x="5508" y="3130"/>
                  </a:lnTo>
                  <a:lnTo>
                    <a:pt x="5453" y="3228"/>
                  </a:lnTo>
                  <a:lnTo>
                    <a:pt x="5400" y="3326"/>
                  </a:lnTo>
                  <a:lnTo>
                    <a:pt x="5347" y="3427"/>
                  </a:lnTo>
                  <a:lnTo>
                    <a:pt x="5296" y="3527"/>
                  </a:lnTo>
                  <a:lnTo>
                    <a:pt x="5246" y="3628"/>
                  </a:lnTo>
                  <a:lnTo>
                    <a:pt x="5197" y="3729"/>
                  </a:lnTo>
                  <a:lnTo>
                    <a:pt x="5148" y="3833"/>
                  </a:lnTo>
                  <a:lnTo>
                    <a:pt x="5102" y="3936"/>
                  </a:lnTo>
                  <a:lnTo>
                    <a:pt x="5056" y="4040"/>
                  </a:lnTo>
                  <a:close/>
                  <a:moveTo>
                    <a:pt x="7945" y="1047"/>
                  </a:moveTo>
                  <a:lnTo>
                    <a:pt x="7945" y="4642"/>
                  </a:lnTo>
                  <a:lnTo>
                    <a:pt x="7867" y="4639"/>
                  </a:lnTo>
                  <a:lnTo>
                    <a:pt x="7789" y="4635"/>
                  </a:lnTo>
                  <a:lnTo>
                    <a:pt x="7711" y="4631"/>
                  </a:lnTo>
                  <a:lnTo>
                    <a:pt x="7633" y="4626"/>
                  </a:lnTo>
                  <a:lnTo>
                    <a:pt x="7556" y="4621"/>
                  </a:lnTo>
                  <a:lnTo>
                    <a:pt x="7478" y="4614"/>
                  </a:lnTo>
                  <a:lnTo>
                    <a:pt x="7401" y="4607"/>
                  </a:lnTo>
                  <a:lnTo>
                    <a:pt x="7325" y="4600"/>
                  </a:lnTo>
                  <a:lnTo>
                    <a:pt x="7248" y="4591"/>
                  </a:lnTo>
                  <a:lnTo>
                    <a:pt x="7172" y="4582"/>
                  </a:lnTo>
                  <a:lnTo>
                    <a:pt x="7095" y="4573"/>
                  </a:lnTo>
                  <a:lnTo>
                    <a:pt x="7020" y="4562"/>
                  </a:lnTo>
                  <a:lnTo>
                    <a:pt x="6944" y="4551"/>
                  </a:lnTo>
                  <a:lnTo>
                    <a:pt x="6868" y="4540"/>
                  </a:lnTo>
                  <a:lnTo>
                    <a:pt x="6793" y="4527"/>
                  </a:lnTo>
                  <a:lnTo>
                    <a:pt x="6718" y="4514"/>
                  </a:lnTo>
                  <a:lnTo>
                    <a:pt x="6644" y="4501"/>
                  </a:lnTo>
                  <a:lnTo>
                    <a:pt x="6569" y="4486"/>
                  </a:lnTo>
                  <a:lnTo>
                    <a:pt x="6495" y="4471"/>
                  </a:lnTo>
                  <a:lnTo>
                    <a:pt x="6421" y="4456"/>
                  </a:lnTo>
                  <a:lnTo>
                    <a:pt x="6347" y="4439"/>
                  </a:lnTo>
                  <a:lnTo>
                    <a:pt x="6273" y="4423"/>
                  </a:lnTo>
                  <a:lnTo>
                    <a:pt x="6200" y="4405"/>
                  </a:lnTo>
                  <a:lnTo>
                    <a:pt x="6127" y="4387"/>
                  </a:lnTo>
                  <a:lnTo>
                    <a:pt x="6055" y="4368"/>
                  </a:lnTo>
                  <a:lnTo>
                    <a:pt x="5982" y="4348"/>
                  </a:lnTo>
                  <a:lnTo>
                    <a:pt x="5910" y="4328"/>
                  </a:lnTo>
                  <a:lnTo>
                    <a:pt x="5838" y="4308"/>
                  </a:lnTo>
                  <a:lnTo>
                    <a:pt x="5766" y="4286"/>
                  </a:lnTo>
                  <a:lnTo>
                    <a:pt x="5694" y="4264"/>
                  </a:lnTo>
                  <a:lnTo>
                    <a:pt x="5624" y="4242"/>
                  </a:lnTo>
                  <a:lnTo>
                    <a:pt x="5553" y="4217"/>
                  </a:lnTo>
                  <a:lnTo>
                    <a:pt x="5605" y="4099"/>
                  </a:lnTo>
                  <a:lnTo>
                    <a:pt x="5658" y="3982"/>
                  </a:lnTo>
                  <a:lnTo>
                    <a:pt x="5714" y="3866"/>
                  </a:lnTo>
                  <a:lnTo>
                    <a:pt x="5771" y="3750"/>
                  </a:lnTo>
                  <a:lnTo>
                    <a:pt x="5830" y="3637"/>
                  </a:lnTo>
                  <a:lnTo>
                    <a:pt x="5889" y="3524"/>
                  </a:lnTo>
                  <a:lnTo>
                    <a:pt x="5951" y="3412"/>
                  </a:lnTo>
                  <a:lnTo>
                    <a:pt x="6014" y="3301"/>
                  </a:lnTo>
                  <a:lnTo>
                    <a:pt x="6078" y="3192"/>
                  </a:lnTo>
                  <a:lnTo>
                    <a:pt x="6144" y="3084"/>
                  </a:lnTo>
                  <a:lnTo>
                    <a:pt x="6212" y="2978"/>
                  </a:lnTo>
                  <a:lnTo>
                    <a:pt x="6279" y="2871"/>
                  </a:lnTo>
                  <a:lnTo>
                    <a:pt x="6349" y="2767"/>
                  </a:lnTo>
                  <a:lnTo>
                    <a:pt x="6421" y="2664"/>
                  </a:lnTo>
                  <a:lnTo>
                    <a:pt x="6494" y="2563"/>
                  </a:lnTo>
                  <a:lnTo>
                    <a:pt x="6568" y="2463"/>
                  </a:lnTo>
                  <a:lnTo>
                    <a:pt x="6643" y="2363"/>
                  </a:lnTo>
                  <a:lnTo>
                    <a:pt x="6718" y="2265"/>
                  </a:lnTo>
                  <a:lnTo>
                    <a:pt x="6796" y="2169"/>
                  </a:lnTo>
                  <a:lnTo>
                    <a:pt x="6875" y="2074"/>
                  </a:lnTo>
                  <a:lnTo>
                    <a:pt x="6955" y="1980"/>
                  </a:lnTo>
                  <a:lnTo>
                    <a:pt x="7038" y="1888"/>
                  </a:lnTo>
                  <a:lnTo>
                    <a:pt x="7121" y="1798"/>
                  </a:lnTo>
                  <a:lnTo>
                    <a:pt x="7204" y="1709"/>
                  </a:lnTo>
                  <a:lnTo>
                    <a:pt x="7289" y="1621"/>
                  </a:lnTo>
                  <a:lnTo>
                    <a:pt x="7375" y="1534"/>
                  </a:lnTo>
                  <a:lnTo>
                    <a:pt x="7463" y="1449"/>
                  </a:lnTo>
                  <a:lnTo>
                    <a:pt x="7552" y="1366"/>
                  </a:lnTo>
                  <a:lnTo>
                    <a:pt x="7642" y="1285"/>
                  </a:lnTo>
                  <a:lnTo>
                    <a:pt x="7732" y="1205"/>
                  </a:lnTo>
                  <a:lnTo>
                    <a:pt x="7825" y="1126"/>
                  </a:lnTo>
                  <a:lnTo>
                    <a:pt x="7918" y="1049"/>
                  </a:lnTo>
                  <a:lnTo>
                    <a:pt x="7931" y="1048"/>
                  </a:lnTo>
                  <a:lnTo>
                    <a:pt x="7945" y="1047"/>
                  </a:lnTo>
                  <a:close/>
                  <a:moveTo>
                    <a:pt x="9383" y="1137"/>
                  </a:moveTo>
                  <a:lnTo>
                    <a:pt x="9520" y="1161"/>
                  </a:lnTo>
                  <a:lnTo>
                    <a:pt x="9656" y="1187"/>
                  </a:lnTo>
                  <a:lnTo>
                    <a:pt x="9791" y="1215"/>
                  </a:lnTo>
                  <a:lnTo>
                    <a:pt x="9924" y="1246"/>
                  </a:lnTo>
                  <a:lnTo>
                    <a:pt x="10058" y="1279"/>
                  </a:lnTo>
                  <a:lnTo>
                    <a:pt x="10189" y="1315"/>
                  </a:lnTo>
                  <a:lnTo>
                    <a:pt x="10320" y="1353"/>
                  </a:lnTo>
                  <a:lnTo>
                    <a:pt x="10450" y="1393"/>
                  </a:lnTo>
                  <a:lnTo>
                    <a:pt x="10578" y="1436"/>
                  </a:lnTo>
                  <a:lnTo>
                    <a:pt x="10706" y="1481"/>
                  </a:lnTo>
                  <a:lnTo>
                    <a:pt x="10832" y="1528"/>
                  </a:lnTo>
                  <a:lnTo>
                    <a:pt x="10958" y="1579"/>
                  </a:lnTo>
                  <a:lnTo>
                    <a:pt x="11082" y="1630"/>
                  </a:lnTo>
                  <a:lnTo>
                    <a:pt x="11205" y="1684"/>
                  </a:lnTo>
                  <a:lnTo>
                    <a:pt x="11326" y="1740"/>
                  </a:lnTo>
                  <a:lnTo>
                    <a:pt x="11446" y="1799"/>
                  </a:lnTo>
                  <a:lnTo>
                    <a:pt x="11565" y="1859"/>
                  </a:lnTo>
                  <a:lnTo>
                    <a:pt x="11683" y="1921"/>
                  </a:lnTo>
                  <a:lnTo>
                    <a:pt x="11799" y="1986"/>
                  </a:lnTo>
                  <a:lnTo>
                    <a:pt x="11914" y="2054"/>
                  </a:lnTo>
                  <a:lnTo>
                    <a:pt x="12028" y="2122"/>
                  </a:lnTo>
                  <a:lnTo>
                    <a:pt x="12140" y="2193"/>
                  </a:lnTo>
                  <a:lnTo>
                    <a:pt x="12251" y="2266"/>
                  </a:lnTo>
                  <a:lnTo>
                    <a:pt x="12360" y="2340"/>
                  </a:lnTo>
                  <a:lnTo>
                    <a:pt x="12468" y="2417"/>
                  </a:lnTo>
                  <a:lnTo>
                    <a:pt x="12574" y="2496"/>
                  </a:lnTo>
                  <a:lnTo>
                    <a:pt x="12679" y="2576"/>
                  </a:lnTo>
                  <a:lnTo>
                    <a:pt x="12782" y="2659"/>
                  </a:lnTo>
                  <a:lnTo>
                    <a:pt x="12884" y="2743"/>
                  </a:lnTo>
                  <a:lnTo>
                    <a:pt x="12983" y="2829"/>
                  </a:lnTo>
                  <a:lnTo>
                    <a:pt x="13082" y="2917"/>
                  </a:lnTo>
                  <a:lnTo>
                    <a:pt x="13178" y="3007"/>
                  </a:lnTo>
                  <a:lnTo>
                    <a:pt x="13074" y="3084"/>
                  </a:lnTo>
                  <a:lnTo>
                    <a:pt x="12968" y="3159"/>
                  </a:lnTo>
                  <a:lnTo>
                    <a:pt x="12861" y="3233"/>
                  </a:lnTo>
                  <a:lnTo>
                    <a:pt x="12752" y="3305"/>
                  </a:lnTo>
                  <a:lnTo>
                    <a:pt x="12644" y="3377"/>
                  </a:lnTo>
                  <a:lnTo>
                    <a:pt x="12533" y="3446"/>
                  </a:lnTo>
                  <a:lnTo>
                    <a:pt x="12421" y="3513"/>
                  </a:lnTo>
                  <a:lnTo>
                    <a:pt x="12308" y="3579"/>
                  </a:lnTo>
                  <a:lnTo>
                    <a:pt x="12252" y="3611"/>
                  </a:lnTo>
                  <a:lnTo>
                    <a:pt x="12194" y="3643"/>
                  </a:lnTo>
                  <a:lnTo>
                    <a:pt x="12137" y="3674"/>
                  </a:lnTo>
                  <a:lnTo>
                    <a:pt x="12078" y="3705"/>
                  </a:lnTo>
                  <a:lnTo>
                    <a:pt x="12021" y="3736"/>
                  </a:lnTo>
                  <a:lnTo>
                    <a:pt x="11962" y="3766"/>
                  </a:lnTo>
                  <a:lnTo>
                    <a:pt x="11904" y="3796"/>
                  </a:lnTo>
                  <a:lnTo>
                    <a:pt x="11844" y="3825"/>
                  </a:lnTo>
                  <a:lnTo>
                    <a:pt x="11786" y="3854"/>
                  </a:lnTo>
                  <a:lnTo>
                    <a:pt x="11726" y="3882"/>
                  </a:lnTo>
                  <a:lnTo>
                    <a:pt x="11667" y="3909"/>
                  </a:lnTo>
                  <a:lnTo>
                    <a:pt x="11606" y="3936"/>
                  </a:lnTo>
                  <a:lnTo>
                    <a:pt x="11546" y="3963"/>
                  </a:lnTo>
                  <a:lnTo>
                    <a:pt x="11485" y="3989"/>
                  </a:lnTo>
                  <a:lnTo>
                    <a:pt x="11425" y="4015"/>
                  </a:lnTo>
                  <a:lnTo>
                    <a:pt x="11363" y="4040"/>
                  </a:lnTo>
                  <a:lnTo>
                    <a:pt x="11317" y="3936"/>
                  </a:lnTo>
                  <a:lnTo>
                    <a:pt x="11271" y="3833"/>
                  </a:lnTo>
                  <a:lnTo>
                    <a:pt x="11222" y="3729"/>
                  </a:lnTo>
                  <a:lnTo>
                    <a:pt x="11173" y="3628"/>
                  </a:lnTo>
                  <a:lnTo>
                    <a:pt x="11123" y="3527"/>
                  </a:lnTo>
                  <a:lnTo>
                    <a:pt x="11072" y="3427"/>
                  </a:lnTo>
                  <a:lnTo>
                    <a:pt x="11019" y="3326"/>
                  </a:lnTo>
                  <a:lnTo>
                    <a:pt x="10966" y="3228"/>
                  </a:lnTo>
                  <a:lnTo>
                    <a:pt x="10911" y="3130"/>
                  </a:lnTo>
                  <a:lnTo>
                    <a:pt x="10855" y="3034"/>
                  </a:lnTo>
                  <a:lnTo>
                    <a:pt x="10799" y="2938"/>
                  </a:lnTo>
                  <a:lnTo>
                    <a:pt x="10741" y="2842"/>
                  </a:lnTo>
                  <a:lnTo>
                    <a:pt x="10683" y="2748"/>
                  </a:lnTo>
                  <a:lnTo>
                    <a:pt x="10623" y="2654"/>
                  </a:lnTo>
                  <a:lnTo>
                    <a:pt x="10562" y="2562"/>
                  </a:lnTo>
                  <a:lnTo>
                    <a:pt x="10500" y="2471"/>
                  </a:lnTo>
                  <a:lnTo>
                    <a:pt x="10437" y="2379"/>
                  </a:lnTo>
                  <a:lnTo>
                    <a:pt x="10374" y="2290"/>
                  </a:lnTo>
                  <a:lnTo>
                    <a:pt x="10309" y="2201"/>
                  </a:lnTo>
                  <a:lnTo>
                    <a:pt x="10243" y="2113"/>
                  </a:lnTo>
                  <a:lnTo>
                    <a:pt x="10177" y="2027"/>
                  </a:lnTo>
                  <a:lnTo>
                    <a:pt x="10109" y="1940"/>
                  </a:lnTo>
                  <a:lnTo>
                    <a:pt x="10041" y="1855"/>
                  </a:lnTo>
                  <a:lnTo>
                    <a:pt x="9971" y="1771"/>
                  </a:lnTo>
                  <a:lnTo>
                    <a:pt x="9901" y="1689"/>
                  </a:lnTo>
                  <a:lnTo>
                    <a:pt x="9830" y="1607"/>
                  </a:lnTo>
                  <a:lnTo>
                    <a:pt x="9758" y="1525"/>
                  </a:lnTo>
                  <a:lnTo>
                    <a:pt x="9685" y="1446"/>
                  </a:lnTo>
                  <a:lnTo>
                    <a:pt x="9610" y="1367"/>
                  </a:lnTo>
                  <a:lnTo>
                    <a:pt x="9536" y="1289"/>
                  </a:lnTo>
                  <a:lnTo>
                    <a:pt x="9460" y="1213"/>
                  </a:lnTo>
                  <a:lnTo>
                    <a:pt x="9383" y="1137"/>
                  </a:lnTo>
                  <a:close/>
                  <a:moveTo>
                    <a:pt x="8502" y="1049"/>
                  </a:moveTo>
                  <a:lnTo>
                    <a:pt x="8595" y="1126"/>
                  </a:lnTo>
                  <a:lnTo>
                    <a:pt x="8687" y="1205"/>
                  </a:lnTo>
                  <a:lnTo>
                    <a:pt x="8778" y="1285"/>
                  </a:lnTo>
                  <a:lnTo>
                    <a:pt x="8867" y="1366"/>
                  </a:lnTo>
                  <a:lnTo>
                    <a:pt x="8957" y="1449"/>
                  </a:lnTo>
                  <a:lnTo>
                    <a:pt x="9044" y="1534"/>
                  </a:lnTo>
                  <a:lnTo>
                    <a:pt x="9130" y="1621"/>
                  </a:lnTo>
                  <a:lnTo>
                    <a:pt x="9215" y="1709"/>
                  </a:lnTo>
                  <a:lnTo>
                    <a:pt x="9299" y="1798"/>
                  </a:lnTo>
                  <a:lnTo>
                    <a:pt x="9382" y="1888"/>
                  </a:lnTo>
                  <a:lnTo>
                    <a:pt x="9464" y="1980"/>
                  </a:lnTo>
                  <a:lnTo>
                    <a:pt x="9544" y="2074"/>
                  </a:lnTo>
                  <a:lnTo>
                    <a:pt x="9623" y="2169"/>
                  </a:lnTo>
                  <a:lnTo>
                    <a:pt x="9701" y="2265"/>
                  </a:lnTo>
                  <a:lnTo>
                    <a:pt x="9778" y="2363"/>
                  </a:lnTo>
                  <a:lnTo>
                    <a:pt x="9852" y="2463"/>
                  </a:lnTo>
                  <a:lnTo>
                    <a:pt x="9926" y="2563"/>
                  </a:lnTo>
                  <a:lnTo>
                    <a:pt x="9999" y="2664"/>
                  </a:lnTo>
                  <a:lnTo>
                    <a:pt x="10070" y="2767"/>
                  </a:lnTo>
                  <a:lnTo>
                    <a:pt x="10140" y="2871"/>
                  </a:lnTo>
                  <a:lnTo>
                    <a:pt x="10209" y="2978"/>
                  </a:lnTo>
                  <a:lnTo>
                    <a:pt x="10275" y="3084"/>
                  </a:lnTo>
                  <a:lnTo>
                    <a:pt x="10341" y="3192"/>
                  </a:lnTo>
                  <a:lnTo>
                    <a:pt x="10406" y="3301"/>
                  </a:lnTo>
                  <a:lnTo>
                    <a:pt x="10468" y="3412"/>
                  </a:lnTo>
                  <a:lnTo>
                    <a:pt x="10530" y="3524"/>
                  </a:lnTo>
                  <a:lnTo>
                    <a:pt x="10589" y="3637"/>
                  </a:lnTo>
                  <a:lnTo>
                    <a:pt x="10648" y="3750"/>
                  </a:lnTo>
                  <a:lnTo>
                    <a:pt x="10705" y="3866"/>
                  </a:lnTo>
                  <a:lnTo>
                    <a:pt x="10761" y="3982"/>
                  </a:lnTo>
                  <a:lnTo>
                    <a:pt x="10815" y="4099"/>
                  </a:lnTo>
                  <a:lnTo>
                    <a:pt x="10867" y="4217"/>
                  </a:lnTo>
                  <a:lnTo>
                    <a:pt x="10797" y="4242"/>
                  </a:lnTo>
                  <a:lnTo>
                    <a:pt x="10725" y="4264"/>
                  </a:lnTo>
                  <a:lnTo>
                    <a:pt x="10654" y="4286"/>
                  </a:lnTo>
                  <a:lnTo>
                    <a:pt x="10582" y="4308"/>
                  </a:lnTo>
                  <a:lnTo>
                    <a:pt x="10510" y="4328"/>
                  </a:lnTo>
                  <a:lnTo>
                    <a:pt x="10437" y="4348"/>
                  </a:lnTo>
                  <a:lnTo>
                    <a:pt x="10366" y="4368"/>
                  </a:lnTo>
                  <a:lnTo>
                    <a:pt x="10293" y="4387"/>
                  </a:lnTo>
                  <a:lnTo>
                    <a:pt x="10219" y="4405"/>
                  </a:lnTo>
                  <a:lnTo>
                    <a:pt x="10146" y="4423"/>
                  </a:lnTo>
                  <a:lnTo>
                    <a:pt x="10072" y="4439"/>
                  </a:lnTo>
                  <a:lnTo>
                    <a:pt x="9998" y="4456"/>
                  </a:lnTo>
                  <a:lnTo>
                    <a:pt x="9924" y="4471"/>
                  </a:lnTo>
                  <a:lnTo>
                    <a:pt x="9850" y="4486"/>
                  </a:lnTo>
                  <a:lnTo>
                    <a:pt x="9775" y="4501"/>
                  </a:lnTo>
                  <a:lnTo>
                    <a:pt x="9701" y="4514"/>
                  </a:lnTo>
                  <a:lnTo>
                    <a:pt x="9626" y="4527"/>
                  </a:lnTo>
                  <a:lnTo>
                    <a:pt x="9551" y="4540"/>
                  </a:lnTo>
                  <a:lnTo>
                    <a:pt x="9475" y="4551"/>
                  </a:lnTo>
                  <a:lnTo>
                    <a:pt x="9400" y="4562"/>
                  </a:lnTo>
                  <a:lnTo>
                    <a:pt x="9324" y="4573"/>
                  </a:lnTo>
                  <a:lnTo>
                    <a:pt x="9247" y="4582"/>
                  </a:lnTo>
                  <a:lnTo>
                    <a:pt x="9171" y="4591"/>
                  </a:lnTo>
                  <a:lnTo>
                    <a:pt x="9094" y="4600"/>
                  </a:lnTo>
                  <a:lnTo>
                    <a:pt x="9018" y="4607"/>
                  </a:lnTo>
                  <a:lnTo>
                    <a:pt x="8940" y="4614"/>
                  </a:lnTo>
                  <a:lnTo>
                    <a:pt x="8863" y="4621"/>
                  </a:lnTo>
                  <a:lnTo>
                    <a:pt x="8786" y="4626"/>
                  </a:lnTo>
                  <a:lnTo>
                    <a:pt x="8708" y="4631"/>
                  </a:lnTo>
                  <a:lnTo>
                    <a:pt x="8630" y="4635"/>
                  </a:lnTo>
                  <a:lnTo>
                    <a:pt x="8552" y="4639"/>
                  </a:lnTo>
                  <a:lnTo>
                    <a:pt x="8474" y="4642"/>
                  </a:lnTo>
                  <a:lnTo>
                    <a:pt x="8474" y="1047"/>
                  </a:lnTo>
                  <a:lnTo>
                    <a:pt x="8489" y="1048"/>
                  </a:lnTo>
                  <a:lnTo>
                    <a:pt x="8502" y="1049"/>
                  </a:lnTo>
                  <a:close/>
                  <a:moveTo>
                    <a:pt x="7917" y="14987"/>
                  </a:moveTo>
                  <a:lnTo>
                    <a:pt x="7835" y="14918"/>
                  </a:lnTo>
                  <a:lnTo>
                    <a:pt x="7754" y="14850"/>
                  </a:lnTo>
                  <a:lnTo>
                    <a:pt x="7673" y="14779"/>
                  </a:lnTo>
                  <a:lnTo>
                    <a:pt x="7594" y="14708"/>
                  </a:lnTo>
                  <a:lnTo>
                    <a:pt x="7515" y="14636"/>
                  </a:lnTo>
                  <a:lnTo>
                    <a:pt x="7437" y="14562"/>
                  </a:lnTo>
                  <a:lnTo>
                    <a:pt x="7360" y="14487"/>
                  </a:lnTo>
                  <a:lnTo>
                    <a:pt x="7284" y="14410"/>
                  </a:lnTo>
                  <a:lnTo>
                    <a:pt x="7209" y="14333"/>
                  </a:lnTo>
                  <a:lnTo>
                    <a:pt x="7135" y="14255"/>
                  </a:lnTo>
                  <a:lnTo>
                    <a:pt x="7061" y="14175"/>
                  </a:lnTo>
                  <a:lnTo>
                    <a:pt x="6989" y="14095"/>
                  </a:lnTo>
                  <a:lnTo>
                    <a:pt x="6919" y="14012"/>
                  </a:lnTo>
                  <a:lnTo>
                    <a:pt x="6848" y="13930"/>
                  </a:lnTo>
                  <a:lnTo>
                    <a:pt x="6778" y="13846"/>
                  </a:lnTo>
                  <a:lnTo>
                    <a:pt x="6710" y="13761"/>
                  </a:lnTo>
                  <a:lnTo>
                    <a:pt x="6643" y="13675"/>
                  </a:lnTo>
                  <a:lnTo>
                    <a:pt x="6576" y="13588"/>
                  </a:lnTo>
                  <a:lnTo>
                    <a:pt x="6511" y="13499"/>
                  </a:lnTo>
                  <a:lnTo>
                    <a:pt x="6447" y="13410"/>
                  </a:lnTo>
                  <a:lnTo>
                    <a:pt x="6383" y="13319"/>
                  </a:lnTo>
                  <a:lnTo>
                    <a:pt x="6321" y="13228"/>
                  </a:lnTo>
                  <a:lnTo>
                    <a:pt x="6260" y="13135"/>
                  </a:lnTo>
                  <a:lnTo>
                    <a:pt x="6199" y="13042"/>
                  </a:lnTo>
                  <a:lnTo>
                    <a:pt x="6141" y="12948"/>
                  </a:lnTo>
                  <a:lnTo>
                    <a:pt x="6082" y="12853"/>
                  </a:lnTo>
                  <a:lnTo>
                    <a:pt x="6026" y="12757"/>
                  </a:lnTo>
                  <a:lnTo>
                    <a:pt x="5969" y="12659"/>
                  </a:lnTo>
                  <a:lnTo>
                    <a:pt x="5915" y="12561"/>
                  </a:lnTo>
                  <a:lnTo>
                    <a:pt x="5862" y="12462"/>
                  </a:lnTo>
                  <a:lnTo>
                    <a:pt x="5809" y="12363"/>
                  </a:lnTo>
                  <a:lnTo>
                    <a:pt x="5758" y="12262"/>
                  </a:lnTo>
                  <a:lnTo>
                    <a:pt x="5823" y="12242"/>
                  </a:lnTo>
                  <a:lnTo>
                    <a:pt x="5888" y="12223"/>
                  </a:lnTo>
                  <a:lnTo>
                    <a:pt x="5954" y="12204"/>
                  </a:lnTo>
                  <a:lnTo>
                    <a:pt x="6020" y="12187"/>
                  </a:lnTo>
                  <a:lnTo>
                    <a:pt x="6086" y="12169"/>
                  </a:lnTo>
                  <a:lnTo>
                    <a:pt x="6152" y="12153"/>
                  </a:lnTo>
                  <a:lnTo>
                    <a:pt x="6219" y="12136"/>
                  </a:lnTo>
                  <a:lnTo>
                    <a:pt x="6285" y="12121"/>
                  </a:lnTo>
                  <a:lnTo>
                    <a:pt x="6352" y="12106"/>
                  </a:lnTo>
                  <a:lnTo>
                    <a:pt x="6420" y="12091"/>
                  </a:lnTo>
                  <a:lnTo>
                    <a:pt x="6487" y="12077"/>
                  </a:lnTo>
                  <a:lnTo>
                    <a:pt x="6554" y="12064"/>
                  </a:lnTo>
                  <a:lnTo>
                    <a:pt x="6622" y="12051"/>
                  </a:lnTo>
                  <a:lnTo>
                    <a:pt x="6691" y="12039"/>
                  </a:lnTo>
                  <a:lnTo>
                    <a:pt x="6758" y="12027"/>
                  </a:lnTo>
                  <a:lnTo>
                    <a:pt x="6827" y="12016"/>
                  </a:lnTo>
                  <a:lnTo>
                    <a:pt x="6895" y="12005"/>
                  </a:lnTo>
                  <a:lnTo>
                    <a:pt x="6964" y="11995"/>
                  </a:lnTo>
                  <a:lnTo>
                    <a:pt x="7033" y="11986"/>
                  </a:lnTo>
                  <a:lnTo>
                    <a:pt x="7102" y="11976"/>
                  </a:lnTo>
                  <a:lnTo>
                    <a:pt x="7171" y="11968"/>
                  </a:lnTo>
                  <a:lnTo>
                    <a:pt x="7241" y="11960"/>
                  </a:lnTo>
                  <a:lnTo>
                    <a:pt x="7311" y="11953"/>
                  </a:lnTo>
                  <a:lnTo>
                    <a:pt x="7380" y="11946"/>
                  </a:lnTo>
                  <a:lnTo>
                    <a:pt x="7450" y="11940"/>
                  </a:lnTo>
                  <a:lnTo>
                    <a:pt x="7521" y="11934"/>
                  </a:lnTo>
                  <a:lnTo>
                    <a:pt x="7591" y="11929"/>
                  </a:lnTo>
                  <a:lnTo>
                    <a:pt x="7662" y="11924"/>
                  </a:lnTo>
                  <a:lnTo>
                    <a:pt x="7732" y="11920"/>
                  </a:lnTo>
                  <a:lnTo>
                    <a:pt x="7803" y="11916"/>
                  </a:lnTo>
                  <a:lnTo>
                    <a:pt x="7874" y="11913"/>
                  </a:lnTo>
                  <a:lnTo>
                    <a:pt x="7945" y="11911"/>
                  </a:lnTo>
                  <a:lnTo>
                    <a:pt x="7945" y="14988"/>
                  </a:lnTo>
                  <a:lnTo>
                    <a:pt x="7917" y="14987"/>
                  </a:lnTo>
                  <a:close/>
                  <a:moveTo>
                    <a:pt x="15347" y="7759"/>
                  </a:moveTo>
                  <a:lnTo>
                    <a:pt x="12171" y="7759"/>
                  </a:lnTo>
                  <a:lnTo>
                    <a:pt x="12168" y="7652"/>
                  </a:lnTo>
                  <a:lnTo>
                    <a:pt x="12163" y="7545"/>
                  </a:lnTo>
                  <a:lnTo>
                    <a:pt x="12157" y="7439"/>
                  </a:lnTo>
                  <a:lnTo>
                    <a:pt x="12151" y="7332"/>
                  </a:lnTo>
                  <a:lnTo>
                    <a:pt x="12144" y="7226"/>
                  </a:lnTo>
                  <a:lnTo>
                    <a:pt x="12136" y="7120"/>
                  </a:lnTo>
                  <a:lnTo>
                    <a:pt x="12126" y="7015"/>
                  </a:lnTo>
                  <a:lnTo>
                    <a:pt x="12115" y="6911"/>
                  </a:lnTo>
                  <a:lnTo>
                    <a:pt x="12104" y="6805"/>
                  </a:lnTo>
                  <a:lnTo>
                    <a:pt x="12092" y="6701"/>
                  </a:lnTo>
                  <a:lnTo>
                    <a:pt x="12078" y="6598"/>
                  </a:lnTo>
                  <a:lnTo>
                    <a:pt x="12063" y="6494"/>
                  </a:lnTo>
                  <a:lnTo>
                    <a:pt x="12047" y="6391"/>
                  </a:lnTo>
                  <a:lnTo>
                    <a:pt x="12031" y="6288"/>
                  </a:lnTo>
                  <a:lnTo>
                    <a:pt x="12014" y="6186"/>
                  </a:lnTo>
                  <a:lnTo>
                    <a:pt x="11995" y="6084"/>
                  </a:lnTo>
                  <a:lnTo>
                    <a:pt x="11976" y="5982"/>
                  </a:lnTo>
                  <a:lnTo>
                    <a:pt x="11954" y="5881"/>
                  </a:lnTo>
                  <a:lnTo>
                    <a:pt x="11933" y="5781"/>
                  </a:lnTo>
                  <a:lnTo>
                    <a:pt x="11910" y="5681"/>
                  </a:lnTo>
                  <a:lnTo>
                    <a:pt x="11886" y="5582"/>
                  </a:lnTo>
                  <a:lnTo>
                    <a:pt x="11862" y="5482"/>
                  </a:lnTo>
                  <a:lnTo>
                    <a:pt x="11836" y="5383"/>
                  </a:lnTo>
                  <a:lnTo>
                    <a:pt x="11810" y="5285"/>
                  </a:lnTo>
                  <a:lnTo>
                    <a:pt x="11783" y="5188"/>
                  </a:lnTo>
                  <a:lnTo>
                    <a:pt x="11754" y="5090"/>
                  </a:lnTo>
                  <a:lnTo>
                    <a:pt x="11724" y="4993"/>
                  </a:lnTo>
                  <a:lnTo>
                    <a:pt x="11694" y="4897"/>
                  </a:lnTo>
                  <a:lnTo>
                    <a:pt x="11663" y="4801"/>
                  </a:lnTo>
                  <a:lnTo>
                    <a:pt x="11630" y="4706"/>
                  </a:lnTo>
                  <a:lnTo>
                    <a:pt x="11597" y="4611"/>
                  </a:lnTo>
                  <a:lnTo>
                    <a:pt x="11563" y="4517"/>
                  </a:lnTo>
                  <a:lnTo>
                    <a:pt x="11630" y="4489"/>
                  </a:lnTo>
                  <a:lnTo>
                    <a:pt x="11695" y="4461"/>
                  </a:lnTo>
                  <a:lnTo>
                    <a:pt x="11762" y="4432"/>
                  </a:lnTo>
                  <a:lnTo>
                    <a:pt x="11828" y="4403"/>
                  </a:lnTo>
                  <a:lnTo>
                    <a:pt x="11894" y="4374"/>
                  </a:lnTo>
                  <a:lnTo>
                    <a:pt x="11959" y="4343"/>
                  </a:lnTo>
                  <a:lnTo>
                    <a:pt x="12024" y="4312"/>
                  </a:lnTo>
                  <a:lnTo>
                    <a:pt x="12088" y="4281"/>
                  </a:lnTo>
                  <a:lnTo>
                    <a:pt x="12153" y="4249"/>
                  </a:lnTo>
                  <a:lnTo>
                    <a:pt x="12217" y="4216"/>
                  </a:lnTo>
                  <a:lnTo>
                    <a:pt x="12280" y="4183"/>
                  </a:lnTo>
                  <a:lnTo>
                    <a:pt x="12344" y="4150"/>
                  </a:lnTo>
                  <a:lnTo>
                    <a:pt x="12407" y="4116"/>
                  </a:lnTo>
                  <a:lnTo>
                    <a:pt x="12469" y="4081"/>
                  </a:lnTo>
                  <a:lnTo>
                    <a:pt x="12532" y="4046"/>
                  </a:lnTo>
                  <a:lnTo>
                    <a:pt x="12593" y="4011"/>
                  </a:lnTo>
                  <a:lnTo>
                    <a:pt x="12655" y="3975"/>
                  </a:lnTo>
                  <a:lnTo>
                    <a:pt x="12717" y="3939"/>
                  </a:lnTo>
                  <a:lnTo>
                    <a:pt x="12778" y="3902"/>
                  </a:lnTo>
                  <a:lnTo>
                    <a:pt x="12839" y="3865"/>
                  </a:lnTo>
                  <a:lnTo>
                    <a:pt x="12899" y="3827"/>
                  </a:lnTo>
                  <a:lnTo>
                    <a:pt x="12959" y="3789"/>
                  </a:lnTo>
                  <a:lnTo>
                    <a:pt x="13019" y="3749"/>
                  </a:lnTo>
                  <a:lnTo>
                    <a:pt x="13078" y="3710"/>
                  </a:lnTo>
                  <a:lnTo>
                    <a:pt x="13137" y="3670"/>
                  </a:lnTo>
                  <a:lnTo>
                    <a:pt x="13196" y="3630"/>
                  </a:lnTo>
                  <a:lnTo>
                    <a:pt x="13254" y="3590"/>
                  </a:lnTo>
                  <a:lnTo>
                    <a:pt x="13313" y="3549"/>
                  </a:lnTo>
                  <a:lnTo>
                    <a:pt x="13370" y="3507"/>
                  </a:lnTo>
                  <a:lnTo>
                    <a:pt x="13428" y="3466"/>
                  </a:lnTo>
                  <a:lnTo>
                    <a:pt x="13485" y="3423"/>
                  </a:lnTo>
                  <a:lnTo>
                    <a:pt x="13542" y="3381"/>
                  </a:lnTo>
                  <a:lnTo>
                    <a:pt x="13641" y="3492"/>
                  </a:lnTo>
                  <a:lnTo>
                    <a:pt x="13738" y="3605"/>
                  </a:lnTo>
                  <a:lnTo>
                    <a:pt x="13832" y="3719"/>
                  </a:lnTo>
                  <a:lnTo>
                    <a:pt x="13924" y="3837"/>
                  </a:lnTo>
                  <a:lnTo>
                    <a:pt x="14014" y="3956"/>
                  </a:lnTo>
                  <a:lnTo>
                    <a:pt x="14101" y="4076"/>
                  </a:lnTo>
                  <a:lnTo>
                    <a:pt x="14185" y="4199"/>
                  </a:lnTo>
                  <a:lnTo>
                    <a:pt x="14266" y="4324"/>
                  </a:lnTo>
                  <a:lnTo>
                    <a:pt x="14346" y="4450"/>
                  </a:lnTo>
                  <a:lnTo>
                    <a:pt x="14422" y="4578"/>
                  </a:lnTo>
                  <a:lnTo>
                    <a:pt x="14496" y="4708"/>
                  </a:lnTo>
                  <a:lnTo>
                    <a:pt x="14567" y="4839"/>
                  </a:lnTo>
                  <a:lnTo>
                    <a:pt x="14634" y="4972"/>
                  </a:lnTo>
                  <a:lnTo>
                    <a:pt x="14700" y="5106"/>
                  </a:lnTo>
                  <a:lnTo>
                    <a:pt x="14763" y="5243"/>
                  </a:lnTo>
                  <a:lnTo>
                    <a:pt x="14822" y="5380"/>
                  </a:lnTo>
                  <a:lnTo>
                    <a:pt x="14879" y="5519"/>
                  </a:lnTo>
                  <a:lnTo>
                    <a:pt x="14932" y="5660"/>
                  </a:lnTo>
                  <a:lnTo>
                    <a:pt x="14982" y="5802"/>
                  </a:lnTo>
                  <a:lnTo>
                    <a:pt x="15031" y="5945"/>
                  </a:lnTo>
                  <a:lnTo>
                    <a:pt x="15075" y="6090"/>
                  </a:lnTo>
                  <a:lnTo>
                    <a:pt x="15116" y="6236"/>
                  </a:lnTo>
                  <a:lnTo>
                    <a:pt x="15154" y="6383"/>
                  </a:lnTo>
                  <a:lnTo>
                    <a:pt x="15189" y="6532"/>
                  </a:lnTo>
                  <a:lnTo>
                    <a:pt x="15220" y="6681"/>
                  </a:lnTo>
                  <a:lnTo>
                    <a:pt x="15248" y="6832"/>
                  </a:lnTo>
                  <a:lnTo>
                    <a:pt x="15273" y="6984"/>
                  </a:lnTo>
                  <a:lnTo>
                    <a:pt x="15294" y="7137"/>
                  </a:lnTo>
                  <a:lnTo>
                    <a:pt x="15313" y="7291"/>
                  </a:lnTo>
                  <a:lnTo>
                    <a:pt x="15327" y="7446"/>
                  </a:lnTo>
                  <a:lnTo>
                    <a:pt x="15338" y="7602"/>
                  </a:lnTo>
                  <a:lnTo>
                    <a:pt x="15347" y="7759"/>
                  </a:lnTo>
                  <a:close/>
                  <a:moveTo>
                    <a:pt x="8210" y="0"/>
                  </a:moveTo>
                  <a:lnTo>
                    <a:pt x="7787" y="10"/>
                  </a:lnTo>
                  <a:lnTo>
                    <a:pt x="7370" y="41"/>
                  </a:lnTo>
                  <a:lnTo>
                    <a:pt x="6960" y="92"/>
                  </a:lnTo>
                  <a:lnTo>
                    <a:pt x="6555" y="162"/>
                  </a:lnTo>
                  <a:lnTo>
                    <a:pt x="6158" y="253"/>
                  </a:lnTo>
                  <a:lnTo>
                    <a:pt x="5768" y="361"/>
                  </a:lnTo>
                  <a:lnTo>
                    <a:pt x="5386" y="486"/>
                  </a:lnTo>
                  <a:lnTo>
                    <a:pt x="5014" y="630"/>
                  </a:lnTo>
                  <a:lnTo>
                    <a:pt x="4651" y="791"/>
                  </a:lnTo>
                  <a:lnTo>
                    <a:pt x="4297" y="967"/>
                  </a:lnTo>
                  <a:lnTo>
                    <a:pt x="3953" y="1161"/>
                  </a:lnTo>
                  <a:lnTo>
                    <a:pt x="3619" y="1369"/>
                  </a:lnTo>
                  <a:lnTo>
                    <a:pt x="3298" y="1593"/>
                  </a:lnTo>
                  <a:lnTo>
                    <a:pt x="2987" y="1831"/>
                  </a:lnTo>
                  <a:lnTo>
                    <a:pt x="2690" y="2083"/>
                  </a:lnTo>
                  <a:lnTo>
                    <a:pt x="2404" y="2348"/>
                  </a:lnTo>
                  <a:lnTo>
                    <a:pt x="2132" y="2627"/>
                  </a:lnTo>
                  <a:lnTo>
                    <a:pt x="1875" y="2918"/>
                  </a:lnTo>
                  <a:lnTo>
                    <a:pt x="1631" y="3220"/>
                  </a:lnTo>
                  <a:lnTo>
                    <a:pt x="1402" y="3535"/>
                  </a:lnTo>
                  <a:lnTo>
                    <a:pt x="1188" y="3861"/>
                  </a:lnTo>
                  <a:lnTo>
                    <a:pt x="991" y="4195"/>
                  </a:lnTo>
                  <a:lnTo>
                    <a:pt x="810" y="4541"/>
                  </a:lnTo>
                  <a:lnTo>
                    <a:pt x="645" y="4897"/>
                  </a:lnTo>
                  <a:lnTo>
                    <a:pt x="498" y="5261"/>
                  </a:lnTo>
                  <a:lnTo>
                    <a:pt x="369" y="5634"/>
                  </a:lnTo>
                  <a:lnTo>
                    <a:pt x="259" y="6014"/>
                  </a:lnTo>
                  <a:lnTo>
                    <a:pt x="167" y="6402"/>
                  </a:lnTo>
                  <a:lnTo>
                    <a:pt x="94" y="6797"/>
                  </a:lnTo>
                  <a:lnTo>
                    <a:pt x="42" y="7198"/>
                  </a:lnTo>
                  <a:lnTo>
                    <a:pt x="10" y="7605"/>
                  </a:lnTo>
                  <a:lnTo>
                    <a:pt x="0" y="8018"/>
                  </a:lnTo>
                  <a:lnTo>
                    <a:pt x="10" y="8431"/>
                  </a:lnTo>
                  <a:lnTo>
                    <a:pt x="42" y="8838"/>
                  </a:lnTo>
                  <a:lnTo>
                    <a:pt x="94" y="9239"/>
                  </a:lnTo>
                  <a:lnTo>
                    <a:pt x="167" y="9634"/>
                  </a:lnTo>
                  <a:lnTo>
                    <a:pt x="259" y="10021"/>
                  </a:lnTo>
                  <a:lnTo>
                    <a:pt x="369" y="10402"/>
                  </a:lnTo>
                  <a:lnTo>
                    <a:pt x="498" y="10774"/>
                  </a:lnTo>
                  <a:lnTo>
                    <a:pt x="645" y="11139"/>
                  </a:lnTo>
                  <a:lnTo>
                    <a:pt x="810" y="11494"/>
                  </a:lnTo>
                  <a:lnTo>
                    <a:pt x="991" y="11840"/>
                  </a:lnTo>
                  <a:lnTo>
                    <a:pt x="1188" y="12175"/>
                  </a:lnTo>
                  <a:lnTo>
                    <a:pt x="1402" y="12501"/>
                  </a:lnTo>
                  <a:lnTo>
                    <a:pt x="1631" y="12815"/>
                  </a:lnTo>
                  <a:lnTo>
                    <a:pt x="1875" y="13118"/>
                  </a:lnTo>
                  <a:lnTo>
                    <a:pt x="2132" y="13409"/>
                  </a:lnTo>
                  <a:lnTo>
                    <a:pt x="2404" y="13688"/>
                  </a:lnTo>
                  <a:lnTo>
                    <a:pt x="2690" y="13953"/>
                  </a:lnTo>
                  <a:lnTo>
                    <a:pt x="2987" y="14205"/>
                  </a:lnTo>
                  <a:lnTo>
                    <a:pt x="3298" y="14443"/>
                  </a:lnTo>
                  <a:lnTo>
                    <a:pt x="3619" y="14667"/>
                  </a:lnTo>
                  <a:lnTo>
                    <a:pt x="3953" y="14875"/>
                  </a:lnTo>
                  <a:lnTo>
                    <a:pt x="4297" y="15068"/>
                  </a:lnTo>
                  <a:lnTo>
                    <a:pt x="4651" y="15245"/>
                  </a:lnTo>
                  <a:lnTo>
                    <a:pt x="5014" y="15406"/>
                  </a:lnTo>
                  <a:lnTo>
                    <a:pt x="5386" y="15550"/>
                  </a:lnTo>
                  <a:lnTo>
                    <a:pt x="5768" y="15675"/>
                  </a:lnTo>
                  <a:lnTo>
                    <a:pt x="6158" y="15783"/>
                  </a:lnTo>
                  <a:lnTo>
                    <a:pt x="6555" y="15873"/>
                  </a:lnTo>
                  <a:lnTo>
                    <a:pt x="6960" y="15944"/>
                  </a:lnTo>
                  <a:lnTo>
                    <a:pt x="7370" y="15995"/>
                  </a:lnTo>
                  <a:lnTo>
                    <a:pt x="7787" y="16026"/>
                  </a:lnTo>
                  <a:lnTo>
                    <a:pt x="8210" y="16036"/>
                  </a:lnTo>
                  <a:lnTo>
                    <a:pt x="8632" y="16026"/>
                  </a:lnTo>
                  <a:lnTo>
                    <a:pt x="9049" y="15995"/>
                  </a:lnTo>
                  <a:lnTo>
                    <a:pt x="9459" y="15944"/>
                  </a:lnTo>
                  <a:lnTo>
                    <a:pt x="9864" y="15873"/>
                  </a:lnTo>
                  <a:lnTo>
                    <a:pt x="10261" y="15783"/>
                  </a:lnTo>
                  <a:lnTo>
                    <a:pt x="10651" y="15675"/>
                  </a:lnTo>
                  <a:lnTo>
                    <a:pt x="11033" y="15550"/>
                  </a:lnTo>
                  <a:lnTo>
                    <a:pt x="11405" y="15406"/>
                  </a:lnTo>
                  <a:lnTo>
                    <a:pt x="11768" y="15245"/>
                  </a:lnTo>
                  <a:lnTo>
                    <a:pt x="12122" y="15068"/>
                  </a:lnTo>
                  <a:lnTo>
                    <a:pt x="12466" y="14875"/>
                  </a:lnTo>
                  <a:lnTo>
                    <a:pt x="12800" y="14667"/>
                  </a:lnTo>
                  <a:lnTo>
                    <a:pt x="13122" y="14443"/>
                  </a:lnTo>
                  <a:lnTo>
                    <a:pt x="13432" y="14205"/>
                  </a:lnTo>
                  <a:lnTo>
                    <a:pt x="13729" y="13953"/>
                  </a:lnTo>
                  <a:lnTo>
                    <a:pt x="14015" y="13688"/>
                  </a:lnTo>
                  <a:lnTo>
                    <a:pt x="14287" y="13409"/>
                  </a:lnTo>
                  <a:lnTo>
                    <a:pt x="14544" y="13118"/>
                  </a:lnTo>
                  <a:lnTo>
                    <a:pt x="14788" y="12815"/>
                  </a:lnTo>
                  <a:lnTo>
                    <a:pt x="15017" y="12501"/>
                  </a:lnTo>
                  <a:lnTo>
                    <a:pt x="15231" y="12175"/>
                  </a:lnTo>
                  <a:lnTo>
                    <a:pt x="15428" y="11840"/>
                  </a:lnTo>
                  <a:lnTo>
                    <a:pt x="15609" y="11494"/>
                  </a:lnTo>
                  <a:lnTo>
                    <a:pt x="15774" y="11139"/>
                  </a:lnTo>
                  <a:lnTo>
                    <a:pt x="15921" y="10774"/>
                  </a:lnTo>
                  <a:lnTo>
                    <a:pt x="16050" y="10402"/>
                  </a:lnTo>
                  <a:lnTo>
                    <a:pt x="16160" y="10021"/>
                  </a:lnTo>
                  <a:lnTo>
                    <a:pt x="16253" y="9634"/>
                  </a:lnTo>
                  <a:lnTo>
                    <a:pt x="16325" y="9239"/>
                  </a:lnTo>
                  <a:lnTo>
                    <a:pt x="16377" y="8838"/>
                  </a:lnTo>
                  <a:lnTo>
                    <a:pt x="16409" y="8431"/>
                  </a:lnTo>
                  <a:lnTo>
                    <a:pt x="16419" y="8018"/>
                  </a:lnTo>
                  <a:lnTo>
                    <a:pt x="16409" y="7605"/>
                  </a:lnTo>
                  <a:lnTo>
                    <a:pt x="16377" y="7198"/>
                  </a:lnTo>
                  <a:lnTo>
                    <a:pt x="16325" y="6797"/>
                  </a:lnTo>
                  <a:lnTo>
                    <a:pt x="16253" y="6402"/>
                  </a:lnTo>
                  <a:lnTo>
                    <a:pt x="16160" y="6014"/>
                  </a:lnTo>
                  <a:lnTo>
                    <a:pt x="16050" y="5634"/>
                  </a:lnTo>
                  <a:lnTo>
                    <a:pt x="15921" y="5261"/>
                  </a:lnTo>
                  <a:lnTo>
                    <a:pt x="15774" y="4897"/>
                  </a:lnTo>
                  <a:lnTo>
                    <a:pt x="15609" y="4541"/>
                  </a:lnTo>
                  <a:lnTo>
                    <a:pt x="15428" y="4195"/>
                  </a:lnTo>
                  <a:lnTo>
                    <a:pt x="15231" y="3861"/>
                  </a:lnTo>
                  <a:lnTo>
                    <a:pt x="15017" y="3535"/>
                  </a:lnTo>
                  <a:lnTo>
                    <a:pt x="14788" y="3220"/>
                  </a:lnTo>
                  <a:lnTo>
                    <a:pt x="14544" y="2918"/>
                  </a:lnTo>
                  <a:lnTo>
                    <a:pt x="14287" y="2627"/>
                  </a:lnTo>
                  <a:lnTo>
                    <a:pt x="14015" y="2348"/>
                  </a:lnTo>
                  <a:lnTo>
                    <a:pt x="13729" y="2083"/>
                  </a:lnTo>
                  <a:lnTo>
                    <a:pt x="13432" y="1831"/>
                  </a:lnTo>
                  <a:lnTo>
                    <a:pt x="13122" y="1593"/>
                  </a:lnTo>
                  <a:lnTo>
                    <a:pt x="12800" y="1369"/>
                  </a:lnTo>
                  <a:lnTo>
                    <a:pt x="12466" y="1161"/>
                  </a:lnTo>
                  <a:lnTo>
                    <a:pt x="12122" y="967"/>
                  </a:lnTo>
                  <a:lnTo>
                    <a:pt x="11768" y="791"/>
                  </a:lnTo>
                  <a:lnTo>
                    <a:pt x="11405" y="630"/>
                  </a:lnTo>
                  <a:lnTo>
                    <a:pt x="11033" y="486"/>
                  </a:lnTo>
                  <a:lnTo>
                    <a:pt x="10651" y="361"/>
                  </a:lnTo>
                  <a:lnTo>
                    <a:pt x="10261" y="253"/>
                  </a:lnTo>
                  <a:lnTo>
                    <a:pt x="9864" y="162"/>
                  </a:lnTo>
                  <a:lnTo>
                    <a:pt x="9459" y="92"/>
                  </a:lnTo>
                  <a:lnTo>
                    <a:pt x="9049" y="41"/>
                  </a:lnTo>
                  <a:lnTo>
                    <a:pt x="8632" y="10"/>
                  </a:lnTo>
                  <a:lnTo>
                    <a:pt x="821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53" name="išľîḓe">
              <a:extLst>
                <a:ext uri="{FF2B5EF4-FFF2-40B4-BE49-F238E27FC236}">
                  <a16:creationId xmlns:a16="http://schemas.microsoft.com/office/drawing/2014/main" id="{0ED91D39-E30C-4BD3-92B5-9D8518E52C2E}"/>
                </a:ext>
              </a:extLst>
            </p:cNvPr>
            <p:cNvSpPr/>
            <p:nvPr/>
          </p:nvSpPr>
          <p:spPr bwMode="auto">
            <a:xfrm>
              <a:off x="7741686" y="547598"/>
              <a:ext cx="558350" cy="556940"/>
            </a:xfrm>
            <a:custGeom>
              <a:avLst/>
              <a:gdLst>
                <a:gd name="T0" fmla="*/ 12770 w 14656"/>
                <a:gd name="T1" fmla="*/ 6106 h 14620"/>
                <a:gd name="T2" fmla="*/ 12640 w 14656"/>
                <a:gd name="T3" fmla="*/ 6115 h 14620"/>
                <a:gd name="T4" fmla="*/ 12519 w 14656"/>
                <a:gd name="T5" fmla="*/ 6055 h 14620"/>
                <a:gd name="T6" fmla="*/ 9966 w 14656"/>
                <a:gd name="T7" fmla="*/ 5994 h 14620"/>
                <a:gd name="T8" fmla="*/ 8414 w 14656"/>
                <a:gd name="T9" fmla="*/ 5281 h 14620"/>
                <a:gd name="T10" fmla="*/ 6782 w 14656"/>
                <a:gd name="T11" fmla="*/ 4968 h 14620"/>
                <a:gd name="T12" fmla="*/ 5698 w 14656"/>
                <a:gd name="T13" fmla="*/ 4822 h 14620"/>
                <a:gd name="T14" fmla="*/ 8599 w 14656"/>
                <a:gd name="T15" fmla="*/ 2123 h 14620"/>
                <a:gd name="T16" fmla="*/ 8551 w 14656"/>
                <a:gd name="T17" fmla="*/ 1998 h 14620"/>
                <a:gd name="T18" fmla="*/ 8574 w 14656"/>
                <a:gd name="T19" fmla="*/ 1868 h 14620"/>
                <a:gd name="T20" fmla="*/ 9364 w 14656"/>
                <a:gd name="T21" fmla="*/ 1057 h 14620"/>
                <a:gd name="T22" fmla="*/ 9489 w 14656"/>
                <a:gd name="T23" fmla="*/ 1010 h 14620"/>
                <a:gd name="T24" fmla="*/ 9619 w 14656"/>
                <a:gd name="T25" fmla="*/ 1032 h 14620"/>
                <a:gd name="T26" fmla="*/ 13601 w 14656"/>
                <a:gd name="T27" fmla="*/ 5006 h 14620"/>
                <a:gd name="T28" fmla="*/ 13650 w 14656"/>
                <a:gd name="T29" fmla="*/ 5131 h 14620"/>
                <a:gd name="T30" fmla="*/ 13627 w 14656"/>
                <a:gd name="T31" fmla="*/ 5261 h 14620"/>
                <a:gd name="T32" fmla="*/ 8336 w 14656"/>
                <a:gd name="T33" fmla="*/ 13377 h 14620"/>
                <a:gd name="T34" fmla="*/ 8074 w 14656"/>
                <a:gd name="T35" fmla="*/ 13585 h 14620"/>
                <a:gd name="T36" fmla="*/ 7781 w 14656"/>
                <a:gd name="T37" fmla="*/ 13595 h 14620"/>
                <a:gd name="T38" fmla="*/ 7556 w 14656"/>
                <a:gd name="T39" fmla="*/ 13465 h 14620"/>
                <a:gd name="T40" fmla="*/ 1014 w 14656"/>
                <a:gd name="T41" fmla="*/ 6852 h 14620"/>
                <a:gd name="T42" fmla="*/ 1065 w 14656"/>
                <a:gd name="T43" fmla="*/ 6524 h 14620"/>
                <a:gd name="T44" fmla="*/ 1308 w 14656"/>
                <a:gd name="T45" fmla="*/ 6300 h 14620"/>
                <a:gd name="T46" fmla="*/ 6805 w 14656"/>
                <a:gd name="T47" fmla="*/ 5480 h 14620"/>
                <a:gd name="T48" fmla="*/ 8979 w 14656"/>
                <a:gd name="T49" fmla="*/ 6023 h 14620"/>
                <a:gd name="T50" fmla="*/ 10402 w 14656"/>
                <a:gd name="T51" fmla="*/ 369 h 14620"/>
                <a:gd name="T52" fmla="*/ 10132 w 14656"/>
                <a:gd name="T53" fmla="*/ 163 h 14620"/>
                <a:gd name="T54" fmla="*/ 9820 w 14656"/>
                <a:gd name="T55" fmla="*/ 38 h 14620"/>
                <a:gd name="T56" fmla="*/ 9482 w 14656"/>
                <a:gd name="T57" fmla="*/ 0 h 14620"/>
                <a:gd name="T58" fmla="*/ 9147 w 14656"/>
                <a:gd name="T59" fmla="*/ 55 h 14620"/>
                <a:gd name="T60" fmla="*/ 8841 w 14656"/>
                <a:gd name="T61" fmla="*/ 195 h 14620"/>
                <a:gd name="T62" fmla="*/ 7892 w 14656"/>
                <a:gd name="T63" fmla="*/ 1104 h 14620"/>
                <a:gd name="T64" fmla="*/ 7692 w 14656"/>
                <a:gd name="T65" fmla="*/ 1380 h 14620"/>
                <a:gd name="T66" fmla="*/ 7576 w 14656"/>
                <a:gd name="T67" fmla="*/ 1695 h 14620"/>
                <a:gd name="T68" fmla="*/ 7548 w 14656"/>
                <a:gd name="T69" fmla="*/ 2062 h 14620"/>
                <a:gd name="T70" fmla="*/ 7669 w 14656"/>
                <a:gd name="T71" fmla="*/ 2522 h 14620"/>
                <a:gd name="T72" fmla="*/ 623 w 14656"/>
                <a:gd name="T73" fmla="*/ 5539 h 14620"/>
                <a:gd name="T74" fmla="*/ 274 w 14656"/>
                <a:gd name="T75" fmla="*/ 5894 h 14620"/>
                <a:gd name="T76" fmla="*/ 58 w 14656"/>
                <a:gd name="T77" fmla="*/ 6345 h 14620"/>
                <a:gd name="T78" fmla="*/ 3 w 14656"/>
                <a:gd name="T79" fmla="*/ 6850 h 14620"/>
                <a:gd name="T80" fmla="*/ 114 w 14656"/>
                <a:gd name="T81" fmla="*/ 7337 h 14620"/>
                <a:gd name="T82" fmla="*/ 382 w 14656"/>
                <a:gd name="T83" fmla="*/ 7767 h 14620"/>
                <a:gd name="T84" fmla="*/ 7067 w 14656"/>
                <a:gd name="T85" fmla="*/ 14362 h 14620"/>
                <a:gd name="T86" fmla="*/ 7416 w 14656"/>
                <a:gd name="T87" fmla="*/ 14537 h 14620"/>
                <a:gd name="T88" fmla="*/ 7800 w 14656"/>
                <a:gd name="T89" fmla="*/ 14616 h 14620"/>
                <a:gd name="T90" fmla="*/ 8103 w 14656"/>
                <a:gd name="T91" fmla="*/ 14608 h 14620"/>
                <a:gd name="T92" fmla="*/ 8574 w 14656"/>
                <a:gd name="T93" fmla="*/ 14467 h 14620"/>
                <a:gd name="T94" fmla="*/ 8985 w 14656"/>
                <a:gd name="T95" fmla="*/ 14171 h 14620"/>
                <a:gd name="T96" fmla="*/ 9276 w 14656"/>
                <a:gd name="T97" fmla="*/ 13754 h 14620"/>
                <a:gd name="T98" fmla="*/ 12327 w 14656"/>
                <a:gd name="T99" fmla="*/ 7076 h 14620"/>
                <a:gd name="T100" fmla="*/ 12781 w 14656"/>
                <a:gd name="T101" fmla="*/ 7126 h 14620"/>
                <a:gd name="T102" fmla="*/ 13112 w 14656"/>
                <a:gd name="T103" fmla="*/ 7056 h 14620"/>
                <a:gd name="T104" fmla="*/ 13410 w 14656"/>
                <a:gd name="T105" fmla="*/ 6900 h 14620"/>
                <a:gd name="T106" fmla="*/ 14350 w 14656"/>
                <a:gd name="T107" fmla="*/ 5980 h 14620"/>
                <a:gd name="T108" fmla="*/ 14535 w 14656"/>
                <a:gd name="T109" fmla="*/ 5696 h 14620"/>
                <a:gd name="T110" fmla="*/ 14637 w 14656"/>
                <a:gd name="T111" fmla="*/ 5373 h 14620"/>
                <a:gd name="T112" fmla="*/ 14649 w 14656"/>
                <a:gd name="T113" fmla="*/ 5030 h 14620"/>
                <a:gd name="T114" fmla="*/ 14572 w 14656"/>
                <a:gd name="T115" fmla="*/ 4701 h 14620"/>
                <a:gd name="T116" fmla="*/ 14410 w 14656"/>
                <a:gd name="T117" fmla="*/ 4405 h 14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656" h="14620">
                  <a:moveTo>
                    <a:pt x="13576" y="5334"/>
                  </a:moveTo>
                  <a:lnTo>
                    <a:pt x="12866" y="6046"/>
                  </a:lnTo>
                  <a:lnTo>
                    <a:pt x="12856" y="6055"/>
                  </a:lnTo>
                  <a:lnTo>
                    <a:pt x="12847" y="6064"/>
                  </a:lnTo>
                  <a:lnTo>
                    <a:pt x="12837" y="6071"/>
                  </a:lnTo>
                  <a:lnTo>
                    <a:pt x="12826" y="6079"/>
                  </a:lnTo>
                  <a:lnTo>
                    <a:pt x="12816" y="6085"/>
                  </a:lnTo>
                  <a:lnTo>
                    <a:pt x="12805" y="6091"/>
                  </a:lnTo>
                  <a:lnTo>
                    <a:pt x="12794" y="6097"/>
                  </a:lnTo>
                  <a:lnTo>
                    <a:pt x="12782" y="6102"/>
                  </a:lnTo>
                  <a:lnTo>
                    <a:pt x="12770" y="6106"/>
                  </a:lnTo>
                  <a:lnTo>
                    <a:pt x="12759" y="6110"/>
                  </a:lnTo>
                  <a:lnTo>
                    <a:pt x="12747" y="6113"/>
                  </a:lnTo>
                  <a:lnTo>
                    <a:pt x="12735" y="6115"/>
                  </a:lnTo>
                  <a:lnTo>
                    <a:pt x="12723" y="6117"/>
                  </a:lnTo>
                  <a:lnTo>
                    <a:pt x="12712" y="6119"/>
                  </a:lnTo>
                  <a:lnTo>
                    <a:pt x="12700" y="6120"/>
                  </a:lnTo>
                  <a:lnTo>
                    <a:pt x="12688" y="6120"/>
                  </a:lnTo>
                  <a:lnTo>
                    <a:pt x="12676" y="6120"/>
                  </a:lnTo>
                  <a:lnTo>
                    <a:pt x="12664" y="6119"/>
                  </a:lnTo>
                  <a:lnTo>
                    <a:pt x="12652" y="6117"/>
                  </a:lnTo>
                  <a:lnTo>
                    <a:pt x="12640" y="6115"/>
                  </a:lnTo>
                  <a:lnTo>
                    <a:pt x="12628" y="6113"/>
                  </a:lnTo>
                  <a:lnTo>
                    <a:pt x="12615" y="6110"/>
                  </a:lnTo>
                  <a:lnTo>
                    <a:pt x="12604" y="6106"/>
                  </a:lnTo>
                  <a:lnTo>
                    <a:pt x="12593" y="6102"/>
                  </a:lnTo>
                  <a:lnTo>
                    <a:pt x="12581" y="6097"/>
                  </a:lnTo>
                  <a:lnTo>
                    <a:pt x="12571" y="6091"/>
                  </a:lnTo>
                  <a:lnTo>
                    <a:pt x="12560" y="6085"/>
                  </a:lnTo>
                  <a:lnTo>
                    <a:pt x="12549" y="6079"/>
                  </a:lnTo>
                  <a:lnTo>
                    <a:pt x="12539" y="6071"/>
                  </a:lnTo>
                  <a:lnTo>
                    <a:pt x="12529" y="6064"/>
                  </a:lnTo>
                  <a:lnTo>
                    <a:pt x="12519" y="6055"/>
                  </a:lnTo>
                  <a:lnTo>
                    <a:pt x="12510" y="6046"/>
                  </a:lnTo>
                  <a:lnTo>
                    <a:pt x="11621" y="5156"/>
                  </a:lnTo>
                  <a:lnTo>
                    <a:pt x="10900" y="6965"/>
                  </a:lnTo>
                  <a:lnTo>
                    <a:pt x="10961" y="6813"/>
                  </a:lnTo>
                  <a:lnTo>
                    <a:pt x="10819" y="6674"/>
                  </a:lnTo>
                  <a:lnTo>
                    <a:pt x="10677" y="6544"/>
                  </a:lnTo>
                  <a:lnTo>
                    <a:pt x="10534" y="6420"/>
                  </a:lnTo>
                  <a:lnTo>
                    <a:pt x="10392" y="6304"/>
                  </a:lnTo>
                  <a:lnTo>
                    <a:pt x="10251" y="6194"/>
                  </a:lnTo>
                  <a:lnTo>
                    <a:pt x="10108" y="6091"/>
                  </a:lnTo>
                  <a:lnTo>
                    <a:pt x="9966" y="5994"/>
                  </a:lnTo>
                  <a:lnTo>
                    <a:pt x="9823" y="5905"/>
                  </a:lnTo>
                  <a:lnTo>
                    <a:pt x="9681" y="5820"/>
                  </a:lnTo>
                  <a:lnTo>
                    <a:pt x="9539" y="5740"/>
                  </a:lnTo>
                  <a:lnTo>
                    <a:pt x="9397" y="5667"/>
                  </a:lnTo>
                  <a:lnTo>
                    <a:pt x="9257" y="5598"/>
                  </a:lnTo>
                  <a:lnTo>
                    <a:pt x="9115" y="5535"/>
                  </a:lnTo>
                  <a:lnTo>
                    <a:pt x="8974" y="5475"/>
                  </a:lnTo>
                  <a:lnTo>
                    <a:pt x="8833" y="5421"/>
                  </a:lnTo>
                  <a:lnTo>
                    <a:pt x="8693" y="5370"/>
                  </a:lnTo>
                  <a:lnTo>
                    <a:pt x="8553" y="5324"/>
                  </a:lnTo>
                  <a:lnTo>
                    <a:pt x="8414" y="5281"/>
                  </a:lnTo>
                  <a:lnTo>
                    <a:pt x="8275" y="5241"/>
                  </a:lnTo>
                  <a:lnTo>
                    <a:pt x="8136" y="5205"/>
                  </a:lnTo>
                  <a:lnTo>
                    <a:pt x="7997" y="5172"/>
                  </a:lnTo>
                  <a:lnTo>
                    <a:pt x="7860" y="5141"/>
                  </a:lnTo>
                  <a:lnTo>
                    <a:pt x="7723" y="5113"/>
                  </a:lnTo>
                  <a:lnTo>
                    <a:pt x="7587" y="5088"/>
                  </a:lnTo>
                  <a:lnTo>
                    <a:pt x="7451" y="5065"/>
                  </a:lnTo>
                  <a:lnTo>
                    <a:pt x="7315" y="5043"/>
                  </a:lnTo>
                  <a:lnTo>
                    <a:pt x="7180" y="5022"/>
                  </a:lnTo>
                  <a:lnTo>
                    <a:pt x="7047" y="5003"/>
                  </a:lnTo>
                  <a:lnTo>
                    <a:pt x="6782" y="4968"/>
                  </a:lnTo>
                  <a:lnTo>
                    <a:pt x="6519" y="4936"/>
                  </a:lnTo>
                  <a:lnTo>
                    <a:pt x="6436" y="4926"/>
                  </a:lnTo>
                  <a:lnTo>
                    <a:pt x="6354" y="4915"/>
                  </a:lnTo>
                  <a:lnTo>
                    <a:pt x="6270" y="4905"/>
                  </a:lnTo>
                  <a:lnTo>
                    <a:pt x="6188" y="4893"/>
                  </a:lnTo>
                  <a:lnTo>
                    <a:pt x="6105" y="4882"/>
                  </a:lnTo>
                  <a:lnTo>
                    <a:pt x="6024" y="4871"/>
                  </a:lnTo>
                  <a:lnTo>
                    <a:pt x="5942" y="4859"/>
                  </a:lnTo>
                  <a:lnTo>
                    <a:pt x="5861" y="4847"/>
                  </a:lnTo>
                  <a:lnTo>
                    <a:pt x="5779" y="4835"/>
                  </a:lnTo>
                  <a:lnTo>
                    <a:pt x="5698" y="4822"/>
                  </a:lnTo>
                  <a:lnTo>
                    <a:pt x="5617" y="4809"/>
                  </a:lnTo>
                  <a:lnTo>
                    <a:pt x="5537" y="4795"/>
                  </a:lnTo>
                  <a:lnTo>
                    <a:pt x="5456" y="4779"/>
                  </a:lnTo>
                  <a:lnTo>
                    <a:pt x="5376" y="4764"/>
                  </a:lnTo>
                  <a:lnTo>
                    <a:pt x="5296" y="4748"/>
                  </a:lnTo>
                  <a:lnTo>
                    <a:pt x="5216" y="4731"/>
                  </a:lnTo>
                  <a:lnTo>
                    <a:pt x="9487" y="3017"/>
                  </a:lnTo>
                  <a:lnTo>
                    <a:pt x="8624" y="2152"/>
                  </a:lnTo>
                  <a:lnTo>
                    <a:pt x="8615" y="2143"/>
                  </a:lnTo>
                  <a:lnTo>
                    <a:pt x="8607" y="2133"/>
                  </a:lnTo>
                  <a:lnTo>
                    <a:pt x="8599" y="2123"/>
                  </a:lnTo>
                  <a:lnTo>
                    <a:pt x="8592" y="2113"/>
                  </a:lnTo>
                  <a:lnTo>
                    <a:pt x="8586" y="2102"/>
                  </a:lnTo>
                  <a:lnTo>
                    <a:pt x="8580" y="2091"/>
                  </a:lnTo>
                  <a:lnTo>
                    <a:pt x="8574" y="2080"/>
                  </a:lnTo>
                  <a:lnTo>
                    <a:pt x="8569" y="2068"/>
                  </a:lnTo>
                  <a:lnTo>
                    <a:pt x="8565" y="2057"/>
                  </a:lnTo>
                  <a:lnTo>
                    <a:pt x="8561" y="2046"/>
                  </a:lnTo>
                  <a:lnTo>
                    <a:pt x="8558" y="2034"/>
                  </a:lnTo>
                  <a:lnTo>
                    <a:pt x="8555" y="2022"/>
                  </a:lnTo>
                  <a:lnTo>
                    <a:pt x="8553" y="2010"/>
                  </a:lnTo>
                  <a:lnTo>
                    <a:pt x="8551" y="1998"/>
                  </a:lnTo>
                  <a:lnTo>
                    <a:pt x="8550" y="1986"/>
                  </a:lnTo>
                  <a:lnTo>
                    <a:pt x="8550" y="1974"/>
                  </a:lnTo>
                  <a:lnTo>
                    <a:pt x="8550" y="1961"/>
                  </a:lnTo>
                  <a:lnTo>
                    <a:pt x="8551" y="1949"/>
                  </a:lnTo>
                  <a:lnTo>
                    <a:pt x="8553" y="1938"/>
                  </a:lnTo>
                  <a:lnTo>
                    <a:pt x="8555" y="1926"/>
                  </a:lnTo>
                  <a:lnTo>
                    <a:pt x="8558" y="1914"/>
                  </a:lnTo>
                  <a:lnTo>
                    <a:pt x="8562" y="1902"/>
                  </a:lnTo>
                  <a:lnTo>
                    <a:pt x="8565" y="1891"/>
                  </a:lnTo>
                  <a:lnTo>
                    <a:pt x="8570" y="1879"/>
                  </a:lnTo>
                  <a:lnTo>
                    <a:pt x="8574" y="1868"/>
                  </a:lnTo>
                  <a:lnTo>
                    <a:pt x="8580" y="1857"/>
                  </a:lnTo>
                  <a:lnTo>
                    <a:pt x="8586" y="1845"/>
                  </a:lnTo>
                  <a:lnTo>
                    <a:pt x="8593" y="1835"/>
                  </a:lnTo>
                  <a:lnTo>
                    <a:pt x="8600" y="1825"/>
                  </a:lnTo>
                  <a:lnTo>
                    <a:pt x="8608" y="1815"/>
                  </a:lnTo>
                  <a:lnTo>
                    <a:pt x="8616" y="1805"/>
                  </a:lnTo>
                  <a:lnTo>
                    <a:pt x="8625" y="1796"/>
                  </a:lnTo>
                  <a:lnTo>
                    <a:pt x="9335" y="1082"/>
                  </a:lnTo>
                  <a:lnTo>
                    <a:pt x="9344" y="1073"/>
                  </a:lnTo>
                  <a:lnTo>
                    <a:pt x="9354" y="1065"/>
                  </a:lnTo>
                  <a:lnTo>
                    <a:pt x="9364" y="1057"/>
                  </a:lnTo>
                  <a:lnTo>
                    <a:pt x="9374" y="1050"/>
                  </a:lnTo>
                  <a:lnTo>
                    <a:pt x="9385" y="1043"/>
                  </a:lnTo>
                  <a:lnTo>
                    <a:pt x="9396" y="1037"/>
                  </a:lnTo>
                  <a:lnTo>
                    <a:pt x="9408" y="1032"/>
                  </a:lnTo>
                  <a:lnTo>
                    <a:pt x="9419" y="1027"/>
                  </a:lnTo>
                  <a:lnTo>
                    <a:pt x="9430" y="1023"/>
                  </a:lnTo>
                  <a:lnTo>
                    <a:pt x="9442" y="1019"/>
                  </a:lnTo>
                  <a:lnTo>
                    <a:pt x="9454" y="1016"/>
                  </a:lnTo>
                  <a:lnTo>
                    <a:pt x="9465" y="1013"/>
                  </a:lnTo>
                  <a:lnTo>
                    <a:pt x="9477" y="1011"/>
                  </a:lnTo>
                  <a:lnTo>
                    <a:pt x="9489" y="1010"/>
                  </a:lnTo>
                  <a:lnTo>
                    <a:pt x="9501" y="1009"/>
                  </a:lnTo>
                  <a:lnTo>
                    <a:pt x="9513" y="1009"/>
                  </a:lnTo>
                  <a:lnTo>
                    <a:pt x="9525" y="1009"/>
                  </a:lnTo>
                  <a:lnTo>
                    <a:pt x="9537" y="1010"/>
                  </a:lnTo>
                  <a:lnTo>
                    <a:pt x="9549" y="1011"/>
                  </a:lnTo>
                  <a:lnTo>
                    <a:pt x="9561" y="1013"/>
                  </a:lnTo>
                  <a:lnTo>
                    <a:pt x="9574" y="1016"/>
                  </a:lnTo>
                  <a:lnTo>
                    <a:pt x="9585" y="1019"/>
                  </a:lnTo>
                  <a:lnTo>
                    <a:pt x="9597" y="1023"/>
                  </a:lnTo>
                  <a:lnTo>
                    <a:pt x="9608" y="1027"/>
                  </a:lnTo>
                  <a:lnTo>
                    <a:pt x="9619" y="1032"/>
                  </a:lnTo>
                  <a:lnTo>
                    <a:pt x="9630" y="1037"/>
                  </a:lnTo>
                  <a:lnTo>
                    <a:pt x="9641" y="1043"/>
                  </a:lnTo>
                  <a:lnTo>
                    <a:pt x="9651" y="1050"/>
                  </a:lnTo>
                  <a:lnTo>
                    <a:pt x="9662" y="1057"/>
                  </a:lnTo>
                  <a:lnTo>
                    <a:pt x="9672" y="1065"/>
                  </a:lnTo>
                  <a:lnTo>
                    <a:pt x="9681" y="1073"/>
                  </a:lnTo>
                  <a:lnTo>
                    <a:pt x="9691" y="1082"/>
                  </a:lnTo>
                  <a:lnTo>
                    <a:pt x="13576" y="4978"/>
                  </a:lnTo>
                  <a:lnTo>
                    <a:pt x="13585" y="4987"/>
                  </a:lnTo>
                  <a:lnTo>
                    <a:pt x="13593" y="4996"/>
                  </a:lnTo>
                  <a:lnTo>
                    <a:pt x="13601" y="5006"/>
                  </a:lnTo>
                  <a:lnTo>
                    <a:pt x="13608" y="5017"/>
                  </a:lnTo>
                  <a:lnTo>
                    <a:pt x="13615" y="5028"/>
                  </a:lnTo>
                  <a:lnTo>
                    <a:pt x="13621" y="5039"/>
                  </a:lnTo>
                  <a:lnTo>
                    <a:pt x="13627" y="5050"/>
                  </a:lnTo>
                  <a:lnTo>
                    <a:pt x="13631" y="5061"/>
                  </a:lnTo>
                  <a:lnTo>
                    <a:pt x="13636" y="5073"/>
                  </a:lnTo>
                  <a:lnTo>
                    <a:pt x="13641" y="5084"/>
                  </a:lnTo>
                  <a:lnTo>
                    <a:pt x="13644" y="5096"/>
                  </a:lnTo>
                  <a:lnTo>
                    <a:pt x="13646" y="5107"/>
                  </a:lnTo>
                  <a:lnTo>
                    <a:pt x="13648" y="5119"/>
                  </a:lnTo>
                  <a:lnTo>
                    <a:pt x="13650" y="5131"/>
                  </a:lnTo>
                  <a:lnTo>
                    <a:pt x="13651" y="5143"/>
                  </a:lnTo>
                  <a:lnTo>
                    <a:pt x="13651" y="5156"/>
                  </a:lnTo>
                  <a:lnTo>
                    <a:pt x="13651" y="5168"/>
                  </a:lnTo>
                  <a:lnTo>
                    <a:pt x="13650" y="5180"/>
                  </a:lnTo>
                  <a:lnTo>
                    <a:pt x="13648" y="5192"/>
                  </a:lnTo>
                  <a:lnTo>
                    <a:pt x="13646" y="5204"/>
                  </a:lnTo>
                  <a:lnTo>
                    <a:pt x="13644" y="5216"/>
                  </a:lnTo>
                  <a:lnTo>
                    <a:pt x="13641" y="5227"/>
                  </a:lnTo>
                  <a:lnTo>
                    <a:pt x="13636" y="5239"/>
                  </a:lnTo>
                  <a:lnTo>
                    <a:pt x="13631" y="5250"/>
                  </a:lnTo>
                  <a:lnTo>
                    <a:pt x="13627" y="5261"/>
                  </a:lnTo>
                  <a:lnTo>
                    <a:pt x="13621" y="5273"/>
                  </a:lnTo>
                  <a:lnTo>
                    <a:pt x="13615" y="5284"/>
                  </a:lnTo>
                  <a:lnTo>
                    <a:pt x="13608" y="5295"/>
                  </a:lnTo>
                  <a:lnTo>
                    <a:pt x="13601" y="5305"/>
                  </a:lnTo>
                  <a:lnTo>
                    <a:pt x="13593" y="5315"/>
                  </a:lnTo>
                  <a:lnTo>
                    <a:pt x="13585" y="5325"/>
                  </a:lnTo>
                  <a:lnTo>
                    <a:pt x="13576" y="5334"/>
                  </a:lnTo>
                  <a:close/>
                  <a:moveTo>
                    <a:pt x="8378" y="13292"/>
                  </a:moveTo>
                  <a:lnTo>
                    <a:pt x="8366" y="13321"/>
                  </a:lnTo>
                  <a:lnTo>
                    <a:pt x="8352" y="13350"/>
                  </a:lnTo>
                  <a:lnTo>
                    <a:pt x="8336" y="13377"/>
                  </a:lnTo>
                  <a:lnTo>
                    <a:pt x="8318" y="13403"/>
                  </a:lnTo>
                  <a:lnTo>
                    <a:pt x="8300" y="13427"/>
                  </a:lnTo>
                  <a:lnTo>
                    <a:pt x="8280" y="13450"/>
                  </a:lnTo>
                  <a:lnTo>
                    <a:pt x="8258" y="13473"/>
                  </a:lnTo>
                  <a:lnTo>
                    <a:pt x="8235" y="13494"/>
                  </a:lnTo>
                  <a:lnTo>
                    <a:pt x="8210" y="13513"/>
                  </a:lnTo>
                  <a:lnTo>
                    <a:pt x="8185" y="13530"/>
                  </a:lnTo>
                  <a:lnTo>
                    <a:pt x="8159" y="13546"/>
                  </a:lnTo>
                  <a:lnTo>
                    <a:pt x="8132" y="13560"/>
                  </a:lnTo>
                  <a:lnTo>
                    <a:pt x="8104" y="13573"/>
                  </a:lnTo>
                  <a:lnTo>
                    <a:pt x="8074" y="13585"/>
                  </a:lnTo>
                  <a:lnTo>
                    <a:pt x="8044" y="13594"/>
                  </a:lnTo>
                  <a:lnTo>
                    <a:pt x="8013" y="13601"/>
                  </a:lnTo>
                  <a:lnTo>
                    <a:pt x="7985" y="13607"/>
                  </a:lnTo>
                  <a:lnTo>
                    <a:pt x="7956" y="13610"/>
                  </a:lnTo>
                  <a:lnTo>
                    <a:pt x="7927" y="13612"/>
                  </a:lnTo>
                  <a:lnTo>
                    <a:pt x="7899" y="13612"/>
                  </a:lnTo>
                  <a:lnTo>
                    <a:pt x="7874" y="13611"/>
                  </a:lnTo>
                  <a:lnTo>
                    <a:pt x="7850" y="13609"/>
                  </a:lnTo>
                  <a:lnTo>
                    <a:pt x="7827" y="13605"/>
                  </a:lnTo>
                  <a:lnTo>
                    <a:pt x="7804" y="13601"/>
                  </a:lnTo>
                  <a:lnTo>
                    <a:pt x="7781" y="13595"/>
                  </a:lnTo>
                  <a:lnTo>
                    <a:pt x="7758" y="13589"/>
                  </a:lnTo>
                  <a:lnTo>
                    <a:pt x="7736" y="13580"/>
                  </a:lnTo>
                  <a:lnTo>
                    <a:pt x="7714" y="13571"/>
                  </a:lnTo>
                  <a:lnTo>
                    <a:pt x="7691" y="13562"/>
                  </a:lnTo>
                  <a:lnTo>
                    <a:pt x="7670" y="13551"/>
                  </a:lnTo>
                  <a:lnTo>
                    <a:pt x="7650" y="13539"/>
                  </a:lnTo>
                  <a:lnTo>
                    <a:pt x="7630" y="13526"/>
                  </a:lnTo>
                  <a:lnTo>
                    <a:pt x="7610" y="13512"/>
                  </a:lnTo>
                  <a:lnTo>
                    <a:pt x="7591" y="13497"/>
                  </a:lnTo>
                  <a:lnTo>
                    <a:pt x="7573" y="13482"/>
                  </a:lnTo>
                  <a:lnTo>
                    <a:pt x="7556" y="13465"/>
                  </a:lnTo>
                  <a:lnTo>
                    <a:pt x="1154" y="7119"/>
                  </a:lnTo>
                  <a:lnTo>
                    <a:pt x="1133" y="7096"/>
                  </a:lnTo>
                  <a:lnTo>
                    <a:pt x="1113" y="7072"/>
                  </a:lnTo>
                  <a:lnTo>
                    <a:pt x="1094" y="7048"/>
                  </a:lnTo>
                  <a:lnTo>
                    <a:pt x="1078" y="7022"/>
                  </a:lnTo>
                  <a:lnTo>
                    <a:pt x="1063" y="6996"/>
                  </a:lnTo>
                  <a:lnTo>
                    <a:pt x="1050" y="6967"/>
                  </a:lnTo>
                  <a:lnTo>
                    <a:pt x="1038" y="6940"/>
                  </a:lnTo>
                  <a:lnTo>
                    <a:pt x="1029" y="6911"/>
                  </a:lnTo>
                  <a:lnTo>
                    <a:pt x="1021" y="6882"/>
                  </a:lnTo>
                  <a:lnTo>
                    <a:pt x="1014" y="6852"/>
                  </a:lnTo>
                  <a:lnTo>
                    <a:pt x="1010" y="6822"/>
                  </a:lnTo>
                  <a:lnTo>
                    <a:pt x="1007" y="6792"/>
                  </a:lnTo>
                  <a:lnTo>
                    <a:pt x="1006" y="6761"/>
                  </a:lnTo>
                  <a:lnTo>
                    <a:pt x="1007" y="6730"/>
                  </a:lnTo>
                  <a:lnTo>
                    <a:pt x="1010" y="6699"/>
                  </a:lnTo>
                  <a:lnTo>
                    <a:pt x="1015" y="6668"/>
                  </a:lnTo>
                  <a:lnTo>
                    <a:pt x="1022" y="6638"/>
                  </a:lnTo>
                  <a:lnTo>
                    <a:pt x="1030" y="6608"/>
                  </a:lnTo>
                  <a:lnTo>
                    <a:pt x="1040" y="6579"/>
                  </a:lnTo>
                  <a:lnTo>
                    <a:pt x="1052" y="6551"/>
                  </a:lnTo>
                  <a:lnTo>
                    <a:pt x="1065" y="6524"/>
                  </a:lnTo>
                  <a:lnTo>
                    <a:pt x="1080" y="6498"/>
                  </a:lnTo>
                  <a:lnTo>
                    <a:pt x="1097" y="6472"/>
                  </a:lnTo>
                  <a:lnTo>
                    <a:pt x="1116" y="6448"/>
                  </a:lnTo>
                  <a:lnTo>
                    <a:pt x="1136" y="6425"/>
                  </a:lnTo>
                  <a:lnTo>
                    <a:pt x="1156" y="6403"/>
                  </a:lnTo>
                  <a:lnTo>
                    <a:pt x="1179" y="6383"/>
                  </a:lnTo>
                  <a:lnTo>
                    <a:pt x="1202" y="6363"/>
                  </a:lnTo>
                  <a:lnTo>
                    <a:pt x="1227" y="6345"/>
                  </a:lnTo>
                  <a:lnTo>
                    <a:pt x="1252" y="6329"/>
                  </a:lnTo>
                  <a:lnTo>
                    <a:pt x="1280" y="6314"/>
                  </a:lnTo>
                  <a:lnTo>
                    <a:pt x="1308" y="6300"/>
                  </a:lnTo>
                  <a:lnTo>
                    <a:pt x="4434" y="5046"/>
                  </a:lnTo>
                  <a:lnTo>
                    <a:pt x="4632" y="5107"/>
                  </a:lnTo>
                  <a:lnTo>
                    <a:pt x="4830" y="5162"/>
                  </a:lnTo>
                  <a:lnTo>
                    <a:pt x="5027" y="5210"/>
                  </a:lnTo>
                  <a:lnTo>
                    <a:pt x="5225" y="5252"/>
                  </a:lnTo>
                  <a:lnTo>
                    <a:pt x="5422" y="5290"/>
                  </a:lnTo>
                  <a:lnTo>
                    <a:pt x="5620" y="5323"/>
                  </a:lnTo>
                  <a:lnTo>
                    <a:pt x="5817" y="5353"/>
                  </a:lnTo>
                  <a:lnTo>
                    <a:pt x="6016" y="5380"/>
                  </a:lnTo>
                  <a:lnTo>
                    <a:pt x="6410" y="5431"/>
                  </a:lnTo>
                  <a:lnTo>
                    <a:pt x="6805" y="5480"/>
                  </a:lnTo>
                  <a:lnTo>
                    <a:pt x="7003" y="5507"/>
                  </a:lnTo>
                  <a:lnTo>
                    <a:pt x="7201" y="5536"/>
                  </a:lnTo>
                  <a:lnTo>
                    <a:pt x="7398" y="5568"/>
                  </a:lnTo>
                  <a:lnTo>
                    <a:pt x="7596" y="5603"/>
                  </a:lnTo>
                  <a:lnTo>
                    <a:pt x="7793" y="5643"/>
                  </a:lnTo>
                  <a:lnTo>
                    <a:pt x="7991" y="5688"/>
                  </a:lnTo>
                  <a:lnTo>
                    <a:pt x="8188" y="5739"/>
                  </a:lnTo>
                  <a:lnTo>
                    <a:pt x="8385" y="5798"/>
                  </a:lnTo>
                  <a:lnTo>
                    <a:pt x="8584" y="5864"/>
                  </a:lnTo>
                  <a:lnTo>
                    <a:pt x="8781" y="5939"/>
                  </a:lnTo>
                  <a:lnTo>
                    <a:pt x="8979" y="6023"/>
                  </a:lnTo>
                  <a:lnTo>
                    <a:pt x="9176" y="6116"/>
                  </a:lnTo>
                  <a:lnTo>
                    <a:pt x="9373" y="6221"/>
                  </a:lnTo>
                  <a:lnTo>
                    <a:pt x="9571" y="6337"/>
                  </a:lnTo>
                  <a:lnTo>
                    <a:pt x="9769" y="6466"/>
                  </a:lnTo>
                  <a:lnTo>
                    <a:pt x="9967" y="6608"/>
                  </a:lnTo>
                  <a:lnTo>
                    <a:pt x="10164" y="6765"/>
                  </a:lnTo>
                  <a:lnTo>
                    <a:pt x="10361" y="6935"/>
                  </a:lnTo>
                  <a:lnTo>
                    <a:pt x="10559" y="7122"/>
                  </a:lnTo>
                  <a:lnTo>
                    <a:pt x="10756" y="7324"/>
                  </a:lnTo>
                  <a:lnTo>
                    <a:pt x="8378" y="13292"/>
                  </a:lnTo>
                  <a:close/>
                  <a:moveTo>
                    <a:pt x="10402" y="369"/>
                  </a:moveTo>
                  <a:lnTo>
                    <a:pt x="10379" y="347"/>
                  </a:lnTo>
                  <a:lnTo>
                    <a:pt x="10356" y="326"/>
                  </a:lnTo>
                  <a:lnTo>
                    <a:pt x="10333" y="305"/>
                  </a:lnTo>
                  <a:lnTo>
                    <a:pt x="10310" y="286"/>
                  </a:lnTo>
                  <a:lnTo>
                    <a:pt x="10286" y="266"/>
                  </a:lnTo>
                  <a:lnTo>
                    <a:pt x="10261" y="247"/>
                  </a:lnTo>
                  <a:lnTo>
                    <a:pt x="10235" y="229"/>
                  </a:lnTo>
                  <a:lnTo>
                    <a:pt x="10210" y="211"/>
                  </a:lnTo>
                  <a:lnTo>
                    <a:pt x="10184" y="195"/>
                  </a:lnTo>
                  <a:lnTo>
                    <a:pt x="10158" y="179"/>
                  </a:lnTo>
                  <a:lnTo>
                    <a:pt x="10132" y="163"/>
                  </a:lnTo>
                  <a:lnTo>
                    <a:pt x="10105" y="148"/>
                  </a:lnTo>
                  <a:lnTo>
                    <a:pt x="10077" y="133"/>
                  </a:lnTo>
                  <a:lnTo>
                    <a:pt x="10050" y="120"/>
                  </a:lnTo>
                  <a:lnTo>
                    <a:pt x="10022" y="108"/>
                  </a:lnTo>
                  <a:lnTo>
                    <a:pt x="9994" y="96"/>
                  </a:lnTo>
                  <a:lnTo>
                    <a:pt x="9966" y="84"/>
                  </a:lnTo>
                  <a:lnTo>
                    <a:pt x="9938" y="74"/>
                  </a:lnTo>
                  <a:lnTo>
                    <a:pt x="9908" y="64"/>
                  </a:lnTo>
                  <a:lnTo>
                    <a:pt x="9879" y="55"/>
                  </a:lnTo>
                  <a:lnTo>
                    <a:pt x="9850" y="46"/>
                  </a:lnTo>
                  <a:lnTo>
                    <a:pt x="9820" y="38"/>
                  </a:lnTo>
                  <a:lnTo>
                    <a:pt x="9791" y="31"/>
                  </a:lnTo>
                  <a:lnTo>
                    <a:pt x="9761" y="25"/>
                  </a:lnTo>
                  <a:lnTo>
                    <a:pt x="9730" y="19"/>
                  </a:lnTo>
                  <a:lnTo>
                    <a:pt x="9699" y="14"/>
                  </a:lnTo>
                  <a:lnTo>
                    <a:pt x="9669" y="9"/>
                  </a:lnTo>
                  <a:lnTo>
                    <a:pt x="9638" y="6"/>
                  </a:lnTo>
                  <a:lnTo>
                    <a:pt x="9607" y="3"/>
                  </a:lnTo>
                  <a:lnTo>
                    <a:pt x="9577" y="2"/>
                  </a:lnTo>
                  <a:lnTo>
                    <a:pt x="9544" y="0"/>
                  </a:lnTo>
                  <a:lnTo>
                    <a:pt x="9513" y="0"/>
                  </a:lnTo>
                  <a:lnTo>
                    <a:pt x="9482" y="0"/>
                  </a:lnTo>
                  <a:lnTo>
                    <a:pt x="9451" y="2"/>
                  </a:lnTo>
                  <a:lnTo>
                    <a:pt x="9420" y="3"/>
                  </a:lnTo>
                  <a:lnTo>
                    <a:pt x="9388" y="6"/>
                  </a:lnTo>
                  <a:lnTo>
                    <a:pt x="9357" y="9"/>
                  </a:lnTo>
                  <a:lnTo>
                    <a:pt x="9327" y="14"/>
                  </a:lnTo>
                  <a:lnTo>
                    <a:pt x="9297" y="19"/>
                  </a:lnTo>
                  <a:lnTo>
                    <a:pt x="9266" y="25"/>
                  </a:lnTo>
                  <a:lnTo>
                    <a:pt x="9236" y="31"/>
                  </a:lnTo>
                  <a:lnTo>
                    <a:pt x="9206" y="38"/>
                  </a:lnTo>
                  <a:lnTo>
                    <a:pt x="9176" y="46"/>
                  </a:lnTo>
                  <a:lnTo>
                    <a:pt x="9147" y="55"/>
                  </a:lnTo>
                  <a:lnTo>
                    <a:pt x="9118" y="64"/>
                  </a:lnTo>
                  <a:lnTo>
                    <a:pt x="9089" y="74"/>
                  </a:lnTo>
                  <a:lnTo>
                    <a:pt x="9060" y="84"/>
                  </a:lnTo>
                  <a:lnTo>
                    <a:pt x="9031" y="96"/>
                  </a:lnTo>
                  <a:lnTo>
                    <a:pt x="9003" y="108"/>
                  </a:lnTo>
                  <a:lnTo>
                    <a:pt x="8976" y="120"/>
                  </a:lnTo>
                  <a:lnTo>
                    <a:pt x="8948" y="134"/>
                  </a:lnTo>
                  <a:lnTo>
                    <a:pt x="8921" y="149"/>
                  </a:lnTo>
                  <a:lnTo>
                    <a:pt x="8894" y="163"/>
                  </a:lnTo>
                  <a:lnTo>
                    <a:pt x="8867" y="179"/>
                  </a:lnTo>
                  <a:lnTo>
                    <a:pt x="8841" y="195"/>
                  </a:lnTo>
                  <a:lnTo>
                    <a:pt x="8816" y="211"/>
                  </a:lnTo>
                  <a:lnTo>
                    <a:pt x="8790" y="229"/>
                  </a:lnTo>
                  <a:lnTo>
                    <a:pt x="8766" y="247"/>
                  </a:lnTo>
                  <a:lnTo>
                    <a:pt x="8741" y="267"/>
                  </a:lnTo>
                  <a:lnTo>
                    <a:pt x="8716" y="286"/>
                  </a:lnTo>
                  <a:lnTo>
                    <a:pt x="8692" y="306"/>
                  </a:lnTo>
                  <a:lnTo>
                    <a:pt x="8669" y="326"/>
                  </a:lnTo>
                  <a:lnTo>
                    <a:pt x="8646" y="348"/>
                  </a:lnTo>
                  <a:lnTo>
                    <a:pt x="8624" y="369"/>
                  </a:lnTo>
                  <a:lnTo>
                    <a:pt x="7914" y="1081"/>
                  </a:lnTo>
                  <a:lnTo>
                    <a:pt x="7892" y="1104"/>
                  </a:lnTo>
                  <a:lnTo>
                    <a:pt x="7870" y="1128"/>
                  </a:lnTo>
                  <a:lnTo>
                    <a:pt x="7850" y="1151"/>
                  </a:lnTo>
                  <a:lnTo>
                    <a:pt x="7829" y="1174"/>
                  </a:lnTo>
                  <a:lnTo>
                    <a:pt x="7810" y="1199"/>
                  </a:lnTo>
                  <a:lnTo>
                    <a:pt x="7792" y="1223"/>
                  </a:lnTo>
                  <a:lnTo>
                    <a:pt x="7773" y="1249"/>
                  </a:lnTo>
                  <a:lnTo>
                    <a:pt x="7756" y="1274"/>
                  </a:lnTo>
                  <a:lnTo>
                    <a:pt x="7739" y="1300"/>
                  </a:lnTo>
                  <a:lnTo>
                    <a:pt x="7723" y="1326"/>
                  </a:lnTo>
                  <a:lnTo>
                    <a:pt x="7707" y="1352"/>
                  </a:lnTo>
                  <a:lnTo>
                    <a:pt x="7692" y="1380"/>
                  </a:lnTo>
                  <a:lnTo>
                    <a:pt x="7678" y="1407"/>
                  </a:lnTo>
                  <a:lnTo>
                    <a:pt x="7665" y="1434"/>
                  </a:lnTo>
                  <a:lnTo>
                    <a:pt x="7652" y="1462"/>
                  </a:lnTo>
                  <a:lnTo>
                    <a:pt x="7640" y="1491"/>
                  </a:lnTo>
                  <a:lnTo>
                    <a:pt x="7629" y="1519"/>
                  </a:lnTo>
                  <a:lnTo>
                    <a:pt x="7618" y="1547"/>
                  </a:lnTo>
                  <a:lnTo>
                    <a:pt x="7608" y="1576"/>
                  </a:lnTo>
                  <a:lnTo>
                    <a:pt x="7599" y="1606"/>
                  </a:lnTo>
                  <a:lnTo>
                    <a:pt x="7591" y="1636"/>
                  </a:lnTo>
                  <a:lnTo>
                    <a:pt x="7583" y="1665"/>
                  </a:lnTo>
                  <a:lnTo>
                    <a:pt x="7576" y="1695"/>
                  </a:lnTo>
                  <a:lnTo>
                    <a:pt x="7569" y="1725"/>
                  </a:lnTo>
                  <a:lnTo>
                    <a:pt x="7564" y="1756"/>
                  </a:lnTo>
                  <a:lnTo>
                    <a:pt x="7559" y="1786"/>
                  </a:lnTo>
                  <a:lnTo>
                    <a:pt x="7555" y="1817"/>
                  </a:lnTo>
                  <a:lnTo>
                    <a:pt x="7551" y="1848"/>
                  </a:lnTo>
                  <a:lnTo>
                    <a:pt x="7549" y="1879"/>
                  </a:lnTo>
                  <a:lnTo>
                    <a:pt x="7547" y="1911"/>
                  </a:lnTo>
                  <a:lnTo>
                    <a:pt x="7546" y="1942"/>
                  </a:lnTo>
                  <a:lnTo>
                    <a:pt x="7545" y="1974"/>
                  </a:lnTo>
                  <a:lnTo>
                    <a:pt x="7546" y="2018"/>
                  </a:lnTo>
                  <a:lnTo>
                    <a:pt x="7548" y="2062"/>
                  </a:lnTo>
                  <a:lnTo>
                    <a:pt x="7552" y="2106"/>
                  </a:lnTo>
                  <a:lnTo>
                    <a:pt x="7557" y="2150"/>
                  </a:lnTo>
                  <a:lnTo>
                    <a:pt x="7564" y="2192"/>
                  </a:lnTo>
                  <a:lnTo>
                    <a:pt x="7572" y="2236"/>
                  </a:lnTo>
                  <a:lnTo>
                    <a:pt x="7582" y="2278"/>
                  </a:lnTo>
                  <a:lnTo>
                    <a:pt x="7593" y="2319"/>
                  </a:lnTo>
                  <a:lnTo>
                    <a:pt x="7605" y="2361"/>
                  </a:lnTo>
                  <a:lnTo>
                    <a:pt x="7619" y="2402"/>
                  </a:lnTo>
                  <a:lnTo>
                    <a:pt x="7634" y="2442"/>
                  </a:lnTo>
                  <a:lnTo>
                    <a:pt x="7651" y="2483"/>
                  </a:lnTo>
                  <a:lnTo>
                    <a:pt x="7669" y="2522"/>
                  </a:lnTo>
                  <a:lnTo>
                    <a:pt x="7688" y="2560"/>
                  </a:lnTo>
                  <a:lnTo>
                    <a:pt x="7710" y="2599"/>
                  </a:lnTo>
                  <a:lnTo>
                    <a:pt x="7732" y="2635"/>
                  </a:lnTo>
                  <a:lnTo>
                    <a:pt x="902" y="5377"/>
                  </a:lnTo>
                  <a:lnTo>
                    <a:pt x="860" y="5397"/>
                  </a:lnTo>
                  <a:lnTo>
                    <a:pt x="819" y="5418"/>
                  </a:lnTo>
                  <a:lnTo>
                    <a:pt x="778" y="5440"/>
                  </a:lnTo>
                  <a:lnTo>
                    <a:pt x="737" y="5462"/>
                  </a:lnTo>
                  <a:lnTo>
                    <a:pt x="699" y="5486"/>
                  </a:lnTo>
                  <a:lnTo>
                    <a:pt x="660" y="5511"/>
                  </a:lnTo>
                  <a:lnTo>
                    <a:pt x="623" y="5539"/>
                  </a:lnTo>
                  <a:lnTo>
                    <a:pt x="586" y="5566"/>
                  </a:lnTo>
                  <a:lnTo>
                    <a:pt x="550" y="5594"/>
                  </a:lnTo>
                  <a:lnTo>
                    <a:pt x="516" y="5623"/>
                  </a:lnTo>
                  <a:lnTo>
                    <a:pt x="482" y="5655"/>
                  </a:lnTo>
                  <a:lnTo>
                    <a:pt x="450" y="5686"/>
                  </a:lnTo>
                  <a:lnTo>
                    <a:pt x="417" y="5718"/>
                  </a:lnTo>
                  <a:lnTo>
                    <a:pt x="386" y="5751"/>
                  </a:lnTo>
                  <a:lnTo>
                    <a:pt x="357" y="5786"/>
                  </a:lnTo>
                  <a:lnTo>
                    <a:pt x="328" y="5821"/>
                  </a:lnTo>
                  <a:lnTo>
                    <a:pt x="301" y="5857"/>
                  </a:lnTo>
                  <a:lnTo>
                    <a:pt x="274" y="5894"/>
                  </a:lnTo>
                  <a:lnTo>
                    <a:pt x="248" y="5931"/>
                  </a:lnTo>
                  <a:lnTo>
                    <a:pt x="224" y="5969"/>
                  </a:lnTo>
                  <a:lnTo>
                    <a:pt x="200" y="6009"/>
                  </a:lnTo>
                  <a:lnTo>
                    <a:pt x="179" y="6049"/>
                  </a:lnTo>
                  <a:lnTo>
                    <a:pt x="158" y="6089"/>
                  </a:lnTo>
                  <a:lnTo>
                    <a:pt x="138" y="6131"/>
                  </a:lnTo>
                  <a:lnTo>
                    <a:pt x="120" y="6172"/>
                  </a:lnTo>
                  <a:lnTo>
                    <a:pt x="103" y="6214"/>
                  </a:lnTo>
                  <a:lnTo>
                    <a:pt x="87" y="6258"/>
                  </a:lnTo>
                  <a:lnTo>
                    <a:pt x="71" y="6301"/>
                  </a:lnTo>
                  <a:lnTo>
                    <a:pt x="58" y="6345"/>
                  </a:lnTo>
                  <a:lnTo>
                    <a:pt x="46" y="6390"/>
                  </a:lnTo>
                  <a:lnTo>
                    <a:pt x="36" y="6435"/>
                  </a:lnTo>
                  <a:lnTo>
                    <a:pt x="26" y="6481"/>
                  </a:lnTo>
                  <a:lnTo>
                    <a:pt x="18" y="6527"/>
                  </a:lnTo>
                  <a:lnTo>
                    <a:pt x="12" y="6573"/>
                  </a:lnTo>
                  <a:lnTo>
                    <a:pt x="7" y="6620"/>
                  </a:lnTo>
                  <a:lnTo>
                    <a:pt x="3" y="6666"/>
                  </a:lnTo>
                  <a:lnTo>
                    <a:pt x="1" y="6712"/>
                  </a:lnTo>
                  <a:lnTo>
                    <a:pt x="0" y="6759"/>
                  </a:lnTo>
                  <a:lnTo>
                    <a:pt x="1" y="6804"/>
                  </a:lnTo>
                  <a:lnTo>
                    <a:pt x="3" y="6850"/>
                  </a:lnTo>
                  <a:lnTo>
                    <a:pt x="6" y="6896"/>
                  </a:lnTo>
                  <a:lnTo>
                    <a:pt x="11" y="6941"/>
                  </a:lnTo>
                  <a:lnTo>
                    <a:pt x="17" y="6987"/>
                  </a:lnTo>
                  <a:lnTo>
                    <a:pt x="24" y="7032"/>
                  </a:lnTo>
                  <a:lnTo>
                    <a:pt x="33" y="7076"/>
                  </a:lnTo>
                  <a:lnTo>
                    <a:pt x="43" y="7121"/>
                  </a:lnTo>
                  <a:lnTo>
                    <a:pt x="55" y="7165"/>
                  </a:lnTo>
                  <a:lnTo>
                    <a:pt x="67" y="7209"/>
                  </a:lnTo>
                  <a:lnTo>
                    <a:pt x="81" y="7253"/>
                  </a:lnTo>
                  <a:lnTo>
                    <a:pt x="98" y="7295"/>
                  </a:lnTo>
                  <a:lnTo>
                    <a:pt x="114" y="7337"/>
                  </a:lnTo>
                  <a:lnTo>
                    <a:pt x="132" y="7380"/>
                  </a:lnTo>
                  <a:lnTo>
                    <a:pt x="152" y="7421"/>
                  </a:lnTo>
                  <a:lnTo>
                    <a:pt x="172" y="7462"/>
                  </a:lnTo>
                  <a:lnTo>
                    <a:pt x="194" y="7503"/>
                  </a:lnTo>
                  <a:lnTo>
                    <a:pt x="217" y="7542"/>
                  </a:lnTo>
                  <a:lnTo>
                    <a:pt x="241" y="7581"/>
                  </a:lnTo>
                  <a:lnTo>
                    <a:pt x="268" y="7620"/>
                  </a:lnTo>
                  <a:lnTo>
                    <a:pt x="294" y="7658"/>
                  </a:lnTo>
                  <a:lnTo>
                    <a:pt x="322" y="7695"/>
                  </a:lnTo>
                  <a:lnTo>
                    <a:pt x="351" y="7732"/>
                  </a:lnTo>
                  <a:lnTo>
                    <a:pt x="382" y="7767"/>
                  </a:lnTo>
                  <a:lnTo>
                    <a:pt x="413" y="7801"/>
                  </a:lnTo>
                  <a:lnTo>
                    <a:pt x="447" y="7835"/>
                  </a:lnTo>
                  <a:lnTo>
                    <a:pt x="6844" y="14177"/>
                  </a:lnTo>
                  <a:lnTo>
                    <a:pt x="6871" y="14203"/>
                  </a:lnTo>
                  <a:lnTo>
                    <a:pt x="6897" y="14228"/>
                  </a:lnTo>
                  <a:lnTo>
                    <a:pt x="6924" y="14252"/>
                  </a:lnTo>
                  <a:lnTo>
                    <a:pt x="6952" y="14275"/>
                  </a:lnTo>
                  <a:lnTo>
                    <a:pt x="6979" y="14298"/>
                  </a:lnTo>
                  <a:lnTo>
                    <a:pt x="7008" y="14320"/>
                  </a:lnTo>
                  <a:lnTo>
                    <a:pt x="7038" y="14341"/>
                  </a:lnTo>
                  <a:lnTo>
                    <a:pt x="7067" y="14362"/>
                  </a:lnTo>
                  <a:lnTo>
                    <a:pt x="7097" y="14381"/>
                  </a:lnTo>
                  <a:lnTo>
                    <a:pt x="7127" y="14400"/>
                  </a:lnTo>
                  <a:lnTo>
                    <a:pt x="7157" y="14418"/>
                  </a:lnTo>
                  <a:lnTo>
                    <a:pt x="7188" y="14436"/>
                  </a:lnTo>
                  <a:lnTo>
                    <a:pt x="7221" y="14453"/>
                  </a:lnTo>
                  <a:lnTo>
                    <a:pt x="7252" y="14469"/>
                  </a:lnTo>
                  <a:lnTo>
                    <a:pt x="7284" y="14484"/>
                  </a:lnTo>
                  <a:lnTo>
                    <a:pt x="7316" y="14499"/>
                  </a:lnTo>
                  <a:lnTo>
                    <a:pt x="7349" y="14512"/>
                  </a:lnTo>
                  <a:lnTo>
                    <a:pt x="7383" y="14525"/>
                  </a:lnTo>
                  <a:lnTo>
                    <a:pt x="7416" y="14537"/>
                  </a:lnTo>
                  <a:lnTo>
                    <a:pt x="7450" y="14548"/>
                  </a:lnTo>
                  <a:lnTo>
                    <a:pt x="7484" y="14558"/>
                  </a:lnTo>
                  <a:lnTo>
                    <a:pt x="7518" y="14569"/>
                  </a:lnTo>
                  <a:lnTo>
                    <a:pt x="7553" y="14578"/>
                  </a:lnTo>
                  <a:lnTo>
                    <a:pt x="7588" y="14586"/>
                  </a:lnTo>
                  <a:lnTo>
                    <a:pt x="7623" y="14593"/>
                  </a:lnTo>
                  <a:lnTo>
                    <a:pt x="7657" y="14599"/>
                  </a:lnTo>
                  <a:lnTo>
                    <a:pt x="7693" y="14605"/>
                  </a:lnTo>
                  <a:lnTo>
                    <a:pt x="7729" y="14609"/>
                  </a:lnTo>
                  <a:lnTo>
                    <a:pt x="7765" y="14613"/>
                  </a:lnTo>
                  <a:lnTo>
                    <a:pt x="7800" y="14616"/>
                  </a:lnTo>
                  <a:lnTo>
                    <a:pt x="7836" y="14618"/>
                  </a:lnTo>
                  <a:lnTo>
                    <a:pt x="7872" y="14619"/>
                  </a:lnTo>
                  <a:lnTo>
                    <a:pt x="7882" y="14620"/>
                  </a:lnTo>
                  <a:lnTo>
                    <a:pt x="7892" y="14620"/>
                  </a:lnTo>
                  <a:lnTo>
                    <a:pt x="7903" y="14620"/>
                  </a:lnTo>
                  <a:lnTo>
                    <a:pt x="7911" y="14620"/>
                  </a:lnTo>
                  <a:lnTo>
                    <a:pt x="7949" y="14619"/>
                  </a:lnTo>
                  <a:lnTo>
                    <a:pt x="7987" y="14618"/>
                  </a:lnTo>
                  <a:lnTo>
                    <a:pt x="8025" y="14616"/>
                  </a:lnTo>
                  <a:lnTo>
                    <a:pt x="8065" y="14612"/>
                  </a:lnTo>
                  <a:lnTo>
                    <a:pt x="8103" y="14608"/>
                  </a:lnTo>
                  <a:lnTo>
                    <a:pt x="8141" y="14602"/>
                  </a:lnTo>
                  <a:lnTo>
                    <a:pt x="8179" y="14596"/>
                  </a:lnTo>
                  <a:lnTo>
                    <a:pt x="8219" y="14589"/>
                  </a:lnTo>
                  <a:lnTo>
                    <a:pt x="8265" y="14578"/>
                  </a:lnTo>
                  <a:lnTo>
                    <a:pt x="8311" y="14566"/>
                  </a:lnTo>
                  <a:lnTo>
                    <a:pt x="8356" y="14552"/>
                  </a:lnTo>
                  <a:lnTo>
                    <a:pt x="8401" y="14538"/>
                  </a:lnTo>
                  <a:lnTo>
                    <a:pt x="8445" y="14522"/>
                  </a:lnTo>
                  <a:lnTo>
                    <a:pt x="8489" y="14505"/>
                  </a:lnTo>
                  <a:lnTo>
                    <a:pt x="8531" y="14487"/>
                  </a:lnTo>
                  <a:lnTo>
                    <a:pt x="8574" y="14467"/>
                  </a:lnTo>
                  <a:lnTo>
                    <a:pt x="8616" y="14446"/>
                  </a:lnTo>
                  <a:lnTo>
                    <a:pt x="8656" y="14423"/>
                  </a:lnTo>
                  <a:lnTo>
                    <a:pt x="8696" y="14400"/>
                  </a:lnTo>
                  <a:lnTo>
                    <a:pt x="8736" y="14375"/>
                  </a:lnTo>
                  <a:lnTo>
                    <a:pt x="8774" y="14350"/>
                  </a:lnTo>
                  <a:lnTo>
                    <a:pt x="8811" y="14323"/>
                  </a:lnTo>
                  <a:lnTo>
                    <a:pt x="8847" y="14294"/>
                  </a:lnTo>
                  <a:lnTo>
                    <a:pt x="8883" y="14265"/>
                  </a:lnTo>
                  <a:lnTo>
                    <a:pt x="8918" y="14235"/>
                  </a:lnTo>
                  <a:lnTo>
                    <a:pt x="8952" y="14204"/>
                  </a:lnTo>
                  <a:lnTo>
                    <a:pt x="8985" y="14171"/>
                  </a:lnTo>
                  <a:lnTo>
                    <a:pt x="9017" y="14138"/>
                  </a:lnTo>
                  <a:lnTo>
                    <a:pt x="9047" y="14104"/>
                  </a:lnTo>
                  <a:lnTo>
                    <a:pt x="9078" y="14068"/>
                  </a:lnTo>
                  <a:lnTo>
                    <a:pt x="9106" y="14032"/>
                  </a:lnTo>
                  <a:lnTo>
                    <a:pt x="9134" y="13995"/>
                  </a:lnTo>
                  <a:lnTo>
                    <a:pt x="9160" y="13957"/>
                  </a:lnTo>
                  <a:lnTo>
                    <a:pt x="9186" y="13918"/>
                  </a:lnTo>
                  <a:lnTo>
                    <a:pt x="9210" y="13878"/>
                  </a:lnTo>
                  <a:lnTo>
                    <a:pt x="9232" y="13838"/>
                  </a:lnTo>
                  <a:lnTo>
                    <a:pt x="9255" y="13796"/>
                  </a:lnTo>
                  <a:lnTo>
                    <a:pt x="9276" y="13754"/>
                  </a:lnTo>
                  <a:lnTo>
                    <a:pt x="9295" y="13711"/>
                  </a:lnTo>
                  <a:lnTo>
                    <a:pt x="9313" y="13666"/>
                  </a:lnTo>
                  <a:lnTo>
                    <a:pt x="12000" y="6923"/>
                  </a:lnTo>
                  <a:lnTo>
                    <a:pt x="12038" y="6948"/>
                  </a:lnTo>
                  <a:lnTo>
                    <a:pt x="12077" y="6970"/>
                  </a:lnTo>
                  <a:lnTo>
                    <a:pt x="12118" y="6993"/>
                  </a:lnTo>
                  <a:lnTo>
                    <a:pt x="12158" y="7012"/>
                  </a:lnTo>
                  <a:lnTo>
                    <a:pt x="12199" y="7031"/>
                  </a:lnTo>
                  <a:lnTo>
                    <a:pt x="12241" y="7047"/>
                  </a:lnTo>
                  <a:lnTo>
                    <a:pt x="12284" y="7063"/>
                  </a:lnTo>
                  <a:lnTo>
                    <a:pt x="12327" y="7076"/>
                  </a:lnTo>
                  <a:lnTo>
                    <a:pt x="12370" y="7088"/>
                  </a:lnTo>
                  <a:lnTo>
                    <a:pt x="12414" y="7099"/>
                  </a:lnTo>
                  <a:lnTo>
                    <a:pt x="12459" y="7109"/>
                  </a:lnTo>
                  <a:lnTo>
                    <a:pt x="12504" y="7116"/>
                  </a:lnTo>
                  <a:lnTo>
                    <a:pt x="12549" y="7122"/>
                  </a:lnTo>
                  <a:lnTo>
                    <a:pt x="12595" y="7126"/>
                  </a:lnTo>
                  <a:lnTo>
                    <a:pt x="12642" y="7129"/>
                  </a:lnTo>
                  <a:lnTo>
                    <a:pt x="12688" y="7130"/>
                  </a:lnTo>
                  <a:lnTo>
                    <a:pt x="12719" y="7129"/>
                  </a:lnTo>
                  <a:lnTo>
                    <a:pt x="12750" y="7128"/>
                  </a:lnTo>
                  <a:lnTo>
                    <a:pt x="12781" y="7126"/>
                  </a:lnTo>
                  <a:lnTo>
                    <a:pt x="12813" y="7123"/>
                  </a:lnTo>
                  <a:lnTo>
                    <a:pt x="12844" y="7120"/>
                  </a:lnTo>
                  <a:lnTo>
                    <a:pt x="12874" y="7116"/>
                  </a:lnTo>
                  <a:lnTo>
                    <a:pt x="12905" y="7111"/>
                  </a:lnTo>
                  <a:lnTo>
                    <a:pt x="12935" y="7105"/>
                  </a:lnTo>
                  <a:lnTo>
                    <a:pt x="12966" y="7098"/>
                  </a:lnTo>
                  <a:lnTo>
                    <a:pt x="12995" y="7091"/>
                  </a:lnTo>
                  <a:lnTo>
                    <a:pt x="13025" y="7083"/>
                  </a:lnTo>
                  <a:lnTo>
                    <a:pt x="13054" y="7075"/>
                  </a:lnTo>
                  <a:lnTo>
                    <a:pt x="13083" y="7066"/>
                  </a:lnTo>
                  <a:lnTo>
                    <a:pt x="13112" y="7056"/>
                  </a:lnTo>
                  <a:lnTo>
                    <a:pt x="13141" y="7045"/>
                  </a:lnTo>
                  <a:lnTo>
                    <a:pt x="13170" y="7034"/>
                  </a:lnTo>
                  <a:lnTo>
                    <a:pt x="13198" y="7022"/>
                  </a:lnTo>
                  <a:lnTo>
                    <a:pt x="13225" y="7009"/>
                  </a:lnTo>
                  <a:lnTo>
                    <a:pt x="13253" y="6996"/>
                  </a:lnTo>
                  <a:lnTo>
                    <a:pt x="13280" y="6981"/>
                  </a:lnTo>
                  <a:lnTo>
                    <a:pt x="13307" y="6966"/>
                  </a:lnTo>
                  <a:lnTo>
                    <a:pt x="13334" y="6950"/>
                  </a:lnTo>
                  <a:lnTo>
                    <a:pt x="13360" y="6934"/>
                  </a:lnTo>
                  <a:lnTo>
                    <a:pt x="13385" y="6918"/>
                  </a:lnTo>
                  <a:lnTo>
                    <a:pt x="13410" y="6900"/>
                  </a:lnTo>
                  <a:lnTo>
                    <a:pt x="13435" y="6882"/>
                  </a:lnTo>
                  <a:lnTo>
                    <a:pt x="13460" y="6863"/>
                  </a:lnTo>
                  <a:lnTo>
                    <a:pt x="13485" y="6843"/>
                  </a:lnTo>
                  <a:lnTo>
                    <a:pt x="13508" y="6823"/>
                  </a:lnTo>
                  <a:lnTo>
                    <a:pt x="13532" y="6803"/>
                  </a:lnTo>
                  <a:lnTo>
                    <a:pt x="13554" y="6781"/>
                  </a:lnTo>
                  <a:lnTo>
                    <a:pt x="13577" y="6759"/>
                  </a:lnTo>
                  <a:lnTo>
                    <a:pt x="14285" y="6050"/>
                  </a:lnTo>
                  <a:lnTo>
                    <a:pt x="14307" y="6028"/>
                  </a:lnTo>
                  <a:lnTo>
                    <a:pt x="14329" y="6005"/>
                  </a:lnTo>
                  <a:lnTo>
                    <a:pt x="14350" y="5980"/>
                  </a:lnTo>
                  <a:lnTo>
                    <a:pt x="14370" y="5957"/>
                  </a:lnTo>
                  <a:lnTo>
                    <a:pt x="14389" y="5932"/>
                  </a:lnTo>
                  <a:lnTo>
                    <a:pt x="14408" y="5908"/>
                  </a:lnTo>
                  <a:lnTo>
                    <a:pt x="14426" y="5883"/>
                  </a:lnTo>
                  <a:lnTo>
                    <a:pt x="14444" y="5857"/>
                  </a:lnTo>
                  <a:lnTo>
                    <a:pt x="14460" y="5831"/>
                  </a:lnTo>
                  <a:lnTo>
                    <a:pt x="14477" y="5805"/>
                  </a:lnTo>
                  <a:lnTo>
                    <a:pt x="14493" y="5778"/>
                  </a:lnTo>
                  <a:lnTo>
                    <a:pt x="14508" y="5751"/>
                  </a:lnTo>
                  <a:lnTo>
                    <a:pt x="14522" y="5724"/>
                  </a:lnTo>
                  <a:lnTo>
                    <a:pt x="14535" y="5696"/>
                  </a:lnTo>
                  <a:lnTo>
                    <a:pt x="14548" y="5668"/>
                  </a:lnTo>
                  <a:lnTo>
                    <a:pt x="14560" y="5640"/>
                  </a:lnTo>
                  <a:lnTo>
                    <a:pt x="14572" y="5611"/>
                  </a:lnTo>
                  <a:lnTo>
                    <a:pt x="14582" y="5583"/>
                  </a:lnTo>
                  <a:lnTo>
                    <a:pt x="14592" y="5554"/>
                  </a:lnTo>
                  <a:lnTo>
                    <a:pt x="14602" y="5525"/>
                  </a:lnTo>
                  <a:lnTo>
                    <a:pt x="14610" y="5494"/>
                  </a:lnTo>
                  <a:lnTo>
                    <a:pt x="14618" y="5465"/>
                  </a:lnTo>
                  <a:lnTo>
                    <a:pt x="14625" y="5435"/>
                  </a:lnTo>
                  <a:lnTo>
                    <a:pt x="14631" y="5405"/>
                  </a:lnTo>
                  <a:lnTo>
                    <a:pt x="14637" y="5373"/>
                  </a:lnTo>
                  <a:lnTo>
                    <a:pt x="14642" y="5343"/>
                  </a:lnTo>
                  <a:lnTo>
                    <a:pt x="14646" y="5312"/>
                  </a:lnTo>
                  <a:lnTo>
                    <a:pt x="14649" y="5282"/>
                  </a:lnTo>
                  <a:lnTo>
                    <a:pt x="14652" y="5250"/>
                  </a:lnTo>
                  <a:lnTo>
                    <a:pt x="14654" y="5219"/>
                  </a:lnTo>
                  <a:lnTo>
                    <a:pt x="14656" y="5187"/>
                  </a:lnTo>
                  <a:lnTo>
                    <a:pt x="14656" y="5156"/>
                  </a:lnTo>
                  <a:lnTo>
                    <a:pt x="14656" y="5124"/>
                  </a:lnTo>
                  <a:lnTo>
                    <a:pt x="14654" y="5092"/>
                  </a:lnTo>
                  <a:lnTo>
                    <a:pt x="14652" y="5061"/>
                  </a:lnTo>
                  <a:lnTo>
                    <a:pt x="14649" y="5030"/>
                  </a:lnTo>
                  <a:lnTo>
                    <a:pt x="14646" y="4999"/>
                  </a:lnTo>
                  <a:lnTo>
                    <a:pt x="14642" y="4968"/>
                  </a:lnTo>
                  <a:lnTo>
                    <a:pt x="14637" y="4938"/>
                  </a:lnTo>
                  <a:lnTo>
                    <a:pt x="14631" y="4908"/>
                  </a:lnTo>
                  <a:lnTo>
                    <a:pt x="14625" y="4877"/>
                  </a:lnTo>
                  <a:lnTo>
                    <a:pt x="14618" y="4847"/>
                  </a:lnTo>
                  <a:lnTo>
                    <a:pt x="14610" y="4817"/>
                  </a:lnTo>
                  <a:lnTo>
                    <a:pt x="14602" y="4788"/>
                  </a:lnTo>
                  <a:lnTo>
                    <a:pt x="14592" y="4758"/>
                  </a:lnTo>
                  <a:lnTo>
                    <a:pt x="14583" y="4729"/>
                  </a:lnTo>
                  <a:lnTo>
                    <a:pt x="14572" y="4701"/>
                  </a:lnTo>
                  <a:lnTo>
                    <a:pt x="14561" y="4672"/>
                  </a:lnTo>
                  <a:lnTo>
                    <a:pt x="14549" y="4643"/>
                  </a:lnTo>
                  <a:lnTo>
                    <a:pt x="14536" y="4616"/>
                  </a:lnTo>
                  <a:lnTo>
                    <a:pt x="14523" y="4589"/>
                  </a:lnTo>
                  <a:lnTo>
                    <a:pt x="14509" y="4562"/>
                  </a:lnTo>
                  <a:lnTo>
                    <a:pt x="14494" y="4534"/>
                  </a:lnTo>
                  <a:lnTo>
                    <a:pt x="14478" y="4508"/>
                  </a:lnTo>
                  <a:lnTo>
                    <a:pt x="14462" y="4482"/>
                  </a:lnTo>
                  <a:lnTo>
                    <a:pt x="14445" y="4456"/>
                  </a:lnTo>
                  <a:lnTo>
                    <a:pt x="14428" y="4431"/>
                  </a:lnTo>
                  <a:lnTo>
                    <a:pt x="14410" y="4405"/>
                  </a:lnTo>
                  <a:lnTo>
                    <a:pt x="14391" y="4381"/>
                  </a:lnTo>
                  <a:lnTo>
                    <a:pt x="14372" y="4357"/>
                  </a:lnTo>
                  <a:lnTo>
                    <a:pt x="14352" y="4333"/>
                  </a:lnTo>
                  <a:lnTo>
                    <a:pt x="14331" y="4310"/>
                  </a:lnTo>
                  <a:lnTo>
                    <a:pt x="14309" y="4287"/>
                  </a:lnTo>
                  <a:lnTo>
                    <a:pt x="14288" y="4265"/>
                  </a:lnTo>
                  <a:lnTo>
                    <a:pt x="10402" y="3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54" name="îSlîḍê">
              <a:extLst>
                <a:ext uri="{FF2B5EF4-FFF2-40B4-BE49-F238E27FC236}">
                  <a16:creationId xmlns:a16="http://schemas.microsoft.com/office/drawing/2014/main" id="{1C323E3B-424F-4B5C-9CAB-2458B57D640E}"/>
                </a:ext>
              </a:extLst>
            </p:cNvPr>
            <p:cNvSpPr/>
            <p:nvPr/>
          </p:nvSpPr>
          <p:spPr bwMode="auto">
            <a:xfrm>
              <a:off x="8009581" y="797163"/>
              <a:ext cx="95878" cy="95878"/>
            </a:xfrm>
            <a:custGeom>
              <a:avLst/>
              <a:gdLst>
                <a:gd name="T0" fmla="*/ 1409 w 2514"/>
                <a:gd name="T1" fmla="*/ 519 h 2521"/>
                <a:gd name="T2" fmla="*/ 1584 w 2514"/>
                <a:gd name="T3" fmla="*/ 579 h 2521"/>
                <a:gd name="T4" fmla="*/ 1737 w 2514"/>
                <a:gd name="T5" fmla="*/ 677 h 2521"/>
                <a:gd name="T6" fmla="*/ 1862 w 2514"/>
                <a:gd name="T7" fmla="*/ 808 h 2521"/>
                <a:gd name="T8" fmla="*/ 1952 w 2514"/>
                <a:gd name="T9" fmla="*/ 966 h 2521"/>
                <a:gd name="T10" fmla="*/ 2002 w 2514"/>
                <a:gd name="T11" fmla="*/ 1145 h 2521"/>
                <a:gd name="T12" fmla="*/ 2007 w 2514"/>
                <a:gd name="T13" fmla="*/ 1338 h 2521"/>
                <a:gd name="T14" fmla="*/ 1966 w 2514"/>
                <a:gd name="T15" fmla="*/ 1520 h 2521"/>
                <a:gd name="T16" fmla="*/ 1883 w 2514"/>
                <a:gd name="T17" fmla="*/ 1683 h 2521"/>
                <a:gd name="T18" fmla="*/ 1765 w 2514"/>
                <a:gd name="T19" fmla="*/ 1820 h 2521"/>
                <a:gd name="T20" fmla="*/ 1617 w 2514"/>
                <a:gd name="T21" fmla="*/ 1925 h 2521"/>
                <a:gd name="T22" fmla="*/ 1446 w 2514"/>
                <a:gd name="T23" fmla="*/ 1992 h 2521"/>
                <a:gd name="T24" fmla="*/ 1257 w 2514"/>
                <a:gd name="T25" fmla="*/ 2017 h 2521"/>
                <a:gd name="T26" fmla="*/ 1069 w 2514"/>
                <a:gd name="T27" fmla="*/ 1992 h 2521"/>
                <a:gd name="T28" fmla="*/ 897 w 2514"/>
                <a:gd name="T29" fmla="*/ 1925 h 2521"/>
                <a:gd name="T30" fmla="*/ 750 w 2514"/>
                <a:gd name="T31" fmla="*/ 1820 h 2521"/>
                <a:gd name="T32" fmla="*/ 631 w 2514"/>
                <a:gd name="T33" fmla="*/ 1683 h 2521"/>
                <a:gd name="T34" fmla="*/ 549 w 2514"/>
                <a:gd name="T35" fmla="*/ 1520 h 2521"/>
                <a:gd name="T36" fmla="*/ 507 w 2514"/>
                <a:gd name="T37" fmla="*/ 1338 h 2521"/>
                <a:gd name="T38" fmla="*/ 512 w 2514"/>
                <a:gd name="T39" fmla="*/ 1145 h 2521"/>
                <a:gd name="T40" fmla="*/ 562 w 2514"/>
                <a:gd name="T41" fmla="*/ 966 h 2521"/>
                <a:gd name="T42" fmla="*/ 652 w 2514"/>
                <a:gd name="T43" fmla="*/ 808 h 2521"/>
                <a:gd name="T44" fmla="*/ 777 w 2514"/>
                <a:gd name="T45" fmla="*/ 677 h 2521"/>
                <a:gd name="T46" fmla="*/ 930 w 2514"/>
                <a:gd name="T47" fmla="*/ 579 h 2521"/>
                <a:gd name="T48" fmla="*/ 1105 w 2514"/>
                <a:gd name="T49" fmla="*/ 519 h 2521"/>
                <a:gd name="T50" fmla="*/ 1257 w 2514"/>
                <a:gd name="T51" fmla="*/ 2521 h 2521"/>
                <a:gd name="T52" fmla="*/ 1571 w 2514"/>
                <a:gd name="T53" fmla="*/ 2481 h 2521"/>
                <a:gd name="T54" fmla="*/ 1856 w 2514"/>
                <a:gd name="T55" fmla="*/ 2368 h 2521"/>
                <a:gd name="T56" fmla="*/ 2102 w 2514"/>
                <a:gd name="T57" fmla="*/ 2193 h 2521"/>
                <a:gd name="T58" fmla="*/ 2299 w 2514"/>
                <a:gd name="T59" fmla="*/ 1964 h 2521"/>
                <a:gd name="T60" fmla="*/ 2438 w 2514"/>
                <a:gd name="T61" fmla="*/ 1693 h 2521"/>
                <a:gd name="T62" fmla="*/ 2508 w 2514"/>
                <a:gd name="T63" fmla="*/ 1389 h 2521"/>
                <a:gd name="T64" fmla="*/ 2500 w 2514"/>
                <a:gd name="T65" fmla="*/ 1069 h 2521"/>
                <a:gd name="T66" fmla="*/ 2416 w 2514"/>
                <a:gd name="T67" fmla="*/ 770 h 2521"/>
                <a:gd name="T68" fmla="*/ 2264 w 2514"/>
                <a:gd name="T69" fmla="*/ 506 h 2521"/>
                <a:gd name="T70" fmla="*/ 2057 w 2514"/>
                <a:gd name="T71" fmla="*/ 288 h 2521"/>
                <a:gd name="T72" fmla="*/ 1801 w 2514"/>
                <a:gd name="T73" fmla="*/ 124 h 2521"/>
                <a:gd name="T74" fmla="*/ 1510 w 2514"/>
                <a:gd name="T75" fmla="*/ 25 h 2521"/>
                <a:gd name="T76" fmla="*/ 1193 w 2514"/>
                <a:gd name="T77" fmla="*/ 2 h 2521"/>
                <a:gd name="T78" fmla="*/ 884 w 2514"/>
                <a:gd name="T79" fmla="*/ 56 h 2521"/>
                <a:gd name="T80" fmla="*/ 606 w 2514"/>
                <a:gd name="T81" fmla="*/ 182 h 2521"/>
                <a:gd name="T82" fmla="*/ 369 w 2514"/>
                <a:gd name="T83" fmla="*/ 369 h 2521"/>
                <a:gd name="T84" fmla="*/ 182 w 2514"/>
                <a:gd name="T85" fmla="*/ 607 h 2521"/>
                <a:gd name="T86" fmla="*/ 57 w 2514"/>
                <a:gd name="T87" fmla="*/ 886 h 2521"/>
                <a:gd name="T88" fmla="*/ 2 w 2514"/>
                <a:gd name="T89" fmla="*/ 1196 h 2521"/>
                <a:gd name="T90" fmla="*/ 26 w 2514"/>
                <a:gd name="T91" fmla="*/ 1514 h 2521"/>
                <a:gd name="T92" fmla="*/ 124 w 2514"/>
                <a:gd name="T93" fmla="*/ 1806 h 2521"/>
                <a:gd name="T94" fmla="*/ 287 w 2514"/>
                <a:gd name="T95" fmla="*/ 2062 h 2521"/>
                <a:gd name="T96" fmla="*/ 506 w 2514"/>
                <a:gd name="T97" fmla="*/ 2270 h 2521"/>
                <a:gd name="T98" fmla="*/ 768 w 2514"/>
                <a:gd name="T99" fmla="*/ 2422 h 2521"/>
                <a:gd name="T100" fmla="*/ 1066 w 2514"/>
                <a:gd name="T101" fmla="*/ 2507 h 2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14" h="2521">
                  <a:moveTo>
                    <a:pt x="1257" y="504"/>
                  </a:moveTo>
                  <a:lnTo>
                    <a:pt x="1296" y="505"/>
                  </a:lnTo>
                  <a:lnTo>
                    <a:pt x="1334" y="508"/>
                  </a:lnTo>
                  <a:lnTo>
                    <a:pt x="1372" y="513"/>
                  </a:lnTo>
                  <a:lnTo>
                    <a:pt x="1409" y="519"/>
                  </a:lnTo>
                  <a:lnTo>
                    <a:pt x="1446" y="528"/>
                  </a:lnTo>
                  <a:lnTo>
                    <a:pt x="1481" y="538"/>
                  </a:lnTo>
                  <a:lnTo>
                    <a:pt x="1517" y="551"/>
                  </a:lnTo>
                  <a:lnTo>
                    <a:pt x="1551" y="564"/>
                  </a:lnTo>
                  <a:lnTo>
                    <a:pt x="1584" y="579"/>
                  </a:lnTo>
                  <a:lnTo>
                    <a:pt x="1617" y="596"/>
                  </a:lnTo>
                  <a:lnTo>
                    <a:pt x="1648" y="614"/>
                  </a:lnTo>
                  <a:lnTo>
                    <a:pt x="1679" y="633"/>
                  </a:lnTo>
                  <a:lnTo>
                    <a:pt x="1709" y="654"/>
                  </a:lnTo>
                  <a:lnTo>
                    <a:pt x="1737" y="677"/>
                  </a:lnTo>
                  <a:lnTo>
                    <a:pt x="1765" y="701"/>
                  </a:lnTo>
                  <a:lnTo>
                    <a:pt x="1791" y="726"/>
                  </a:lnTo>
                  <a:lnTo>
                    <a:pt x="1815" y="752"/>
                  </a:lnTo>
                  <a:lnTo>
                    <a:pt x="1839" y="779"/>
                  </a:lnTo>
                  <a:lnTo>
                    <a:pt x="1862" y="808"/>
                  </a:lnTo>
                  <a:lnTo>
                    <a:pt x="1883" y="838"/>
                  </a:lnTo>
                  <a:lnTo>
                    <a:pt x="1903" y="868"/>
                  </a:lnTo>
                  <a:lnTo>
                    <a:pt x="1921" y="900"/>
                  </a:lnTo>
                  <a:lnTo>
                    <a:pt x="1937" y="933"/>
                  </a:lnTo>
                  <a:lnTo>
                    <a:pt x="1952" y="966"/>
                  </a:lnTo>
                  <a:lnTo>
                    <a:pt x="1966" y="1000"/>
                  </a:lnTo>
                  <a:lnTo>
                    <a:pt x="1977" y="1035"/>
                  </a:lnTo>
                  <a:lnTo>
                    <a:pt x="1988" y="1072"/>
                  </a:lnTo>
                  <a:lnTo>
                    <a:pt x="1996" y="1108"/>
                  </a:lnTo>
                  <a:lnTo>
                    <a:pt x="2002" y="1145"/>
                  </a:lnTo>
                  <a:lnTo>
                    <a:pt x="2007" y="1183"/>
                  </a:lnTo>
                  <a:lnTo>
                    <a:pt x="2010" y="1221"/>
                  </a:lnTo>
                  <a:lnTo>
                    <a:pt x="2011" y="1260"/>
                  </a:lnTo>
                  <a:lnTo>
                    <a:pt x="2010" y="1300"/>
                  </a:lnTo>
                  <a:lnTo>
                    <a:pt x="2007" y="1338"/>
                  </a:lnTo>
                  <a:lnTo>
                    <a:pt x="2002" y="1375"/>
                  </a:lnTo>
                  <a:lnTo>
                    <a:pt x="1996" y="1413"/>
                  </a:lnTo>
                  <a:lnTo>
                    <a:pt x="1988" y="1449"/>
                  </a:lnTo>
                  <a:lnTo>
                    <a:pt x="1977" y="1485"/>
                  </a:lnTo>
                  <a:lnTo>
                    <a:pt x="1966" y="1520"/>
                  </a:lnTo>
                  <a:lnTo>
                    <a:pt x="1952" y="1555"/>
                  </a:lnTo>
                  <a:lnTo>
                    <a:pt x="1937" y="1588"/>
                  </a:lnTo>
                  <a:lnTo>
                    <a:pt x="1921" y="1620"/>
                  </a:lnTo>
                  <a:lnTo>
                    <a:pt x="1903" y="1653"/>
                  </a:lnTo>
                  <a:lnTo>
                    <a:pt x="1883" y="1683"/>
                  </a:lnTo>
                  <a:lnTo>
                    <a:pt x="1862" y="1713"/>
                  </a:lnTo>
                  <a:lnTo>
                    <a:pt x="1839" y="1741"/>
                  </a:lnTo>
                  <a:lnTo>
                    <a:pt x="1815" y="1768"/>
                  </a:lnTo>
                  <a:lnTo>
                    <a:pt x="1791" y="1795"/>
                  </a:lnTo>
                  <a:lnTo>
                    <a:pt x="1765" y="1820"/>
                  </a:lnTo>
                  <a:lnTo>
                    <a:pt x="1737" y="1844"/>
                  </a:lnTo>
                  <a:lnTo>
                    <a:pt x="1709" y="1866"/>
                  </a:lnTo>
                  <a:lnTo>
                    <a:pt x="1679" y="1887"/>
                  </a:lnTo>
                  <a:lnTo>
                    <a:pt x="1648" y="1907"/>
                  </a:lnTo>
                  <a:lnTo>
                    <a:pt x="1617" y="1925"/>
                  </a:lnTo>
                  <a:lnTo>
                    <a:pt x="1584" y="1942"/>
                  </a:lnTo>
                  <a:lnTo>
                    <a:pt x="1551" y="1957"/>
                  </a:lnTo>
                  <a:lnTo>
                    <a:pt x="1517" y="1970"/>
                  </a:lnTo>
                  <a:lnTo>
                    <a:pt x="1481" y="1982"/>
                  </a:lnTo>
                  <a:lnTo>
                    <a:pt x="1446" y="1992"/>
                  </a:lnTo>
                  <a:lnTo>
                    <a:pt x="1409" y="2001"/>
                  </a:lnTo>
                  <a:lnTo>
                    <a:pt x="1372" y="2007"/>
                  </a:lnTo>
                  <a:lnTo>
                    <a:pt x="1334" y="2012"/>
                  </a:lnTo>
                  <a:lnTo>
                    <a:pt x="1296" y="2015"/>
                  </a:lnTo>
                  <a:lnTo>
                    <a:pt x="1257" y="2017"/>
                  </a:lnTo>
                  <a:lnTo>
                    <a:pt x="1219" y="2015"/>
                  </a:lnTo>
                  <a:lnTo>
                    <a:pt x="1180" y="2012"/>
                  </a:lnTo>
                  <a:lnTo>
                    <a:pt x="1142" y="2007"/>
                  </a:lnTo>
                  <a:lnTo>
                    <a:pt x="1105" y="2001"/>
                  </a:lnTo>
                  <a:lnTo>
                    <a:pt x="1069" y="1992"/>
                  </a:lnTo>
                  <a:lnTo>
                    <a:pt x="1033" y="1982"/>
                  </a:lnTo>
                  <a:lnTo>
                    <a:pt x="997" y="1970"/>
                  </a:lnTo>
                  <a:lnTo>
                    <a:pt x="963" y="1957"/>
                  </a:lnTo>
                  <a:lnTo>
                    <a:pt x="930" y="1942"/>
                  </a:lnTo>
                  <a:lnTo>
                    <a:pt x="897" y="1925"/>
                  </a:lnTo>
                  <a:lnTo>
                    <a:pt x="866" y="1907"/>
                  </a:lnTo>
                  <a:lnTo>
                    <a:pt x="835" y="1887"/>
                  </a:lnTo>
                  <a:lnTo>
                    <a:pt x="805" y="1866"/>
                  </a:lnTo>
                  <a:lnTo>
                    <a:pt x="777" y="1844"/>
                  </a:lnTo>
                  <a:lnTo>
                    <a:pt x="750" y="1820"/>
                  </a:lnTo>
                  <a:lnTo>
                    <a:pt x="724" y="1795"/>
                  </a:lnTo>
                  <a:lnTo>
                    <a:pt x="699" y="1768"/>
                  </a:lnTo>
                  <a:lnTo>
                    <a:pt x="675" y="1741"/>
                  </a:lnTo>
                  <a:lnTo>
                    <a:pt x="652" y="1713"/>
                  </a:lnTo>
                  <a:lnTo>
                    <a:pt x="631" y="1683"/>
                  </a:lnTo>
                  <a:lnTo>
                    <a:pt x="612" y="1653"/>
                  </a:lnTo>
                  <a:lnTo>
                    <a:pt x="594" y="1620"/>
                  </a:lnTo>
                  <a:lnTo>
                    <a:pt x="577" y="1588"/>
                  </a:lnTo>
                  <a:lnTo>
                    <a:pt x="562" y="1555"/>
                  </a:lnTo>
                  <a:lnTo>
                    <a:pt x="549" y="1520"/>
                  </a:lnTo>
                  <a:lnTo>
                    <a:pt x="537" y="1485"/>
                  </a:lnTo>
                  <a:lnTo>
                    <a:pt x="527" y="1449"/>
                  </a:lnTo>
                  <a:lnTo>
                    <a:pt x="518" y="1413"/>
                  </a:lnTo>
                  <a:lnTo>
                    <a:pt x="512" y="1375"/>
                  </a:lnTo>
                  <a:lnTo>
                    <a:pt x="507" y="1338"/>
                  </a:lnTo>
                  <a:lnTo>
                    <a:pt x="504" y="1300"/>
                  </a:lnTo>
                  <a:lnTo>
                    <a:pt x="503" y="1260"/>
                  </a:lnTo>
                  <a:lnTo>
                    <a:pt x="504" y="1221"/>
                  </a:lnTo>
                  <a:lnTo>
                    <a:pt x="507" y="1183"/>
                  </a:lnTo>
                  <a:lnTo>
                    <a:pt x="512" y="1145"/>
                  </a:lnTo>
                  <a:lnTo>
                    <a:pt x="518" y="1108"/>
                  </a:lnTo>
                  <a:lnTo>
                    <a:pt x="527" y="1072"/>
                  </a:lnTo>
                  <a:lnTo>
                    <a:pt x="537" y="1035"/>
                  </a:lnTo>
                  <a:lnTo>
                    <a:pt x="549" y="1000"/>
                  </a:lnTo>
                  <a:lnTo>
                    <a:pt x="562" y="966"/>
                  </a:lnTo>
                  <a:lnTo>
                    <a:pt x="577" y="933"/>
                  </a:lnTo>
                  <a:lnTo>
                    <a:pt x="594" y="900"/>
                  </a:lnTo>
                  <a:lnTo>
                    <a:pt x="612" y="868"/>
                  </a:lnTo>
                  <a:lnTo>
                    <a:pt x="631" y="838"/>
                  </a:lnTo>
                  <a:lnTo>
                    <a:pt x="652" y="808"/>
                  </a:lnTo>
                  <a:lnTo>
                    <a:pt x="675" y="779"/>
                  </a:lnTo>
                  <a:lnTo>
                    <a:pt x="699" y="752"/>
                  </a:lnTo>
                  <a:lnTo>
                    <a:pt x="724" y="726"/>
                  </a:lnTo>
                  <a:lnTo>
                    <a:pt x="750" y="701"/>
                  </a:lnTo>
                  <a:lnTo>
                    <a:pt x="777" y="677"/>
                  </a:lnTo>
                  <a:lnTo>
                    <a:pt x="805" y="654"/>
                  </a:lnTo>
                  <a:lnTo>
                    <a:pt x="835" y="633"/>
                  </a:lnTo>
                  <a:lnTo>
                    <a:pt x="866" y="614"/>
                  </a:lnTo>
                  <a:lnTo>
                    <a:pt x="897" y="596"/>
                  </a:lnTo>
                  <a:lnTo>
                    <a:pt x="930" y="579"/>
                  </a:lnTo>
                  <a:lnTo>
                    <a:pt x="963" y="564"/>
                  </a:lnTo>
                  <a:lnTo>
                    <a:pt x="997" y="551"/>
                  </a:lnTo>
                  <a:lnTo>
                    <a:pt x="1033" y="538"/>
                  </a:lnTo>
                  <a:lnTo>
                    <a:pt x="1069" y="528"/>
                  </a:lnTo>
                  <a:lnTo>
                    <a:pt x="1105" y="519"/>
                  </a:lnTo>
                  <a:lnTo>
                    <a:pt x="1142" y="513"/>
                  </a:lnTo>
                  <a:lnTo>
                    <a:pt x="1180" y="508"/>
                  </a:lnTo>
                  <a:lnTo>
                    <a:pt x="1219" y="505"/>
                  </a:lnTo>
                  <a:lnTo>
                    <a:pt x="1257" y="504"/>
                  </a:lnTo>
                  <a:close/>
                  <a:moveTo>
                    <a:pt x="1257" y="2521"/>
                  </a:moveTo>
                  <a:lnTo>
                    <a:pt x="1321" y="2519"/>
                  </a:lnTo>
                  <a:lnTo>
                    <a:pt x="1386" y="2515"/>
                  </a:lnTo>
                  <a:lnTo>
                    <a:pt x="1448" y="2507"/>
                  </a:lnTo>
                  <a:lnTo>
                    <a:pt x="1510" y="2495"/>
                  </a:lnTo>
                  <a:lnTo>
                    <a:pt x="1571" y="2481"/>
                  </a:lnTo>
                  <a:lnTo>
                    <a:pt x="1630" y="2464"/>
                  </a:lnTo>
                  <a:lnTo>
                    <a:pt x="1689" y="2444"/>
                  </a:lnTo>
                  <a:lnTo>
                    <a:pt x="1746" y="2422"/>
                  </a:lnTo>
                  <a:lnTo>
                    <a:pt x="1801" y="2396"/>
                  </a:lnTo>
                  <a:lnTo>
                    <a:pt x="1856" y="2368"/>
                  </a:lnTo>
                  <a:lnTo>
                    <a:pt x="1909" y="2338"/>
                  </a:lnTo>
                  <a:lnTo>
                    <a:pt x="1959" y="2305"/>
                  </a:lnTo>
                  <a:lnTo>
                    <a:pt x="2008" y="2270"/>
                  </a:lnTo>
                  <a:lnTo>
                    <a:pt x="2057" y="2232"/>
                  </a:lnTo>
                  <a:lnTo>
                    <a:pt x="2102" y="2193"/>
                  </a:lnTo>
                  <a:lnTo>
                    <a:pt x="2145" y="2151"/>
                  </a:lnTo>
                  <a:lnTo>
                    <a:pt x="2187" y="2107"/>
                  </a:lnTo>
                  <a:lnTo>
                    <a:pt x="2227" y="2062"/>
                  </a:lnTo>
                  <a:lnTo>
                    <a:pt x="2264" y="2013"/>
                  </a:lnTo>
                  <a:lnTo>
                    <a:pt x="2299" y="1964"/>
                  </a:lnTo>
                  <a:lnTo>
                    <a:pt x="2332" y="1914"/>
                  </a:lnTo>
                  <a:lnTo>
                    <a:pt x="2363" y="1860"/>
                  </a:lnTo>
                  <a:lnTo>
                    <a:pt x="2391" y="1806"/>
                  </a:lnTo>
                  <a:lnTo>
                    <a:pt x="2416" y="1750"/>
                  </a:lnTo>
                  <a:lnTo>
                    <a:pt x="2438" y="1693"/>
                  </a:lnTo>
                  <a:lnTo>
                    <a:pt x="2458" y="1634"/>
                  </a:lnTo>
                  <a:lnTo>
                    <a:pt x="2475" y="1575"/>
                  </a:lnTo>
                  <a:lnTo>
                    <a:pt x="2489" y="1514"/>
                  </a:lnTo>
                  <a:lnTo>
                    <a:pt x="2500" y="1452"/>
                  </a:lnTo>
                  <a:lnTo>
                    <a:pt x="2508" y="1389"/>
                  </a:lnTo>
                  <a:lnTo>
                    <a:pt x="2512" y="1325"/>
                  </a:lnTo>
                  <a:lnTo>
                    <a:pt x="2514" y="1260"/>
                  </a:lnTo>
                  <a:lnTo>
                    <a:pt x="2512" y="1196"/>
                  </a:lnTo>
                  <a:lnTo>
                    <a:pt x="2508" y="1131"/>
                  </a:lnTo>
                  <a:lnTo>
                    <a:pt x="2500" y="1069"/>
                  </a:lnTo>
                  <a:lnTo>
                    <a:pt x="2489" y="1006"/>
                  </a:lnTo>
                  <a:lnTo>
                    <a:pt x="2475" y="946"/>
                  </a:lnTo>
                  <a:lnTo>
                    <a:pt x="2458" y="886"/>
                  </a:lnTo>
                  <a:lnTo>
                    <a:pt x="2438" y="828"/>
                  </a:lnTo>
                  <a:lnTo>
                    <a:pt x="2416" y="770"/>
                  </a:lnTo>
                  <a:lnTo>
                    <a:pt x="2391" y="714"/>
                  </a:lnTo>
                  <a:lnTo>
                    <a:pt x="2363" y="659"/>
                  </a:lnTo>
                  <a:lnTo>
                    <a:pt x="2332" y="607"/>
                  </a:lnTo>
                  <a:lnTo>
                    <a:pt x="2299" y="556"/>
                  </a:lnTo>
                  <a:lnTo>
                    <a:pt x="2264" y="506"/>
                  </a:lnTo>
                  <a:lnTo>
                    <a:pt x="2227" y="459"/>
                  </a:lnTo>
                  <a:lnTo>
                    <a:pt x="2187" y="413"/>
                  </a:lnTo>
                  <a:lnTo>
                    <a:pt x="2145" y="369"/>
                  </a:lnTo>
                  <a:lnTo>
                    <a:pt x="2102" y="328"/>
                  </a:lnTo>
                  <a:lnTo>
                    <a:pt x="2057" y="288"/>
                  </a:lnTo>
                  <a:lnTo>
                    <a:pt x="2008" y="251"/>
                  </a:lnTo>
                  <a:lnTo>
                    <a:pt x="1959" y="216"/>
                  </a:lnTo>
                  <a:lnTo>
                    <a:pt x="1909" y="182"/>
                  </a:lnTo>
                  <a:lnTo>
                    <a:pt x="1856" y="152"/>
                  </a:lnTo>
                  <a:lnTo>
                    <a:pt x="1801" y="124"/>
                  </a:lnTo>
                  <a:lnTo>
                    <a:pt x="1746" y="99"/>
                  </a:lnTo>
                  <a:lnTo>
                    <a:pt x="1689" y="77"/>
                  </a:lnTo>
                  <a:lnTo>
                    <a:pt x="1630" y="56"/>
                  </a:lnTo>
                  <a:lnTo>
                    <a:pt x="1571" y="39"/>
                  </a:lnTo>
                  <a:lnTo>
                    <a:pt x="1510" y="25"/>
                  </a:lnTo>
                  <a:lnTo>
                    <a:pt x="1448" y="14"/>
                  </a:lnTo>
                  <a:lnTo>
                    <a:pt x="1386" y="6"/>
                  </a:lnTo>
                  <a:lnTo>
                    <a:pt x="1321" y="2"/>
                  </a:lnTo>
                  <a:lnTo>
                    <a:pt x="1257" y="0"/>
                  </a:lnTo>
                  <a:lnTo>
                    <a:pt x="1193" y="2"/>
                  </a:lnTo>
                  <a:lnTo>
                    <a:pt x="1129" y="6"/>
                  </a:lnTo>
                  <a:lnTo>
                    <a:pt x="1066" y="14"/>
                  </a:lnTo>
                  <a:lnTo>
                    <a:pt x="1004" y="25"/>
                  </a:lnTo>
                  <a:lnTo>
                    <a:pt x="943" y="39"/>
                  </a:lnTo>
                  <a:lnTo>
                    <a:pt x="884" y="56"/>
                  </a:lnTo>
                  <a:lnTo>
                    <a:pt x="825" y="77"/>
                  </a:lnTo>
                  <a:lnTo>
                    <a:pt x="768" y="99"/>
                  </a:lnTo>
                  <a:lnTo>
                    <a:pt x="713" y="124"/>
                  </a:lnTo>
                  <a:lnTo>
                    <a:pt x="658" y="152"/>
                  </a:lnTo>
                  <a:lnTo>
                    <a:pt x="606" y="182"/>
                  </a:lnTo>
                  <a:lnTo>
                    <a:pt x="555" y="216"/>
                  </a:lnTo>
                  <a:lnTo>
                    <a:pt x="506" y="251"/>
                  </a:lnTo>
                  <a:lnTo>
                    <a:pt x="458" y="288"/>
                  </a:lnTo>
                  <a:lnTo>
                    <a:pt x="412" y="328"/>
                  </a:lnTo>
                  <a:lnTo>
                    <a:pt x="369" y="369"/>
                  </a:lnTo>
                  <a:lnTo>
                    <a:pt x="326" y="413"/>
                  </a:lnTo>
                  <a:lnTo>
                    <a:pt x="287" y="459"/>
                  </a:lnTo>
                  <a:lnTo>
                    <a:pt x="250" y="506"/>
                  </a:lnTo>
                  <a:lnTo>
                    <a:pt x="215" y="556"/>
                  </a:lnTo>
                  <a:lnTo>
                    <a:pt x="182" y="607"/>
                  </a:lnTo>
                  <a:lnTo>
                    <a:pt x="151" y="659"/>
                  </a:lnTo>
                  <a:lnTo>
                    <a:pt x="124" y="714"/>
                  </a:lnTo>
                  <a:lnTo>
                    <a:pt x="99" y="770"/>
                  </a:lnTo>
                  <a:lnTo>
                    <a:pt x="76" y="828"/>
                  </a:lnTo>
                  <a:lnTo>
                    <a:pt x="57" y="886"/>
                  </a:lnTo>
                  <a:lnTo>
                    <a:pt x="40" y="946"/>
                  </a:lnTo>
                  <a:lnTo>
                    <a:pt x="26" y="1006"/>
                  </a:lnTo>
                  <a:lnTo>
                    <a:pt x="15" y="1069"/>
                  </a:lnTo>
                  <a:lnTo>
                    <a:pt x="7" y="1131"/>
                  </a:lnTo>
                  <a:lnTo>
                    <a:pt x="2" y="1196"/>
                  </a:lnTo>
                  <a:lnTo>
                    <a:pt x="0" y="1260"/>
                  </a:lnTo>
                  <a:lnTo>
                    <a:pt x="2" y="1325"/>
                  </a:lnTo>
                  <a:lnTo>
                    <a:pt x="7" y="1389"/>
                  </a:lnTo>
                  <a:lnTo>
                    <a:pt x="15" y="1452"/>
                  </a:lnTo>
                  <a:lnTo>
                    <a:pt x="26" y="1514"/>
                  </a:lnTo>
                  <a:lnTo>
                    <a:pt x="40" y="1575"/>
                  </a:lnTo>
                  <a:lnTo>
                    <a:pt x="57" y="1634"/>
                  </a:lnTo>
                  <a:lnTo>
                    <a:pt x="76" y="1693"/>
                  </a:lnTo>
                  <a:lnTo>
                    <a:pt x="99" y="1750"/>
                  </a:lnTo>
                  <a:lnTo>
                    <a:pt x="124" y="1806"/>
                  </a:lnTo>
                  <a:lnTo>
                    <a:pt x="151" y="1860"/>
                  </a:lnTo>
                  <a:lnTo>
                    <a:pt x="182" y="1914"/>
                  </a:lnTo>
                  <a:lnTo>
                    <a:pt x="215" y="1964"/>
                  </a:lnTo>
                  <a:lnTo>
                    <a:pt x="250" y="2013"/>
                  </a:lnTo>
                  <a:lnTo>
                    <a:pt x="287" y="2062"/>
                  </a:lnTo>
                  <a:lnTo>
                    <a:pt x="326" y="2107"/>
                  </a:lnTo>
                  <a:lnTo>
                    <a:pt x="369" y="2151"/>
                  </a:lnTo>
                  <a:lnTo>
                    <a:pt x="412" y="2193"/>
                  </a:lnTo>
                  <a:lnTo>
                    <a:pt x="458" y="2232"/>
                  </a:lnTo>
                  <a:lnTo>
                    <a:pt x="506" y="2270"/>
                  </a:lnTo>
                  <a:lnTo>
                    <a:pt x="555" y="2305"/>
                  </a:lnTo>
                  <a:lnTo>
                    <a:pt x="606" y="2338"/>
                  </a:lnTo>
                  <a:lnTo>
                    <a:pt x="658" y="2368"/>
                  </a:lnTo>
                  <a:lnTo>
                    <a:pt x="713" y="2396"/>
                  </a:lnTo>
                  <a:lnTo>
                    <a:pt x="768" y="2422"/>
                  </a:lnTo>
                  <a:lnTo>
                    <a:pt x="825" y="2444"/>
                  </a:lnTo>
                  <a:lnTo>
                    <a:pt x="884" y="2464"/>
                  </a:lnTo>
                  <a:lnTo>
                    <a:pt x="943" y="2481"/>
                  </a:lnTo>
                  <a:lnTo>
                    <a:pt x="1004" y="2495"/>
                  </a:lnTo>
                  <a:lnTo>
                    <a:pt x="1066" y="2507"/>
                  </a:lnTo>
                  <a:lnTo>
                    <a:pt x="1129" y="2515"/>
                  </a:lnTo>
                  <a:lnTo>
                    <a:pt x="1193" y="2519"/>
                  </a:lnTo>
                  <a:lnTo>
                    <a:pt x="1257" y="25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55" name="íŝḻiḓè">
              <a:extLst>
                <a:ext uri="{FF2B5EF4-FFF2-40B4-BE49-F238E27FC236}">
                  <a16:creationId xmlns:a16="http://schemas.microsoft.com/office/drawing/2014/main" id="{058A492F-7097-45F9-98C7-8A6FAB389A0D}"/>
                </a:ext>
              </a:extLst>
            </p:cNvPr>
            <p:cNvSpPr/>
            <p:nvPr/>
          </p:nvSpPr>
          <p:spPr bwMode="auto">
            <a:xfrm>
              <a:off x="8259147" y="489789"/>
              <a:ext cx="95878" cy="95878"/>
            </a:xfrm>
            <a:custGeom>
              <a:avLst/>
              <a:gdLst>
                <a:gd name="T0" fmla="*/ 1106 w 2515"/>
                <a:gd name="T1" fmla="*/ 2001 h 2521"/>
                <a:gd name="T2" fmla="*/ 931 w 2515"/>
                <a:gd name="T3" fmla="*/ 1942 h 2521"/>
                <a:gd name="T4" fmla="*/ 778 w 2515"/>
                <a:gd name="T5" fmla="*/ 1844 h 2521"/>
                <a:gd name="T6" fmla="*/ 653 w 2515"/>
                <a:gd name="T7" fmla="*/ 1713 h 2521"/>
                <a:gd name="T8" fmla="*/ 562 w 2515"/>
                <a:gd name="T9" fmla="*/ 1555 h 2521"/>
                <a:gd name="T10" fmla="*/ 512 w 2515"/>
                <a:gd name="T11" fmla="*/ 1375 h 2521"/>
                <a:gd name="T12" fmla="*/ 507 w 2515"/>
                <a:gd name="T13" fmla="*/ 1183 h 2521"/>
                <a:gd name="T14" fmla="*/ 548 w 2515"/>
                <a:gd name="T15" fmla="*/ 1000 h 2521"/>
                <a:gd name="T16" fmla="*/ 632 w 2515"/>
                <a:gd name="T17" fmla="*/ 838 h 2521"/>
                <a:gd name="T18" fmla="*/ 751 w 2515"/>
                <a:gd name="T19" fmla="*/ 701 h 2521"/>
                <a:gd name="T20" fmla="*/ 897 w 2515"/>
                <a:gd name="T21" fmla="*/ 596 h 2521"/>
                <a:gd name="T22" fmla="*/ 1068 w 2515"/>
                <a:gd name="T23" fmla="*/ 528 h 2521"/>
                <a:gd name="T24" fmla="*/ 1258 w 2515"/>
                <a:gd name="T25" fmla="*/ 504 h 2521"/>
                <a:gd name="T26" fmla="*/ 1447 w 2515"/>
                <a:gd name="T27" fmla="*/ 528 h 2521"/>
                <a:gd name="T28" fmla="*/ 1618 w 2515"/>
                <a:gd name="T29" fmla="*/ 596 h 2521"/>
                <a:gd name="T30" fmla="*/ 1765 w 2515"/>
                <a:gd name="T31" fmla="*/ 701 h 2521"/>
                <a:gd name="T32" fmla="*/ 1883 w 2515"/>
                <a:gd name="T33" fmla="*/ 838 h 2521"/>
                <a:gd name="T34" fmla="*/ 1967 w 2515"/>
                <a:gd name="T35" fmla="*/ 1000 h 2521"/>
                <a:gd name="T36" fmla="*/ 2008 w 2515"/>
                <a:gd name="T37" fmla="*/ 1183 h 2521"/>
                <a:gd name="T38" fmla="*/ 2003 w 2515"/>
                <a:gd name="T39" fmla="*/ 1375 h 2521"/>
                <a:gd name="T40" fmla="*/ 1953 w 2515"/>
                <a:gd name="T41" fmla="*/ 1555 h 2521"/>
                <a:gd name="T42" fmla="*/ 1862 w 2515"/>
                <a:gd name="T43" fmla="*/ 1713 h 2521"/>
                <a:gd name="T44" fmla="*/ 1737 w 2515"/>
                <a:gd name="T45" fmla="*/ 1844 h 2521"/>
                <a:gd name="T46" fmla="*/ 1585 w 2515"/>
                <a:gd name="T47" fmla="*/ 1942 h 2521"/>
                <a:gd name="T48" fmla="*/ 1409 w 2515"/>
                <a:gd name="T49" fmla="*/ 2001 h 2521"/>
                <a:gd name="T50" fmla="*/ 1258 w 2515"/>
                <a:gd name="T51" fmla="*/ 0 h 2521"/>
                <a:gd name="T52" fmla="*/ 944 w 2515"/>
                <a:gd name="T53" fmla="*/ 39 h 2521"/>
                <a:gd name="T54" fmla="*/ 659 w 2515"/>
                <a:gd name="T55" fmla="*/ 152 h 2521"/>
                <a:gd name="T56" fmla="*/ 413 w 2515"/>
                <a:gd name="T57" fmla="*/ 328 h 2521"/>
                <a:gd name="T58" fmla="*/ 215 w 2515"/>
                <a:gd name="T59" fmla="*/ 556 h 2521"/>
                <a:gd name="T60" fmla="*/ 77 w 2515"/>
                <a:gd name="T61" fmla="*/ 827 h 2521"/>
                <a:gd name="T62" fmla="*/ 7 w 2515"/>
                <a:gd name="T63" fmla="*/ 1131 h 2521"/>
                <a:gd name="T64" fmla="*/ 14 w 2515"/>
                <a:gd name="T65" fmla="*/ 1452 h 2521"/>
                <a:gd name="T66" fmla="*/ 99 w 2515"/>
                <a:gd name="T67" fmla="*/ 1750 h 2521"/>
                <a:gd name="T68" fmla="*/ 251 w 2515"/>
                <a:gd name="T69" fmla="*/ 2014 h 2521"/>
                <a:gd name="T70" fmla="*/ 458 w 2515"/>
                <a:gd name="T71" fmla="*/ 2232 h 2521"/>
                <a:gd name="T72" fmla="*/ 713 w 2515"/>
                <a:gd name="T73" fmla="*/ 2397 h 2521"/>
                <a:gd name="T74" fmla="*/ 1004 w 2515"/>
                <a:gd name="T75" fmla="*/ 2495 h 2521"/>
                <a:gd name="T76" fmla="*/ 1322 w 2515"/>
                <a:gd name="T77" fmla="*/ 2519 h 2521"/>
                <a:gd name="T78" fmla="*/ 1631 w 2515"/>
                <a:gd name="T79" fmla="*/ 2464 h 2521"/>
                <a:gd name="T80" fmla="*/ 1908 w 2515"/>
                <a:gd name="T81" fmla="*/ 2338 h 2521"/>
                <a:gd name="T82" fmla="*/ 2146 w 2515"/>
                <a:gd name="T83" fmla="*/ 2152 h 2521"/>
                <a:gd name="T84" fmla="*/ 2333 w 2515"/>
                <a:gd name="T85" fmla="*/ 1914 h 2521"/>
                <a:gd name="T86" fmla="*/ 2459 w 2515"/>
                <a:gd name="T87" fmla="*/ 1634 h 2521"/>
                <a:gd name="T88" fmla="*/ 2513 w 2515"/>
                <a:gd name="T89" fmla="*/ 1325 h 2521"/>
                <a:gd name="T90" fmla="*/ 2490 w 2515"/>
                <a:gd name="T91" fmla="*/ 1006 h 2521"/>
                <a:gd name="T92" fmla="*/ 2390 w 2515"/>
                <a:gd name="T93" fmla="*/ 714 h 2521"/>
                <a:gd name="T94" fmla="*/ 2227 w 2515"/>
                <a:gd name="T95" fmla="*/ 459 h 2521"/>
                <a:gd name="T96" fmla="*/ 2009 w 2515"/>
                <a:gd name="T97" fmla="*/ 251 h 2521"/>
                <a:gd name="T98" fmla="*/ 1746 w 2515"/>
                <a:gd name="T99" fmla="*/ 99 h 2521"/>
                <a:gd name="T100" fmla="*/ 1449 w 2515"/>
                <a:gd name="T101" fmla="*/ 14 h 2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15" h="2521">
                  <a:moveTo>
                    <a:pt x="1258" y="2017"/>
                  </a:moveTo>
                  <a:lnTo>
                    <a:pt x="1218" y="2015"/>
                  </a:lnTo>
                  <a:lnTo>
                    <a:pt x="1180" y="2012"/>
                  </a:lnTo>
                  <a:lnTo>
                    <a:pt x="1143" y="2007"/>
                  </a:lnTo>
                  <a:lnTo>
                    <a:pt x="1106" y="2001"/>
                  </a:lnTo>
                  <a:lnTo>
                    <a:pt x="1068" y="1992"/>
                  </a:lnTo>
                  <a:lnTo>
                    <a:pt x="1033" y="1982"/>
                  </a:lnTo>
                  <a:lnTo>
                    <a:pt x="998" y="1970"/>
                  </a:lnTo>
                  <a:lnTo>
                    <a:pt x="964" y="1957"/>
                  </a:lnTo>
                  <a:lnTo>
                    <a:pt x="931" y="1942"/>
                  </a:lnTo>
                  <a:lnTo>
                    <a:pt x="897" y="1925"/>
                  </a:lnTo>
                  <a:lnTo>
                    <a:pt x="866" y="1907"/>
                  </a:lnTo>
                  <a:lnTo>
                    <a:pt x="836" y="1887"/>
                  </a:lnTo>
                  <a:lnTo>
                    <a:pt x="806" y="1866"/>
                  </a:lnTo>
                  <a:lnTo>
                    <a:pt x="778" y="1844"/>
                  </a:lnTo>
                  <a:lnTo>
                    <a:pt x="751" y="1820"/>
                  </a:lnTo>
                  <a:lnTo>
                    <a:pt x="723" y="1795"/>
                  </a:lnTo>
                  <a:lnTo>
                    <a:pt x="699" y="1768"/>
                  </a:lnTo>
                  <a:lnTo>
                    <a:pt x="675" y="1741"/>
                  </a:lnTo>
                  <a:lnTo>
                    <a:pt x="653" y="1713"/>
                  </a:lnTo>
                  <a:lnTo>
                    <a:pt x="632" y="1683"/>
                  </a:lnTo>
                  <a:lnTo>
                    <a:pt x="612" y="1653"/>
                  </a:lnTo>
                  <a:lnTo>
                    <a:pt x="594" y="1620"/>
                  </a:lnTo>
                  <a:lnTo>
                    <a:pt x="578" y="1588"/>
                  </a:lnTo>
                  <a:lnTo>
                    <a:pt x="562" y="1555"/>
                  </a:lnTo>
                  <a:lnTo>
                    <a:pt x="548" y="1520"/>
                  </a:lnTo>
                  <a:lnTo>
                    <a:pt x="537" y="1485"/>
                  </a:lnTo>
                  <a:lnTo>
                    <a:pt x="527" y="1449"/>
                  </a:lnTo>
                  <a:lnTo>
                    <a:pt x="518" y="1413"/>
                  </a:lnTo>
                  <a:lnTo>
                    <a:pt x="512" y="1375"/>
                  </a:lnTo>
                  <a:lnTo>
                    <a:pt x="507" y="1338"/>
                  </a:lnTo>
                  <a:lnTo>
                    <a:pt x="504" y="1299"/>
                  </a:lnTo>
                  <a:lnTo>
                    <a:pt x="503" y="1260"/>
                  </a:lnTo>
                  <a:lnTo>
                    <a:pt x="504" y="1221"/>
                  </a:lnTo>
                  <a:lnTo>
                    <a:pt x="507" y="1183"/>
                  </a:lnTo>
                  <a:lnTo>
                    <a:pt x="512" y="1145"/>
                  </a:lnTo>
                  <a:lnTo>
                    <a:pt x="518" y="1108"/>
                  </a:lnTo>
                  <a:lnTo>
                    <a:pt x="527" y="1072"/>
                  </a:lnTo>
                  <a:lnTo>
                    <a:pt x="537" y="1035"/>
                  </a:lnTo>
                  <a:lnTo>
                    <a:pt x="548" y="1000"/>
                  </a:lnTo>
                  <a:lnTo>
                    <a:pt x="562" y="966"/>
                  </a:lnTo>
                  <a:lnTo>
                    <a:pt x="578" y="933"/>
                  </a:lnTo>
                  <a:lnTo>
                    <a:pt x="594" y="900"/>
                  </a:lnTo>
                  <a:lnTo>
                    <a:pt x="612" y="868"/>
                  </a:lnTo>
                  <a:lnTo>
                    <a:pt x="632" y="838"/>
                  </a:lnTo>
                  <a:lnTo>
                    <a:pt x="653" y="808"/>
                  </a:lnTo>
                  <a:lnTo>
                    <a:pt x="675" y="779"/>
                  </a:lnTo>
                  <a:lnTo>
                    <a:pt x="699" y="752"/>
                  </a:lnTo>
                  <a:lnTo>
                    <a:pt x="723" y="726"/>
                  </a:lnTo>
                  <a:lnTo>
                    <a:pt x="751" y="701"/>
                  </a:lnTo>
                  <a:lnTo>
                    <a:pt x="778" y="677"/>
                  </a:lnTo>
                  <a:lnTo>
                    <a:pt x="806" y="654"/>
                  </a:lnTo>
                  <a:lnTo>
                    <a:pt x="836" y="633"/>
                  </a:lnTo>
                  <a:lnTo>
                    <a:pt x="866" y="614"/>
                  </a:lnTo>
                  <a:lnTo>
                    <a:pt x="897" y="596"/>
                  </a:lnTo>
                  <a:lnTo>
                    <a:pt x="931" y="579"/>
                  </a:lnTo>
                  <a:lnTo>
                    <a:pt x="964" y="564"/>
                  </a:lnTo>
                  <a:lnTo>
                    <a:pt x="998" y="549"/>
                  </a:lnTo>
                  <a:lnTo>
                    <a:pt x="1033" y="538"/>
                  </a:lnTo>
                  <a:lnTo>
                    <a:pt x="1068" y="528"/>
                  </a:lnTo>
                  <a:lnTo>
                    <a:pt x="1106" y="519"/>
                  </a:lnTo>
                  <a:lnTo>
                    <a:pt x="1143" y="513"/>
                  </a:lnTo>
                  <a:lnTo>
                    <a:pt x="1180" y="508"/>
                  </a:lnTo>
                  <a:lnTo>
                    <a:pt x="1218" y="505"/>
                  </a:lnTo>
                  <a:lnTo>
                    <a:pt x="1258" y="504"/>
                  </a:lnTo>
                  <a:lnTo>
                    <a:pt x="1297" y="505"/>
                  </a:lnTo>
                  <a:lnTo>
                    <a:pt x="1335" y="508"/>
                  </a:lnTo>
                  <a:lnTo>
                    <a:pt x="1372" y="513"/>
                  </a:lnTo>
                  <a:lnTo>
                    <a:pt x="1409" y="519"/>
                  </a:lnTo>
                  <a:lnTo>
                    <a:pt x="1447" y="528"/>
                  </a:lnTo>
                  <a:lnTo>
                    <a:pt x="1482" y="538"/>
                  </a:lnTo>
                  <a:lnTo>
                    <a:pt x="1517" y="549"/>
                  </a:lnTo>
                  <a:lnTo>
                    <a:pt x="1551" y="564"/>
                  </a:lnTo>
                  <a:lnTo>
                    <a:pt x="1585" y="579"/>
                  </a:lnTo>
                  <a:lnTo>
                    <a:pt x="1618" y="596"/>
                  </a:lnTo>
                  <a:lnTo>
                    <a:pt x="1649" y="614"/>
                  </a:lnTo>
                  <a:lnTo>
                    <a:pt x="1679" y="633"/>
                  </a:lnTo>
                  <a:lnTo>
                    <a:pt x="1709" y="654"/>
                  </a:lnTo>
                  <a:lnTo>
                    <a:pt x="1737" y="677"/>
                  </a:lnTo>
                  <a:lnTo>
                    <a:pt x="1765" y="701"/>
                  </a:lnTo>
                  <a:lnTo>
                    <a:pt x="1791" y="726"/>
                  </a:lnTo>
                  <a:lnTo>
                    <a:pt x="1816" y="752"/>
                  </a:lnTo>
                  <a:lnTo>
                    <a:pt x="1840" y="779"/>
                  </a:lnTo>
                  <a:lnTo>
                    <a:pt x="1862" y="808"/>
                  </a:lnTo>
                  <a:lnTo>
                    <a:pt x="1883" y="838"/>
                  </a:lnTo>
                  <a:lnTo>
                    <a:pt x="1902" y="868"/>
                  </a:lnTo>
                  <a:lnTo>
                    <a:pt x="1920" y="900"/>
                  </a:lnTo>
                  <a:lnTo>
                    <a:pt x="1938" y="933"/>
                  </a:lnTo>
                  <a:lnTo>
                    <a:pt x="1953" y="966"/>
                  </a:lnTo>
                  <a:lnTo>
                    <a:pt x="1967" y="1000"/>
                  </a:lnTo>
                  <a:lnTo>
                    <a:pt x="1978" y="1035"/>
                  </a:lnTo>
                  <a:lnTo>
                    <a:pt x="1988" y="1072"/>
                  </a:lnTo>
                  <a:lnTo>
                    <a:pt x="1997" y="1108"/>
                  </a:lnTo>
                  <a:lnTo>
                    <a:pt x="2003" y="1145"/>
                  </a:lnTo>
                  <a:lnTo>
                    <a:pt x="2008" y="1183"/>
                  </a:lnTo>
                  <a:lnTo>
                    <a:pt x="2011" y="1221"/>
                  </a:lnTo>
                  <a:lnTo>
                    <a:pt x="2012" y="1260"/>
                  </a:lnTo>
                  <a:lnTo>
                    <a:pt x="2011" y="1299"/>
                  </a:lnTo>
                  <a:lnTo>
                    <a:pt x="2008" y="1338"/>
                  </a:lnTo>
                  <a:lnTo>
                    <a:pt x="2003" y="1375"/>
                  </a:lnTo>
                  <a:lnTo>
                    <a:pt x="1997" y="1413"/>
                  </a:lnTo>
                  <a:lnTo>
                    <a:pt x="1988" y="1449"/>
                  </a:lnTo>
                  <a:lnTo>
                    <a:pt x="1978" y="1485"/>
                  </a:lnTo>
                  <a:lnTo>
                    <a:pt x="1967" y="1520"/>
                  </a:lnTo>
                  <a:lnTo>
                    <a:pt x="1953" y="1555"/>
                  </a:lnTo>
                  <a:lnTo>
                    <a:pt x="1938" y="1588"/>
                  </a:lnTo>
                  <a:lnTo>
                    <a:pt x="1920" y="1620"/>
                  </a:lnTo>
                  <a:lnTo>
                    <a:pt x="1902" y="1653"/>
                  </a:lnTo>
                  <a:lnTo>
                    <a:pt x="1883" y="1683"/>
                  </a:lnTo>
                  <a:lnTo>
                    <a:pt x="1862" y="1713"/>
                  </a:lnTo>
                  <a:lnTo>
                    <a:pt x="1840" y="1741"/>
                  </a:lnTo>
                  <a:lnTo>
                    <a:pt x="1816" y="1768"/>
                  </a:lnTo>
                  <a:lnTo>
                    <a:pt x="1791" y="1795"/>
                  </a:lnTo>
                  <a:lnTo>
                    <a:pt x="1765" y="1820"/>
                  </a:lnTo>
                  <a:lnTo>
                    <a:pt x="1737" y="1844"/>
                  </a:lnTo>
                  <a:lnTo>
                    <a:pt x="1709" y="1866"/>
                  </a:lnTo>
                  <a:lnTo>
                    <a:pt x="1679" y="1887"/>
                  </a:lnTo>
                  <a:lnTo>
                    <a:pt x="1649" y="1907"/>
                  </a:lnTo>
                  <a:lnTo>
                    <a:pt x="1618" y="1925"/>
                  </a:lnTo>
                  <a:lnTo>
                    <a:pt x="1585" y="1942"/>
                  </a:lnTo>
                  <a:lnTo>
                    <a:pt x="1551" y="1957"/>
                  </a:lnTo>
                  <a:lnTo>
                    <a:pt x="1517" y="1970"/>
                  </a:lnTo>
                  <a:lnTo>
                    <a:pt x="1482" y="1982"/>
                  </a:lnTo>
                  <a:lnTo>
                    <a:pt x="1447" y="1992"/>
                  </a:lnTo>
                  <a:lnTo>
                    <a:pt x="1409" y="2001"/>
                  </a:lnTo>
                  <a:lnTo>
                    <a:pt x="1372" y="2007"/>
                  </a:lnTo>
                  <a:lnTo>
                    <a:pt x="1335" y="2012"/>
                  </a:lnTo>
                  <a:lnTo>
                    <a:pt x="1297" y="2015"/>
                  </a:lnTo>
                  <a:lnTo>
                    <a:pt x="1258" y="2017"/>
                  </a:lnTo>
                  <a:close/>
                  <a:moveTo>
                    <a:pt x="1258" y="0"/>
                  </a:moveTo>
                  <a:lnTo>
                    <a:pt x="1193" y="2"/>
                  </a:lnTo>
                  <a:lnTo>
                    <a:pt x="1129" y="6"/>
                  </a:lnTo>
                  <a:lnTo>
                    <a:pt x="1066" y="14"/>
                  </a:lnTo>
                  <a:lnTo>
                    <a:pt x="1004" y="25"/>
                  </a:lnTo>
                  <a:lnTo>
                    <a:pt x="944" y="39"/>
                  </a:lnTo>
                  <a:lnTo>
                    <a:pt x="884" y="56"/>
                  </a:lnTo>
                  <a:lnTo>
                    <a:pt x="826" y="77"/>
                  </a:lnTo>
                  <a:lnTo>
                    <a:pt x="769" y="99"/>
                  </a:lnTo>
                  <a:lnTo>
                    <a:pt x="713" y="124"/>
                  </a:lnTo>
                  <a:lnTo>
                    <a:pt x="659" y="152"/>
                  </a:lnTo>
                  <a:lnTo>
                    <a:pt x="606" y="182"/>
                  </a:lnTo>
                  <a:lnTo>
                    <a:pt x="555" y="216"/>
                  </a:lnTo>
                  <a:lnTo>
                    <a:pt x="506" y="251"/>
                  </a:lnTo>
                  <a:lnTo>
                    <a:pt x="458" y="288"/>
                  </a:lnTo>
                  <a:lnTo>
                    <a:pt x="413" y="328"/>
                  </a:lnTo>
                  <a:lnTo>
                    <a:pt x="369" y="369"/>
                  </a:lnTo>
                  <a:lnTo>
                    <a:pt x="327" y="413"/>
                  </a:lnTo>
                  <a:lnTo>
                    <a:pt x="288" y="459"/>
                  </a:lnTo>
                  <a:lnTo>
                    <a:pt x="251" y="506"/>
                  </a:lnTo>
                  <a:lnTo>
                    <a:pt x="215" y="556"/>
                  </a:lnTo>
                  <a:lnTo>
                    <a:pt x="182" y="607"/>
                  </a:lnTo>
                  <a:lnTo>
                    <a:pt x="152" y="659"/>
                  </a:lnTo>
                  <a:lnTo>
                    <a:pt x="124" y="714"/>
                  </a:lnTo>
                  <a:lnTo>
                    <a:pt x="99" y="770"/>
                  </a:lnTo>
                  <a:lnTo>
                    <a:pt x="77" y="827"/>
                  </a:lnTo>
                  <a:lnTo>
                    <a:pt x="56" y="886"/>
                  </a:lnTo>
                  <a:lnTo>
                    <a:pt x="39" y="946"/>
                  </a:lnTo>
                  <a:lnTo>
                    <a:pt x="25" y="1006"/>
                  </a:lnTo>
                  <a:lnTo>
                    <a:pt x="14" y="1069"/>
                  </a:lnTo>
                  <a:lnTo>
                    <a:pt x="7" y="1131"/>
                  </a:lnTo>
                  <a:lnTo>
                    <a:pt x="2" y="1196"/>
                  </a:lnTo>
                  <a:lnTo>
                    <a:pt x="0" y="1260"/>
                  </a:lnTo>
                  <a:lnTo>
                    <a:pt x="2" y="1325"/>
                  </a:lnTo>
                  <a:lnTo>
                    <a:pt x="7" y="1389"/>
                  </a:lnTo>
                  <a:lnTo>
                    <a:pt x="14" y="1452"/>
                  </a:lnTo>
                  <a:lnTo>
                    <a:pt x="25" y="1514"/>
                  </a:lnTo>
                  <a:lnTo>
                    <a:pt x="39" y="1575"/>
                  </a:lnTo>
                  <a:lnTo>
                    <a:pt x="56" y="1634"/>
                  </a:lnTo>
                  <a:lnTo>
                    <a:pt x="77" y="1693"/>
                  </a:lnTo>
                  <a:lnTo>
                    <a:pt x="99" y="1750"/>
                  </a:lnTo>
                  <a:lnTo>
                    <a:pt x="124" y="1806"/>
                  </a:lnTo>
                  <a:lnTo>
                    <a:pt x="152" y="1860"/>
                  </a:lnTo>
                  <a:lnTo>
                    <a:pt x="182" y="1914"/>
                  </a:lnTo>
                  <a:lnTo>
                    <a:pt x="215" y="1964"/>
                  </a:lnTo>
                  <a:lnTo>
                    <a:pt x="251" y="2014"/>
                  </a:lnTo>
                  <a:lnTo>
                    <a:pt x="288" y="2062"/>
                  </a:lnTo>
                  <a:lnTo>
                    <a:pt x="327" y="2107"/>
                  </a:lnTo>
                  <a:lnTo>
                    <a:pt x="369" y="2152"/>
                  </a:lnTo>
                  <a:lnTo>
                    <a:pt x="413" y="2193"/>
                  </a:lnTo>
                  <a:lnTo>
                    <a:pt x="458" y="2232"/>
                  </a:lnTo>
                  <a:lnTo>
                    <a:pt x="506" y="2270"/>
                  </a:lnTo>
                  <a:lnTo>
                    <a:pt x="555" y="2305"/>
                  </a:lnTo>
                  <a:lnTo>
                    <a:pt x="606" y="2338"/>
                  </a:lnTo>
                  <a:lnTo>
                    <a:pt x="659" y="2368"/>
                  </a:lnTo>
                  <a:lnTo>
                    <a:pt x="713" y="2397"/>
                  </a:lnTo>
                  <a:lnTo>
                    <a:pt x="769" y="2422"/>
                  </a:lnTo>
                  <a:lnTo>
                    <a:pt x="826" y="2444"/>
                  </a:lnTo>
                  <a:lnTo>
                    <a:pt x="884" y="2464"/>
                  </a:lnTo>
                  <a:lnTo>
                    <a:pt x="944" y="2481"/>
                  </a:lnTo>
                  <a:lnTo>
                    <a:pt x="1004" y="2495"/>
                  </a:lnTo>
                  <a:lnTo>
                    <a:pt x="1066" y="2507"/>
                  </a:lnTo>
                  <a:lnTo>
                    <a:pt x="1129" y="2515"/>
                  </a:lnTo>
                  <a:lnTo>
                    <a:pt x="1193" y="2519"/>
                  </a:lnTo>
                  <a:lnTo>
                    <a:pt x="1258" y="2521"/>
                  </a:lnTo>
                  <a:lnTo>
                    <a:pt x="1322" y="2519"/>
                  </a:lnTo>
                  <a:lnTo>
                    <a:pt x="1385" y="2515"/>
                  </a:lnTo>
                  <a:lnTo>
                    <a:pt x="1449" y="2507"/>
                  </a:lnTo>
                  <a:lnTo>
                    <a:pt x="1510" y="2495"/>
                  </a:lnTo>
                  <a:lnTo>
                    <a:pt x="1571" y="2481"/>
                  </a:lnTo>
                  <a:lnTo>
                    <a:pt x="1631" y="2464"/>
                  </a:lnTo>
                  <a:lnTo>
                    <a:pt x="1689" y="2444"/>
                  </a:lnTo>
                  <a:lnTo>
                    <a:pt x="1746" y="2422"/>
                  </a:lnTo>
                  <a:lnTo>
                    <a:pt x="1802" y="2397"/>
                  </a:lnTo>
                  <a:lnTo>
                    <a:pt x="1856" y="2368"/>
                  </a:lnTo>
                  <a:lnTo>
                    <a:pt x="1908" y="2338"/>
                  </a:lnTo>
                  <a:lnTo>
                    <a:pt x="1960" y="2305"/>
                  </a:lnTo>
                  <a:lnTo>
                    <a:pt x="2009" y="2270"/>
                  </a:lnTo>
                  <a:lnTo>
                    <a:pt x="2056" y="2232"/>
                  </a:lnTo>
                  <a:lnTo>
                    <a:pt x="2103" y="2193"/>
                  </a:lnTo>
                  <a:lnTo>
                    <a:pt x="2146" y="2152"/>
                  </a:lnTo>
                  <a:lnTo>
                    <a:pt x="2188" y="2107"/>
                  </a:lnTo>
                  <a:lnTo>
                    <a:pt x="2227" y="2062"/>
                  </a:lnTo>
                  <a:lnTo>
                    <a:pt x="2265" y="2014"/>
                  </a:lnTo>
                  <a:lnTo>
                    <a:pt x="2300" y="1964"/>
                  </a:lnTo>
                  <a:lnTo>
                    <a:pt x="2333" y="1914"/>
                  </a:lnTo>
                  <a:lnTo>
                    <a:pt x="2363" y="1860"/>
                  </a:lnTo>
                  <a:lnTo>
                    <a:pt x="2390" y="1806"/>
                  </a:lnTo>
                  <a:lnTo>
                    <a:pt x="2416" y="1750"/>
                  </a:lnTo>
                  <a:lnTo>
                    <a:pt x="2439" y="1693"/>
                  </a:lnTo>
                  <a:lnTo>
                    <a:pt x="2459" y="1634"/>
                  </a:lnTo>
                  <a:lnTo>
                    <a:pt x="2476" y="1575"/>
                  </a:lnTo>
                  <a:lnTo>
                    <a:pt x="2490" y="1514"/>
                  </a:lnTo>
                  <a:lnTo>
                    <a:pt x="2501" y="1452"/>
                  </a:lnTo>
                  <a:lnTo>
                    <a:pt x="2508" y="1389"/>
                  </a:lnTo>
                  <a:lnTo>
                    <a:pt x="2513" y="1325"/>
                  </a:lnTo>
                  <a:lnTo>
                    <a:pt x="2515" y="1260"/>
                  </a:lnTo>
                  <a:lnTo>
                    <a:pt x="2513" y="1196"/>
                  </a:lnTo>
                  <a:lnTo>
                    <a:pt x="2508" y="1131"/>
                  </a:lnTo>
                  <a:lnTo>
                    <a:pt x="2501" y="1069"/>
                  </a:lnTo>
                  <a:lnTo>
                    <a:pt x="2490" y="1006"/>
                  </a:lnTo>
                  <a:lnTo>
                    <a:pt x="2476" y="946"/>
                  </a:lnTo>
                  <a:lnTo>
                    <a:pt x="2459" y="886"/>
                  </a:lnTo>
                  <a:lnTo>
                    <a:pt x="2439" y="827"/>
                  </a:lnTo>
                  <a:lnTo>
                    <a:pt x="2416" y="770"/>
                  </a:lnTo>
                  <a:lnTo>
                    <a:pt x="2390" y="714"/>
                  </a:lnTo>
                  <a:lnTo>
                    <a:pt x="2363" y="659"/>
                  </a:lnTo>
                  <a:lnTo>
                    <a:pt x="2333" y="607"/>
                  </a:lnTo>
                  <a:lnTo>
                    <a:pt x="2300" y="556"/>
                  </a:lnTo>
                  <a:lnTo>
                    <a:pt x="2265" y="506"/>
                  </a:lnTo>
                  <a:lnTo>
                    <a:pt x="2227" y="459"/>
                  </a:lnTo>
                  <a:lnTo>
                    <a:pt x="2188" y="413"/>
                  </a:lnTo>
                  <a:lnTo>
                    <a:pt x="2146" y="369"/>
                  </a:lnTo>
                  <a:lnTo>
                    <a:pt x="2103" y="328"/>
                  </a:lnTo>
                  <a:lnTo>
                    <a:pt x="2056" y="288"/>
                  </a:lnTo>
                  <a:lnTo>
                    <a:pt x="2009" y="251"/>
                  </a:lnTo>
                  <a:lnTo>
                    <a:pt x="1960" y="216"/>
                  </a:lnTo>
                  <a:lnTo>
                    <a:pt x="1908" y="182"/>
                  </a:lnTo>
                  <a:lnTo>
                    <a:pt x="1856" y="152"/>
                  </a:lnTo>
                  <a:lnTo>
                    <a:pt x="1802" y="124"/>
                  </a:lnTo>
                  <a:lnTo>
                    <a:pt x="1746" y="99"/>
                  </a:lnTo>
                  <a:lnTo>
                    <a:pt x="1689" y="77"/>
                  </a:lnTo>
                  <a:lnTo>
                    <a:pt x="1631" y="56"/>
                  </a:lnTo>
                  <a:lnTo>
                    <a:pt x="1571" y="39"/>
                  </a:lnTo>
                  <a:lnTo>
                    <a:pt x="1510" y="25"/>
                  </a:lnTo>
                  <a:lnTo>
                    <a:pt x="1449" y="14"/>
                  </a:lnTo>
                  <a:lnTo>
                    <a:pt x="1385" y="6"/>
                  </a:lnTo>
                  <a:lnTo>
                    <a:pt x="1322" y="2"/>
                  </a:lnTo>
                  <a:lnTo>
                    <a:pt x="125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56" name="işļïde">
              <a:extLst>
                <a:ext uri="{FF2B5EF4-FFF2-40B4-BE49-F238E27FC236}">
                  <a16:creationId xmlns:a16="http://schemas.microsoft.com/office/drawing/2014/main" id="{AEB8FE2A-2309-41B6-8AD7-401F47624958}"/>
                </a:ext>
              </a:extLst>
            </p:cNvPr>
            <p:cNvSpPr/>
            <p:nvPr/>
          </p:nvSpPr>
          <p:spPr bwMode="auto">
            <a:xfrm>
              <a:off x="7895374" y="777423"/>
              <a:ext cx="76139" cy="77549"/>
            </a:xfrm>
            <a:custGeom>
              <a:avLst/>
              <a:gdLst>
                <a:gd name="T0" fmla="*/ 1107 w 2012"/>
                <a:gd name="T1" fmla="*/ 514 h 2016"/>
                <a:gd name="T2" fmla="*/ 1224 w 2012"/>
                <a:gd name="T3" fmla="*/ 553 h 2016"/>
                <a:gd name="T4" fmla="*/ 1326 w 2012"/>
                <a:gd name="T5" fmla="*/ 619 h 2016"/>
                <a:gd name="T6" fmla="*/ 1409 w 2012"/>
                <a:gd name="T7" fmla="*/ 707 h 2016"/>
                <a:gd name="T8" fmla="*/ 1469 w 2012"/>
                <a:gd name="T9" fmla="*/ 812 h 2016"/>
                <a:gd name="T10" fmla="*/ 1503 w 2012"/>
                <a:gd name="T11" fmla="*/ 931 h 2016"/>
                <a:gd name="T12" fmla="*/ 1507 w 2012"/>
                <a:gd name="T13" fmla="*/ 1060 h 2016"/>
                <a:gd name="T14" fmla="*/ 1478 w 2012"/>
                <a:gd name="T15" fmla="*/ 1182 h 2016"/>
                <a:gd name="T16" fmla="*/ 1423 w 2012"/>
                <a:gd name="T17" fmla="*/ 1290 h 2016"/>
                <a:gd name="T18" fmla="*/ 1344 w 2012"/>
                <a:gd name="T19" fmla="*/ 1381 h 2016"/>
                <a:gd name="T20" fmla="*/ 1245 w 2012"/>
                <a:gd name="T21" fmla="*/ 1452 h 2016"/>
                <a:gd name="T22" fmla="*/ 1131 w 2012"/>
                <a:gd name="T23" fmla="*/ 1496 h 2016"/>
                <a:gd name="T24" fmla="*/ 1006 w 2012"/>
                <a:gd name="T25" fmla="*/ 1512 h 2016"/>
                <a:gd name="T26" fmla="*/ 880 w 2012"/>
                <a:gd name="T27" fmla="*/ 1496 h 2016"/>
                <a:gd name="T28" fmla="*/ 766 w 2012"/>
                <a:gd name="T29" fmla="*/ 1452 h 2016"/>
                <a:gd name="T30" fmla="*/ 668 w 2012"/>
                <a:gd name="T31" fmla="*/ 1381 h 2016"/>
                <a:gd name="T32" fmla="*/ 589 w 2012"/>
                <a:gd name="T33" fmla="*/ 1290 h 2016"/>
                <a:gd name="T34" fmla="*/ 534 w 2012"/>
                <a:gd name="T35" fmla="*/ 1182 h 2016"/>
                <a:gd name="T36" fmla="*/ 506 w 2012"/>
                <a:gd name="T37" fmla="*/ 1060 h 2016"/>
                <a:gd name="T38" fmla="*/ 509 w 2012"/>
                <a:gd name="T39" fmla="*/ 931 h 2016"/>
                <a:gd name="T40" fmla="*/ 543 w 2012"/>
                <a:gd name="T41" fmla="*/ 812 h 2016"/>
                <a:gd name="T42" fmla="*/ 603 w 2012"/>
                <a:gd name="T43" fmla="*/ 707 h 2016"/>
                <a:gd name="T44" fmla="*/ 686 w 2012"/>
                <a:gd name="T45" fmla="*/ 619 h 2016"/>
                <a:gd name="T46" fmla="*/ 787 w 2012"/>
                <a:gd name="T47" fmla="*/ 553 h 2016"/>
                <a:gd name="T48" fmla="*/ 904 w 2012"/>
                <a:gd name="T49" fmla="*/ 514 h 2016"/>
                <a:gd name="T50" fmla="*/ 0 w 2012"/>
                <a:gd name="T51" fmla="*/ 1008 h 2016"/>
                <a:gd name="T52" fmla="*/ 32 w 2012"/>
                <a:gd name="T53" fmla="*/ 1260 h 2016"/>
                <a:gd name="T54" fmla="*/ 121 w 2012"/>
                <a:gd name="T55" fmla="*/ 1488 h 2016"/>
                <a:gd name="T56" fmla="*/ 261 w 2012"/>
                <a:gd name="T57" fmla="*/ 1686 h 2016"/>
                <a:gd name="T58" fmla="*/ 443 w 2012"/>
                <a:gd name="T59" fmla="*/ 1844 h 2016"/>
                <a:gd name="T60" fmla="*/ 661 w 2012"/>
                <a:gd name="T61" fmla="*/ 1955 h 2016"/>
                <a:gd name="T62" fmla="*/ 903 w 2012"/>
                <a:gd name="T63" fmla="*/ 2011 h 2016"/>
                <a:gd name="T64" fmla="*/ 1159 w 2012"/>
                <a:gd name="T65" fmla="*/ 2004 h 2016"/>
                <a:gd name="T66" fmla="*/ 1397 w 2012"/>
                <a:gd name="T67" fmla="*/ 1937 h 2016"/>
                <a:gd name="T68" fmla="*/ 1607 w 2012"/>
                <a:gd name="T69" fmla="*/ 1816 h 2016"/>
                <a:gd name="T70" fmla="*/ 1782 w 2012"/>
                <a:gd name="T71" fmla="*/ 1649 h 2016"/>
                <a:gd name="T72" fmla="*/ 1912 w 2012"/>
                <a:gd name="T73" fmla="*/ 1445 h 2016"/>
                <a:gd name="T74" fmla="*/ 1992 w 2012"/>
                <a:gd name="T75" fmla="*/ 1211 h 2016"/>
                <a:gd name="T76" fmla="*/ 2011 w 2012"/>
                <a:gd name="T77" fmla="*/ 957 h 2016"/>
                <a:gd name="T78" fmla="*/ 1966 w 2012"/>
                <a:gd name="T79" fmla="*/ 709 h 2016"/>
                <a:gd name="T80" fmla="*/ 1866 w 2012"/>
                <a:gd name="T81" fmla="*/ 486 h 2016"/>
                <a:gd name="T82" fmla="*/ 1717 w 2012"/>
                <a:gd name="T83" fmla="*/ 295 h 2016"/>
                <a:gd name="T84" fmla="*/ 1527 w 2012"/>
                <a:gd name="T85" fmla="*/ 146 h 2016"/>
                <a:gd name="T86" fmla="*/ 1304 w 2012"/>
                <a:gd name="T87" fmla="*/ 45 h 2016"/>
                <a:gd name="T88" fmla="*/ 1057 w 2012"/>
                <a:gd name="T89" fmla="*/ 1 h 2016"/>
                <a:gd name="T90" fmla="*/ 803 w 2012"/>
                <a:gd name="T91" fmla="*/ 20 h 2016"/>
                <a:gd name="T92" fmla="*/ 570 w 2012"/>
                <a:gd name="T93" fmla="*/ 100 h 2016"/>
                <a:gd name="T94" fmla="*/ 366 w 2012"/>
                <a:gd name="T95" fmla="*/ 231 h 2016"/>
                <a:gd name="T96" fmla="*/ 200 w 2012"/>
                <a:gd name="T97" fmla="*/ 405 h 2016"/>
                <a:gd name="T98" fmla="*/ 79 w 2012"/>
                <a:gd name="T99" fmla="*/ 616 h 2016"/>
                <a:gd name="T100" fmla="*/ 12 w 2012"/>
                <a:gd name="T101" fmla="*/ 855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012" h="2016">
                  <a:moveTo>
                    <a:pt x="1006" y="504"/>
                  </a:moveTo>
                  <a:lnTo>
                    <a:pt x="1032" y="505"/>
                  </a:lnTo>
                  <a:lnTo>
                    <a:pt x="1057" y="507"/>
                  </a:lnTo>
                  <a:lnTo>
                    <a:pt x="1082" y="510"/>
                  </a:lnTo>
                  <a:lnTo>
                    <a:pt x="1107" y="514"/>
                  </a:lnTo>
                  <a:lnTo>
                    <a:pt x="1131" y="520"/>
                  </a:lnTo>
                  <a:lnTo>
                    <a:pt x="1156" y="526"/>
                  </a:lnTo>
                  <a:lnTo>
                    <a:pt x="1179" y="534"/>
                  </a:lnTo>
                  <a:lnTo>
                    <a:pt x="1202" y="543"/>
                  </a:lnTo>
                  <a:lnTo>
                    <a:pt x="1224" y="553"/>
                  </a:lnTo>
                  <a:lnTo>
                    <a:pt x="1245" y="564"/>
                  </a:lnTo>
                  <a:lnTo>
                    <a:pt x="1266" y="577"/>
                  </a:lnTo>
                  <a:lnTo>
                    <a:pt x="1287" y="590"/>
                  </a:lnTo>
                  <a:lnTo>
                    <a:pt x="1306" y="604"/>
                  </a:lnTo>
                  <a:lnTo>
                    <a:pt x="1326" y="619"/>
                  </a:lnTo>
                  <a:lnTo>
                    <a:pt x="1344" y="635"/>
                  </a:lnTo>
                  <a:lnTo>
                    <a:pt x="1362" y="651"/>
                  </a:lnTo>
                  <a:lnTo>
                    <a:pt x="1378" y="669"/>
                  </a:lnTo>
                  <a:lnTo>
                    <a:pt x="1394" y="688"/>
                  </a:lnTo>
                  <a:lnTo>
                    <a:pt x="1409" y="707"/>
                  </a:lnTo>
                  <a:lnTo>
                    <a:pt x="1423" y="726"/>
                  </a:lnTo>
                  <a:lnTo>
                    <a:pt x="1436" y="747"/>
                  </a:lnTo>
                  <a:lnTo>
                    <a:pt x="1448" y="768"/>
                  </a:lnTo>
                  <a:lnTo>
                    <a:pt x="1459" y="789"/>
                  </a:lnTo>
                  <a:lnTo>
                    <a:pt x="1469" y="812"/>
                  </a:lnTo>
                  <a:lnTo>
                    <a:pt x="1478" y="835"/>
                  </a:lnTo>
                  <a:lnTo>
                    <a:pt x="1487" y="858"/>
                  </a:lnTo>
                  <a:lnTo>
                    <a:pt x="1493" y="882"/>
                  </a:lnTo>
                  <a:lnTo>
                    <a:pt x="1499" y="906"/>
                  </a:lnTo>
                  <a:lnTo>
                    <a:pt x="1503" y="931"/>
                  </a:lnTo>
                  <a:lnTo>
                    <a:pt x="1507" y="957"/>
                  </a:lnTo>
                  <a:lnTo>
                    <a:pt x="1508" y="982"/>
                  </a:lnTo>
                  <a:lnTo>
                    <a:pt x="1509" y="1008"/>
                  </a:lnTo>
                  <a:lnTo>
                    <a:pt x="1508" y="1034"/>
                  </a:lnTo>
                  <a:lnTo>
                    <a:pt x="1507" y="1060"/>
                  </a:lnTo>
                  <a:lnTo>
                    <a:pt x="1503" y="1085"/>
                  </a:lnTo>
                  <a:lnTo>
                    <a:pt x="1499" y="1110"/>
                  </a:lnTo>
                  <a:lnTo>
                    <a:pt x="1493" y="1134"/>
                  </a:lnTo>
                  <a:lnTo>
                    <a:pt x="1487" y="1158"/>
                  </a:lnTo>
                  <a:lnTo>
                    <a:pt x="1478" y="1182"/>
                  </a:lnTo>
                  <a:lnTo>
                    <a:pt x="1469" y="1205"/>
                  </a:lnTo>
                  <a:lnTo>
                    <a:pt x="1459" y="1227"/>
                  </a:lnTo>
                  <a:lnTo>
                    <a:pt x="1448" y="1248"/>
                  </a:lnTo>
                  <a:lnTo>
                    <a:pt x="1436" y="1269"/>
                  </a:lnTo>
                  <a:lnTo>
                    <a:pt x="1423" y="1290"/>
                  </a:lnTo>
                  <a:lnTo>
                    <a:pt x="1409" y="1310"/>
                  </a:lnTo>
                  <a:lnTo>
                    <a:pt x="1394" y="1329"/>
                  </a:lnTo>
                  <a:lnTo>
                    <a:pt x="1378" y="1347"/>
                  </a:lnTo>
                  <a:lnTo>
                    <a:pt x="1362" y="1365"/>
                  </a:lnTo>
                  <a:lnTo>
                    <a:pt x="1344" y="1381"/>
                  </a:lnTo>
                  <a:lnTo>
                    <a:pt x="1326" y="1397"/>
                  </a:lnTo>
                  <a:lnTo>
                    <a:pt x="1306" y="1412"/>
                  </a:lnTo>
                  <a:lnTo>
                    <a:pt x="1287" y="1427"/>
                  </a:lnTo>
                  <a:lnTo>
                    <a:pt x="1266" y="1440"/>
                  </a:lnTo>
                  <a:lnTo>
                    <a:pt x="1245" y="1452"/>
                  </a:lnTo>
                  <a:lnTo>
                    <a:pt x="1224" y="1463"/>
                  </a:lnTo>
                  <a:lnTo>
                    <a:pt x="1202" y="1473"/>
                  </a:lnTo>
                  <a:lnTo>
                    <a:pt x="1179" y="1482"/>
                  </a:lnTo>
                  <a:lnTo>
                    <a:pt x="1156" y="1490"/>
                  </a:lnTo>
                  <a:lnTo>
                    <a:pt x="1131" y="1496"/>
                  </a:lnTo>
                  <a:lnTo>
                    <a:pt x="1107" y="1502"/>
                  </a:lnTo>
                  <a:lnTo>
                    <a:pt x="1082" y="1506"/>
                  </a:lnTo>
                  <a:lnTo>
                    <a:pt x="1057" y="1509"/>
                  </a:lnTo>
                  <a:lnTo>
                    <a:pt x="1032" y="1511"/>
                  </a:lnTo>
                  <a:lnTo>
                    <a:pt x="1006" y="1512"/>
                  </a:lnTo>
                  <a:lnTo>
                    <a:pt x="980" y="1511"/>
                  </a:lnTo>
                  <a:lnTo>
                    <a:pt x="954" y="1509"/>
                  </a:lnTo>
                  <a:lnTo>
                    <a:pt x="929" y="1506"/>
                  </a:lnTo>
                  <a:lnTo>
                    <a:pt x="904" y="1502"/>
                  </a:lnTo>
                  <a:lnTo>
                    <a:pt x="880" y="1496"/>
                  </a:lnTo>
                  <a:lnTo>
                    <a:pt x="856" y="1490"/>
                  </a:lnTo>
                  <a:lnTo>
                    <a:pt x="833" y="1482"/>
                  </a:lnTo>
                  <a:lnTo>
                    <a:pt x="811" y="1473"/>
                  </a:lnTo>
                  <a:lnTo>
                    <a:pt x="787" y="1463"/>
                  </a:lnTo>
                  <a:lnTo>
                    <a:pt x="766" y="1452"/>
                  </a:lnTo>
                  <a:lnTo>
                    <a:pt x="745" y="1440"/>
                  </a:lnTo>
                  <a:lnTo>
                    <a:pt x="725" y="1427"/>
                  </a:lnTo>
                  <a:lnTo>
                    <a:pt x="705" y="1412"/>
                  </a:lnTo>
                  <a:lnTo>
                    <a:pt x="686" y="1397"/>
                  </a:lnTo>
                  <a:lnTo>
                    <a:pt x="668" y="1381"/>
                  </a:lnTo>
                  <a:lnTo>
                    <a:pt x="651" y="1365"/>
                  </a:lnTo>
                  <a:lnTo>
                    <a:pt x="633" y="1347"/>
                  </a:lnTo>
                  <a:lnTo>
                    <a:pt x="617" y="1329"/>
                  </a:lnTo>
                  <a:lnTo>
                    <a:pt x="603" y="1310"/>
                  </a:lnTo>
                  <a:lnTo>
                    <a:pt x="589" y="1290"/>
                  </a:lnTo>
                  <a:lnTo>
                    <a:pt x="576" y="1269"/>
                  </a:lnTo>
                  <a:lnTo>
                    <a:pt x="564" y="1248"/>
                  </a:lnTo>
                  <a:lnTo>
                    <a:pt x="553" y="1227"/>
                  </a:lnTo>
                  <a:lnTo>
                    <a:pt x="543" y="1205"/>
                  </a:lnTo>
                  <a:lnTo>
                    <a:pt x="534" y="1182"/>
                  </a:lnTo>
                  <a:lnTo>
                    <a:pt x="526" y="1158"/>
                  </a:lnTo>
                  <a:lnTo>
                    <a:pt x="519" y="1134"/>
                  </a:lnTo>
                  <a:lnTo>
                    <a:pt x="513" y="1110"/>
                  </a:lnTo>
                  <a:lnTo>
                    <a:pt x="509" y="1085"/>
                  </a:lnTo>
                  <a:lnTo>
                    <a:pt x="506" y="1060"/>
                  </a:lnTo>
                  <a:lnTo>
                    <a:pt x="504" y="1034"/>
                  </a:lnTo>
                  <a:lnTo>
                    <a:pt x="503" y="1008"/>
                  </a:lnTo>
                  <a:lnTo>
                    <a:pt x="504" y="982"/>
                  </a:lnTo>
                  <a:lnTo>
                    <a:pt x="506" y="957"/>
                  </a:lnTo>
                  <a:lnTo>
                    <a:pt x="509" y="931"/>
                  </a:lnTo>
                  <a:lnTo>
                    <a:pt x="513" y="906"/>
                  </a:lnTo>
                  <a:lnTo>
                    <a:pt x="519" y="882"/>
                  </a:lnTo>
                  <a:lnTo>
                    <a:pt x="526" y="858"/>
                  </a:lnTo>
                  <a:lnTo>
                    <a:pt x="534" y="835"/>
                  </a:lnTo>
                  <a:lnTo>
                    <a:pt x="543" y="812"/>
                  </a:lnTo>
                  <a:lnTo>
                    <a:pt x="553" y="789"/>
                  </a:lnTo>
                  <a:lnTo>
                    <a:pt x="564" y="768"/>
                  </a:lnTo>
                  <a:lnTo>
                    <a:pt x="576" y="747"/>
                  </a:lnTo>
                  <a:lnTo>
                    <a:pt x="589" y="726"/>
                  </a:lnTo>
                  <a:lnTo>
                    <a:pt x="603" y="707"/>
                  </a:lnTo>
                  <a:lnTo>
                    <a:pt x="617" y="688"/>
                  </a:lnTo>
                  <a:lnTo>
                    <a:pt x="633" y="669"/>
                  </a:lnTo>
                  <a:lnTo>
                    <a:pt x="651" y="651"/>
                  </a:lnTo>
                  <a:lnTo>
                    <a:pt x="668" y="635"/>
                  </a:lnTo>
                  <a:lnTo>
                    <a:pt x="686" y="619"/>
                  </a:lnTo>
                  <a:lnTo>
                    <a:pt x="705" y="604"/>
                  </a:lnTo>
                  <a:lnTo>
                    <a:pt x="725" y="590"/>
                  </a:lnTo>
                  <a:lnTo>
                    <a:pt x="745" y="577"/>
                  </a:lnTo>
                  <a:lnTo>
                    <a:pt x="766" y="564"/>
                  </a:lnTo>
                  <a:lnTo>
                    <a:pt x="787" y="553"/>
                  </a:lnTo>
                  <a:lnTo>
                    <a:pt x="811" y="543"/>
                  </a:lnTo>
                  <a:lnTo>
                    <a:pt x="833" y="534"/>
                  </a:lnTo>
                  <a:lnTo>
                    <a:pt x="856" y="526"/>
                  </a:lnTo>
                  <a:lnTo>
                    <a:pt x="880" y="520"/>
                  </a:lnTo>
                  <a:lnTo>
                    <a:pt x="904" y="514"/>
                  </a:lnTo>
                  <a:lnTo>
                    <a:pt x="929" y="510"/>
                  </a:lnTo>
                  <a:lnTo>
                    <a:pt x="954" y="507"/>
                  </a:lnTo>
                  <a:lnTo>
                    <a:pt x="980" y="505"/>
                  </a:lnTo>
                  <a:lnTo>
                    <a:pt x="1006" y="504"/>
                  </a:lnTo>
                  <a:close/>
                  <a:moveTo>
                    <a:pt x="0" y="1008"/>
                  </a:moveTo>
                  <a:lnTo>
                    <a:pt x="2" y="1060"/>
                  </a:lnTo>
                  <a:lnTo>
                    <a:pt x="5" y="1111"/>
                  </a:lnTo>
                  <a:lnTo>
                    <a:pt x="12" y="1161"/>
                  </a:lnTo>
                  <a:lnTo>
                    <a:pt x="21" y="1211"/>
                  </a:lnTo>
                  <a:lnTo>
                    <a:pt x="32" y="1260"/>
                  </a:lnTo>
                  <a:lnTo>
                    <a:pt x="45" y="1308"/>
                  </a:lnTo>
                  <a:lnTo>
                    <a:pt x="61" y="1355"/>
                  </a:lnTo>
                  <a:lnTo>
                    <a:pt x="79" y="1400"/>
                  </a:lnTo>
                  <a:lnTo>
                    <a:pt x="99" y="1445"/>
                  </a:lnTo>
                  <a:lnTo>
                    <a:pt x="121" y="1488"/>
                  </a:lnTo>
                  <a:lnTo>
                    <a:pt x="146" y="1530"/>
                  </a:lnTo>
                  <a:lnTo>
                    <a:pt x="172" y="1572"/>
                  </a:lnTo>
                  <a:lnTo>
                    <a:pt x="200" y="1611"/>
                  </a:lnTo>
                  <a:lnTo>
                    <a:pt x="230" y="1649"/>
                  </a:lnTo>
                  <a:lnTo>
                    <a:pt x="261" y="1686"/>
                  </a:lnTo>
                  <a:lnTo>
                    <a:pt x="294" y="1721"/>
                  </a:lnTo>
                  <a:lnTo>
                    <a:pt x="330" y="1754"/>
                  </a:lnTo>
                  <a:lnTo>
                    <a:pt x="366" y="1785"/>
                  </a:lnTo>
                  <a:lnTo>
                    <a:pt x="404" y="1816"/>
                  </a:lnTo>
                  <a:lnTo>
                    <a:pt x="443" y="1844"/>
                  </a:lnTo>
                  <a:lnTo>
                    <a:pt x="485" y="1870"/>
                  </a:lnTo>
                  <a:lnTo>
                    <a:pt x="527" y="1894"/>
                  </a:lnTo>
                  <a:lnTo>
                    <a:pt x="570" y="1917"/>
                  </a:lnTo>
                  <a:lnTo>
                    <a:pt x="614" y="1937"/>
                  </a:lnTo>
                  <a:lnTo>
                    <a:pt x="661" y="1955"/>
                  </a:lnTo>
                  <a:lnTo>
                    <a:pt x="707" y="1971"/>
                  </a:lnTo>
                  <a:lnTo>
                    <a:pt x="754" y="1984"/>
                  </a:lnTo>
                  <a:lnTo>
                    <a:pt x="803" y="1995"/>
                  </a:lnTo>
                  <a:lnTo>
                    <a:pt x="853" y="2004"/>
                  </a:lnTo>
                  <a:lnTo>
                    <a:pt x="903" y="2011"/>
                  </a:lnTo>
                  <a:lnTo>
                    <a:pt x="954" y="2015"/>
                  </a:lnTo>
                  <a:lnTo>
                    <a:pt x="1006" y="2016"/>
                  </a:lnTo>
                  <a:lnTo>
                    <a:pt x="1057" y="2015"/>
                  </a:lnTo>
                  <a:lnTo>
                    <a:pt x="1108" y="2011"/>
                  </a:lnTo>
                  <a:lnTo>
                    <a:pt x="1159" y="2004"/>
                  </a:lnTo>
                  <a:lnTo>
                    <a:pt x="1208" y="1995"/>
                  </a:lnTo>
                  <a:lnTo>
                    <a:pt x="1257" y="1984"/>
                  </a:lnTo>
                  <a:lnTo>
                    <a:pt x="1304" y="1971"/>
                  </a:lnTo>
                  <a:lnTo>
                    <a:pt x="1352" y="1955"/>
                  </a:lnTo>
                  <a:lnTo>
                    <a:pt x="1397" y="1937"/>
                  </a:lnTo>
                  <a:lnTo>
                    <a:pt x="1441" y="1917"/>
                  </a:lnTo>
                  <a:lnTo>
                    <a:pt x="1485" y="1894"/>
                  </a:lnTo>
                  <a:lnTo>
                    <a:pt x="1527" y="1870"/>
                  </a:lnTo>
                  <a:lnTo>
                    <a:pt x="1568" y="1844"/>
                  </a:lnTo>
                  <a:lnTo>
                    <a:pt x="1607" y="1816"/>
                  </a:lnTo>
                  <a:lnTo>
                    <a:pt x="1645" y="1785"/>
                  </a:lnTo>
                  <a:lnTo>
                    <a:pt x="1682" y="1754"/>
                  </a:lnTo>
                  <a:lnTo>
                    <a:pt x="1717" y="1721"/>
                  </a:lnTo>
                  <a:lnTo>
                    <a:pt x="1750" y="1686"/>
                  </a:lnTo>
                  <a:lnTo>
                    <a:pt x="1782" y="1649"/>
                  </a:lnTo>
                  <a:lnTo>
                    <a:pt x="1811" y="1611"/>
                  </a:lnTo>
                  <a:lnTo>
                    <a:pt x="1840" y="1572"/>
                  </a:lnTo>
                  <a:lnTo>
                    <a:pt x="1866" y="1530"/>
                  </a:lnTo>
                  <a:lnTo>
                    <a:pt x="1890" y="1488"/>
                  </a:lnTo>
                  <a:lnTo>
                    <a:pt x="1912" y="1445"/>
                  </a:lnTo>
                  <a:lnTo>
                    <a:pt x="1932" y="1400"/>
                  </a:lnTo>
                  <a:lnTo>
                    <a:pt x="1950" y="1355"/>
                  </a:lnTo>
                  <a:lnTo>
                    <a:pt x="1966" y="1308"/>
                  </a:lnTo>
                  <a:lnTo>
                    <a:pt x="1980" y="1260"/>
                  </a:lnTo>
                  <a:lnTo>
                    <a:pt x="1992" y="1211"/>
                  </a:lnTo>
                  <a:lnTo>
                    <a:pt x="2001" y="1161"/>
                  </a:lnTo>
                  <a:lnTo>
                    <a:pt x="2007" y="1111"/>
                  </a:lnTo>
                  <a:lnTo>
                    <a:pt x="2011" y="1060"/>
                  </a:lnTo>
                  <a:lnTo>
                    <a:pt x="2012" y="1008"/>
                  </a:lnTo>
                  <a:lnTo>
                    <a:pt x="2011" y="957"/>
                  </a:lnTo>
                  <a:lnTo>
                    <a:pt x="2007" y="905"/>
                  </a:lnTo>
                  <a:lnTo>
                    <a:pt x="2001" y="855"/>
                  </a:lnTo>
                  <a:lnTo>
                    <a:pt x="1992" y="805"/>
                  </a:lnTo>
                  <a:lnTo>
                    <a:pt x="1980" y="756"/>
                  </a:lnTo>
                  <a:lnTo>
                    <a:pt x="1966" y="709"/>
                  </a:lnTo>
                  <a:lnTo>
                    <a:pt x="1950" y="661"/>
                  </a:lnTo>
                  <a:lnTo>
                    <a:pt x="1932" y="616"/>
                  </a:lnTo>
                  <a:lnTo>
                    <a:pt x="1912" y="572"/>
                  </a:lnTo>
                  <a:lnTo>
                    <a:pt x="1890" y="528"/>
                  </a:lnTo>
                  <a:lnTo>
                    <a:pt x="1866" y="486"/>
                  </a:lnTo>
                  <a:lnTo>
                    <a:pt x="1840" y="445"/>
                  </a:lnTo>
                  <a:lnTo>
                    <a:pt x="1811" y="405"/>
                  </a:lnTo>
                  <a:lnTo>
                    <a:pt x="1782" y="367"/>
                  </a:lnTo>
                  <a:lnTo>
                    <a:pt x="1750" y="331"/>
                  </a:lnTo>
                  <a:lnTo>
                    <a:pt x="1717" y="295"/>
                  </a:lnTo>
                  <a:lnTo>
                    <a:pt x="1682" y="262"/>
                  </a:lnTo>
                  <a:lnTo>
                    <a:pt x="1645" y="231"/>
                  </a:lnTo>
                  <a:lnTo>
                    <a:pt x="1607" y="201"/>
                  </a:lnTo>
                  <a:lnTo>
                    <a:pt x="1568" y="172"/>
                  </a:lnTo>
                  <a:lnTo>
                    <a:pt x="1527" y="146"/>
                  </a:lnTo>
                  <a:lnTo>
                    <a:pt x="1485" y="122"/>
                  </a:lnTo>
                  <a:lnTo>
                    <a:pt x="1441" y="100"/>
                  </a:lnTo>
                  <a:lnTo>
                    <a:pt x="1397" y="80"/>
                  </a:lnTo>
                  <a:lnTo>
                    <a:pt x="1352" y="61"/>
                  </a:lnTo>
                  <a:lnTo>
                    <a:pt x="1304" y="45"/>
                  </a:lnTo>
                  <a:lnTo>
                    <a:pt x="1257" y="31"/>
                  </a:lnTo>
                  <a:lnTo>
                    <a:pt x="1208" y="20"/>
                  </a:lnTo>
                  <a:lnTo>
                    <a:pt x="1159" y="11"/>
                  </a:lnTo>
                  <a:lnTo>
                    <a:pt x="1108" y="5"/>
                  </a:lnTo>
                  <a:lnTo>
                    <a:pt x="1057" y="1"/>
                  </a:lnTo>
                  <a:lnTo>
                    <a:pt x="1006" y="0"/>
                  </a:lnTo>
                  <a:lnTo>
                    <a:pt x="954" y="1"/>
                  </a:lnTo>
                  <a:lnTo>
                    <a:pt x="903" y="5"/>
                  </a:lnTo>
                  <a:lnTo>
                    <a:pt x="853" y="11"/>
                  </a:lnTo>
                  <a:lnTo>
                    <a:pt x="803" y="20"/>
                  </a:lnTo>
                  <a:lnTo>
                    <a:pt x="754" y="31"/>
                  </a:lnTo>
                  <a:lnTo>
                    <a:pt x="707" y="45"/>
                  </a:lnTo>
                  <a:lnTo>
                    <a:pt x="661" y="61"/>
                  </a:lnTo>
                  <a:lnTo>
                    <a:pt x="614" y="80"/>
                  </a:lnTo>
                  <a:lnTo>
                    <a:pt x="570" y="100"/>
                  </a:lnTo>
                  <a:lnTo>
                    <a:pt x="527" y="122"/>
                  </a:lnTo>
                  <a:lnTo>
                    <a:pt x="485" y="146"/>
                  </a:lnTo>
                  <a:lnTo>
                    <a:pt x="443" y="172"/>
                  </a:lnTo>
                  <a:lnTo>
                    <a:pt x="404" y="201"/>
                  </a:lnTo>
                  <a:lnTo>
                    <a:pt x="366" y="231"/>
                  </a:lnTo>
                  <a:lnTo>
                    <a:pt x="330" y="262"/>
                  </a:lnTo>
                  <a:lnTo>
                    <a:pt x="294" y="295"/>
                  </a:lnTo>
                  <a:lnTo>
                    <a:pt x="261" y="331"/>
                  </a:lnTo>
                  <a:lnTo>
                    <a:pt x="230" y="367"/>
                  </a:lnTo>
                  <a:lnTo>
                    <a:pt x="200" y="405"/>
                  </a:lnTo>
                  <a:lnTo>
                    <a:pt x="172" y="445"/>
                  </a:lnTo>
                  <a:lnTo>
                    <a:pt x="146" y="486"/>
                  </a:lnTo>
                  <a:lnTo>
                    <a:pt x="121" y="528"/>
                  </a:lnTo>
                  <a:lnTo>
                    <a:pt x="99" y="572"/>
                  </a:lnTo>
                  <a:lnTo>
                    <a:pt x="79" y="616"/>
                  </a:lnTo>
                  <a:lnTo>
                    <a:pt x="61" y="661"/>
                  </a:lnTo>
                  <a:lnTo>
                    <a:pt x="45" y="709"/>
                  </a:lnTo>
                  <a:lnTo>
                    <a:pt x="32" y="756"/>
                  </a:lnTo>
                  <a:lnTo>
                    <a:pt x="21" y="805"/>
                  </a:lnTo>
                  <a:lnTo>
                    <a:pt x="12" y="855"/>
                  </a:lnTo>
                  <a:lnTo>
                    <a:pt x="5" y="905"/>
                  </a:lnTo>
                  <a:lnTo>
                    <a:pt x="2" y="957"/>
                  </a:lnTo>
                  <a:lnTo>
                    <a:pt x="0" y="10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57" name="iśľíde">
              <a:extLst>
                <a:ext uri="{FF2B5EF4-FFF2-40B4-BE49-F238E27FC236}">
                  <a16:creationId xmlns:a16="http://schemas.microsoft.com/office/drawing/2014/main" id="{2D5B88AF-B9C9-443F-89FF-F19D32A61845}"/>
                </a:ext>
              </a:extLst>
            </p:cNvPr>
            <p:cNvSpPr/>
            <p:nvPr/>
          </p:nvSpPr>
          <p:spPr bwMode="auto">
            <a:xfrm>
              <a:off x="7971512" y="912781"/>
              <a:ext cx="38070" cy="38070"/>
            </a:xfrm>
            <a:custGeom>
              <a:avLst/>
              <a:gdLst>
                <a:gd name="T0" fmla="*/ 554 w 1006"/>
                <a:gd name="T1" fmla="*/ 1005 h 1008"/>
                <a:gd name="T2" fmla="*/ 628 w 1006"/>
                <a:gd name="T3" fmla="*/ 992 h 1008"/>
                <a:gd name="T4" fmla="*/ 699 w 1006"/>
                <a:gd name="T5" fmla="*/ 969 h 1008"/>
                <a:gd name="T6" fmla="*/ 763 w 1006"/>
                <a:gd name="T7" fmla="*/ 935 h 1008"/>
                <a:gd name="T8" fmla="*/ 822 w 1006"/>
                <a:gd name="T9" fmla="*/ 893 h 1008"/>
                <a:gd name="T10" fmla="*/ 875 w 1006"/>
                <a:gd name="T11" fmla="*/ 843 h 1008"/>
                <a:gd name="T12" fmla="*/ 920 w 1006"/>
                <a:gd name="T13" fmla="*/ 786 h 1008"/>
                <a:gd name="T14" fmla="*/ 956 w 1006"/>
                <a:gd name="T15" fmla="*/ 723 h 1008"/>
                <a:gd name="T16" fmla="*/ 983 w 1006"/>
                <a:gd name="T17" fmla="*/ 654 h 1008"/>
                <a:gd name="T18" fmla="*/ 1000 w 1006"/>
                <a:gd name="T19" fmla="*/ 581 h 1008"/>
                <a:gd name="T20" fmla="*/ 1006 w 1006"/>
                <a:gd name="T21" fmla="*/ 504 h 1008"/>
                <a:gd name="T22" fmla="*/ 1000 w 1006"/>
                <a:gd name="T23" fmla="*/ 427 h 1008"/>
                <a:gd name="T24" fmla="*/ 983 w 1006"/>
                <a:gd name="T25" fmla="*/ 354 h 1008"/>
                <a:gd name="T26" fmla="*/ 956 w 1006"/>
                <a:gd name="T27" fmla="*/ 285 h 1008"/>
                <a:gd name="T28" fmla="*/ 920 w 1006"/>
                <a:gd name="T29" fmla="*/ 222 h 1008"/>
                <a:gd name="T30" fmla="*/ 875 w 1006"/>
                <a:gd name="T31" fmla="*/ 165 h 1008"/>
                <a:gd name="T32" fmla="*/ 822 w 1006"/>
                <a:gd name="T33" fmla="*/ 115 h 1008"/>
                <a:gd name="T34" fmla="*/ 763 w 1006"/>
                <a:gd name="T35" fmla="*/ 72 h 1008"/>
                <a:gd name="T36" fmla="*/ 699 w 1006"/>
                <a:gd name="T37" fmla="*/ 39 h 1008"/>
                <a:gd name="T38" fmla="*/ 628 w 1006"/>
                <a:gd name="T39" fmla="*/ 16 h 1008"/>
                <a:gd name="T40" fmla="*/ 554 w 1006"/>
                <a:gd name="T41" fmla="*/ 3 h 1008"/>
                <a:gd name="T42" fmla="*/ 476 w 1006"/>
                <a:gd name="T43" fmla="*/ 1 h 1008"/>
                <a:gd name="T44" fmla="*/ 401 w 1006"/>
                <a:gd name="T45" fmla="*/ 10 h 1008"/>
                <a:gd name="T46" fmla="*/ 330 w 1006"/>
                <a:gd name="T47" fmla="*/ 30 h 1008"/>
                <a:gd name="T48" fmla="*/ 263 w 1006"/>
                <a:gd name="T49" fmla="*/ 60 h 1008"/>
                <a:gd name="T50" fmla="*/ 202 w 1006"/>
                <a:gd name="T51" fmla="*/ 100 h 1008"/>
                <a:gd name="T52" fmla="*/ 147 w 1006"/>
                <a:gd name="T53" fmla="*/ 147 h 1008"/>
                <a:gd name="T54" fmla="*/ 99 w 1006"/>
                <a:gd name="T55" fmla="*/ 202 h 1008"/>
                <a:gd name="T56" fmla="*/ 61 w 1006"/>
                <a:gd name="T57" fmla="*/ 264 h 1008"/>
                <a:gd name="T58" fmla="*/ 30 w 1006"/>
                <a:gd name="T59" fmla="*/ 330 h 1008"/>
                <a:gd name="T60" fmla="*/ 10 w 1006"/>
                <a:gd name="T61" fmla="*/ 402 h 1008"/>
                <a:gd name="T62" fmla="*/ 1 w 1006"/>
                <a:gd name="T63" fmla="*/ 478 h 1008"/>
                <a:gd name="T64" fmla="*/ 3 w 1006"/>
                <a:gd name="T65" fmla="*/ 555 h 1008"/>
                <a:gd name="T66" fmla="*/ 16 w 1006"/>
                <a:gd name="T67" fmla="*/ 630 h 1008"/>
                <a:gd name="T68" fmla="*/ 39 w 1006"/>
                <a:gd name="T69" fmla="*/ 700 h 1008"/>
                <a:gd name="T70" fmla="*/ 73 w 1006"/>
                <a:gd name="T71" fmla="*/ 765 h 1008"/>
                <a:gd name="T72" fmla="*/ 114 w 1006"/>
                <a:gd name="T73" fmla="*/ 824 h 1008"/>
                <a:gd name="T74" fmla="*/ 165 w 1006"/>
                <a:gd name="T75" fmla="*/ 877 h 1008"/>
                <a:gd name="T76" fmla="*/ 222 w 1006"/>
                <a:gd name="T77" fmla="*/ 922 h 1008"/>
                <a:gd name="T78" fmla="*/ 284 w 1006"/>
                <a:gd name="T79" fmla="*/ 959 h 1008"/>
                <a:gd name="T80" fmla="*/ 353 w 1006"/>
                <a:gd name="T81" fmla="*/ 985 h 1008"/>
                <a:gd name="T82" fmla="*/ 426 w 1006"/>
                <a:gd name="T83" fmla="*/ 1002 h 1008"/>
                <a:gd name="T84" fmla="*/ 503 w 1006"/>
                <a:gd name="T85" fmla="*/ 1008 h 1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1008">
                  <a:moveTo>
                    <a:pt x="503" y="1008"/>
                  </a:moveTo>
                  <a:lnTo>
                    <a:pt x="529" y="1007"/>
                  </a:lnTo>
                  <a:lnTo>
                    <a:pt x="554" y="1005"/>
                  </a:lnTo>
                  <a:lnTo>
                    <a:pt x="579" y="1002"/>
                  </a:lnTo>
                  <a:lnTo>
                    <a:pt x="604" y="998"/>
                  </a:lnTo>
                  <a:lnTo>
                    <a:pt x="628" y="992"/>
                  </a:lnTo>
                  <a:lnTo>
                    <a:pt x="652" y="985"/>
                  </a:lnTo>
                  <a:lnTo>
                    <a:pt x="676" y="978"/>
                  </a:lnTo>
                  <a:lnTo>
                    <a:pt x="699" y="969"/>
                  </a:lnTo>
                  <a:lnTo>
                    <a:pt x="721" y="959"/>
                  </a:lnTo>
                  <a:lnTo>
                    <a:pt x="742" y="948"/>
                  </a:lnTo>
                  <a:lnTo>
                    <a:pt x="763" y="935"/>
                  </a:lnTo>
                  <a:lnTo>
                    <a:pt x="784" y="922"/>
                  </a:lnTo>
                  <a:lnTo>
                    <a:pt x="803" y="908"/>
                  </a:lnTo>
                  <a:lnTo>
                    <a:pt x="822" y="893"/>
                  </a:lnTo>
                  <a:lnTo>
                    <a:pt x="841" y="877"/>
                  </a:lnTo>
                  <a:lnTo>
                    <a:pt x="859" y="861"/>
                  </a:lnTo>
                  <a:lnTo>
                    <a:pt x="875" y="843"/>
                  </a:lnTo>
                  <a:lnTo>
                    <a:pt x="891" y="824"/>
                  </a:lnTo>
                  <a:lnTo>
                    <a:pt x="906" y="805"/>
                  </a:lnTo>
                  <a:lnTo>
                    <a:pt x="920" y="786"/>
                  </a:lnTo>
                  <a:lnTo>
                    <a:pt x="933" y="765"/>
                  </a:lnTo>
                  <a:lnTo>
                    <a:pt x="945" y="744"/>
                  </a:lnTo>
                  <a:lnTo>
                    <a:pt x="956" y="723"/>
                  </a:lnTo>
                  <a:lnTo>
                    <a:pt x="966" y="700"/>
                  </a:lnTo>
                  <a:lnTo>
                    <a:pt x="975" y="677"/>
                  </a:lnTo>
                  <a:lnTo>
                    <a:pt x="983" y="654"/>
                  </a:lnTo>
                  <a:lnTo>
                    <a:pt x="989" y="630"/>
                  </a:lnTo>
                  <a:lnTo>
                    <a:pt x="996" y="606"/>
                  </a:lnTo>
                  <a:lnTo>
                    <a:pt x="1000" y="581"/>
                  </a:lnTo>
                  <a:lnTo>
                    <a:pt x="1004" y="555"/>
                  </a:lnTo>
                  <a:lnTo>
                    <a:pt x="1006" y="530"/>
                  </a:lnTo>
                  <a:lnTo>
                    <a:pt x="1006" y="504"/>
                  </a:lnTo>
                  <a:lnTo>
                    <a:pt x="1006" y="478"/>
                  </a:lnTo>
                  <a:lnTo>
                    <a:pt x="1004" y="452"/>
                  </a:lnTo>
                  <a:lnTo>
                    <a:pt x="1000" y="427"/>
                  </a:lnTo>
                  <a:lnTo>
                    <a:pt x="996" y="402"/>
                  </a:lnTo>
                  <a:lnTo>
                    <a:pt x="989" y="378"/>
                  </a:lnTo>
                  <a:lnTo>
                    <a:pt x="983" y="354"/>
                  </a:lnTo>
                  <a:lnTo>
                    <a:pt x="975" y="330"/>
                  </a:lnTo>
                  <a:lnTo>
                    <a:pt x="966" y="307"/>
                  </a:lnTo>
                  <a:lnTo>
                    <a:pt x="956" y="285"/>
                  </a:lnTo>
                  <a:lnTo>
                    <a:pt x="945" y="264"/>
                  </a:lnTo>
                  <a:lnTo>
                    <a:pt x="933" y="243"/>
                  </a:lnTo>
                  <a:lnTo>
                    <a:pt x="920" y="222"/>
                  </a:lnTo>
                  <a:lnTo>
                    <a:pt x="906" y="202"/>
                  </a:lnTo>
                  <a:lnTo>
                    <a:pt x="891" y="183"/>
                  </a:lnTo>
                  <a:lnTo>
                    <a:pt x="875" y="165"/>
                  </a:lnTo>
                  <a:lnTo>
                    <a:pt x="859" y="147"/>
                  </a:lnTo>
                  <a:lnTo>
                    <a:pt x="841" y="131"/>
                  </a:lnTo>
                  <a:lnTo>
                    <a:pt x="822" y="115"/>
                  </a:lnTo>
                  <a:lnTo>
                    <a:pt x="803" y="100"/>
                  </a:lnTo>
                  <a:lnTo>
                    <a:pt x="784" y="85"/>
                  </a:lnTo>
                  <a:lnTo>
                    <a:pt x="763" y="72"/>
                  </a:lnTo>
                  <a:lnTo>
                    <a:pt x="742" y="60"/>
                  </a:lnTo>
                  <a:lnTo>
                    <a:pt x="721" y="49"/>
                  </a:lnTo>
                  <a:lnTo>
                    <a:pt x="699" y="39"/>
                  </a:lnTo>
                  <a:lnTo>
                    <a:pt x="676" y="30"/>
                  </a:lnTo>
                  <a:lnTo>
                    <a:pt x="652" y="22"/>
                  </a:lnTo>
                  <a:lnTo>
                    <a:pt x="628" y="16"/>
                  </a:lnTo>
                  <a:lnTo>
                    <a:pt x="604" y="10"/>
                  </a:lnTo>
                  <a:lnTo>
                    <a:pt x="579" y="6"/>
                  </a:lnTo>
                  <a:lnTo>
                    <a:pt x="554" y="3"/>
                  </a:lnTo>
                  <a:lnTo>
                    <a:pt x="529" y="1"/>
                  </a:lnTo>
                  <a:lnTo>
                    <a:pt x="503" y="0"/>
                  </a:lnTo>
                  <a:lnTo>
                    <a:pt x="476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4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2" y="85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0" y="165"/>
                  </a:lnTo>
                  <a:lnTo>
                    <a:pt x="114" y="183"/>
                  </a:lnTo>
                  <a:lnTo>
                    <a:pt x="99" y="202"/>
                  </a:lnTo>
                  <a:lnTo>
                    <a:pt x="86" y="222"/>
                  </a:lnTo>
                  <a:lnTo>
                    <a:pt x="73" y="243"/>
                  </a:lnTo>
                  <a:lnTo>
                    <a:pt x="61" y="264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3" y="354"/>
                  </a:lnTo>
                  <a:lnTo>
                    <a:pt x="16" y="378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2"/>
                  </a:lnTo>
                  <a:lnTo>
                    <a:pt x="1" y="478"/>
                  </a:lnTo>
                  <a:lnTo>
                    <a:pt x="0" y="504"/>
                  </a:lnTo>
                  <a:lnTo>
                    <a:pt x="1" y="530"/>
                  </a:lnTo>
                  <a:lnTo>
                    <a:pt x="3" y="555"/>
                  </a:lnTo>
                  <a:lnTo>
                    <a:pt x="6" y="581"/>
                  </a:lnTo>
                  <a:lnTo>
                    <a:pt x="10" y="606"/>
                  </a:lnTo>
                  <a:lnTo>
                    <a:pt x="16" y="630"/>
                  </a:lnTo>
                  <a:lnTo>
                    <a:pt x="23" y="654"/>
                  </a:lnTo>
                  <a:lnTo>
                    <a:pt x="30" y="677"/>
                  </a:lnTo>
                  <a:lnTo>
                    <a:pt x="39" y="700"/>
                  </a:lnTo>
                  <a:lnTo>
                    <a:pt x="49" y="723"/>
                  </a:lnTo>
                  <a:lnTo>
                    <a:pt x="61" y="744"/>
                  </a:lnTo>
                  <a:lnTo>
                    <a:pt x="73" y="765"/>
                  </a:lnTo>
                  <a:lnTo>
                    <a:pt x="86" y="786"/>
                  </a:lnTo>
                  <a:lnTo>
                    <a:pt x="99" y="805"/>
                  </a:lnTo>
                  <a:lnTo>
                    <a:pt x="114" y="824"/>
                  </a:lnTo>
                  <a:lnTo>
                    <a:pt x="130" y="843"/>
                  </a:lnTo>
                  <a:lnTo>
                    <a:pt x="147" y="861"/>
                  </a:lnTo>
                  <a:lnTo>
                    <a:pt x="165" y="877"/>
                  </a:lnTo>
                  <a:lnTo>
                    <a:pt x="183" y="893"/>
                  </a:lnTo>
                  <a:lnTo>
                    <a:pt x="202" y="908"/>
                  </a:lnTo>
                  <a:lnTo>
                    <a:pt x="222" y="922"/>
                  </a:lnTo>
                  <a:lnTo>
                    <a:pt x="242" y="935"/>
                  </a:lnTo>
                  <a:lnTo>
                    <a:pt x="263" y="948"/>
                  </a:lnTo>
                  <a:lnTo>
                    <a:pt x="284" y="959"/>
                  </a:lnTo>
                  <a:lnTo>
                    <a:pt x="307" y="969"/>
                  </a:lnTo>
                  <a:lnTo>
                    <a:pt x="330" y="978"/>
                  </a:lnTo>
                  <a:lnTo>
                    <a:pt x="353" y="985"/>
                  </a:lnTo>
                  <a:lnTo>
                    <a:pt x="377" y="992"/>
                  </a:lnTo>
                  <a:lnTo>
                    <a:pt x="401" y="998"/>
                  </a:lnTo>
                  <a:lnTo>
                    <a:pt x="426" y="1002"/>
                  </a:lnTo>
                  <a:lnTo>
                    <a:pt x="451" y="1005"/>
                  </a:lnTo>
                  <a:lnTo>
                    <a:pt x="476" y="1007"/>
                  </a:lnTo>
                  <a:lnTo>
                    <a:pt x="503" y="10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58" name="ïṧḷîḓé">
              <a:extLst>
                <a:ext uri="{FF2B5EF4-FFF2-40B4-BE49-F238E27FC236}">
                  <a16:creationId xmlns:a16="http://schemas.microsoft.com/office/drawing/2014/main" id="{BC9EE6CC-9DCC-43A4-BC24-2032CD70191A}"/>
                </a:ext>
              </a:extLst>
            </p:cNvPr>
            <p:cNvSpPr/>
            <p:nvPr/>
          </p:nvSpPr>
          <p:spPr bwMode="auto">
            <a:xfrm>
              <a:off x="8278886" y="623737"/>
              <a:ext cx="38070" cy="39479"/>
            </a:xfrm>
            <a:custGeom>
              <a:avLst/>
              <a:gdLst>
                <a:gd name="T0" fmla="*/ 452 w 1006"/>
                <a:gd name="T1" fmla="*/ 3 h 1008"/>
                <a:gd name="T2" fmla="*/ 377 w 1006"/>
                <a:gd name="T3" fmla="*/ 16 h 1008"/>
                <a:gd name="T4" fmla="*/ 307 w 1006"/>
                <a:gd name="T5" fmla="*/ 39 h 1008"/>
                <a:gd name="T6" fmla="*/ 243 w 1006"/>
                <a:gd name="T7" fmla="*/ 72 h 1008"/>
                <a:gd name="T8" fmla="*/ 183 w 1006"/>
                <a:gd name="T9" fmla="*/ 115 h 1008"/>
                <a:gd name="T10" fmla="*/ 131 w 1006"/>
                <a:gd name="T11" fmla="*/ 165 h 1008"/>
                <a:gd name="T12" fmla="*/ 86 w 1006"/>
                <a:gd name="T13" fmla="*/ 222 h 1008"/>
                <a:gd name="T14" fmla="*/ 49 w 1006"/>
                <a:gd name="T15" fmla="*/ 285 h 1008"/>
                <a:gd name="T16" fmla="*/ 22 w 1006"/>
                <a:gd name="T17" fmla="*/ 354 h 1008"/>
                <a:gd name="T18" fmla="*/ 6 w 1006"/>
                <a:gd name="T19" fmla="*/ 427 h 1008"/>
                <a:gd name="T20" fmla="*/ 0 w 1006"/>
                <a:gd name="T21" fmla="*/ 504 h 1008"/>
                <a:gd name="T22" fmla="*/ 6 w 1006"/>
                <a:gd name="T23" fmla="*/ 581 h 1008"/>
                <a:gd name="T24" fmla="*/ 22 w 1006"/>
                <a:gd name="T25" fmla="*/ 654 h 1008"/>
                <a:gd name="T26" fmla="*/ 49 w 1006"/>
                <a:gd name="T27" fmla="*/ 723 h 1008"/>
                <a:gd name="T28" fmla="*/ 86 w 1006"/>
                <a:gd name="T29" fmla="*/ 786 h 1008"/>
                <a:gd name="T30" fmla="*/ 131 w 1006"/>
                <a:gd name="T31" fmla="*/ 843 h 1008"/>
                <a:gd name="T32" fmla="*/ 183 w 1006"/>
                <a:gd name="T33" fmla="*/ 893 h 1008"/>
                <a:gd name="T34" fmla="*/ 243 w 1006"/>
                <a:gd name="T35" fmla="*/ 936 h 1008"/>
                <a:gd name="T36" fmla="*/ 307 w 1006"/>
                <a:gd name="T37" fmla="*/ 969 h 1008"/>
                <a:gd name="T38" fmla="*/ 377 w 1006"/>
                <a:gd name="T39" fmla="*/ 992 h 1008"/>
                <a:gd name="T40" fmla="*/ 452 w 1006"/>
                <a:gd name="T41" fmla="*/ 1005 h 1008"/>
                <a:gd name="T42" fmla="*/ 529 w 1006"/>
                <a:gd name="T43" fmla="*/ 1007 h 1008"/>
                <a:gd name="T44" fmla="*/ 605 w 1006"/>
                <a:gd name="T45" fmla="*/ 998 h 1008"/>
                <a:gd name="T46" fmla="*/ 676 w 1006"/>
                <a:gd name="T47" fmla="*/ 978 h 1008"/>
                <a:gd name="T48" fmla="*/ 743 w 1006"/>
                <a:gd name="T49" fmla="*/ 948 h 1008"/>
                <a:gd name="T50" fmla="*/ 804 w 1006"/>
                <a:gd name="T51" fmla="*/ 908 h 1008"/>
                <a:gd name="T52" fmla="*/ 858 w 1006"/>
                <a:gd name="T53" fmla="*/ 861 h 1008"/>
                <a:gd name="T54" fmla="*/ 906 w 1006"/>
                <a:gd name="T55" fmla="*/ 805 h 1008"/>
                <a:gd name="T56" fmla="*/ 946 w 1006"/>
                <a:gd name="T57" fmla="*/ 744 h 1008"/>
                <a:gd name="T58" fmla="*/ 976 w 1006"/>
                <a:gd name="T59" fmla="*/ 677 h 1008"/>
                <a:gd name="T60" fmla="*/ 996 w 1006"/>
                <a:gd name="T61" fmla="*/ 606 h 1008"/>
                <a:gd name="T62" fmla="*/ 1005 w 1006"/>
                <a:gd name="T63" fmla="*/ 530 h 1008"/>
                <a:gd name="T64" fmla="*/ 1003 w 1006"/>
                <a:gd name="T65" fmla="*/ 453 h 1008"/>
                <a:gd name="T66" fmla="*/ 990 w 1006"/>
                <a:gd name="T67" fmla="*/ 378 h 1008"/>
                <a:gd name="T68" fmla="*/ 967 w 1006"/>
                <a:gd name="T69" fmla="*/ 307 h 1008"/>
                <a:gd name="T70" fmla="*/ 934 w 1006"/>
                <a:gd name="T71" fmla="*/ 243 h 1008"/>
                <a:gd name="T72" fmla="*/ 891 w 1006"/>
                <a:gd name="T73" fmla="*/ 183 h 1008"/>
                <a:gd name="T74" fmla="*/ 841 w 1006"/>
                <a:gd name="T75" fmla="*/ 131 h 1008"/>
                <a:gd name="T76" fmla="*/ 784 w 1006"/>
                <a:gd name="T77" fmla="*/ 86 h 1008"/>
                <a:gd name="T78" fmla="*/ 721 w 1006"/>
                <a:gd name="T79" fmla="*/ 49 h 1008"/>
                <a:gd name="T80" fmla="*/ 653 w 1006"/>
                <a:gd name="T81" fmla="*/ 22 h 1008"/>
                <a:gd name="T82" fmla="*/ 580 w 1006"/>
                <a:gd name="T83" fmla="*/ 6 h 1008"/>
                <a:gd name="T84" fmla="*/ 503 w 1006"/>
                <a:gd name="T85" fmla="*/ 0 h 1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1008">
                  <a:moveTo>
                    <a:pt x="503" y="0"/>
                  </a:moveTo>
                  <a:lnTo>
                    <a:pt x="477" y="1"/>
                  </a:lnTo>
                  <a:lnTo>
                    <a:pt x="452" y="3"/>
                  </a:lnTo>
                  <a:lnTo>
                    <a:pt x="427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4" y="60"/>
                  </a:lnTo>
                  <a:lnTo>
                    <a:pt x="243" y="72"/>
                  </a:lnTo>
                  <a:lnTo>
                    <a:pt x="221" y="86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100" y="203"/>
                  </a:lnTo>
                  <a:lnTo>
                    <a:pt x="86" y="222"/>
                  </a:lnTo>
                  <a:lnTo>
                    <a:pt x="73" y="243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1"/>
                  </a:lnTo>
                  <a:lnTo>
                    <a:pt x="22" y="354"/>
                  </a:lnTo>
                  <a:lnTo>
                    <a:pt x="16" y="378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3"/>
                  </a:lnTo>
                  <a:lnTo>
                    <a:pt x="1" y="478"/>
                  </a:lnTo>
                  <a:lnTo>
                    <a:pt x="0" y="504"/>
                  </a:lnTo>
                  <a:lnTo>
                    <a:pt x="1" y="530"/>
                  </a:lnTo>
                  <a:lnTo>
                    <a:pt x="3" y="555"/>
                  </a:lnTo>
                  <a:lnTo>
                    <a:pt x="6" y="581"/>
                  </a:lnTo>
                  <a:lnTo>
                    <a:pt x="10" y="606"/>
                  </a:lnTo>
                  <a:lnTo>
                    <a:pt x="16" y="630"/>
                  </a:lnTo>
                  <a:lnTo>
                    <a:pt x="22" y="654"/>
                  </a:lnTo>
                  <a:lnTo>
                    <a:pt x="30" y="677"/>
                  </a:lnTo>
                  <a:lnTo>
                    <a:pt x="39" y="701"/>
                  </a:lnTo>
                  <a:lnTo>
                    <a:pt x="49" y="723"/>
                  </a:lnTo>
                  <a:lnTo>
                    <a:pt x="60" y="744"/>
                  </a:lnTo>
                  <a:lnTo>
                    <a:pt x="73" y="765"/>
                  </a:lnTo>
                  <a:lnTo>
                    <a:pt x="86" y="786"/>
                  </a:lnTo>
                  <a:lnTo>
                    <a:pt x="100" y="805"/>
                  </a:lnTo>
                  <a:lnTo>
                    <a:pt x="115" y="825"/>
                  </a:lnTo>
                  <a:lnTo>
                    <a:pt x="131" y="843"/>
                  </a:lnTo>
                  <a:lnTo>
                    <a:pt x="147" y="861"/>
                  </a:lnTo>
                  <a:lnTo>
                    <a:pt x="165" y="877"/>
                  </a:lnTo>
                  <a:lnTo>
                    <a:pt x="183" y="893"/>
                  </a:lnTo>
                  <a:lnTo>
                    <a:pt x="202" y="908"/>
                  </a:lnTo>
                  <a:lnTo>
                    <a:pt x="221" y="922"/>
                  </a:lnTo>
                  <a:lnTo>
                    <a:pt x="243" y="936"/>
                  </a:lnTo>
                  <a:lnTo>
                    <a:pt x="264" y="948"/>
                  </a:lnTo>
                  <a:lnTo>
                    <a:pt x="285" y="959"/>
                  </a:lnTo>
                  <a:lnTo>
                    <a:pt x="307" y="969"/>
                  </a:lnTo>
                  <a:lnTo>
                    <a:pt x="330" y="978"/>
                  </a:lnTo>
                  <a:lnTo>
                    <a:pt x="353" y="986"/>
                  </a:lnTo>
                  <a:lnTo>
                    <a:pt x="377" y="992"/>
                  </a:lnTo>
                  <a:lnTo>
                    <a:pt x="401" y="998"/>
                  </a:lnTo>
                  <a:lnTo>
                    <a:pt x="427" y="1002"/>
                  </a:lnTo>
                  <a:lnTo>
                    <a:pt x="452" y="1005"/>
                  </a:lnTo>
                  <a:lnTo>
                    <a:pt x="477" y="1007"/>
                  </a:lnTo>
                  <a:lnTo>
                    <a:pt x="503" y="1008"/>
                  </a:lnTo>
                  <a:lnTo>
                    <a:pt x="529" y="1007"/>
                  </a:lnTo>
                  <a:lnTo>
                    <a:pt x="554" y="1005"/>
                  </a:lnTo>
                  <a:lnTo>
                    <a:pt x="580" y="1002"/>
                  </a:lnTo>
                  <a:lnTo>
                    <a:pt x="605" y="998"/>
                  </a:lnTo>
                  <a:lnTo>
                    <a:pt x="629" y="992"/>
                  </a:lnTo>
                  <a:lnTo>
                    <a:pt x="653" y="986"/>
                  </a:lnTo>
                  <a:lnTo>
                    <a:pt x="676" y="978"/>
                  </a:lnTo>
                  <a:lnTo>
                    <a:pt x="699" y="969"/>
                  </a:lnTo>
                  <a:lnTo>
                    <a:pt x="721" y="959"/>
                  </a:lnTo>
                  <a:lnTo>
                    <a:pt x="743" y="948"/>
                  </a:lnTo>
                  <a:lnTo>
                    <a:pt x="764" y="936"/>
                  </a:lnTo>
                  <a:lnTo>
                    <a:pt x="784" y="922"/>
                  </a:lnTo>
                  <a:lnTo>
                    <a:pt x="804" y="908"/>
                  </a:lnTo>
                  <a:lnTo>
                    <a:pt x="823" y="893"/>
                  </a:lnTo>
                  <a:lnTo>
                    <a:pt x="841" y="877"/>
                  </a:lnTo>
                  <a:lnTo>
                    <a:pt x="858" y="861"/>
                  </a:lnTo>
                  <a:lnTo>
                    <a:pt x="875" y="843"/>
                  </a:lnTo>
                  <a:lnTo>
                    <a:pt x="891" y="825"/>
                  </a:lnTo>
                  <a:lnTo>
                    <a:pt x="906" y="805"/>
                  </a:lnTo>
                  <a:lnTo>
                    <a:pt x="921" y="786"/>
                  </a:lnTo>
                  <a:lnTo>
                    <a:pt x="934" y="765"/>
                  </a:lnTo>
                  <a:lnTo>
                    <a:pt x="946" y="744"/>
                  </a:lnTo>
                  <a:lnTo>
                    <a:pt x="957" y="723"/>
                  </a:lnTo>
                  <a:lnTo>
                    <a:pt x="967" y="701"/>
                  </a:lnTo>
                  <a:lnTo>
                    <a:pt x="976" y="677"/>
                  </a:lnTo>
                  <a:lnTo>
                    <a:pt x="983" y="654"/>
                  </a:lnTo>
                  <a:lnTo>
                    <a:pt x="990" y="630"/>
                  </a:lnTo>
                  <a:lnTo>
                    <a:pt x="996" y="606"/>
                  </a:lnTo>
                  <a:lnTo>
                    <a:pt x="1000" y="581"/>
                  </a:lnTo>
                  <a:lnTo>
                    <a:pt x="1003" y="555"/>
                  </a:lnTo>
                  <a:lnTo>
                    <a:pt x="1005" y="530"/>
                  </a:lnTo>
                  <a:lnTo>
                    <a:pt x="1006" y="504"/>
                  </a:lnTo>
                  <a:lnTo>
                    <a:pt x="1005" y="478"/>
                  </a:lnTo>
                  <a:lnTo>
                    <a:pt x="1003" y="453"/>
                  </a:lnTo>
                  <a:lnTo>
                    <a:pt x="1000" y="427"/>
                  </a:lnTo>
                  <a:lnTo>
                    <a:pt x="996" y="402"/>
                  </a:lnTo>
                  <a:lnTo>
                    <a:pt x="990" y="378"/>
                  </a:lnTo>
                  <a:lnTo>
                    <a:pt x="983" y="354"/>
                  </a:lnTo>
                  <a:lnTo>
                    <a:pt x="976" y="331"/>
                  </a:lnTo>
                  <a:lnTo>
                    <a:pt x="967" y="307"/>
                  </a:lnTo>
                  <a:lnTo>
                    <a:pt x="957" y="285"/>
                  </a:lnTo>
                  <a:lnTo>
                    <a:pt x="946" y="263"/>
                  </a:lnTo>
                  <a:lnTo>
                    <a:pt x="934" y="243"/>
                  </a:lnTo>
                  <a:lnTo>
                    <a:pt x="921" y="222"/>
                  </a:lnTo>
                  <a:lnTo>
                    <a:pt x="906" y="203"/>
                  </a:lnTo>
                  <a:lnTo>
                    <a:pt x="891" y="183"/>
                  </a:lnTo>
                  <a:lnTo>
                    <a:pt x="875" y="165"/>
                  </a:lnTo>
                  <a:lnTo>
                    <a:pt x="858" y="147"/>
                  </a:lnTo>
                  <a:lnTo>
                    <a:pt x="841" y="131"/>
                  </a:lnTo>
                  <a:lnTo>
                    <a:pt x="823" y="115"/>
                  </a:lnTo>
                  <a:lnTo>
                    <a:pt x="804" y="100"/>
                  </a:lnTo>
                  <a:lnTo>
                    <a:pt x="784" y="86"/>
                  </a:lnTo>
                  <a:lnTo>
                    <a:pt x="764" y="72"/>
                  </a:lnTo>
                  <a:lnTo>
                    <a:pt x="743" y="60"/>
                  </a:lnTo>
                  <a:lnTo>
                    <a:pt x="721" y="49"/>
                  </a:lnTo>
                  <a:lnTo>
                    <a:pt x="699" y="39"/>
                  </a:lnTo>
                  <a:lnTo>
                    <a:pt x="676" y="30"/>
                  </a:lnTo>
                  <a:lnTo>
                    <a:pt x="653" y="22"/>
                  </a:lnTo>
                  <a:lnTo>
                    <a:pt x="629" y="16"/>
                  </a:lnTo>
                  <a:lnTo>
                    <a:pt x="605" y="10"/>
                  </a:lnTo>
                  <a:lnTo>
                    <a:pt x="580" y="6"/>
                  </a:lnTo>
                  <a:lnTo>
                    <a:pt x="554" y="3"/>
                  </a:lnTo>
                  <a:lnTo>
                    <a:pt x="529" y="1"/>
                  </a:lnTo>
                  <a:lnTo>
                    <a:pt x="50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59" name="islide">
              <a:extLst>
                <a:ext uri="{FF2B5EF4-FFF2-40B4-BE49-F238E27FC236}">
                  <a16:creationId xmlns:a16="http://schemas.microsoft.com/office/drawing/2014/main" id="{AC5A71F9-64A7-409B-927D-F232E55B8D1E}"/>
                </a:ext>
              </a:extLst>
            </p:cNvPr>
            <p:cNvSpPr/>
            <p:nvPr/>
          </p:nvSpPr>
          <p:spPr bwMode="auto">
            <a:xfrm>
              <a:off x="9537158" y="147300"/>
              <a:ext cx="236122" cy="151900"/>
            </a:xfrm>
            <a:custGeom>
              <a:avLst/>
              <a:gdLst>
                <a:gd name="T0" fmla="*/ 4713 w 5797"/>
                <a:gd name="T1" fmla="*/ 41 h 3756"/>
                <a:gd name="T2" fmla="*/ 3661 w 5797"/>
                <a:gd name="T3" fmla="*/ 216 h 3756"/>
                <a:gd name="T4" fmla="*/ 2695 w 5797"/>
                <a:gd name="T5" fmla="*/ 516 h 3756"/>
                <a:gd name="T6" fmla="*/ 1839 w 5797"/>
                <a:gd name="T7" fmla="*/ 924 h 3756"/>
                <a:gd name="T8" fmla="*/ 1118 w 5797"/>
                <a:gd name="T9" fmla="*/ 1423 h 3756"/>
                <a:gd name="T10" fmla="*/ 556 w 5797"/>
                <a:gd name="T11" fmla="*/ 2001 h 3756"/>
                <a:gd name="T12" fmla="*/ 178 w 5797"/>
                <a:gd name="T13" fmla="*/ 2641 h 3756"/>
                <a:gd name="T14" fmla="*/ 7 w 5797"/>
                <a:gd name="T15" fmla="*/ 3329 h 3756"/>
                <a:gd name="T16" fmla="*/ 3 w 5797"/>
                <a:gd name="T17" fmla="*/ 3544 h 3756"/>
                <a:gd name="T18" fmla="*/ 15 w 5797"/>
                <a:gd name="T19" fmla="*/ 3592 h 3756"/>
                <a:gd name="T20" fmla="*/ 36 w 5797"/>
                <a:gd name="T21" fmla="*/ 3636 h 3756"/>
                <a:gd name="T22" fmla="*/ 65 w 5797"/>
                <a:gd name="T23" fmla="*/ 3674 h 3756"/>
                <a:gd name="T24" fmla="*/ 100 w 5797"/>
                <a:gd name="T25" fmla="*/ 3706 h 3756"/>
                <a:gd name="T26" fmla="*/ 143 w 5797"/>
                <a:gd name="T27" fmla="*/ 3731 h 3756"/>
                <a:gd name="T28" fmla="*/ 189 w 5797"/>
                <a:gd name="T29" fmla="*/ 3748 h 3756"/>
                <a:gd name="T30" fmla="*/ 239 w 5797"/>
                <a:gd name="T31" fmla="*/ 3756 h 3756"/>
                <a:gd name="T32" fmla="*/ 290 w 5797"/>
                <a:gd name="T33" fmla="*/ 3753 h 3756"/>
                <a:gd name="T34" fmla="*/ 338 w 5797"/>
                <a:gd name="T35" fmla="*/ 3741 h 3756"/>
                <a:gd name="T36" fmla="*/ 383 w 5797"/>
                <a:gd name="T37" fmla="*/ 3720 h 3756"/>
                <a:gd name="T38" fmla="*/ 421 w 5797"/>
                <a:gd name="T39" fmla="*/ 3691 h 3756"/>
                <a:gd name="T40" fmla="*/ 453 w 5797"/>
                <a:gd name="T41" fmla="*/ 3655 h 3756"/>
                <a:gd name="T42" fmla="*/ 479 w 5797"/>
                <a:gd name="T43" fmla="*/ 3614 h 3756"/>
                <a:gd name="T44" fmla="*/ 496 w 5797"/>
                <a:gd name="T45" fmla="*/ 3568 h 3756"/>
                <a:gd name="T46" fmla="*/ 504 w 5797"/>
                <a:gd name="T47" fmla="*/ 3519 h 3756"/>
                <a:gd name="T48" fmla="*/ 564 w 5797"/>
                <a:gd name="T49" fmla="*/ 3062 h 3756"/>
                <a:gd name="T50" fmla="*/ 820 w 5797"/>
                <a:gd name="T51" fmla="*/ 2496 h 3756"/>
                <a:gd name="T52" fmla="*/ 1257 w 5797"/>
                <a:gd name="T53" fmla="*/ 1973 h 3756"/>
                <a:gd name="T54" fmla="*/ 1848 w 5797"/>
                <a:gd name="T55" fmla="*/ 1509 h 3756"/>
                <a:gd name="T56" fmla="*/ 2572 w 5797"/>
                <a:gd name="T57" fmla="*/ 1115 h 3756"/>
                <a:gd name="T58" fmla="*/ 3402 w 5797"/>
                <a:gd name="T59" fmla="*/ 807 h 3756"/>
                <a:gd name="T60" fmla="*/ 4318 w 5797"/>
                <a:gd name="T61" fmla="*/ 599 h 3756"/>
                <a:gd name="T62" fmla="*/ 5294 w 5797"/>
                <a:gd name="T63" fmla="*/ 505 h 3756"/>
                <a:gd name="T64" fmla="*/ 5583 w 5797"/>
                <a:gd name="T65" fmla="*/ 498 h 3756"/>
                <a:gd name="T66" fmla="*/ 5632 w 5797"/>
                <a:gd name="T67" fmla="*/ 486 h 3756"/>
                <a:gd name="T68" fmla="*/ 5676 w 5797"/>
                <a:gd name="T69" fmla="*/ 465 h 3756"/>
                <a:gd name="T70" fmla="*/ 5714 w 5797"/>
                <a:gd name="T71" fmla="*/ 436 h 3756"/>
                <a:gd name="T72" fmla="*/ 5747 w 5797"/>
                <a:gd name="T73" fmla="*/ 401 h 3756"/>
                <a:gd name="T74" fmla="*/ 5772 w 5797"/>
                <a:gd name="T75" fmla="*/ 359 h 3756"/>
                <a:gd name="T76" fmla="*/ 5789 w 5797"/>
                <a:gd name="T77" fmla="*/ 313 h 3756"/>
                <a:gd name="T78" fmla="*/ 5797 w 5797"/>
                <a:gd name="T79" fmla="*/ 264 h 3756"/>
                <a:gd name="T80" fmla="*/ 5794 w 5797"/>
                <a:gd name="T81" fmla="*/ 212 h 3756"/>
                <a:gd name="T82" fmla="*/ 5782 w 5797"/>
                <a:gd name="T83" fmla="*/ 164 h 3756"/>
                <a:gd name="T84" fmla="*/ 5761 w 5797"/>
                <a:gd name="T85" fmla="*/ 120 h 3756"/>
                <a:gd name="T86" fmla="*/ 5732 w 5797"/>
                <a:gd name="T87" fmla="*/ 82 h 3756"/>
                <a:gd name="T88" fmla="*/ 5696 w 5797"/>
                <a:gd name="T89" fmla="*/ 50 h 3756"/>
                <a:gd name="T90" fmla="*/ 5654 w 5797"/>
                <a:gd name="T91" fmla="*/ 25 h 3756"/>
                <a:gd name="T92" fmla="*/ 5609 w 5797"/>
                <a:gd name="T93" fmla="*/ 8 h 3756"/>
                <a:gd name="T94" fmla="*/ 5558 w 5797"/>
                <a:gd name="T95" fmla="*/ 0 h 3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797" h="3756">
                  <a:moveTo>
                    <a:pt x="5545" y="0"/>
                  </a:moveTo>
                  <a:lnTo>
                    <a:pt x="5265" y="5"/>
                  </a:lnTo>
                  <a:lnTo>
                    <a:pt x="4987" y="18"/>
                  </a:lnTo>
                  <a:lnTo>
                    <a:pt x="4713" y="41"/>
                  </a:lnTo>
                  <a:lnTo>
                    <a:pt x="4444" y="73"/>
                  </a:lnTo>
                  <a:lnTo>
                    <a:pt x="4178" y="112"/>
                  </a:lnTo>
                  <a:lnTo>
                    <a:pt x="3917" y="160"/>
                  </a:lnTo>
                  <a:lnTo>
                    <a:pt x="3661" y="216"/>
                  </a:lnTo>
                  <a:lnTo>
                    <a:pt x="3411" y="281"/>
                  </a:lnTo>
                  <a:lnTo>
                    <a:pt x="3166" y="352"/>
                  </a:lnTo>
                  <a:lnTo>
                    <a:pt x="2927" y="431"/>
                  </a:lnTo>
                  <a:lnTo>
                    <a:pt x="2695" y="516"/>
                  </a:lnTo>
                  <a:lnTo>
                    <a:pt x="2470" y="608"/>
                  </a:lnTo>
                  <a:lnTo>
                    <a:pt x="2251" y="707"/>
                  </a:lnTo>
                  <a:lnTo>
                    <a:pt x="2041" y="812"/>
                  </a:lnTo>
                  <a:lnTo>
                    <a:pt x="1839" y="924"/>
                  </a:lnTo>
                  <a:lnTo>
                    <a:pt x="1645" y="1041"/>
                  </a:lnTo>
                  <a:lnTo>
                    <a:pt x="1460" y="1163"/>
                  </a:lnTo>
                  <a:lnTo>
                    <a:pt x="1284" y="1291"/>
                  </a:lnTo>
                  <a:lnTo>
                    <a:pt x="1118" y="1423"/>
                  </a:lnTo>
                  <a:lnTo>
                    <a:pt x="961" y="1562"/>
                  </a:lnTo>
                  <a:lnTo>
                    <a:pt x="815" y="1704"/>
                  </a:lnTo>
                  <a:lnTo>
                    <a:pt x="680" y="1851"/>
                  </a:lnTo>
                  <a:lnTo>
                    <a:pt x="556" y="2001"/>
                  </a:lnTo>
                  <a:lnTo>
                    <a:pt x="443" y="2157"/>
                  </a:lnTo>
                  <a:lnTo>
                    <a:pt x="342" y="2315"/>
                  </a:lnTo>
                  <a:lnTo>
                    <a:pt x="254" y="2477"/>
                  </a:lnTo>
                  <a:lnTo>
                    <a:pt x="178" y="2641"/>
                  </a:lnTo>
                  <a:lnTo>
                    <a:pt x="115" y="2810"/>
                  </a:lnTo>
                  <a:lnTo>
                    <a:pt x="65" y="2980"/>
                  </a:lnTo>
                  <a:lnTo>
                    <a:pt x="29" y="3153"/>
                  </a:lnTo>
                  <a:lnTo>
                    <a:pt x="7" y="3329"/>
                  </a:lnTo>
                  <a:lnTo>
                    <a:pt x="0" y="3506"/>
                  </a:lnTo>
                  <a:lnTo>
                    <a:pt x="0" y="3519"/>
                  </a:lnTo>
                  <a:lnTo>
                    <a:pt x="1" y="3531"/>
                  </a:lnTo>
                  <a:lnTo>
                    <a:pt x="3" y="3544"/>
                  </a:lnTo>
                  <a:lnTo>
                    <a:pt x="5" y="3556"/>
                  </a:lnTo>
                  <a:lnTo>
                    <a:pt x="8" y="3568"/>
                  </a:lnTo>
                  <a:lnTo>
                    <a:pt x="11" y="3580"/>
                  </a:lnTo>
                  <a:lnTo>
                    <a:pt x="15" y="3592"/>
                  </a:lnTo>
                  <a:lnTo>
                    <a:pt x="20" y="3603"/>
                  </a:lnTo>
                  <a:lnTo>
                    <a:pt x="25" y="3614"/>
                  </a:lnTo>
                  <a:lnTo>
                    <a:pt x="30" y="3625"/>
                  </a:lnTo>
                  <a:lnTo>
                    <a:pt x="36" y="3636"/>
                  </a:lnTo>
                  <a:lnTo>
                    <a:pt x="43" y="3646"/>
                  </a:lnTo>
                  <a:lnTo>
                    <a:pt x="50" y="3655"/>
                  </a:lnTo>
                  <a:lnTo>
                    <a:pt x="57" y="3665"/>
                  </a:lnTo>
                  <a:lnTo>
                    <a:pt x="65" y="3674"/>
                  </a:lnTo>
                  <a:lnTo>
                    <a:pt x="73" y="3683"/>
                  </a:lnTo>
                  <a:lnTo>
                    <a:pt x="82" y="3691"/>
                  </a:lnTo>
                  <a:lnTo>
                    <a:pt x="91" y="3699"/>
                  </a:lnTo>
                  <a:lnTo>
                    <a:pt x="100" y="3706"/>
                  </a:lnTo>
                  <a:lnTo>
                    <a:pt x="111" y="3713"/>
                  </a:lnTo>
                  <a:lnTo>
                    <a:pt x="121" y="3720"/>
                  </a:lnTo>
                  <a:lnTo>
                    <a:pt x="132" y="3726"/>
                  </a:lnTo>
                  <a:lnTo>
                    <a:pt x="143" y="3731"/>
                  </a:lnTo>
                  <a:lnTo>
                    <a:pt x="154" y="3736"/>
                  </a:lnTo>
                  <a:lnTo>
                    <a:pt x="165" y="3741"/>
                  </a:lnTo>
                  <a:lnTo>
                    <a:pt x="177" y="3745"/>
                  </a:lnTo>
                  <a:lnTo>
                    <a:pt x="189" y="3748"/>
                  </a:lnTo>
                  <a:lnTo>
                    <a:pt x="201" y="3751"/>
                  </a:lnTo>
                  <a:lnTo>
                    <a:pt x="213" y="3753"/>
                  </a:lnTo>
                  <a:lnTo>
                    <a:pt x="226" y="3755"/>
                  </a:lnTo>
                  <a:lnTo>
                    <a:pt x="239" y="3756"/>
                  </a:lnTo>
                  <a:lnTo>
                    <a:pt x="252" y="3756"/>
                  </a:lnTo>
                  <a:lnTo>
                    <a:pt x="265" y="3756"/>
                  </a:lnTo>
                  <a:lnTo>
                    <a:pt x="278" y="3755"/>
                  </a:lnTo>
                  <a:lnTo>
                    <a:pt x="290" y="3753"/>
                  </a:lnTo>
                  <a:lnTo>
                    <a:pt x="302" y="3751"/>
                  </a:lnTo>
                  <a:lnTo>
                    <a:pt x="315" y="3748"/>
                  </a:lnTo>
                  <a:lnTo>
                    <a:pt x="326" y="3745"/>
                  </a:lnTo>
                  <a:lnTo>
                    <a:pt x="338" y="3741"/>
                  </a:lnTo>
                  <a:lnTo>
                    <a:pt x="349" y="3736"/>
                  </a:lnTo>
                  <a:lnTo>
                    <a:pt x="361" y="3731"/>
                  </a:lnTo>
                  <a:lnTo>
                    <a:pt x="372" y="3726"/>
                  </a:lnTo>
                  <a:lnTo>
                    <a:pt x="383" y="3720"/>
                  </a:lnTo>
                  <a:lnTo>
                    <a:pt x="393" y="3713"/>
                  </a:lnTo>
                  <a:lnTo>
                    <a:pt x="403" y="3706"/>
                  </a:lnTo>
                  <a:lnTo>
                    <a:pt x="412" y="3699"/>
                  </a:lnTo>
                  <a:lnTo>
                    <a:pt x="421" y="3691"/>
                  </a:lnTo>
                  <a:lnTo>
                    <a:pt x="430" y="3683"/>
                  </a:lnTo>
                  <a:lnTo>
                    <a:pt x="438" y="3674"/>
                  </a:lnTo>
                  <a:lnTo>
                    <a:pt x="446" y="3665"/>
                  </a:lnTo>
                  <a:lnTo>
                    <a:pt x="453" y="3655"/>
                  </a:lnTo>
                  <a:lnTo>
                    <a:pt x="460" y="3646"/>
                  </a:lnTo>
                  <a:lnTo>
                    <a:pt x="467" y="3636"/>
                  </a:lnTo>
                  <a:lnTo>
                    <a:pt x="474" y="3625"/>
                  </a:lnTo>
                  <a:lnTo>
                    <a:pt x="479" y="3614"/>
                  </a:lnTo>
                  <a:lnTo>
                    <a:pt x="484" y="3603"/>
                  </a:lnTo>
                  <a:lnTo>
                    <a:pt x="489" y="3592"/>
                  </a:lnTo>
                  <a:lnTo>
                    <a:pt x="493" y="3580"/>
                  </a:lnTo>
                  <a:lnTo>
                    <a:pt x="496" y="3568"/>
                  </a:lnTo>
                  <a:lnTo>
                    <a:pt x="499" y="3556"/>
                  </a:lnTo>
                  <a:lnTo>
                    <a:pt x="501" y="3544"/>
                  </a:lnTo>
                  <a:lnTo>
                    <a:pt x="503" y="3531"/>
                  </a:lnTo>
                  <a:lnTo>
                    <a:pt x="504" y="3519"/>
                  </a:lnTo>
                  <a:lnTo>
                    <a:pt x="504" y="3506"/>
                  </a:lnTo>
                  <a:lnTo>
                    <a:pt x="511" y="3357"/>
                  </a:lnTo>
                  <a:lnTo>
                    <a:pt x="531" y="3208"/>
                  </a:lnTo>
                  <a:lnTo>
                    <a:pt x="564" y="3062"/>
                  </a:lnTo>
                  <a:lnTo>
                    <a:pt x="611" y="2917"/>
                  </a:lnTo>
                  <a:lnTo>
                    <a:pt x="669" y="2775"/>
                  </a:lnTo>
                  <a:lnTo>
                    <a:pt x="739" y="2634"/>
                  </a:lnTo>
                  <a:lnTo>
                    <a:pt x="820" y="2496"/>
                  </a:lnTo>
                  <a:lnTo>
                    <a:pt x="914" y="2361"/>
                  </a:lnTo>
                  <a:lnTo>
                    <a:pt x="1018" y="2229"/>
                  </a:lnTo>
                  <a:lnTo>
                    <a:pt x="1132" y="2100"/>
                  </a:lnTo>
                  <a:lnTo>
                    <a:pt x="1257" y="1973"/>
                  </a:lnTo>
                  <a:lnTo>
                    <a:pt x="1391" y="1851"/>
                  </a:lnTo>
                  <a:lnTo>
                    <a:pt x="1534" y="1733"/>
                  </a:lnTo>
                  <a:lnTo>
                    <a:pt x="1686" y="1619"/>
                  </a:lnTo>
                  <a:lnTo>
                    <a:pt x="1848" y="1509"/>
                  </a:lnTo>
                  <a:lnTo>
                    <a:pt x="2017" y="1403"/>
                  </a:lnTo>
                  <a:lnTo>
                    <a:pt x="2195" y="1302"/>
                  </a:lnTo>
                  <a:lnTo>
                    <a:pt x="2379" y="1206"/>
                  </a:lnTo>
                  <a:lnTo>
                    <a:pt x="2572" y="1115"/>
                  </a:lnTo>
                  <a:lnTo>
                    <a:pt x="2769" y="1030"/>
                  </a:lnTo>
                  <a:lnTo>
                    <a:pt x="2975" y="950"/>
                  </a:lnTo>
                  <a:lnTo>
                    <a:pt x="3186" y="876"/>
                  </a:lnTo>
                  <a:lnTo>
                    <a:pt x="3402" y="807"/>
                  </a:lnTo>
                  <a:lnTo>
                    <a:pt x="3624" y="745"/>
                  </a:lnTo>
                  <a:lnTo>
                    <a:pt x="3851" y="690"/>
                  </a:lnTo>
                  <a:lnTo>
                    <a:pt x="4083" y="641"/>
                  </a:lnTo>
                  <a:lnTo>
                    <a:pt x="4318" y="599"/>
                  </a:lnTo>
                  <a:lnTo>
                    <a:pt x="4557" y="564"/>
                  </a:lnTo>
                  <a:lnTo>
                    <a:pt x="4800" y="537"/>
                  </a:lnTo>
                  <a:lnTo>
                    <a:pt x="5046" y="517"/>
                  </a:lnTo>
                  <a:lnTo>
                    <a:pt x="5294" y="505"/>
                  </a:lnTo>
                  <a:lnTo>
                    <a:pt x="5545" y="501"/>
                  </a:lnTo>
                  <a:lnTo>
                    <a:pt x="5558" y="501"/>
                  </a:lnTo>
                  <a:lnTo>
                    <a:pt x="5571" y="500"/>
                  </a:lnTo>
                  <a:lnTo>
                    <a:pt x="5583" y="498"/>
                  </a:lnTo>
                  <a:lnTo>
                    <a:pt x="5595" y="496"/>
                  </a:lnTo>
                  <a:lnTo>
                    <a:pt x="5609" y="493"/>
                  </a:lnTo>
                  <a:lnTo>
                    <a:pt x="5620" y="490"/>
                  </a:lnTo>
                  <a:lnTo>
                    <a:pt x="5632" y="486"/>
                  </a:lnTo>
                  <a:lnTo>
                    <a:pt x="5643" y="481"/>
                  </a:lnTo>
                  <a:lnTo>
                    <a:pt x="5654" y="476"/>
                  </a:lnTo>
                  <a:lnTo>
                    <a:pt x="5665" y="471"/>
                  </a:lnTo>
                  <a:lnTo>
                    <a:pt x="5676" y="465"/>
                  </a:lnTo>
                  <a:lnTo>
                    <a:pt x="5686" y="458"/>
                  </a:lnTo>
                  <a:lnTo>
                    <a:pt x="5696" y="451"/>
                  </a:lnTo>
                  <a:lnTo>
                    <a:pt x="5705" y="444"/>
                  </a:lnTo>
                  <a:lnTo>
                    <a:pt x="5714" y="436"/>
                  </a:lnTo>
                  <a:lnTo>
                    <a:pt x="5723" y="428"/>
                  </a:lnTo>
                  <a:lnTo>
                    <a:pt x="5732" y="419"/>
                  </a:lnTo>
                  <a:lnTo>
                    <a:pt x="5740" y="410"/>
                  </a:lnTo>
                  <a:lnTo>
                    <a:pt x="5747" y="401"/>
                  </a:lnTo>
                  <a:lnTo>
                    <a:pt x="5754" y="391"/>
                  </a:lnTo>
                  <a:lnTo>
                    <a:pt x="5761" y="381"/>
                  </a:lnTo>
                  <a:lnTo>
                    <a:pt x="5767" y="370"/>
                  </a:lnTo>
                  <a:lnTo>
                    <a:pt x="5772" y="359"/>
                  </a:lnTo>
                  <a:lnTo>
                    <a:pt x="5777" y="348"/>
                  </a:lnTo>
                  <a:lnTo>
                    <a:pt x="5782" y="337"/>
                  </a:lnTo>
                  <a:lnTo>
                    <a:pt x="5786" y="325"/>
                  </a:lnTo>
                  <a:lnTo>
                    <a:pt x="5789" y="313"/>
                  </a:lnTo>
                  <a:lnTo>
                    <a:pt x="5792" y="301"/>
                  </a:lnTo>
                  <a:lnTo>
                    <a:pt x="5794" y="289"/>
                  </a:lnTo>
                  <a:lnTo>
                    <a:pt x="5796" y="277"/>
                  </a:lnTo>
                  <a:lnTo>
                    <a:pt x="5797" y="264"/>
                  </a:lnTo>
                  <a:lnTo>
                    <a:pt x="5797" y="251"/>
                  </a:lnTo>
                  <a:lnTo>
                    <a:pt x="5797" y="237"/>
                  </a:lnTo>
                  <a:lnTo>
                    <a:pt x="5796" y="225"/>
                  </a:lnTo>
                  <a:lnTo>
                    <a:pt x="5794" y="212"/>
                  </a:lnTo>
                  <a:lnTo>
                    <a:pt x="5792" y="200"/>
                  </a:lnTo>
                  <a:lnTo>
                    <a:pt x="5789" y="188"/>
                  </a:lnTo>
                  <a:lnTo>
                    <a:pt x="5786" y="176"/>
                  </a:lnTo>
                  <a:lnTo>
                    <a:pt x="5782" y="164"/>
                  </a:lnTo>
                  <a:lnTo>
                    <a:pt x="5777" y="153"/>
                  </a:lnTo>
                  <a:lnTo>
                    <a:pt x="5772" y="142"/>
                  </a:lnTo>
                  <a:lnTo>
                    <a:pt x="5767" y="131"/>
                  </a:lnTo>
                  <a:lnTo>
                    <a:pt x="5761" y="120"/>
                  </a:lnTo>
                  <a:lnTo>
                    <a:pt x="5754" y="110"/>
                  </a:lnTo>
                  <a:lnTo>
                    <a:pt x="5747" y="100"/>
                  </a:lnTo>
                  <a:lnTo>
                    <a:pt x="5740" y="91"/>
                  </a:lnTo>
                  <a:lnTo>
                    <a:pt x="5732" y="82"/>
                  </a:lnTo>
                  <a:lnTo>
                    <a:pt x="5723" y="73"/>
                  </a:lnTo>
                  <a:lnTo>
                    <a:pt x="5714" y="65"/>
                  </a:lnTo>
                  <a:lnTo>
                    <a:pt x="5705" y="57"/>
                  </a:lnTo>
                  <a:lnTo>
                    <a:pt x="5696" y="50"/>
                  </a:lnTo>
                  <a:lnTo>
                    <a:pt x="5686" y="43"/>
                  </a:lnTo>
                  <a:lnTo>
                    <a:pt x="5676" y="36"/>
                  </a:lnTo>
                  <a:lnTo>
                    <a:pt x="5665" y="30"/>
                  </a:lnTo>
                  <a:lnTo>
                    <a:pt x="5654" y="25"/>
                  </a:lnTo>
                  <a:lnTo>
                    <a:pt x="5643" y="20"/>
                  </a:lnTo>
                  <a:lnTo>
                    <a:pt x="5632" y="15"/>
                  </a:lnTo>
                  <a:lnTo>
                    <a:pt x="5620" y="11"/>
                  </a:lnTo>
                  <a:lnTo>
                    <a:pt x="5609" y="8"/>
                  </a:lnTo>
                  <a:lnTo>
                    <a:pt x="5595" y="5"/>
                  </a:lnTo>
                  <a:lnTo>
                    <a:pt x="5583" y="3"/>
                  </a:lnTo>
                  <a:lnTo>
                    <a:pt x="5571" y="1"/>
                  </a:lnTo>
                  <a:lnTo>
                    <a:pt x="5558" y="0"/>
                  </a:lnTo>
                  <a:lnTo>
                    <a:pt x="55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60" name="íṥļiḓè">
              <a:extLst>
                <a:ext uri="{FF2B5EF4-FFF2-40B4-BE49-F238E27FC236}">
                  <a16:creationId xmlns:a16="http://schemas.microsoft.com/office/drawing/2014/main" id="{67FCA1BB-BCD9-411E-BAD6-DACD45170D01}"/>
                </a:ext>
              </a:extLst>
            </p:cNvPr>
            <p:cNvSpPr/>
            <p:nvPr/>
          </p:nvSpPr>
          <p:spPr bwMode="auto">
            <a:xfrm>
              <a:off x="9434889" y="45031"/>
              <a:ext cx="655727" cy="570000"/>
            </a:xfrm>
            <a:custGeom>
              <a:avLst/>
              <a:gdLst>
                <a:gd name="T0" fmla="*/ 7365 w 16132"/>
                <a:gd name="T1" fmla="*/ 10992 h 14023"/>
                <a:gd name="T2" fmla="*/ 6620 w 16132"/>
                <a:gd name="T3" fmla="*/ 10910 h 14023"/>
                <a:gd name="T4" fmla="*/ 6344 w 16132"/>
                <a:gd name="T5" fmla="*/ 10917 h 14023"/>
                <a:gd name="T6" fmla="*/ 6106 w 16132"/>
                <a:gd name="T7" fmla="*/ 10988 h 14023"/>
                <a:gd name="T8" fmla="*/ 5892 w 16132"/>
                <a:gd name="T9" fmla="*/ 11114 h 14023"/>
                <a:gd name="T10" fmla="*/ 5710 w 16132"/>
                <a:gd name="T11" fmla="*/ 11296 h 14023"/>
                <a:gd name="T12" fmla="*/ 5336 w 16132"/>
                <a:gd name="T13" fmla="*/ 11674 h 14023"/>
                <a:gd name="T14" fmla="*/ 4873 w 16132"/>
                <a:gd name="T15" fmla="*/ 12065 h 14023"/>
                <a:gd name="T16" fmla="*/ 4310 w 16132"/>
                <a:gd name="T17" fmla="*/ 12459 h 14023"/>
                <a:gd name="T18" fmla="*/ 4388 w 16132"/>
                <a:gd name="T19" fmla="*/ 11971 h 14023"/>
                <a:gd name="T20" fmla="*/ 4488 w 16132"/>
                <a:gd name="T21" fmla="*/ 11553 h 14023"/>
                <a:gd name="T22" fmla="*/ 4535 w 16132"/>
                <a:gd name="T23" fmla="*/ 11121 h 14023"/>
                <a:gd name="T24" fmla="*/ 4531 w 16132"/>
                <a:gd name="T25" fmla="*/ 10842 h 14023"/>
                <a:gd name="T26" fmla="*/ 4442 w 16132"/>
                <a:gd name="T27" fmla="*/ 10547 h 14023"/>
                <a:gd name="T28" fmla="*/ 4269 w 16132"/>
                <a:gd name="T29" fmla="*/ 10296 h 14023"/>
                <a:gd name="T30" fmla="*/ 4023 w 16132"/>
                <a:gd name="T31" fmla="*/ 10106 h 14023"/>
                <a:gd name="T32" fmla="*/ 2737 w 16132"/>
                <a:gd name="T33" fmla="*/ 9277 h 14023"/>
                <a:gd name="T34" fmla="*/ 1706 w 16132"/>
                <a:gd name="T35" fmla="*/ 8163 h 14023"/>
                <a:gd name="T36" fmla="*/ 1123 w 16132"/>
                <a:gd name="T37" fmla="*/ 6901 h 14023"/>
                <a:gd name="T38" fmla="*/ 1090 w 16132"/>
                <a:gd name="T39" fmla="*/ 5248 h 14023"/>
                <a:gd name="T40" fmla="*/ 2215 w 16132"/>
                <a:gd name="T41" fmla="*/ 3211 h 14023"/>
                <a:gd name="T42" fmla="*/ 4409 w 16132"/>
                <a:gd name="T43" fmla="*/ 1728 h 14023"/>
                <a:gd name="T44" fmla="*/ 7345 w 16132"/>
                <a:gd name="T45" fmla="*/ 1028 h 14023"/>
                <a:gd name="T46" fmla="*/ 10490 w 16132"/>
                <a:gd name="T47" fmla="*/ 1306 h 14023"/>
                <a:gd name="T48" fmla="*/ 13054 w 16132"/>
                <a:gd name="T49" fmla="*/ 2470 h 14023"/>
                <a:gd name="T50" fmla="*/ 14695 w 16132"/>
                <a:gd name="T51" fmla="*/ 4290 h 14023"/>
                <a:gd name="T52" fmla="*/ 15087 w 16132"/>
                <a:gd name="T53" fmla="*/ 6521 h 14023"/>
                <a:gd name="T54" fmla="*/ 14100 w 16132"/>
                <a:gd name="T55" fmla="*/ 8605 h 14023"/>
                <a:gd name="T56" fmla="*/ 12009 w 16132"/>
                <a:gd name="T57" fmla="*/ 10162 h 14023"/>
                <a:gd name="T58" fmla="*/ 9140 w 16132"/>
                <a:gd name="T59" fmla="*/ 10960 h 14023"/>
                <a:gd name="T60" fmla="*/ 6051 w 16132"/>
                <a:gd name="T61" fmla="*/ 189 h 14023"/>
                <a:gd name="T62" fmla="*/ 2935 w 16132"/>
                <a:gd name="T63" fmla="*/ 1372 h 14023"/>
                <a:gd name="T64" fmla="*/ 796 w 16132"/>
                <a:gd name="T65" fmla="*/ 3405 h 14023"/>
                <a:gd name="T66" fmla="*/ 0 w 16132"/>
                <a:gd name="T67" fmla="*/ 6010 h 14023"/>
                <a:gd name="T68" fmla="*/ 318 w 16132"/>
                <a:gd name="T69" fmla="*/ 7685 h 14023"/>
                <a:gd name="T70" fmla="*/ 1211 w 16132"/>
                <a:gd name="T71" fmla="*/ 9177 h 14023"/>
                <a:gd name="T72" fmla="*/ 2590 w 16132"/>
                <a:gd name="T73" fmla="*/ 10421 h 14023"/>
                <a:gd name="T74" fmla="*/ 3529 w 16132"/>
                <a:gd name="T75" fmla="*/ 11018 h 14023"/>
                <a:gd name="T76" fmla="*/ 3392 w 16132"/>
                <a:gd name="T77" fmla="*/ 11780 h 14023"/>
                <a:gd name="T78" fmla="*/ 3075 w 16132"/>
                <a:gd name="T79" fmla="*/ 12505 h 14023"/>
                <a:gd name="T80" fmla="*/ 2616 w 16132"/>
                <a:gd name="T81" fmla="*/ 13290 h 14023"/>
                <a:gd name="T82" fmla="*/ 2522 w 16132"/>
                <a:gd name="T83" fmla="*/ 13545 h 14023"/>
                <a:gd name="T84" fmla="*/ 2556 w 16132"/>
                <a:gd name="T85" fmla="*/ 13746 h 14023"/>
                <a:gd name="T86" fmla="*/ 2670 w 16132"/>
                <a:gd name="T87" fmla="*/ 13905 h 14023"/>
                <a:gd name="T88" fmla="*/ 2841 w 16132"/>
                <a:gd name="T89" fmla="*/ 14003 h 14023"/>
                <a:gd name="T90" fmla="*/ 3078 w 16132"/>
                <a:gd name="T91" fmla="*/ 14016 h 14023"/>
                <a:gd name="T92" fmla="*/ 3690 w 16132"/>
                <a:gd name="T93" fmla="*/ 13870 h 14023"/>
                <a:gd name="T94" fmla="*/ 4910 w 16132"/>
                <a:gd name="T95" fmla="*/ 13267 h 14023"/>
                <a:gd name="T96" fmla="*/ 5885 w 16132"/>
                <a:gd name="T97" fmla="*/ 12528 h 14023"/>
                <a:gd name="T98" fmla="*/ 6475 w 16132"/>
                <a:gd name="T99" fmla="*/ 11947 h 14023"/>
                <a:gd name="T100" fmla="*/ 7278 w 16132"/>
                <a:gd name="T101" fmla="*/ 11990 h 14023"/>
                <a:gd name="T102" fmla="*/ 8481 w 16132"/>
                <a:gd name="T103" fmla="*/ 12012 h 14023"/>
                <a:gd name="T104" fmla="*/ 11910 w 16132"/>
                <a:gd name="T105" fmla="*/ 11295 h 14023"/>
                <a:gd name="T106" fmla="*/ 14530 w 16132"/>
                <a:gd name="T107" fmla="*/ 9606 h 14023"/>
                <a:gd name="T108" fmla="*/ 15968 w 16132"/>
                <a:gd name="T109" fmla="*/ 7221 h 14023"/>
                <a:gd name="T110" fmla="*/ 15878 w 16132"/>
                <a:gd name="T111" fmla="*/ 4508 h 14023"/>
                <a:gd name="T112" fmla="*/ 14290 w 16132"/>
                <a:gd name="T113" fmla="*/ 2188 h 14023"/>
                <a:gd name="T114" fmla="*/ 11563 w 16132"/>
                <a:gd name="T115" fmla="*/ 593 h 14023"/>
                <a:gd name="T116" fmla="*/ 8066 w 16132"/>
                <a:gd name="T117" fmla="*/ 0 h 14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132" h="14023">
                  <a:moveTo>
                    <a:pt x="8066" y="11018"/>
                  </a:moveTo>
                  <a:lnTo>
                    <a:pt x="7979" y="11018"/>
                  </a:lnTo>
                  <a:lnTo>
                    <a:pt x="7893" y="11016"/>
                  </a:lnTo>
                  <a:lnTo>
                    <a:pt x="7805" y="11014"/>
                  </a:lnTo>
                  <a:lnTo>
                    <a:pt x="7717" y="11012"/>
                  </a:lnTo>
                  <a:lnTo>
                    <a:pt x="7629" y="11008"/>
                  </a:lnTo>
                  <a:lnTo>
                    <a:pt x="7542" y="11003"/>
                  </a:lnTo>
                  <a:lnTo>
                    <a:pt x="7454" y="10998"/>
                  </a:lnTo>
                  <a:lnTo>
                    <a:pt x="7365" y="10992"/>
                  </a:lnTo>
                  <a:lnTo>
                    <a:pt x="7278" y="10985"/>
                  </a:lnTo>
                  <a:lnTo>
                    <a:pt x="7189" y="10978"/>
                  </a:lnTo>
                  <a:lnTo>
                    <a:pt x="7100" y="10969"/>
                  </a:lnTo>
                  <a:lnTo>
                    <a:pt x="7011" y="10960"/>
                  </a:lnTo>
                  <a:lnTo>
                    <a:pt x="6923" y="10950"/>
                  </a:lnTo>
                  <a:lnTo>
                    <a:pt x="6834" y="10939"/>
                  </a:lnTo>
                  <a:lnTo>
                    <a:pt x="6745" y="10927"/>
                  </a:lnTo>
                  <a:lnTo>
                    <a:pt x="6656" y="10914"/>
                  </a:lnTo>
                  <a:lnTo>
                    <a:pt x="6620" y="10910"/>
                  </a:lnTo>
                  <a:lnTo>
                    <a:pt x="6583" y="10906"/>
                  </a:lnTo>
                  <a:lnTo>
                    <a:pt x="6547" y="10904"/>
                  </a:lnTo>
                  <a:lnTo>
                    <a:pt x="6510" y="10903"/>
                  </a:lnTo>
                  <a:lnTo>
                    <a:pt x="6482" y="10904"/>
                  </a:lnTo>
                  <a:lnTo>
                    <a:pt x="6455" y="10905"/>
                  </a:lnTo>
                  <a:lnTo>
                    <a:pt x="6427" y="10907"/>
                  </a:lnTo>
                  <a:lnTo>
                    <a:pt x="6398" y="10910"/>
                  </a:lnTo>
                  <a:lnTo>
                    <a:pt x="6371" y="10913"/>
                  </a:lnTo>
                  <a:lnTo>
                    <a:pt x="6344" y="10917"/>
                  </a:lnTo>
                  <a:lnTo>
                    <a:pt x="6317" y="10922"/>
                  </a:lnTo>
                  <a:lnTo>
                    <a:pt x="6289" y="10928"/>
                  </a:lnTo>
                  <a:lnTo>
                    <a:pt x="6262" y="10934"/>
                  </a:lnTo>
                  <a:lnTo>
                    <a:pt x="6236" y="10941"/>
                  </a:lnTo>
                  <a:lnTo>
                    <a:pt x="6210" y="10949"/>
                  </a:lnTo>
                  <a:lnTo>
                    <a:pt x="6183" y="10958"/>
                  </a:lnTo>
                  <a:lnTo>
                    <a:pt x="6157" y="10967"/>
                  </a:lnTo>
                  <a:lnTo>
                    <a:pt x="6131" y="10977"/>
                  </a:lnTo>
                  <a:lnTo>
                    <a:pt x="6106" y="10988"/>
                  </a:lnTo>
                  <a:lnTo>
                    <a:pt x="6081" y="10999"/>
                  </a:lnTo>
                  <a:lnTo>
                    <a:pt x="6056" y="11011"/>
                  </a:lnTo>
                  <a:lnTo>
                    <a:pt x="6031" y="11024"/>
                  </a:lnTo>
                  <a:lnTo>
                    <a:pt x="6007" y="11037"/>
                  </a:lnTo>
                  <a:lnTo>
                    <a:pt x="5983" y="11051"/>
                  </a:lnTo>
                  <a:lnTo>
                    <a:pt x="5960" y="11066"/>
                  </a:lnTo>
                  <a:lnTo>
                    <a:pt x="5937" y="11081"/>
                  </a:lnTo>
                  <a:lnTo>
                    <a:pt x="5914" y="11097"/>
                  </a:lnTo>
                  <a:lnTo>
                    <a:pt x="5892" y="11114"/>
                  </a:lnTo>
                  <a:lnTo>
                    <a:pt x="5870" y="11131"/>
                  </a:lnTo>
                  <a:lnTo>
                    <a:pt x="5849" y="11149"/>
                  </a:lnTo>
                  <a:lnTo>
                    <a:pt x="5828" y="11167"/>
                  </a:lnTo>
                  <a:lnTo>
                    <a:pt x="5808" y="11187"/>
                  </a:lnTo>
                  <a:lnTo>
                    <a:pt x="5787" y="11206"/>
                  </a:lnTo>
                  <a:lnTo>
                    <a:pt x="5768" y="11227"/>
                  </a:lnTo>
                  <a:lnTo>
                    <a:pt x="5749" y="11248"/>
                  </a:lnTo>
                  <a:lnTo>
                    <a:pt x="5731" y="11269"/>
                  </a:lnTo>
                  <a:lnTo>
                    <a:pt x="5710" y="11296"/>
                  </a:lnTo>
                  <a:lnTo>
                    <a:pt x="5686" y="11323"/>
                  </a:lnTo>
                  <a:lnTo>
                    <a:pt x="5660" y="11352"/>
                  </a:lnTo>
                  <a:lnTo>
                    <a:pt x="5632" y="11382"/>
                  </a:lnTo>
                  <a:lnTo>
                    <a:pt x="5570" y="11448"/>
                  </a:lnTo>
                  <a:lnTo>
                    <a:pt x="5499" y="11518"/>
                  </a:lnTo>
                  <a:lnTo>
                    <a:pt x="5461" y="11556"/>
                  </a:lnTo>
                  <a:lnTo>
                    <a:pt x="5420" y="11594"/>
                  </a:lnTo>
                  <a:lnTo>
                    <a:pt x="5379" y="11633"/>
                  </a:lnTo>
                  <a:lnTo>
                    <a:pt x="5336" y="11674"/>
                  </a:lnTo>
                  <a:lnTo>
                    <a:pt x="5290" y="11715"/>
                  </a:lnTo>
                  <a:lnTo>
                    <a:pt x="5243" y="11757"/>
                  </a:lnTo>
                  <a:lnTo>
                    <a:pt x="5195" y="11799"/>
                  </a:lnTo>
                  <a:lnTo>
                    <a:pt x="5145" y="11842"/>
                  </a:lnTo>
                  <a:lnTo>
                    <a:pt x="5093" y="11886"/>
                  </a:lnTo>
                  <a:lnTo>
                    <a:pt x="5040" y="11931"/>
                  </a:lnTo>
                  <a:lnTo>
                    <a:pt x="4986" y="11975"/>
                  </a:lnTo>
                  <a:lnTo>
                    <a:pt x="4930" y="12020"/>
                  </a:lnTo>
                  <a:lnTo>
                    <a:pt x="4873" y="12065"/>
                  </a:lnTo>
                  <a:lnTo>
                    <a:pt x="4814" y="12109"/>
                  </a:lnTo>
                  <a:lnTo>
                    <a:pt x="4755" y="12154"/>
                  </a:lnTo>
                  <a:lnTo>
                    <a:pt x="4694" y="12199"/>
                  </a:lnTo>
                  <a:lnTo>
                    <a:pt x="4633" y="12243"/>
                  </a:lnTo>
                  <a:lnTo>
                    <a:pt x="4570" y="12287"/>
                  </a:lnTo>
                  <a:lnTo>
                    <a:pt x="4507" y="12331"/>
                  </a:lnTo>
                  <a:lnTo>
                    <a:pt x="4442" y="12374"/>
                  </a:lnTo>
                  <a:lnTo>
                    <a:pt x="4377" y="12417"/>
                  </a:lnTo>
                  <a:lnTo>
                    <a:pt x="4310" y="12459"/>
                  </a:lnTo>
                  <a:lnTo>
                    <a:pt x="4244" y="12501"/>
                  </a:lnTo>
                  <a:lnTo>
                    <a:pt x="4176" y="12542"/>
                  </a:lnTo>
                  <a:lnTo>
                    <a:pt x="4212" y="12456"/>
                  </a:lnTo>
                  <a:lnTo>
                    <a:pt x="4248" y="12371"/>
                  </a:lnTo>
                  <a:lnTo>
                    <a:pt x="4281" y="12284"/>
                  </a:lnTo>
                  <a:lnTo>
                    <a:pt x="4313" y="12196"/>
                  </a:lnTo>
                  <a:lnTo>
                    <a:pt x="4345" y="12107"/>
                  </a:lnTo>
                  <a:lnTo>
                    <a:pt x="4374" y="12017"/>
                  </a:lnTo>
                  <a:lnTo>
                    <a:pt x="4388" y="11971"/>
                  </a:lnTo>
                  <a:lnTo>
                    <a:pt x="4401" y="11926"/>
                  </a:lnTo>
                  <a:lnTo>
                    <a:pt x="4414" y="11879"/>
                  </a:lnTo>
                  <a:lnTo>
                    <a:pt x="4426" y="11833"/>
                  </a:lnTo>
                  <a:lnTo>
                    <a:pt x="4438" y="11787"/>
                  </a:lnTo>
                  <a:lnTo>
                    <a:pt x="4449" y="11740"/>
                  </a:lnTo>
                  <a:lnTo>
                    <a:pt x="4459" y="11694"/>
                  </a:lnTo>
                  <a:lnTo>
                    <a:pt x="4470" y="11647"/>
                  </a:lnTo>
                  <a:lnTo>
                    <a:pt x="4480" y="11600"/>
                  </a:lnTo>
                  <a:lnTo>
                    <a:pt x="4488" y="11553"/>
                  </a:lnTo>
                  <a:lnTo>
                    <a:pt x="4496" y="11506"/>
                  </a:lnTo>
                  <a:lnTo>
                    <a:pt x="4504" y="11458"/>
                  </a:lnTo>
                  <a:lnTo>
                    <a:pt x="4510" y="11411"/>
                  </a:lnTo>
                  <a:lnTo>
                    <a:pt x="4516" y="11363"/>
                  </a:lnTo>
                  <a:lnTo>
                    <a:pt x="4522" y="11315"/>
                  </a:lnTo>
                  <a:lnTo>
                    <a:pt x="4526" y="11266"/>
                  </a:lnTo>
                  <a:lnTo>
                    <a:pt x="4530" y="11218"/>
                  </a:lnTo>
                  <a:lnTo>
                    <a:pt x="4533" y="11170"/>
                  </a:lnTo>
                  <a:lnTo>
                    <a:pt x="4535" y="11121"/>
                  </a:lnTo>
                  <a:lnTo>
                    <a:pt x="4537" y="11073"/>
                  </a:lnTo>
                  <a:lnTo>
                    <a:pt x="4538" y="11049"/>
                  </a:lnTo>
                  <a:lnTo>
                    <a:pt x="4540" y="11025"/>
                  </a:lnTo>
                  <a:lnTo>
                    <a:pt x="4541" y="11002"/>
                  </a:lnTo>
                  <a:lnTo>
                    <a:pt x="4541" y="10981"/>
                  </a:lnTo>
                  <a:lnTo>
                    <a:pt x="4540" y="10946"/>
                  </a:lnTo>
                  <a:lnTo>
                    <a:pt x="4539" y="10911"/>
                  </a:lnTo>
                  <a:lnTo>
                    <a:pt x="4536" y="10876"/>
                  </a:lnTo>
                  <a:lnTo>
                    <a:pt x="4531" y="10842"/>
                  </a:lnTo>
                  <a:lnTo>
                    <a:pt x="4526" y="10808"/>
                  </a:lnTo>
                  <a:lnTo>
                    <a:pt x="4519" y="10774"/>
                  </a:lnTo>
                  <a:lnTo>
                    <a:pt x="4512" y="10741"/>
                  </a:lnTo>
                  <a:lnTo>
                    <a:pt x="4503" y="10707"/>
                  </a:lnTo>
                  <a:lnTo>
                    <a:pt x="4493" y="10675"/>
                  </a:lnTo>
                  <a:lnTo>
                    <a:pt x="4482" y="10641"/>
                  </a:lnTo>
                  <a:lnTo>
                    <a:pt x="4470" y="10610"/>
                  </a:lnTo>
                  <a:lnTo>
                    <a:pt x="4456" y="10578"/>
                  </a:lnTo>
                  <a:lnTo>
                    <a:pt x="4442" y="10547"/>
                  </a:lnTo>
                  <a:lnTo>
                    <a:pt x="4426" y="10517"/>
                  </a:lnTo>
                  <a:lnTo>
                    <a:pt x="4410" y="10487"/>
                  </a:lnTo>
                  <a:lnTo>
                    <a:pt x="4393" y="10458"/>
                  </a:lnTo>
                  <a:lnTo>
                    <a:pt x="4375" y="10429"/>
                  </a:lnTo>
                  <a:lnTo>
                    <a:pt x="4356" y="10401"/>
                  </a:lnTo>
                  <a:lnTo>
                    <a:pt x="4334" y="10374"/>
                  </a:lnTo>
                  <a:lnTo>
                    <a:pt x="4313" y="10347"/>
                  </a:lnTo>
                  <a:lnTo>
                    <a:pt x="4291" y="10321"/>
                  </a:lnTo>
                  <a:lnTo>
                    <a:pt x="4269" y="10296"/>
                  </a:lnTo>
                  <a:lnTo>
                    <a:pt x="4245" y="10271"/>
                  </a:lnTo>
                  <a:lnTo>
                    <a:pt x="4220" y="10248"/>
                  </a:lnTo>
                  <a:lnTo>
                    <a:pt x="4194" y="10225"/>
                  </a:lnTo>
                  <a:lnTo>
                    <a:pt x="4168" y="10203"/>
                  </a:lnTo>
                  <a:lnTo>
                    <a:pt x="4140" y="10182"/>
                  </a:lnTo>
                  <a:lnTo>
                    <a:pt x="4112" y="10161"/>
                  </a:lnTo>
                  <a:lnTo>
                    <a:pt x="4083" y="10142"/>
                  </a:lnTo>
                  <a:lnTo>
                    <a:pt x="4053" y="10123"/>
                  </a:lnTo>
                  <a:lnTo>
                    <a:pt x="4023" y="10106"/>
                  </a:lnTo>
                  <a:lnTo>
                    <a:pt x="3992" y="10089"/>
                  </a:lnTo>
                  <a:lnTo>
                    <a:pt x="3819" y="9998"/>
                  </a:lnTo>
                  <a:lnTo>
                    <a:pt x="3650" y="9904"/>
                  </a:lnTo>
                  <a:lnTo>
                    <a:pt x="3487" y="9807"/>
                  </a:lnTo>
                  <a:lnTo>
                    <a:pt x="3327" y="9707"/>
                  </a:lnTo>
                  <a:lnTo>
                    <a:pt x="3173" y="9604"/>
                  </a:lnTo>
                  <a:lnTo>
                    <a:pt x="3023" y="9499"/>
                  </a:lnTo>
                  <a:lnTo>
                    <a:pt x="2878" y="9389"/>
                  </a:lnTo>
                  <a:lnTo>
                    <a:pt x="2737" y="9277"/>
                  </a:lnTo>
                  <a:lnTo>
                    <a:pt x="2602" y="9163"/>
                  </a:lnTo>
                  <a:lnTo>
                    <a:pt x="2472" y="9046"/>
                  </a:lnTo>
                  <a:lnTo>
                    <a:pt x="2346" y="8927"/>
                  </a:lnTo>
                  <a:lnTo>
                    <a:pt x="2226" y="8805"/>
                  </a:lnTo>
                  <a:lnTo>
                    <a:pt x="2112" y="8681"/>
                  </a:lnTo>
                  <a:lnTo>
                    <a:pt x="2002" y="8555"/>
                  </a:lnTo>
                  <a:lnTo>
                    <a:pt x="1899" y="8427"/>
                  </a:lnTo>
                  <a:lnTo>
                    <a:pt x="1800" y="8297"/>
                  </a:lnTo>
                  <a:lnTo>
                    <a:pt x="1706" y="8163"/>
                  </a:lnTo>
                  <a:lnTo>
                    <a:pt x="1618" y="8030"/>
                  </a:lnTo>
                  <a:lnTo>
                    <a:pt x="1537" y="7894"/>
                  </a:lnTo>
                  <a:lnTo>
                    <a:pt x="1460" y="7757"/>
                  </a:lnTo>
                  <a:lnTo>
                    <a:pt x="1388" y="7617"/>
                  </a:lnTo>
                  <a:lnTo>
                    <a:pt x="1324" y="7476"/>
                  </a:lnTo>
                  <a:lnTo>
                    <a:pt x="1264" y="7335"/>
                  </a:lnTo>
                  <a:lnTo>
                    <a:pt x="1212" y="7192"/>
                  </a:lnTo>
                  <a:lnTo>
                    <a:pt x="1165" y="7047"/>
                  </a:lnTo>
                  <a:lnTo>
                    <a:pt x="1123" y="6901"/>
                  </a:lnTo>
                  <a:lnTo>
                    <a:pt x="1089" y="6755"/>
                  </a:lnTo>
                  <a:lnTo>
                    <a:pt x="1060" y="6608"/>
                  </a:lnTo>
                  <a:lnTo>
                    <a:pt x="1037" y="6459"/>
                  </a:lnTo>
                  <a:lnTo>
                    <a:pt x="1021" y="6309"/>
                  </a:lnTo>
                  <a:lnTo>
                    <a:pt x="1011" y="6160"/>
                  </a:lnTo>
                  <a:lnTo>
                    <a:pt x="1008" y="6010"/>
                  </a:lnTo>
                  <a:lnTo>
                    <a:pt x="1017" y="5752"/>
                  </a:lnTo>
                  <a:lnTo>
                    <a:pt x="1045" y="5498"/>
                  </a:lnTo>
                  <a:lnTo>
                    <a:pt x="1090" y="5248"/>
                  </a:lnTo>
                  <a:lnTo>
                    <a:pt x="1151" y="5002"/>
                  </a:lnTo>
                  <a:lnTo>
                    <a:pt x="1231" y="4760"/>
                  </a:lnTo>
                  <a:lnTo>
                    <a:pt x="1326" y="4522"/>
                  </a:lnTo>
                  <a:lnTo>
                    <a:pt x="1437" y="4290"/>
                  </a:lnTo>
                  <a:lnTo>
                    <a:pt x="1564" y="4063"/>
                  </a:lnTo>
                  <a:lnTo>
                    <a:pt x="1705" y="3840"/>
                  </a:lnTo>
                  <a:lnTo>
                    <a:pt x="1861" y="3625"/>
                  </a:lnTo>
                  <a:lnTo>
                    <a:pt x="2032" y="3415"/>
                  </a:lnTo>
                  <a:lnTo>
                    <a:pt x="2215" y="3211"/>
                  </a:lnTo>
                  <a:lnTo>
                    <a:pt x="2412" y="3015"/>
                  </a:lnTo>
                  <a:lnTo>
                    <a:pt x="2621" y="2826"/>
                  </a:lnTo>
                  <a:lnTo>
                    <a:pt x="2844" y="2644"/>
                  </a:lnTo>
                  <a:lnTo>
                    <a:pt x="3078" y="2470"/>
                  </a:lnTo>
                  <a:lnTo>
                    <a:pt x="3323" y="2304"/>
                  </a:lnTo>
                  <a:lnTo>
                    <a:pt x="3579" y="2147"/>
                  </a:lnTo>
                  <a:lnTo>
                    <a:pt x="3845" y="1998"/>
                  </a:lnTo>
                  <a:lnTo>
                    <a:pt x="4123" y="1858"/>
                  </a:lnTo>
                  <a:lnTo>
                    <a:pt x="4409" y="1728"/>
                  </a:lnTo>
                  <a:lnTo>
                    <a:pt x="4704" y="1607"/>
                  </a:lnTo>
                  <a:lnTo>
                    <a:pt x="5009" y="1496"/>
                  </a:lnTo>
                  <a:lnTo>
                    <a:pt x="5322" y="1395"/>
                  </a:lnTo>
                  <a:lnTo>
                    <a:pt x="5642" y="1306"/>
                  </a:lnTo>
                  <a:lnTo>
                    <a:pt x="5970" y="1227"/>
                  </a:lnTo>
                  <a:lnTo>
                    <a:pt x="6305" y="1160"/>
                  </a:lnTo>
                  <a:lnTo>
                    <a:pt x="6645" y="1104"/>
                  </a:lnTo>
                  <a:lnTo>
                    <a:pt x="6992" y="1060"/>
                  </a:lnTo>
                  <a:lnTo>
                    <a:pt x="7345" y="1028"/>
                  </a:lnTo>
                  <a:lnTo>
                    <a:pt x="7703" y="1008"/>
                  </a:lnTo>
                  <a:lnTo>
                    <a:pt x="8066" y="1002"/>
                  </a:lnTo>
                  <a:lnTo>
                    <a:pt x="8429" y="1008"/>
                  </a:lnTo>
                  <a:lnTo>
                    <a:pt x="8787" y="1028"/>
                  </a:lnTo>
                  <a:lnTo>
                    <a:pt x="9140" y="1060"/>
                  </a:lnTo>
                  <a:lnTo>
                    <a:pt x="9487" y="1104"/>
                  </a:lnTo>
                  <a:lnTo>
                    <a:pt x="9827" y="1160"/>
                  </a:lnTo>
                  <a:lnTo>
                    <a:pt x="10162" y="1227"/>
                  </a:lnTo>
                  <a:lnTo>
                    <a:pt x="10490" y="1306"/>
                  </a:lnTo>
                  <a:lnTo>
                    <a:pt x="10810" y="1395"/>
                  </a:lnTo>
                  <a:lnTo>
                    <a:pt x="11123" y="1496"/>
                  </a:lnTo>
                  <a:lnTo>
                    <a:pt x="11428" y="1607"/>
                  </a:lnTo>
                  <a:lnTo>
                    <a:pt x="11723" y="1728"/>
                  </a:lnTo>
                  <a:lnTo>
                    <a:pt x="12009" y="1858"/>
                  </a:lnTo>
                  <a:lnTo>
                    <a:pt x="12287" y="1998"/>
                  </a:lnTo>
                  <a:lnTo>
                    <a:pt x="12553" y="2147"/>
                  </a:lnTo>
                  <a:lnTo>
                    <a:pt x="12809" y="2304"/>
                  </a:lnTo>
                  <a:lnTo>
                    <a:pt x="13054" y="2470"/>
                  </a:lnTo>
                  <a:lnTo>
                    <a:pt x="13288" y="2644"/>
                  </a:lnTo>
                  <a:lnTo>
                    <a:pt x="13511" y="2826"/>
                  </a:lnTo>
                  <a:lnTo>
                    <a:pt x="13720" y="3015"/>
                  </a:lnTo>
                  <a:lnTo>
                    <a:pt x="13917" y="3211"/>
                  </a:lnTo>
                  <a:lnTo>
                    <a:pt x="14100" y="3415"/>
                  </a:lnTo>
                  <a:lnTo>
                    <a:pt x="14271" y="3625"/>
                  </a:lnTo>
                  <a:lnTo>
                    <a:pt x="14427" y="3840"/>
                  </a:lnTo>
                  <a:lnTo>
                    <a:pt x="14568" y="4063"/>
                  </a:lnTo>
                  <a:lnTo>
                    <a:pt x="14695" y="4290"/>
                  </a:lnTo>
                  <a:lnTo>
                    <a:pt x="14806" y="4522"/>
                  </a:lnTo>
                  <a:lnTo>
                    <a:pt x="14901" y="4760"/>
                  </a:lnTo>
                  <a:lnTo>
                    <a:pt x="14981" y="5002"/>
                  </a:lnTo>
                  <a:lnTo>
                    <a:pt x="15042" y="5248"/>
                  </a:lnTo>
                  <a:lnTo>
                    <a:pt x="15087" y="5498"/>
                  </a:lnTo>
                  <a:lnTo>
                    <a:pt x="15115" y="5752"/>
                  </a:lnTo>
                  <a:lnTo>
                    <a:pt x="15124" y="6010"/>
                  </a:lnTo>
                  <a:lnTo>
                    <a:pt x="15115" y="6267"/>
                  </a:lnTo>
                  <a:lnTo>
                    <a:pt x="15087" y="6521"/>
                  </a:lnTo>
                  <a:lnTo>
                    <a:pt x="15042" y="6771"/>
                  </a:lnTo>
                  <a:lnTo>
                    <a:pt x="14981" y="7018"/>
                  </a:lnTo>
                  <a:lnTo>
                    <a:pt x="14901" y="7260"/>
                  </a:lnTo>
                  <a:lnTo>
                    <a:pt x="14806" y="7497"/>
                  </a:lnTo>
                  <a:lnTo>
                    <a:pt x="14695" y="7730"/>
                  </a:lnTo>
                  <a:lnTo>
                    <a:pt x="14568" y="7957"/>
                  </a:lnTo>
                  <a:lnTo>
                    <a:pt x="14427" y="8179"/>
                  </a:lnTo>
                  <a:lnTo>
                    <a:pt x="14271" y="8395"/>
                  </a:lnTo>
                  <a:lnTo>
                    <a:pt x="14100" y="8605"/>
                  </a:lnTo>
                  <a:lnTo>
                    <a:pt x="13917" y="8807"/>
                  </a:lnTo>
                  <a:lnTo>
                    <a:pt x="13720" y="9005"/>
                  </a:lnTo>
                  <a:lnTo>
                    <a:pt x="13511" y="9194"/>
                  </a:lnTo>
                  <a:lnTo>
                    <a:pt x="13288" y="9375"/>
                  </a:lnTo>
                  <a:lnTo>
                    <a:pt x="13054" y="9550"/>
                  </a:lnTo>
                  <a:lnTo>
                    <a:pt x="12809" y="9715"/>
                  </a:lnTo>
                  <a:lnTo>
                    <a:pt x="12553" y="9873"/>
                  </a:lnTo>
                  <a:lnTo>
                    <a:pt x="12287" y="10021"/>
                  </a:lnTo>
                  <a:lnTo>
                    <a:pt x="12009" y="10162"/>
                  </a:lnTo>
                  <a:lnTo>
                    <a:pt x="11723" y="10292"/>
                  </a:lnTo>
                  <a:lnTo>
                    <a:pt x="11428" y="10413"/>
                  </a:lnTo>
                  <a:lnTo>
                    <a:pt x="11123" y="10523"/>
                  </a:lnTo>
                  <a:lnTo>
                    <a:pt x="10810" y="10623"/>
                  </a:lnTo>
                  <a:lnTo>
                    <a:pt x="10490" y="10714"/>
                  </a:lnTo>
                  <a:lnTo>
                    <a:pt x="10162" y="10793"/>
                  </a:lnTo>
                  <a:lnTo>
                    <a:pt x="9827" y="10860"/>
                  </a:lnTo>
                  <a:lnTo>
                    <a:pt x="9487" y="10916"/>
                  </a:lnTo>
                  <a:lnTo>
                    <a:pt x="9140" y="10960"/>
                  </a:lnTo>
                  <a:lnTo>
                    <a:pt x="8787" y="10992"/>
                  </a:lnTo>
                  <a:lnTo>
                    <a:pt x="8429" y="11011"/>
                  </a:lnTo>
                  <a:lnTo>
                    <a:pt x="8066" y="11018"/>
                  </a:lnTo>
                  <a:close/>
                  <a:moveTo>
                    <a:pt x="8066" y="0"/>
                  </a:moveTo>
                  <a:lnTo>
                    <a:pt x="7651" y="8"/>
                  </a:lnTo>
                  <a:lnTo>
                    <a:pt x="7241" y="31"/>
                  </a:lnTo>
                  <a:lnTo>
                    <a:pt x="6838" y="69"/>
                  </a:lnTo>
                  <a:lnTo>
                    <a:pt x="6441" y="122"/>
                  </a:lnTo>
                  <a:lnTo>
                    <a:pt x="6051" y="189"/>
                  </a:lnTo>
                  <a:lnTo>
                    <a:pt x="5667" y="270"/>
                  </a:lnTo>
                  <a:lnTo>
                    <a:pt x="5292" y="365"/>
                  </a:lnTo>
                  <a:lnTo>
                    <a:pt x="4926" y="473"/>
                  </a:lnTo>
                  <a:lnTo>
                    <a:pt x="4569" y="593"/>
                  </a:lnTo>
                  <a:lnTo>
                    <a:pt x="4222" y="725"/>
                  </a:lnTo>
                  <a:lnTo>
                    <a:pt x="3884" y="870"/>
                  </a:lnTo>
                  <a:lnTo>
                    <a:pt x="3556" y="1027"/>
                  </a:lnTo>
                  <a:lnTo>
                    <a:pt x="3240" y="1194"/>
                  </a:lnTo>
                  <a:lnTo>
                    <a:pt x="2935" y="1372"/>
                  </a:lnTo>
                  <a:lnTo>
                    <a:pt x="2643" y="1562"/>
                  </a:lnTo>
                  <a:lnTo>
                    <a:pt x="2362" y="1760"/>
                  </a:lnTo>
                  <a:lnTo>
                    <a:pt x="2095" y="1969"/>
                  </a:lnTo>
                  <a:lnTo>
                    <a:pt x="1842" y="2188"/>
                  </a:lnTo>
                  <a:lnTo>
                    <a:pt x="1602" y="2414"/>
                  </a:lnTo>
                  <a:lnTo>
                    <a:pt x="1377" y="2649"/>
                  </a:lnTo>
                  <a:lnTo>
                    <a:pt x="1168" y="2894"/>
                  </a:lnTo>
                  <a:lnTo>
                    <a:pt x="974" y="3145"/>
                  </a:lnTo>
                  <a:lnTo>
                    <a:pt x="796" y="3405"/>
                  </a:lnTo>
                  <a:lnTo>
                    <a:pt x="634" y="3671"/>
                  </a:lnTo>
                  <a:lnTo>
                    <a:pt x="489" y="3943"/>
                  </a:lnTo>
                  <a:lnTo>
                    <a:pt x="363" y="4223"/>
                  </a:lnTo>
                  <a:lnTo>
                    <a:pt x="254" y="4508"/>
                  </a:lnTo>
                  <a:lnTo>
                    <a:pt x="163" y="4799"/>
                  </a:lnTo>
                  <a:lnTo>
                    <a:pt x="93" y="5094"/>
                  </a:lnTo>
                  <a:lnTo>
                    <a:pt x="41" y="5396"/>
                  </a:lnTo>
                  <a:lnTo>
                    <a:pt x="10" y="5700"/>
                  </a:lnTo>
                  <a:lnTo>
                    <a:pt x="0" y="6010"/>
                  </a:lnTo>
                  <a:lnTo>
                    <a:pt x="4" y="6203"/>
                  </a:lnTo>
                  <a:lnTo>
                    <a:pt x="16" y="6394"/>
                  </a:lnTo>
                  <a:lnTo>
                    <a:pt x="36" y="6584"/>
                  </a:lnTo>
                  <a:lnTo>
                    <a:pt x="65" y="6772"/>
                  </a:lnTo>
                  <a:lnTo>
                    <a:pt x="100" y="6958"/>
                  </a:lnTo>
                  <a:lnTo>
                    <a:pt x="143" y="7144"/>
                  </a:lnTo>
                  <a:lnTo>
                    <a:pt x="195" y="7326"/>
                  </a:lnTo>
                  <a:lnTo>
                    <a:pt x="252" y="7506"/>
                  </a:lnTo>
                  <a:lnTo>
                    <a:pt x="318" y="7685"/>
                  </a:lnTo>
                  <a:lnTo>
                    <a:pt x="390" y="7861"/>
                  </a:lnTo>
                  <a:lnTo>
                    <a:pt x="470" y="8034"/>
                  </a:lnTo>
                  <a:lnTo>
                    <a:pt x="556" y="8205"/>
                  </a:lnTo>
                  <a:lnTo>
                    <a:pt x="648" y="8375"/>
                  </a:lnTo>
                  <a:lnTo>
                    <a:pt x="748" y="8541"/>
                  </a:lnTo>
                  <a:lnTo>
                    <a:pt x="855" y="8704"/>
                  </a:lnTo>
                  <a:lnTo>
                    <a:pt x="967" y="8865"/>
                  </a:lnTo>
                  <a:lnTo>
                    <a:pt x="1086" y="9023"/>
                  </a:lnTo>
                  <a:lnTo>
                    <a:pt x="1211" y="9177"/>
                  </a:lnTo>
                  <a:lnTo>
                    <a:pt x="1341" y="9329"/>
                  </a:lnTo>
                  <a:lnTo>
                    <a:pt x="1478" y="9478"/>
                  </a:lnTo>
                  <a:lnTo>
                    <a:pt x="1620" y="9623"/>
                  </a:lnTo>
                  <a:lnTo>
                    <a:pt x="1768" y="9765"/>
                  </a:lnTo>
                  <a:lnTo>
                    <a:pt x="1923" y="9903"/>
                  </a:lnTo>
                  <a:lnTo>
                    <a:pt x="2081" y="10038"/>
                  </a:lnTo>
                  <a:lnTo>
                    <a:pt x="2245" y="10170"/>
                  </a:lnTo>
                  <a:lnTo>
                    <a:pt x="2415" y="10298"/>
                  </a:lnTo>
                  <a:lnTo>
                    <a:pt x="2590" y="10421"/>
                  </a:lnTo>
                  <a:lnTo>
                    <a:pt x="2769" y="10541"/>
                  </a:lnTo>
                  <a:lnTo>
                    <a:pt x="2953" y="10657"/>
                  </a:lnTo>
                  <a:lnTo>
                    <a:pt x="3142" y="10770"/>
                  </a:lnTo>
                  <a:lnTo>
                    <a:pt x="3335" y="10878"/>
                  </a:lnTo>
                  <a:lnTo>
                    <a:pt x="3533" y="10981"/>
                  </a:lnTo>
                  <a:lnTo>
                    <a:pt x="3532" y="10990"/>
                  </a:lnTo>
                  <a:lnTo>
                    <a:pt x="3531" y="10999"/>
                  </a:lnTo>
                  <a:lnTo>
                    <a:pt x="3530" y="11008"/>
                  </a:lnTo>
                  <a:lnTo>
                    <a:pt x="3529" y="11018"/>
                  </a:lnTo>
                  <a:lnTo>
                    <a:pt x="3527" y="11102"/>
                  </a:lnTo>
                  <a:lnTo>
                    <a:pt x="3521" y="11187"/>
                  </a:lnTo>
                  <a:lnTo>
                    <a:pt x="3512" y="11271"/>
                  </a:lnTo>
                  <a:lnTo>
                    <a:pt x="3500" y="11357"/>
                  </a:lnTo>
                  <a:lnTo>
                    <a:pt x="3484" y="11442"/>
                  </a:lnTo>
                  <a:lnTo>
                    <a:pt x="3464" y="11527"/>
                  </a:lnTo>
                  <a:lnTo>
                    <a:pt x="3443" y="11612"/>
                  </a:lnTo>
                  <a:lnTo>
                    <a:pt x="3419" y="11696"/>
                  </a:lnTo>
                  <a:lnTo>
                    <a:pt x="3392" y="11780"/>
                  </a:lnTo>
                  <a:lnTo>
                    <a:pt x="3364" y="11863"/>
                  </a:lnTo>
                  <a:lnTo>
                    <a:pt x="3332" y="11947"/>
                  </a:lnTo>
                  <a:lnTo>
                    <a:pt x="3300" y="12030"/>
                  </a:lnTo>
                  <a:lnTo>
                    <a:pt x="3266" y="12111"/>
                  </a:lnTo>
                  <a:lnTo>
                    <a:pt x="3229" y="12192"/>
                  </a:lnTo>
                  <a:lnTo>
                    <a:pt x="3192" y="12271"/>
                  </a:lnTo>
                  <a:lnTo>
                    <a:pt x="3155" y="12350"/>
                  </a:lnTo>
                  <a:lnTo>
                    <a:pt x="3115" y="12428"/>
                  </a:lnTo>
                  <a:lnTo>
                    <a:pt x="3075" y="12505"/>
                  </a:lnTo>
                  <a:lnTo>
                    <a:pt x="3036" y="12580"/>
                  </a:lnTo>
                  <a:lnTo>
                    <a:pt x="2995" y="12653"/>
                  </a:lnTo>
                  <a:lnTo>
                    <a:pt x="2954" y="12726"/>
                  </a:lnTo>
                  <a:lnTo>
                    <a:pt x="2914" y="12796"/>
                  </a:lnTo>
                  <a:lnTo>
                    <a:pt x="2874" y="12864"/>
                  </a:lnTo>
                  <a:lnTo>
                    <a:pt x="2834" y="12931"/>
                  </a:lnTo>
                  <a:lnTo>
                    <a:pt x="2757" y="13059"/>
                  </a:lnTo>
                  <a:lnTo>
                    <a:pt x="2684" y="13180"/>
                  </a:lnTo>
                  <a:lnTo>
                    <a:pt x="2616" y="13290"/>
                  </a:lnTo>
                  <a:lnTo>
                    <a:pt x="2557" y="13390"/>
                  </a:lnTo>
                  <a:lnTo>
                    <a:pt x="2558" y="13390"/>
                  </a:lnTo>
                  <a:lnTo>
                    <a:pt x="2550" y="13411"/>
                  </a:lnTo>
                  <a:lnTo>
                    <a:pt x="2542" y="13432"/>
                  </a:lnTo>
                  <a:lnTo>
                    <a:pt x="2536" y="13454"/>
                  </a:lnTo>
                  <a:lnTo>
                    <a:pt x="2531" y="13476"/>
                  </a:lnTo>
                  <a:lnTo>
                    <a:pt x="2527" y="13499"/>
                  </a:lnTo>
                  <a:lnTo>
                    <a:pt x="2523" y="13522"/>
                  </a:lnTo>
                  <a:lnTo>
                    <a:pt x="2522" y="13545"/>
                  </a:lnTo>
                  <a:lnTo>
                    <a:pt x="2521" y="13569"/>
                  </a:lnTo>
                  <a:lnTo>
                    <a:pt x="2522" y="13592"/>
                  </a:lnTo>
                  <a:lnTo>
                    <a:pt x="2523" y="13615"/>
                  </a:lnTo>
                  <a:lnTo>
                    <a:pt x="2526" y="13638"/>
                  </a:lnTo>
                  <a:lnTo>
                    <a:pt x="2530" y="13660"/>
                  </a:lnTo>
                  <a:lnTo>
                    <a:pt x="2535" y="13682"/>
                  </a:lnTo>
                  <a:lnTo>
                    <a:pt x="2541" y="13704"/>
                  </a:lnTo>
                  <a:lnTo>
                    <a:pt x="2548" y="13726"/>
                  </a:lnTo>
                  <a:lnTo>
                    <a:pt x="2556" y="13746"/>
                  </a:lnTo>
                  <a:lnTo>
                    <a:pt x="2566" y="13766"/>
                  </a:lnTo>
                  <a:lnTo>
                    <a:pt x="2576" y="13786"/>
                  </a:lnTo>
                  <a:lnTo>
                    <a:pt x="2586" y="13805"/>
                  </a:lnTo>
                  <a:lnTo>
                    <a:pt x="2598" y="13823"/>
                  </a:lnTo>
                  <a:lnTo>
                    <a:pt x="2611" y="13841"/>
                  </a:lnTo>
                  <a:lnTo>
                    <a:pt x="2624" y="13858"/>
                  </a:lnTo>
                  <a:lnTo>
                    <a:pt x="2640" y="13875"/>
                  </a:lnTo>
                  <a:lnTo>
                    <a:pt x="2655" y="13890"/>
                  </a:lnTo>
                  <a:lnTo>
                    <a:pt x="2670" y="13905"/>
                  </a:lnTo>
                  <a:lnTo>
                    <a:pt x="2687" y="13920"/>
                  </a:lnTo>
                  <a:lnTo>
                    <a:pt x="2704" y="13933"/>
                  </a:lnTo>
                  <a:lnTo>
                    <a:pt x="2722" y="13946"/>
                  </a:lnTo>
                  <a:lnTo>
                    <a:pt x="2740" y="13958"/>
                  </a:lnTo>
                  <a:lnTo>
                    <a:pt x="2760" y="13968"/>
                  </a:lnTo>
                  <a:lnTo>
                    <a:pt x="2779" y="13978"/>
                  </a:lnTo>
                  <a:lnTo>
                    <a:pt x="2800" y="13987"/>
                  </a:lnTo>
                  <a:lnTo>
                    <a:pt x="2820" y="13996"/>
                  </a:lnTo>
                  <a:lnTo>
                    <a:pt x="2841" y="14003"/>
                  </a:lnTo>
                  <a:lnTo>
                    <a:pt x="2863" y="14009"/>
                  </a:lnTo>
                  <a:lnTo>
                    <a:pt x="2886" y="14014"/>
                  </a:lnTo>
                  <a:lnTo>
                    <a:pt x="2908" y="14018"/>
                  </a:lnTo>
                  <a:lnTo>
                    <a:pt x="2931" y="14021"/>
                  </a:lnTo>
                  <a:lnTo>
                    <a:pt x="2954" y="14022"/>
                  </a:lnTo>
                  <a:lnTo>
                    <a:pt x="2977" y="14023"/>
                  </a:lnTo>
                  <a:lnTo>
                    <a:pt x="3018" y="14021"/>
                  </a:lnTo>
                  <a:lnTo>
                    <a:pt x="3060" y="14017"/>
                  </a:lnTo>
                  <a:lnTo>
                    <a:pt x="3078" y="14016"/>
                  </a:lnTo>
                  <a:lnTo>
                    <a:pt x="3093" y="14015"/>
                  </a:lnTo>
                  <a:lnTo>
                    <a:pt x="3099" y="14015"/>
                  </a:lnTo>
                  <a:lnTo>
                    <a:pt x="3103" y="14015"/>
                  </a:lnTo>
                  <a:lnTo>
                    <a:pt x="3105" y="14016"/>
                  </a:lnTo>
                  <a:lnTo>
                    <a:pt x="3106" y="14016"/>
                  </a:lnTo>
                  <a:lnTo>
                    <a:pt x="3254" y="13989"/>
                  </a:lnTo>
                  <a:lnTo>
                    <a:pt x="3400" y="13955"/>
                  </a:lnTo>
                  <a:lnTo>
                    <a:pt x="3546" y="13915"/>
                  </a:lnTo>
                  <a:lnTo>
                    <a:pt x="3690" y="13870"/>
                  </a:lnTo>
                  <a:lnTo>
                    <a:pt x="3833" y="13819"/>
                  </a:lnTo>
                  <a:lnTo>
                    <a:pt x="3976" y="13763"/>
                  </a:lnTo>
                  <a:lnTo>
                    <a:pt x="4116" y="13701"/>
                  </a:lnTo>
                  <a:lnTo>
                    <a:pt x="4254" y="13637"/>
                  </a:lnTo>
                  <a:lnTo>
                    <a:pt x="4390" y="13569"/>
                  </a:lnTo>
                  <a:lnTo>
                    <a:pt x="4524" y="13497"/>
                  </a:lnTo>
                  <a:lnTo>
                    <a:pt x="4656" y="13423"/>
                  </a:lnTo>
                  <a:lnTo>
                    <a:pt x="4784" y="13346"/>
                  </a:lnTo>
                  <a:lnTo>
                    <a:pt x="4910" y="13267"/>
                  </a:lnTo>
                  <a:lnTo>
                    <a:pt x="5033" y="13186"/>
                  </a:lnTo>
                  <a:lnTo>
                    <a:pt x="5153" y="13104"/>
                  </a:lnTo>
                  <a:lnTo>
                    <a:pt x="5269" y="13021"/>
                  </a:lnTo>
                  <a:lnTo>
                    <a:pt x="5382" y="12938"/>
                  </a:lnTo>
                  <a:lnTo>
                    <a:pt x="5491" y="12854"/>
                  </a:lnTo>
                  <a:lnTo>
                    <a:pt x="5596" y="12771"/>
                  </a:lnTo>
                  <a:lnTo>
                    <a:pt x="5697" y="12689"/>
                  </a:lnTo>
                  <a:lnTo>
                    <a:pt x="5793" y="12608"/>
                  </a:lnTo>
                  <a:lnTo>
                    <a:pt x="5885" y="12528"/>
                  </a:lnTo>
                  <a:lnTo>
                    <a:pt x="5972" y="12450"/>
                  </a:lnTo>
                  <a:lnTo>
                    <a:pt x="6055" y="12375"/>
                  </a:lnTo>
                  <a:lnTo>
                    <a:pt x="6131" y="12302"/>
                  </a:lnTo>
                  <a:lnTo>
                    <a:pt x="6203" y="12233"/>
                  </a:lnTo>
                  <a:lnTo>
                    <a:pt x="6269" y="12167"/>
                  </a:lnTo>
                  <a:lnTo>
                    <a:pt x="6330" y="12105"/>
                  </a:lnTo>
                  <a:lnTo>
                    <a:pt x="6384" y="12048"/>
                  </a:lnTo>
                  <a:lnTo>
                    <a:pt x="6433" y="11995"/>
                  </a:lnTo>
                  <a:lnTo>
                    <a:pt x="6475" y="11947"/>
                  </a:lnTo>
                  <a:lnTo>
                    <a:pt x="6510" y="11906"/>
                  </a:lnTo>
                  <a:lnTo>
                    <a:pt x="6605" y="11919"/>
                  </a:lnTo>
                  <a:lnTo>
                    <a:pt x="6700" y="11932"/>
                  </a:lnTo>
                  <a:lnTo>
                    <a:pt x="6796" y="11943"/>
                  </a:lnTo>
                  <a:lnTo>
                    <a:pt x="6891" y="11954"/>
                  </a:lnTo>
                  <a:lnTo>
                    <a:pt x="6987" y="11965"/>
                  </a:lnTo>
                  <a:lnTo>
                    <a:pt x="7083" y="11974"/>
                  </a:lnTo>
                  <a:lnTo>
                    <a:pt x="7180" y="11983"/>
                  </a:lnTo>
                  <a:lnTo>
                    <a:pt x="7278" y="11990"/>
                  </a:lnTo>
                  <a:lnTo>
                    <a:pt x="7374" y="11997"/>
                  </a:lnTo>
                  <a:lnTo>
                    <a:pt x="7472" y="12003"/>
                  </a:lnTo>
                  <a:lnTo>
                    <a:pt x="7571" y="12008"/>
                  </a:lnTo>
                  <a:lnTo>
                    <a:pt x="7669" y="12012"/>
                  </a:lnTo>
                  <a:lnTo>
                    <a:pt x="7768" y="12016"/>
                  </a:lnTo>
                  <a:lnTo>
                    <a:pt x="7867" y="12018"/>
                  </a:lnTo>
                  <a:lnTo>
                    <a:pt x="7966" y="12019"/>
                  </a:lnTo>
                  <a:lnTo>
                    <a:pt x="8066" y="12020"/>
                  </a:lnTo>
                  <a:lnTo>
                    <a:pt x="8481" y="12012"/>
                  </a:lnTo>
                  <a:lnTo>
                    <a:pt x="8891" y="11989"/>
                  </a:lnTo>
                  <a:lnTo>
                    <a:pt x="9294" y="11951"/>
                  </a:lnTo>
                  <a:lnTo>
                    <a:pt x="9691" y="11898"/>
                  </a:lnTo>
                  <a:lnTo>
                    <a:pt x="10081" y="11830"/>
                  </a:lnTo>
                  <a:lnTo>
                    <a:pt x="10465" y="11749"/>
                  </a:lnTo>
                  <a:lnTo>
                    <a:pt x="10840" y="11655"/>
                  </a:lnTo>
                  <a:lnTo>
                    <a:pt x="11206" y="11547"/>
                  </a:lnTo>
                  <a:lnTo>
                    <a:pt x="11563" y="11427"/>
                  </a:lnTo>
                  <a:lnTo>
                    <a:pt x="11910" y="11295"/>
                  </a:lnTo>
                  <a:lnTo>
                    <a:pt x="12248" y="11149"/>
                  </a:lnTo>
                  <a:lnTo>
                    <a:pt x="12576" y="10993"/>
                  </a:lnTo>
                  <a:lnTo>
                    <a:pt x="12891" y="10826"/>
                  </a:lnTo>
                  <a:lnTo>
                    <a:pt x="13197" y="10647"/>
                  </a:lnTo>
                  <a:lnTo>
                    <a:pt x="13489" y="10458"/>
                  </a:lnTo>
                  <a:lnTo>
                    <a:pt x="13770" y="10260"/>
                  </a:lnTo>
                  <a:lnTo>
                    <a:pt x="14037" y="10050"/>
                  </a:lnTo>
                  <a:lnTo>
                    <a:pt x="14290" y="9832"/>
                  </a:lnTo>
                  <a:lnTo>
                    <a:pt x="14530" y="9606"/>
                  </a:lnTo>
                  <a:lnTo>
                    <a:pt x="14755" y="9370"/>
                  </a:lnTo>
                  <a:lnTo>
                    <a:pt x="14964" y="9126"/>
                  </a:lnTo>
                  <a:lnTo>
                    <a:pt x="15158" y="8875"/>
                  </a:lnTo>
                  <a:lnTo>
                    <a:pt x="15336" y="8615"/>
                  </a:lnTo>
                  <a:lnTo>
                    <a:pt x="15498" y="8349"/>
                  </a:lnTo>
                  <a:lnTo>
                    <a:pt x="15643" y="8076"/>
                  </a:lnTo>
                  <a:lnTo>
                    <a:pt x="15769" y="7797"/>
                  </a:lnTo>
                  <a:lnTo>
                    <a:pt x="15878" y="7511"/>
                  </a:lnTo>
                  <a:lnTo>
                    <a:pt x="15968" y="7221"/>
                  </a:lnTo>
                  <a:lnTo>
                    <a:pt x="16039" y="6925"/>
                  </a:lnTo>
                  <a:lnTo>
                    <a:pt x="16091" y="6624"/>
                  </a:lnTo>
                  <a:lnTo>
                    <a:pt x="16122" y="6319"/>
                  </a:lnTo>
                  <a:lnTo>
                    <a:pt x="16132" y="6010"/>
                  </a:lnTo>
                  <a:lnTo>
                    <a:pt x="16122" y="5700"/>
                  </a:lnTo>
                  <a:lnTo>
                    <a:pt x="16091" y="5396"/>
                  </a:lnTo>
                  <a:lnTo>
                    <a:pt x="16039" y="5094"/>
                  </a:lnTo>
                  <a:lnTo>
                    <a:pt x="15968" y="4799"/>
                  </a:lnTo>
                  <a:lnTo>
                    <a:pt x="15878" y="4508"/>
                  </a:lnTo>
                  <a:lnTo>
                    <a:pt x="15769" y="4223"/>
                  </a:lnTo>
                  <a:lnTo>
                    <a:pt x="15643" y="3943"/>
                  </a:lnTo>
                  <a:lnTo>
                    <a:pt x="15498" y="3671"/>
                  </a:lnTo>
                  <a:lnTo>
                    <a:pt x="15336" y="3405"/>
                  </a:lnTo>
                  <a:lnTo>
                    <a:pt x="15158" y="3145"/>
                  </a:lnTo>
                  <a:lnTo>
                    <a:pt x="14964" y="2894"/>
                  </a:lnTo>
                  <a:lnTo>
                    <a:pt x="14755" y="2649"/>
                  </a:lnTo>
                  <a:lnTo>
                    <a:pt x="14530" y="2414"/>
                  </a:lnTo>
                  <a:lnTo>
                    <a:pt x="14290" y="2188"/>
                  </a:lnTo>
                  <a:lnTo>
                    <a:pt x="14037" y="1969"/>
                  </a:lnTo>
                  <a:lnTo>
                    <a:pt x="13770" y="1760"/>
                  </a:lnTo>
                  <a:lnTo>
                    <a:pt x="13489" y="1562"/>
                  </a:lnTo>
                  <a:lnTo>
                    <a:pt x="13197" y="1372"/>
                  </a:lnTo>
                  <a:lnTo>
                    <a:pt x="12891" y="1194"/>
                  </a:lnTo>
                  <a:lnTo>
                    <a:pt x="12576" y="1027"/>
                  </a:lnTo>
                  <a:lnTo>
                    <a:pt x="12248" y="870"/>
                  </a:lnTo>
                  <a:lnTo>
                    <a:pt x="11910" y="725"/>
                  </a:lnTo>
                  <a:lnTo>
                    <a:pt x="11563" y="593"/>
                  </a:lnTo>
                  <a:lnTo>
                    <a:pt x="11206" y="473"/>
                  </a:lnTo>
                  <a:lnTo>
                    <a:pt x="10840" y="365"/>
                  </a:lnTo>
                  <a:lnTo>
                    <a:pt x="10465" y="270"/>
                  </a:lnTo>
                  <a:lnTo>
                    <a:pt x="10081" y="189"/>
                  </a:lnTo>
                  <a:lnTo>
                    <a:pt x="9691" y="122"/>
                  </a:lnTo>
                  <a:lnTo>
                    <a:pt x="9294" y="69"/>
                  </a:lnTo>
                  <a:lnTo>
                    <a:pt x="8891" y="31"/>
                  </a:lnTo>
                  <a:lnTo>
                    <a:pt x="8481" y="8"/>
                  </a:lnTo>
                  <a:lnTo>
                    <a:pt x="80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61" name="ïSlîdè">
              <a:extLst>
                <a:ext uri="{FF2B5EF4-FFF2-40B4-BE49-F238E27FC236}">
                  <a16:creationId xmlns:a16="http://schemas.microsoft.com/office/drawing/2014/main" id="{87B40133-077E-4631-8290-5732328ADFB2}"/>
                </a:ext>
              </a:extLst>
            </p:cNvPr>
            <p:cNvSpPr/>
            <p:nvPr/>
          </p:nvSpPr>
          <p:spPr bwMode="auto">
            <a:xfrm>
              <a:off x="9309166" y="584180"/>
              <a:ext cx="131262" cy="131262"/>
            </a:xfrm>
            <a:custGeom>
              <a:avLst/>
              <a:gdLst>
                <a:gd name="T0" fmla="*/ 3521 w 6031"/>
                <a:gd name="T1" fmla="*/ 553 h 6022"/>
                <a:gd name="T2" fmla="*/ 4104 w 6031"/>
                <a:gd name="T3" fmla="*/ 750 h 6022"/>
                <a:gd name="T4" fmla="*/ 4613 w 6031"/>
                <a:gd name="T5" fmla="*/ 1076 h 6022"/>
                <a:gd name="T6" fmla="*/ 5029 w 6031"/>
                <a:gd name="T7" fmla="*/ 1511 h 6022"/>
                <a:gd name="T8" fmla="*/ 5330 w 6031"/>
                <a:gd name="T9" fmla="*/ 2036 h 6022"/>
                <a:gd name="T10" fmla="*/ 5499 w 6031"/>
                <a:gd name="T11" fmla="*/ 2630 h 6022"/>
                <a:gd name="T12" fmla="*/ 5515 w 6031"/>
                <a:gd name="T13" fmla="*/ 3268 h 6022"/>
                <a:gd name="T14" fmla="*/ 5375 w 6031"/>
                <a:gd name="T15" fmla="*/ 3873 h 6022"/>
                <a:gd name="T16" fmla="*/ 5098 w 6031"/>
                <a:gd name="T17" fmla="*/ 4413 h 6022"/>
                <a:gd name="T18" fmla="*/ 4704 w 6031"/>
                <a:gd name="T19" fmla="*/ 4868 h 6022"/>
                <a:gd name="T20" fmla="*/ 4213 w 6031"/>
                <a:gd name="T21" fmla="*/ 5217 h 6022"/>
                <a:gd name="T22" fmla="*/ 3643 w 6031"/>
                <a:gd name="T23" fmla="*/ 5441 h 6022"/>
                <a:gd name="T24" fmla="*/ 3016 w 6031"/>
                <a:gd name="T25" fmla="*/ 5520 h 6022"/>
                <a:gd name="T26" fmla="*/ 2388 w 6031"/>
                <a:gd name="T27" fmla="*/ 5441 h 6022"/>
                <a:gd name="T28" fmla="*/ 1818 w 6031"/>
                <a:gd name="T29" fmla="*/ 5217 h 6022"/>
                <a:gd name="T30" fmla="*/ 1327 w 6031"/>
                <a:gd name="T31" fmla="*/ 4868 h 6022"/>
                <a:gd name="T32" fmla="*/ 932 w 6031"/>
                <a:gd name="T33" fmla="*/ 4413 h 6022"/>
                <a:gd name="T34" fmla="*/ 656 w 6031"/>
                <a:gd name="T35" fmla="*/ 3873 h 6022"/>
                <a:gd name="T36" fmla="*/ 516 w 6031"/>
                <a:gd name="T37" fmla="*/ 3268 h 6022"/>
                <a:gd name="T38" fmla="*/ 532 w 6031"/>
                <a:gd name="T39" fmla="*/ 2630 h 6022"/>
                <a:gd name="T40" fmla="*/ 701 w 6031"/>
                <a:gd name="T41" fmla="*/ 2036 h 6022"/>
                <a:gd name="T42" fmla="*/ 1002 w 6031"/>
                <a:gd name="T43" fmla="*/ 1511 h 6022"/>
                <a:gd name="T44" fmla="*/ 1417 w 6031"/>
                <a:gd name="T45" fmla="*/ 1076 h 6022"/>
                <a:gd name="T46" fmla="*/ 1927 w 6031"/>
                <a:gd name="T47" fmla="*/ 750 h 6022"/>
                <a:gd name="T48" fmla="*/ 2510 w 6031"/>
                <a:gd name="T49" fmla="*/ 553 h 6022"/>
                <a:gd name="T50" fmla="*/ 3016 w 6031"/>
                <a:gd name="T51" fmla="*/ 6022 h 6022"/>
                <a:gd name="T52" fmla="*/ 3768 w 6031"/>
                <a:gd name="T53" fmla="*/ 5928 h 6022"/>
                <a:gd name="T54" fmla="*/ 4452 w 6031"/>
                <a:gd name="T55" fmla="*/ 5659 h 6022"/>
                <a:gd name="T56" fmla="*/ 5042 w 6031"/>
                <a:gd name="T57" fmla="*/ 5239 h 6022"/>
                <a:gd name="T58" fmla="*/ 5515 w 6031"/>
                <a:gd name="T59" fmla="*/ 4693 h 6022"/>
                <a:gd name="T60" fmla="*/ 5848 w 6031"/>
                <a:gd name="T61" fmla="*/ 4046 h 6022"/>
                <a:gd name="T62" fmla="*/ 6015 w 6031"/>
                <a:gd name="T63" fmla="*/ 3318 h 6022"/>
                <a:gd name="T64" fmla="*/ 5996 w 6031"/>
                <a:gd name="T65" fmla="*/ 2554 h 6022"/>
                <a:gd name="T66" fmla="*/ 5794 w 6031"/>
                <a:gd name="T67" fmla="*/ 1840 h 6022"/>
                <a:gd name="T68" fmla="*/ 5431 w 6031"/>
                <a:gd name="T69" fmla="*/ 1211 h 6022"/>
                <a:gd name="T70" fmla="*/ 4932 w 6031"/>
                <a:gd name="T71" fmla="*/ 689 h 6022"/>
                <a:gd name="T72" fmla="*/ 4322 w 6031"/>
                <a:gd name="T73" fmla="*/ 297 h 6022"/>
                <a:gd name="T74" fmla="*/ 3623 w 6031"/>
                <a:gd name="T75" fmla="*/ 62 h 6022"/>
                <a:gd name="T76" fmla="*/ 2861 w 6031"/>
                <a:gd name="T77" fmla="*/ 4 h 6022"/>
                <a:gd name="T78" fmla="*/ 2120 w 6031"/>
                <a:gd name="T79" fmla="*/ 136 h 6022"/>
                <a:gd name="T80" fmla="*/ 1453 w 6031"/>
                <a:gd name="T81" fmla="*/ 437 h 6022"/>
                <a:gd name="T82" fmla="*/ 884 w 6031"/>
                <a:gd name="T83" fmla="*/ 884 h 6022"/>
                <a:gd name="T84" fmla="*/ 437 w 6031"/>
                <a:gd name="T85" fmla="*/ 1452 h 6022"/>
                <a:gd name="T86" fmla="*/ 136 w 6031"/>
                <a:gd name="T87" fmla="*/ 2117 h 6022"/>
                <a:gd name="T88" fmla="*/ 4 w 6031"/>
                <a:gd name="T89" fmla="*/ 2857 h 6022"/>
                <a:gd name="T90" fmla="*/ 62 w 6031"/>
                <a:gd name="T91" fmla="*/ 3617 h 6022"/>
                <a:gd name="T92" fmla="*/ 298 w 6031"/>
                <a:gd name="T93" fmla="*/ 4316 h 6022"/>
                <a:gd name="T94" fmla="*/ 690 w 6031"/>
                <a:gd name="T95" fmla="*/ 4925 h 6022"/>
                <a:gd name="T96" fmla="*/ 1212 w 6031"/>
                <a:gd name="T97" fmla="*/ 5424 h 6022"/>
                <a:gd name="T98" fmla="*/ 1843 w 6031"/>
                <a:gd name="T99" fmla="*/ 5785 h 6022"/>
                <a:gd name="T100" fmla="*/ 2557 w 6031"/>
                <a:gd name="T101" fmla="*/ 5988 h 6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31" h="6022">
                  <a:moveTo>
                    <a:pt x="3016" y="502"/>
                  </a:moveTo>
                  <a:lnTo>
                    <a:pt x="3144" y="505"/>
                  </a:lnTo>
                  <a:lnTo>
                    <a:pt x="3272" y="515"/>
                  </a:lnTo>
                  <a:lnTo>
                    <a:pt x="3397" y="531"/>
                  </a:lnTo>
                  <a:lnTo>
                    <a:pt x="3521" y="553"/>
                  </a:lnTo>
                  <a:lnTo>
                    <a:pt x="3643" y="582"/>
                  </a:lnTo>
                  <a:lnTo>
                    <a:pt x="3762" y="616"/>
                  </a:lnTo>
                  <a:lnTo>
                    <a:pt x="3879" y="655"/>
                  </a:lnTo>
                  <a:lnTo>
                    <a:pt x="3992" y="700"/>
                  </a:lnTo>
                  <a:lnTo>
                    <a:pt x="4104" y="750"/>
                  </a:lnTo>
                  <a:lnTo>
                    <a:pt x="4213" y="805"/>
                  </a:lnTo>
                  <a:lnTo>
                    <a:pt x="4318" y="866"/>
                  </a:lnTo>
                  <a:lnTo>
                    <a:pt x="4420" y="932"/>
                  </a:lnTo>
                  <a:lnTo>
                    <a:pt x="4518" y="1001"/>
                  </a:lnTo>
                  <a:lnTo>
                    <a:pt x="4613" y="1076"/>
                  </a:lnTo>
                  <a:lnTo>
                    <a:pt x="4704" y="1155"/>
                  </a:lnTo>
                  <a:lnTo>
                    <a:pt x="4791" y="1238"/>
                  </a:lnTo>
                  <a:lnTo>
                    <a:pt x="4875" y="1325"/>
                  </a:lnTo>
                  <a:lnTo>
                    <a:pt x="4954" y="1417"/>
                  </a:lnTo>
                  <a:lnTo>
                    <a:pt x="5029" y="1511"/>
                  </a:lnTo>
                  <a:lnTo>
                    <a:pt x="5098" y="1609"/>
                  </a:lnTo>
                  <a:lnTo>
                    <a:pt x="5164" y="1712"/>
                  </a:lnTo>
                  <a:lnTo>
                    <a:pt x="5225" y="1816"/>
                  </a:lnTo>
                  <a:lnTo>
                    <a:pt x="5280" y="1924"/>
                  </a:lnTo>
                  <a:lnTo>
                    <a:pt x="5330" y="2036"/>
                  </a:lnTo>
                  <a:lnTo>
                    <a:pt x="5375" y="2149"/>
                  </a:lnTo>
                  <a:lnTo>
                    <a:pt x="5415" y="2266"/>
                  </a:lnTo>
                  <a:lnTo>
                    <a:pt x="5449" y="2385"/>
                  </a:lnTo>
                  <a:lnTo>
                    <a:pt x="5477" y="2506"/>
                  </a:lnTo>
                  <a:lnTo>
                    <a:pt x="5499" y="2630"/>
                  </a:lnTo>
                  <a:lnTo>
                    <a:pt x="5515" y="2755"/>
                  </a:lnTo>
                  <a:lnTo>
                    <a:pt x="5525" y="2883"/>
                  </a:lnTo>
                  <a:lnTo>
                    <a:pt x="5528" y="3011"/>
                  </a:lnTo>
                  <a:lnTo>
                    <a:pt x="5525" y="3141"/>
                  </a:lnTo>
                  <a:lnTo>
                    <a:pt x="5515" y="3268"/>
                  </a:lnTo>
                  <a:lnTo>
                    <a:pt x="5499" y="3394"/>
                  </a:lnTo>
                  <a:lnTo>
                    <a:pt x="5477" y="3517"/>
                  </a:lnTo>
                  <a:lnTo>
                    <a:pt x="5449" y="3638"/>
                  </a:lnTo>
                  <a:lnTo>
                    <a:pt x="5415" y="3757"/>
                  </a:lnTo>
                  <a:lnTo>
                    <a:pt x="5375" y="3873"/>
                  </a:lnTo>
                  <a:lnTo>
                    <a:pt x="5330" y="3988"/>
                  </a:lnTo>
                  <a:lnTo>
                    <a:pt x="5280" y="4098"/>
                  </a:lnTo>
                  <a:lnTo>
                    <a:pt x="5225" y="4207"/>
                  </a:lnTo>
                  <a:lnTo>
                    <a:pt x="5164" y="4312"/>
                  </a:lnTo>
                  <a:lnTo>
                    <a:pt x="5098" y="4413"/>
                  </a:lnTo>
                  <a:lnTo>
                    <a:pt x="5029" y="4512"/>
                  </a:lnTo>
                  <a:lnTo>
                    <a:pt x="4954" y="4607"/>
                  </a:lnTo>
                  <a:lnTo>
                    <a:pt x="4875" y="4697"/>
                  </a:lnTo>
                  <a:lnTo>
                    <a:pt x="4791" y="4785"/>
                  </a:lnTo>
                  <a:lnTo>
                    <a:pt x="4704" y="4868"/>
                  </a:lnTo>
                  <a:lnTo>
                    <a:pt x="4613" y="4947"/>
                  </a:lnTo>
                  <a:lnTo>
                    <a:pt x="4518" y="5022"/>
                  </a:lnTo>
                  <a:lnTo>
                    <a:pt x="4420" y="5092"/>
                  </a:lnTo>
                  <a:lnTo>
                    <a:pt x="4318" y="5157"/>
                  </a:lnTo>
                  <a:lnTo>
                    <a:pt x="4213" y="5217"/>
                  </a:lnTo>
                  <a:lnTo>
                    <a:pt x="4104" y="5272"/>
                  </a:lnTo>
                  <a:lnTo>
                    <a:pt x="3992" y="5324"/>
                  </a:lnTo>
                  <a:lnTo>
                    <a:pt x="3879" y="5368"/>
                  </a:lnTo>
                  <a:lnTo>
                    <a:pt x="3762" y="5408"/>
                  </a:lnTo>
                  <a:lnTo>
                    <a:pt x="3643" y="5441"/>
                  </a:lnTo>
                  <a:lnTo>
                    <a:pt x="3521" y="5469"/>
                  </a:lnTo>
                  <a:lnTo>
                    <a:pt x="3397" y="5491"/>
                  </a:lnTo>
                  <a:lnTo>
                    <a:pt x="3272" y="5507"/>
                  </a:lnTo>
                  <a:lnTo>
                    <a:pt x="3144" y="5517"/>
                  </a:lnTo>
                  <a:lnTo>
                    <a:pt x="3016" y="5520"/>
                  </a:lnTo>
                  <a:lnTo>
                    <a:pt x="2886" y="5517"/>
                  </a:lnTo>
                  <a:lnTo>
                    <a:pt x="2759" y="5507"/>
                  </a:lnTo>
                  <a:lnTo>
                    <a:pt x="2634" y="5491"/>
                  </a:lnTo>
                  <a:lnTo>
                    <a:pt x="2510" y="5469"/>
                  </a:lnTo>
                  <a:lnTo>
                    <a:pt x="2388" y="5441"/>
                  </a:lnTo>
                  <a:lnTo>
                    <a:pt x="2269" y="5408"/>
                  </a:lnTo>
                  <a:lnTo>
                    <a:pt x="2152" y="5368"/>
                  </a:lnTo>
                  <a:lnTo>
                    <a:pt x="2039" y="5324"/>
                  </a:lnTo>
                  <a:lnTo>
                    <a:pt x="1927" y="5272"/>
                  </a:lnTo>
                  <a:lnTo>
                    <a:pt x="1818" y="5217"/>
                  </a:lnTo>
                  <a:lnTo>
                    <a:pt x="1713" y="5157"/>
                  </a:lnTo>
                  <a:lnTo>
                    <a:pt x="1611" y="5092"/>
                  </a:lnTo>
                  <a:lnTo>
                    <a:pt x="1513" y="5022"/>
                  </a:lnTo>
                  <a:lnTo>
                    <a:pt x="1417" y="4947"/>
                  </a:lnTo>
                  <a:lnTo>
                    <a:pt x="1327" y="4868"/>
                  </a:lnTo>
                  <a:lnTo>
                    <a:pt x="1240" y="4785"/>
                  </a:lnTo>
                  <a:lnTo>
                    <a:pt x="1156" y="4697"/>
                  </a:lnTo>
                  <a:lnTo>
                    <a:pt x="1077" y="4607"/>
                  </a:lnTo>
                  <a:lnTo>
                    <a:pt x="1002" y="4512"/>
                  </a:lnTo>
                  <a:lnTo>
                    <a:pt x="932" y="4413"/>
                  </a:lnTo>
                  <a:lnTo>
                    <a:pt x="867" y="4312"/>
                  </a:lnTo>
                  <a:lnTo>
                    <a:pt x="806" y="4207"/>
                  </a:lnTo>
                  <a:lnTo>
                    <a:pt x="751" y="4098"/>
                  </a:lnTo>
                  <a:lnTo>
                    <a:pt x="701" y="3988"/>
                  </a:lnTo>
                  <a:lnTo>
                    <a:pt x="656" y="3873"/>
                  </a:lnTo>
                  <a:lnTo>
                    <a:pt x="615" y="3757"/>
                  </a:lnTo>
                  <a:lnTo>
                    <a:pt x="582" y="3638"/>
                  </a:lnTo>
                  <a:lnTo>
                    <a:pt x="554" y="3517"/>
                  </a:lnTo>
                  <a:lnTo>
                    <a:pt x="532" y="3394"/>
                  </a:lnTo>
                  <a:lnTo>
                    <a:pt x="516" y="3268"/>
                  </a:lnTo>
                  <a:lnTo>
                    <a:pt x="506" y="3141"/>
                  </a:lnTo>
                  <a:lnTo>
                    <a:pt x="503" y="3011"/>
                  </a:lnTo>
                  <a:lnTo>
                    <a:pt x="506" y="2883"/>
                  </a:lnTo>
                  <a:lnTo>
                    <a:pt x="516" y="2755"/>
                  </a:lnTo>
                  <a:lnTo>
                    <a:pt x="532" y="2630"/>
                  </a:lnTo>
                  <a:lnTo>
                    <a:pt x="554" y="2506"/>
                  </a:lnTo>
                  <a:lnTo>
                    <a:pt x="582" y="2385"/>
                  </a:lnTo>
                  <a:lnTo>
                    <a:pt x="615" y="2266"/>
                  </a:lnTo>
                  <a:lnTo>
                    <a:pt x="656" y="2149"/>
                  </a:lnTo>
                  <a:lnTo>
                    <a:pt x="701" y="2036"/>
                  </a:lnTo>
                  <a:lnTo>
                    <a:pt x="751" y="1924"/>
                  </a:lnTo>
                  <a:lnTo>
                    <a:pt x="806" y="1816"/>
                  </a:lnTo>
                  <a:lnTo>
                    <a:pt x="867" y="1712"/>
                  </a:lnTo>
                  <a:lnTo>
                    <a:pt x="932" y="1609"/>
                  </a:lnTo>
                  <a:lnTo>
                    <a:pt x="1002" y="1511"/>
                  </a:lnTo>
                  <a:lnTo>
                    <a:pt x="1077" y="1417"/>
                  </a:lnTo>
                  <a:lnTo>
                    <a:pt x="1156" y="1325"/>
                  </a:lnTo>
                  <a:lnTo>
                    <a:pt x="1240" y="1238"/>
                  </a:lnTo>
                  <a:lnTo>
                    <a:pt x="1327" y="1155"/>
                  </a:lnTo>
                  <a:lnTo>
                    <a:pt x="1417" y="1076"/>
                  </a:lnTo>
                  <a:lnTo>
                    <a:pt x="1513" y="1001"/>
                  </a:lnTo>
                  <a:lnTo>
                    <a:pt x="1611" y="932"/>
                  </a:lnTo>
                  <a:lnTo>
                    <a:pt x="1713" y="866"/>
                  </a:lnTo>
                  <a:lnTo>
                    <a:pt x="1818" y="805"/>
                  </a:lnTo>
                  <a:lnTo>
                    <a:pt x="1927" y="750"/>
                  </a:lnTo>
                  <a:lnTo>
                    <a:pt x="2039" y="700"/>
                  </a:lnTo>
                  <a:lnTo>
                    <a:pt x="2152" y="655"/>
                  </a:lnTo>
                  <a:lnTo>
                    <a:pt x="2269" y="616"/>
                  </a:lnTo>
                  <a:lnTo>
                    <a:pt x="2388" y="582"/>
                  </a:lnTo>
                  <a:lnTo>
                    <a:pt x="2510" y="553"/>
                  </a:lnTo>
                  <a:lnTo>
                    <a:pt x="2634" y="531"/>
                  </a:lnTo>
                  <a:lnTo>
                    <a:pt x="2759" y="515"/>
                  </a:lnTo>
                  <a:lnTo>
                    <a:pt x="2886" y="505"/>
                  </a:lnTo>
                  <a:lnTo>
                    <a:pt x="3016" y="502"/>
                  </a:lnTo>
                  <a:close/>
                  <a:moveTo>
                    <a:pt x="3016" y="6022"/>
                  </a:moveTo>
                  <a:lnTo>
                    <a:pt x="3170" y="6018"/>
                  </a:lnTo>
                  <a:lnTo>
                    <a:pt x="3323" y="6007"/>
                  </a:lnTo>
                  <a:lnTo>
                    <a:pt x="3474" y="5988"/>
                  </a:lnTo>
                  <a:lnTo>
                    <a:pt x="3623" y="5961"/>
                  </a:lnTo>
                  <a:lnTo>
                    <a:pt x="3768" y="5928"/>
                  </a:lnTo>
                  <a:lnTo>
                    <a:pt x="3911" y="5887"/>
                  </a:lnTo>
                  <a:lnTo>
                    <a:pt x="4052" y="5840"/>
                  </a:lnTo>
                  <a:lnTo>
                    <a:pt x="4188" y="5785"/>
                  </a:lnTo>
                  <a:lnTo>
                    <a:pt x="4322" y="5725"/>
                  </a:lnTo>
                  <a:lnTo>
                    <a:pt x="4452" y="5659"/>
                  </a:lnTo>
                  <a:lnTo>
                    <a:pt x="4577" y="5586"/>
                  </a:lnTo>
                  <a:lnTo>
                    <a:pt x="4700" y="5507"/>
                  </a:lnTo>
                  <a:lnTo>
                    <a:pt x="4819" y="5424"/>
                  </a:lnTo>
                  <a:lnTo>
                    <a:pt x="4932" y="5334"/>
                  </a:lnTo>
                  <a:lnTo>
                    <a:pt x="5042" y="5239"/>
                  </a:lnTo>
                  <a:lnTo>
                    <a:pt x="5146" y="5140"/>
                  </a:lnTo>
                  <a:lnTo>
                    <a:pt x="5247" y="5035"/>
                  </a:lnTo>
                  <a:lnTo>
                    <a:pt x="5341" y="4925"/>
                  </a:lnTo>
                  <a:lnTo>
                    <a:pt x="5431" y="4812"/>
                  </a:lnTo>
                  <a:lnTo>
                    <a:pt x="5515" y="4693"/>
                  </a:lnTo>
                  <a:lnTo>
                    <a:pt x="5594" y="4572"/>
                  </a:lnTo>
                  <a:lnTo>
                    <a:pt x="5666" y="4445"/>
                  </a:lnTo>
                  <a:lnTo>
                    <a:pt x="5733" y="4316"/>
                  </a:lnTo>
                  <a:lnTo>
                    <a:pt x="5794" y="4183"/>
                  </a:lnTo>
                  <a:lnTo>
                    <a:pt x="5848" y="4046"/>
                  </a:lnTo>
                  <a:lnTo>
                    <a:pt x="5895" y="3906"/>
                  </a:lnTo>
                  <a:lnTo>
                    <a:pt x="5935" y="3763"/>
                  </a:lnTo>
                  <a:lnTo>
                    <a:pt x="5969" y="3617"/>
                  </a:lnTo>
                  <a:lnTo>
                    <a:pt x="5996" y="3469"/>
                  </a:lnTo>
                  <a:lnTo>
                    <a:pt x="6015" y="3318"/>
                  </a:lnTo>
                  <a:lnTo>
                    <a:pt x="6027" y="3166"/>
                  </a:lnTo>
                  <a:lnTo>
                    <a:pt x="6031" y="3011"/>
                  </a:lnTo>
                  <a:lnTo>
                    <a:pt x="6027" y="2857"/>
                  </a:lnTo>
                  <a:lnTo>
                    <a:pt x="6015" y="2704"/>
                  </a:lnTo>
                  <a:lnTo>
                    <a:pt x="5996" y="2554"/>
                  </a:lnTo>
                  <a:lnTo>
                    <a:pt x="5969" y="2405"/>
                  </a:lnTo>
                  <a:lnTo>
                    <a:pt x="5935" y="2260"/>
                  </a:lnTo>
                  <a:lnTo>
                    <a:pt x="5895" y="2117"/>
                  </a:lnTo>
                  <a:lnTo>
                    <a:pt x="5848" y="1978"/>
                  </a:lnTo>
                  <a:lnTo>
                    <a:pt x="5794" y="1840"/>
                  </a:lnTo>
                  <a:lnTo>
                    <a:pt x="5733" y="1708"/>
                  </a:lnTo>
                  <a:lnTo>
                    <a:pt x="5666" y="1577"/>
                  </a:lnTo>
                  <a:lnTo>
                    <a:pt x="5594" y="1452"/>
                  </a:lnTo>
                  <a:lnTo>
                    <a:pt x="5515" y="1329"/>
                  </a:lnTo>
                  <a:lnTo>
                    <a:pt x="5431" y="1211"/>
                  </a:lnTo>
                  <a:lnTo>
                    <a:pt x="5341" y="1097"/>
                  </a:lnTo>
                  <a:lnTo>
                    <a:pt x="5247" y="988"/>
                  </a:lnTo>
                  <a:lnTo>
                    <a:pt x="5146" y="884"/>
                  </a:lnTo>
                  <a:lnTo>
                    <a:pt x="5042" y="783"/>
                  </a:lnTo>
                  <a:lnTo>
                    <a:pt x="4932" y="689"/>
                  </a:lnTo>
                  <a:lnTo>
                    <a:pt x="4819" y="600"/>
                  </a:lnTo>
                  <a:lnTo>
                    <a:pt x="4700" y="515"/>
                  </a:lnTo>
                  <a:lnTo>
                    <a:pt x="4577" y="437"/>
                  </a:lnTo>
                  <a:lnTo>
                    <a:pt x="4452" y="365"/>
                  </a:lnTo>
                  <a:lnTo>
                    <a:pt x="4322" y="297"/>
                  </a:lnTo>
                  <a:lnTo>
                    <a:pt x="4188" y="237"/>
                  </a:lnTo>
                  <a:lnTo>
                    <a:pt x="4052" y="183"/>
                  </a:lnTo>
                  <a:lnTo>
                    <a:pt x="3911" y="136"/>
                  </a:lnTo>
                  <a:lnTo>
                    <a:pt x="3768" y="96"/>
                  </a:lnTo>
                  <a:lnTo>
                    <a:pt x="3623" y="62"/>
                  </a:lnTo>
                  <a:lnTo>
                    <a:pt x="3474" y="36"/>
                  </a:lnTo>
                  <a:lnTo>
                    <a:pt x="3323" y="16"/>
                  </a:lnTo>
                  <a:lnTo>
                    <a:pt x="3170" y="4"/>
                  </a:lnTo>
                  <a:lnTo>
                    <a:pt x="3016" y="0"/>
                  </a:lnTo>
                  <a:lnTo>
                    <a:pt x="2861" y="4"/>
                  </a:lnTo>
                  <a:lnTo>
                    <a:pt x="2708" y="16"/>
                  </a:lnTo>
                  <a:lnTo>
                    <a:pt x="2557" y="36"/>
                  </a:lnTo>
                  <a:lnTo>
                    <a:pt x="2408" y="62"/>
                  </a:lnTo>
                  <a:lnTo>
                    <a:pt x="2263" y="96"/>
                  </a:lnTo>
                  <a:lnTo>
                    <a:pt x="2120" y="136"/>
                  </a:lnTo>
                  <a:lnTo>
                    <a:pt x="1979" y="183"/>
                  </a:lnTo>
                  <a:lnTo>
                    <a:pt x="1843" y="237"/>
                  </a:lnTo>
                  <a:lnTo>
                    <a:pt x="1709" y="297"/>
                  </a:lnTo>
                  <a:lnTo>
                    <a:pt x="1579" y="365"/>
                  </a:lnTo>
                  <a:lnTo>
                    <a:pt x="1453" y="437"/>
                  </a:lnTo>
                  <a:lnTo>
                    <a:pt x="1331" y="515"/>
                  </a:lnTo>
                  <a:lnTo>
                    <a:pt x="1212" y="600"/>
                  </a:lnTo>
                  <a:lnTo>
                    <a:pt x="1099" y="689"/>
                  </a:lnTo>
                  <a:lnTo>
                    <a:pt x="989" y="783"/>
                  </a:lnTo>
                  <a:lnTo>
                    <a:pt x="884" y="884"/>
                  </a:lnTo>
                  <a:lnTo>
                    <a:pt x="784" y="988"/>
                  </a:lnTo>
                  <a:lnTo>
                    <a:pt x="690" y="1097"/>
                  </a:lnTo>
                  <a:lnTo>
                    <a:pt x="600" y="1211"/>
                  </a:lnTo>
                  <a:lnTo>
                    <a:pt x="516" y="1329"/>
                  </a:lnTo>
                  <a:lnTo>
                    <a:pt x="437" y="1452"/>
                  </a:lnTo>
                  <a:lnTo>
                    <a:pt x="364" y="1577"/>
                  </a:lnTo>
                  <a:lnTo>
                    <a:pt x="298" y="1708"/>
                  </a:lnTo>
                  <a:lnTo>
                    <a:pt x="237" y="1840"/>
                  </a:lnTo>
                  <a:lnTo>
                    <a:pt x="183" y="1978"/>
                  </a:lnTo>
                  <a:lnTo>
                    <a:pt x="136" y="2117"/>
                  </a:lnTo>
                  <a:lnTo>
                    <a:pt x="95" y="2260"/>
                  </a:lnTo>
                  <a:lnTo>
                    <a:pt x="62" y="2405"/>
                  </a:lnTo>
                  <a:lnTo>
                    <a:pt x="35" y="2554"/>
                  </a:lnTo>
                  <a:lnTo>
                    <a:pt x="15" y="2704"/>
                  </a:lnTo>
                  <a:lnTo>
                    <a:pt x="4" y="2857"/>
                  </a:lnTo>
                  <a:lnTo>
                    <a:pt x="0" y="3011"/>
                  </a:lnTo>
                  <a:lnTo>
                    <a:pt x="4" y="3166"/>
                  </a:lnTo>
                  <a:lnTo>
                    <a:pt x="15" y="3318"/>
                  </a:lnTo>
                  <a:lnTo>
                    <a:pt x="35" y="3469"/>
                  </a:lnTo>
                  <a:lnTo>
                    <a:pt x="62" y="3617"/>
                  </a:lnTo>
                  <a:lnTo>
                    <a:pt x="95" y="3763"/>
                  </a:lnTo>
                  <a:lnTo>
                    <a:pt x="136" y="3906"/>
                  </a:lnTo>
                  <a:lnTo>
                    <a:pt x="183" y="4046"/>
                  </a:lnTo>
                  <a:lnTo>
                    <a:pt x="237" y="4183"/>
                  </a:lnTo>
                  <a:lnTo>
                    <a:pt x="298" y="4316"/>
                  </a:lnTo>
                  <a:lnTo>
                    <a:pt x="364" y="4445"/>
                  </a:lnTo>
                  <a:lnTo>
                    <a:pt x="437" y="4572"/>
                  </a:lnTo>
                  <a:lnTo>
                    <a:pt x="516" y="4693"/>
                  </a:lnTo>
                  <a:lnTo>
                    <a:pt x="600" y="4812"/>
                  </a:lnTo>
                  <a:lnTo>
                    <a:pt x="690" y="4925"/>
                  </a:lnTo>
                  <a:lnTo>
                    <a:pt x="784" y="5035"/>
                  </a:lnTo>
                  <a:lnTo>
                    <a:pt x="884" y="5140"/>
                  </a:lnTo>
                  <a:lnTo>
                    <a:pt x="989" y="5239"/>
                  </a:lnTo>
                  <a:lnTo>
                    <a:pt x="1099" y="5334"/>
                  </a:lnTo>
                  <a:lnTo>
                    <a:pt x="1212" y="5424"/>
                  </a:lnTo>
                  <a:lnTo>
                    <a:pt x="1331" y="5507"/>
                  </a:lnTo>
                  <a:lnTo>
                    <a:pt x="1453" y="5586"/>
                  </a:lnTo>
                  <a:lnTo>
                    <a:pt x="1579" y="5659"/>
                  </a:lnTo>
                  <a:lnTo>
                    <a:pt x="1709" y="5725"/>
                  </a:lnTo>
                  <a:lnTo>
                    <a:pt x="1843" y="5785"/>
                  </a:lnTo>
                  <a:lnTo>
                    <a:pt x="1979" y="5840"/>
                  </a:lnTo>
                  <a:lnTo>
                    <a:pt x="2120" y="5887"/>
                  </a:lnTo>
                  <a:lnTo>
                    <a:pt x="2263" y="5928"/>
                  </a:lnTo>
                  <a:lnTo>
                    <a:pt x="2408" y="5961"/>
                  </a:lnTo>
                  <a:lnTo>
                    <a:pt x="2557" y="5988"/>
                  </a:lnTo>
                  <a:lnTo>
                    <a:pt x="2708" y="6007"/>
                  </a:lnTo>
                  <a:lnTo>
                    <a:pt x="2861" y="6018"/>
                  </a:lnTo>
                  <a:lnTo>
                    <a:pt x="3016" y="60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62" name="í$ḷiḑè">
              <a:extLst>
                <a:ext uri="{FF2B5EF4-FFF2-40B4-BE49-F238E27FC236}">
                  <a16:creationId xmlns:a16="http://schemas.microsoft.com/office/drawing/2014/main" id="{1914652B-86BF-446C-ACBD-540E7537B473}"/>
                </a:ext>
              </a:extLst>
            </p:cNvPr>
            <p:cNvSpPr/>
            <p:nvPr/>
          </p:nvSpPr>
          <p:spPr bwMode="auto">
            <a:xfrm>
              <a:off x="9243132" y="521368"/>
              <a:ext cx="262524" cy="349494"/>
            </a:xfrm>
            <a:custGeom>
              <a:avLst/>
              <a:gdLst>
                <a:gd name="T0" fmla="*/ 6018 w 12062"/>
                <a:gd name="T1" fmla="*/ 15039 h 16058"/>
                <a:gd name="T2" fmla="*/ 5780 w 12062"/>
                <a:gd name="T3" fmla="*/ 14775 h 16058"/>
                <a:gd name="T4" fmla="*/ 4611 w 12062"/>
                <a:gd name="T5" fmla="*/ 13399 h 16058"/>
                <a:gd name="T6" fmla="*/ 3378 w 12062"/>
                <a:gd name="T7" fmla="*/ 11797 h 16058"/>
                <a:gd name="T8" fmla="*/ 2251 w 12062"/>
                <a:gd name="T9" fmla="*/ 10038 h 16058"/>
                <a:gd name="T10" fmla="*/ 1406 w 12062"/>
                <a:gd name="T11" fmla="*/ 8193 h 16058"/>
                <a:gd name="T12" fmla="*/ 1014 w 12062"/>
                <a:gd name="T13" fmla="*/ 6330 h 16058"/>
                <a:gd name="T14" fmla="*/ 1164 w 12062"/>
                <a:gd name="T15" fmla="*/ 4770 h 16058"/>
                <a:gd name="T16" fmla="*/ 1734 w 12062"/>
                <a:gd name="T17" fmla="*/ 3422 h 16058"/>
                <a:gd name="T18" fmla="*/ 2653 w 12062"/>
                <a:gd name="T19" fmla="*/ 2309 h 16058"/>
                <a:gd name="T20" fmla="*/ 3854 w 12062"/>
                <a:gd name="T21" fmla="*/ 1499 h 16058"/>
                <a:gd name="T22" fmla="*/ 5267 w 12062"/>
                <a:gd name="T23" fmla="*/ 1062 h 16058"/>
                <a:gd name="T24" fmla="*/ 6795 w 12062"/>
                <a:gd name="T25" fmla="*/ 1062 h 16058"/>
                <a:gd name="T26" fmla="*/ 8208 w 12062"/>
                <a:gd name="T27" fmla="*/ 1499 h 16058"/>
                <a:gd name="T28" fmla="*/ 9409 w 12062"/>
                <a:gd name="T29" fmla="*/ 2309 h 16058"/>
                <a:gd name="T30" fmla="*/ 10328 w 12062"/>
                <a:gd name="T31" fmla="*/ 3422 h 16058"/>
                <a:gd name="T32" fmla="*/ 10898 w 12062"/>
                <a:gd name="T33" fmla="*/ 4770 h 16058"/>
                <a:gd name="T34" fmla="*/ 11048 w 12062"/>
                <a:gd name="T35" fmla="*/ 6330 h 16058"/>
                <a:gd name="T36" fmla="*/ 10656 w 12062"/>
                <a:gd name="T37" fmla="*/ 8193 h 16058"/>
                <a:gd name="T38" fmla="*/ 9810 w 12062"/>
                <a:gd name="T39" fmla="*/ 10039 h 16058"/>
                <a:gd name="T40" fmla="*/ 8681 w 12062"/>
                <a:gd name="T41" fmla="*/ 11801 h 16058"/>
                <a:gd name="T42" fmla="*/ 7443 w 12062"/>
                <a:gd name="T43" fmla="*/ 13407 h 16058"/>
                <a:gd name="T44" fmla="*/ 6267 w 12062"/>
                <a:gd name="T45" fmla="*/ 14791 h 16058"/>
                <a:gd name="T46" fmla="*/ 4817 w 12062"/>
                <a:gd name="T47" fmla="*/ 121 h 16058"/>
                <a:gd name="T48" fmla="*/ 3159 w 12062"/>
                <a:gd name="T49" fmla="*/ 722 h 16058"/>
                <a:gd name="T50" fmla="*/ 1768 w 12062"/>
                <a:gd name="T51" fmla="*/ 1753 h 16058"/>
                <a:gd name="T52" fmla="*/ 729 w 12062"/>
                <a:gd name="T53" fmla="*/ 3139 h 16058"/>
                <a:gd name="T54" fmla="*/ 123 w 12062"/>
                <a:gd name="T55" fmla="*/ 4801 h 16058"/>
                <a:gd name="T56" fmla="*/ 34 w 12062"/>
                <a:gd name="T57" fmla="*/ 6682 h 16058"/>
                <a:gd name="T58" fmla="*/ 506 w 12062"/>
                <a:gd name="T59" fmla="*/ 8654 h 16058"/>
                <a:gd name="T60" fmla="*/ 1411 w 12062"/>
                <a:gd name="T61" fmla="*/ 10583 h 16058"/>
                <a:gd name="T62" fmla="*/ 2598 w 12062"/>
                <a:gd name="T63" fmla="*/ 12423 h 16058"/>
                <a:gd name="T64" fmla="*/ 3917 w 12062"/>
                <a:gd name="T65" fmla="*/ 14129 h 16058"/>
                <a:gd name="T66" fmla="*/ 5214 w 12062"/>
                <a:gd name="T67" fmla="*/ 15655 h 16058"/>
                <a:gd name="T68" fmla="*/ 5355 w 12062"/>
                <a:gd name="T69" fmla="*/ 15786 h 16058"/>
                <a:gd name="T70" fmla="*/ 5509 w 12062"/>
                <a:gd name="T71" fmla="*/ 15897 h 16058"/>
                <a:gd name="T72" fmla="*/ 5705 w 12062"/>
                <a:gd name="T73" fmla="*/ 15997 h 16058"/>
                <a:gd name="T74" fmla="*/ 5931 w 12062"/>
                <a:gd name="T75" fmla="*/ 16054 h 16058"/>
                <a:gd name="T76" fmla="*/ 6170 w 12062"/>
                <a:gd name="T77" fmla="*/ 16048 h 16058"/>
                <a:gd name="T78" fmla="*/ 6392 w 12062"/>
                <a:gd name="T79" fmla="*/ 15982 h 16058"/>
                <a:gd name="T80" fmla="*/ 6581 w 12062"/>
                <a:gd name="T81" fmla="*/ 15878 h 16058"/>
                <a:gd name="T82" fmla="*/ 6747 w 12062"/>
                <a:gd name="T83" fmla="*/ 15752 h 16058"/>
                <a:gd name="T84" fmla="*/ 7056 w 12062"/>
                <a:gd name="T85" fmla="*/ 15415 h 16058"/>
                <a:gd name="T86" fmla="*/ 8368 w 12062"/>
                <a:gd name="T87" fmla="*/ 13856 h 16058"/>
                <a:gd name="T88" fmla="*/ 9675 w 12062"/>
                <a:gd name="T89" fmla="*/ 12125 h 16058"/>
                <a:gd name="T90" fmla="*/ 10826 w 12062"/>
                <a:gd name="T91" fmla="*/ 10267 h 16058"/>
                <a:gd name="T92" fmla="*/ 11669 w 12062"/>
                <a:gd name="T93" fmla="*/ 8328 h 16058"/>
                <a:gd name="T94" fmla="*/ 12053 w 12062"/>
                <a:gd name="T95" fmla="*/ 6352 h 16058"/>
                <a:gd name="T96" fmla="*/ 11872 w 12062"/>
                <a:gd name="T97" fmla="*/ 4508 h 16058"/>
                <a:gd name="T98" fmla="*/ 11188 w 12062"/>
                <a:gd name="T99" fmla="*/ 2887 h 16058"/>
                <a:gd name="T100" fmla="*/ 10084 w 12062"/>
                <a:gd name="T101" fmla="*/ 1555 h 16058"/>
                <a:gd name="T102" fmla="*/ 8644 w 12062"/>
                <a:gd name="T103" fmla="*/ 589 h 16058"/>
                <a:gd name="T104" fmla="*/ 6948 w 12062"/>
                <a:gd name="T105" fmla="*/ 68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062" h="16058">
                  <a:moveTo>
                    <a:pt x="6090" y="14996"/>
                  </a:moveTo>
                  <a:lnTo>
                    <a:pt x="6078" y="15005"/>
                  </a:lnTo>
                  <a:lnTo>
                    <a:pt x="6062" y="15018"/>
                  </a:lnTo>
                  <a:lnTo>
                    <a:pt x="6042" y="15032"/>
                  </a:lnTo>
                  <a:lnTo>
                    <a:pt x="6021" y="15045"/>
                  </a:lnTo>
                  <a:lnTo>
                    <a:pt x="6018" y="15039"/>
                  </a:lnTo>
                  <a:lnTo>
                    <a:pt x="6012" y="15032"/>
                  </a:lnTo>
                  <a:lnTo>
                    <a:pt x="6004" y="15024"/>
                  </a:lnTo>
                  <a:lnTo>
                    <a:pt x="5995" y="15015"/>
                  </a:lnTo>
                  <a:lnTo>
                    <a:pt x="5975" y="14996"/>
                  </a:lnTo>
                  <a:lnTo>
                    <a:pt x="5956" y="14978"/>
                  </a:lnTo>
                  <a:lnTo>
                    <a:pt x="5780" y="14775"/>
                  </a:lnTo>
                  <a:lnTo>
                    <a:pt x="5597" y="14565"/>
                  </a:lnTo>
                  <a:lnTo>
                    <a:pt x="5408" y="14346"/>
                  </a:lnTo>
                  <a:lnTo>
                    <a:pt x="5215" y="14120"/>
                  </a:lnTo>
                  <a:lnTo>
                    <a:pt x="5017" y="13886"/>
                  </a:lnTo>
                  <a:lnTo>
                    <a:pt x="4815" y="13646"/>
                  </a:lnTo>
                  <a:lnTo>
                    <a:pt x="4611" y="13399"/>
                  </a:lnTo>
                  <a:lnTo>
                    <a:pt x="4406" y="13145"/>
                  </a:lnTo>
                  <a:lnTo>
                    <a:pt x="4199" y="12887"/>
                  </a:lnTo>
                  <a:lnTo>
                    <a:pt x="3992" y="12622"/>
                  </a:lnTo>
                  <a:lnTo>
                    <a:pt x="3785" y="12352"/>
                  </a:lnTo>
                  <a:lnTo>
                    <a:pt x="3580" y="12077"/>
                  </a:lnTo>
                  <a:lnTo>
                    <a:pt x="3378" y="11797"/>
                  </a:lnTo>
                  <a:lnTo>
                    <a:pt x="3178" y="11513"/>
                  </a:lnTo>
                  <a:lnTo>
                    <a:pt x="2982" y="11225"/>
                  </a:lnTo>
                  <a:lnTo>
                    <a:pt x="2790" y="10932"/>
                  </a:lnTo>
                  <a:lnTo>
                    <a:pt x="2604" y="10637"/>
                  </a:lnTo>
                  <a:lnTo>
                    <a:pt x="2424" y="10339"/>
                  </a:lnTo>
                  <a:lnTo>
                    <a:pt x="2251" y="10038"/>
                  </a:lnTo>
                  <a:lnTo>
                    <a:pt x="2087" y="9734"/>
                  </a:lnTo>
                  <a:lnTo>
                    <a:pt x="1930" y="9429"/>
                  </a:lnTo>
                  <a:lnTo>
                    <a:pt x="1782" y="9122"/>
                  </a:lnTo>
                  <a:lnTo>
                    <a:pt x="1645" y="8813"/>
                  </a:lnTo>
                  <a:lnTo>
                    <a:pt x="1520" y="8504"/>
                  </a:lnTo>
                  <a:lnTo>
                    <a:pt x="1406" y="8193"/>
                  </a:lnTo>
                  <a:lnTo>
                    <a:pt x="1305" y="7881"/>
                  </a:lnTo>
                  <a:lnTo>
                    <a:pt x="1216" y="7570"/>
                  </a:lnTo>
                  <a:lnTo>
                    <a:pt x="1142" y="7259"/>
                  </a:lnTo>
                  <a:lnTo>
                    <a:pt x="1083" y="6948"/>
                  </a:lnTo>
                  <a:lnTo>
                    <a:pt x="1040" y="6639"/>
                  </a:lnTo>
                  <a:lnTo>
                    <a:pt x="1014" y="6330"/>
                  </a:lnTo>
                  <a:lnTo>
                    <a:pt x="1005" y="6023"/>
                  </a:lnTo>
                  <a:lnTo>
                    <a:pt x="1011" y="5765"/>
                  </a:lnTo>
                  <a:lnTo>
                    <a:pt x="1031" y="5510"/>
                  </a:lnTo>
                  <a:lnTo>
                    <a:pt x="1063" y="5259"/>
                  </a:lnTo>
                  <a:lnTo>
                    <a:pt x="1108" y="5012"/>
                  </a:lnTo>
                  <a:lnTo>
                    <a:pt x="1164" y="4770"/>
                  </a:lnTo>
                  <a:lnTo>
                    <a:pt x="1231" y="4532"/>
                  </a:lnTo>
                  <a:lnTo>
                    <a:pt x="1311" y="4299"/>
                  </a:lnTo>
                  <a:lnTo>
                    <a:pt x="1401" y="4071"/>
                  </a:lnTo>
                  <a:lnTo>
                    <a:pt x="1502" y="3849"/>
                  </a:lnTo>
                  <a:lnTo>
                    <a:pt x="1612" y="3632"/>
                  </a:lnTo>
                  <a:lnTo>
                    <a:pt x="1734" y="3422"/>
                  </a:lnTo>
                  <a:lnTo>
                    <a:pt x="1864" y="3219"/>
                  </a:lnTo>
                  <a:lnTo>
                    <a:pt x="2005" y="3022"/>
                  </a:lnTo>
                  <a:lnTo>
                    <a:pt x="2154" y="2832"/>
                  </a:lnTo>
                  <a:lnTo>
                    <a:pt x="2313" y="2650"/>
                  </a:lnTo>
                  <a:lnTo>
                    <a:pt x="2479" y="2475"/>
                  </a:lnTo>
                  <a:lnTo>
                    <a:pt x="2653" y="2309"/>
                  </a:lnTo>
                  <a:lnTo>
                    <a:pt x="2836" y="2151"/>
                  </a:lnTo>
                  <a:lnTo>
                    <a:pt x="3026" y="2002"/>
                  </a:lnTo>
                  <a:lnTo>
                    <a:pt x="3223" y="1862"/>
                  </a:lnTo>
                  <a:lnTo>
                    <a:pt x="3427" y="1731"/>
                  </a:lnTo>
                  <a:lnTo>
                    <a:pt x="3637" y="1610"/>
                  </a:lnTo>
                  <a:lnTo>
                    <a:pt x="3854" y="1499"/>
                  </a:lnTo>
                  <a:lnTo>
                    <a:pt x="4077" y="1399"/>
                  </a:lnTo>
                  <a:lnTo>
                    <a:pt x="4305" y="1309"/>
                  </a:lnTo>
                  <a:lnTo>
                    <a:pt x="4538" y="1229"/>
                  </a:lnTo>
                  <a:lnTo>
                    <a:pt x="4776" y="1162"/>
                  </a:lnTo>
                  <a:lnTo>
                    <a:pt x="5019" y="1106"/>
                  </a:lnTo>
                  <a:lnTo>
                    <a:pt x="5267" y="1062"/>
                  </a:lnTo>
                  <a:lnTo>
                    <a:pt x="5518" y="1030"/>
                  </a:lnTo>
                  <a:lnTo>
                    <a:pt x="5773" y="1010"/>
                  </a:lnTo>
                  <a:lnTo>
                    <a:pt x="6032" y="1004"/>
                  </a:lnTo>
                  <a:lnTo>
                    <a:pt x="6289" y="1010"/>
                  </a:lnTo>
                  <a:lnTo>
                    <a:pt x="6544" y="1030"/>
                  </a:lnTo>
                  <a:lnTo>
                    <a:pt x="6795" y="1062"/>
                  </a:lnTo>
                  <a:lnTo>
                    <a:pt x="7043" y="1106"/>
                  </a:lnTo>
                  <a:lnTo>
                    <a:pt x="7286" y="1162"/>
                  </a:lnTo>
                  <a:lnTo>
                    <a:pt x="7524" y="1229"/>
                  </a:lnTo>
                  <a:lnTo>
                    <a:pt x="7757" y="1309"/>
                  </a:lnTo>
                  <a:lnTo>
                    <a:pt x="7985" y="1399"/>
                  </a:lnTo>
                  <a:lnTo>
                    <a:pt x="8208" y="1499"/>
                  </a:lnTo>
                  <a:lnTo>
                    <a:pt x="8425" y="1610"/>
                  </a:lnTo>
                  <a:lnTo>
                    <a:pt x="8635" y="1731"/>
                  </a:lnTo>
                  <a:lnTo>
                    <a:pt x="8839" y="1862"/>
                  </a:lnTo>
                  <a:lnTo>
                    <a:pt x="9036" y="2002"/>
                  </a:lnTo>
                  <a:lnTo>
                    <a:pt x="9226" y="2151"/>
                  </a:lnTo>
                  <a:lnTo>
                    <a:pt x="9409" y="2309"/>
                  </a:lnTo>
                  <a:lnTo>
                    <a:pt x="9583" y="2475"/>
                  </a:lnTo>
                  <a:lnTo>
                    <a:pt x="9749" y="2650"/>
                  </a:lnTo>
                  <a:lnTo>
                    <a:pt x="9908" y="2832"/>
                  </a:lnTo>
                  <a:lnTo>
                    <a:pt x="10057" y="3022"/>
                  </a:lnTo>
                  <a:lnTo>
                    <a:pt x="10198" y="3219"/>
                  </a:lnTo>
                  <a:lnTo>
                    <a:pt x="10328" y="3422"/>
                  </a:lnTo>
                  <a:lnTo>
                    <a:pt x="10450" y="3632"/>
                  </a:lnTo>
                  <a:lnTo>
                    <a:pt x="10560" y="3849"/>
                  </a:lnTo>
                  <a:lnTo>
                    <a:pt x="10661" y="4071"/>
                  </a:lnTo>
                  <a:lnTo>
                    <a:pt x="10751" y="4299"/>
                  </a:lnTo>
                  <a:lnTo>
                    <a:pt x="10831" y="4532"/>
                  </a:lnTo>
                  <a:lnTo>
                    <a:pt x="10898" y="4770"/>
                  </a:lnTo>
                  <a:lnTo>
                    <a:pt x="10954" y="5012"/>
                  </a:lnTo>
                  <a:lnTo>
                    <a:pt x="10999" y="5259"/>
                  </a:lnTo>
                  <a:lnTo>
                    <a:pt x="11031" y="5510"/>
                  </a:lnTo>
                  <a:lnTo>
                    <a:pt x="11051" y="5765"/>
                  </a:lnTo>
                  <a:lnTo>
                    <a:pt x="11057" y="6023"/>
                  </a:lnTo>
                  <a:lnTo>
                    <a:pt x="11048" y="6330"/>
                  </a:lnTo>
                  <a:lnTo>
                    <a:pt x="11022" y="6639"/>
                  </a:lnTo>
                  <a:lnTo>
                    <a:pt x="10979" y="6948"/>
                  </a:lnTo>
                  <a:lnTo>
                    <a:pt x="10920" y="7259"/>
                  </a:lnTo>
                  <a:lnTo>
                    <a:pt x="10846" y="7570"/>
                  </a:lnTo>
                  <a:lnTo>
                    <a:pt x="10757" y="7881"/>
                  </a:lnTo>
                  <a:lnTo>
                    <a:pt x="10656" y="8193"/>
                  </a:lnTo>
                  <a:lnTo>
                    <a:pt x="10542" y="8504"/>
                  </a:lnTo>
                  <a:lnTo>
                    <a:pt x="10416" y="8814"/>
                  </a:lnTo>
                  <a:lnTo>
                    <a:pt x="10279" y="9122"/>
                  </a:lnTo>
                  <a:lnTo>
                    <a:pt x="10132" y="9430"/>
                  </a:lnTo>
                  <a:lnTo>
                    <a:pt x="9975" y="9735"/>
                  </a:lnTo>
                  <a:lnTo>
                    <a:pt x="9810" y="10039"/>
                  </a:lnTo>
                  <a:lnTo>
                    <a:pt x="9637" y="10340"/>
                  </a:lnTo>
                  <a:lnTo>
                    <a:pt x="9457" y="10639"/>
                  </a:lnTo>
                  <a:lnTo>
                    <a:pt x="9270" y="10934"/>
                  </a:lnTo>
                  <a:lnTo>
                    <a:pt x="9078" y="11227"/>
                  </a:lnTo>
                  <a:lnTo>
                    <a:pt x="8882" y="11516"/>
                  </a:lnTo>
                  <a:lnTo>
                    <a:pt x="8681" y="11801"/>
                  </a:lnTo>
                  <a:lnTo>
                    <a:pt x="8478" y="12081"/>
                  </a:lnTo>
                  <a:lnTo>
                    <a:pt x="8272" y="12357"/>
                  </a:lnTo>
                  <a:lnTo>
                    <a:pt x="8065" y="12628"/>
                  </a:lnTo>
                  <a:lnTo>
                    <a:pt x="7857" y="12893"/>
                  </a:lnTo>
                  <a:lnTo>
                    <a:pt x="7650" y="13154"/>
                  </a:lnTo>
                  <a:lnTo>
                    <a:pt x="7443" y="13407"/>
                  </a:lnTo>
                  <a:lnTo>
                    <a:pt x="7238" y="13655"/>
                  </a:lnTo>
                  <a:lnTo>
                    <a:pt x="7036" y="13897"/>
                  </a:lnTo>
                  <a:lnTo>
                    <a:pt x="6837" y="14132"/>
                  </a:lnTo>
                  <a:lnTo>
                    <a:pt x="6642" y="14359"/>
                  </a:lnTo>
                  <a:lnTo>
                    <a:pt x="6452" y="14579"/>
                  </a:lnTo>
                  <a:lnTo>
                    <a:pt x="6267" y="14791"/>
                  </a:lnTo>
                  <a:lnTo>
                    <a:pt x="6090" y="14996"/>
                  </a:lnTo>
                  <a:close/>
                  <a:moveTo>
                    <a:pt x="6032" y="0"/>
                  </a:moveTo>
                  <a:lnTo>
                    <a:pt x="5721" y="8"/>
                  </a:lnTo>
                  <a:lnTo>
                    <a:pt x="5415" y="31"/>
                  </a:lnTo>
                  <a:lnTo>
                    <a:pt x="5114" y="68"/>
                  </a:lnTo>
                  <a:lnTo>
                    <a:pt x="4817" y="121"/>
                  </a:lnTo>
                  <a:lnTo>
                    <a:pt x="4526" y="188"/>
                  </a:lnTo>
                  <a:lnTo>
                    <a:pt x="4239" y="268"/>
                  </a:lnTo>
                  <a:lnTo>
                    <a:pt x="3959" y="362"/>
                  </a:lnTo>
                  <a:lnTo>
                    <a:pt x="3686" y="470"/>
                  </a:lnTo>
                  <a:lnTo>
                    <a:pt x="3418" y="589"/>
                  </a:lnTo>
                  <a:lnTo>
                    <a:pt x="3159" y="722"/>
                  </a:lnTo>
                  <a:lnTo>
                    <a:pt x="2906" y="865"/>
                  </a:lnTo>
                  <a:lnTo>
                    <a:pt x="2661" y="1021"/>
                  </a:lnTo>
                  <a:lnTo>
                    <a:pt x="2424" y="1188"/>
                  </a:lnTo>
                  <a:lnTo>
                    <a:pt x="2197" y="1366"/>
                  </a:lnTo>
                  <a:lnTo>
                    <a:pt x="1978" y="1555"/>
                  </a:lnTo>
                  <a:lnTo>
                    <a:pt x="1768" y="1753"/>
                  </a:lnTo>
                  <a:lnTo>
                    <a:pt x="1569" y="1962"/>
                  </a:lnTo>
                  <a:lnTo>
                    <a:pt x="1379" y="2180"/>
                  </a:lnTo>
                  <a:lnTo>
                    <a:pt x="1200" y="2407"/>
                  </a:lnTo>
                  <a:lnTo>
                    <a:pt x="1031" y="2643"/>
                  </a:lnTo>
                  <a:lnTo>
                    <a:pt x="874" y="2887"/>
                  </a:lnTo>
                  <a:lnTo>
                    <a:pt x="729" y="3139"/>
                  </a:lnTo>
                  <a:lnTo>
                    <a:pt x="596" y="3399"/>
                  </a:lnTo>
                  <a:lnTo>
                    <a:pt x="474" y="3666"/>
                  </a:lnTo>
                  <a:lnTo>
                    <a:pt x="367" y="3940"/>
                  </a:lnTo>
                  <a:lnTo>
                    <a:pt x="271" y="4221"/>
                  </a:lnTo>
                  <a:lnTo>
                    <a:pt x="190" y="4508"/>
                  </a:lnTo>
                  <a:lnTo>
                    <a:pt x="123" y="4801"/>
                  </a:lnTo>
                  <a:lnTo>
                    <a:pt x="69" y="5099"/>
                  </a:lnTo>
                  <a:lnTo>
                    <a:pt x="31" y="5403"/>
                  </a:lnTo>
                  <a:lnTo>
                    <a:pt x="8" y="5711"/>
                  </a:lnTo>
                  <a:lnTo>
                    <a:pt x="0" y="6023"/>
                  </a:lnTo>
                  <a:lnTo>
                    <a:pt x="9" y="6352"/>
                  </a:lnTo>
                  <a:lnTo>
                    <a:pt x="34" y="6682"/>
                  </a:lnTo>
                  <a:lnTo>
                    <a:pt x="76" y="7012"/>
                  </a:lnTo>
                  <a:lnTo>
                    <a:pt x="134" y="7342"/>
                  </a:lnTo>
                  <a:lnTo>
                    <a:pt x="206" y="7671"/>
                  </a:lnTo>
                  <a:lnTo>
                    <a:pt x="292" y="8000"/>
                  </a:lnTo>
                  <a:lnTo>
                    <a:pt x="393" y="8328"/>
                  </a:lnTo>
                  <a:lnTo>
                    <a:pt x="506" y="8654"/>
                  </a:lnTo>
                  <a:lnTo>
                    <a:pt x="630" y="8980"/>
                  </a:lnTo>
                  <a:lnTo>
                    <a:pt x="767" y="9305"/>
                  </a:lnTo>
                  <a:lnTo>
                    <a:pt x="914" y="9628"/>
                  </a:lnTo>
                  <a:lnTo>
                    <a:pt x="1070" y="9948"/>
                  </a:lnTo>
                  <a:lnTo>
                    <a:pt x="1236" y="10267"/>
                  </a:lnTo>
                  <a:lnTo>
                    <a:pt x="1411" y="10583"/>
                  </a:lnTo>
                  <a:lnTo>
                    <a:pt x="1593" y="10897"/>
                  </a:lnTo>
                  <a:lnTo>
                    <a:pt x="1783" y="11208"/>
                  </a:lnTo>
                  <a:lnTo>
                    <a:pt x="1979" y="11518"/>
                  </a:lnTo>
                  <a:lnTo>
                    <a:pt x="2180" y="11823"/>
                  </a:lnTo>
                  <a:lnTo>
                    <a:pt x="2387" y="12125"/>
                  </a:lnTo>
                  <a:lnTo>
                    <a:pt x="2598" y="12423"/>
                  </a:lnTo>
                  <a:lnTo>
                    <a:pt x="2813" y="12718"/>
                  </a:lnTo>
                  <a:lnTo>
                    <a:pt x="3030" y="13009"/>
                  </a:lnTo>
                  <a:lnTo>
                    <a:pt x="3250" y="13296"/>
                  </a:lnTo>
                  <a:lnTo>
                    <a:pt x="3473" y="13578"/>
                  </a:lnTo>
                  <a:lnTo>
                    <a:pt x="3695" y="13856"/>
                  </a:lnTo>
                  <a:lnTo>
                    <a:pt x="3917" y="14129"/>
                  </a:lnTo>
                  <a:lnTo>
                    <a:pt x="4139" y="14397"/>
                  </a:lnTo>
                  <a:lnTo>
                    <a:pt x="4359" y="14659"/>
                  </a:lnTo>
                  <a:lnTo>
                    <a:pt x="4577" y="14917"/>
                  </a:lnTo>
                  <a:lnTo>
                    <a:pt x="4793" y="15169"/>
                  </a:lnTo>
                  <a:lnTo>
                    <a:pt x="5006" y="15415"/>
                  </a:lnTo>
                  <a:lnTo>
                    <a:pt x="5214" y="15655"/>
                  </a:lnTo>
                  <a:lnTo>
                    <a:pt x="5219" y="15661"/>
                  </a:lnTo>
                  <a:lnTo>
                    <a:pt x="5233" y="15675"/>
                  </a:lnTo>
                  <a:lnTo>
                    <a:pt x="5254" y="15695"/>
                  </a:lnTo>
                  <a:lnTo>
                    <a:pt x="5281" y="15722"/>
                  </a:lnTo>
                  <a:lnTo>
                    <a:pt x="5315" y="15752"/>
                  </a:lnTo>
                  <a:lnTo>
                    <a:pt x="5355" y="15786"/>
                  </a:lnTo>
                  <a:lnTo>
                    <a:pt x="5377" y="15804"/>
                  </a:lnTo>
                  <a:lnTo>
                    <a:pt x="5401" y="15822"/>
                  </a:lnTo>
                  <a:lnTo>
                    <a:pt x="5426" y="15841"/>
                  </a:lnTo>
                  <a:lnTo>
                    <a:pt x="5453" y="15860"/>
                  </a:lnTo>
                  <a:lnTo>
                    <a:pt x="5480" y="15878"/>
                  </a:lnTo>
                  <a:lnTo>
                    <a:pt x="5509" y="15897"/>
                  </a:lnTo>
                  <a:lnTo>
                    <a:pt x="5539" y="15915"/>
                  </a:lnTo>
                  <a:lnTo>
                    <a:pt x="5570" y="15933"/>
                  </a:lnTo>
                  <a:lnTo>
                    <a:pt x="5602" y="15950"/>
                  </a:lnTo>
                  <a:lnTo>
                    <a:pt x="5635" y="15967"/>
                  </a:lnTo>
                  <a:lnTo>
                    <a:pt x="5670" y="15982"/>
                  </a:lnTo>
                  <a:lnTo>
                    <a:pt x="5705" y="15997"/>
                  </a:lnTo>
                  <a:lnTo>
                    <a:pt x="5740" y="16010"/>
                  </a:lnTo>
                  <a:lnTo>
                    <a:pt x="5777" y="16022"/>
                  </a:lnTo>
                  <a:lnTo>
                    <a:pt x="5814" y="16032"/>
                  </a:lnTo>
                  <a:lnTo>
                    <a:pt x="5853" y="16041"/>
                  </a:lnTo>
                  <a:lnTo>
                    <a:pt x="5892" y="16048"/>
                  </a:lnTo>
                  <a:lnTo>
                    <a:pt x="5931" y="16054"/>
                  </a:lnTo>
                  <a:lnTo>
                    <a:pt x="5971" y="16057"/>
                  </a:lnTo>
                  <a:lnTo>
                    <a:pt x="6011" y="16058"/>
                  </a:lnTo>
                  <a:lnTo>
                    <a:pt x="6051" y="16058"/>
                  </a:lnTo>
                  <a:lnTo>
                    <a:pt x="6091" y="16057"/>
                  </a:lnTo>
                  <a:lnTo>
                    <a:pt x="6131" y="16054"/>
                  </a:lnTo>
                  <a:lnTo>
                    <a:pt x="6170" y="16048"/>
                  </a:lnTo>
                  <a:lnTo>
                    <a:pt x="6209" y="16041"/>
                  </a:lnTo>
                  <a:lnTo>
                    <a:pt x="6248" y="16032"/>
                  </a:lnTo>
                  <a:lnTo>
                    <a:pt x="6285" y="16022"/>
                  </a:lnTo>
                  <a:lnTo>
                    <a:pt x="6322" y="16010"/>
                  </a:lnTo>
                  <a:lnTo>
                    <a:pt x="6357" y="15997"/>
                  </a:lnTo>
                  <a:lnTo>
                    <a:pt x="6392" y="15982"/>
                  </a:lnTo>
                  <a:lnTo>
                    <a:pt x="6427" y="15967"/>
                  </a:lnTo>
                  <a:lnTo>
                    <a:pt x="6460" y="15950"/>
                  </a:lnTo>
                  <a:lnTo>
                    <a:pt x="6492" y="15933"/>
                  </a:lnTo>
                  <a:lnTo>
                    <a:pt x="6523" y="15915"/>
                  </a:lnTo>
                  <a:lnTo>
                    <a:pt x="6553" y="15897"/>
                  </a:lnTo>
                  <a:lnTo>
                    <a:pt x="6581" y="15878"/>
                  </a:lnTo>
                  <a:lnTo>
                    <a:pt x="6609" y="15860"/>
                  </a:lnTo>
                  <a:lnTo>
                    <a:pt x="6636" y="15841"/>
                  </a:lnTo>
                  <a:lnTo>
                    <a:pt x="6661" y="15822"/>
                  </a:lnTo>
                  <a:lnTo>
                    <a:pt x="6684" y="15804"/>
                  </a:lnTo>
                  <a:lnTo>
                    <a:pt x="6707" y="15786"/>
                  </a:lnTo>
                  <a:lnTo>
                    <a:pt x="6747" y="15752"/>
                  </a:lnTo>
                  <a:lnTo>
                    <a:pt x="6780" y="15722"/>
                  </a:lnTo>
                  <a:lnTo>
                    <a:pt x="6808" y="15695"/>
                  </a:lnTo>
                  <a:lnTo>
                    <a:pt x="6829" y="15675"/>
                  </a:lnTo>
                  <a:lnTo>
                    <a:pt x="6842" y="15661"/>
                  </a:lnTo>
                  <a:lnTo>
                    <a:pt x="6848" y="15655"/>
                  </a:lnTo>
                  <a:lnTo>
                    <a:pt x="7056" y="15415"/>
                  </a:lnTo>
                  <a:lnTo>
                    <a:pt x="7269" y="15169"/>
                  </a:lnTo>
                  <a:lnTo>
                    <a:pt x="7485" y="14917"/>
                  </a:lnTo>
                  <a:lnTo>
                    <a:pt x="7703" y="14659"/>
                  </a:lnTo>
                  <a:lnTo>
                    <a:pt x="7924" y="14397"/>
                  </a:lnTo>
                  <a:lnTo>
                    <a:pt x="8145" y="14129"/>
                  </a:lnTo>
                  <a:lnTo>
                    <a:pt x="8368" y="13856"/>
                  </a:lnTo>
                  <a:lnTo>
                    <a:pt x="8590" y="13578"/>
                  </a:lnTo>
                  <a:lnTo>
                    <a:pt x="8812" y="13296"/>
                  </a:lnTo>
                  <a:lnTo>
                    <a:pt x="9032" y="13009"/>
                  </a:lnTo>
                  <a:lnTo>
                    <a:pt x="9249" y="12718"/>
                  </a:lnTo>
                  <a:lnTo>
                    <a:pt x="9464" y="12423"/>
                  </a:lnTo>
                  <a:lnTo>
                    <a:pt x="9675" y="12125"/>
                  </a:lnTo>
                  <a:lnTo>
                    <a:pt x="9882" y="11823"/>
                  </a:lnTo>
                  <a:lnTo>
                    <a:pt x="10084" y="11518"/>
                  </a:lnTo>
                  <a:lnTo>
                    <a:pt x="10280" y="11208"/>
                  </a:lnTo>
                  <a:lnTo>
                    <a:pt x="10469" y="10897"/>
                  </a:lnTo>
                  <a:lnTo>
                    <a:pt x="10652" y="10583"/>
                  </a:lnTo>
                  <a:lnTo>
                    <a:pt x="10826" y="10267"/>
                  </a:lnTo>
                  <a:lnTo>
                    <a:pt x="10992" y="9948"/>
                  </a:lnTo>
                  <a:lnTo>
                    <a:pt x="11148" y="9628"/>
                  </a:lnTo>
                  <a:lnTo>
                    <a:pt x="11295" y="9305"/>
                  </a:lnTo>
                  <a:lnTo>
                    <a:pt x="11432" y="8980"/>
                  </a:lnTo>
                  <a:lnTo>
                    <a:pt x="11556" y="8654"/>
                  </a:lnTo>
                  <a:lnTo>
                    <a:pt x="11669" y="8328"/>
                  </a:lnTo>
                  <a:lnTo>
                    <a:pt x="11770" y="8000"/>
                  </a:lnTo>
                  <a:lnTo>
                    <a:pt x="11856" y="7671"/>
                  </a:lnTo>
                  <a:lnTo>
                    <a:pt x="11928" y="7342"/>
                  </a:lnTo>
                  <a:lnTo>
                    <a:pt x="11986" y="7012"/>
                  </a:lnTo>
                  <a:lnTo>
                    <a:pt x="12028" y="6682"/>
                  </a:lnTo>
                  <a:lnTo>
                    <a:pt x="12053" y="6352"/>
                  </a:lnTo>
                  <a:lnTo>
                    <a:pt x="12062" y="6023"/>
                  </a:lnTo>
                  <a:lnTo>
                    <a:pt x="12054" y="5711"/>
                  </a:lnTo>
                  <a:lnTo>
                    <a:pt x="12031" y="5403"/>
                  </a:lnTo>
                  <a:lnTo>
                    <a:pt x="11993" y="5099"/>
                  </a:lnTo>
                  <a:lnTo>
                    <a:pt x="11939" y="4801"/>
                  </a:lnTo>
                  <a:lnTo>
                    <a:pt x="11872" y="4508"/>
                  </a:lnTo>
                  <a:lnTo>
                    <a:pt x="11791" y="4221"/>
                  </a:lnTo>
                  <a:lnTo>
                    <a:pt x="11695" y="3940"/>
                  </a:lnTo>
                  <a:lnTo>
                    <a:pt x="11588" y="3666"/>
                  </a:lnTo>
                  <a:lnTo>
                    <a:pt x="11466" y="3399"/>
                  </a:lnTo>
                  <a:lnTo>
                    <a:pt x="11333" y="3139"/>
                  </a:lnTo>
                  <a:lnTo>
                    <a:pt x="11188" y="2887"/>
                  </a:lnTo>
                  <a:lnTo>
                    <a:pt x="11031" y="2643"/>
                  </a:lnTo>
                  <a:lnTo>
                    <a:pt x="10862" y="2407"/>
                  </a:lnTo>
                  <a:lnTo>
                    <a:pt x="10683" y="2180"/>
                  </a:lnTo>
                  <a:lnTo>
                    <a:pt x="10493" y="1962"/>
                  </a:lnTo>
                  <a:lnTo>
                    <a:pt x="10294" y="1753"/>
                  </a:lnTo>
                  <a:lnTo>
                    <a:pt x="10084" y="1555"/>
                  </a:lnTo>
                  <a:lnTo>
                    <a:pt x="9865" y="1366"/>
                  </a:lnTo>
                  <a:lnTo>
                    <a:pt x="9638" y="1188"/>
                  </a:lnTo>
                  <a:lnTo>
                    <a:pt x="9401" y="1021"/>
                  </a:lnTo>
                  <a:lnTo>
                    <a:pt x="9156" y="865"/>
                  </a:lnTo>
                  <a:lnTo>
                    <a:pt x="8903" y="722"/>
                  </a:lnTo>
                  <a:lnTo>
                    <a:pt x="8644" y="589"/>
                  </a:lnTo>
                  <a:lnTo>
                    <a:pt x="8376" y="470"/>
                  </a:lnTo>
                  <a:lnTo>
                    <a:pt x="8103" y="362"/>
                  </a:lnTo>
                  <a:lnTo>
                    <a:pt x="7823" y="268"/>
                  </a:lnTo>
                  <a:lnTo>
                    <a:pt x="7536" y="188"/>
                  </a:lnTo>
                  <a:lnTo>
                    <a:pt x="7245" y="121"/>
                  </a:lnTo>
                  <a:lnTo>
                    <a:pt x="6948" y="68"/>
                  </a:lnTo>
                  <a:lnTo>
                    <a:pt x="6647" y="31"/>
                  </a:lnTo>
                  <a:lnTo>
                    <a:pt x="6341" y="8"/>
                  </a:lnTo>
                  <a:lnTo>
                    <a:pt x="60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63" name="ï$ḻiḓé">
              <a:extLst>
                <a:ext uri="{FF2B5EF4-FFF2-40B4-BE49-F238E27FC236}">
                  <a16:creationId xmlns:a16="http://schemas.microsoft.com/office/drawing/2014/main" id="{5D77F4FC-FD4B-46BD-863F-819480DB1C5E}"/>
                </a:ext>
              </a:extLst>
            </p:cNvPr>
            <p:cNvSpPr/>
            <p:nvPr/>
          </p:nvSpPr>
          <p:spPr bwMode="auto">
            <a:xfrm>
              <a:off x="5381470" y="2978323"/>
              <a:ext cx="461060" cy="305964"/>
            </a:xfrm>
            <a:custGeom>
              <a:avLst/>
              <a:gdLst>
                <a:gd name="T0" fmla="*/ 503 w 12071"/>
                <a:gd name="T1" fmla="*/ 502 h 8033"/>
                <a:gd name="T2" fmla="*/ 11568 w 12071"/>
                <a:gd name="T3" fmla="*/ 0 h 8033"/>
                <a:gd name="T4" fmla="*/ 452 w 12071"/>
                <a:gd name="T5" fmla="*/ 5 h 8033"/>
                <a:gd name="T6" fmla="*/ 377 w 12071"/>
                <a:gd name="T7" fmla="*/ 18 h 8033"/>
                <a:gd name="T8" fmla="*/ 307 w 12071"/>
                <a:gd name="T9" fmla="*/ 41 h 8033"/>
                <a:gd name="T10" fmla="*/ 242 w 12071"/>
                <a:gd name="T11" fmla="*/ 74 h 8033"/>
                <a:gd name="T12" fmla="*/ 183 w 12071"/>
                <a:gd name="T13" fmla="*/ 116 h 8033"/>
                <a:gd name="T14" fmla="*/ 131 w 12071"/>
                <a:gd name="T15" fmla="*/ 166 h 8033"/>
                <a:gd name="T16" fmla="*/ 85 w 12071"/>
                <a:gd name="T17" fmla="*/ 222 h 8033"/>
                <a:gd name="T18" fmla="*/ 49 w 12071"/>
                <a:gd name="T19" fmla="*/ 284 h 8033"/>
                <a:gd name="T20" fmla="*/ 22 w 12071"/>
                <a:gd name="T21" fmla="*/ 353 h 8033"/>
                <a:gd name="T22" fmla="*/ 6 w 12071"/>
                <a:gd name="T23" fmla="*/ 426 h 8033"/>
                <a:gd name="T24" fmla="*/ 0 w 12071"/>
                <a:gd name="T25" fmla="*/ 502 h 8033"/>
                <a:gd name="T26" fmla="*/ 3 w 12071"/>
                <a:gd name="T27" fmla="*/ 7582 h 8033"/>
                <a:gd name="T28" fmla="*/ 16 w 12071"/>
                <a:gd name="T29" fmla="*/ 7656 h 8033"/>
                <a:gd name="T30" fmla="*/ 39 w 12071"/>
                <a:gd name="T31" fmla="*/ 7726 h 8033"/>
                <a:gd name="T32" fmla="*/ 72 w 12071"/>
                <a:gd name="T33" fmla="*/ 7792 h 8033"/>
                <a:gd name="T34" fmla="*/ 115 w 12071"/>
                <a:gd name="T35" fmla="*/ 7850 h 8033"/>
                <a:gd name="T36" fmla="*/ 165 w 12071"/>
                <a:gd name="T37" fmla="*/ 7902 h 8033"/>
                <a:gd name="T38" fmla="*/ 221 w 12071"/>
                <a:gd name="T39" fmla="*/ 7947 h 8033"/>
                <a:gd name="T40" fmla="*/ 285 w 12071"/>
                <a:gd name="T41" fmla="*/ 7983 h 8033"/>
                <a:gd name="T42" fmla="*/ 353 w 12071"/>
                <a:gd name="T43" fmla="*/ 8011 h 8033"/>
                <a:gd name="T44" fmla="*/ 426 w 12071"/>
                <a:gd name="T45" fmla="*/ 8027 h 8033"/>
                <a:gd name="T46" fmla="*/ 503 w 12071"/>
                <a:gd name="T47" fmla="*/ 8033 h 8033"/>
                <a:gd name="T48" fmla="*/ 11619 w 12071"/>
                <a:gd name="T49" fmla="*/ 8030 h 8033"/>
                <a:gd name="T50" fmla="*/ 11694 w 12071"/>
                <a:gd name="T51" fmla="*/ 8017 h 8033"/>
                <a:gd name="T52" fmla="*/ 11764 w 12071"/>
                <a:gd name="T53" fmla="*/ 7994 h 8033"/>
                <a:gd name="T54" fmla="*/ 11829 w 12071"/>
                <a:gd name="T55" fmla="*/ 7960 h 8033"/>
                <a:gd name="T56" fmla="*/ 11888 w 12071"/>
                <a:gd name="T57" fmla="*/ 7918 h 8033"/>
                <a:gd name="T58" fmla="*/ 11940 w 12071"/>
                <a:gd name="T59" fmla="*/ 7868 h 8033"/>
                <a:gd name="T60" fmla="*/ 11986 w 12071"/>
                <a:gd name="T61" fmla="*/ 7812 h 8033"/>
                <a:gd name="T62" fmla="*/ 12022 w 12071"/>
                <a:gd name="T63" fmla="*/ 7749 h 8033"/>
                <a:gd name="T64" fmla="*/ 12049 w 12071"/>
                <a:gd name="T65" fmla="*/ 7680 h 8033"/>
                <a:gd name="T66" fmla="*/ 12065 w 12071"/>
                <a:gd name="T67" fmla="*/ 7607 h 8033"/>
                <a:gd name="T68" fmla="*/ 12071 w 12071"/>
                <a:gd name="T69" fmla="*/ 7531 h 8033"/>
                <a:gd name="T70" fmla="*/ 12068 w 12071"/>
                <a:gd name="T71" fmla="*/ 451 h 8033"/>
                <a:gd name="T72" fmla="*/ 12055 w 12071"/>
                <a:gd name="T73" fmla="*/ 377 h 8033"/>
                <a:gd name="T74" fmla="*/ 12032 w 12071"/>
                <a:gd name="T75" fmla="*/ 306 h 8033"/>
                <a:gd name="T76" fmla="*/ 11999 w 12071"/>
                <a:gd name="T77" fmla="*/ 242 h 8033"/>
                <a:gd name="T78" fmla="*/ 11956 w 12071"/>
                <a:gd name="T79" fmla="*/ 183 h 8033"/>
                <a:gd name="T80" fmla="*/ 11906 w 12071"/>
                <a:gd name="T81" fmla="*/ 131 h 8033"/>
                <a:gd name="T82" fmla="*/ 11850 w 12071"/>
                <a:gd name="T83" fmla="*/ 85 h 8033"/>
                <a:gd name="T84" fmla="*/ 11786 w 12071"/>
                <a:gd name="T85" fmla="*/ 49 h 8033"/>
                <a:gd name="T86" fmla="*/ 11718 w 12071"/>
                <a:gd name="T87" fmla="*/ 22 h 8033"/>
                <a:gd name="T88" fmla="*/ 11645 w 12071"/>
                <a:gd name="T89" fmla="*/ 6 h 8033"/>
                <a:gd name="T90" fmla="*/ 11568 w 12071"/>
                <a:gd name="T91" fmla="*/ 0 h 8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071" h="8033">
                  <a:moveTo>
                    <a:pt x="11568" y="7533"/>
                  </a:moveTo>
                  <a:lnTo>
                    <a:pt x="503" y="7533"/>
                  </a:lnTo>
                  <a:lnTo>
                    <a:pt x="503" y="502"/>
                  </a:lnTo>
                  <a:lnTo>
                    <a:pt x="11568" y="502"/>
                  </a:lnTo>
                  <a:lnTo>
                    <a:pt x="11568" y="7533"/>
                  </a:lnTo>
                  <a:close/>
                  <a:moveTo>
                    <a:pt x="11568" y="0"/>
                  </a:moveTo>
                  <a:lnTo>
                    <a:pt x="503" y="2"/>
                  </a:lnTo>
                  <a:lnTo>
                    <a:pt x="477" y="3"/>
                  </a:lnTo>
                  <a:lnTo>
                    <a:pt x="452" y="5"/>
                  </a:lnTo>
                  <a:lnTo>
                    <a:pt x="426" y="8"/>
                  </a:lnTo>
                  <a:lnTo>
                    <a:pt x="401" y="12"/>
                  </a:lnTo>
                  <a:lnTo>
                    <a:pt x="377" y="18"/>
                  </a:lnTo>
                  <a:lnTo>
                    <a:pt x="353" y="24"/>
                  </a:lnTo>
                  <a:lnTo>
                    <a:pt x="330" y="32"/>
                  </a:lnTo>
                  <a:lnTo>
                    <a:pt x="307" y="41"/>
                  </a:lnTo>
                  <a:lnTo>
                    <a:pt x="285" y="51"/>
                  </a:lnTo>
                  <a:lnTo>
                    <a:pt x="263" y="62"/>
                  </a:lnTo>
                  <a:lnTo>
                    <a:pt x="242" y="74"/>
                  </a:lnTo>
                  <a:lnTo>
                    <a:pt x="221" y="87"/>
                  </a:lnTo>
                  <a:lnTo>
                    <a:pt x="202" y="102"/>
                  </a:lnTo>
                  <a:lnTo>
                    <a:pt x="183" y="116"/>
                  </a:lnTo>
                  <a:lnTo>
                    <a:pt x="165" y="132"/>
                  </a:lnTo>
                  <a:lnTo>
                    <a:pt x="147" y="148"/>
                  </a:lnTo>
                  <a:lnTo>
                    <a:pt x="131" y="166"/>
                  </a:lnTo>
                  <a:lnTo>
                    <a:pt x="115" y="184"/>
                  </a:lnTo>
                  <a:lnTo>
                    <a:pt x="99" y="202"/>
                  </a:lnTo>
                  <a:lnTo>
                    <a:pt x="85" y="222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4"/>
                  </a:lnTo>
                  <a:lnTo>
                    <a:pt x="39" y="307"/>
                  </a:lnTo>
                  <a:lnTo>
                    <a:pt x="30" y="329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1"/>
                  </a:lnTo>
                  <a:lnTo>
                    <a:pt x="1" y="476"/>
                  </a:lnTo>
                  <a:lnTo>
                    <a:pt x="0" y="502"/>
                  </a:lnTo>
                  <a:lnTo>
                    <a:pt x="0" y="7531"/>
                  </a:lnTo>
                  <a:lnTo>
                    <a:pt x="1" y="7557"/>
                  </a:lnTo>
                  <a:lnTo>
                    <a:pt x="3" y="7582"/>
                  </a:lnTo>
                  <a:lnTo>
                    <a:pt x="6" y="7607"/>
                  </a:lnTo>
                  <a:lnTo>
                    <a:pt x="10" y="7632"/>
                  </a:lnTo>
                  <a:lnTo>
                    <a:pt x="16" y="7656"/>
                  </a:lnTo>
                  <a:lnTo>
                    <a:pt x="22" y="7680"/>
                  </a:lnTo>
                  <a:lnTo>
                    <a:pt x="30" y="7703"/>
                  </a:lnTo>
                  <a:lnTo>
                    <a:pt x="39" y="7726"/>
                  </a:lnTo>
                  <a:lnTo>
                    <a:pt x="49" y="7749"/>
                  </a:lnTo>
                  <a:lnTo>
                    <a:pt x="60" y="7771"/>
                  </a:lnTo>
                  <a:lnTo>
                    <a:pt x="72" y="7792"/>
                  </a:lnTo>
                  <a:lnTo>
                    <a:pt x="85" y="7812"/>
                  </a:lnTo>
                  <a:lnTo>
                    <a:pt x="99" y="7831"/>
                  </a:lnTo>
                  <a:lnTo>
                    <a:pt x="115" y="7850"/>
                  </a:lnTo>
                  <a:lnTo>
                    <a:pt x="131" y="7868"/>
                  </a:lnTo>
                  <a:lnTo>
                    <a:pt x="147" y="7886"/>
                  </a:lnTo>
                  <a:lnTo>
                    <a:pt x="165" y="7902"/>
                  </a:lnTo>
                  <a:lnTo>
                    <a:pt x="183" y="7918"/>
                  </a:lnTo>
                  <a:lnTo>
                    <a:pt x="202" y="7933"/>
                  </a:lnTo>
                  <a:lnTo>
                    <a:pt x="221" y="7947"/>
                  </a:lnTo>
                  <a:lnTo>
                    <a:pt x="242" y="7960"/>
                  </a:lnTo>
                  <a:lnTo>
                    <a:pt x="263" y="7972"/>
                  </a:lnTo>
                  <a:lnTo>
                    <a:pt x="285" y="7983"/>
                  </a:lnTo>
                  <a:lnTo>
                    <a:pt x="307" y="7994"/>
                  </a:lnTo>
                  <a:lnTo>
                    <a:pt x="330" y="8003"/>
                  </a:lnTo>
                  <a:lnTo>
                    <a:pt x="353" y="8011"/>
                  </a:lnTo>
                  <a:lnTo>
                    <a:pt x="377" y="8017"/>
                  </a:lnTo>
                  <a:lnTo>
                    <a:pt x="401" y="8023"/>
                  </a:lnTo>
                  <a:lnTo>
                    <a:pt x="426" y="8027"/>
                  </a:lnTo>
                  <a:lnTo>
                    <a:pt x="452" y="8030"/>
                  </a:lnTo>
                  <a:lnTo>
                    <a:pt x="477" y="8032"/>
                  </a:lnTo>
                  <a:lnTo>
                    <a:pt x="503" y="8033"/>
                  </a:lnTo>
                  <a:lnTo>
                    <a:pt x="11568" y="8033"/>
                  </a:lnTo>
                  <a:lnTo>
                    <a:pt x="11594" y="8032"/>
                  </a:lnTo>
                  <a:lnTo>
                    <a:pt x="11619" y="8030"/>
                  </a:lnTo>
                  <a:lnTo>
                    <a:pt x="11645" y="8027"/>
                  </a:lnTo>
                  <a:lnTo>
                    <a:pt x="11670" y="8023"/>
                  </a:lnTo>
                  <a:lnTo>
                    <a:pt x="11694" y="8017"/>
                  </a:lnTo>
                  <a:lnTo>
                    <a:pt x="11718" y="8011"/>
                  </a:lnTo>
                  <a:lnTo>
                    <a:pt x="11741" y="8003"/>
                  </a:lnTo>
                  <a:lnTo>
                    <a:pt x="11764" y="7994"/>
                  </a:lnTo>
                  <a:lnTo>
                    <a:pt x="11786" y="7983"/>
                  </a:lnTo>
                  <a:lnTo>
                    <a:pt x="11809" y="7972"/>
                  </a:lnTo>
                  <a:lnTo>
                    <a:pt x="11829" y="7960"/>
                  </a:lnTo>
                  <a:lnTo>
                    <a:pt x="11850" y="7947"/>
                  </a:lnTo>
                  <a:lnTo>
                    <a:pt x="11869" y="7933"/>
                  </a:lnTo>
                  <a:lnTo>
                    <a:pt x="11888" y="7918"/>
                  </a:lnTo>
                  <a:lnTo>
                    <a:pt x="11906" y="7902"/>
                  </a:lnTo>
                  <a:lnTo>
                    <a:pt x="11924" y="7886"/>
                  </a:lnTo>
                  <a:lnTo>
                    <a:pt x="11940" y="7868"/>
                  </a:lnTo>
                  <a:lnTo>
                    <a:pt x="11956" y="7850"/>
                  </a:lnTo>
                  <a:lnTo>
                    <a:pt x="11972" y="7831"/>
                  </a:lnTo>
                  <a:lnTo>
                    <a:pt x="11986" y="7812"/>
                  </a:lnTo>
                  <a:lnTo>
                    <a:pt x="11999" y="7792"/>
                  </a:lnTo>
                  <a:lnTo>
                    <a:pt x="12011" y="7771"/>
                  </a:lnTo>
                  <a:lnTo>
                    <a:pt x="12022" y="7749"/>
                  </a:lnTo>
                  <a:lnTo>
                    <a:pt x="12032" y="7726"/>
                  </a:lnTo>
                  <a:lnTo>
                    <a:pt x="12041" y="7703"/>
                  </a:lnTo>
                  <a:lnTo>
                    <a:pt x="12049" y="7680"/>
                  </a:lnTo>
                  <a:lnTo>
                    <a:pt x="12055" y="7656"/>
                  </a:lnTo>
                  <a:lnTo>
                    <a:pt x="12061" y="7632"/>
                  </a:lnTo>
                  <a:lnTo>
                    <a:pt x="12065" y="7607"/>
                  </a:lnTo>
                  <a:lnTo>
                    <a:pt x="12068" y="7582"/>
                  </a:lnTo>
                  <a:lnTo>
                    <a:pt x="12070" y="7557"/>
                  </a:lnTo>
                  <a:lnTo>
                    <a:pt x="12071" y="7531"/>
                  </a:lnTo>
                  <a:lnTo>
                    <a:pt x="12071" y="502"/>
                  </a:lnTo>
                  <a:lnTo>
                    <a:pt x="12070" y="476"/>
                  </a:lnTo>
                  <a:lnTo>
                    <a:pt x="12068" y="451"/>
                  </a:lnTo>
                  <a:lnTo>
                    <a:pt x="12065" y="426"/>
                  </a:lnTo>
                  <a:lnTo>
                    <a:pt x="12061" y="401"/>
                  </a:lnTo>
                  <a:lnTo>
                    <a:pt x="12055" y="377"/>
                  </a:lnTo>
                  <a:lnTo>
                    <a:pt x="12049" y="353"/>
                  </a:lnTo>
                  <a:lnTo>
                    <a:pt x="12041" y="329"/>
                  </a:lnTo>
                  <a:lnTo>
                    <a:pt x="12032" y="306"/>
                  </a:lnTo>
                  <a:lnTo>
                    <a:pt x="12022" y="284"/>
                  </a:lnTo>
                  <a:lnTo>
                    <a:pt x="12011" y="263"/>
                  </a:lnTo>
                  <a:lnTo>
                    <a:pt x="11999" y="242"/>
                  </a:lnTo>
                  <a:lnTo>
                    <a:pt x="11986" y="221"/>
                  </a:lnTo>
                  <a:lnTo>
                    <a:pt x="11972" y="202"/>
                  </a:lnTo>
                  <a:lnTo>
                    <a:pt x="11956" y="183"/>
                  </a:lnTo>
                  <a:lnTo>
                    <a:pt x="11940" y="165"/>
                  </a:lnTo>
                  <a:lnTo>
                    <a:pt x="11924" y="147"/>
                  </a:lnTo>
                  <a:lnTo>
                    <a:pt x="11906" y="131"/>
                  </a:lnTo>
                  <a:lnTo>
                    <a:pt x="11888" y="115"/>
                  </a:lnTo>
                  <a:lnTo>
                    <a:pt x="11869" y="100"/>
                  </a:lnTo>
                  <a:lnTo>
                    <a:pt x="11850" y="85"/>
                  </a:lnTo>
                  <a:lnTo>
                    <a:pt x="11829" y="72"/>
                  </a:lnTo>
                  <a:lnTo>
                    <a:pt x="11809" y="60"/>
                  </a:lnTo>
                  <a:lnTo>
                    <a:pt x="11786" y="49"/>
                  </a:lnTo>
                  <a:lnTo>
                    <a:pt x="11764" y="39"/>
                  </a:lnTo>
                  <a:lnTo>
                    <a:pt x="11741" y="30"/>
                  </a:lnTo>
                  <a:lnTo>
                    <a:pt x="11718" y="22"/>
                  </a:lnTo>
                  <a:lnTo>
                    <a:pt x="11694" y="16"/>
                  </a:lnTo>
                  <a:lnTo>
                    <a:pt x="11670" y="10"/>
                  </a:lnTo>
                  <a:lnTo>
                    <a:pt x="11645" y="6"/>
                  </a:lnTo>
                  <a:lnTo>
                    <a:pt x="11619" y="3"/>
                  </a:lnTo>
                  <a:lnTo>
                    <a:pt x="11594" y="1"/>
                  </a:lnTo>
                  <a:lnTo>
                    <a:pt x="1156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64" name="iš1íḋé">
              <a:extLst>
                <a:ext uri="{FF2B5EF4-FFF2-40B4-BE49-F238E27FC236}">
                  <a16:creationId xmlns:a16="http://schemas.microsoft.com/office/drawing/2014/main" id="{175458FE-1523-467B-921D-7874F6BB8674}"/>
                </a:ext>
              </a:extLst>
            </p:cNvPr>
            <p:cNvSpPr/>
            <p:nvPr/>
          </p:nvSpPr>
          <p:spPr bwMode="auto">
            <a:xfrm>
              <a:off x="5305332" y="2902185"/>
              <a:ext cx="613337" cy="573859"/>
            </a:xfrm>
            <a:custGeom>
              <a:avLst/>
              <a:gdLst>
                <a:gd name="T0" fmla="*/ 15066 w 16095"/>
                <a:gd name="T1" fmla="*/ 11696 h 15059"/>
                <a:gd name="T2" fmla="*/ 14988 w 16095"/>
                <a:gd name="T3" fmla="*/ 11847 h 15059"/>
                <a:gd name="T4" fmla="*/ 14867 w 16095"/>
                <a:gd name="T5" fmla="*/ 11963 h 15059"/>
                <a:gd name="T6" fmla="*/ 14712 w 16095"/>
                <a:gd name="T7" fmla="*/ 12033 h 15059"/>
                <a:gd name="T8" fmla="*/ 6036 w 16095"/>
                <a:gd name="T9" fmla="*/ 12049 h 15059"/>
                <a:gd name="T10" fmla="*/ 1359 w 16095"/>
                <a:gd name="T11" fmla="*/ 12027 h 15059"/>
                <a:gd name="T12" fmla="*/ 1208 w 16095"/>
                <a:gd name="T13" fmla="*/ 11949 h 15059"/>
                <a:gd name="T14" fmla="*/ 1091 w 16095"/>
                <a:gd name="T15" fmla="*/ 11828 h 15059"/>
                <a:gd name="T16" fmla="*/ 1022 w 16095"/>
                <a:gd name="T17" fmla="*/ 11672 h 15059"/>
                <a:gd name="T18" fmla="*/ 1007 w 16095"/>
                <a:gd name="T19" fmla="*/ 1480 h 15059"/>
                <a:gd name="T20" fmla="*/ 1045 w 16095"/>
                <a:gd name="T21" fmla="*/ 1310 h 15059"/>
                <a:gd name="T22" fmla="*/ 1137 w 16095"/>
                <a:gd name="T23" fmla="*/ 1169 h 15059"/>
                <a:gd name="T24" fmla="*/ 1268 w 16095"/>
                <a:gd name="T25" fmla="*/ 1064 h 15059"/>
                <a:gd name="T26" fmla="*/ 1432 w 16095"/>
                <a:gd name="T27" fmla="*/ 1010 h 15059"/>
                <a:gd name="T28" fmla="*/ 14663 w 16095"/>
                <a:gd name="T29" fmla="*/ 1010 h 15059"/>
                <a:gd name="T30" fmla="*/ 14826 w 16095"/>
                <a:gd name="T31" fmla="*/ 1064 h 15059"/>
                <a:gd name="T32" fmla="*/ 14958 w 16095"/>
                <a:gd name="T33" fmla="*/ 1169 h 15059"/>
                <a:gd name="T34" fmla="*/ 15050 w 16095"/>
                <a:gd name="T35" fmla="*/ 1310 h 15059"/>
                <a:gd name="T36" fmla="*/ 15088 w 16095"/>
                <a:gd name="T37" fmla="*/ 1480 h 15059"/>
                <a:gd name="T38" fmla="*/ 1279 w 16095"/>
                <a:gd name="T39" fmla="*/ 17 h 15059"/>
                <a:gd name="T40" fmla="*/ 790 w 16095"/>
                <a:gd name="T41" fmla="*/ 182 h 15059"/>
                <a:gd name="T42" fmla="*/ 391 w 16095"/>
                <a:gd name="T43" fmla="*/ 493 h 15059"/>
                <a:gd name="T44" fmla="*/ 119 w 16095"/>
                <a:gd name="T45" fmla="*/ 920 h 15059"/>
                <a:gd name="T46" fmla="*/ 2 w 16095"/>
                <a:gd name="T47" fmla="*/ 1429 h 15059"/>
                <a:gd name="T48" fmla="*/ 47 w 16095"/>
                <a:gd name="T49" fmla="*/ 11922 h 15059"/>
                <a:gd name="T50" fmla="*/ 257 w 16095"/>
                <a:gd name="T51" fmla="*/ 12387 h 15059"/>
                <a:gd name="T52" fmla="*/ 604 w 16095"/>
                <a:gd name="T53" fmla="*/ 12752 h 15059"/>
                <a:gd name="T54" fmla="*/ 1056 w 16095"/>
                <a:gd name="T55" fmla="*/ 12984 h 15059"/>
                <a:gd name="T56" fmla="*/ 6539 w 16095"/>
                <a:gd name="T57" fmla="*/ 13053 h 15059"/>
                <a:gd name="T58" fmla="*/ 3299 w 16095"/>
                <a:gd name="T59" fmla="*/ 14106 h 15059"/>
                <a:gd name="T60" fmla="*/ 3180 w 16095"/>
                <a:gd name="T61" fmla="*/ 14188 h 15059"/>
                <a:gd name="T62" fmla="*/ 3089 w 16095"/>
                <a:gd name="T63" fmla="*/ 14299 h 15059"/>
                <a:gd name="T64" fmla="*/ 3034 w 16095"/>
                <a:gd name="T65" fmla="*/ 14431 h 15059"/>
                <a:gd name="T66" fmla="*/ 3019 w 16095"/>
                <a:gd name="T67" fmla="*/ 14583 h 15059"/>
                <a:gd name="T68" fmla="*/ 3057 w 16095"/>
                <a:gd name="T69" fmla="*/ 14753 h 15059"/>
                <a:gd name="T70" fmla="*/ 3149 w 16095"/>
                <a:gd name="T71" fmla="*/ 14894 h 15059"/>
                <a:gd name="T72" fmla="*/ 3280 w 16095"/>
                <a:gd name="T73" fmla="*/ 14999 h 15059"/>
                <a:gd name="T74" fmla="*/ 3444 w 16095"/>
                <a:gd name="T75" fmla="*/ 15053 h 15059"/>
                <a:gd name="T76" fmla="*/ 12651 w 16095"/>
                <a:gd name="T77" fmla="*/ 15053 h 15059"/>
                <a:gd name="T78" fmla="*/ 12814 w 16095"/>
                <a:gd name="T79" fmla="*/ 14999 h 15059"/>
                <a:gd name="T80" fmla="*/ 12946 w 16095"/>
                <a:gd name="T81" fmla="*/ 14894 h 15059"/>
                <a:gd name="T82" fmla="*/ 13038 w 16095"/>
                <a:gd name="T83" fmla="*/ 14753 h 15059"/>
                <a:gd name="T84" fmla="*/ 13076 w 16095"/>
                <a:gd name="T85" fmla="*/ 14583 h 15059"/>
                <a:gd name="T86" fmla="*/ 13061 w 16095"/>
                <a:gd name="T87" fmla="*/ 14431 h 15059"/>
                <a:gd name="T88" fmla="*/ 13006 w 16095"/>
                <a:gd name="T89" fmla="*/ 14299 h 15059"/>
                <a:gd name="T90" fmla="*/ 12915 w 16095"/>
                <a:gd name="T91" fmla="*/ 14188 h 15059"/>
                <a:gd name="T92" fmla="*/ 12796 w 16095"/>
                <a:gd name="T93" fmla="*/ 14106 h 15059"/>
                <a:gd name="T94" fmla="*/ 9556 w 16095"/>
                <a:gd name="T95" fmla="*/ 13053 h 15059"/>
                <a:gd name="T96" fmla="*/ 15039 w 16095"/>
                <a:gd name="T97" fmla="*/ 12984 h 15059"/>
                <a:gd name="T98" fmla="*/ 15491 w 16095"/>
                <a:gd name="T99" fmla="*/ 12752 h 15059"/>
                <a:gd name="T100" fmla="*/ 15838 w 16095"/>
                <a:gd name="T101" fmla="*/ 12387 h 15059"/>
                <a:gd name="T102" fmla="*/ 16048 w 16095"/>
                <a:gd name="T103" fmla="*/ 11922 h 15059"/>
                <a:gd name="T104" fmla="*/ 16093 w 16095"/>
                <a:gd name="T105" fmla="*/ 1429 h 15059"/>
                <a:gd name="T106" fmla="*/ 15976 w 16095"/>
                <a:gd name="T107" fmla="*/ 920 h 15059"/>
                <a:gd name="T108" fmla="*/ 15703 w 16095"/>
                <a:gd name="T109" fmla="*/ 493 h 15059"/>
                <a:gd name="T110" fmla="*/ 15305 w 16095"/>
                <a:gd name="T111" fmla="*/ 182 h 15059"/>
                <a:gd name="T112" fmla="*/ 14815 w 16095"/>
                <a:gd name="T113" fmla="*/ 17 h 15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5059">
                  <a:moveTo>
                    <a:pt x="15089" y="11547"/>
                  </a:moveTo>
                  <a:lnTo>
                    <a:pt x="15088" y="11573"/>
                  </a:lnTo>
                  <a:lnTo>
                    <a:pt x="15086" y="11598"/>
                  </a:lnTo>
                  <a:lnTo>
                    <a:pt x="15083" y="11623"/>
                  </a:lnTo>
                  <a:lnTo>
                    <a:pt x="15079" y="11648"/>
                  </a:lnTo>
                  <a:lnTo>
                    <a:pt x="15073" y="11672"/>
                  </a:lnTo>
                  <a:lnTo>
                    <a:pt x="15066" y="11696"/>
                  </a:lnTo>
                  <a:lnTo>
                    <a:pt x="15059" y="11719"/>
                  </a:lnTo>
                  <a:lnTo>
                    <a:pt x="15050" y="11743"/>
                  </a:lnTo>
                  <a:lnTo>
                    <a:pt x="15040" y="11765"/>
                  </a:lnTo>
                  <a:lnTo>
                    <a:pt x="15029" y="11786"/>
                  </a:lnTo>
                  <a:lnTo>
                    <a:pt x="15016" y="11807"/>
                  </a:lnTo>
                  <a:lnTo>
                    <a:pt x="15003" y="11828"/>
                  </a:lnTo>
                  <a:lnTo>
                    <a:pt x="14988" y="11847"/>
                  </a:lnTo>
                  <a:lnTo>
                    <a:pt x="14974" y="11866"/>
                  </a:lnTo>
                  <a:lnTo>
                    <a:pt x="14958" y="11884"/>
                  </a:lnTo>
                  <a:lnTo>
                    <a:pt x="14941" y="11902"/>
                  </a:lnTo>
                  <a:lnTo>
                    <a:pt x="14924" y="11918"/>
                  </a:lnTo>
                  <a:lnTo>
                    <a:pt x="14906" y="11934"/>
                  </a:lnTo>
                  <a:lnTo>
                    <a:pt x="14887" y="11949"/>
                  </a:lnTo>
                  <a:lnTo>
                    <a:pt x="14867" y="11963"/>
                  </a:lnTo>
                  <a:lnTo>
                    <a:pt x="14847" y="11977"/>
                  </a:lnTo>
                  <a:lnTo>
                    <a:pt x="14826" y="11989"/>
                  </a:lnTo>
                  <a:lnTo>
                    <a:pt x="14803" y="12000"/>
                  </a:lnTo>
                  <a:lnTo>
                    <a:pt x="14781" y="12010"/>
                  </a:lnTo>
                  <a:lnTo>
                    <a:pt x="14759" y="12019"/>
                  </a:lnTo>
                  <a:lnTo>
                    <a:pt x="14735" y="12027"/>
                  </a:lnTo>
                  <a:lnTo>
                    <a:pt x="14712" y="12033"/>
                  </a:lnTo>
                  <a:lnTo>
                    <a:pt x="14687" y="12039"/>
                  </a:lnTo>
                  <a:lnTo>
                    <a:pt x="14663" y="12043"/>
                  </a:lnTo>
                  <a:lnTo>
                    <a:pt x="14637" y="12047"/>
                  </a:lnTo>
                  <a:lnTo>
                    <a:pt x="14612" y="12048"/>
                  </a:lnTo>
                  <a:lnTo>
                    <a:pt x="14586" y="12049"/>
                  </a:lnTo>
                  <a:lnTo>
                    <a:pt x="10059" y="12049"/>
                  </a:lnTo>
                  <a:lnTo>
                    <a:pt x="6036" y="12049"/>
                  </a:lnTo>
                  <a:lnTo>
                    <a:pt x="1509" y="12049"/>
                  </a:lnTo>
                  <a:lnTo>
                    <a:pt x="1483" y="12048"/>
                  </a:lnTo>
                  <a:lnTo>
                    <a:pt x="1458" y="12047"/>
                  </a:lnTo>
                  <a:lnTo>
                    <a:pt x="1432" y="12043"/>
                  </a:lnTo>
                  <a:lnTo>
                    <a:pt x="1407" y="12039"/>
                  </a:lnTo>
                  <a:lnTo>
                    <a:pt x="1383" y="12033"/>
                  </a:lnTo>
                  <a:lnTo>
                    <a:pt x="1359" y="12027"/>
                  </a:lnTo>
                  <a:lnTo>
                    <a:pt x="1336" y="12019"/>
                  </a:lnTo>
                  <a:lnTo>
                    <a:pt x="1313" y="12010"/>
                  </a:lnTo>
                  <a:lnTo>
                    <a:pt x="1291" y="12000"/>
                  </a:lnTo>
                  <a:lnTo>
                    <a:pt x="1268" y="11989"/>
                  </a:lnTo>
                  <a:lnTo>
                    <a:pt x="1248" y="11977"/>
                  </a:lnTo>
                  <a:lnTo>
                    <a:pt x="1227" y="11963"/>
                  </a:lnTo>
                  <a:lnTo>
                    <a:pt x="1208" y="11949"/>
                  </a:lnTo>
                  <a:lnTo>
                    <a:pt x="1189" y="11934"/>
                  </a:lnTo>
                  <a:lnTo>
                    <a:pt x="1171" y="11918"/>
                  </a:lnTo>
                  <a:lnTo>
                    <a:pt x="1153" y="11902"/>
                  </a:lnTo>
                  <a:lnTo>
                    <a:pt x="1137" y="11884"/>
                  </a:lnTo>
                  <a:lnTo>
                    <a:pt x="1121" y="11866"/>
                  </a:lnTo>
                  <a:lnTo>
                    <a:pt x="1106" y="11847"/>
                  </a:lnTo>
                  <a:lnTo>
                    <a:pt x="1091" y="11828"/>
                  </a:lnTo>
                  <a:lnTo>
                    <a:pt x="1078" y="11807"/>
                  </a:lnTo>
                  <a:lnTo>
                    <a:pt x="1066" y="11786"/>
                  </a:lnTo>
                  <a:lnTo>
                    <a:pt x="1055" y="11765"/>
                  </a:lnTo>
                  <a:lnTo>
                    <a:pt x="1045" y="11743"/>
                  </a:lnTo>
                  <a:lnTo>
                    <a:pt x="1036" y="11719"/>
                  </a:lnTo>
                  <a:lnTo>
                    <a:pt x="1028" y="11696"/>
                  </a:lnTo>
                  <a:lnTo>
                    <a:pt x="1022" y="11672"/>
                  </a:lnTo>
                  <a:lnTo>
                    <a:pt x="1016" y="11648"/>
                  </a:lnTo>
                  <a:lnTo>
                    <a:pt x="1012" y="11623"/>
                  </a:lnTo>
                  <a:lnTo>
                    <a:pt x="1009" y="11598"/>
                  </a:lnTo>
                  <a:lnTo>
                    <a:pt x="1007" y="11573"/>
                  </a:lnTo>
                  <a:lnTo>
                    <a:pt x="1006" y="11547"/>
                  </a:lnTo>
                  <a:lnTo>
                    <a:pt x="1006" y="1506"/>
                  </a:lnTo>
                  <a:lnTo>
                    <a:pt x="1007" y="1480"/>
                  </a:lnTo>
                  <a:lnTo>
                    <a:pt x="1009" y="1455"/>
                  </a:lnTo>
                  <a:lnTo>
                    <a:pt x="1012" y="1430"/>
                  </a:lnTo>
                  <a:lnTo>
                    <a:pt x="1016" y="1405"/>
                  </a:lnTo>
                  <a:lnTo>
                    <a:pt x="1022" y="1381"/>
                  </a:lnTo>
                  <a:lnTo>
                    <a:pt x="1028" y="1356"/>
                  </a:lnTo>
                  <a:lnTo>
                    <a:pt x="1036" y="1333"/>
                  </a:lnTo>
                  <a:lnTo>
                    <a:pt x="1045" y="1310"/>
                  </a:lnTo>
                  <a:lnTo>
                    <a:pt x="1055" y="1288"/>
                  </a:lnTo>
                  <a:lnTo>
                    <a:pt x="1066" y="1267"/>
                  </a:lnTo>
                  <a:lnTo>
                    <a:pt x="1078" y="1246"/>
                  </a:lnTo>
                  <a:lnTo>
                    <a:pt x="1091" y="1225"/>
                  </a:lnTo>
                  <a:lnTo>
                    <a:pt x="1106" y="1206"/>
                  </a:lnTo>
                  <a:lnTo>
                    <a:pt x="1121" y="1187"/>
                  </a:lnTo>
                  <a:lnTo>
                    <a:pt x="1137" y="1169"/>
                  </a:lnTo>
                  <a:lnTo>
                    <a:pt x="1153" y="1151"/>
                  </a:lnTo>
                  <a:lnTo>
                    <a:pt x="1171" y="1135"/>
                  </a:lnTo>
                  <a:lnTo>
                    <a:pt x="1189" y="1119"/>
                  </a:lnTo>
                  <a:lnTo>
                    <a:pt x="1208" y="1103"/>
                  </a:lnTo>
                  <a:lnTo>
                    <a:pt x="1227" y="1090"/>
                  </a:lnTo>
                  <a:lnTo>
                    <a:pt x="1248" y="1077"/>
                  </a:lnTo>
                  <a:lnTo>
                    <a:pt x="1268" y="1064"/>
                  </a:lnTo>
                  <a:lnTo>
                    <a:pt x="1291" y="1053"/>
                  </a:lnTo>
                  <a:lnTo>
                    <a:pt x="1313" y="1043"/>
                  </a:lnTo>
                  <a:lnTo>
                    <a:pt x="1336" y="1034"/>
                  </a:lnTo>
                  <a:lnTo>
                    <a:pt x="1359" y="1027"/>
                  </a:lnTo>
                  <a:lnTo>
                    <a:pt x="1383" y="1020"/>
                  </a:lnTo>
                  <a:lnTo>
                    <a:pt x="1407" y="1014"/>
                  </a:lnTo>
                  <a:lnTo>
                    <a:pt x="1432" y="1010"/>
                  </a:lnTo>
                  <a:lnTo>
                    <a:pt x="1458" y="1007"/>
                  </a:lnTo>
                  <a:lnTo>
                    <a:pt x="1483" y="1005"/>
                  </a:lnTo>
                  <a:lnTo>
                    <a:pt x="1509" y="1004"/>
                  </a:lnTo>
                  <a:lnTo>
                    <a:pt x="14586" y="1004"/>
                  </a:lnTo>
                  <a:lnTo>
                    <a:pt x="14612" y="1005"/>
                  </a:lnTo>
                  <a:lnTo>
                    <a:pt x="14637" y="1007"/>
                  </a:lnTo>
                  <a:lnTo>
                    <a:pt x="14663" y="1010"/>
                  </a:lnTo>
                  <a:lnTo>
                    <a:pt x="14687" y="1014"/>
                  </a:lnTo>
                  <a:lnTo>
                    <a:pt x="14712" y="1020"/>
                  </a:lnTo>
                  <a:lnTo>
                    <a:pt x="14735" y="1027"/>
                  </a:lnTo>
                  <a:lnTo>
                    <a:pt x="14759" y="1034"/>
                  </a:lnTo>
                  <a:lnTo>
                    <a:pt x="14781" y="1043"/>
                  </a:lnTo>
                  <a:lnTo>
                    <a:pt x="14803" y="1053"/>
                  </a:lnTo>
                  <a:lnTo>
                    <a:pt x="14826" y="1064"/>
                  </a:lnTo>
                  <a:lnTo>
                    <a:pt x="14847" y="1077"/>
                  </a:lnTo>
                  <a:lnTo>
                    <a:pt x="14867" y="1090"/>
                  </a:lnTo>
                  <a:lnTo>
                    <a:pt x="14887" y="1103"/>
                  </a:lnTo>
                  <a:lnTo>
                    <a:pt x="14906" y="1119"/>
                  </a:lnTo>
                  <a:lnTo>
                    <a:pt x="14924" y="1135"/>
                  </a:lnTo>
                  <a:lnTo>
                    <a:pt x="14941" y="1151"/>
                  </a:lnTo>
                  <a:lnTo>
                    <a:pt x="14958" y="1169"/>
                  </a:lnTo>
                  <a:lnTo>
                    <a:pt x="14974" y="1187"/>
                  </a:lnTo>
                  <a:lnTo>
                    <a:pt x="14988" y="1206"/>
                  </a:lnTo>
                  <a:lnTo>
                    <a:pt x="15003" y="1225"/>
                  </a:lnTo>
                  <a:lnTo>
                    <a:pt x="15016" y="1246"/>
                  </a:lnTo>
                  <a:lnTo>
                    <a:pt x="15029" y="1267"/>
                  </a:lnTo>
                  <a:lnTo>
                    <a:pt x="15040" y="1288"/>
                  </a:lnTo>
                  <a:lnTo>
                    <a:pt x="15050" y="1310"/>
                  </a:lnTo>
                  <a:lnTo>
                    <a:pt x="15059" y="1333"/>
                  </a:lnTo>
                  <a:lnTo>
                    <a:pt x="15066" y="1356"/>
                  </a:lnTo>
                  <a:lnTo>
                    <a:pt x="15073" y="1381"/>
                  </a:lnTo>
                  <a:lnTo>
                    <a:pt x="15079" y="1405"/>
                  </a:lnTo>
                  <a:lnTo>
                    <a:pt x="15083" y="1430"/>
                  </a:lnTo>
                  <a:lnTo>
                    <a:pt x="15086" y="1455"/>
                  </a:lnTo>
                  <a:lnTo>
                    <a:pt x="15088" y="1480"/>
                  </a:lnTo>
                  <a:lnTo>
                    <a:pt x="15089" y="1506"/>
                  </a:lnTo>
                  <a:lnTo>
                    <a:pt x="15089" y="11547"/>
                  </a:lnTo>
                  <a:close/>
                  <a:moveTo>
                    <a:pt x="14586" y="0"/>
                  </a:moveTo>
                  <a:lnTo>
                    <a:pt x="1509" y="0"/>
                  </a:lnTo>
                  <a:lnTo>
                    <a:pt x="1431" y="2"/>
                  </a:lnTo>
                  <a:lnTo>
                    <a:pt x="1354" y="8"/>
                  </a:lnTo>
                  <a:lnTo>
                    <a:pt x="1279" y="17"/>
                  </a:lnTo>
                  <a:lnTo>
                    <a:pt x="1204" y="30"/>
                  </a:lnTo>
                  <a:lnTo>
                    <a:pt x="1132" y="47"/>
                  </a:lnTo>
                  <a:lnTo>
                    <a:pt x="1060" y="67"/>
                  </a:lnTo>
                  <a:lnTo>
                    <a:pt x="990" y="91"/>
                  </a:lnTo>
                  <a:lnTo>
                    <a:pt x="921" y="118"/>
                  </a:lnTo>
                  <a:lnTo>
                    <a:pt x="854" y="149"/>
                  </a:lnTo>
                  <a:lnTo>
                    <a:pt x="790" y="182"/>
                  </a:lnTo>
                  <a:lnTo>
                    <a:pt x="726" y="218"/>
                  </a:lnTo>
                  <a:lnTo>
                    <a:pt x="665" y="257"/>
                  </a:lnTo>
                  <a:lnTo>
                    <a:pt x="606" y="299"/>
                  </a:lnTo>
                  <a:lnTo>
                    <a:pt x="549" y="344"/>
                  </a:lnTo>
                  <a:lnTo>
                    <a:pt x="494" y="392"/>
                  </a:lnTo>
                  <a:lnTo>
                    <a:pt x="442" y="441"/>
                  </a:lnTo>
                  <a:lnTo>
                    <a:pt x="391" y="493"/>
                  </a:lnTo>
                  <a:lnTo>
                    <a:pt x="344" y="548"/>
                  </a:lnTo>
                  <a:lnTo>
                    <a:pt x="300" y="605"/>
                  </a:lnTo>
                  <a:lnTo>
                    <a:pt x="258" y="664"/>
                  </a:lnTo>
                  <a:lnTo>
                    <a:pt x="218" y="725"/>
                  </a:lnTo>
                  <a:lnTo>
                    <a:pt x="182" y="788"/>
                  </a:lnTo>
                  <a:lnTo>
                    <a:pt x="149" y="853"/>
                  </a:lnTo>
                  <a:lnTo>
                    <a:pt x="119" y="920"/>
                  </a:lnTo>
                  <a:lnTo>
                    <a:pt x="92" y="988"/>
                  </a:lnTo>
                  <a:lnTo>
                    <a:pt x="67" y="1058"/>
                  </a:lnTo>
                  <a:lnTo>
                    <a:pt x="47" y="1130"/>
                  </a:lnTo>
                  <a:lnTo>
                    <a:pt x="30" y="1203"/>
                  </a:lnTo>
                  <a:lnTo>
                    <a:pt x="17" y="1277"/>
                  </a:lnTo>
                  <a:lnTo>
                    <a:pt x="8" y="1352"/>
                  </a:lnTo>
                  <a:lnTo>
                    <a:pt x="2" y="1429"/>
                  </a:lnTo>
                  <a:lnTo>
                    <a:pt x="0" y="1506"/>
                  </a:lnTo>
                  <a:lnTo>
                    <a:pt x="0" y="11547"/>
                  </a:lnTo>
                  <a:lnTo>
                    <a:pt x="2" y="11624"/>
                  </a:lnTo>
                  <a:lnTo>
                    <a:pt x="8" y="11700"/>
                  </a:lnTo>
                  <a:lnTo>
                    <a:pt x="17" y="11776"/>
                  </a:lnTo>
                  <a:lnTo>
                    <a:pt x="30" y="11850"/>
                  </a:lnTo>
                  <a:lnTo>
                    <a:pt x="47" y="11922"/>
                  </a:lnTo>
                  <a:lnTo>
                    <a:pt x="67" y="11994"/>
                  </a:lnTo>
                  <a:lnTo>
                    <a:pt x="92" y="12064"/>
                  </a:lnTo>
                  <a:lnTo>
                    <a:pt x="118" y="12132"/>
                  </a:lnTo>
                  <a:lnTo>
                    <a:pt x="148" y="12198"/>
                  </a:lnTo>
                  <a:lnTo>
                    <a:pt x="181" y="12264"/>
                  </a:lnTo>
                  <a:lnTo>
                    <a:pt x="217" y="12326"/>
                  </a:lnTo>
                  <a:lnTo>
                    <a:pt x="257" y="12387"/>
                  </a:lnTo>
                  <a:lnTo>
                    <a:pt x="299" y="12446"/>
                  </a:lnTo>
                  <a:lnTo>
                    <a:pt x="343" y="12504"/>
                  </a:lnTo>
                  <a:lnTo>
                    <a:pt x="390" y="12558"/>
                  </a:lnTo>
                  <a:lnTo>
                    <a:pt x="441" y="12610"/>
                  </a:lnTo>
                  <a:lnTo>
                    <a:pt x="493" y="12660"/>
                  </a:lnTo>
                  <a:lnTo>
                    <a:pt x="547" y="12707"/>
                  </a:lnTo>
                  <a:lnTo>
                    <a:pt x="604" y="12752"/>
                  </a:lnTo>
                  <a:lnTo>
                    <a:pt x="663" y="12794"/>
                  </a:lnTo>
                  <a:lnTo>
                    <a:pt x="724" y="12833"/>
                  </a:lnTo>
                  <a:lnTo>
                    <a:pt x="787" y="12869"/>
                  </a:lnTo>
                  <a:lnTo>
                    <a:pt x="852" y="12902"/>
                  </a:lnTo>
                  <a:lnTo>
                    <a:pt x="918" y="12933"/>
                  </a:lnTo>
                  <a:lnTo>
                    <a:pt x="987" y="12959"/>
                  </a:lnTo>
                  <a:lnTo>
                    <a:pt x="1056" y="12984"/>
                  </a:lnTo>
                  <a:lnTo>
                    <a:pt x="1128" y="13004"/>
                  </a:lnTo>
                  <a:lnTo>
                    <a:pt x="1201" y="13021"/>
                  </a:lnTo>
                  <a:lnTo>
                    <a:pt x="1275" y="13035"/>
                  </a:lnTo>
                  <a:lnTo>
                    <a:pt x="1350" y="13044"/>
                  </a:lnTo>
                  <a:lnTo>
                    <a:pt x="1426" y="13050"/>
                  </a:lnTo>
                  <a:lnTo>
                    <a:pt x="1504" y="13053"/>
                  </a:lnTo>
                  <a:lnTo>
                    <a:pt x="6539" y="13053"/>
                  </a:lnTo>
                  <a:lnTo>
                    <a:pt x="6539" y="13663"/>
                  </a:lnTo>
                  <a:lnTo>
                    <a:pt x="3399" y="14070"/>
                  </a:lnTo>
                  <a:lnTo>
                    <a:pt x="3378" y="14076"/>
                  </a:lnTo>
                  <a:lnTo>
                    <a:pt x="3358" y="14082"/>
                  </a:lnTo>
                  <a:lnTo>
                    <a:pt x="3338" y="14090"/>
                  </a:lnTo>
                  <a:lnTo>
                    <a:pt x="3319" y="14098"/>
                  </a:lnTo>
                  <a:lnTo>
                    <a:pt x="3299" y="14106"/>
                  </a:lnTo>
                  <a:lnTo>
                    <a:pt x="3280" y="14116"/>
                  </a:lnTo>
                  <a:lnTo>
                    <a:pt x="3262" y="14126"/>
                  </a:lnTo>
                  <a:lnTo>
                    <a:pt x="3245" y="14137"/>
                  </a:lnTo>
                  <a:lnTo>
                    <a:pt x="3228" y="14149"/>
                  </a:lnTo>
                  <a:lnTo>
                    <a:pt x="3211" y="14161"/>
                  </a:lnTo>
                  <a:lnTo>
                    <a:pt x="3196" y="14174"/>
                  </a:lnTo>
                  <a:lnTo>
                    <a:pt x="3180" y="14188"/>
                  </a:lnTo>
                  <a:lnTo>
                    <a:pt x="3166" y="14203"/>
                  </a:lnTo>
                  <a:lnTo>
                    <a:pt x="3151" y="14217"/>
                  </a:lnTo>
                  <a:lnTo>
                    <a:pt x="3138" y="14233"/>
                  </a:lnTo>
                  <a:lnTo>
                    <a:pt x="3124" y="14249"/>
                  </a:lnTo>
                  <a:lnTo>
                    <a:pt x="3112" y="14265"/>
                  </a:lnTo>
                  <a:lnTo>
                    <a:pt x="3100" y="14282"/>
                  </a:lnTo>
                  <a:lnTo>
                    <a:pt x="3089" y="14299"/>
                  </a:lnTo>
                  <a:lnTo>
                    <a:pt x="3079" y="14316"/>
                  </a:lnTo>
                  <a:lnTo>
                    <a:pt x="3070" y="14335"/>
                  </a:lnTo>
                  <a:lnTo>
                    <a:pt x="3061" y="14353"/>
                  </a:lnTo>
                  <a:lnTo>
                    <a:pt x="3053" y="14372"/>
                  </a:lnTo>
                  <a:lnTo>
                    <a:pt x="3046" y="14391"/>
                  </a:lnTo>
                  <a:lnTo>
                    <a:pt x="3039" y="14411"/>
                  </a:lnTo>
                  <a:lnTo>
                    <a:pt x="3034" y="14431"/>
                  </a:lnTo>
                  <a:lnTo>
                    <a:pt x="3029" y="14452"/>
                  </a:lnTo>
                  <a:lnTo>
                    <a:pt x="3025" y="14473"/>
                  </a:lnTo>
                  <a:lnTo>
                    <a:pt x="3022" y="14493"/>
                  </a:lnTo>
                  <a:lnTo>
                    <a:pt x="3020" y="14514"/>
                  </a:lnTo>
                  <a:lnTo>
                    <a:pt x="3018" y="14536"/>
                  </a:lnTo>
                  <a:lnTo>
                    <a:pt x="3018" y="14557"/>
                  </a:lnTo>
                  <a:lnTo>
                    <a:pt x="3019" y="14583"/>
                  </a:lnTo>
                  <a:lnTo>
                    <a:pt x="3020" y="14608"/>
                  </a:lnTo>
                  <a:lnTo>
                    <a:pt x="3024" y="14633"/>
                  </a:lnTo>
                  <a:lnTo>
                    <a:pt x="3028" y="14658"/>
                  </a:lnTo>
                  <a:lnTo>
                    <a:pt x="3034" y="14682"/>
                  </a:lnTo>
                  <a:lnTo>
                    <a:pt x="3040" y="14707"/>
                  </a:lnTo>
                  <a:lnTo>
                    <a:pt x="3048" y="14730"/>
                  </a:lnTo>
                  <a:lnTo>
                    <a:pt x="3057" y="14753"/>
                  </a:lnTo>
                  <a:lnTo>
                    <a:pt x="3067" y="14775"/>
                  </a:lnTo>
                  <a:lnTo>
                    <a:pt x="3078" y="14797"/>
                  </a:lnTo>
                  <a:lnTo>
                    <a:pt x="3090" y="14818"/>
                  </a:lnTo>
                  <a:lnTo>
                    <a:pt x="3103" y="14838"/>
                  </a:lnTo>
                  <a:lnTo>
                    <a:pt x="3117" y="14857"/>
                  </a:lnTo>
                  <a:lnTo>
                    <a:pt x="3132" y="14876"/>
                  </a:lnTo>
                  <a:lnTo>
                    <a:pt x="3149" y="14894"/>
                  </a:lnTo>
                  <a:lnTo>
                    <a:pt x="3165" y="14912"/>
                  </a:lnTo>
                  <a:lnTo>
                    <a:pt x="3183" y="14928"/>
                  </a:lnTo>
                  <a:lnTo>
                    <a:pt x="3201" y="14945"/>
                  </a:lnTo>
                  <a:lnTo>
                    <a:pt x="3220" y="14960"/>
                  </a:lnTo>
                  <a:lnTo>
                    <a:pt x="3239" y="14974"/>
                  </a:lnTo>
                  <a:lnTo>
                    <a:pt x="3260" y="14987"/>
                  </a:lnTo>
                  <a:lnTo>
                    <a:pt x="3280" y="14999"/>
                  </a:lnTo>
                  <a:lnTo>
                    <a:pt x="3302" y="15010"/>
                  </a:lnTo>
                  <a:lnTo>
                    <a:pt x="3325" y="15020"/>
                  </a:lnTo>
                  <a:lnTo>
                    <a:pt x="3348" y="15029"/>
                  </a:lnTo>
                  <a:lnTo>
                    <a:pt x="3371" y="15037"/>
                  </a:lnTo>
                  <a:lnTo>
                    <a:pt x="3395" y="15043"/>
                  </a:lnTo>
                  <a:lnTo>
                    <a:pt x="3419" y="15049"/>
                  </a:lnTo>
                  <a:lnTo>
                    <a:pt x="3444" y="15053"/>
                  </a:lnTo>
                  <a:lnTo>
                    <a:pt x="3469" y="15056"/>
                  </a:lnTo>
                  <a:lnTo>
                    <a:pt x="3495" y="15058"/>
                  </a:lnTo>
                  <a:lnTo>
                    <a:pt x="3521" y="15059"/>
                  </a:lnTo>
                  <a:lnTo>
                    <a:pt x="12574" y="15059"/>
                  </a:lnTo>
                  <a:lnTo>
                    <a:pt x="12600" y="15058"/>
                  </a:lnTo>
                  <a:lnTo>
                    <a:pt x="12626" y="15056"/>
                  </a:lnTo>
                  <a:lnTo>
                    <a:pt x="12651" y="15053"/>
                  </a:lnTo>
                  <a:lnTo>
                    <a:pt x="12676" y="15049"/>
                  </a:lnTo>
                  <a:lnTo>
                    <a:pt x="12700" y="15043"/>
                  </a:lnTo>
                  <a:lnTo>
                    <a:pt x="12724" y="15037"/>
                  </a:lnTo>
                  <a:lnTo>
                    <a:pt x="12747" y="15029"/>
                  </a:lnTo>
                  <a:lnTo>
                    <a:pt x="12770" y="15020"/>
                  </a:lnTo>
                  <a:lnTo>
                    <a:pt x="12793" y="15010"/>
                  </a:lnTo>
                  <a:lnTo>
                    <a:pt x="12814" y="14999"/>
                  </a:lnTo>
                  <a:lnTo>
                    <a:pt x="12835" y="14987"/>
                  </a:lnTo>
                  <a:lnTo>
                    <a:pt x="12856" y="14974"/>
                  </a:lnTo>
                  <a:lnTo>
                    <a:pt x="12875" y="14960"/>
                  </a:lnTo>
                  <a:lnTo>
                    <a:pt x="12894" y="14945"/>
                  </a:lnTo>
                  <a:lnTo>
                    <a:pt x="12912" y="14928"/>
                  </a:lnTo>
                  <a:lnTo>
                    <a:pt x="12930" y="14912"/>
                  </a:lnTo>
                  <a:lnTo>
                    <a:pt x="12946" y="14894"/>
                  </a:lnTo>
                  <a:lnTo>
                    <a:pt x="12963" y="14876"/>
                  </a:lnTo>
                  <a:lnTo>
                    <a:pt x="12978" y="14857"/>
                  </a:lnTo>
                  <a:lnTo>
                    <a:pt x="12992" y="14838"/>
                  </a:lnTo>
                  <a:lnTo>
                    <a:pt x="13005" y="14818"/>
                  </a:lnTo>
                  <a:lnTo>
                    <a:pt x="13017" y="14797"/>
                  </a:lnTo>
                  <a:lnTo>
                    <a:pt x="13028" y="14775"/>
                  </a:lnTo>
                  <a:lnTo>
                    <a:pt x="13038" y="14753"/>
                  </a:lnTo>
                  <a:lnTo>
                    <a:pt x="13047" y="14730"/>
                  </a:lnTo>
                  <a:lnTo>
                    <a:pt x="13055" y="14707"/>
                  </a:lnTo>
                  <a:lnTo>
                    <a:pt x="13061" y="14682"/>
                  </a:lnTo>
                  <a:lnTo>
                    <a:pt x="13067" y="14658"/>
                  </a:lnTo>
                  <a:lnTo>
                    <a:pt x="13071" y="14633"/>
                  </a:lnTo>
                  <a:lnTo>
                    <a:pt x="13074" y="14608"/>
                  </a:lnTo>
                  <a:lnTo>
                    <a:pt x="13076" y="14583"/>
                  </a:lnTo>
                  <a:lnTo>
                    <a:pt x="13077" y="14557"/>
                  </a:lnTo>
                  <a:lnTo>
                    <a:pt x="13077" y="14536"/>
                  </a:lnTo>
                  <a:lnTo>
                    <a:pt x="13075" y="14514"/>
                  </a:lnTo>
                  <a:lnTo>
                    <a:pt x="13073" y="14493"/>
                  </a:lnTo>
                  <a:lnTo>
                    <a:pt x="13070" y="14473"/>
                  </a:lnTo>
                  <a:lnTo>
                    <a:pt x="13066" y="14452"/>
                  </a:lnTo>
                  <a:lnTo>
                    <a:pt x="13061" y="14431"/>
                  </a:lnTo>
                  <a:lnTo>
                    <a:pt x="13056" y="14411"/>
                  </a:lnTo>
                  <a:lnTo>
                    <a:pt x="13049" y="14391"/>
                  </a:lnTo>
                  <a:lnTo>
                    <a:pt x="13042" y="14372"/>
                  </a:lnTo>
                  <a:lnTo>
                    <a:pt x="13034" y="14353"/>
                  </a:lnTo>
                  <a:lnTo>
                    <a:pt x="13025" y="14335"/>
                  </a:lnTo>
                  <a:lnTo>
                    <a:pt x="13016" y="14316"/>
                  </a:lnTo>
                  <a:lnTo>
                    <a:pt x="13006" y="14299"/>
                  </a:lnTo>
                  <a:lnTo>
                    <a:pt x="12995" y="14282"/>
                  </a:lnTo>
                  <a:lnTo>
                    <a:pt x="12983" y="14265"/>
                  </a:lnTo>
                  <a:lnTo>
                    <a:pt x="12971" y="14249"/>
                  </a:lnTo>
                  <a:lnTo>
                    <a:pt x="12957" y="14233"/>
                  </a:lnTo>
                  <a:lnTo>
                    <a:pt x="12944" y="14217"/>
                  </a:lnTo>
                  <a:lnTo>
                    <a:pt x="12930" y="14203"/>
                  </a:lnTo>
                  <a:lnTo>
                    <a:pt x="12915" y="14188"/>
                  </a:lnTo>
                  <a:lnTo>
                    <a:pt x="12900" y="14174"/>
                  </a:lnTo>
                  <a:lnTo>
                    <a:pt x="12884" y="14161"/>
                  </a:lnTo>
                  <a:lnTo>
                    <a:pt x="12867" y="14149"/>
                  </a:lnTo>
                  <a:lnTo>
                    <a:pt x="12850" y="14137"/>
                  </a:lnTo>
                  <a:lnTo>
                    <a:pt x="12833" y="14126"/>
                  </a:lnTo>
                  <a:lnTo>
                    <a:pt x="12815" y="14116"/>
                  </a:lnTo>
                  <a:lnTo>
                    <a:pt x="12796" y="14106"/>
                  </a:lnTo>
                  <a:lnTo>
                    <a:pt x="12776" y="14098"/>
                  </a:lnTo>
                  <a:lnTo>
                    <a:pt x="12757" y="14090"/>
                  </a:lnTo>
                  <a:lnTo>
                    <a:pt x="12737" y="14082"/>
                  </a:lnTo>
                  <a:lnTo>
                    <a:pt x="12717" y="14076"/>
                  </a:lnTo>
                  <a:lnTo>
                    <a:pt x="12696" y="14070"/>
                  </a:lnTo>
                  <a:lnTo>
                    <a:pt x="9556" y="13663"/>
                  </a:lnTo>
                  <a:lnTo>
                    <a:pt x="9556" y="13053"/>
                  </a:lnTo>
                  <a:lnTo>
                    <a:pt x="14591" y="13053"/>
                  </a:lnTo>
                  <a:lnTo>
                    <a:pt x="14669" y="13050"/>
                  </a:lnTo>
                  <a:lnTo>
                    <a:pt x="14745" y="13044"/>
                  </a:lnTo>
                  <a:lnTo>
                    <a:pt x="14820" y="13035"/>
                  </a:lnTo>
                  <a:lnTo>
                    <a:pt x="14894" y="13021"/>
                  </a:lnTo>
                  <a:lnTo>
                    <a:pt x="14967" y="13004"/>
                  </a:lnTo>
                  <a:lnTo>
                    <a:pt x="15039" y="12984"/>
                  </a:lnTo>
                  <a:lnTo>
                    <a:pt x="15108" y="12959"/>
                  </a:lnTo>
                  <a:lnTo>
                    <a:pt x="15177" y="12933"/>
                  </a:lnTo>
                  <a:lnTo>
                    <a:pt x="15243" y="12902"/>
                  </a:lnTo>
                  <a:lnTo>
                    <a:pt x="15308" y="12869"/>
                  </a:lnTo>
                  <a:lnTo>
                    <a:pt x="15371" y="12833"/>
                  </a:lnTo>
                  <a:lnTo>
                    <a:pt x="15432" y="12794"/>
                  </a:lnTo>
                  <a:lnTo>
                    <a:pt x="15491" y="12752"/>
                  </a:lnTo>
                  <a:lnTo>
                    <a:pt x="15548" y="12707"/>
                  </a:lnTo>
                  <a:lnTo>
                    <a:pt x="15602" y="12660"/>
                  </a:lnTo>
                  <a:lnTo>
                    <a:pt x="15654" y="12610"/>
                  </a:lnTo>
                  <a:lnTo>
                    <a:pt x="15705" y="12558"/>
                  </a:lnTo>
                  <a:lnTo>
                    <a:pt x="15752" y="12504"/>
                  </a:lnTo>
                  <a:lnTo>
                    <a:pt x="15796" y="12446"/>
                  </a:lnTo>
                  <a:lnTo>
                    <a:pt x="15838" y="12387"/>
                  </a:lnTo>
                  <a:lnTo>
                    <a:pt x="15878" y="12326"/>
                  </a:lnTo>
                  <a:lnTo>
                    <a:pt x="15914" y="12264"/>
                  </a:lnTo>
                  <a:lnTo>
                    <a:pt x="15947" y="12198"/>
                  </a:lnTo>
                  <a:lnTo>
                    <a:pt x="15977" y="12132"/>
                  </a:lnTo>
                  <a:lnTo>
                    <a:pt x="16003" y="12064"/>
                  </a:lnTo>
                  <a:lnTo>
                    <a:pt x="16028" y="11994"/>
                  </a:lnTo>
                  <a:lnTo>
                    <a:pt x="16048" y="11922"/>
                  </a:lnTo>
                  <a:lnTo>
                    <a:pt x="16065" y="11850"/>
                  </a:lnTo>
                  <a:lnTo>
                    <a:pt x="16078" y="11776"/>
                  </a:lnTo>
                  <a:lnTo>
                    <a:pt x="16087" y="11700"/>
                  </a:lnTo>
                  <a:lnTo>
                    <a:pt x="16093" y="11624"/>
                  </a:lnTo>
                  <a:lnTo>
                    <a:pt x="16095" y="11547"/>
                  </a:lnTo>
                  <a:lnTo>
                    <a:pt x="16095" y="1506"/>
                  </a:lnTo>
                  <a:lnTo>
                    <a:pt x="16093" y="1429"/>
                  </a:lnTo>
                  <a:lnTo>
                    <a:pt x="16087" y="1352"/>
                  </a:lnTo>
                  <a:lnTo>
                    <a:pt x="16078" y="1277"/>
                  </a:lnTo>
                  <a:lnTo>
                    <a:pt x="16064" y="1203"/>
                  </a:lnTo>
                  <a:lnTo>
                    <a:pt x="16048" y="1130"/>
                  </a:lnTo>
                  <a:lnTo>
                    <a:pt x="16028" y="1058"/>
                  </a:lnTo>
                  <a:lnTo>
                    <a:pt x="16003" y="988"/>
                  </a:lnTo>
                  <a:lnTo>
                    <a:pt x="15976" y="920"/>
                  </a:lnTo>
                  <a:lnTo>
                    <a:pt x="15946" y="853"/>
                  </a:lnTo>
                  <a:lnTo>
                    <a:pt x="15913" y="788"/>
                  </a:lnTo>
                  <a:lnTo>
                    <a:pt x="15877" y="725"/>
                  </a:lnTo>
                  <a:lnTo>
                    <a:pt x="15837" y="664"/>
                  </a:lnTo>
                  <a:lnTo>
                    <a:pt x="15795" y="605"/>
                  </a:lnTo>
                  <a:lnTo>
                    <a:pt x="15750" y="548"/>
                  </a:lnTo>
                  <a:lnTo>
                    <a:pt x="15703" y="493"/>
                  </a:lnTo>
                  <a:lnTo>
                    <a:pt x="15652" y="441"/>
                  </a:lnTo>
                  <a:lnTo>
                    <a:pt x="15600" y="392"/>
                  </a:lnTo>
                  <a:lnTo>
                    <a:pt x="15546" y="344"/>
                  </a:lnTo>
                  <a:lnTo>
                    <a:pt x="15488" y="299"/>
                  </a:lnTo>
                  <a:lnTo>
                    <a:pt x="15429" y="257"/>
                  </a:lnTo>
                  <a:lnTo>
                    <a:pt x="15369" y="218"/>
                  </a:lnTo>
                  <a:lnTo>
                    <a:pt x="15305" y="182"/>
                  </a:lnTo>
                  <a:lnTo>
                    <a:pt x="15240" y="149"/>
                  </a:lnTo>
                  <a:lnTo>
                    <a:pt x="15174" y="118"/>
                  </a:lnTo>
                  <a:lnTo>
                    <a:pt x="15105" y="91"/>
                  </a:lnTo>
                  <a:lnTo>
                    <a:pt x="15035" y="67"/>
                  </a:lnTo>
                  <a:lnTo>
                    <a:pt x="14963" y="47"/>
                  </a:lnTo>
                  <a:lnTo>
                    <a:pt x="14890" y="30"/>
                  </a:lnTo>
                  <a:lnTo>
                    <a:pt x="14815" y="17"/>
                  </a:lnTo>
                  <a:lnTo>
                    <a:pt x="14740" y="8"/>
                  </a:lnTo>
                  <a:lnTo>
                    <a:pt x="14664" y="2"/>
                  </a:lnTo>
                  <a:lnTo>
                    <a:pt x="145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65" name="işḻîḍé">
              <a:extLst>
                <a:ext uri="{FF2B5EF4-FFF2-40B4-BE49-F238E27FC236}">
                  <a16:creationId xmlns:a16="http://schemas.microsoft.com/office/drawing/2014/main" id="{172B2BF1-5B63-4E58-8346-1FD456246D2C}"/>
                </a:ext>
              </a:extLst>
            </p:cNvPr>
            <p:cNvSpPr/>
            <p:nvPr/>
          </p:nvSpPr>
          <p:spPr bwMode="auto">
            <a:xfrm>
              <a:off x="5476739" y="2411481"/>
              <a:ext cx="127257" cy="407036"/>
            </a:xfrm>
            <a:custGeom>
              <a:avLst/>
              <a:gdLst>
                <a:gd name="T0" fmla="*/ 3784 w 5030"/>
                <a:gd name="T1" fmla="*/ 5837 h 16095"/>
                <a:gd name="T2" fmla="*/ 3571 w 5030"/>
                <a:gd name="T3" fmla="*/ 6098 h 16095"/>
                <a:gd name="T4" fmla="*/ 3350 w 5030"/>
                <a:gd name="T5" fmla="*/ 6279 h 16095"/>
                <a:gd name="T6" fmla="*/ 3045 w 5030"/>
                <a:gd name="T7" fmla="*/ 6436 h 16095"/>
                <a:gd name="T8" fmla="*/ 2678 w 5030"/>
                <a:gd name="T9" fmla="*/ 6529 h 16095"/>
                <a:gd name="T10" fmla="*/ 2288 w 5030"/>
                <a:gd name="T11" fmla="*/ 6519 h 16095"/>
                <a:gd name="T12" fmla="*/ 1931 w 5030"/>
                <a:gd name="T13" fmla="*/ 6415 h 16095"/>
                <a:gd name="T14" fmla="*/ 1633 w 5030"/>
                <a:gd name="T15" fmla="*/ 6246 h 16095"/>
                <a:gd name="T16" fmla="*/ 1400 w 5030"/>
                <a:gd name="T17" fmla="*/ 6039 h 16095"/>
                <a:gd name="T18" fmla="*/ 1158 w 5030"/>
                <a:gd name="T19" fmla="*/ 5678 h 16095"/>
                <a:gd name="T20" fmla="*/ 1020 w 5030"/>
                <a:gd name="T21" fmla="*/ 5219 h 16095"/>
                <a:gd name="T22" fmla="*/ 1014 w 5030"/>
                <a:gd name="T23" fmla="*/ 4893 h 16095"/>
                <a:gd name="T24" fmla="*/ 1117 w 5030"/>
                <a:gd name="T25" fmla="*/ 4478 h 16095"/>
                <a:gd name="T26" fmla="*/ 1329 w 5030"/>
                <a:gd name="T27" fmla="*/ 4104 h 16095"/>
                <a:gd name="T28" fmla="*/ 1607 w 5030"/>
                <a:gd name="T29" fmla="*/ 3832 h 16095"/>
                <a:gd name="T30" fmla="*/ 1879 w 5030"/>
                <a:gd name="T31" fmla="*/ 3669 h 16095"/>
                <a:gd name="T32" fmla="*/ 2225 w 5030"/>
                <a:gd name="T33" fmla="*/ 3552 h 16095"/>
                <a:gd name="T34" fmla="*/ 2613 w 5030"/>
                <a:gd name="T35" fmla="*/ 3525 h 16095"/>
                <a:gd name="T36" fmla="*/ 2988 w 5030"/>
                <a:gd name="T37" fmla="*/ 3603 h 16095"/>
                <a:gd name="T38" fmla="*/ 3301 w 5030"/>
                <a:gd name="T39" fmla="*/ 3750 h 16095"/>
                <a:gd name="T40" fmla="*/ 3571 w 5030"/>
                <a:gd name="T41" fmla="*/ 3960 h 16095"/>
                <a:gd name="T42" fmla="*/ 3825 w 5030"/>
                <a:gd name="T43" fmla="*/ 4288 h 16095"/>
                <a:gd name="T44" fmla="*/ 3996 w 5030"/>
                <a:gd name="T45" fmla="*/ 4760 h 16095"/>
                <a:gd name="T46" fmla="*/ 4021 w 5030"/>
                <a:gd name="T47" fmla="*/ 5112 h 16095"/>
                <a:gd name="T48" fmla="*/ 3015 w 5030"/>
                <a:gd name="T49" fmla="*/ 14637 h 16095"/>
                <a:gd name="T50" fmla="*/ 2903 w 5030"/>
                <a:gd name="T51" fmla="*/ 14906 h 16095"/>
                <a:gd name="T52" fmla="*/ 2665 w 5030"/>
                <a:gd name="T53" fmla="*/ 15067 h 16095"/>
                <a:gd name="T54" fmla="*/ 2365 w 5030"/>
                <a:gd name="T55" fmla="*/ 15067 h 16095"/>
                <a:gd name="T56" fmla="*/ 2127 w 5030"/>
                <a:gd name="T57" fmla="*/ 14906 h 16095"/>
                <a:gd name="T58" fmla="*/ 2015 w 5030"/>
                <a:gd name="T59" fmla="*/ 14637 h 16095"/>
                <a:gd name="T60" fmla="*/ 2579 w 5030"/>
                <a:gd name="T61" fmla="*/ 7544 h 16095"/>
                <a:gd name="T62" fmla="*/ 2018 w 5030"/>
                <a:gd name="T63" fmla="*/ 1432 h 16095"/>
                <a:gd name="T64" fmla="*/ 2143 w 5030"/>
                <a:gd name="T65" fmla="*/ 1171 h 16095"/>
                <a:gd name="T66" fmla="*/ 2389 w 5030"/>
                <a:gd name="T67" fmla="*/ 1022 h 16095"/>
                <a:gd name="T68" fmla="*/ 2688 w 5030"/>
                <a:gd name="T69" fmla="*/ 1036 h 16095"/>
                <a:gd name="T70" fmla="*/ 2918 w 5030"/>
                <a:gd name="T71" fmla="*/ 1208 h 16095"/>
                <a:gd name="T72" fmla="*/ 3017 w 5030"/>
                <a:gd name="T73" fmla="*/ 1483 h 16095"/>
                <a:gd name="T74" fmla="*/ 2386 w 5030"/>
                <a:gd name="T75" fmla="*/ 2518 h 16095"/>
                <a:gd name="T76" fmla="*/ 4007 w 5030"/>
                <a:gd name="T77" fmla="*/ 1280 h 16095"/>
                <a:gd name="T78" fmla="*/ 3631 w 5030"/>
                <a:gd name="T79" fmla="*/ 495 h 16095"/>
                <a:gd name="T80" fmla="*/ 2891 w 5030"/>
                <a:gd name="T81" fmla="*/ 47 h 16095"/>
                <a:gd name="T82" fmla="*/ 1997 w 5030"/>
                <a:gd name="T83" fmla="*/ 92 h 16095"/>
                <a:gd name="T84" fmla="*/ 1306 w 5030"/>
                <a:gd name="T85" fmla="*/ 607 h 16095"/>
                <a:gd name="T86" fmla="*/ 1008 w 5030"/>
                <a:gd name="T87" fmla="*/ 1431 h 16095"/>
                <a:gd name="T88" fmla="*/ 503 w 5030"/>
                <a:gd name="T89" fmla="*/ 3532 h 16095"/>
                <a:gd name="T90" fmla="*/ 111 w 5030"/>
                <a:gd name="T91" fmla="*/ 4294 h 16095"/>
                <a:gd name="T92" fmla="*/ 5 w 5030"/>
                <a:gd name="T93" fmla="*/ 5183 h 16095"/>
                <a:gd name="T94" fmla="*/ 213 w 5030"/>
                <a:gd name="T95" fmla="*/ 6036 h 16095"/>
                <a:gd name="T96" fmla="*/ 687 w 5030"/>
                <a:gd name="T97" fmla="*/ 6746 h 16095"/>
                <a:gd name="T98" fmla="*/ 1053 w 5030"/>
                <a:gd name="T99" fmla="*/ 14962 h 16095"/>
                <a:gd name="T100" fmla="*/ 1501 w 5030"/>
                <a:gd name="T101" fmla="*/ 15703 h 16095"/>
                <a:gd name="T102" fmla="*/ 2285 w 5030"/>
                <a:gd name="T103" fmla="*/ 16078 h 16095"/>
                <a:gd name="T104" fmla="*/ 3169 w 5030"/>
                <a:gd name="T105" fmla="*/ 15946 h 16095"/>
                <a:gd name="T106" fmla="*/ 3805 w 5030"/>
                <a:gd name="T107" fmla="*/ 15368 h 16095"/>
                <a:gd name="T108" fmla="*/ 4024 w 5030"/>
                <a:gd name="T109" fmla="*/ 7030 h 16095"/>
                <a:gd name="T110" fmla="*/ 4609 w 5030"/>
                <a:gd name="T111" fmla="*/ 6412 h 16095"/>
                <a:gd name="T112" fmla="*/ 4958 w 5030"/>
                <a:gd name="T113" fmla="*/ 5624 h 16095"/>
                <a:gd name="T114" fmla="*/ 5012 w 5030"/>
                <a:gd name="T115" fmla="*/ 4727 h 16095"/>
                <a:gd name="T116" fmla="*/ 4754 w 5030"/>
                <a:gd name="T117" fmla="*/ 3894 h 16095"/>
                <a:gd name="T118" fmla="*/ 4241 w 5030"/>
                <a:gd name="T119" fmla="*/ 3213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30" h="16095">
                  <a:moveTo>
                    <a:pt x="3955" y="5452"/>
                  </a:moveTo>
                  <a:lnTo>
                    <a:pt x="3950" y="5472"/>
                  </a:lnTo>
                  <a:lnTo>
                    <a:pt x="3944" y="5492"/>
                  </a:lnTo>
                  <a:lnTo>
                    <a:pt x="3938" y="5512"/>
                  </a:lnTo>
                  <a:lnTo>
                    <a:pt x="3931" y="5532"/>
                  </a:lnTo>
                  <a:lnTo>
                    <a:pt x="3913" y="5581"/>
                  </a:lnTo>
                  <a:lnTo>
                    <a:pt x="3893" y="5630"/>
                  </a:lnTo>
                  <a:lnTo>
                    <a:pt x="3872" y="5678"/>
                  </a:lnTo>
                  <a:lnTo>
                    <a:pt x="3849" y="5725"/>
                  </a:lnTo>
                  <a:lnTo>
                    <a:pt x="3825" y="5771"/>
                  </a:lnTo>
                  <a:lnTo>
                    <a:pt x="3798" y="5815"/>
                  </a:lnTo>
                  <a:lnTo>
                    <a:pt x="3784" y="5837"/>
                  </a:lnTo>
                  <a:lnTo>
                    <a:pt x="3770" y="5860"/>
                  </a:lnTo>
                  <a:lnTo>
                    <a:pt x="3756" y="5881"/>
                  </a:lnTo>
                  <a:lnTo>
                    <a:pt x="3741" y="5903"/>
                  </a:lnTo>
                  <a:lnTo>
                    <a:pt x="3738" y="5906"/>
                  </a:lnTo>
                  <a:lnTo>
                    <a:pt x="3735" y="5910"/>
                  </a:lnTo>
                  <a:lnTo>
                    <a:pt x="3701" y="5954"/>
                  </a:lnTo>
                  <a:lnTo>
                    <a:pt x="3666" y="5997"/>
                  </a:lnTo>
                  <a:lnTo>
                    <a:pt x="3648" y="6019"/>
                  </a:lnTo>
                  <a:lnTo>
                    <a:pt x="3629" y="6039"/>
                  </a:lnTo>
                  <a:lnTo>
                    <a:pt x="3610" y="6059"/>
                  </a:lnTo>
                  <a:lnTo>
                    <a:pt x="3591" y="6079"/>
                  </a:lnTo>
                  <a:lnTo>
                    <a:pt x="3571" y="6098"/>
                  </a:lnTo>
                  <a:lnTo>
                    <a:pt x="3552" y="6118"/>
                  </a:lnTo>
                  <a:lnTo>
                    <a:pt x="3531" y="6136"/>
                  </a:lnTo>
                  <a:lnTo>
                    <a:pt x="3511" y="6155"/>
                  </a:lnTo>
                  <a:lnTo>
                    <a:pt x="3490" y="6173"/>
                  </a:lnTo>
                  <a:lnTo>
                    <a:pt x="3468" y="6191"/>
                  </a:lnTo>
                  <a:lnTo>
                    <a:pt x="3446" y="6209"/>
                  </a:lnTo>
                  <a:lnTo>
                    <a:pt x="3424" y="6225"/>
                  </a:lnTo>
                  <a:lnTo>
                    <a:pt x="3422" y="6228"/>
                  </a:lnTo>
                  <a:lnTo>
                    <a:pt x="3420" y="6230"/>
                  </a:lnTo>
                  <a:lnTo>
                    <a:pt x="3397" y="6246"/>
                  </a:lnTo>
                  <a:lnTo>
                    <a:pt x="3374" y="6263"/>
                  </a:lnTo>
                  <a:lnTo>
                    <a:pt x="3350" y="6279"/>
                  </a:lnTo>
                  <a:lnTo>
                    <a:pt x="3326" y="6294"/>
                  </a:lnTo>
                  <a:lnTo>
                    <a:pt x="3301" y="6309"/>
                  </a:lnTo>
                  <a:lnTo>
                    <a:pt x="3277" y="6324"/>
                  </a:lnTo>
                  <a:lnTo>
                    <a:pt x="3252" y="6338"/>
                  </a:lnTo>
                  <a:lnTo>
                    <a:pt x="3228" y="6352"/>
                  </a:lnTo>
                  <a:lnTo>
                    <a:pt x="3202" y="6366"/>
                  </a:lnTo>
                  <a:lnTo>
                    <a:pt x="3177" y="6379"/>
                  </a:lnTo>
                  <a:lnTo>
                    <a:pt x="3151" y="6391"/>
                  </a:lnTo>
                  <a:lnTo>
                    <a:pt x="3124" y="6403"/>
                  </a:lnTo>
                  <a:lnTo>
                    <a:pt x="3098" y="6415"/>
                  </a:lnTo>
                  <a:lnTo>
                    <a:pt x="3072" y="6425"/>
                  </a:lnTo>
                  <a:lnTo>
                    <a:pt x="3045" y="6436"/>
                  </a:lnTo>
                  <a:lnTo>
                    <a:pt x="3018" y="6446"/>
                  </a:lnTo>
                  <a:lnTo>
                    <a:pt x="2988" y="6456"/>
                  </a:lnTo>
                  <a:lnTo>
                    <a:pt x="2958" y="6466"/>
                  </a:lnTo>
                  <a:lnTo>
                    <a:pt x="2928" y="6475"/>
                  </a:lnTo>
                  <a:lnTo>
                    <a:pt x="2897" y="6484"/>
                  </a:lnTo>
                  <a:lnTo>
                    <a:pt x="2867" y="6492"/>
                  </a:lnTo>
                  <a:lnTo>
                    <a:pt x="2836" y="6500"/>
                  </a:lnTo>
                  <a:lnTo>
                    <a:pt x="2805" y="6507"/>
                  </a:lnTo>
                  <a:lnTo>
                    <a:pt x="2773" y="6513"/>
                  </a:lnTo>
                  <a:lnTo>
                    <a:pt x="2742" y="6519"/>
                  </a:lnTo>
                  <a:lnTo>
                    <a:pt x="2710" y="6525"/>
                  </a:lnTo>
                  <a:lnTo>
                    <a:pt x="2678" y="6529"/>
                  </a:lnTo>
                  <a:lnTo>
                    <a:pt x="2646" y="6533"/>
                  </a:lnTo>
                  <a:lnTo>
                    <a:pt x="2613" y="6535"/>
                  </a:lnTo>
                  <a:lnTo>
                    <a:pt x="2581" y="6537"/>
                  </a:lnTo>
                  <a:lnTo>
                    <a:pt x="2548" y="6539"/>
                  </a:lnTo>
                  <a:lnTo>
                    <a:pt x="2515" y="6539"/>
                  </a:lnTo>
                  <a:lnTo>
                    <a:pt x="2482" y="6539"/>
                  </a:lnTo>
                  <a:lnTo>
                    <a:pt x="2448" y="6537"/>
                  </a:lnTo>
                  <a:lnTo>
                    <a:pt x="2416" y="6535"/>
                  </a:lnTo>
                  <a:lnTo>
                    <a:pt x="2383" y="6533"/>
                  </a:lnTo>
                  <a:lnTo>
                    <a:pt x="2351" y="6529"/>
                  </a:lnTo>
                  <a:lnTo>
                    <a:pt x="2320" y="6525"/>
                  </a:lnTo>
                  <a:lnTo>
                    <a:pt x="2288" y="6519"/>
                  </a:lnTo>
                  <a:lnTo>
                    <a:pt x="2256" y="6513"/>
                  </a:lnTo>
                  <a:lnTo>
                    <a:pt x="2225" y="6507"/>
                  </a:lnTo>
                  <a:lnTo>
                    <a:pt x="2194" y="6500"/>
                  </a:lnTo>
                  <a:lnTo>
                    <a:pt x="2163" y="6492"/>
                  </a:lnTo>
                  <a:lnTo>
                    <a:pt x="2133" y="6484"/>
                  </a:lnTo>
                  <a:lnTo>
                    <a:pt x="2101" y="6475"/>
                  </a:lnTo>
                  <a:lnTo>
                    <a:pt x="2071" y="6466"/>
                  </a:lnTo>
                  <a:lnTo>
                    <a:pt x="2041" y="6456"/>
                  </a:lnTo>
                  <a:lnTo>
                    <a:pt x="2012" y="6446"/>
                  </a:lnTo>
                  <a:lnTo>
                    <a:pt x="1985" y="6436"/>
                  </a:lnTo>
                  <a:lnTo>
                    <a:pt x="1958" y="6425"/>
                  </a:lnTo>
                  <a:lnTo>
                    <a:pt x="1931" y="6415"/>
                  </a:lnTo>
                  <a:lnTo>
                    <a:pt x="1905" y="6403"/>
                  </a:lnTo>
                  <a:lnTo>
                    <a:pt x="1879" y="6391"/>
                  </a:lnTo>
                  <a:lnTo>
                    <a:pt x="1853" y="6379"/>
                  </a:lnTo>
                  <a:lnTo>
                    <a:pt x="1827" y="6366"/>
                  </a:lnTo>
                  <a:lnTo>
                    <a:pt x="1802" y="6352"/>
                  </a:lnTo>
                  <a:lnTo>
                    <a:pt x="1776" y="6338"/>
                  </a:lnTo>
                  <a:lnTo>
                    <a:pt x="1752" y="6324"/>
                  </a:lnTo>
                  <a:lnTo>
                    <a:pt x="1727" y="6309"/>
                  </a:lnTo>
                  <a:lnTo>
                    <a:pt x="1703" y="6294"/>
                  </a:lnTo>
                  <a:lnTo>
                    <a:pt x="1680" y="6279"/>
                  </a:lnTo>
                  <a:lnTo>
                    <a:pt x="1656" y="6263"/>
                  </a:lnTo>
                  <a:lnTo>
                    <a:pt x="1633" y="6246"/>
                  </a:lnTo>
                  <a:lnTo>
                    <a:pt x="1611" y="6230"/>
                  </a:lnTo>
                  <a:lnTo>
                    <a:pt x="1607" y="6228"/>
                  </a:lnTo>
                  <a:lnTo>
                    <a:pt x="1605" y="6225"/>
                  </a:lnTo>
                  <a:lnTo>
                    <a:pt x="1583" y="6209"/>
                  </a:lnTo>
                  <a:lnTo>
                    <a:pt x="1561" y="6191"/>
                  </a:lnTo>
                  <a:lnTo>
                    <a:pt x="1540" y="6173"/>
                  </a:lnTo>
                  <a:lnTo>
                    <a:pt x="1519" y="6155"/>
                  </a:lnTo>
                  <a:lnTo>
                    <a:pt x="1499" y="6136"/>
                  </a:lnTo>
                  <a:lnTo>
                    <a:pt x="1478" y="6118"/>
                  </a:lnTo>
                  <a:lnTo>
                    <a:pt x="1458" y="6098"/>
                  </a:lnTo>
                  <a:lnTo>
                    <a:pt x="1438" y="6079"/>
                  </a:lnTo>
                  <a:lnTo>
                    <a:pt x="1400" y="6039"/>
                  </a:lnTo>
                  <a:lnTo>
                    <a:pt x="1364" y="5997"/>
                  </a:lnTo>
                  <a:lnTo>
                    <a:pt x="1329" y="5954"/>
                  </a:lnTo>
                  <a:lnTo>
                    <a:pt x="1295" y="5910"/>
                  </a:lnTo>
                  <a:lnTo>
                    <a:pt x="1292" y="5906"/>
                  </a:lnTo>
                  <a:lnTo>
                    <a:pt x="1289" y="5903"/>
                  </a:lnTo>
                  <a:lnTo>
                    <a:pt x="1274" y="5881"/>
                  </a:lnTo>
                  <a:lnTo>
                    <a:pt x="1258" y="5860"/>
                  </a:lnTo>
                  <a:lnTo>
                    <a:pt x="1244" y="5837"/>
                  </a:lnTo>
                  <a:lnTo>
                    <a:pt x="1231" y="5815"/>
                  </a:lnTo>
                  <a:lnTo>
                    <a:pt x="1205" y="5771"/>
                  </a:lnTo>
                  <a:lnTo>
                    <a:pt x="1181" y="5725"/>
                  </a:lnTo>
                  <a:lnTo>
                    <a:pt x="1158" y="5678"/>
                  </a:lnTo>
                  <a:lnTo>
                    <a:pt x="1137" y="5630"/>
                  </a:lnTo>
                  <a:lnTo>
                    <a:pt x="1117" y="5581"/>
                  </a:lnTo>
                  <a:lnTo>
                    <a:pt x="1098" y="5532"/>
                  </a:lnTo>
                  <a:lnTo>
                    <a:pt x="1091" y="5512"/>
                  </a:lnTo>
                  <a:lnTo>
                    <a:pt x="1085" y="5492"/>
                  </a:lnTo>
                  <a:lnTo>
                    <a:pt x="1079" y="5472"/>
                  </a:lnTo>
                  <a:lnTo>
                    <a:pt x="1074" y="5452"/>
                  </a:lnTo>
                  <a:lnTo>
                    <a:pt x="1059" y="5402"/>
                  </a:lnTo>
                  <a:lnTo>
                    <a:pt x="1046" y="5350"/>
                  </a:lnTo>
                  <a:lnTo>
                    <a:pt x="1034" y="5298"/>
                  </a:lnTo>
                  <a:lnTo>
                    <a:pt x="1025" y="5246"/>
                  </a:lnTo>
                  <a:lnTo>
                    <a:pt x="1020" y="5219"/>
                  </a:lnTo>
                  <a:lnTo>
                    <a:pt x="1017" y="5193"/>
                  </a:lnTo>
                  <a:lnTo>
                    <a:pt x="1014" y="5165"/>
                  </a:lnTo>
                  <a:lnTo>
                    <a:pt x="1011" y="5139"/>
                  </a:lnTo>
                  <a:lnTo>
                    <a:pt x="1009" y="5112"/>
                  </a:lnTo>
                  <a:lnTo>
                    <a:pt x="1007" y="5085"/>
                  </a:lnTo>
                  <a:lnTo>
                    <a:pt x="1006" y="5057"/>
                  </a:lnTo>
                  <a:lnTo>
                    <a:pt x="1006" y="5030"/>
                  </a:lnTo>
                  <a:lnTo>
                    <a:pt x="1006" y="5002"/>
                  </a:lnTo>
                  <a:lnTo>
                    <a:pt x="1007" y="4974"/>
                  </a:lnTo>
                  <a:lnTo>
                    <a:pt x="1009" y="4947"/>
                  </a:lnTo>
                  <a:lnTo>
                    <a:pt x="1011" y="4920"/>
                  </a:lnTo>
                  <a:lnTo>
                    <a:pt x="1014" y="4893"/>
                  </a:lnTo>
                  <a:lnTo>
                    <a:pt x="1017" y="4866"/>
                  </a:lnTo>
                  <a:lnTo>
                    <a:pt x="1020" y="4840"/>
                  </a:lnTo>
                  <a:lnTo>
                    <a:pt x="1025" y="4812"/>
                  </a:lnTo>
                  <a:lnTo>
                    <a:pt x="1034" y="4760"/>
                  </a:lnTo>
                  <a:lnTo>
                    <a:pt x="1046" y="4709"/>
                  </a:lnTo>
                  <a:lnTo>
                    <a:pt x="1059" y="4657"/>
                  </a:lnTo>
                  <a:lnTo>
                    <a:pt x="1074" y="4606"/>
                  </a:lnTo>
                  <a:lnTo>
                    <a:pt x="1079" y="4586"/>
                  </a:lnTo>
                  <a:lnTo>
                    <a:pt x="1085" y="4567"/>
                  </a:lnTo>
                  <a:lnTo>
                    <a:pt x="1091" y="4547"/>
                  </a:lnTo>
                  <a:lnTo>
                    <a:pt x="1098" y="4528"/>
                  </a:lnTo>
                  <a:lnTo>
                    <a:pt x="1117" y="4478"/>
                  </a:lnTo>
                  <a:lnTo>
                    <a:pt x="1137" y="4429"/>
                  </a:lnTo>
                  <a:lnTo>
                    <a:pt x="1158" y="4382"/>
                  </a:lnTo>
                  <a:lnTo>
                    <a:pt x="1181" y="4335"/>
                  </a:lnTo>
                  <a:lnTo>
                    <a:pt x="1205" y="4288"/>
                  </a:lnTo>
                  <a:lnTo>
                    <a:pt x="1231" y="4243"/>
                  </a:lnTo>
                  <a:lnTo>
                    <a:pt x="1244" y="4221"/>
                  </a:lnTo>
                  <a:lnTo>
                    <a:pt x="1258" y="4200"/>
                  </a:lnTo>
                  <a:lnTo>
                    <a:pt x="1274" y="4178"/>
                  </a:lnTo>
                  <a:lnTo>
                    <a:pt x="1289" y="4157"/>
                  </a:lnTo>
                  <a:lnTo>
                    <a:pt x="1292" y="4153"/>
                  </a:lnTo>
                  <a:lnTo>
                    <a:pt x="1295" y="4148"/>
                  </a:lnTo>
                  <a:lnTo>
                    <a:pt x="1329" y="4104"/>
                  </a:lnTo>
                  <a:lnTo>
                    <a:pt x="1364" y="4062"/>
                  </a:lnTo>
                  <a:lnTo>
                    <a:pt x="1400" y="4020"/>
                  </a:lnTo>
                  <a:lnTo>
                    <a:pt x="1438" y="3979"/>
                  </a:lnTo>
                  <a:lnTo>
                    <a:pt x="1458" y="3960"/>
                  </a:lnTo>
                  <a:lnTo>
                    <a:pt x="1478" y="3941"/>
                  </a:lnTo>
                  <a:lnTo>
                    <a:pt x="1499" y="3922"/>
                  </a:lnTo>
                  <a:lnTo>
                    <a:pt x="1519" y="3903"/>
                  </a:lnTo>
                  <a:lnTo>
                    <a:pt x="1540" y="3885"/>
                  </a:lnTo>
                  <a:lnTo>
                    <a:pt x="1561" y="3868"/>
                  </a:lnTo>
                  <a:lnTo>
                    <a:pt x="1583" y="3850"/>
                  </a:lnTo>
                  <a:lnTo>
                    <a:pt x="1605" y="3833"/>
                  </a:lnTo>
                  <a:lnTo>
                    <a:pt x="1607" y="3832"/>
                  </a:lnTo>
                  <a:lnTo>
                    <a:pt x="1611" y="3830"/>
                  </a:lnTo>
                  <a:lnTo>
                    <a:pt x="1633" y="3813"/>
                  </a:lnTo>
                  <a:lnTo>
                    <a:pt x="1656" y="3796"/>
                  </a:lnTo>
                  <a:lnTo>
                    <a:pt x="1680" y="3780"/>
                  </a:lnTo>
                  <a:lnTo>
                    <a:pt x="1703" y="3765"/>
                  </a:lnTo>
                  <a:lnTo>
                    <a:pt x="1727" y="3750"/>
                  </a:lnTo>
                  <a:lnTo>
                    <a:pt x="1752" y="3735"/>
                  </a:lnTo>
                  <a:lnTo>
                    <a:pt x="1776" y="3721"/>
                  </a:lnTo>
                  <a:lnTo>
                    <a:pt x="1802" y="3707"/>
                  </a:lnTo>
                  <a:lnTo>
                    <a:pt x="1827" y="3694"/>
                  </a:lnTo>
                  <a:lnTo>
                    <a:pt x="1853" y="3681"/>
                  </a:lnTo>
                  <a:lnTo>
                    <a:pt x="1879" y="3669"/>
                  </a:lnTo>
                  <a:lnTo>
                    <a:pt x="1905" y="3657"/>
                  </a:lnTo>
                  <a:lnTo>
                    <a:pt x="1931" y="3645"/>
                  </a:lnTo>
                  <a:lnTo>
                    <a:pt x="1958" y="3633"/>
                  </a:lnTo>
                  <a:lnTo>
                    <a:pt x="1985" y="3623"/>
                  </a:lnTo>
                  <a:lnTo>
                    <a:pt x="2012" y="3613"/>
                  </a:lnTo>
                  <a:lnTo>
                    <a:pt x="2041" y="3603"/>
                  </a:lnTo>
                  <a:lnTo>
                    <a:pt x="2071" y="3593"/>
                  </a:lnTo>
                  <a:lnTo>
                    <a:pt x="2101" y="3584"/>
                  </a:lnTo>
                  <a:lnTo>
                    <a:pt x="2133" y="3575"/>
                  </a:lnTo>
                  <a:lnTo>
                    <a:pt x="2163" y="3567"/>
                  </a:lnTo>
                  <a:lnTo>
                    <a:pt x="2194" y="3559"/>
                  </a:lnTo>
                  <a:lnTo>
                    <a:pt x="2225" y="3552"/>
                  </a:lnTo>
                  <a:lnTo>
                    <a:pt x="2256" y="3546"/>
                  </a:lnTo>
                  <a:lnTo>
                    <a:pt x="2288" y="3540"/>
                  </a:lnTo>
                  <a:lnTo>
                    <a:pt x="2320" y="3535"/>
                  </a:lnTo>
                  <a:lnTo>
                    <a:pt x="2351" y="3531"/>
                  </a:lnTo>
                  <a:lnTo>
                    <a:pt x="2383" y="3528"/>
                  </a:lnTo>
                  <a:lnTo>
                    <a:pt x="2416" y="3525"/>
                  </a:lnTo>
                  <a:lnTo>
                    <a:pt x="2448" y="3523"/>
                  </a:lnTo>
                  <a:lnTo>
                    <a:pt x="2482" y="3521"/>
                  </a:lnTo>
                  <a:lnTo>
                    <a:pt x="2515" y="3521"/>
                  </a:lnTo>
                  <a:lnTo>
                    <a:pt x="2548" y="3521"/>
                  </a:lnTo>
                  <a:lnTo>
                    <a:pt x="2581" y="3523"/>
                  </a:lnTo>
                  <a:lnTo>
                    <a:pt x="2613" y="3525"/>
                  </a:lnTo>
                  <a:lnTo>
                    <a:pt x="2646" y="3528"/>
                  </a:lnTo>
                  <a:lnTo>
                    <a:pt x="2678" y="3531"/>
                  </a:lnTo>
                  <a:lnTo>
                    <a:pt x="2710" y="3535"/>
                  </a:lnTo>
                  <a:lnTo>
                    <a:pt x="2742" y="3540"/>
                  </a:lnTo>
                  <a:lnTo>
                    <a:pt x="2773" y="3546"/>
                  </a:lnTo>
                  <a:lnTo>
                    <a:pt x="2805" y="3552"/>
                  </a:lnTo>
                  <a:lnTo>
                    <a:pt x="2836" y="3559"/>
                  </a:lnTo>
                  <a:lnTo>
                    <a:pt x="2867" y="3567"/>
                  </a:lnTo>
                  <a:lnTo>
                    <a:pt x="2897" y="3575"/>
                  </a:lnTo>
                  <a:lnTo>
                    <a:pt x="2928" y="3584"/>
                  </a:lnTo>
                  <a:lnTo>
                    <a:pt x="2958" y="3593"/>
                  </a:lnTo>
                  <a:lnTo>
                    <a:pt x="2988" y="3603"/>
                  </a:lnTo>
                  <a:lnTo>
                    <a:pt x="3018" y="3613"/>
                  </a:lnTo>
                  <a:lnTo>
                    <a:pt x="3045" y="3623"/>
                  </a:lnTo>
                  <a:lnTo>
                    <a:pt x="3072" y="3633"/>
                  </a:lnTo>
                  <a:lnTo>
                    <a:pt x="3098" y="3645"/>
                  </a:lnTo>
                  <a:lnTo>
                    <a:pt x="3124" y="3657"/>
                  </a:lnTo>
                  <a:lnTo>
                    <a:pt x="3151" y="3669"/>
                  </a:lnTo>
                  <a:lnTo>
                    <a:pt x="3177" y="3681"/>
                  </a:lnTo>
                  <a:lnTo>
                    <a:pt x="3202" y="3694"/>
                  </a:lnTo>
                  <a:lnTo>
                    <a:pt x="3228" y="3707"/>
                  </a:lnTo>
                  <a:lnTo>
                    <a:pt x="3252" y="3721"/>
                  </a:lnTo>
                  <a:lnTo>
                    <a:pt x="3277" y="3735"/>
                  </a:lnTo>
                  <a:lnTo>
                    <a:pt x="3301" y="3750"/>
                  </a:lnTo>
                  <a:lnTo>
                    <a:pt x="3326" y="3765"/>
                  </a:lnTo>
                  <a:lnTo>
                    <a:pt x="3374" y="3796"/>
                  </a:lnTo>
                  <a:lnTo>
                    <a:pt x="3420" y="3830"/>
                  </a:lnTo>
                  <a:lnTo>
                    <a:pt x="3422" y="3832"/>
                  </a:lnTo>
                  <a:lnTo>
                    <a:pt x="3424" y="3833"/>
                  </a:lnTo>
                  <a:lnTo>
                    <a:pt x="3446" y="3850"/>
                  </a:lnTo>
                  <a:lnTo>
                    <a:pt x="3468" y="3868"/>
                  </a:lnTo>
                  <a:lnTo>
                    <a:pt x="3490" y="3885"/>
                  </a:lnTo>
                  <a:lnTo>
                    <a:pt x="3511" y="3903"/>
                  </a:lnTo>
                  <a:lnTo>
                    <a:pt x="3531" y="3922"/>
                  </a:lnTo>
                  <a:lnTo>
                    <a:pt x="3552" y="3941"/>
                  </a:lnTo>
                  <a:lnTo>
                    <a:pt x="3571" y="3960"/>
                  </a:lnTo>
                  <a:lnTo>
                    <a:pt x="3591" y="3979"/>
                  </a:lnTo>
                  <a:lnTo>
                    <a:pt x="3629" y="4020"/>
                  </a:lnTo>
                  <a:lnTo>
                    <a:pt x="3666" y="4062"/>
                  </a:lnTo>
                  <a:lnTo>
                    <a:pt x="3701" y="4104"/>
                  </a:lnTo>
                  <a:lnTo>
                    <a:pt x="3735" y="4148"/>
                  </a:lnTo>
                  <a:lnTo>
                    <a:pt x="3738" y="4153"/>
                  </a:lnTo>
                  <a:lnTo>
                    <a:pt x="3741" y="4157"/>
                  </a:lnTo>
                  <a:lnTo>
                    <a:pt x="3756" y="4178"/>
                  </a:lnTo>
                  <a:lnTo>
                    <a:pt x="3770" y="4200"/>
                  </a:lnTo>
                  <a:lnTo>
                    <a:pt x="3784" y="4221"/>
                  </a:lnTo>
                  <a:lnTo>
                    <a:pt x="3798" y="4243"/>
                  </a:lnTo>
                  <a:lnTo>
                    <a:pt x="3825" y="4288"/>
                  </a:lnTo>
                  <a:lnTo>
                    <a:pt x="3849" y="4335"/>
                  </a:lnTo>
                  <a:lnTo>
                    <a:pt x="3872" y="4382"/>
                  </a:lnTo>
                  <a:lnTo>
                    <a:pt x="3893" y="4429"/>
                  </a:lnTo>
                  <a:lnTo>
                    <a:pt x="3913" y="4478"/>
                  </a:lnTo>
                  <a:lnTo>
                    <a:pt x="3931" y="4528"/>
                  </a:lnTo>
                  <a:lnTo>
                    <a:pt x="3938" y="4547"/>
                  </a:lnTo>
                  <a:lnTo>
                    <a:pt x="3944" y="4567"/>
                  </a:lnTo>
                  <a:lnTo>
                    <a:pt x="3950" y="4586"/>
                  </a:lnTo>
                  <a:lnTo>
                    <a:pt x="3955" y="4606"/>
                  </a:lnTo>
                  <a:lnTo>
                    <a:pt x="3970" y="4657"/>
                  </a:lnTo>
                  <a:lnTo>
                    <a:pt x="3984" y="4709"/>
                  </a:lnTo>
                  <a:lnTo>
                    <a:pt x="3996" y="4760"/>
                  </a:lnTo>
                  <a:lnTo>
                    <a:pt x="4005" y="4812"/>
                  </a:lnTo>
                  <a:lnTo>
                    <a:pt x="4010" y="4840"/>
                  </a:lnTo>
                  <a:lnTo>
                    <a:pt x="4013" y="4866"/>
                  </a:lnTo>
                  <a:lnTo>
                    <a:pt x="4016" y="4893"/>
                  </a:lnTo>
                  <a:lnTo>
                    <a:pt x="4019" y="4920"/>
                  </a:lnTo>
                  <a:lnTo>
                    <a:pt x="4021" y="4947"/>
                  </a:lnTo>
                  <a:lnTo>
                    <a:pt x="4023" y="4974"/>
                  </a:lnTo>
                  <a:lnTo>
                    <a:pt x="4024" y="5002"/>
                  </a:lnTo>
                  <a:lnTo>
                    <a:pt x="4024" y="5030"/>
                  </a:lnTo>
                  <a:lnTo>
                    <a:pt x="4024" y="5057"/>
                  </a:lnTo>
                  <a:lnTo>
                    <a:pt x="4023" y="5085"/>
                  </a:lnTo>
                  <a:lnTo>
                    <a:pt x="4021" y="5112"/>
                  </a:lnTo>
                  <a:lnTo>
                    <a:pt x="4019" y="5139"/>
                  </a:lnTo>
                  <a:lnTo>
                    <a:pt x="4016" y="5165"/>
                  </a:lnTo>
                  <a:lnTo>
                    <a:pt x="4013" y="5193"/>
                  </a:lnTo>
                  <a:lnTo>
                    <a:pt x="4010" y="5219"/>
                  </a:lnTo>
                  <a:lnTo>
                    <a:pt x="4005" y="5246"/>
                  </a:lnTo>
                  <a:lnTo>
                    <a:pt x="3996" y="5298"/>
                  </a:lnTo>
                  <a:lnTo>
                    <a:pt x="3984" y="5350"/>
                  </a:lnTo>
                  <a:lnTo>
                    <a:pt x="3970" y="5402"/>
                  </a:lnTo>
                  <a:lnTo>
                    <a:pt x="3955" y="5452"/>
                  </a:lnTo>
                  <a:close/>
                  <a:moveTo>
                    <a:pt x="3018" y="14586"/>
                  </a:moveTo>
                  <a:lnTo>
                    <a:pt x="3017" y="14612"/>
                  </a:lnTo>
                  <a:lnTo>
                    <a:pt x="3015" y="14637"/>
                  </a:lnTo>
                  <a:lnTo>
                    <a:pt x="3012" y="14663"/>
                  </a:lnTo>
                  <a:lnTo>
                    <a:pt x="3008" y="14688"/>
                  </a:lnTo>
                  <a:lnTo>
                    <a:pt x="3002" y="14712"/>
                  </a:lnTo>
                  <a:lnTo>
                    <a:pt x="2996" y="14736"/>
                  </a:lnTo>
                  <a:lnTo>
                    <a:pt x="2988" y="14759"/>
                  </a:lnTo>
                  <a:lnTo>
                    <a:pt x="2979" y="14782"/>
                  </a:lnTo>
                  <a:lnTo>
                    <a:pt x="2969" y="14804"/>
                  </a:lnTo>
                  <a:lnTo>
                    <a:pt x="2957" y="14827"/>
                  </a:lnTo>
                  <a:lnTo>
                    <a:pt x="2945" y="14847"/>
                  </a:lnTo>
                  <a:lnTo>
                    <a:pt x="2932" y="14868"/>
                  </a:lnTo>
                  <a:lnTo>
                    <a:pt x="2918" y="14887"/>
                  </a:lnTo>
                  <a:lnTo>
                    <a:pt x="2903" y="14906"/>
                  </a:lnTo>
                  <a:lnTo>
                    <a:pt x="2887" y="14924"/>
                  </a:lnTo>
                  <a:lnTo>
                    <a:pt x="2871" y="14942"/>
                  </a:lnTo>
                  <a:lnTo>
                    <a:pt x="2853" y="14958"/>
                  </a:lnTo>
                  <a:lnTo>
                    <a:pt x="2835" y="14974"/>
                  </a:lnTo>
                  <a:lnTo>
                    <a:pt x="2816" y="14989"/>
                  </a:lnTo>
                  <a:lnTo>
                    <a:pt x="2796" y="15004"/>
                  </a:lnTo>
                  <a:lnTo>
                    <a:pt x="2775" y="15017"/>
                  </a:lnTo>
                  <a:lnTo>
                    <a:pt x="2754" y="15029"/>
                  </a:lnTo>
                  <a:lnTo>
                    <a:pt x="2733" y="15040"/>
                  </a:lnTo>
                  <a:lnTo>
                    <a:pt x="2711" y="15050"/>
                  </a:lnTo>
                  <a:lnTo>
                    <a:pt x="2688" y="15059"/>
                  </a:lnTo>
                  <a:lnTo>
                    <a:pt x="2665" y="15067"/>
                  </a:lnTo>
                  <a:lnTo>
                    <a:pt x="2641" y="15073"/>
                  </a:lnTo>
                  <a:lnTo>
                    <a:pt x="2616" y="15079"/>
                  </a:lnTo>
                  <a:lnTo>
                    <a:pt x="2591" y="15083"/>
                  </a:lnTo>
                  <a:lnTo>
                    <a:pt x="2566" y="15086"/>
                  </a:lnTo>
                  <a:lnTo>
                    <a:pt x="2541" y="15088"/>
                  </a:lnTo>
                  <a:lnTo>
                    <a:pt x="2515" y="15089"/>
                  </a:lnTo>
                  <a:lnTo>
                    <a:pt x="2489" y="15088"/>
                  </a:lnTo>
                  <a:lnTo>
                    <a:pt x="2464" y="15086"/>
                  </a:lnTo>
                  <a:lnTo>
                    <a:pt x="2438" y="15083"/>
                  </a:lnTo>
                  <a:lnTo>
                    <a:pt x="2413" y="15079"/>
                  </a:lnTo>
                  <a:lnTo>
                    <a:pt x="2389" y="15073"/>
                  </a:lnTo>
                  <a:lnTo>
                    <a:pt x="2365" y="15067"/>
                  </a:lnTo>
                  <a:lnTo>
                    <a:pt x="2342" y="15059"/>
                  </a:lnTo>
                  <a:lnTo>
                    <a:pt x="2319" y="15050"/>
                  </a:lnTo>
                  <a:lnTo>
                    <a:pt x="2297" y="15040"/>
                  </a:lnTo>
                  <a:lnTo>
                    <a:pt x="2274" y="15029"/>
                  </a:lnTo>
                  <a:lnTo>
                    <a:pt x="2254" y="15017"/>
                  </a:lnTo>
                  <a:lnTo>
                    <a:pt x="2233" y="15004"/>
                  </a:lnTo>
                  <a:lnTo>
                    <a:pt x="2214" y="14989"/>
                  </a:lnTo>
                  <a:lnTo>
                    <a:pt x="2195" y="14974"/>
                  </a:lnTo>
                  <a:lnTo>
                    <a:pt x="2177" y="14958"/>
                  </a:lnTo>
                  <a:lnTo>
                    <a:pt x="2159" y="14942"/>
                  </a:lnTo>
                  <a:lnTo>
                    <a:pt x="2143" y="14924"/>
                  </a:lnTo>
                  <a:lnTo>
                    <a:pt x="2127" y="14906"/>
                  </a:lnTo>
                  <a:lnTo>
                    <a:pt x="2111" y="14887"/>
                  </a:lnTo>
                  <a:lnTo>
                    <a:pt x="2097" y="14868"/>
                  </a:lnTo>
                  <a:lnTo>
                    <a:pt x="2084" y="14847"/>
                  </a:lnTo>
                  <a:lnTo>
                    <a:pt x="2072" y="14827"/>
                  </a:lnTo>
                  <a:lnTo>
                    <a:pt x="2061" y="14804"/>
                  </a:lnTo>
                  <a:lnTo>
                    <a:pt x="2051" y="14782"/>
                  </a:lnTo>
                  <a:lnTo>
                    <a:pt x="2042" y="14759"/>
                  </a:lnTo>
                  <a:lnTo>
                    <a:pt x="2034" y="14736"/>
                  </a:lnTo>
                  <a:lnTo>
                    <a:pt x="2028" y="14712"/>
                  </a:lnTo>
                  <a:lnTo>
                    <a:pt x="2022" y="14688"/>
                  </a:lnTo>
                  <a:lnTo>
                    <a:pt x="2018" y="14663"/>
                  </a:lnTo>
                  <a:lnTo>
                    <a:pt x="2015" y="14637"/>
                  </a:lnTo>
                  <a:lnTo>
                    <a:pt x="2013" y="14612"/>
                  </a:lnTo>
                  <a:lnTo>
                    <a:pt x="2012" y="14586"/>
                  </a:lnTo>
                  <a:lnTo>
                    <a:pt x="2012" y="7493"/>
                  </a:lnTo>
                  <a:lnTo>
                    <a:pt x="2073" y="7505"/>
                  </a:lnTo>
                  <a:lnTo>
                    <a:pt x="2135" y="7515"/>
                  </a:lnTo>
                  <a:lnTo>
                    <a:pt x="2197" y="7524"/>
                  </a:lnTo>
                  <a:lnTo>
                    <a:pt x="2259" y="7531"/>
                  </a:lnTo>
                  <a:lnTo>
                    <a:pt x="2323" y="7537"/>
                  </a:lnTo>
                  <a:lnTo>
                    <a:pt x="2386" y="7542"/>
                  </a:lnTo>
                  <a:lnTo>
                    <a:pt x="2450" y="7544"/>
                  </a:lnTo>
                  <a:lnTo>
                    <a:pt x="2515" y="7545"/>
                  </a:lnTo>
                  <a:lnTo>
                    <a:pt x="2579" y="7544"/>
                  </a:lnTo>
                  <a:lnTo>
                    <a:pt x="2644" y="7542"/>
                  </a:lnTo>
                  <a:lnTo>
                    <a:pt x="2707" y="7537"/>
                  </a:lnTo>
                  <a:lnTo>
                    <a:pt x="2770" y="7531"/>
                  </a:lnTo>
                  <a:lnTo>
                    <a:pt x="2833" y="7524"/>
                  </a:lnTo>
                  <a:lnTo>
                    <a:pt x="2895" y="7515"/>
                  </a:lnTo>
                  <a:lnTo>
                    <a:pt x="2956" y="7505"/>
                  </a:lnTo>
                  <a:lnTo>
                    <a:pt x="3018" y="7493"/>
                  </a:lnTo>
                  <a:lnTo>
                    <a:pt x="3018" y="14586"/>
                  </a:lnTo>
                  <a:close/>
                  <a:moveTo>
                    <a:pt x="2012" y="1509"/>
                  </a:moveTo>
                  <a:lnTo>
                    <a:pt x="2013" y="1483"/>
                  </a:lnTo>
                  <a:lnTo>
                    <a:pt x="2015" y="1458"/>
                  </a:lnTo>
                  <a:lnTo>
                    <a:pt x="2018" y="1432"/>
                  </a:lnTo>
                  <a:lnTo>
                    <a:pt x="2022" y="1407"/>
                  </a:lnTo>
                  <a:lnTo>
                    <a:pt x="2028" y="1383"/>
                  </a:lnTo>
                  <a:lnTo>
                    <a:pt x="2034" y="1359"/>
                  </a:lnTo>
                  <a:lnTo>
                    <a:pt x="2042" y="1336"/>
                  </a:lnTo>
                  <a:lnTo>
                    <a:pt x="2051" y="1313"/>
                  </a:lnTo>
                  <a:lnTo>
                    <a:pt x="2061" y="1291"/>
                  </a:lnTo>
                  <a:lnTo>
                    <a:pt x="2072" y="1269"/>
                  </a:lnTo>
                  <a:lnTo>
                    <a:pt x="2084" y="1248"/>
                  </a:lnTo>
                  <a:lnTo>
                    <a:pt x="2097" y="1227"/>
                  </a:lnTo>
                  <a:lnTo>
                    <a:pt x="2111" y="1208"/>
                  </a:lnTo>
                  <a:lnTo>
                    <a:pt x="2127" y="1189"/>
                  </a:lnTo>
                  <a:lnTo>
                    <a:pt x="2143" y="1171"/>
                  </a:lnTo>
                  <a:lnTo>
                    <a:pt x="2159" y="1153"/>
                  </a:lnTo>
                  <a:lnTo>
                    <a:pt x="2177" y="1137"/>
                  </a:lnTo>
                  <a:lnTo>
                    <a:pt x="2195" y="1121"/>
                  </a:lnTo>
                  <a:lnTo>
                    <a:pt x="2214" y="1106"/>
                  </a:lnTo>
                  <a:lnTo>
                    <a:pt x="2233" y="1091"/>
                  </a:lnTo>
                  <a:lnTo>
                    <a:pt x="2254" y="1078"/>
                  </a:lnTo>
                  <a:lnTo>
                    <a:pt x="2274" y="1066"/>
                  </a:lnTo>
                  <a:lnTo>
                    <a:pt x="2297" y="1055"/>
                  </a:lnTo>
                  <a:lnTo>
                    <a:pt x="2319" y="1045"/>
                  </a:lnTo>
                  <a:lnTo>
                    <a:pt x="2342" y="1036"/>
                  </a:lnTo>
                  <a:lnTo>
                    <a:pt x="2365" y="1029"/>
                  </a:lnTo>
                  <a:lnTo>
                    <a:pt x="2389" y="1022"/>
                  </a:lnTo>
                  <a:lnTo>
                    <a:pt x="2413" y="1016"/>
                  </a:lnTo>
                  <a:lnTo>
                    <a:pt x="2438" y="1012"/>
                  </a:lnTo>
                  <a:lnTo>
                    <a:pt x="2464" y="1009"/>
                  </a:lnTo>
                  <a:lnTo>
                    <a:pt x="2489" y="1007"/>
                  </a:lnTo>
                  <a:lnTo>
                    <a:pt x="2515" y="1006"/>
                  </a:lnTo>
                  <a:lnTo>
                    <a:pt x="2541" y="1007"/>
                  </a:lnTo>
                  <a:lnTo>
                    <a:pt x="2566" y="1009"/>
                  </a:lnTo>
                  <a:lnTo>
                    <a:pt x="2591" y="1012"/>
                  </a:lnTo>
                  <a:lnTo>
                    <a:pt x="2616" y="1016"/>
                  </a:lnTo>
                  <a:lnTo>
                    <a:pt x="2641" y="1022"/>
                  </a:lnTo>
                  <a:lnTo>
                    <a:pt x="2665" y="1029"/>
                  </a:lnTo>
                  <a:lnTo>
                    <a:pt x="2688" y="1036"/>
                  </a:lnTo>
                  <a:lnTo>
                    <a:pt x="2711" y="1045"/>
                  </a:lnTo>
                  <a:lnTo>
                    <a:pt x="2733" y="1055"/>
                  </a:lnTo>
                  <a:lnTo>
                    <a:pt x="2754" y="1066"/>
                  </a:lnTo>
                  <a:lnTo>
                    <a:pt x="2775" y="1078"/>
                  </a:lnTo>
                  <a:lnTo>
                    <a:pt x="2796" y="1091"/>
                  </a:lnTo>
                  <a:lnTo>
                    <a:pt x="2816" y="1106"/>
                  </a:lnTo>
                  <a:lnTo>
                    <a:pt x="2835" y="1121"/>
                  </a:lnTo>
                  <a:lnTo>
                    <a:pt x="2853" y="1137"/>
                  </a:lnTo>
                  <a:lnTo>
                    <a:pt x="2871" y="1153"/>
                  </a:lnTo>
                  <a:lnTo>
                    <a:pt x="2887" y="1171"/>
                  </a:lnTo>
                  <a:lnTo>
                    <a:pt x="2903" y="1189"/>
                  </a:lnTo>
                  <a:lnTo>
                    <a:pt x="2918" y="1208"/>
                  </a:lnTo>
                  <a:lnTo>
                    <a:pt x="2932" y="1227"/>
                  </a:lnTo>
                  <a:lnTo>
                    <a:pt x="2945" y="1248"/>
                  </a:lnTo>
                  <a:lnTo>
                    <a:pt x="2957" y="1269"/>
                  </a:lnTo>
                  <a:lnTo>
                    <a:pt x="2969" y="1291"/>
                  </a:lnTo>
                  <a:lnTo>
                    <a:pt x="2979" y="1313"/>
                  </a:lnTo>
                  <a:lnTo>
                    <a:pt x="2988" y="1336"/>
                  </a:lnTo>
                  <a:lnTo>
                    <a:pt x="2996" y="1359"/>
                  </a:lnTo>
                  <a:lnTo>
                    <a:pt x="3002" y="1383"/>
                  </a:lnTo>
                  <a:lnTo>
                    <a:pt x="3008" y="1407"/>
                  </a:lnTo>
                  <a:lnTo>
                    <a:pt x="3012" y="1432"/>
                  </a:lnTo>
                  <a:lnTo>
                    <a:pt x="3015" y="1458"/>
                  </a:lnTo>
                  <a:lnTo>
                    <a:pt x="3017" y="1483"/>
                  </a:lnTo>
                  <a:lnTo>
                    <a:pt x="3018" y="1509"/>
                  </a:lnTo>
                  <a:lnTo>
                    <a:pt x="3018" y="2565"/>
                  </a:lnTo>
                  <a:lnTo>
                    <a:pt x="2956" y="2554"/>
                  </a:lnTo>
                  <a:lnTo>
                    <a:pt x="2895" y="2543"/>
                  </a:lnTo>
                  <a:lnTo>
                    <a:pt x="2833" y="2535"/>
                  </a:lnTo>
                  <a:lnTo>
                    <a:pt x="2770" y="2528"/>
                  </a:lnTo>
                  <a:lnTo>
                    <a:pt x="2707" y="2522"/>
                  </a:lnTo>
                  <a:lnTo>
                    <a:pt x="2644" y="2518"/>
                  </a:lnTo>
                  <a:lnTo>
                    <a:pt x="2579" y="2516"/>
                  </a:lnTo>
                  <a:lnTo>
                    <a:pt x="2515" y="2515"/>
                  </a:lnTo>
                  <a:lnTo>
                    <a:pt x="2450" y="2516"/>
                  </a:lnTo>
                  <a:lnTo>
                    <a:pt x="2386" y="2518"/>
                  </a:lnTo>
                  <a:lnTo>
                    <a:pt x="2323" y="2522"/>
                  </a:lnTo>
                  <a:lnTo>
                    <a:pt x="2259" y="2528"/>
                  </a:lnTo>
                  <a:lnTo>
                    <a:pt x="2197" y="2535"/>
                  </a:lnTo>
                  <a:lnTo>
                    <a:pt x="2135" y="2543"/>
                  </a:lnTo>
                  <a:lnTo>
                    <a:pt x="2073" y="2554"/>
                  </a:lnTo>
                  <a:lnTo>
                    <a:pt x="2012" y="2565"/>
                  </a:lnTo>
                  <a:lnTo>
                    <a:pt x="2012" y="1509"/>
                  </a:lnTo>
                  <a:close/>
                  <a:moveTo>
                    <a:pt x="4024" y="3029"/>
                  </a:moveTo>
                  <a:lnTo>
                    <a:pt x="4024" y="1509"/>
                  </a:lnTo>
                  <a:lnTo>
                    <a:pt x="4022" y="1431"/>
                  </a:lnTo>
                  <a:lnTo>
                    <a:pt x="4016" y="1355"/>
                  </a:lnTo>
                  <a:lnTo>
                    <a:pt x="4007" y="1280"/>
                  </a:lnTo>
                  <a:lnTo>
                    <a:pt x="3994" y="1205"/>
                  </a:lnTo>
                  <a:lnTo>
                    <a:pt x="3976" y="1133"/>
                  </a:lnTo>
                  <a:lnTo>
                    <a:pt x="3955" y="1060"/>
                  </a:lnTo>
                  <a:lnTo>
                    <a:pt x="3932" y="991"/>
                  </a:lnTo>
                  <a:lnTo>
                    <a:pt x="3905" y="922"/>
                  </a:lnTo>
                  <a:lnTo>
                    <a:pt x="3875" y="855"/>
                  </a:lnTo>
                  <a:lnTo>
                    <a:pt x="3842" y="791"/>
                  </a:lnTo>
                  <a:lnTo>
                    <a:pt x="3805" y="727"/>
                  </a:lnTo>
                  <a:lnTo>
                    <a:pt x="3765" y="666"/>
                  </a:lnTo>
                  <a:lnTo>
                    <a:pt x="3724" y="607"/>
                  </a:lnTo>
                  <a:lnTo>
                    <a:pt x="3679" y="549"/>
                  </a:lnTo>
                  <a:lnTo>
                    <a:pt x="3631" y="495"/>
                  </a:lnTo>
                  <a:lnTo>
                    <a:pt x="3581" y="443"/>
                  </a:lnTo>
                  <a:lnTo>
                    <a:pt x="3529" y="392"/>
                  </a:lnTo>
                  <a:lnTo>
                    <a:pt x="3475" y="345"/>
                  </a:lnTo>
                  <a:lnTo>
                    <a:pt x="3417" y="300"/>
                  </a:lnTo>
                  <a:lnTo>
                    <a:pt x="3358" y="259"/>
                  </a:lnTo>
                  <a:lnTo>
                    <a:pt x="3296" y="219"/>
                  </a:lnTo>
                  <a:lnTo>
                    <a:pt x="3233" y="182"/>
                  </a:lnTo>
                  <a:lnTo>
                    <a:pt x="3169" y="149"/>
                  </a:lnTo>
                  <a:lnTo>
                    <a:pt x="3101" y="119"/>
                  </a:lnTo>
                  <a:lnTo>
                    <a:pt x="3033" y="92"/>
                  </a:lnTo>
                  <a:lnTo>
                    <a:pt x="2962" y="68"/>
                  </a:lnTo>
                  <a:lnTo>
                    <a:pt x="2891" y="47"/>
                  </a:lnTo>
                  <a:lnTo>
                    <a:pt x="2819" y="31"/>
                  </a:lnTo>
                  <a:lnTo>
                    <a:pt x="2744" y="17"/>
                  </a:lnTo>
                  <a:lnTo>
                    <a:pt x="2669" y="8"/>
                  </a:lnTo>
                  <a:lnTo>
                    <a:pt x="2592" y="2"/>
                  </a:lnTo>
                  <a:lnTo>
                    <a:pt x="2515" y="0"/>
                  </a:lnTo>
                  <a:lnTo>
                    <a:pt x="2437" y="2"/>
                  </a:lnTo>
                  <a:lnTo>
                    <a:pt x="2361" y="8"/>
                  </a:lnTo>
                  <a:lnTo>
                    <a:pt x="2285" y="17"/>
                  </a:lnTo>
                  <a:lnTo>
                    <a:pt x="2211" y="31"/>
                  </a:lnTo>
                  <a:lnTo>
                    <a:pt x="2138" y="47"/>
                  </a:lnTo>
                  <a:lnTo>
                    <a:pt x="2066" y="68"/>
                  </a:lnTo>
                  <a:lnTo>
                    <a:pt x="1997" y="92"/>
                  </a:lnTo>
                  <a:lnTo>
                    <a:pt x="1928" y="119"/>
                  </a:lnTo>
                  <a:lnTo>
                    <a:pt x="1861" y="149"/>
                  </a:lnTo>
                  <a:lnTo>
                    <a:pt x="1796" y="182"/>
                  </a:lnTo>
                  <a:lnTo>
                    <a:pt x="1733" y="219"/>
                  </a:lnTo>
                  <a:lnTo>
                    <a:pt x="1672" y="259"/>
                  </a:lnTo>
                  <a:lnTo>
                    <a:pt x="1613" y="300"/>
                  </a:lnTo>
                  <a:lnTo>
                    <a:pt x="1555" y="345"/>
                  </a:lnTo>
                  <a:lnTo>
                    <a:pt x="1501" y="392"/>
                  </a:lnTo>
                  <a:lnTo>
                    <a:pt x="1449" y="443"/>
                  </a:lnTo>
                  <a:lnTo>
                    <a:pt x="1398" y="495"/>
                  </a:lnTo>
                  <a:lnTo>
                    <a:pt x="1351" y="549"/>
                  </a:lnTo>
                  <a:lnTo>
                    <a:pt x="1306" y="607"/>
                  </a:lnTo>
                  <a:lnTo>
                    <a:pt x="1263" y="666"/>
                  </a:lnTo>
                  <a:lnTo>
                    <a:pt x="1224" y="727"/>
                  </a:lnTo>
                  <a:lnTo>
                    <a:pt x="1188" y="791"/>
                  </a:lnTo>
                  <a:lnTo>
                    <a:pt x="1155" y="855"/>
                  </a:lnTo>
                  <a:lnTo>
                    <a:pt x="1125" y="922"/>
                  </a:lnTo>
                  <a:lnTo>
                    <a:pt x="1097" y="991"/>
                  </a:lnTo>
                  <a:lnTo>
                    <a:pt x="1074" y="1060"/>
                  </a:lnTo>
                  <a:lnTo>
                    <a:pt x="1053" y="1133"/>
                  </a:lnTo>
                  <a:lnTo>
                    <a:pt x="1037" y="1205"/>
                  </a:lnTo>
                  <a:lnTo>
                    <a:pt x="1023" y="1280"/>
                  </a:lnTo>
                  <a:lnTo>
                    <a:pt x="1014" y="1355"/>
                  </a:lnTo>
                  <a:lnTo>
                    <a:pt x="1008" y="1431"/>
                  </a:lnTo>
                  <a:lnTo>
                    <a:pt x="1006" y="1509"/>
                  </a:lnTo>
                  <a:lnTo>
                    <a:pt x="1006" y="3029"/>
                  </a:lnTo>
                  <a:lnTo>
                    <a:pt x="950" y="3073"/>
                  </a:lnTo>
                  <a:lnTo>
                    <a:pt x="894" y="3118"/>
                  </a:lnTo>
                  <a:lnTo>
                    <a:pt x="841" y="3165"/>
                  </a:lnTo>
                  <a:lnTo>
                    <a:pt x="789" y="3213"/>
                  </a:lnTo>
                  <a:lnTo>
                    <a:pt x="737" y="3263"/>
                  </a:lnTo>
                  <a:lnTo>
                    <a:pt x="687" y="3314"/>
                  </a:lnTo>
                  <a:lnTo>
                    <a:pt x="639" y="3366"/>
                  </a:lnTo>
                  <a:lnTo>
                    <a:pt x="592" y="3420"/>
                  </a:lnTo>
                  <a:lnTo>
                    <a:pt x="547" y="3476"/>
                  </a:lnTo>
                  <a:lnTo>
                    <a:pt x="503" y="3532"/>
                  </a:lnTo>
                  <a:lnTo>
                    <a:pt x="461" y="3589"/>
                  </a:lnTo>
                  <a:lnTo>
                    <a:pt x="420" y="3648"/>
                  </a:lnTo>
                  <a:lnTo>
                    <a:pt x="381" y="3708"/>
                  </a:lnTo>
                  <a:lnTo>
                    <a:pt x="344" y="3768"/>
                  </a:lnTo>
                  <a:lnTo>
                    <a:pt x="309" y="3831"/>
                  </a:lnTo>
                  <a:lnTo>
                    <a:pt x="276" y="3894"/>
                  </a:lnTo>
                  <a:lnTo>
                    <a:pt x="243" y="3958"/>
                  </a:lnTo>
                  <a:lnTo>
                    <a:pt x="213" y="4024"/>
                  </a:lnTo>
                  <a:lnTo>
                    <a:pt x="184" y="4090"/>
                  </a:lnTo>
                  <a:lnTo>
                    <a:pt x="158" y="4158"/>
                  </a:lnTo>
                  <a:lnTo>
                    <a:pt x="134" y="4226"/>
                  </a:lnTo>
                  <a:lnTo>
                    <a:pt x="111" y="4294"/>
                  </a:lnTo>
                  <a:lnTo>
                    <a:pt x="91" y="4365"/>
                  </a:lnTo>
                  <a:lnTo>
                    <a:pt x="71" y="4435"/>
                  </a:lnTo>
                  <a:lnTo>
                    <a:pt x="55" y="4508"/>
                  </a:lnTo>
                  <a:lnTo>
                    <a:pt x="41" y="4580"/>
                  </a:lnTo>
                  <a:lnTo>
                    <a:pt x="28" y="4653"/>
                  </a:lnTo>
                  <a:lnTo>
                    <a:pt x="18" y="4727"/>
                  </a:lnTo>
                  <a:lnTo>
                    <a:pt x="10" y="4801"/>
                  </a:lnTo>
                  <a:lnTo>
                    <a:pt x="5" y="4877"/>
                  </a:lnTo>
                  <a:lnTo>
                    <a:pt x="1" y="4953"/>
                  </a:lnTo>
                  <a:lnTo>
                    <a:pt x="0" y="5030"/>
                  </a:lnTo>
                  <a:lnTo>
                    <a:pt x="1" y="5106"/>
                  </a:lnTo>
                  <a:lnTo>
                    <a:pt x="5" y="5183"/>
                  </a:lnTo>
                  <a:lnTo>
                    <a:pt x="10" y="5258"/>
                  </a:lnTo>
                  <a:lnTo>
                    <a:pt x="18" y="5332"/>
                  </a:lnTo>
                  <a:lnTo>
                    <a:pt x="28" y="5407"/>
                  </a:lnTo>
                  <a:lnTo>
                    <a:pt x="41" y="5479"/>
                  </a:lnTo>
                  <a:lnTo>
                    <a:pt x="55" y="5552"/>
                  </a:lnTo>
                  <a:lnTo>
                    <a:pt x="71" y="5624"/>
                  </a:lnTo>
                  <a:lnTo>
                    <a:pt x="91" y="5695"/>
                  </a:lnTo>
                  <a:lnTo>
                    <a:pt x="111" y="5765"/>
                  </a:lnTo>
                  <a:lnTo>
                    <a:pt x="134" y="5834"/>
                  </a:lnTo>
                  <a:lnTo>
                    <a:pt x="158" y="5902"/>
                  </a:lnTo>
                  <a:lnTo>
                    <a:pt x="184" y="5969"/>
                  </a:lnTo>
                  <a:lnTo>
                    <a:pt x="213" y="6036"/>
                  </a:lnTo>
                  <a:lnTo>
                    <a:pt x="243" y="6101"/>
                  </a:lnTo>
                  <a:lnTo>
                    <a:pt x="276" y="6165"/>
                  </a:lnTo>
                  <a:lnTo>
                    <a:pt x="309" y="6229"/>
                  </a:lnTo>
                  <a:lnTo>
                    <a:pt x="344" y="6291"/>
                  </a:lnTo>
                  <a:lnTo>
                    <a:pt x="381" y="6351"/>
                  </a:lnTo>
                  <a:lnTo>
                    <a:pt x="420" y="6412"/>
                  </a:lnTo>
                  <a:lnTo>
                    <a:pt x="461" y="6470"/>
                  </a:lnTo>
                  <a:lnTo>
                    <a:pt x="503" y="6529"/>
                  </a:lnTo>
                  <a:lnTo>
                    <a:pt x="547" y="6584"/>
                  </a:lnTo>
                  <a:lnTo>
                    <a:pt x="592" y="6639"/>
                  </a:lnTo>
                  <a:lnTo>
                    <a:pt x="639" y="6694"/>
                  </a:lnTo>
                  <a:lnTo>
                    <a:pt x="687" y="6746"/>
                  </a:lnTo>
                  <a:lnTo>
                    <a:pt x="737" y="6796"/>
                  </a:lnTo>
                  <a:lnTo>
                    <a:pt x="789" y="6846"/>
                  </a:lnTo>
                  <a:lnTo>
                    <a:pt x="841" y="6895"/>
                  </a:lnTo>
                  <a:lnTo>
                    <a:pt x="894" y="6941"/>
                  </a:lnTo>
                  <a:lnTo>
                    <a:pt x="950" y="6986"/>
                  </a:lnTo>
                  <a:lnTo>
                    <a:pt x="1006" y="7030"/>
                  </a:lnTo>
                  <a:lnTo>
                    <a:pt x="1006" y="14586"/>
                  </a:lnTo>
                  <a:lnTo>
                    <a:pt x="1008" y="14664"/>
                  </a:lnTo>
                  <a:lnTo>
                    <a:pt x="1014" y="14740"/>
                  </a:lnTo>
                  <a:lnTo>
                    <a:pt x="1023" y="14815"/>
                  </a:lnTo>
                  <a:lnTo>
                    <a:pt x="1037" y="14890"/>
                  </a:lnTo>
                  <a:lnTo>
                    <a:pt x="1053" y="14962"/>
                  </a:lnTo>
                  <a:lnTo>
                    <a:pt x="1074" y="15035"/>
                  </a:lnTo>
                  <a:lnTo>
                    <a:pt x="1097" y="15104"/>
                  </a:lnTo>
                  <a:lnTo>
                    <a:pt x="1125" y="15173"/>
                  </a:lnTo>
                  <a:lnTo>
                    <a:pt x="1155" y="15240"/>
                  </a:lnTo>
                  <a:lnTo>
                    <a:pt x="1188" y="15304"/>
                  </a:lnTo>
                  <a:lnTo>
                    <a:pt x="1224" y="15368"/>
                  </a:lnTo>
                  <a:lnTo>
                    <a:pt x="1263" y="15429"/>
                  </a:lnTo>
                  <a:lnTo>
                    <a:pt x="1306" y="15488"/>
                  </a:lnTo>
                  <a:lnTo>
                    <a:pt x="1351" y="15546"/>
                  </a:lnTo>
                  <a:lnTo>
                    <a:pt x="1398" y="15600"/>
                  </a:lnTo>
                  <a:lnTo>
                    <a:pt x="1449" y="15652"/>
                  </a:lnTo>
                  <a:lnTo>
                    <a:pt x="1501" y="15703"/>
                  </a:lnTo>
                  <a:lnTo>
                    <a:pt x="1555" y="15750"/>
                  </a:lnTo>
                  <a:lnTo>
                    <a:pt x="1613" y="15795"/>
                  </a:lnTo>
                  <a:lnTo>
                    <a:pt x="1672" y="15836"/>
                  </a:lnTo>
                  <a:lnTo>
                    <a:pt x="1733" y="15877"/>
                  </a:lnTo>
                  <a:lnTo>
                    <a:pt x="1796" y="15913"/>
                  </a:lnTo>
                  <a:lnTo>
                    <a:pt x="1861" y="15946"/>
                  </a:lnTo>
                  <a:lnTo>
                    <a:pt x="1928" y="15976"/>
                  </a:lnTo>
                  <a:lnTo>
                    <a:pt x="1997" y="16003"/>
                  </a:lnTo>
                  <a:lnTo>
                    <a:pt x="2066" y="16027"/>
                  </a:lnTo>
                  <a:lnTo>
                    <a:pt x="2138" y="16048"/>
                  </a:lnTo>
                  <a:lnTo>
                    <a:pt x="2211" y="16064"/>
                  </a:lnTo>
                  <a:lnTo>
                    <a:pt x="2285" y="16078"/>
                  </a:lnTo>
                  <a:lnTo>
                    <a:pt x="2361" y="16087"/>
                  </a:lnTo>
                  <a:lnTo>
                    <a:pt x="2437" y="16093"/>
                  </a:lnTo>
                  <a:lnTo>
                    <a:pt x="2515" y="16095"/>
                  </a:lnTo>
                  <a:lnTo>
                    <a:pt x="2592" y="16093"/>
                  </a:lnTo>
                  <a:lnTo>
                    <a:pt x="2669" y="16087"/>
                  </a:lnTo>
                  <a:lnTo>
                    <a:pt x="2744" y="16078"/>
                  </a:lnTo>
                  <a:lnTo>
                    <a:pt x="2819" y="16064"/>
                  </a:lnTo>
                  <a:lnTo>
                    <a:pt x="2891" y="16048"/>
                  </a:lnTo>
                  <a:lnTo>
                    <a:pt x="2962" y="16027"/>
                  </a:lnTo>
                  <a:lnTo>
                    <a:pt x="3033" y="16003"/>
                  </a:lnTo>
                  <a:lnTo>
                    <a:pt x="3101" y="15976"/>
                  </a:lnTo>
                  <a:lnTo>
                    <a:pt x="3169" y="15946"/>
                  </a:lnTo>
                  <a:lnTo>
                    <a:pt x="3233" y="15913"/>
                  </a:lnTo>
                  <a:lnTo>
                    <a:pt x="3296" y="15877"/>
                  </a:lnTo>
                  <a:lnTo>
                    <a:pt x="3358" y="15836"/>
                  </a:lnTo>
                  <a:lnTo>
                    <a:pt x="3417" y="15795"/>
                  </a:lnTo>
                  <a:lnTo>
                    <a:pt x="3475" y="15750"/>
                  </a:lnTo>
                  <a:lnTo>
                    <a:pt x="3529" y="15703"/>
                  </a:lnTo>
                  <a:lnTo>
                    <a:pt x="3581" y="15652"/>
                  </a:lnTo>
                  <a:lnTo>
                    <a:pt x="3631" y="15600"/>
                  </a:lnTo>
                  <a:lnTo>
                    <a:pt x="3679" y="15546"/>
                  </a:lnTo>
                  <a:lnTo>
                    <a:pt x="3724" y="15488"/>
                  </a:lnTo>
                  <a:lnTo>
                    <a:pt x="3765" y="15429"/>
                  </a:lnTo>
                  <a:lnTo>
                    <a:pt x="3805" y="15368"/>
                  </a:lnTo>
                  <a:lnTo>
                    <a:pt x="3842" y="15304"/>
                  </a:lnTo>
                  <a:lnTo>
                    <a:pt x="3875" y="15240"/>
                  </a:lnTo>
                  <a:lnTo>
                    <a:pt x="3905" y="15173"/>
                  </a:lnTo>
                  <a:lnTo>
                    <a:pt x="3932" y="15104"/>
                  </a:lnTo>
                  <a:lnTo>
                    <a:pt x="3955" y="15035"/>
                  </a:lnTo>
                  <a:lnTo>
                    <a:pt x="3976" y="14962"/>
                  </a:lnTo>
                  <a:lnTo>
                    <a:pt x="3994" y="14890"/>
                  </a:lnTo>
                  <a:lnTo>
                    <a:pt x="4007" y="14815"/>
                  </a:lnTo>
                  <a:lnTo>
                    <a:pt x="4016" y="14740"/>
                  </a:lnTo>
                  <a:lnTo>
                    <a:pt x="4022" y="14664"/>
                  </a:lnTo>
                  <a:lnTo>
                    <a:pt x="4024" y="14586"/>
                  </a:lnTo>
                  <a:lnTo>
                    <a:pt x="4024" y="7030"/>
                  </a:lnTo>
                  <a:lnTo>
                    <a:pt x="4080" y="6986"/>
                  </a:lnTo>
                  <a:lnTo>
                    <a:pt x="4135" y="6941"/>
                  </a:lnTo>
                  <a:lnTo>
                    <a:pt x="4189" y="6895"/>
                  </a:lnTo>
                  <a:lnTo>
                    <a:pt x="4241" y="6846"/>
                  </a:lnTo>
                  <a:lnTo>
                    <a:pt x="4292" y="6796"/>
                  </a:lnTo>
                  <a:lnTo>
                    <a:pt x="4343" y="6746"/>
                  </a:lnTo>
                  <a:lnTo>
                    <a:pt x="4391" y="6694"/>
                  </a:lnTo>
                  <a:lnTo>
                    <a:pt x="4437" y="6639"/>
                  </a:lnTo>
                  <a:lnTo>
                    <a:pt x="4482" y="6584"/>
                  </a:lnTo>
                  <a:lnTo>
                    <a:pt x="4527" y="6529"/>
                  </a:lnTo>
                  <a:lnTo>
                    <a:pt x="4569" y="6470"/>
                  </a:lnTo>
                  <a:lnTo>
                    <a:pt x="4609" y="6412"/>
                  </a:lnTo>
                  <a:lnTo>
                    <a:pt x="4648" y="6351"/>
                  </a:lnTo>
                  <a:lnTo>
                    <a:pt x="4686" y="6291"/>
                  </a:lnTo>
                  <a:lnTo>
                    <a:pt x="4721" y="6229"/>
                  </a:lnTo>
                  <a:lnTo>
                    <a:pt x="4754" y="6165"/>
                  </a:lnTo>
                  <a:lnTo>
                    <a:pt x="4786" y="6101"/>
                  </a:lnTo>
                  <a:lnTo>
                    <a:pt x="4816" y="6036"/>
                  </a:lnTo>
                  <a:lnTo>
                    <a:pt x="4846" y="5969"/>
                  </a:lnTo>
                  <a:lnTo>
                    <a:pt x="4872" y="5902"/>
                  </a:lnTo>
                  <a:lnTo>
                    <a:pt x="4896" y="5834"/>
                  </a:lnTo>
                  <a:lnTo>
                    <a:pt x="4919" y="5765"/>
                  </a:lnTo>
                  <a:lnTo>
                    <a:pt x="4939" y="5695"/>
                  </a:lnTo>
                  <a:lnTo>
                    <a:pt x="4958" y="5624"/>
                  </a:lnTo>
                  <a:lnTo>
                    <a:pt x="4974" y="5552"/>
                  </a:lnTo>
                  <a:lnTo>
                    <a:pt x="4988" y="5479"/>
                  </a:lnTo>
                  <a:lnTo>
                    <a:pt x="5002" y="5407"/>
                  </a:lnTo>
                  <a:lnTo>
                    <a:pt x="5012" y="5332"/>
                  </a:lnTo>
                  <a:lnTo>
                    <a:pt x="5020" y="5258"/>
                  </a:lnTo>
                  <a:lnTo>
                    <a:pt x="5025" y="5183"/>
                  </a:lnTo>
                  <a:lnTo>
                    <a:pt x="5029" y="5106"/>
                  </a:lnTo>
                  <a:lnTo>
                    <a:pt x="5030" y="5030"/>
                  </a:lnTo>
                  <a:lnTo>
                    <a:pt x="5029" y="4953"/>
                  </a:lnTo>
                  <a:lnTo>
                    <a:pt x="5025" y="4877"/>
                  </a:lnTo>
                  <a:lnTo>
                    <a:pt x="5020" y="4801"/>
                  </a:lnTo>
                  <a:lnTo>
                    <a:pt x="5012" y="4727"/>
                  </a:lnTo>
                  <a:lnTo>
                    <a:pt x="5002" y="4653"/>
                  </a:lnTo>
                  <a:lnTo>
                    <a:pt x="4988" y="4580"/>
                  </a:lnTo>
                  <a:lnTo>
                    <a:pt x="4974" y="4508"/>
                  </a:lnTo>
                  <a:lnTo>
                    <a:pt x="4958" y="4435"/>
                  </a:lnTo>
                  <a:lnTo>
                    <a:pt x="4939" y="4365"/>
                  </a:lnTo>
                  <a:lnTo>
                    <a:pt x="4919" y="4294"/>
                  </a:lnTo>
                  <a:lnTo>
                    <a:pt x="4896" y="4226"/>
                  </a:lnTo>
                  <a:lnTo>
                    <a:pt x="4872" y="4158"/>
                  </a:lnTo>
                  <a:lnTo>
                    <a:pt x="4846" y="4090"/>
                  </a:lnTo>
                  <a:lnTo>
                    <a:pt x="4816" y="4024"/>
                  </a:lnTo>
                  <a:lnTo>
                    <a:pt x="4786" y="3958"/>
                  </a:lnTo>
                  <a:lnTo>
                    <a:pt x="4754" y="3894"/>
                  </a:lnTo>
                  <a:lnTo>
                    <a:pt x="4721" y="3831"/>
                  </a:lnTo>
                  <a:lnTo>
                    <a:pt x="4686" y="3768"/>
                  </a:lnTo>
                  <a:lnTo>
                    <a:pt x="4648" y="3708"/>
                  </a:lnTo>
                  <a:lnTo>
                    <a:pt x="4609" y="3648"/>
                  </a:lnTo>
                  <a:lnTo>
                    <a:pt x="4569" y="3589"/>
                  </a:lnTo>
                  <a:lnTo>
                    <a:pt x="4527" y="3532"/>
                  </a:lnTo>
                  <a:lnTo>
                    <a:pt x="4482" y="3476"/>
                  </a:lnTo>
                  <a:lnTo>
                    <a:pt x="4437" y="3420"/>
                  </a:lnTo>
                  <a:lnTo>
                    <a:pt x="4391" y="3366"/>
                  </a:lnTo>
                  <a:lnTo>
                    <a:pt x="4343" y="3314"/>
                  </a:lnTo>
                  <a:lnTo>
                    <a:pt x="4292" y="3263"/>
                  </a:lnTo>
                  <a:lnTo>
                    <a:pt x="4241" y="3213"/>
                  </a:lnTo>
                  <a:lnTo>
                    <a:pt x="4189" y="3165"/>
                  </a:lnTo>
                  <a:lnTo>
                    <a:pt x="4135" y="3118"/>
                  </a:lnTo>
                  <a:lnTo>
                    <a:pt x="4080" y="3073"/>
                  </a:lnTo>
                  <a:lnTo>
                    <a:pt x="4024" y="30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66" name="ísļiḍe">
              <a:extLst>
                <a:ext uri="{FF2B5EF4-FFF2-40B4-BE49-F238E27FC236}">
                  <a16:creationId xmlns:a16="http://schemas.microsoft.com/office/drawing/2014/main" id="{FFF1A60C-B71C-4188-B343-0530857EDC0A}"/>
                </a:ext>
              </a:extLst>
            </p:cNvPr>
            <p:cNvSpPr/>
            <p:nvPr/>
          </p:nvSpPr>
          <p:spPr bwMode="auto">
            <a:xfrm>
              <a:off x="5756519" y="2411481"/>
              <a:ext cx="127257" cy="407036"/>
            </a:xfrm>
            <a:custGeom>
              <a:avLst/>
              <a:gdLst>
                <a:gd name="T0" fmla="*/ 3785 w 5030"/>
                <a:gd name="T1" fmla="*/ 5837 h 16095"/>
                <a:gd name="T2" fmla="*/ 3571 w 5030"/>
                <a:gd name="T3" fmla="*/ 6098 h 16095"/>
                <a:gd name="T4" fmla="*/ 3350 w 5030"/>
                <a:gd name="T5" fmla="*/ 6279 h 16095"/>
                <a:gd name="T6" fmla="*/ 3045 w 5030"/>
                <a:gd name="T7" fmla="*/ 6436 h 16095"/>
                <a:gd name="T8" fmla="*/ 2678 w 5030"/>
                <a:gd name="T9" fmla="*/ 6529 h 16095"/>
                <a:gd name="T10" fmla="*/ 2288 w 5030"/>
                <a:gd name="T11" fmla="*/ 6519 h 16095"/>
                <a:gd name="T12" fmla="*/ 1932 w 5030"/>
                <a:gd name="T13" fmla="*/ 6415 h 16095"/>
                <a:gd name="T14" fmla="*/ 1633 w 5030"/>
                <a:gd name="T15" fmla="*/ 6246 h 16095"/>
                <a:gd name="T16" fmla="*/ 1420 w 5030"/>
                <a:gd name="T17" fmla="*/ 6059 h 16095"/>
                <a:gd name="T18" fmla="*/ 1245 w 5030"/>
                <a:gd name="T19" fmla="*/ 5837 h 16095"/>
                <a:gd name="T20" fmla="*/ 1060 w 5030"/>
                <a:gd name="T21" fmla="*/ 5402 h 16095"/>
                <a:gd name="T22" fmla="*/ 1006 w 5030"/>
                <a:gd name="T23" fmla="*/ 5002 h 16095"/>
                <a:gd name="T24" fmla="*/ 1080 w 5030"/>
                <a:gd name="T25" fmla="*/ 4586 h 16095"/>
                <a:gd name="T26" fmla="*/ 1274 w 5030"/>
                <a:gd name="T27" fmla="*/ 4178 h 16095"/>
                <a:gd name="T28" fmla="*/ 1540 w 5030"/>
                <a:gd name="T29" fmla="*/ 3885 h 16095"/>
                <a:gd name="T30" fmla="*/ 1777 w 5030"/>
                <a:gd name="T31" fmla="*/ 3721 h 16095"/>
                <a:gd name="T32" fmla="*/ 2102 w 5030"/>
                <a:gd name="T33" fmla="*/ 3584 h 16095"/>
                <a:gd name="T34" fmla="*/ 2482 w 5030"/>
                <a:gd name="T35" fmla="*/ 3521 h 16095"/>
                <a:gd name="T36" fmla="*/ 2867 w 5030"/>
                <a:gd name="T37" fmla="*/ 3567 h 16095"/>
                <a:gd name="T38" fmla="*/ 3202 w 5030"/>
                <a:gd name="T39" fmla="*/ 3694 h 16095"/>
                <a:gd name="T40" fmla="*/ 3490 w 5030"/>
                <a:gd name="T41" fmla="*/ 3885 h 16095"/>
                <a:gd name="T42" fmla="*/ 3756 w 5030"/>
                <a:gd name="T43" fmla="*/ 4178 h 16095"/>
                <a:gd name="T44" fmla="*/ 3951 w 5030"/>
                <a:gd name="T45" fmla="*/ 4586 h 16095"/>
                <a:gd name="T46" fmla="*/ 4024 w 5030"/>
                <a:gd name="T47" fmla="*/ 5002 h 16095"/>
                <a:gd name="T48" fmla="*/ 3971 w 5030"/>
                <a:gd name="T49" fmla="*/ 5402 h 16095"/>
                <a:gd name="T50" fmla="*/ 2958 w 5030"/>
                <a:gd name="T51" fmla="*/ 14827 h 16095"/>
                <a:gd name="T52" fmla="*/ 2755 w 5030"/>
                <a:gd name="T53" fmla="*/ 15029 h 16095"/>
                <a:gd name="T54" fmla="*/ 2464 w 5030"/>
                <a:gd name="T55" fmla="*/ 15086 h 16095"/>
                <a:gd name="T56" fmla="*/ 2195 w 5030"/>
                <a:gd name="T57" fmla="*/ 14974 h 16095"/>
                <a:gd name="T58" fmla="*/ 2035 w 5030"/>
                <a:gd name="T59" fmla="*/ 14736 h 16095"/>
                <a:gd name="T60" fmla="*/ 2323 w 5030"/>
                <a:gd name="T61" fmla="*/ 7537 h 16095"/>
                <a:gd name="T62" fmla="*/ 3018 w 5030"/>
                <a:gd name="T63" fmla="*/ 14586 h 16095"/>
                <a:gd name="T64" fmla="*/ 2085 w 5030"/>
                <a:gd name="T65" fmla="*/ 1248 h 16095"/>
                <a:gd name="T66" fmla="*/ 2297 w 5030"/>
                <a:gd name="T67" fmla="*/ 1055 h 16095"/>
                <a:gd name="T68" fmla="*/ 2592 w 5030"/>
                <a:gd name="T69" fmla="*/ 1012 h 16095"/>
                <a:gd name="T70" fmla="*/ 2853 w 5030"/>
                <a:gd name="T71" fmla="*/ 1137 h 16095"/>
                <a:gd name="T72" fmla="*/ 3002 w 5030"/>
                <a:gd name="T73" fmla="*/ 1383 h 16095"/>
                <a:gd name="T74" fmla="*/ 2644 w 5030"/>
                <a:gd name="T75" fmla="*/ 2518 h 16095"/>
                <a:gd name="T76" fmla="*/ 4024 w 5030"/>
                <a:gd name="T77" fmla="*/ 3029 h 16095"/>
                <a:gd name="T78" fmla="*/ 3806 w 5030"/>
                <a:gd name="T79" fmla="*/ 727 h 16095"/>
                <a:gd name="T80" fmla="*/ 3169 w 5030"/>
                <a:gd name="T81" fmla="*/ 149 h 16095"/>
                <a:gd name="T82" fmla="*/ 2286 w 5030"/>
                <a:gd name="T83" fmla="*/ 17 h 16095"/>
                <a:gd name="T84" fmla="*/ 1501 w 5030"/>
                <a:gd name="T85" fmla="*/ 392 h 16095"/>
                <a:gd name="T86" fmla="*/ 1054 w 5030"/>
                <a:gd name="T87" fmla="*/ 1133 h 16095"/>
                <a:gd name="T88" fmla="*/ 687 w 5030"/>
                <a:gd name="T89" fmla="*/ 3314 h 16095"/>
                <a:gd name="T90" fmla="*/ 214 w 5030"/>
                <a:gd name="T91" fmla="*/ 4024 h 16095"/>
                <a:gd name="T92" fmla="*/ 5 w 5030"/>
                <a:gd name="T93" fmla="*/ 4877 h 16095"/>
                <a:gd name="T94" fmla="*/ 111 w 5030"/>
                <a:gd name="T95" fmla="*/ 5765 h 16095"/>
                <a:gd name="T96" fmla="*/ 503 w 5030"/>
                <a:gd name="T97" fmla="*/ 6529 h 16095"/>
                <a:gd name="T98" fmla="*/ 1008 w 5030"/>
                <a:gd name="T99" fmla="*/ 14664 h 16095"/>
                <a:gd name="T100" fmla="*/ 1306 w 5030"/>
                <a:gd name="T101" fmla="*/ 15488 h 16095"/>
                <a:gd name="T102" fmla="*/ 1997 w 5030"/>
                <a:gd name="T103" fmla="*/ 16003 h 16095"/>
                <a:gd name="T104" fmla="*/ 2891 w 5030"/>
                <a:gd name="T105" fmla="*/ 16048 h 16095"/>
                <a:gd name="T106" fmla="*/ 3632 w 5030"/>
                <a:gd name="T107" fmla="*/ 15600 h 16095"/>
                <a:gd name="T108" fmla="*/ 4007 w 5030"/>
                <a:gd name="T109" fmla="*/ 14815 h 16095"/>
                <a:gd name="T110" fmla="*/ 4438 w 5030"/>
                <a:gd name="T111" fmla="*/ 6639 h 16095"/>
                <a:gd name="T112" fmla="*/ 4872 w 5030"/>
                <a:gd name="T113" fmla="*/ 5902 h 16095"/>
                <a:gd name="T114" fmla="*/ 5030 w 5030"/>
                <a:gd name="T115" fmla="*/ 5030 h 16095"/>
                <a:gd name="T116" fmla="*/ 4872 w 5030"/>
                <a:gd name="T117" fmla="*/ 4158 h 16095"/>
                <a:gd name="T118" fmla="*/ 4438 w 5030"/>
                <a:gd name="T119" fmla="*/ 3420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30" h="16095">
                  <a:moveTo>
                    <a:pt x="3956" y="5452"/>
                  </a:moveTo>
                  <a:lnTo>
                    <a:pt x="3951" y="5472"/>
                  </a:lnTo>
                  <a:lnTo>
                    <a:pt x="3945" y="5492"/>
                  </a:lnTo>
                  <a:lnTo>
                    <a:pt x="3939" y="5512"/>
                  </a:lnTo>
                  <a:lnTo>
                    <a:pt x="3932" y="5532"/>
                  </a:lnTo>
                  <a:lnTo>
                    <a:pt x="3913" y="5581"/>
                  </a:lnTo>
                  <a:lnTo>
                    <a:pt x="3893" y="5630"/>
                  </a:lnTo>
                  <a:lnTo>
                    <a:pt x="3872" y="5678"/>
                  </a:lnTo>
                  <a:lnTo>
                    <a:pt x="3849" y="5725"/>
                  </a:lnTo>
                  <a:lnTo>
                    <a:pt x="3825" y="5771"/>
                  </a:lnTo>
                  <a:lnTo>
                    <a:pt x="3799" y="5815"/>
                  </a:lnTo>
                  <a:lnTo>
                    <a:pt x="3785" y="5837"/>
                  </a:lnTo>
                  <a:lnTo>
                    <a:pt x="3771" y="5860"/>
                  </a:lnTo>
                  <a:lnTo>
                    <a:pt x="3756" y="5881"/>
                  </a:lnTo>
                  <a:lnTo>
                    <a:pt x="3741" y="5903"/>
                  </a:lnTo>
                  <a:lnTo>
                    <a:pt x="3738" y="5906"/>
                  </a:lnTo>
                  <a:lnTo>
                    <a:pt x="3735" y="5910"/>
                  </a:lnTo>
                  <a:lnTo>
                    <a:pt x="3701" y="5954"/>
                  </a:lnTo>
                  <a:lnTo>
                    <a:pt x="3666" y="5997"/>
                  </a:lnTo>
                  <a:lnTo>
                    <a:pt x="3648" y="6019"/>
                  </a:lnTo>
                  <a:lnTo>
                    <a:pt x="3630" y="6039"/>
                  </a:lnTo>
                  <a:lnTo>
                    <a:pt x="3611" y="6059"/>
                  </a:lnTo>
                  <a:lnTo>
                    <a:pt x="3592" y="6079"/>
                  </a:lnTo>
                  <a:lnTo>
                    <a:pt x="3571" y="6098"/>
                  </a:lnTo>
                  <a:lnTo>
                    <a:pt x="3552" y="6118"/>
                  </a:lnTo>
                  <a:lnTo>
                    <a:pt x="3531" y="6136"/>
                  </a:lnTo>
                  <a:lnTo>
                    <a:pt x="3511" y="6155"/>
                  </a:lnTo>
                  <a:lnTo>
                    <a:pt x="3490" y="6173"/>
                  </a:lnTo>
                  <a:lnTo>
                    <a:pt x="3469" y="6191"/>
                  </a:lnTo>
                  <a:lnTo>
                    <a:pt x="3447" y="6209"/>
                  </a:lnTo>
                  <a:lnTo>
                    <a:pt x="3425" y="6225"/>
                  </a:lnTo>
                  <a:lnTo>
                    <a:pt x="3423" y="6228"/>
                  </a:lnTo>
                  <a:lnTo>
                    <a:pt x="3421" y="6230"/>
                  </a:lnTo>
                  <a:lnTo>
                    <a:pt x="3397" y="6246"/>
                  </a:lnTo>
                  <a:lnTo>
                    <a:pt x="3374" y="6263"/>
                  </a:lnTo>
                  <a:lnTo>
                    <a:pt x="3350" y="6279"/>
                  </a:lnTo>
                  <a:lnTo>
                    <a:pt x="3326" y="6294"/>
                  </a:lnTo>
                  <a:lnTo>
                    <a:pt x="3302" y="6309"/>
                  </a:lnTo>
                  <a:lnTo>
                    <a:pt x="3278" y="6324"/>
                  </a:lnTo>
                  <a:lnTo>
                    <a:pt x="3253" y="6338"/>
                  </a:lnTo>
                  <a:lnTo>
                    <a:pt x="3228" y="6352"/>
                  </a:lnTo>
                  <a:lnTo>
                    <a:pt x="3202" y="6366"/>
                  </a:lnTo>
                  <a:lnTo>
                    <a:pt x="3177" y="6379"/>
                  </a:lnTo>
                  <a:lnTo>
                    <a:pt x="3151" y="6391"/>
                  </a:lnTo>
                  <a:lnTo>
                    <a:pt x="3125" y="6403"/>
                  </a:lnTo>
                  <a:lnTo>
                    <a:pt x="3099" y="6415"/>
                  </a:lnTo>
                  <a:lnTo>
                    <a:pt x="3072" y="6425"/>
                  </a:lnTo>
                  <a:lnTo>
                    <a:pt x="3045" y="6436"/>
                  </a:lnTo>
                  <a:lnTo>
                    <a:pt x="3018" y="6446"/>
                  </a:lnTo>
                  <a:lnTo>
                    <a:pt x="2988" y="6456"/>
                  </a:lnTo>
                  <a:lnTo>
                    <a:pt x="2959" y="6466"/>
                  </a:lnTo>
                  <a:lnTo>
                    <a:pt x="2929" y="6475"/>
                  </a:lnTo>
                  <a:lnTo>
                    <a:pt x="2897" y="6484"/>
                  </a:lnTo>
                  <a:lnTo>
                    <a:pt x="2867" y="6492"/>
                  </a:lnTo>
                  <a:lnTo>
                    <a:pt x="2836" y="6500"/>
                  </a:lnTo>
                  <a:lnTo>
                    <a:pt x="2805" y="6507"/>
                  </a:lnTo>
                  <a:lnTo>
                    <a:pt x="2774" y="6513"/>
                  </a:lnTo>
                  <a:lnTo>
                    <a:pt x="2742" y="6519"/>
                  </a:lnTo>
                  <a:lnTo>
                    <a:pt x="2710" y="6525"/>
                  </a:lnTo>
                  <a:lnTo>
                    <a:pt x="2678" y="6529"/>
                  </a:lnTo>
                  <a:lnTo>
                    <a:pt x="2646" y="6533"/>
                  </a:lnTo>
                  <a:lnTo>
                    <a:pt x="2614" y="6535"/>
                  </a:lnTo>
                  <a:lnTo>
                    <a:pt x="2582" y="6537"/>
                  </a:lnTo>
                  <a:lnTo>
                    <a:pt x="2548" y="6539"/>
                  </a:lnTo>
                  <a:lnTo>
                    <a:pt x="2515" y="6539"/>
                  </a:lnTo>
                  <a:lnTo>
                    <a:pt x="2482" y="6539"/>
                  </a:lnTo>
                  <a:lnTo>
                    <a:pt x="2449" y="6537"/>
                  </a:lnTo>
                  <a:lnTo>
                    <a:pt x="2417" y="6535"/>
                  </a:lnTo>
                  <a:lnTo>
                    <a:pt x="2383" y="6533"/>
                  </a:lnTo>
                  <a:lnTo>
                    <a:pt x="2351" y="6529"/>
                  </a:lnTo>
                  <a:lnTo>
                    <a:pt x="2320" y="6525"/>
                  </a:lnTo>
                  <a:lnTo>
                    <a:pt x="2288" y="6519"/>
                  </a:lnTo>
                  <a:lnTo>
                    <a:pt x="2257" y="6513"/>
                  </a:lnTo>
                  <a:lnTo>
                    <a:pt x="2225" y="6507"/>
                  </a:lnTo>
                  <a:lnTo>
                    <a:pt x="2194" y="6500"/>
                  </a:lnTo>
                  <a:lnTo>
                    <a:pt x="2163" y="6492"/>
                  </a:lnTo>
                  <a:lnTo>
                    <a:pt x="2133" y="6484"/>
                  </a:lnTo>
                  <a:lnTo>
                    <a:pt x="2102" y="6475"/>
                  </a:lnTo>
                  <a:lnTo>
                    <a:pt x="2072" y="6466"/>
                  </a:lnTo>
                  <a:lnTo>
                    <a:pt x="2042" y="6456"/>
                  </a:lnTo>
                  <a:lnTo>
                    <a:pt x="2012" y="6446"/>
                  </a:lnTo>
                  <a:lnTo>
                    <a:pt x="1985" y="6436"/>
                  </a:lnTo>
                  <a:lnTo>
                    <a:pt x="1958" y="6425"/>
                  </a:lnTo>
                  <a:lnTo>
                    <a:pt x="1932" y="6415"/>
                  </a:lnTo>
                  <a:lnTo>
                    <a:pt x="1906" y="6403"/>
                  </a:lnTo>
                  <a:lnTo>
                    <a:pt x="1879" y="6391"/>
                  </a:lnTo>
                  <a:lnTo>
                    <a:pt x="1853" y="6379"/>
                  </a:lnTo>
                  <a:lnTo>
                    <a:pt x="1827" y="6366"/>
                  </a:lnTo>
                  <a:lnTo>
                    <a:pt x="1802" y="6352"/>
                  </a:lnTo>
                  <a:lnTo>
                    <a:pt x="1777" y="6338"/>
                  </a:lnTo>
                  <a:lnTo>
                    <a:pt x="1753" y="6324"/>
                  </a:lnTo>
                  <a:lnTo>
                    <a:pt x="1728" y="6309"/>
                  </a:lnTo>
                  <a:lnTo>
                    <a:pt x="1703" y="6294"/>
                  </a:lnTo>
                  <a:lnTo>
                    <a:pt x="1680" y="6279"/>
                  </a:lnTo>
                  <a:lnTo>
                    <a:pt x="1656" y="6263"/>
                  </a:lnTo>
                  <a:lnTo>
                    <a:pt x="1633" y="6246"/>
                  </a:lnTo>
                  <a:lnTo>
                    <a:pt x="1611" y="6230"/>
                  </a:lnTo>
                  <a:lnTo>
                    <a:pt x="1608" y="6228"/>
                  </a:lnTo>
                  <a:lnTo>
                    <a:pt x="1606" y="6225"/>
                  </a:lnTo>
                  <a:lnTo>
                    <a:pt x="1584" y="6209"/>
                  </a:lnTo>
                  <a:lnTo>
                    <a:pt x="1562" y="6191"/>
                  </a:lnTo>
                  <a:lnTo>
                    <a:pt x="1540" y="6173"/>
                  </a:lnTo>
                  <a:lnTo>
                    <a:pt x="1519" y="6155"/>
                  </a:lnTo>
                  <a:lnTo>
                    <a:pt x="1499" y="6136"/>
                  </a:lnTo>
                  <a:lnTo>
                    <a:pt x="1478" y="6118"/>
                  </a:lnTo>
                  <a:lnTo>
                    <a:pt x="1459" y="6098"/>
                  </a:lnTo>
                  <a:lnTo>
                    <a:pt x="1439" y="6079"/>
                  </a:lnTo>
                  <a:lnTo>
                    <a:pt x="1420" y="6059"/>
                  </a:lnTo>
                  <a:lnTo>
                    <a:pt x="1401" y="6039"/>
                  </a:lnTo>
                  <a:lnTo>
                    <a:pt x="1382" y="6019"/>
                  </a:lnTo>
                  <a:lnTo>
                    <a:pt x="1364" y="5997"/>
                  </a:lnTo>
                  <a:lnTo>
                    <a:pt x="1346" y="5976"/>
                  </a:lnTo>
                  <a:lnTo>
                    <a:pt x="1329" y="5954"/>
                  </a:lnTo>
                  <a:lnTo>
                    <a:pt x="1312" y="5932"/>
                  </a:lnTo>
                  <a:lnTo>
                    <a:pt x="1296" y="5910"/>
                  </a:lnTo>
                  <a:lnTo>
                    <a:pt x="1292" y="5906"/>
                  </a:lnTo>
                  <a:lnTo>
                    <a:pt x="1289" y="5903"/>
                  </a:lnTo>
                  <a:lnTo>
                    <a:pt x="1274" y="5881"/>
                  </a:lnTo>
                  <a:lnTo>
                    <a:pt x="1259" y="5860"/>
                  </a:lnTo>
                  <a:lnTo>
                    <a:pt x="1245" y="5837"/>
                  </a:lnTo>
                  <a:lnTo>
                    <a:pt x="1232" y="5815"/>
                  </a:lnTo>
                  <a:lnTo>
                    <a:pt x="1205" y="5771"/>
                  </a:lnTo>
                  <a:lnTo>
                    <a:pt x="1181" y="5725"/>
                  </a:lnTo>
                  <a:lnTo>
                    <a:pt x="1158" y="5678"/>
                  </a:lnTo>
                  <a:lnTo>
                    <a:pt x="1137" y="5630"/>
                  </a:lnTo>
                  <a:lnTo>
                    <a:pt x="1117" y="5581"/>
                  </a:lnTo>
                  <a:lnTo>
                    <a:pt x="1099" y="5532"/>
                  </a:lnTo>
                  <a:lnTo>
                    <a:pt x="1092" y="5512"/>
                  </a:lnTo>
                  <a:lnTo>
                    <a:pt x="1086" y="5492"/>
                  </a:lnTo>
                  <a:lnTo>
                    <a:pt x="1080" y="5472"/>
                  </a:lnTo>
                  <a:lnTo>
                    <a:pt x="1075" y="5452"/>
                  </a:lnTo>
                  <a:lnTo>
                    <a:pt x="1060" y="5402"/>
                  </a:lnTo>
                  <a:lnTo>
                    <a:pt x="1046" y="5350"/>
                  </a:lnTo>
                  <a:lnTo>
                    <a:pt x="1034" y="5298"/>
                  </a:lnTo>
                  <a:lnTo>
                    <a:pt x="1025" y="5246"/>
                  </a:lnTo>
                  <a:lnTo>
                    <a:pt x="1020" y="5219"/>
                  </a:lnTo>
                  <a:lnTo>
                    <a:pt x="1017" y="5193"/>
                  </a:lnTo>
                  <a:lnTo>
                    <a:pt x="1014" y="5165"/>
                  </a:lnTo>
                  <a:lnTo>
                    <a:pt x="1011" y="5139"/>
                  </a:lnTo>
                  <a:lnTo>
                    <a:pt x="1009" y="5112"/>
                  </a:lnTo>
                  <a:lnTo>
                    <a:pt x="1007" y="5085"/>
                  </a:lnTo>
                  <a:lnTo>
                    <a:pt x="1006" y="5057"/>
                  </a:lnTo>
                  <a:lnTo>
                    <a:pt x="1006" y="5030"/>
                  </a:lnTo>
                  <a:lnTo>
                    <a:pt x="1006" y="5002"/>
                  </a:lnTo>
                  <a:lnTo>
                    <a:pt x="1007" y="4974"/>
                  </a:lnTo>
                  <a:lnTo>
                    <a:pt x="1009" y="4947"/>
                  </a:lnTo>
                  <a:lnTo>
                    <a:pt x="1011" y="4920"/>
                  </a:lnTo>
                  <a:lnTo>
                    <a:pt x="1014" y="4893"/>
                  </a:lnTo>
                  <a:lnTo>
                    <a:pt x="1017" y="4866"/>
                  </a:lnTo>
                  <a:lnTo>
                    <a:pt x="1020" y="4840"/>
                  </a:lnTo>
                  <a:lnTo>
                    <a:pt x="1025" y="4812"/>
                  </a:lnTo>
                  <a:lnTo>
                    <a:pt x="1034" y="4760"/>
                  </a:lnTo>
                  <a:lnTo>
                    <a:pt x="1046" y="4709"/>
                  </a:lnTo>
                  <a:lnTo>
                    <a:pt x="1060" y="4657"/>
                  </a:lnTo>
                  <a:lnTo>
                    <a:pt x="1075" y="4606"/>
                  </a:lnTo>
                  <a:lnTo>
                    <a:pt x="1080" y="4586"/>
                  </a:lnTo>
                  <a:lnTo>
                    <a:pt x="1086" y="4567"/>
                  </a:lnTo>
                  <a:lnTo>
                    <a:pt x="1092" y="4547"/>
                  </a:lnTo>
                  <a:lnTo>
                    <a:pt x="1099" y="4528"/>
                  </a:lnTo>
                  <a:lnTo>
                    <a:pt x="1117" y="4478"/>
                  </a:lnTo>
                  <a:lnTo>
                    <a:pt x="1137" y="4429"/>
                  </a:lnTo>
                  <a:lnTo>
                    <a:pt x="1158" y="4382"/>
                  </a:lnTo>
                  <a:lnTo>
                    <a:pt x="1181" y="4335"/>
                  </a:lnTo>
                  <a:lnTo>
                    <a:pt x="1205" y="4288"/>
                  </a:lnTo>
                  <a:lnTo>
                    <a:pt x="1232" y="4243"/>
                  </a:lnTo>
                  <a:lnTo>
                    <a:pt x="1245" y="4221"/>
                  </a:lnTo>
                  <a:lnTo>
                    <a:pt x="1259" y="4200"/>
                  </a:lnTo>
                  <a:lnTo>
                    <a:pt x="1274" y="4178"/>
                  </a:lnTo>
                  <a:lnTo>
                    <a:pt x="1289" y="4157"/>
                  </a:lnTo>
                  <a:lnTo>
                    <a:pt x="1292" y="4153"/>
                  </a:lnTo>
                  <a:lnTo>
                    <a:pt x="1296" y="4148"/>
                  </a:lnTo>
                  <a:lnTo>
                    <a:pt x="1329" y="4104"/>
                  </a:lnTo>
                  <a:lnTo>
                    <a:pt x="1364" y="4062"/>
                  </a:lnTo>
                  <a:lnTo>
                    <a:pt x="1401" y="4020"/>
                  </a:lnTo>
                  <a:lnTo>
                    <a:pt x="1439" y="3979"/>
                  </a:lnTo>
                  <a:lnTo>
                    <a:pt x="1459" y="3960"/>
                  </a:lnTo>
                  <a:lnTo>
                    <a:pt x="1478" y="3941"/>
                  </a:lnTo>
                  <a:lnTo>
                    <a:pt x="1499" y="3922"/>
                  </a:lnTo>
                  <a:lnTo>
                    <a:pt x="1519" y="3903"/>
                  </a:lnTo>
                  <a:lnTo>
                    <a:pt x="1540" y="3885"/>
                  </a:lnTo>
                  <a:lnTo>
                    <a:pt x="1562" y="3868"/>
                  </a:lnTo>
                  <a:lnTo>
                    <a:pt x="1584" y="3850"/>
                  </a:lnTo>
                  <a:lnTo>
                    <a:pt x="1606" y="3833"/>
                  </a:lnTo>
                  <a:lnTo>
                    <a:pt x="1608" y="3832"/>
                  </a:lnTo>
                  <a:lnTo>
                    <a:pt x="1611" y="3830"/>
                  </a:lnTo>
                  <a:lnTo>
                    <a:pt x="1633" y="3813"/>
                  </a:lnTo>
                  <a:lnTo>
                    <a:pt x="1656" y="3796"/>
                  </a:lnTo>
                  <a:lnTo>
                    <a:pt x="1680" y="3780"/>
                  </a:lnTo>
                  <a:lnTo>
                    <a:pt x="1703" y="3765"/>
                  </a:lnTo>
                  <a:lnTo>
                    <a:pt x="1728" y="3750"/>
                  </a:lnTo>
                  <a:lnTo>
                    <a:pt x="1753" y="3735"/>
                  </a:lnTo>
                  <a:lnTo>
                    <a:pt x="1777" y="3721"/>
                  </a:lnTo>
                  <a:lnTo>
                    <a:pt x="1802" y="3707"/>
                  </a:lnTo>
                  <a:lnTo>
                    <a:pt x="1827" y="3694"/>
                  </a:lnTo>
                  <a:lnTo>
                    <a:pt x="1853" y="3681"/>
                  </a:lnTo>
                  <a:lnTo>
                    <a:pt x="1879" y="3669"/>
                  </a:lnTo>
                  <a:lnTo>
                    <a:pt x="1906" y="3657"/>
                  </a:lnTo>
                  <a:lnTo>
                    <a:pt x="1932" y="3645"/>
                  </a:lnTo>
                  <a:lnTo>
                    <a:pt x="1958" y="3633"/>
                  </a:lnTo>
                  <a:lnTo>
                    <a:pt x="1985" y="3623"/>
                  </a:lnTo>
                  <a:lnTo>
                    <a:pt x="2012" y="3613"/>
                  </a:lnTo>
                  <a:lnTo>
                    <a:pt x="2042" y="3603"/>
                  </a:lnTo>
                  <a:lnTo>
                    <a:pt x="2072" y="3593"/>
                  </a:lnTo>
                  <a:lnTo>
                    <a:pt x="2102" y="3584"/>
                  </a:lnTo>
                  <a:lnTo>
                    <a:pt x="2133" y="3575"/>
                  </a:lnTo>
                  <a:lnTo>
                    <a:pt x="2163" y="3567"/>
                  </a:lnTo>
                  <a:lnTo>
                    <a:pt x="2194" y="3559"/>
                  </a:lnTo>
                  <a:lnTo>
                    <a:pt x="2225" y="3552"/>
                  </a:lnTo>
                  <a:lnTo>
                    <a:pt x="2257" y="3546"/>
                  </a:lnTo>
                  <a:lnTo>
                    <a:pt x="2288" y="3540"/>
                  </a:lnTo>
                  <a:lnTo>
                    <a:pt x="2320" y="3535"/>
                  </a:lnTo>
                  <a:lnTo>
                    <a:pt x="2351" y="3531"/>
                  </a:lnTo>
                  <a:lnTo>
                    <a:pt x="2383" y="3528"/>
                  </a:lnTo>
                  <a:lnTo>
                    <a:pt x="2417" y="3525"/>
                  </a:lnTo>
                  <a:lnTo>
                    <a:pt x="2449" y="3523"/>
                  </a:lnTo>
                  <a:lnTo>
                    <a:pt x="2482" y="3521"/>
                  </a:lnTo>
                  <a:lnTo>
                    <a:pt x="2515" y="3521"/>
                  </a:lnTo>
                  <a:lnTo>
                    <a:pt x="2548" y="3521"/>
                  </a:lnTo>
                  <a:lnTo>
                    <a:pt x="2582" y="3523"/>
                  </a:lnTo>
                  <a:lnTo>
                    <a:pt x="2614" y="3525"/>
                  </a:lnTo>
                  <a:lnTo>
                    <a:pt x="2646" y="3528"/>
                  </a:lnTo>
                  <a:lnTo>
                    <a:pt x="2678" y="3531"/>
                  </a:lnTo>
                  <a:lnTo>
                    <a:pt x="2710" y="3535"/>
                  </a:lnTo>
                  <a:lnTo>
                    <a:pt x="2742" y="3540"/>
                  </a:lnTo>
                  <a:lnTo>
                    <a:pt x="2774" y="3546"/>
                  </a:lnTo>
                  <a:lnTo>
                    <a:pt x="2805" y="3552"/>
                  </a:lnTo>
                  <a:lnTo>
                    <a:pt x="2836" y="3559"/>
                  </a:lnTo>
                  <a:lnTo>
                    <a:pt x="2867" y="3567"/>
                  </a:lnTo>
                  <a:lnTo>
                    <a:pt x="2897" y="3575"/>
                  </a:lnTo>
                  <a:lnTo>
                    <a:pt x="2929" y="3584"/>
                  </a:lnTo>
                  <a:lnTo>
                    <a:pt x="2959" y="3593"/>
                  </a:lnTo>
                  <a:lnTo>
                    <a:pt x="2988" y="3603"/>
                  </a:lnTo>
                  <a:lnTo>
                    <a:pt x="3018" y="3613"/>
                  </a:lnTo>
                  <a:lnTo>
                    <a:pt x="3045" y="3623"/>
                  </a:lnTo>
                  <a:lnTo>
                    <a:pt x="3072" y="3633"/>
                  </a:lnTo>
                  <a:lnTo>
                    <a:pt x="3099" y="3645"/>
                  </a:lnTo>
                  <a:lnTo>
                    <a:pt x="3125" y="3657"/>
                  </a:lnTo>
                  <a:lnTo>
                    <a:pt x="3151" y="3669"/>
                  </a:lnTo>
                  <a:lnTo>
                    <a:pt x="3177" y="3681"/>
                  </a:lnTo>
                  <a:lnTo>
                    <a:pt x="3202" y="3694"/>
                  </a:lnTo>
                  <a:lnTo>
                    <a:pt x="3228" y="3707"/>
                  </a:lnTo>
                  <a:lnTo>
                    <a:pt x="3253" y="3721"/>
                  </a:lnTo>
                  <a:lnTo>
                    <a:pt x="3278" y="3735"/>
                  </a:lnTo>
                  <a:lnTo>
                    <a:pt x="3302" y="3750"/>
                  </a:lnTo>
                  <a:lnTo>
                    <a:pt x="3326" y="3765"/>
                  </a:lnTo>
                  <a:lnTo>
                    <a:pt x="3374" y="3796"/>
                  </a:lnTo>
                  <a:lnTo>
                    <a:pt x="3421" y="3830"/>
                  </a:lnTo>
                  <a:lnTo>
                    <a:pt x="3423" y="3832"/>
                  </a:lnTo>
                  <a:lnTo>
                    <a:pt x="3425" y="3833"/>
                  </a:lnTo>
                  <a:lnTo>
                    <a:pt x="3447" y="3850"/>
                  </a:lnTo>
                  <a:lnTo>
                    <a:pt x="3469" y="3868"/>
                  </a:lnTo>
                  <a:lnTo>
                    <a:pt x="3490" y="3885"/>
                  </a:lnTo>
                  <a:lnTo>
                    <a:pt x="3511" y="3903"/>
                  </a:lnTo>
                  <a:lnTo>
                    <a:pt x="3531" y="3922"/>
                  </a:lnTo>
                  <a:lnTo>
                    <a:pt x="3552" y="3941"/>
                  </a:lnTo>
                  <a:lnTo>
                    <a:pt x="3571" y="3960"/>
                  </a:lnTo>
                  <a:lnTo>
                    <a:pt x="3592" y="3979"/>
                  </a:lnTo>
                  <a:lnTo>
                    <a:pt x="3630" y="4020"/>
                  </a:lnTo>
                  <a:lnTo>
                    <a:pt x="3666" y="4062"/>
                  </a:lnTo>
                  <a:lnTo>
                    <a:pt x="3701" y="4104"/>
                  </a:lnTo>
                  <a:lnTo>
                    <a:pt x="3735" y="4148"/>
                  </a:lnTo>
                  <a:lnTo>
                    <a:pt x="3738" y="4153"/>
                  </a:lnTo>
                  <a:lnTo>
                    <a:pt x="3741" y="4157"/>
                  </a:lnTo>
                  <a:lnTo>
                    <a:pt x="3756" y="4178"/>
                  </a:lnTo>
                  <a:lnTo>
                    <a:pt x="3771" y="4200"/>
                  </a:lnTo>
                  <a:lnTo>
                    <a:pt x="3785" y="4221"/>
                  </a:lnTo>
                  <a:lnTo>
                    <a:pt x="3799" y="4243"/>
                  </a:lnTo>
                  <a:lnTo>
                    <a:pt x="3825" y="4288"/>
                  </a:lnTo>
                  <a:lnTo>
                    <a:pt x="3849" y="4335"/>
                  </a:lnTo>
                  <a:lnTo>
                    <a:pt x="3872" y="4382"/>
                  </a:lnTo>
                  <a:lnTo>
                    <a:pt x="3893" y="4429"/>
                  </a:lnTo>
                  <a:lnTo>
                    <a:pt x="3913" y="4478"/>
                  </a:lnTo>
                  <a:lnTo>
                    <a:pt x="3932" y="4528"/>
                  </a:lnTo>
                  <a:lnTo>
                    <a:pt x="3939" y="4547"/>
                  </a:lnTo>
                  <a:lnTo>
                    <a:pt x="3945" y="4567"/>
                  </a:lnTo>
                  <a:lnTo>
                    <a:pt x="3951" y="4586"/>
                  </a:lnTo>
                  <a:lnTo>
                    <a:pt x="3956" y="4606"/>
                  </a:lnTo>
                  <a:lnTo>
                    <a:pt x="3971" y="4657"/>
                  </a:lnTo>
                  <a:lnTo>
                    <a:pt x="3984" y="4709"/>
                  </a:lnTo>
                  <a:lnTo>
                    <a:pt x="3996" y="4760"/>
                  </a:lnTo>
                  <a:lnTo>
                    <a:pt x="4005" y="4812"/>
                  </a:lnTo>
                  <a:lnTo>
                    <a:pt x="4010" y="4840"/>
                  </a:lnTo>
                  <a:lnTo>
                    <a:pt x="4013" y="4866"/>
                  </a:lnTo>
                  <a:lnTo>
                    <a:pt x="4016" y="4893"/>
                  </a:lnTo>
                  <a:lnTo>
                    <a:pt x="4019" y="4920"/>
                  </a:lnTo>
                  <a:lnTo>
                    <a:pt x="4021" y="4947"/>
                  </a:lnTo>
                  <a:lnTo>
                    <a:pt x="4023" y="4974"/>
                  </a:lnTo>
                  <a:lnTo>
                    <a:pt x="4024" y="5002"/>
                  </a:lnTo>
                  <a:lnTo>
                    <a:pt x="4024" y="5030"/>
                  </a:lnTo>
                  <a:lnTo>
                    <a:pt x="4024" y="5057"/>
                  </a:lnTo>
                  <a:lnTo>
                    <a:pt x="4023" y="5085"/>
                  </a:lnTo>
                  <a:lnTo>
                    <a:pt x="4021" y="5112"/>
                  </a:lnTo>
                  <a:lnTo>
                    <a:pt x="4019" y="5139"/>
                  </a:lnTo>
                  <a:lnTo>
                    <a:pt x="4016" y="5165"/>
                  </a:lnTo>
                  <a:lnTo>
                    <a:pt x="4013" y="5193"/>
                  </a:lnTo>
                  <a:lnTo>
                    <a:pt x="4010" y="5219"/>
                  </a:lnTo>
                  <a:lnTo>
                    <a:pt x="4005" y="5246"/>
                  </a:lnTo>
                  <a:lnTo>
                    <a:pt x="3996" y="5298"/>
                  </a:lnTo>
                  <a:lnTo>
                    <a:pt x="3984" y="5350"/>
                  </a:lnTo>
                  <a:lnTo>
                    <a:pt x="3971" y="5402"/>
                  </a:lnTo>
                  <a:lnTo>
                    <a:pt x="3956" y="5452"/>
                  </a:lnTo>
                  <a:close/>
                  <a:moveTo>
                    <a:pt x="3018" y="14586"/>
                  </a:moveTo>
                  <a:lnTo>
                    <a:pt x="3017" y="14612"/>
                  </a:lnTo>
                  <a:lnTo>
                    <a:pt x="3015" y="14637"/>
                  </a:lnTo>
                  <a:lnTo>
                    <a:pt x="3012" y="14663"/>
                  </a:lnTo>
                  <a:lnTo>
                    <a:pt x="3008" y="14688"/>
                  </a:lnTo>
                  <a:lnTo>
                    <a:pt x="3002" y="14712"/>
                  </a:lnTo>
                  <a:lnTo>
                    <a:pt x="2996" y="14736"/>
                  </a:lnTo>
                  <a:lnTo>
                    <a:pt x="2988" y="14759"/>
                  </a:lnTo>
                  <a:lnTo>
                    <a:pt x="2979" y="14782"/>
                  </a:lnTo>
                  <a:lnTo>
                    <a:pt x="2969" y="14804"/>
                  </a:lnTo>
                  <a:lnTo>
                    <a:pt x="2958" y="14827"/>
                  </a:lnTo>
                  <a:lnTo>
                    <a:pt x="2946" y="14847"/>
                  </a:lnTo>
                  <a:lnTo>
                    <a:pt x="2933" y="14868"/>
                  </a:lnTo>
                  <a:lnTo>
                    <a:pt x="2919" y="14887"/>
                  </a:lnTo>
                  <a:lnTo>
                    <a:pt x="2903" y="14906"/>
                  </a:lnTo>
                  <a:lnTo>
                    <a:pt x="2887" y="14924"/>
                  </a:lnTo>
                  <a:lnTo>
                    <a:pt x="2871" y="14942"/>
                  </a:lnTo>
                  <a:lnTo>
                    <a:pt x="2853" y="14958"/>
                  </a:lnTo>
                  <a:lnTo>
                    <a:pt x="2835" y="14974"/>
                  </a:lnTo>
                  <a:lnTo>
                    <a:pt x="2816" y="14989"/>
                  </a:lnTo>
                  <a:lnTo>
                    <a:pt x="2796" y="15004"/>
                  </a:lnTo>
                  <a:lnTo>
                    <a:pt x="2776" y="15017"/>
                  </a:lnTo>
                  <a:lnTo>
                    <a:pt x="2755" y="15029"/>
                  </a:lnTo>
                  <a:lnTo>
                    <a:pt x="2733" y="15040"/>
                  </a:lnTo>
                  <a:lnTo>
                    <a:pt x="2711" y="15050"/>
                  </a:lnTo>
                  <a:lnTo>
                    <a:pt x="2688" y="15059"/>
                  </a:lnTo>
                  <a:lnTo>
                    <a:pt x="2665" y="15067"/>
                  </a:lnTo>
                  <a:lnTo>
                    <a:pt x="2641" y="15073"/>
                  </a:lnTo>
                  <a:lnTo>
                    <a:pt x="2617" y="15079"/>
                  </a:lnTo>
                  <a:lnTo>
                    <a:pt x="2592" y="15083"/>
                  </a:lnTo>
                  <a:lnTo>
                    <a:pt x="2566" y="15086"/>
                  </a:lnTo>
                  <a:lnTo>
                    <a:pt x="2541" y="15088"/>
                  </a:lnTo>
                  <a:lnTo>
                    <a:pt x="2515" y="15089"/>
                  </a:lnTo>
                  <a:lnTo>
                    <a:pt x="2489" y="15088"/>
                  </a:lnTo>
                  <a:lnTo>
                    <a:pt x="2464" y="15086"/>
                  </a:lnTo>
                  <a:lnTo>
                    <a:pt x="2439" y="15083"/>
                  </a:lnTo>
                  <a:lnTo>
                    <a:pt x="2414" y="15079"/>
                  </a:lnTo>
                  <a:lnTo>
                    <a:pt x="2389" y="15073"/>
                  </a:lnTo>
                  <a:lnTo>
                    <a:pt x="2365" y="15067"/>
                  </a:lnTo>
                  <a:lnTo>
                    <a:pt x="2342" y="15059"/>
                  </a:lnTo>
                  <a:lnTo>
                    <a:pt x="2319" y="15050"/>
                  </a:lnTo>
                  <a:lnTo>
                    <a:pt x="2297" y="15040"/>
                  </a:lnTo>
                  <a:lnTo>
                    <a:pt x="2276" y="15029"/>
                  </a:lnTo>
                  <a:lnTo>
                    <a:pt x="2255" y="15017"/>
                  </a:lnTo>
                  <a:lnTo>
                    <a:pt x="2233" y="15004"/>
                  </a:lnTo>
                  <a:lnTo>
                    <a:pt x="2214" y="14989"/>
                  </a:lnTo>
                  <a:lnTo>
                    <a:pt x="2195" y="14974"/>
                  </a:lnTo>
                  <a:lnTo>
                    <a:pt x="2177" y="14958"/>
                  </a:lnTo>
                  <a:lnTo>
                    <a:pt x="2159" y="14942"/>
                  </a:lnTo>
                  <a:lnTo>
                    <a:pt x="2143" y="14924"/>
                  </a:lnTo>
                  <a:lnTo>
                    <a:pt x="2127" y="14906"/>
                  </a:lnTo>
                  <a:lnTo>
                    <a:pt x="2112" y="14887"/>
                  </a:lnTo>
                  <a:lnTo>
                    <a:pt x="2098" y="14868"/>
                  </a:lnTo>
                  <a:lnTo>
                    <a:pt x="2085" y="14847"/>
                  </a:lnTo>
                  <a:lnTo>
                    <a:pt x="2073" y="14827"/>
                  </a:lnTo>
                  <a:lnTo>
                    <a:pt x="2061" y="14804"/>
                  </a:lnTo>
                  <a:lnTo>
                    <a:pt x="2051" y="14782"/>
                  </a:lnTo>
                  <a:lnTo>
                    <a:pt x="2042" y="14759"/>
                  </a:lnTo>
                  <a:lnTo>
                    <a:pt x="2035" y="14736"/>
                  </a:lnTo>
                  <a:lnTo>
                    <a:pt x="2028" y="14712"/>
                  </a:lnTo>
                  <a:lnTo>
                    <a:pt x="2022" y="14688"/>
                  </a:lnTo>
                  <a:lnTo>
                    <a:pt x="2018" y="14663"/>
                  </a:lnTo>
                  <a:lnTo>
                    <a:pt x="2015" y="14637"/>
                  </a:lnTo>
                  <a:lnTo>
                    <a:pt x="2013" y="14612"/>
                  </a:lnTo>
                  <a:lnTo>
                    <a:pt x="2012" y="14586"/>
                  </a:lnTo>
                  <a:lnTo>
                    <a:pt x="2012" y="7493"/>
                  </a:lnTo>
                  <a:lnTo>
                    <a:pt x="2074" y="7505"/>
                  </a:lnTo>
                  <a:lnTo>
                    <a:pt x="2135" y="7515"/>
                  </a:lnTo>
                  <a:lnTo>
                    <a:pt x="2197" y="7524"/>
                  </a:lnTo>
                  <a:lnTo>
                    <a:pt x="2260" y="7531"/>
                  </a:lnTo>
                  <a:lnTo>
                    <a:pt x="2323" y="7537"/>
                  </a:lnTo>
                  <a:lnTo>
                    <a:pt x="2386" y="7542"/>
                  </a:lnTo>
                  <a:lnTo>
                    <a:pt x="2451" y="7544"/>
                  </a:lnTo>
                  <a:lnTo>
                    <a:pt x="2515" y="7545"/>
                  </a:lnTo>
                  <a:lnTo>
                    <a:pt x="2580" y="7544"/>
                  </a:lnTo>
                  <a:lnTo>
                    <a:pt x="2644" y="7542"/>
                  </a:lnTo>
                  <a:lnTo>
                    <a:pt x="2707" y="7537"/>
                  </a:lnTo>
                  <a:lnTo>
                    <a:pt x="2771" y="7531"/>
                  </a:lnTo>
                  <a:lnTo>
                    <a:pt x="2833" y="7524"/>
                  </a:lnTo>
                  <a:lnTo>
                    <a:pt x="2895" y="7515"/>
                  </a:lnTo>
                  <a:lnTo>
                    <a:pt x="2957" y="7505"/>
                  </a:lnTo>
                  <a:lnTo>
                    <a:pt x="3018" y="7493"/>
                  </a:lnTo>
                  <a:lnTo>
                    <a:pt x="3018" y="14586"/>
                  </a:lnTo>
                  <a:close/>
                  <a:moveTo>
                    <a:pt x="2012" y="1509"/>
                  </a:moveTo>
                  <a:lnTo>
                    <a:pt x="2013" y="1483"/>
                  </a:lnTo>
                  <a:lnTo>
                    <a:pt x="2015" y="1458"/>
                  </a:lnTo>
                  <a:lnTo>
                    <a:pt x="2018" y="1432"/>
                  </a:lnTo>
                  <a:lnTo>
                    <a:pt x="2022" y="1407"/>
                  </a:lnTo>
                  <a:lnTo>
                    <a:pt x="2028" y="1383"/>
                  </a:lnTo>
                  <a:lnTo>
                    <a:pt x="2035" y="1359"/>
                  </a:lnTo>
                  <a:lnTo>
                    <a:pt x="2042" y="1336"/>
                  </a:lnTo>
                  <a:lnTo>
                    <a:pt x="2051" y="1313"/>
                  </a:lnTo>
                  <a:lnTo>
                    <a:pt x="2061" y="1291"/>
                  </a:lnTo>
                  <a:lnTo>
                    <a:pt x="2073" y="1269"/>
                  </a:lnTo>
                  <a:lnTo>
                    <a:pt x="2085" y="1248"/>
                  </a:lnTo>
                  <a:lnTo>
                    <a:pt x="2098" y="1227"/>
                  </a:lnTo>
                  <a:lnTo>
                    <a:pt x="2112" y="1208"/>
                  </a:lnTo>
                  <a:lnTo>
                    <a:pt x="2127" y="1189"/>
                  </a:lnTo>
                  <a:lnTo>
                    <a:pt x="2143" y="1171"/>
                  </a:lnTo>
                  <a:lnTo>
                    <a:pt x="2159" y="1153"/>
                  </a:lnTo>
                  <a:lnTo>
                    <a:pt x="2177" y="1137"/>
                  </a:lnTo>
                  <a:lnTo>
                    <a:pt x="2195" y="1121"/>
                  </a:lnTo>
                  <a:lnTo>
                    <a:pt x="2214" y="1106"/>
                  </a:lnTo>
                  <a:lnTo>
                    <a:pt x="2233" y="1091"/>
                  </a:lnTo>
                  <a:lnTo>
                    <a:pt x="2255" y="1078"/>
                  </a:lnTo>
                  <a:lnTo>
                    <a:pt x="2276" y="1066"/>
                  </a:lnTo>
                  <a:lnTo>
                    <a:pt x="2297" y="1055"/>
                  </a:lnTo>
                  <a:lnTo>
                    <a:pt x="2319" y="1045"/>
                  </a:lnTo>
                  <a:lnTo>
                    <a:pt x="2342" y="1036"/>
                  </a:lnTo>
                  <a:lnTo>
                    <a:pt x="2365" y="1029"/>
                  </a:lnTo>
                  <a:lnTo>
                    <a:pt x="2389" y="1022"/>
                  </a:lnTo>
                  <a:lnTo>
                    <a:pt x="2414" y="1016"/>
                  </a:lnTo>
                  <a:lnTo>
                    <a:pt x="2439" y="1012"/>
                  </a:lnTo>
                  <a:lnTo>
                    <a:pt x="2464" y="1009"/>
                  </a:lnTo>
                  <a:lnTo>
                    <a:pt x="2489" y="1007"/>
                  </a:lnTo>
                  <a:lnTo>
                    <a:pt x="2515" y="1006"/>
                  </a:lnTo>
                  <a:lnTo>
                    <a:pt x="2541" y="1007"/>
                  </a:lnTo>
                  <a:lnTo>
                    <a:pt x="2566" y="1009"/>
                  </a:lnTo>
                  <a:lnTo>
                    <a:pt x="2592" y="1012"/>
                  </a:lnTo>
                  <a:lnTo>
                    <a:pt x="2617" y="1016"/>
                  </a:lnTo>
                  <a:lnTo>
                    <a:pt x="2641" y="1022"/>
                  </a:lnTo>
                  <a:lnTo>
                    <a:pt x="2665" y="1029"/>
                  </a:lnTo>
                  <a:lnTo>
                    <a:pt x="2688" y="1036"/>
                  </a:lnTo>
                  <a:lnTo>
                    <a:pt x="2711" y="1045"/>
                  </a:lnTo>
                  <a:lnTo>
                    <a:pt x="2733" y="1055"/>
                  </a:lnTo>
                  <a:lnTo>
                    <a:pt x="2755" y="1066"/>
                  </a:lnTo>
                  <a:lnTo>
                    <a:pt x="2776" y="1078"/>
                  </a:lnTo>
                  <a:lnTo>
                    <a:pt x="2796" y="1091"/>
                  </a:lnTo>
                  <a:lnTo>
                    <a:pt x="2816" y="1106"/>
                  </a:lnTo>
                  <a:lnTo>
                    <a:pt x="2835" y="1121"/>
                  </a:lnTo>
                  <a:lnTo>
                    <a:pt x="2853" y="1137"/>
                  </a:lnTo>
                  <a:lnTo>
                    <a:pt x="2871" y="1153"/>
                  </a:lnTo>
                  <a:lnTo>
                    <a:pt x="2887" y="1171"/>
                  </a:lnTo>
                  <a:lnTo>
                    <a:pt x="2903" y="1189"/>
                  </a:lnTo>
                  <a:lnTo>
                    <a:pt x="2919" y="1208"/>
                  </a:lnTo>
                  <a:lnTo>
                    <a:pt x="2933" y="1227"/>
                  </a:lnTo>
                  <a:lnTo>
                    <a:pt x="2946" y="1248"/>
                  </a:lnTo>
                  <a:lnTo>
                    <a:pt x="2958" y="1269"/>
                  </a:lnTo>
                  <a:lnTo>
                    <a:pt x="2969" y="1291"/>
                  </a:lnTo>
                  <a:lnTo>
                    <a:pt x="2979" y="1313"/>
                  </a:lnTo>
                  <a:lnTo>
                    <a:pt x="2988" y="1336"/>
                  </a:lnTo>
                  <a:lnTo>
                    <a:pt x="2996" y="1359"/>
                  </a:lnTo>
                  <a:lnTo>
                    <a:pt x="3002" y="1383"/>
                  </a:lnTo>
                  <a:lnTo>
                    <a:pt x="3008" y="1407"/>
                  </a:lnTo>
                  <a:lnTo>
                    <a:pt x="3012" y="1432"/>
                  </a:lnTo>
                  <a:lnTo>
                    <a:pt x="3015" y="1458"/>
                  </a:lnTo>
                  <a:lnTo>
                    <a:pt x="3017" y="1483"/>
                  </a:lnTo>
                  <a:lnTo>
                    <a:pt x="3018" y="1509"/>
                  </a:lnTo>
                  <a:lnTo>
                    <a:pt x="3018" y="2565"/>
                  </a:lnTo>
                  <a:lnTo>
                    <a:pt x="2957" y="2554"/>
                  </a:lnTo>
                  <a:lnTo>
                    <a:pt x="2895" y="2543"/>
                  </a:lnTo>
                  <a:lnTo>
                    <a:pt x="2833" y="2535"/>
                  </a:lnTo>
                  <a:lnTo>
                    <a:pt x="2771" y="2528"/>
                  </a:lnTo>
                  <a:lnTo>
                    <a:pt x="2707" y="2522"/>
                  </a:lnTo>
                  <a:lnTo>
                    <a:pt x="2644" y="2518"/>
                  </a:lnTo>
                  <a:lnTo>
                    <a:pt x="2580" y="2516"/>
                  </a:lnTo>
                  <a:lnTo>
                    <a:pt x="2515" y="2515"/>
                  </a:lnTo>
                  <a:lnTo>
                    <a:pt x="2451" y="2516"/>
                  </a:lnTo>
                  <a:lnTo>
                    <a:pt x="2386" y="2518"/>
                  </a:lnTo>
                  <a:lnTo>
                    <a:pt x="2323" y="2522"/>
                  </a:lnTo>
                  <a:lnTo>
                    <a:pt x="2260" y="2528"/>
                  </a:lnTo>
                  <a:lnTo>
                    <a:pt x="2197" y="2535"/>
                  </a:lnTo>
                  <a:lnTo>
                    <a:pt x="2135" y="2543"/>
                  </a:lnTo>
                  <a:lnTo>
                    <a:pt x="2074" y="2554"/>
                  </a:lnTo>
                  <a:lnTo>
                    <a:pt x="2012" y="2565"/>
                  </a:lnTo>
                  <a:lnTo>
                    <a:pt x="2012" y="1509"/>
                  </a:lnTo>
                  <a:close/>
                  <a:moveTo>
                    <a:pt x="4024" y="3029"/>
                  </a:moveTo>
                  <a:lnTo>
                    <a:pt x="4024" y="1509"/>
                  </a:lnTo>
                  <a:lnTo>
                    <a:pt x="4022" y="1431"/>
                  </a:lnTo>
                  <a:lnTo>
                    <a:pt x="4016" y="1355"/>
                  </a:lnTo>
                  <a:lnTo>
                    <a:pt x="4007" y="1280"/>
                  </a:lnTo>
                  <a:lnTo>
                    <a:pt x="3994" y="1205"/>
                  </a:lnTo>
                  <a:lnTo>
                    <a:pt x="3977" y="1133"/>
                  </a:lnTo>
                  <a:lnTo>
                    <a:pt x="3956" y="1060"/>
                  </a:lnTo>
                  <a:lnTo>
                    <a:pt x="3933" y="991"/>
                  </a:lnTo>
                  <a:lnTo>
                    <a:pt x="3905" y="922"/>
                  </a:lnTo>
                  <a:lnTo>
                    <a:pt x="3875" y="855"/>
                  </a:lnTo>
                  <a:lnTo>
                    <a:pt x="3842" y="791"/>
                  </a:lnTo>
                  <a:lnTo>
                    <a:pt x="3806" y="727"/>
                  </a:lnTo>
                  <a:lnTo>
                    <a:pt x="3766" y="666"/>
                  </a:lnTo>
                  <a:lnTo>
                    <a:pt x="3724" y="607"/>
                  </a:lnTo>
                  <a:lnTo>
                    <a:pt x="3679" y="549"/>
                  </a:lnTo>
                  <a:lnTo>
                    <a:pt x="3632" y="495"/>
                  </a:lnTo>
                  <a:lnTo>
                    <a:pt x="3581" y="443"/>
                  </a:lnTo>
                  <a:lnTo>
                    <a:pt x="3529" y="392"/>
                  </a:lnTo>
                  <a:lnTo>
                    <a:pt x="3475" y="345"/>
                  </a:lnTo>
                  <a:lnTo>
                    <a:pt x="3417" y="300"/>
                  </a:lnTo>
                  <a:lnTo>
                    <a:pt x="3358" y="259"/>
                  </a:lnTo>
                  <a:lnTo>
                    <a:pt x="3297" y="219"/>
                  </a:lnTo>
                  <a:lnTo>
                    <a:pt x="3233" y="182"/>
                  </a:lnTo>
                  <a:lnTo>
                    <a:pt x="3169" y="149"/>
                  </a:lnTo>
                  <a:lnTo>
                    <a:pt x="3102" y="119"/>
                  </a:lnTo>
                  <a:lnTo>
                    <a:pt x="3033" y="92"/>
                  </a:lnTo>
                  <a:lnTo>
                    <a:pt x="2963" y="68"/>
                  </a:lnTo>
                  <a:lnTo>
                    <a:pt x="2891" y="47"/>
                  </a:lnTo>
                  <a:lnTo>
                    <a:pt x="2819" y="31"/>
                  </a:lnTo>
                  <a:lnTo>
                    <a:pt x="2745" y="17"/>
                  </a:lnTo>
                  <a:lnTo>
                    <a:pt x="2669" y="8"/>
                  </a:lnTo>
                  <a:lnTo>
                    <a:pt x="2593" y="2"/>
                  </a:lnTo>
                  <a:lnTo>
                    <a:pt x="2515" y="0"/>
                  </a:lnTo>
                  <a:lnTo>
                    <a:pt x="2438" y="2"/>
                  </a:lnTo>
                  <a:lnTo>
                    <a:pt x="2361" y="8"/>
                  </a:lnTo>
                  <a:lnTo>
                    <a:pt x="2286" y="17"/>
                  </a:lnTo>
                  <a:lnTo>
                    <a:pt x="2211" y="31"/>
                  </a:lnTo>
                  <a:lnTo>
                    <a:pt x="2138" y="47"/>
                  </a:lnTo>
                  <a:lnTo>
                    <a:pt x="2067" y="68"/>
                  </a:lnTo>
                  <a:lnTo>
                    <a:pt x="1997" y="92"/>
                  </a:lnTo>
                  <a:lnTo>
                    <a:pt x="1929" y="119"/>
                  </a:lnTo>
                  <a:lnTo>
                    <a:pt x="1861" y="149"/>
                  </a:lnTo>
                  <a:lnTo>
                    <a:pt x="1796" y="182"/>
                  </a:lnTo>
                  <a:lnTo>
                    <a:pt x="1734" y="219"/>
                  </a:lnTo>
                  <a:lnTo>
                    <a:pt x="1672" y="259"/>
                  </a:lnTo>
                  <a:lnTo>
                    <a:pt x="1613" y="300"/>
                  </a:lnTo>
                  <a:lnTo>
                    <a:pt x="1555" y="345"/>
                  </a:lnTo>
                  <a:lnTo>
                    <a:pt x="1501" y="392"/>
                  </a:lnTo>
                  <a:lnTo>
                    <a:pt x="1449" y="443"/>
                  </a:lnTo>
                  <a:lnTo>
                    <a:pt x="1399" y="495"/>
                  </a:lnTo>
                  <a:lnTo>
                    <a:pt x="1351" y="549"/>
                  </a:lnTo>
                  <a:lnTo>
                    <a:pt x="1306" y="607"/>
                  </a:lnTo>
                  <a:lnTo>
                    <a:pt x="1264" y="666"/>
                  </a:lnTo>
                  <a:lnTo>
                    <a:pt x="1225" y="727"/>
                  </a:lnTo>
                  <a:lnTo>
                    <a:pt x="1188" y="791"/>
                  </a:lnTo>
                  <a:lnTo>
                    <a:pt x="1155" y="855"/>
                  </a:lnTo>
                  <a:lnTo>
                    <a:pt x="1125" y="922"/>
                  </a:lnTo>
                  <a:lnTo>
                    <a:pt x="1098" y="991"/>
                  </a:lnTo>
                  <a:lnTo>
                    <a:pt x="1075" y="1060"/>
                  </a:lnTo>
                  <a:lnTo>
                    <a:pt x="1054" y="1133"/>
                  </a:lnTo>
                  <a:lnTo>
                    <a:pt x="1037" y="1205"/>
                  </a:lnTo>
                  <a:lnTo>
                    <a:pt x="1023" y="1280"/>
                  </a:lnTo>
                  <a:lnTo>
                    <a:pt x="1014" y="1355"/>
                  </a:lnTo>
                  <a:lnTo>
                    <a:pt x="1008" y="1431"/>
                  </a:lnTo>
                  <a:lnTo>
                    <a:pt x="1006" y="1509"/>
                  </a:lnTo>
                  <a:lnTo>
                    <a:pt x="1006" y="3029"/>
                  </a:lnTo>
                  <a:lnTo>
                    <a:pt x="950" y="3073"/>
                  </a:lnTo>
                  <a:lnTo>
                    <a:pt x="895" y="3118"/>
                  </a:lnTo>
                  <a:lnTo>
                    <a:pt x="841" y="3165"/>
                  </a:lnTo>
                  <a:lnTo>
                    <a:pt x="789" y="3213"/>
                  </a:lnTo>
                  <a:lnTo>
                    <a:pt x="738" y="3263"/>
                  </a:lnTo>
                  <a:lnTo>
                    <a:pt x="687" y="3314"/>
                  </a:lnTo>
                  <a:lnTo>
                    <a:pt x="639" y="3366"/>
                  </a:lnTo>
                  <a:lnTo>
                    <a:pt x="593" y="3420"/>
                  </a:lnTo>
                  <a:lnTo>
                    <a:pt x="548" y="3476"/>
                  </a:lnTo>
                  <a:lnTo>
                    <a:pt x="503" y="3532"/>
                  </a:lnTo>
                  <a:lnTo>
                    <a:pt x="461" y="3589"/>
                  </a:lnTo>
                  <a:lnTo>
                    <a:pt x="421" y="3648"/>
                  </a:lnTo>
                  <a:lnTo>
                    <a:pt x="382" y="3708"/>
                  </a:lnTo>
                  <a:lnTo>
                    <a:pt x="344" y="3768"/>
                  </a:lnTo>
                  <a:lnTo>
                    <a:pt x="309" y="3831"/>
                  </a:lnTo>
                  <a:lnTo>
                    <a:pt x="276" y="3894"/>
                  </a:lnTo>
                  <a:lnTo>
                    <a:pt x="244" y="3958"/>
                  </a:lnTo>
                  <a:lnTo>
                    <a:pt x="214" y="4024"/>
                  </a:lnTo>
                  <a:lnTo>
                    <a:pt x="184" y="4090"/>
                  </a:lnTo>
                  <a:lnTo>
                    <a:pt x="158" y="4158"/>
                  </a:lnTo>
                  <a:lnTo>
                    <a:pt x="134" y="4226"/>
                  </a:lnTo>
                  <a:lnTo>
                    <a:pt x="111" y="4294"/>
                  </a:lnTo>
                  <a:lnTo>
                    <a:pt x="91" y="4365"/>
                  </a:lnTo>
                  <a:lnTo>
                    <a:pt x="72" y="4435"/>
                  </a:lnTo>
                  <a:lnTo>
                    <a:pt x="56" y="4508"/>
                  </a:lnTo>
                  <a:lnTo>
                    <a:pt x="42" y="4580"/>
                  </a:lnTo>
                  <a:lnTo>
                    <a:pt x="28" y="4653"/>
                  </a:lnTo>
                  <a:lnTo>
                    <a:pt x="18" y="4727"/>
                  </a:lnTo>
                  <a:lnTo>
                    <a:pt x="10" y="4801"/>
                  </a:lnTo>
                  <a:lnTo>
                    <a:pt x="5" y="4877"/>
                  </a:lnTo>
                  <a:lnTo>
                    <a:pt x="1" y="4953"/>
                  </a:lnTo>
                  <a:lnTo>
                    <a:pt x="0" y="5030"/>
                  </a:lnTo>
                  <a:lnTo>
                    <a:pt x="1" y="5106"/>
                  </a:lnTo>
                  <a:lnTo>
                    <a:pt x="5" y="5183"/>
                  </a:lnTo>
                  <a:lnTo>
                    <a:pt x="10" y="5258"/>
                  </a:lnTo>
                  <a:lnTo>
                    <a:pt x="18" y="5332"/>
                  </a:lnTo>
                  <a:lnTo>
                    <a:pt x="28" y="5407"/>
                  </a:lnTo>
                  <a:lnTo>
                    <a:pt x="42" y="5479"/>
                  </a:lnTo>
                  <a:lnTo>
                    <a:pt x="56" y="5552"/>
                  </a:lnTo>
                  <a:lnTo>
                    <a:pt x="72" y="5624"/>
                  </a:lnTo>
                  <a:lnTo>
                    <a:pt x="91" y="5695"/>
                  </a:lnTo>
                  <a:lnTo>
                    <a:pt x="111" y="5765"/>
                  </a:lnTo>
                  <a:lnTo>
                    <a:pt x="134" y="5834"/>
                  </a:lnTo>
                  <a:lnTo>
                    <a:pt x="158" y="5902"/>
                  </a:lnTo>
                  <a:lnTo>
                    <a:pt x="184" y="5969"/>
                  </a:lnTo>
                  <a:lnTo>
                    <a:pt x="214" y="6036"/>
                  </a:lnTo>
                  <a:lnTo>
                    <a:pt x="244" y="6101"/>
                  </a:lnTo>
                  <a:lnTo>
                    <a:pt x="276" y="6165"/>
                  </a:lnTo>
                  <a:lnTo>
                    <a:pt x="309" y="6229"/>
                  </a:lnTo>
                  <a:lnTo>
                    <a:pt x="344" y="6291"/>
                  </a:lnTo>
                  <a:lnTo>
                    <a:pt x="382" y="6351"/>
                  </a:lnTo>
                  <a:lnTo>
                    <a:pt x="421" y="6412"/>
                  </a:lnTo>
                  <a:lnTo>
                    <a:pt x="461" y="6470"/>
                  </a:lnTo>
                  <a:lnTo>
                    <a:pt x="503" y="6529"/>
                  </a:lnTo>
                  <a:lnTo>
                    <a:pt x="548" y="6584"/>
                  </a:lnTo>
                  <a:lnTo>
                    <a:pt x="593" y="6639"/>
                  </a:lnTo>
                  <a:lnTo>
                    <a:pt x="639" y="6694"/>
                  </a:lnTo>
                  <a:lnTo>
                    <a:pt x="687" y="6746"/>
                  </a:lnTo>
                  <a:lnTo>
                    <a:pt x="738" y="6796"/>
                  </a:lnTo>
                  <a:lnTo>
                    <a:pt x="789" y="6846"/>
                  </a:lnTo>
                  <a:lnTo>
                    <a:pt x="841" y="6895"/>
                  </a:lnTo>
                  <a:lnTo>
                    <a:pt x="895" y="6941"/>
                  </a:lnTo>
                  <a:lnTo>
                    <a:pt x="950" y="6986"/>
                  </a:lnTo>
                  <a:lnTo>
                    <a:pt x="1006" y="7030"/>
                  </a:lnTo>
                  <a:lnTo>
                    <a:pt x="1006" y="14586"/>
                  </a:lnTo>
                  <a:lnTo>
                    <a:pt x="1008" y="14664"/>
                  </a:lnTo>
                  <a:lnTo>
                    <a:pt x="1014" y="14740"/>
                  </a:lnTo>
                  <a:lnTo>
                    <a:pt x="1023" y="14815"/>
                  </a:lnTo>
                  <a:lnTo>
                    <a:pt x="1037" y="14890"/>
                  </a:lnTo>
                  <a:lnTo>
                    <a:pt x="1054" y="14962"/>
                  </a:lnTo>
                  <a:lnTo>
                    <a:pt x="1075" y="15035"/>
                  </a:lnTo>
                  <a:lnTo>
                    <a:pt x="1098" y="15104"/>
                  </a:lnTo>
                  <a:lnTo>
                    <a:pt x="1125" y="15173"/>
                  </a:lnTo>
                  <a:lnTo>
                    <a:pt x="1155" y="15240"/>
                  </a:lnTo>
                  <a:lnTo>
                    <a:pt x="1188" y="15304"/>
                  </a:lnTo>
                  <a:lnTo>
                    <a:pt x="1225" y="15368"/>
                  </a:lnTo>
                  <a:lnTo>
                    <a:pt x="1264" y="15429"/>
                  </a:lnTo>
                  <a:lnTo>
                    <a:pt x="1306" y="15488"/>
                  </a:lnTo>
                  <a:lnTo>
                    <a:pt x="1351" y="15546"/>
                  </a:lnTo>
                  <a:lnTo>
                    <a:pt x="1399" y="15600"/>
                  </a:lnTo>
                  <a:lnTo>
                    <a:pt x="1449" y="15652"/>
                  </a:lnTo>
                  <a:lnTo>
                    <a:pt x="1501" y="15703"/>
                  </a:lnTo>
                  <a:lnTo>
                    <a:pt x="1555" y="15750"/>
                  </a:lnTo>
                  <a:lnTo>
                    <a:pt x="1613" y="15795"/>
                  </a:lnTo>
                  <a:lnTo>
                    <a:pt x="1672" y="15836"/>
                  </a:lnTo>
                  <a:lnTo>
                    <a:pt x="1734" y="15877"/>
                  </a:lnTo>
                  <a:lnTo>
                    <a:pt x="1796" y="15913"/>
                  </a:lnTo>
                  <a:lnTo>
                    <a:pt x="1861" y="15946"/>
                  </a:lnTo>
                  <a:lnTo>
                    <a:pt x="1929" y="15976"/>
                  </a:lnTo>
                  <a:lnTo>
                    <a:pt x="1997" y="16003"/>
                  </a:lnTo>
                  <a:lnTo>
                    <a:pt x="2067" y="16027"/>
                  </a:lnTo>
                  <a:lnTo>
                    <a:pt x="2138" y="16048"/>
                  </a:lnTo>
                  <a:lnTo>
                    <a:pt x="2211" y="16064"/>
                  </a:lnTo>
                  <a:lnTo>
                    <a:pt x="2286" y="16078"/>
                  </a:lnTo>
                  <a:lnTo>
                    <a:pt x="2361" y="16087"/>
                  </a:lnTo>
                  <a:lnTo>
                    <a:pt x="2438" y="16093"/>
                  </a:lnTo>
                  <a:lnTo>
                    <a:pt x="2515" y="16095"/>
                  </a:lnTo>
                  <a:lnTo>
                    <a:pt x="2593" y="16093"/>
                  </a:lnTo>
                  <a:lnTo>
                    <a:pt x="2669" y="16087"/>
                  </a:lnTo>
                  <a:lnTo>
                    <a:pt x="2745" y="16078"/>
                  </a:lnTo>
                  <a:lnTo>
                    <a:pt x="2819" y="16064"/>
                  </a:lnTo>
                  <a:lnTo>
                    <a:pt x="2891" y="16048"/>
                  </a:lnTo>
                  <a:lnTo>
                    <a:pt x="2963" y="16027"/>
                  </a:lnTo>
                  <a:lnTo>
                    <a:pt x="3033" y="16003"/>
                  </a:lnTo>
                  <a:lnTo>
                    <a:pt x="3102" y="15976"/>
                  </a:lnTo>
                  <a:lnTo>
                    <a:pt x="3169" y="15946"/>
                  </a:lnTo>
                  <a:lnTo>
                    <a:pt x="3233" y="15913"/>
                  </a:lnTo>
                  <a:lnTo>
                    <a:pt x="3297" y="15877"/>
                  </a:lnTo>
                  <a:lnTo>
                    <a:pt x="3358" y="15836"/>
                  </a:lnTo>
                  <a:lnTo>
                    <a:pt x="3417" y="15795"/>
                  </a:lnTo>
                  <a:lnTo>
                    <a:pt x="3475" y="15750"/>
                  </a:lnTo>
                  <a:lnTo>
                    <a:pt x="3529" y="15703"/>
                  </a:lnTo>
                  <a:lnTo>
                    <a:pt x="3581" y="15652"/>
                  </a:lnTo>
                  <a:lnTo>
                    <a:pt x="3632" y="15600"/>
                  </a:lnTo>
                  <a:lnTo>
                    <a:pt x="3679" y="15546"/>
                  </a:lnTo>
                  <a:lnTo>
                    <a:pt x="3724" y="15488"/>
                  </a:lnTo>
                  <a:lnTo>
                    <a:pt x="3766" y="15429"/>
                  </a:lnTo>
                  <a:lnTo>
                    <a:pt x="3806" y="15368"/>
                  </a:lnTo>
                  <a:lnTo>
                    <a:pt x="3842" y="15304"/>
                  </a:lnTo>
                  <a:lnTo>
                    <a:pt x="3875" y="15240"/>
                  </a:lnTo>
                  <a:lnTo>
                    <a:pt x="3905" y="15173"/>
                  </a:lnTo>
                  <a:lnTo>
                    <a:pt x="3933" y="15104"/>
                  </a:lnTo>
                  <a:lnTo>
                    <a:pt x="3956" y="15035"/>
                  </a:lnTo>
                  <a:lnTo>
                    <a:pt x="3977" y="14962"/>
                  </a:lnTo>
                  <a:lnTo>
                    <a:pt x="3994" y="14890"/>
                  </a:lnTo>
                  <a:lnTo>
                    <a:pt x="4007" y="14815"/>
                  </a:lnTo>
                  <a:lnTo>
                    <a:pt x="4016" y="14740"/>
                  </a:lnTo>
                  <a:lnTo>
                    <a:pt x="4022" y="14664"/>
                  </a:lnTo>
                  <a:lnTo>
                    <a:pt x="4024" y="14586"/>
                  </a:lnTo>
                  <a:lnTo>
                    <a:pt x="4024" y="7030"/>
                  </a:lnTo>
                  <a:lnTo>
                    <a:pt x="4080" y="6986"/>
                  </a:lnTo>
                  <a:lnTo>
                    <a:pt x="4136" y="6941"/>
                  </a:lnTo>
                  <a:lnTo>
                    <a:pt x="4189" y="6895"/>
                  </a:lnTo>
                  <a:lnTo>
                    <a:pt x="4241" y="6846"/>
                  </a:lnTo>
                  <a:lnTo>
                    <a:pt x="4293" y="6796"/>
                  </a:lnTo>
                  <a:lnTo>
                    <a:pt x="4343" y="6746"/>
                  </a:lnTo>
                  <a:lnTo>
                    <a:pt x="4391" y="6694"/>
                  </a:lnTo>
                  <a:lnTo>
                    <a:pt x="4438" y="6639"/>
                  </a:lnTo>
                  <a:lnTo>
                    <a:pt x="4483" y="6584"/>
                  </a:lnTo>
                  <a:lnTo>
                    <a:pt x="4527" y="6529"/>
                  </a:lnTo>
                  <a:lnTo>
                    <a:pt x="4569" y="6470"/>
                  </a:lnTo>
                  <a:lnTo>
                    <a:pt x="4610" y="6412"/>
                  </a:lnTo>
                  <a:lnTo>
                    <a:pt x="4649" y="6351"/>
                  </a:lnTo>
                  <a:lnTo>
                    <a:pt x="4686" y="6291"/>
                  </a:lnTo>
                  <a:lnTo>
                    <a:pt x="4721" y="6229"/>
                  </a:lnTo>
                  <a:lnTo>
                    <a:pt x="4754" y="6165"/>
                  </a:lnTo>
                  <a:lnTo>
                    <a:pt x="4787" y="6101"/>
                  </a:lnTo>
                  <a:lnTo>
                    <a:pt x="4817" y="6036"/>
                  </a:lnTo>
                  <a:lnTo>
                    <a:pt x="4846" y="5969"/>
                  </a:lnTo>
                  <a:lnTo>
                    <a:pt x="4872" y="5902"/>
                  </a:lnTo>
                  <a:lnTo>
                    <a:pt x="4896" y="5834"/>
                  </a:lnTo>
                  <a:lnTo>
                    <a:pt x="4919" y="5765"/>
                  </a:lnTo>
                  <a:lnTo>
                    <a:pt x="4939" y="5695"/>
                  </a:lnTo>
                  <a:lnTo>
                    <a:pt x="4959" y="5624"/>
                  </a:lnTo>
                  <a:lnTo>
                    <a:pt x="4975" y="5552"/>
                  </a:lnTo>
                  <a:lnTo>
                    <a:pt x="4989" y="5479"/>
                  </a:lnTo>
                  <a:lnTo>
                    <a:pt x="5002" y="5407"/>
                  </a:lnTo>
                  <a:lnTo>
                    <a:pt x="5012" y="5332"/>
                  </a:lnTo>
                  <a:lnTo>
                    <a:pt x="5020" y="5258"/>
                  </a:lnTo>
                  <a:lnTo>
                    <a:pt x="5025" y="5183"/>
                  </a:lnTo>
                  <a:lnTo>
                    <a:pt x="5029" y="5106"/>
                  </a:lnTo>
                  <a:lnTo>
                    <a:pt x="5030" y="5030"/>
                  </a:lnTo>
                  <a:lnTo>
                    <a:pt x="5029" y="4953"/>
                  </a:lnTo>
                  <a:lnTo>
                    <a:pt x="5025" y="4877"/>
                  </a:lnTo>
                  <a:lnTo>
                    <a:pt x="5020" y="4801"/>
                  </a:lnTo>
                  <a:lnTo>
                    <a:pt x="5012" y="4727"/>
                  </a:lnTo>
                  <a:lnTo>
                    <a:pt x="5002" y="4653"/>
                  </a:lnTo>
                  <a:lnTo>
                    <a:pt x="4989" y="4580"/>
                  </a:lnTo>
                  <a:lnTo>
                    <a:pt x="4975" y="4508"/>
                  </a:lnTo>
                  <a:lnTo>
                    <a:pt x="4959" y="4435"/>
                  </a:lnTo>
                  <a:lnTo>
                    <a:pt x="4939" y="4365"/>
                  </a:lnTo>
                  <a:lnTo>
                    <a:pt x="4919" y="4294"/>
                  </a:lnTo>
                  <a:lnTo>
                    <a:pt x="4896" y="4226"/>
                  </a:lnTo>
                  <a:lnTo>
                    <a:pt x="4872" y="4158"/>
                  </a:lnTo>
                  <a:lnTo>
                    <a:pt x="4846" y="4090"/>
                  </a:lnTo>
                  <a:lnTo>
                    <a:pt x="4817" y="4024"/>
                  </a:lnTo>
                  <a:lnTo>
                    <a:pt x="4787" y="3958"/>
                  </a:lnTo>
                  <a:lnTo>
                    <a:pt x="4754" y="3894"/>
                  </a:lnTo>
                  <a:lnTo>
                    <a:pt x="4721" y="3831"/>
                  </a:lnTo>
                  <a:lnTo>
                    <a:pt x="4686" y="3768"/>
                  </a:lnTo>
                  <a:lnTo>
                    <a:pt x="4649" y="3708"/>
                  </a:lnTo>
                  <a:lnTo>
                    <a:pt x="4610" y="3648"/>
                  </a:lnTo>
                  <a:lnTo>
                    <a:pt x="4569" y="3589"/>
                  </a:lnTo>
                  <a:lnTo>
                    <a:pt x="4527" y="3532"/>
                  </a:lnTo>
                  <a:lnTo>
                    <a:pt x="4483" y="3476"/>
                  </a:lnTo>
                  <a:lnTo>
                    <a:pt x="4438" y="3420"/>
                  </a:lnTo>
                  <a:lnTo>
                    <a:pt x="4391" y="3366"/>
                  </a:lnTo>
                  <a:lnTo>
                    <a:pt x="4343" y="3314"/>
                  </a:lnTo>
                  <a:lnTo>
                    <a:pt x="4293" y="3263"/>
                  </a:lnTo>
                  <a:lnTo>
                    <a:pt x="4241" y="3213"/>
                  </a:lnTo>
                  <a:lnTo>
                    <a:pt x="4189" y="3165"/>
                  </a:lnTo>
                  <a:lnTo>
                    <a:pt x="4136" y="3118"/>
                  </a:lnTo>
                  <a:lnTo>
                    <a:pt x="4080" y="3073"/>
                  </a:lnTo>
                  <a:lnTo>
                    <a:pt x="4024" y="30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67" name="ïṡļídè">
              <a:extLst>
                <a:ext uri="{FF2B5EF4-FFF2-40B4-BE49-F238E27FC236}">
                  <a16:creationId xmlns:a16="http://schemas.microsoft.com/office/drawing/2014/main" id="{5A4451F9-4F4E-4827-93E2-961051E9C21E}"/>
                </a:ext>
              </a:extLst>
            </p:cNvPr>
            <p:cNvSpPr/>
            <p:nvPr/>
          </p:nvSpPr>
          <p:spPr bwMode="auto">
            <a:xfrm>
              <a:off x="5617096" y="2411481"/>
              <a:ext cx="126322" cy="407036"/>
            </a:xfrm>
            <a:custGeom>
              <a:avLst/>
              <a:gdLst>
                <a:gd name="T0" fmla="*/ 3784 w 5029"/>
                <a:gd name="T1" fmla="*/ 11873 h 16095"/>
                <a:gd name="T2" fmla="*/ 3571 w 5029"/>
                <a:gd name="T3" fmla="*/ 12135 h 16095"/>
                <a:gd name="T4" fmla="*/ 3349 w 5029"/>
                <a:gd name="T5" fmla="*/ 12315 h 16095"/>
                <a:gd name="T6" fmla="*/ 3045 w 5029"/>
                <a:gd name="T7" fmla="*/ 12472 h 16095"/>
                <a:gd name="T8" fmla="*/ 2677 w 5029"/>
                <a:gd name="T9" fmla="*/ 12564 h 16095"/>
                <a:gd name="T10" fmla="*/ 2287 w 5029"/>
                <a:gd name="T11" fmla="*/ 12555 h 16095"/>
                <a:gd name="T12" fmla="*/ 1931 w 5029"/>
                <a:gd name="T13" fmla="*/ 12450 h 16095"/>
                <a:gd name="T14" fmla="*/ 1632 w 5029"/>
                <a:gd name="T15" fmla="*/ 12281 h 16095"/>
                <a:gd name="T16" fmla="*/ 1400 w 5029"/>
                <a:gd name="T17" fmla="*/ 12074 h 16095"/>
                <a:gd name="T18" fmla="*/ 1157 w 5029"/>
                <a:gd name="T19" fmla="*/ 11713 h 16095"/>
                <a:gd name="T20" fmla="*/ 1020 w 5029"/>
                <a:gd name="T21" fmla="*/ 11254 h 16095"/>
                <a:gd name="T22" fmla="*/ 1013 w 5029"/>
                <a:gd name="T23" fmla="*/ 10929 h 16095"/>
                <a:gd name="T24" fmla="*/ 1116 w 5029"/>
                <a:gd name="T25" fmla="*/ 10514 h 16095"/>
                <a:gd name="T26" fmla="*/ 1328 w 5029"/>
                <a:gd name="T27" fmla="*/ 10140 h 16095"/>
                <a:gd name="T28" fmla="*/ 1607 w 5029"/>
                <a:gd name="T29" fmla="*/ 9867 h 16095"/>
                <a:gd name="T30" fmla="*/ 1931 w 5029"/>
                <a:gd name="T31" fmla="*/ 9680 h 16095"/>
                <a:gd name="T32" fmla="*/ 2287 w 5029"/>
                <a:gd name="T33" fmla="*/ 9576 h 16095"/>
                <a:gd name="T34" fmla="*/ 2677 w 5029"/>
                <a:gd name="T35" fmla="*/ 9566 h 16095"/>
                <a:gd name="T36" fmla="*/ 3045 w 5029"/>
                <a:gd name="T37" fmla="*/ 9659 h 16095"/>
                <a:gd name="T38" fmla="*/ 3373 w 5029"/>
                <a:gd name="T39" fmla="*/ 9832 h 16095"/>
                <a:gd name="T40" fmla="*/ 3629 w 5029"/>
                <a:gd name="T41" fmla="*/ 10055 h 16095"/>
                <a:gd name="T42" fmla="*/ 3872 w 5029"/>
                <a:gd name="T43" fmla="*/ 10417 h 16095"/>
                <a:gd name="T44" fmla="*/ 4008 w 5029"/>
                <a:gd name="T45" fmla="*/ 10875 h 16095"/>
                <a:gd name="T46" fmla="*/ 4015 w 5029"/>
                <a:gd name="T47" fmla="*/ 11201 h 16095"/>
                <a:gd name="T48" fmla="*/ 3007 w 5029"/>
                <a:gd name="T49" fmla="*/ 14688 h 16095"/>
                <a:gd name="T50" fmla="*/ 2870 w 5029"/>
                <a:gd name="T51" fmla="*/ 14942 h 16095"/>
                <a:gd name="T52" fmla="*/ 2616 w 5029"/>
                <a:gd name="T53" fmla="*/ 15079 h 16095"/>
                <a:gd name="T54" fmla="*/ 2318 w 5029"/>
                <a:gd name="T55" fmla="*/ 15050 h 16095"/>
                <a:gd name="T56" fmla="*/ 2097 w 5029"/>
                <a:gd name="T57" fmla="*/ 14868 h 16095"/>
                <a:gd name="T58" fmla="*/ 2012 w 5029"/>
                <a:gd name="T59" fmla="*/ 14586 h 16095"/>
                <a:gd name="T60" fmla="*/ 2707 w 5029"/>
                <a:gd name="T61" fmla="*/ 13573 h 16095"/>
                <a:gd name="T62" fmla="*/ 2028 w 5029"/>
                <a:gd name="T63" fmla="*/ 1383 h 16095"/>
                <a:gd name="T64" fmla="*/ 2177 w 5029"/>
                <a:gd name="T65" fmla="*/ 1137 h 16095"/>
                <a:gd name="T66" fmla="*/ 2438 w 5029"/>
                <a:gd name="T67" fmla="*/ 1012 h 16095"/>
                <a:gd name="T68" fmla="*/ 2733 w 5029"/>
                <a:gd name="T69" fmla="*/ 1055 h 16095"/>
                <a:gd name="T70" fmla="*/ 2945 w 5029"/>
                <a:gd name="T71" fmla="*/ 1248 h 16095"/>
                <a:gd name="T72" fmla="*/ 3017 w 5029"/>
                <a:gd name="T73" fmla="*/ 8601 h 16095"/>
                <a:gd name="T74" fmla="*/ 2259 w 5029"/>
                <a:gd name="T75" fmla="*/ 8564 h 16095"/>
                <a:gd name="T76" fmla="*/ 3976 w 5029"/>
                <a:gd name="T77" fmla="*/ 1133 h 16095"/>
                <a:gd name="T78" fmla="*/ 3528 w 5029"/>
                <a:gd name="T79" fmla="*/ 392 h 16095"/>
                <a:gd name="T80" fmla="*/ 2744 w 5029"/>
                <a:gd name="T81" fmla="*/ 17 h 16095"/>
                <a:gd name="T82" fmla="*/ 1861 w 5029"/>
                <a:gd name="T83" fmla="*/ 149 h 16095"/>
                <a:gd name="T84" fmla="*/ 1224 w 5029"/>
                <a:gd name="T85" fmla="*/ 727 h 16095"/>
                <a:gd name="T86" fmla="*/ 1006 w 5029"/>
                <a:gd name="T87" fmla="*/ 9065 h 16095"/>
                <a:gd name="T88" fmla="*/ 420 w 5029"/>
                <a:gd name="T89" fmla="*/ 9683 h 16095"/>
                <a:gd name="T90" fmla="*/ 71 w 5029"/>
                <a:gd name="T91" fmla="*/ 10471 h 16095"/>
                <a:gd name="T92" fmla="*/ 18 w 5029"/>
                <a:gd name="T93" fmla="*/ 11368 h 16095"/>
                <a:gd name="T94" fmla="*/ 275 w 5029"/>
                <a:gd name="T95" fmla="*/ 12201 h 16095"/>
                <a:gd name="T96" fmla="*/ 788 w 5029"/>
                <a:gd name="T97" fmla="*/ 12882 h 16095"/>
                <a:gd name="T98" fmla="*/ 1097 w 5029"/>
                <a:gd name="T99" fmla="*/ 15104 h 16095"/>
                <a:gd name="T100" fmla="*/ 1612 w 5029"/>
                <a:gd name="T101" fmla="*/ 15795 h 16095"/>
                <a:gd name="T102" fmla="*/ 2437 w 5029"/>
                <a:gd name="T103" fmla="*/ 16093 h 16095"/>
                <a:gd name="T104" fmla="*/ 3296 w 5029"/>
                <a:gd name="T105" fmla="*/ 15877 h 16095"/>
                <a:gd name="T106" fmla="*/ 3875 w 5029"/>
                <a:gd name="T107" fmla="*/ 15240 h 16095"/>
                <a:gd name="T108" fmla="*/ 4135 w 5029"/>
                <a:gd name="T109" fmla="*/ 12977 h 16095"/>
                <a:gd name="T110" fmla="*/ 4685 w 5029"/>
                <a:gd name="T111" fmla="*/ 12327 h 16095"/>
                <a:gd name="T112" fmla="*/ 4989 w 5029"/>
                <a:gd name="T113" fmla="*/ 11515 h 16095"/>
                <a:gd name="T114" fmla="*/ 4989 w 5029"/>
                <a:gd name="T115" fmla="*/ 10616 h 16095"/>
                <a:gd name="T116" fmla="*/ 4685 w 5029"/>
                <a:gd name="T117" fmla="*/ 9804 h 16095"/>
                <a:gd name="T118" fmla="*/ 4135 w 5029"/>
                <a:gd name="T119" fmla="*/ 9154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29" h="16095">
                  <a:moveTo>
                    <a:pt x="3956" y="11488"/>
                  </a:moveTo>
                  <a:lnTo>
                    <a:pt x="3950" y="11508"/>
                  </a:lnTo>
                  <a:lnTo>
                    <a:pt x="3944" y="11528"/>
                  </a:lnTo>
                  <a:lnTo>
                    <a:pt x="3938" y="11547"/>
                  </a:lnTo>
                  <a:lnTo>
                    <a:pt x="3931" y="11567"/>
                  </a:lnTo>
                  <a:lnTo>
                    <a:pt x="3913" y="11617"/>
                  </a:lnTo>
                  <a:lnTo>
                    <a:pt x="3893" y="11666"/>
                  </a:lnTo>
                  <a:lnTo>
                    <a:pt x="3872" y="11713"/>
                  </a:lnTo>
                  <a:lnTo>
                    <a:pt x="3848" y="11760"/>
                  </a:lnTo>
                  <a:lnTo>
                    <a:pt x="3824" y="11807"/>
                  </a:lnTo>
                  <a:lnTo>
                    <a:pt x="3798" y="11851"/>
                  </a:lnTo>
                  <a:lnTo>
                    <a:pt x="3784" y="11873"/>
                  </a:lnTo>
                  <a:lnTo>
                    <a:pt x="3770" y="11895"/>
                  </a:lnTo>
                  <a:lnTo>
                    <a:pt x="3756" y="11916"/>
                  </a:lnTo>
                  <a:lnTo>
                    <a:pt x="3741" y="11938"/>
                  </a:lnTo>
                  <a:lnTo>
                    <a:pt x="3738" y="11941"/>
                  </a:lnTo>
                  <a:lnTo>
                    <a:pt x="3735" y="11946"/>
                  </a:lnTo>
                  <a:lnTo>
                    <a:pt x="3701" y="11990"/>
                  </a:lnTo>
                  <a:lnTo>
                    <a:pt x="3665" y="12033"/>
                  </a:lnTo>
                  <a:lnTo>
                    <a:pt x="3647" y="12054"/>
                  </a:lnTo>
                  <a:lnTo>
                    <a:pt x="3629" y="12074"/>
                  </a:lnTo>
                  <a:lnTo>
                    <a:pt x="3610" y="12094"/>
                  </a:lnTo>
                  <a:lnTo>
                    <a:pt x="3591" y="12115"/>
                  </a:lnTo>
                  <a:lnTo>
                    <a:pt x="3571" y="12135"/>
                  </a:lnTo>
                  <a:lnTo>
                    <a:pt x="3552" y="12154"/>
                  </a:lnTo>
                  <a:lnTo>
                    <a:pt x="3530" y="12172"/>
                  </a:lnTo>
                  <a:lnTo>
                    <a:pt x="3510" y="12191"/>
                  </a:lnTo>
                  <a:lnTo>
                    <a:pt x="3489" y="12209"/>
                  </a:lnTo>
                  <a:lnTo>
                    <a:pt x="3468" y="12226"/>
                  </a:lnTo>
                  <a:lnTo>
                    <a:pt x="3446" y="12244"/>
                  </a:lnTo>
                  <a:lnTo>
                    <a:pt x="3424" y="12261"/>
                  </a:lnTo>
                  <a:lnTo>
                    <a:pt x="3422" y="12263"/>
                  </a:lnTo>
                  <a:lnTo>
                    <a:pt x="3419" y="12265"/>
                  </a:lnTo>
                  <a:lnTo>
                    <a:pt x="3397" y="12281"/>
                  </a:lnTo>
                  <a:lnTo>
                    <a:pt x="3373" y="12299"/>
                  </a:lnTo>
                  <a:lnTo>
                    <a:pt x="3349" y="12315"/>
                  </a:lnTo>
                  <a:lnTo>
                    <a:pt x="3325" y="12330"/>
                  </a:lnTo>
                  <a:lnTo>
                    <a:pt x="3301" y="12345"/>
                  </a:lnTo>
                  <a:lnTo>
                    <a:pt x="3277" y="12360"/>
                  </a:lnTo>
                  <a:lnTo>
                    <a:pt x="3252" y="12374"/>
                  </a:lnTo>
                  <a:lnTo>
                    <a:pt x="3228" y="12388"/>
                  </a:lnTo>
                  <a:lnTo>
                    <a:pt x="3202" y="12401"/>
                  </a:lnTo>
                  <a:lnTo>
                    <a:pt x="3176" y="12414"/>
                  </a:lnTo>
                  <a:lnTo>
                    <a:pt x="3150" y="12426"/>
                  </a:lnTo>
                  <a:lnTo>
                    <a:pt x="3124" y="12438"/>
                  </a:lnTo>
                  <a:lnTo>
                    <a:pt x="3098" y="12450"/>
                  </a:lnTo>
                  <a:lnTo>
                    <a:pt x="3072" y="12461"/>
                  </a:lnTo>
                  <a:lnTo>
                    <a:pt x="3045" y="12472"/>
                  </a:lnTo>
                  <a:lnTo>
                    <a:pt x="3017" y="12482"/>
                  </a:lnTo>
                  <a:lnTo>
                    <a:pt x="2987" y="12492"/>
                  </a:lnTo>
                  <a:lnTo>
                    <a:pt x="2958" y="12502"/>
                  </a:lnTo>
                  <a:lnTo>
                    <a:pt x="2927" y="12511"/>
                  </a:lnTo>
                  <a:lnTo>
                    <a:pt x="2897" y="12520"/>
                  </a:lnTo>
                  <a:lnTo>
                    <a:pt x="2867" y="12528"/>
                  </a:lnTo>
                  <a:lnTo>
                    <a:pt x="2835" y="12536"/>
                  </a:lnTo>
                  <a:lnTo>
                    <a:pt x="2804" y="12543"/>
                  </a:lnTo>
                  <a:lnTo>
                    <a:pt x="2773" y="12549"/>
                  </a:lnTo>
                  <a:lnTo>
                    <a:pt x="2742" y="12555"/>
                  </a:lnTo>
                  <a:lnTo>
                    <a:pt x="2710" y="12560"/>
                  </a:lnTo>
                  <a:lnTo>
                    <a:pt x="2677" y="12564"/>
                  </a:lnTo>
                  <a:lnTo>
                    <a:pt x="2645" y="12568"/>
                  </a:lnTo>
                  <a:lnTo>
                    <a:pt x="2613" y="12570"/>
                  </a:lnTo>
                  <a:lnTo>
                    <a:pt x="2581" y="12572"/>
                  </a:lnTo>
                  <a:lnTo>
                    <a:pt x="2548" y="12574"/>
                  </a:lnTo>
                  <a:lnTo>
                    <a:pt x="2515" y="12574"/>
                  </a:lnTo>
                  <a:lnTo>
                    <a:pt x="2481" y="12574"/>
                  </a:lnTo>
                  <a:lnTo>
                    <a:pt x="2448" y="12572"/>
                  </a:lnTo>
                  <a:lnTo>
                    <a:pt x="2416" y="12570"/>
                  </a:lnTo>
                  <a:lnTo>
                    <a:pt x="2384" y="12568"/>
                  </a:lnTo>
                  <a:lnTo>
                    <a:pt x="2352" y="12564"/>
                  </a:lnTo>
                  <a:lnTo>
                    <a:pt x="2319" y="12560"/>
                  </a:lnTo>
                  <a:lnTo>
                    <a:pt x="2287" y="12555"/>
                  </a:lnTo>
                  <a:lnTo>
                    <a:pt x="2256" y="12549"/>
                  </a:lnTo>
                  <a:lnTo>
                    <a:pt x="2225" y="12543"/>
                  </a:lnTo>
                  <a:lnTo>
                    <a:pt x="2194" y="12536"/>
                  </a:lnTo>
                  <a:lnTo>
                    <a:pt x="2162" y="12528"/>
                  </a:lnTo>
                  <a:lnTo>
                    <a:pt x="2132" y="12520"/>
                  </a:lnTo>
                  <a:lnTo>
                    <a:pt x="2101" y="12511"/>
                  </a:lnTo>
                  <a:lnTo>
                    <a:pt x="2071" y="12502"/>
                  </a:lnTo>
                  <a:lnTo>
                    <a:pt x="2042" y="12492"/>
                  </a:lnTo>
                  <a:lnTo>
                    <a:pt x="2012" y="12482"/>
                  </a:lnTo>
                  <a:lnTo>
                    <a:pt x="1984" y="12472"/>
                  </a:lnTo>
                  <a:lnTo>
                    <a:pt x="1957" y="12461"/>
                  </a:lnTo>
                  <a:lnTo>
                    <a:pt x="1931" y="12450"/>
                  </a:lnTo>
                  <a:lnTo>
                    <a:pt x="1905" y="12438"/>
                  </a:lnTo>
                  <a:lnTo>
                    <a:pt x="1879" y="12426"/>
                  </a:lnTo>
                  <a:lnTo>
                    <a:pt x="1853" y="12414"/>
                  </a:lnTo>
                  <a:lnTo>
                    <a:pt x="1827" y="12401"/>
                  </a:lnTo>
                  <a:lnTo>
                    <a:pt x="1801" y="12388"/>
                  </a:lnTo>
                  <a:lnTo>
                    <a:pt x="1776" y="12374"/>
                  </a:lnTo>
                  <a:lnTo>
                    <a:pt x="1752" y="12360"/>
                  </a:lnTo>
                  <a:lnTo>
                    <a:pt x="1727" y="12345"/>
                  </a:lnTo>
                  <a:lnTo>
                    <a:pt x="1703" y="12330"/>
                  </a:lnTo>
                  <a:lnTo>
                    <a:pt x="1680" y="12315"/>
                  </a:lnTo>
                  <a:lnTo>
                    <a:pt x="1655" y="12299"/>
                  </a:lnTo>
                  <a:lnTo>
                    <a:pt x="1632" y="12281"/>
                  </a:lnTo>
                  <a:lnTo>
                    <a:pt x="1609" y="12265"/>
                  </a:lnTo>
                  <a:lnTo>
                    <a:pt x="1607" y="12263"/>
                  </a:lnTo>
                  <a:lnTo>
                    <a:pt x="1605" y="12261"/>
                  </a:lnTo>
                  <a:lnTo>
                    <a:pt x="1583" y="12244"/>
                  </a:lnTo>
                  <a:lnTo>
                    <a:pt x="1561" y="12226"/>
                  </a:lnTo>
                  <a:lnTo>
                    <a:pt x="1540" y="12209"/>
                  </a:lnTo>
                  <a:lnTo>
                    <a:pt x="1519" y="12191"/>
                  </a:lnTo>
                  <a:lnTo>
                    <a:pt x="1499" y="12172"/>
                  </a:lnTo>
                  <a:lnTo>
                    <a:pt x="1477" y="12154"/>
                  </a:lnTo>
                  <a:lnTo>
                    <a:pt x="1458" y="12135"/>
                  </a:lnTo>
                  <a:lnTo>
                    <a:pt x="1438" y="12115"/>
                  </a:lnTo>
                  <a:lnTo>
                    <a:pt x="1400" y="12074"/>
                  </a:lnTo>
                  <a:lnTo>
                    <a:pt x="1364" y="12033"/>
                  </a:lnTo>
                  <a:lnTo>
                    <a:pt x="1328" y="11990"/>
                  </a:lnTo>
                  <a:lnTo>
                    <a:pt x="1295" y="11946"/>
                  </a:lnTo>
                  <a:lnTo>
                    <a:pt x="1291" y="11941"/>
                  </a:lnTo>
                  <a:lnTo>
                    <a:pt x="1288" y="11938"/>
                  </a:lnTo>
                  <a:lnTo>
                    <a:pt x="1273" y="11916"/>
                  </a:lnTo>
                  <a:lnTo>
                    <a:pt x="1258" y="11895"/>
                  </a:lnTo>
                  <a:lnTo>
                    <a:pt x="1244" y="11873"/>
                  </a:lnTo>
                  <a:lnTo>
                    <a:pt x="1231" y="11851"/>
                  </a:lnTo>
                  <a:lnTo>
                    <a:pt x="1205" y="11807"/>
                  </a:lnTo>
                  <a:lnTo>
                    <a:pt x="1181" y="11760"/>
                  </a:lnTo>
                  <a:lnTo>
                    <a:pt x="1157" y="11713"/>
                  </a:lnTo>
                  <a:lnTo>
                    <a:pt x="1136" y="11666"/>
                  </a:lnTo>
                  <a:lnTo>
                    <a:pt x="1116" y="11617"/>
                  </a:lnTo>
                  <a:lnTo>
                    <a:pt x="1098" y="11567"/>
                  </a:lnTo>
                  <a:lnTo>
                    <a:pt x="1091" y="11547"/>
                  </a:lnTo>
                  <a:lnTo>
                    <a:pt x="1085" y="11528"/>
                  </a:lnTo>
                  <a:lnTo>
                    <a:pt x="1079" y="11508"/>
                  </a:lnTo>
                  <a:lnTo>
                    <a:pt x="1074" y="11488"/>
                  </a:lnTo>
                  <a:lnTo>
                    <a:pt x="1059" y="11438"/>
                  </a:lnTo>
                  <a:lnTo>
                    <a:pt x="1046" y="11385"/>
                  </a:lnTo>
                  <a:lnTo>
                    <a:pt x="1034" y="11334"/>
                  </a:lnTo>
                  <a:lnTo>
                    <a:pt x="1025" y="11282"/>
                  </a:lnTo>
                  <a:lnTo>
                    <a:pt x="1020" y="11254"/>
                  </a:lnTo>
                  <a:lnTo>
                    <a:pt x="1017" y="11228"/>
                  </a:lnTo>
                  <a:lnTo>
                    <a:pt x="1013" y="11201"/>
                  </a:lnTo>
                  <a:lnTo>
                    <a:pt x="1011" y="11175"/>
                  </a:lnTo>
                  <a:lnTo>
                    <a:pt x="1009" y="11148"/>
                  </a:lnTo>
                  <a:lnTo>
                    <a:pt x="1007" y="11121"/>
                  </a:lnTo>
                  <a:lnTo>
                    <a:pt x="1006" y="11092"/>
                  </a:lnTo>
                  <a:lnTo>
                    <a:pt x="1006" y="11065"/>
                  </a:lnTo>
                  <a:lnTo>
                    <a:pt x="1006" y="11037"/>
                  </a:lnTo>
                  <a:lnTo>
                    <a:pt x="1007" y="11010"/>
                  </a:lnTo>
                  <a:lnTo>
                    <a:pt x="1009" y="10983"/>
                  </a:lnTo>
                  <a:lnTo>
                    <a:pt x="1011" y="10956"/>
                  </a:lnTo>
                  <a:lnTo>
                    <a:pt x="1013" y="10929"/>
                  </a:lnTo>
                  <a:lnTo>
                    <a:pt x="1017" y="10901"/>
                  </a:lnTo>
                  <a:lnTo>
                    <a:pt x="1020" y="10875"/>
                  </a:lnTo>
                  <a:lnTo>
                    <a:pt x="1025" y="10848"/>
                  </a:lnTo>
                  <a:lnTo>
                    <a:pt x="1034" y="10796"/>
                  </a:lnTo>
                  <a:lnTo>
                    <a:pt x="1046" y="10744"/>
                  </a:lnTo>
                  <a:lnTo>
                    <a:pt x="1059" y="10693"/>
                  </a:lnTo>
                  <a:lnTo>
                    <a:pt x="1074" y="10642"/>
                  </a:lnTo>
                  <a:lnTo>
                    <a:pt x="1079" y="10622"/>
                  </a:lnTo>
                  <a:lnTo>
                    <a:pt x="1085" y="10603"/>
                  </a:lnTo>
                  <a:lnTo>
                    <a:pt x="1091" y="10582"/>
                  </a:lnTo>
                  <a:lnTo>
                    <a:pt x="1098" y="10563"/>
                  </a:lnTo>
                  <a:lnTo>
                    <a:pt x="1116" y="10514"/>
                  </a:lnTo>
                  <a:lnTo>
                    <a:pt x="1136" y="10465"/>
                  </a:lnTo>
                  <a:lnTo>
                    <a:pt x="1157" y="10417"/>
                  </a:lnTo>
                  <a:lnTo>
                    <a:pt x="1181" y="10370"/>
                  </a:lnTo>
                  <a:lnTo>
                    <a:pt x="1205" y="10324"/>
                  </a:lnTo>
                  <a:lnTo>
                    <a:pt x="1231" y="10279"/>
                  </a:lnTo>
                  <a:lnTo>
                    <a:pt x="1244" y="10257"/>
                  </a:lnTo>
                  <a:lnTo>
                    <a:pt x="1258" y="10235"/>
                  </a:lnTo>
                  <a:lnTo>
                    <a:pt x="1273" y="10213"/>
                  </a:lnTo>
                  <a:lnTo>
                    <a:pt x="1288" y="10192"/>
                  </a:lnTo>
                  <a:lnTo>
                    <a:pt x="1291" y="10188"/>
                  </a:lnTo>
                  <a:lnTo>
                    <a:pt x="1295" y="10184"/>
                  </a:lnTo>
                  <a:lnTo>
                    <a:pt x="1328" y="10140"/>
                  </a:lnTo>
                  <a:lnTo>
                    <a:pt x="1364" y="10098"/>
                  </a:lnTo>
                  <a:lnTo>
                    <a:pt x="1400" y="10055"/>
                  </a:lnTo>
                  <a:lnTo>
                    <a:pt x="1438" y="10015"/>
                  </a:lnTo>
                  <a:lnTo>
                    <a:pt x="1458" y="9996"/>
                  </a:lnTo>
                  <a:lnTo>
                    <a:pt x="1477" y="9977"/>
                  </a:lnTo>
                  <a:lnTo>
                    <a:pt x="1499" y="9958"/>
                  </a:lnTo>
                  <a:lnTo>
                    <a:pt x="1519" y="9939"/>
                  </a:lnTo>
                  <a:lnTo>
                    <a:pt x="1540" y="9921"/>
                  </a:lnTo>
                  <a:lnTo>
                    <a:pt x="1561" y="9903"/>
                  </a:lnTo>
                  <a:lnTo>
                    <a:pt x="1583" y="9885"/>
                  </a:lnTo>
                  <a:lnTo>
                    <a:pt x="1605" y="9869"/>
                  </a:lnTo>
                  <a:lnTo>
                    <a:pt x="1607" y="9867"/>
                  </a:lnTo>
                  <a:lnTo>
                    <a:pt x="1609" y="9864"/>
                  </a:lnTo>
                  <a:lnTo>
                    <a:pt x="1655" y="9832"/>
                  </a:lnTo>
                  <a:lnTo>
                    <a:pt x="1703" y="9800"/>
                  </a:lnTo>
                  <a:lnTo>
                    <a:pt x="1727" y="9785"/>
                  </a:lnTo>
                  <a:lnTo>
                    <a:pt x="1752" y="9771"/>
                  </a:lnTo>
                  <a:lnTo>
                    <a:pt x="1776" y="9757"/>
                  </a:lnTo>
                  <a:lnTo>
                    <a:pt x="1801" y="9743"/>
                  </a:lnTo>
                  <a:lnTo>
                    <a:pt x="1827" y="9729"/>
                  </a:lnTo>
                  <a:lnTo>
                    <a:pt x="1853" y="9716"/>
                  </a:lnTo>
                  <a:lnTo>
                    <a:pt x="1879" y="9704"/>
                  </a:lnTo>
                  <a:lnTo>
                    <a:pt x="1905" y="9692"/>
                  </a:lnTo>
                  <a:lnTo>
                    <a:pt x="1931" y="9680"/>
                  </a:lnTo>
                  <a:lnTo>
                    <a:pt x="1957" y="9669"/>
                  </a:lnTo>
                  <a:lnTo>
                    <a:pt x="1984" y="9659"/>
                  </a:lnTo>
                  <a:lnTo>
                    <a:pt x="2012" y="9649"/>
                  </a:lnTo>
                  <a:lnTo>
                    <a:pt x="2042" y="9639"/>
                  </a:lnTo>
                  <a:lnTo>
                    <a:pt x="2071" y="9629"/>
                  </a:lnTo>
                  <a:lnTo>
                    <a:pt x="2101" y="9620"/>
                  </a:lnTo>
                  <a:lnTo>
                    <a:pt x="2132" y="9611"/>
                  </a:lnTo>
                  <a:lnTo>
                    <a:pt x="2162" y="9603"/>
                  </a:lnTo>
                  <a:lnTo>
                    <a:pt x="2194" y="9595"/>
                  </a:lnTo>
                  <a:lnTo>
                    <a:pt x="2225" y="9588"/>
                  </a:lnTo>
                  <a:lnTo>
                    <a:pt x="2256" y="9582"/>
                  </a:lnTo>
                  <a:lnTo>
                    <a:pt x="2287" y="9576"/>
                  </a:lnTo>
                  <a:lnTo>
                    <a:pt x="2319" y="9570"/>
                  </a:lnTo>
                  <a:lnTo>
                    <a:pt x="2352" y="9566"/>
                  </a:lnTo>
                  <a:lnTo>
                    <a:pt x="2384" y="9563"/>
                  </a:lnTo>
                  <a:lnTo>
                    <a:pt x="2416" y="9560"/>
                  </a:lnTo>
                  <a:lnTo>
                    <a:pt x="2448" y="9558"/>
                  </a:lnTo>
                  <a:lnTo>
                    <a:pt x="2481" y="9556"/>
                  </a:lnTo>
                  <a:lnTo>
                    <a:pt x="2515" y="9556"/>
                  </a:lnTo>
                  <a:lnTo>
                    <a:pt x="2548" y="9556"/>
                  </a:lnTo>
                  <a:lnTo>
                    <a:pt x="2581" y="9558"/>
                  </a:lnTo>
                  <a:lnTo>
                    <a:pt x="2613" y="9560"/>
                  </a:lnTo>
                  <a:lnTo>
                    <a:pt x="2645" y="9563"/>
                  </a:lnTo>
                  <a:lnTo>
                    <a:pt x="2677" y="9566"/>
                  </a:lnTo>
                  <a:lnTo>
                    <a:pt x="2710" y="9570"/>
                  </a:lnTo>
                  <a:lnTo>
                    <a:pt x="2742" y="9576"/>
                  </a:lnTo>
                  <a:lnTo>
                    <a:pt x="2773" y="9582"/>
                  </a:lnTo>
                  <a:lnTo>
                    <a:pt x="2804" y="9588"/>
                  </a:lnTo>
                  <a:lnTo>
                    <a:pt x="2835" y="9595"/>
                  </a:lnTo>
                  <a:lnTo>
                    <a:pt x="2867" y="9603"/>
                  </a:lnTo>
                  <a:lnTo>
                    <a:pt x="2897" y="9611"/>
                  </a:lnTo>
                  <a:lnTo>
                    <a:pt x="2927" y="9620"/>
                  </a:lnTo>
                  <a:lnTo>
                    <a:pt x="2958" y="9629"/>
                  </a:lnTo>
                  <a:lnTo>
                    <a:pt x="2987" y="9639"/>
                  </a:lnTo>
                  <a:lnTo>
                    <a:pt x="3017" y="9649"/>
                  </a:lnTo>
                  <a:lnTo>
                    <a:pt x="3045" y="9659"/>
                  </a:lnTo>
                  <a:lnTo>
                    <a:pt x="3072" y="9669"/>
                  </a:lnTo>
                  <a:lnTo>
                    <a:pt x="3098" y="9680"/>
                  </a:lnTo>
                  <a:lnTo>
                    <a:pt x="3124" y="9692"/>
                  </a:lnTo>
                  <a:lnTo>
                    <a:pt x="3150" y="9704"/>
                  </a:lnTo>
                  <a:lnTo>
                    <a:pt x="3176" y="9716"/>
                  </a:lnTo>
                  <a:lnTo>
                    <a:pt x="3202" y="9729"/>
                  </a:lnTo>
                  <a:lnTo>
                    <a:pt x="3228" y="9743"/>
                  </a:lnTo>
                  <a:lnTo>
                    <a:pt x="3252" y="9757"/>
                  </a:lnTo>
                  <a:lnTo>
                    <a:pt x="3277" y="9771"/>
                  </a:lnTo>
                  <a:lnTo>
                    <a:pt x="3301" y="9785"/>
                  </a:lnTo>
                  <a:lnTo>
                    <a:pt x="3325" y="9800"/>
                  </a:lnTo>
                  <a:lnTo>
                    <a:pt x="3373" y="9832"/>
                  </a:lnTo>
                  <a:lnTo>
                    <a:pt x="3419" y="9864"/>
                  </a:lnTo>
                  <a:lnTo>
                    <a:pt x="3422" y="9867"/>
                  </a:lnTo>
                  <a:lnTo>
                    <a:pt x="3424" y="9869"/>
                  </a:lnTo>
                  <a:lnTo>
                    <a:pt x="3446" y="9885"/>
                  </a:lnTo>
                  <a:lnTo>
                    <a:pt x="3468" y="9903"/>
                  </a:lnTo>
                  <a:lnTo>
                    <a:pt x="3489" y="9921"/>
                  </a:lnTo>
                  <a:lnTo>
                    <a:pt x="3510" y="9939"/>
                  </a:lnTo>
                  <a:lnTo>
                    <a:pt x="3530" y="9958"/>
                  </a:lnTo>
                  <a:lnTo>
                    <a:pt x="3552" y="9977"/>
                  </a:lnTo>
                  <a:lnTo>
                    <a:pt x="3571" y="9996"/>
                  </a:lnTo>
                  <a:lnTo>
                    <a:pt x="3591" y="10015"/>
                  </a:lnTo>
                  <a:lnTo>
                    <a:pt x="3629" y="10055"/>
                  </a:lnTo>
                  <a:lnTo>
                    <a:pt x="3665" y="10098"/>
                  </a:lnTo>
                  <a:lnTo>
                    <a:pt x="3701" y="10140"/>
                  </a:lnTo>
                  <a:lnTo>
                    <a:pt x="3735" y="10184"/>
                  </a:lnTo>
                  <a:lnTo>
                    <a:pt x="3738" y="10188"/>
                  </a:lnTo>
                  <a:lnTo>
                    <a:pt x="3741" y="10192"/>
                  </a:lnTo>
                  <a:lnTo>
                    <a:pt x="3756" y="10213"/>
                  </a:lnTo>
                  <a:lnTo>
                    <a:pt x="3770" y="10235"/>
                  </a:lnTo>
                  <a:lnTo>
                    <a:pt x="3784" y="10257"/>
                  </a:lnTo>
                  <a:lnTo>
                    <a:pt x="3798" y="10279"/>
                  </a:lnTo>
                  <a:lnTo>
                    <a:pt x="3824" y="10324"/>
                  </a:lnTo>
                  <a:lnTo>
                    <a:pt x="3848" y="10370"/>
                  </a:lnTo>
                  <a:lnTo>
                    <a:pt x="3872" y="10417"/>
                  </a:lnTo>
                  <a:lnTo>
                    <a:pt x="3893" y="10465"/>
                  </a:lnTo>
                  <a:lnTo>
                    <a:pt x="3913" y="10514"/>
                  </a:lnTo>
                  <a:lnTo>
                    <a:pt x="3931" y="10563"/>
                  </a:lnTo>
                  <a:lnTo>
                    <a:pt x="3938" y="10582"/>
                  </a:lnTo>
                  <a:lnTo>
                    <a:pt x="3944" y="10603"/>
                  </a:lnTo>
                  <a:lnTo>
                    <a:pt x="3950" y="10622"/>
                  </a:lnTo>
                  <a:lnTo>
                    <a:pt x="3956" y="10642"/>
                  </a:lnTo>
                  <a:lnTo>
                    <a:pt x="3970" y="10693"/>
                  </a:lnTo>
                  <a:lnTo>
                    <a:pt x="3983" y="10744"/>
                  </a:lnTo>
                  <a:lnTo>
                    <a:pt x="3994" y="10796"/>
                  </a:lnTo>
                  <a:lnTo>
                    <a:pt x="4004" y="10848"/>
                  </a:lnTo>
                  <a:lnTo>
                    <a:pt x="4008" y="10875"/>
                  </a:lnTo>
                  <a:lnTo>
                    <a:pt x="4012" y="10901"/>
                  </a:lnTo>
                  <a:lnTo>
                    <a:pt x="4015" y="10929"/>
                  </a:lnTo>
                  <a:lnTo>
                    <a:pt x="4018" y="10956"/>
                  </a:lnTo>
                  <a:lnTo>
                    <a:pt x="4020" y="10983"/>
                  </a:lnTo>
                  <a:lnTo>
                    <a:pt x="4022" y="11010"/>
                  </a:lnTo>
                  <a:lnTo>
                    <a:pt x="4023" y="11037"/>
                  </a:lnTo>
                  <a:lnTo>
                    <a:pt x="4023" y="11065"/>
                  </a:lnTo>
                  <a:lnTo>
                    <a:pt x="4023" y="11092"/>
                  </a:lnTo>
                  <a:lnTo>
                    <a:pt x="4022" y="11121"/>
                  </a:lnTo>
                  <a:lnTo>
                    <a:pt x="4020" y="11148"/>
                  </a:lnTo>
                  <a:lnTo>
                    <a:pt x="4018" y="11175"/>
                  </a:lnTo>
                  <a:lnTo>
                    <a:pt x="4015" y="11201"/>
                  </a:lnTo>
                  <a:lnTo>
                    <a:pt x="4012" y="11228"/>
                  </a:lnTo>
                  <a:lnTo>
                    <a:pt x="4008" y="11254"/>
                  </a:lnTo>
                  <a:lnTo>
                    <a:pt x="4004" y="11282"/>
                  </a:lnTo>
                  <a:lnTo>
                    <a:pt x="3994" y="11334"/>
                  </a:lnTo>
                  <a:lnTo>
                    <a:pt x="3983" y="11385"/>
                  </a:lnTo>
                  <a:lnTo>
                    <a:pt x="3970" y="11438"/>
                  </a:lnTo>
                  <a:lnTo>
                    <a:pt x="3956" y="11488"/>
                  </a:lnTo>
                  <a:close/>
                  <a:moveTo>
                    <a:pt x="3017" y="14586"/>
                  </a:moveTo>
                  <a:lnTo>
                    <a:pt x="3016" y="14612"/>
                  </a:lnTo>
                  <a:lnTo>
                    <a:pt x="3014" y="14637"/>
                  </a:lnTo>
                  <a:lnTo>
                    <a:pt x="3011" y="14663"/>
                  </a:lnTo>
                  <a:lnTo>
                    <a:pt x="3007" y="14688"/>
                  </a:lnTo>
                  <a:lnTo>
                    <a:pt x="3001" y="14712"/>
                  </a:lnTo>
                  <a:lnTo>
                    <a:pt x="2995" y="14736"/>
                  </a:lnTo>
                  <a:lnTo>
                    <a:pt x="2987" y="14759"/>
                  </a:lnTo>
                  <a:lnTo>
                    <a:pt x="2978" y="14782"/>
                  </a:lnTo>
                  <a:lnTo>
                    <a:pt x="2968" y="14804"/>
                  </a:lnTo>
                  <a:lnTo>
                    <a:pt x="2957" y="14827"/>
                  </a:lnTo>
                  <a:lnTo>
                    <a:pt x="2945" y="14847"/>
                  </a:lnTo>
                  <a:lnTo>
                    <a:pt x="2932" y="14868"/>
                  </a:lnTo>
                  <a:lnTo>
                    <a:pt x="2918" y="14887"/>
                  </a:lnTo>
                  <a:lnTo>
                    <a:pt x="2903" y="14906"/>
                  </a:lnTo>
                  <a:lnTo>
                    <a:pt x="2887" y="14924"/>
                  </a:lnTo>
                  <a:lnTo>
                    <a:pt x="2870" y="14942"/>
                  </a:lnTo>
                  <a:lnTo>
                    <a:pt x="2852" y="14958"/>
                  </a:lnTo>
                  <a:lnTo>
                    <a:pt x="2834" y="14974"/>
                  </a:lnTo>
                  <a:lnTo>
                    <a:pt x="2815" y="14989"/>
                  </a:lnTo>
                  <a:lnTo>
                    <a:pt x="2795" y="15004"/>
                  </a:lnTo>
                  <a:lnTo>
                    <a:pt x="2775" y="15017"/>
                  </a:lnTo>
                  <a:lnTo>
                    <a:pt x="2754" y="15029"/>
                  </a:lnTo>
                  <a:lnTo>
                    <a:pt x="2733" y="15040"/>
                  </a:lnTo>
                  <a:lnTo>
                    <a:pt x="2711" y="15050"/>
                  </a:lnTo>
                  <a:lnTo>
                    <a:pt x="2688" y="15059"/>
                  </a:lnTo>
                  <a:lnTo>
                    <a:pt x="2664" y="15067"/>
                  </a:lnTo>
                  <a:lnTo>
                    <a:pt x="2640" y="15073"/>
                  </a:lnTo>
                  <a:lnTo>
                    <a:pt x="2616" y="15079"/>
                  </a:lnTo>
                  <a:lnTo>
                    <a:pt x="2591" y="15083"/>
                  </a:lnTo>
                  <a:lnTo>
                    <a:pt x="2566" y="15086"/>
                  </a:lnTo>
                  <a:lnTo>
                    <a:pt x="2541" y="15088"/>
                  </a:lnTo>
                  <a:lnTo>
                    <a:pt x="2515" y="15089"/>
                  </a:lnTo>
                  <a:lnTo>
                    <a:pt x="2488" y="15088"/>
                  </a:lnTo>
                  <a:lnTo>
                    <a:pt x="2463" y="15086"/>
                  </a:lnTo>
                  <a:lnTo>
                    <a:pt x="2438" y="15083"/>
                  </a:lnTo>
                  <a:lnTo>
                    <a:pt x="2413" y="15079"/>
                  </a:lnTo>
                  <a:lnTo>
                    <a:pt x="2389" y="15073"/>
                  </a:lnTo>
                  <a:lnTo>
                    <a:pt x="2365" y="15067"/>
                  </a:lnTo>
                  <a:lnTo>
                    <a:pt x="2341" y="15059"/>
                  </a:lnTo>
                  <a:lnTo>
                    <a:pt x="2318" y="15050"/>
                  </a:lnTo>
                  <a:lnTo>
                    <a:pt x="2296" y="15040"/>
                  </a:lnTo>
                  <a:lnTo>
                    <a:pt x="2275" y="15029"/>
                  </a:lnTo>
                  <a:lnTo>
                    <a:pt x="2254" y="15017"/>
                  </a:lnTo>
                  <a:lnTo>
                    <a:pt x="2233" y="15004"/>
                  </a:lnTo>
                  <a:lnTo>
                    <a:pt x="2214" y="14989"/>
                  </a:lnTo>
                  <a:lnTo>
                    <a:pt x="2195" y="14974"/>
                  </a:lnTo>
                  <a:lnTo>
                    <a:pt x="2177" y="14958"/>
                  </a:lnTo>
                  <a:lnTo>
                    <a:pt x="2158" y="14942"/>
                  </a:lnTo>
                  <a:lnTo>
                    <a:pt x="2142" y="14924"/>
                  </a:lnTo>
                  <a:lnTo>
                    <a:pt x="2126" y="14906"/>
                  </a:lnTo>
                  <a:lnTo>
                    <a:pt x="2111" y="14887"/>
                  </a:lnTo>
                  <a:lnTo>
                    <a:pt x="2097" y="14868"/>
                  </a:lnTo>
                  <a:lnTo>
                    <a:pt x="2084" y="14847"/>
                  </a:lnTo>
                  <a:lnTo>
                    <a:pt x="2072" y="14827"/>
                  </a:lnTo>
                  <a:lnTo>
                    <a:pt x="2061" y="14804"/>
                  </a:lnTo>
                  <a:lnTo>
                    <a:pt x="2051" y="14782"/>
                  </a:lnTo>
                  <a:lnTo>
                    <a:pt x="2042" y="14759"/>
                  </a:lnTo>
                  <a:lnTo>
                    <a:pt x="2034" y="14736"/>
                  </a:lnTo>
                  <a:lnTo>
                    <a:pt x="2028" y="14712"/>
                  </a:lnTo>
                  <a:lnTo>
                    <a:pt x="2022" y="14688"/>
                  </a:lnTo>
                  <a:lnTo>
                    <a:pt x="2018" y="14663"/>
                  </a:lnTo>
                  <a:lnTo>
                    <a:pt x="2015" y="14637"/>
                  </a:lnTo>
                  <a:lnTo>
                    <a:pt x="2013" y="14612"/>
                  </a:lnTo>
                  <a:lnTo>
                    <a:pt x="2012" y="14586"/>
                  </a:lnTo>
                  <a:lnTo>
                    <a:pt x="2012" y="13530"/>
                  </a:lnTo>
                  <a:lnTo>
                    <a:pt x="2073" y="13541"/>
                  </a:lnTo>
                  <a:lnTo>
                    <a:pt x="2134" y="13551"/>
                  </a:lnTo>
                  <a:lnTo>
                    <a:pt x="2197" y="13560"/>
                  </a:lnTo>
                  <a:lnTo>
                    <a:pt x="2259" y="13567"/>
                  </a:lnTo>
                  <a:lnTo>
                    <a:pt x="2322" y="13573"/>
                  </a:lnTo>
                  <a:lnTo>
                    <a:pt x="2386" y="13577"/>
                  </a:lnTo>
                  <a:lnTo>
                    <a:pt x="2450" y="13579"/>
                  </a:lnTo>
                  <a:lnTo>
                    <a:pt x="2515" y="13580"/>
                  </a:lnTo>
                  <a:lnTo>
                    <a:pt x="2579" y="13579"/>
                  </a:lnTo>
                  <a:lnTo>
                    <a:pt x="2643" y="13577"/>
                  </a:lnTo>
                  <a:lnTo>
                    <a:pt x="2707" y="13573"/>
                  </a:lnTo>
                  <a:lnTo>
                    <a:pt x="2770" y="13567"/>
                  </a:lnTo>
                  <a:lnTo>
                    <a:pt x="2832" y="13560"/>
                  </a:lnTo>
                  <a:lnTo>
                    <a:pt x="2895" y="13551"/>
                  </a:lnTo>
                  <a:lnTo>
                    <a:pt x="2956" y="13541"/>
                  </a:lnTo>
                  <a:lnTo>
                    <a:pt x="3017" y="13530"/>
                  </a:lnTo>
                  <a:lnTo>
                    <a:pt x="3017" y="14586"/>
                  </a:lnTo>
                  <a:close/>
                  <a:moveTo>
                    <a:pt x="2012" y="1509"/>
                  </a:moveTo>
                  <a:lnTo>
                    <a:pt x="2013" y="1483"/>
                  </a:lnTo>
                  <a:lnTo>
                    <a:pt x="2015" y="1458"/>
                  </a:lnTo>
                  <a:lnTo>
                    <a:pt x="2018" y="1432"/>
                  </a:lnTo>
                  <a:lnTo>
                    <a:pt x="2022" y="1407"/>
                  </a:lnTo>
                  <a:lnTo>
                    <a:pt x="2028" y="1383"/>
                  </a:lnTo>
                  <a:lnTo>
                    <a:pt x="2034" y="1359"/>
                  </a:lnTo>
                  <a:lnTo>
                    <a:pt x="2042" y="1336"/>
                  </a:lnTo>
                  <a:lnTo>
                    <a:pt x="2051" y="1313"/>
                  </a:lnTo>
                  <a:lnTo>
                    <a:pt x="2061" y="1291"/>
                  </a:lnTo>
                  <a:lnTo>
                    <a:pt x="2072" y="1269"/>
                  </a:lnTo>
                  <a:lnTo>
                    <a:pt x="2084" y="1248"/>
                  </a:lnTo>
                  <a:lnTo>
                    <a:pt x="2097" y="1227"/>
                  </a:lnTo>
                  <a:lnTo>
                    <a:pt x="2111" y="1208"/>
                  </a:lnTo>
                  <a:lnTo>
                    <a:pt x="2126" y="1189"/>
                  </a:lnTo>
                  <a:lnTo>
                    <a:pt x="2142" y="1171"/>
                  </a:lnTo>
                  <a:lnTo>
                    <a:pt x="2158" y="1153"/>
                  </a:lnTo>
                  <a:lnTo>
                    <a:pt x="2177" y="1137"/>
                  </a:lnTo>
                  <a:lnTo>
                    <a:pt x="2195" y="1121"/>
                  </a:lnTo>
                  <a:lnTo>
                    <a:pt x="2214" y="1106"/>
                  </a:lnTo>
                  <a:lnTo>
                    <a:pt x="2233" y="1091"/>
                  </a:lnTo>
                  <a:lnTo>
                    <a:pt x="2254" y="1078"/>
                  </a:lnTo>
                  <a:lnTo>
                    <a:pt x="2275" y="1066"/>
                  </a:lnTo>
                  <a:lnTo>
                    <a:pt x="2296" y="1055"/>
                  </a:lnTo>
                  <a:lnTo>
                    <a:pt x="2318" y="1045"/>
                  </a:lnTo>
                  <a:lnTo>
                    <a:pt x="2341" y="1036"/>
                  </a:lnTo>
                  <a:lnTo>
                    <a:pt x="2365" y="1029"/>
                  </a:lnTo>
                  <a:lnTo>
                    <a:pt x="2389" y="1022"/>
                  </a:lnTo>
                  <a:lnTo>
                    <a:pt x="2413" y="1016"/>
                  </a:lnTo>
                  <a:lnTo>
                    <a:pt x="2438" y="1012"/>
                  </a:lnTo>
                  <a:lnTo>
                    <a:pt x="2463" y="1009"/>
                  </a:lnTo>
                  <a:lnTo>
                    <a:pt x="2488" y="1007"/>
                  </a:lnTo>
                  <a:lnTo>
                    <a:pt x="2515" y="1006"/>
                  </a:lnTo>
                  <a:lnTo>
                    <a:pt x="2541" y="1007"/>
                  </a:lnTo>
                  <a:lnTo>
                    <a:pt x="2566" y="1009"/>
                  </a:lnTo>
                  <a:lnTo>
                    <a:pt x="2591" y="1012"/>
                  </a:lnTo>
                  <a:lnTo>
                    <a:pt x="2616" y="1016"/>
                  </a:lnTo>
                  <a:lnTo>
                    <a:pt x="2640" y="1022"/>
                  </a:lnTo>
                  <a:lnTo>
                    <a:pt x="2664" y="1029"/>
                  </a:lnTo>
                  <a:lnTo>
                    <a:pt x="2688" y="1036"/>
                  </a:lnTo>
                  <a:lnTo>
                    <a:pt x="2711" y="1045"/>
                  </a:lnTo>
                  <a:lnTo>
                    <a:pt x="2733" y="1055"/>
                  </a:lnTo>
                  <a:lnTo>
                    <a:pt x="2754" y="1066"/>
                  </a:lnTo>
                  <a:lnTo>
                    <a:pt x="2775" y="1078"/>
                  </a:lnTo>
                  <a:lnTo>
                    <a:pt x="2795" y="1091"/>
                  </a:lnTo>
                  <a:lnTo>
                    <a:pt x="2815" y="1106"/>
                  </a:lnTo>
                  <a:lnTo>
                    <a:pt x="2834" y="1121"/>
                  </a:lnTo>
                  <a:lnTo>
                    <a:pt x="2852" y="1137"/>
                  </a:lnTo>
                  <a:lnTo>
                    <a:pt x="2870" y="1153"/>
                  </a:lnTo>
                  <a:lnTo>
                    <a:pt x="2887" y="1171"/>
                  </a:lnTo>
                  <a:lnTo>
                    <a:pt x="2903" y="1189"/>
                  </a:lnTo>
                  <a:lnTo>
                    <a:pt x="2918" y="1208"/>
                  </a:lnTo>
                  <a:lnTo>
                    <a:pt x="2932" y="1227"/>
                  </a:lnTo>
                  <a:lnTo>
                    <a:pt x="2945" y="1248"/>
                  </a:lnTo>
                  <a:lnTo>
                    <a:pt x="2957" y="1269"/>
                  </a:lnTo>
                  <a:lnTo>
                    <a:pt x="2968" y="1291"/>
                  </a:lnTo>
                  <a:lnTo>
                    <a:pt x="2978" y="1313"/>
                  </a:lnTo>
                  <a:lnTo>
                    <a:pt x="2987" y="1336"/>
                  </a:lnTo>
                  <a:lnTo>
                    <a:pt x="2995" y="1359"/>
                  </a:lnTo>
                  <a:lnTo>
                    <a:pt x="3001" y="1383"/>
                  </a:lnTo>
                  <a:lnTo>
                    <a:pt x="3007" y="1407"/>
                  </a:lnTo>
                  <a:lnTo>
                    <a:pt x="3011" y="1432"/>
                  </a:lnTo>
                  <a:lnTo>
                    <a:pt x="3014" y="1458"/>
                  </a:lnTo>
                  <a:lnTo>
                    <a:pt x="3016" y="1483"/>
                  </a:lnTo>
                  <a:lnTo>
                    <a:pt x="3017" y="1509"/>
                  </a:lnTo>
                  <a:lnTo>
                    <a:pt x="3017" y="8601"/>
                  </a:lnTo>
                  <a:lnTo>
                    <a:pt x="2956" y="8590"/>
                  </a:lnTo>
                  <a:lnTo>
                    <a:pt x="2895" y="8579"/>
                  </a:lnTo>
                  <a:lnTo>
                    <a:pt x="2832" y="8571"/>
                  </a:lnTo>
                  <a:lnTo>
                    <a:pt x="2770" y="8564"/>
                  </a:lnTo>
                  <a:lnTo>
                    <a:pt x="2707" y="8558"/>
                  </a:lnTo>
                  <a:lnTo>
                    <a:pt x="2643" y="8553"/>
                  </a:lnTo>
                  <a:lnTo>
                    <a:pt x="2579" y="8551"/>
                  </a:lnTo>
                  <a:lnTo>
                    <a:pt x="2515" y="8550"/>
                  </a:lnTo>
                  <a:lnTo>
                    <a:pt x="2450" y="8551"/>
                  </a:lnTo>
                  <a:lnTo>
                    <a:pt x="2386" y="8553"/>
                  </a:lnTo>
                  <a:lnTo>
                    <a:pt x="2322" y="8558"/>
                  </a:lnTo>
                  <a:lnTo>
                    <a:pt x="2259" y="8564"/>
                  </a:lnTo>
                  <a:lnTo>
                    <a:pt x="2197" y="8571"/>
                  </a:lnTo>
                  <a:lnTo>
                    <a:pt x="2134" y="8579"/>
                  </a:lnTo>
                  <a:lnTo>
                    <a:pt x="2073" y="8590"/>
                  </a:lnTo>
                  <a:lnTo>
                    <a:pt x="2012" y="8601"/>
                  </a:lnTo>
                  <a:lnTo>
                    <a:pt x="2012" y="1509"/>
                  </a:lnTo>
                  <a:close/>
                  <a:moveTo>
                    <a:pt x="4023" y="9065"/>
                  </a:moveTo>
                  <a:lnTo>
                    <a:pt x="4023" y="1509"/>
                  </a:lnTo>
                  <a:lnTo>
                    <a:pt x="4021" y="1431"/>
                  </a:lnTo>
                  <a:lnTo>
                    <a:pt x="4015" y="1355"/>
                  </a:lnTo>
                  <a:lnTo>
                    <a:pt x="4006" y="1280"/>
                  </a:lnTo>
                  <a:lnTo>
                    <a:pt x="3992" y="1205"/>
                  </a:lnTo>
                  <a:lnTo>
                    <a:pt x="3976" y="1133"/>
                  </a:lnTo>
                  <a:lnTo>
                    <a:pt x="3955" y="1060"/>
                  </a:lnTo>
                  <a:lnTo>
                    <a:pt x="3932" y="991"/>
                  </a:lnTo>
                  <a:lnTo>
                    <a:pt x="3905" y="922"/>
                  </a:lnTo>
                  <a:lnTo>
                    <a:pt x="3875" y="855"/>
                  </a:lnTo>
                  <a:lnTo>
                    <a:pt x="3841" y="791"/>
                  </a:lnTo>
                  <a:lnTo>
                    <a:pt x="3805" y="727"/>
                  </a:lnTo>
                  <a:lnTo>
                    <a:pt x="3765" y="666"/>
                  </a:lnTo>
                  <a:lnTo>
                    <a:pt x="3724" y="607"/>
                  </a:lnTo>
                  <a:lnTo>
                    <a:pt x="3678" y="549"/>
                  </a:lnTo>
                  <a:lnTo>
                    <a:pt x="3631" y="495"/>
                  </a:lnTo>
                  <a:lnTo>
                    <a:pt x="3581" y="443"/>
                  </a:lnTo>
                  <a:lnTo>
                    <a:pt x="3528" y="392"/>
                  </a:lnTo>
                  <a:lnTo>
                    <a:pt x="3474" y="345"/>
                  </a:lnTo>
                  <a:lnTo>
                    <a:pt x="3417" y="300"/>
                  </a:lnTo>
                  <a:lnTo>
                    <a:pt x="3357" y="259"/>
                  </a:lnTo>
                  <a:lnTo>
                    <a:pt x="3296" y="219"/>
                  </a:lnTo>
                  <a:lnTo>
                    <a:pt x="3233" y="182"/>
                  </a:lnTo>
                  <a:lnTo>
                    <a:pt x="3168" y="149"/>
                  </a:lnTo>
                  <a:lnTo>
                    <a:pt x="3101" y="119"/>
                  </a:lnTo>
                  <a:lnTo>
                    <a:pt x="3033" y="92"/>
                  </a:lnTo>
                  <a:lnTo>
                    <a:pt x="2963" y="68"/>
                  </a:lnTo>
                  <a:lnTo>
                    <a:pt x="2891" y="47"/>
                  </a:lnTo>
                  <a:lnTo>
                    <a:pt x="2818" y="31"/>
                  </a:lnTo>
                  <a:lnTo>
                    <a:pt x="2744" y="17"/>
                  </a:lnTo>
                  <a:lnTo>
                    <a:pt x="2668" y="8"/>
                  </a:lnTo>
                  <a:lnTo>
                    <a:pt x="2592" y="2"/>
                  </a:lnTo>
                  <a:lnTo>
                    <a:pt x="2515" y="0"/>
                  </a:lnTo>
                  <a:lnTo>
                    <a:pt x="2437" y="2"/>
                  </a:lnTo>
                  <a:lnTo>
                    <a:pt x="2361" y="8"/>
                  </a:lnTo>
                  <a:lnTo>
                    <a:pt x="2285" y="17"/>
                  </a:lnTo>
                  <a:lnTo>
                    <a:pt x="2211" y="31"/>
                  </a:lnTo>
                  <a:lnTo>
                    <a:pt x="2137" y="47"/>
                  </a:lnTo>
                  <a:lnTo>
                    <a:pt x="2066" y="68"/>
                  </a:lnTo>
                  <a:lnTo>
                    <a:pt x="1996" y="92"/>
                  </a:lnTo>
                  <a:lnTo>
                    <a:pt x="1928" y="119"/>
                  </a:lnTo>
                  <a:lnTo>
                    <a:pt x="1861" y="149"/>
                  </a:lnTo>
                  <a:lnTo>
                    <a:pt x="1795" y="182"/>
                  </a:lnTo>
                  <a:lnTo>
                    <a:pt x="1733" y="219"/>
                  </a:lnTo>
                  <a:lnTo>
                    <a:pt x="1672" y="259"/>
                  </a:lnTo>
                  <a:lnTo>
                    <a:pt x="1612" y="300"/>
                  </a:lnTo>
                  <a:lnTo>
                    <a:pt x="1555" y="345"/>
                  </a:lnTo>
                  <a:lnTo>
                    <a:pt x="1501" y="392"/>
                  </a:lnTo>
                  <a:lnTo>
                    <a:pt x="1448" y="443"/>
                  </a:lnTo>
                  <a:lnTo>
                    <a:pt x="1398" y="495"/>
                  </a:lnTo>
                  <a:lnTo>
                    <a:pt x="1351" y="549"/>
                  </a:lnTo>
                  <a:lnTo>
                    <a:pt x="1305" y="607"/>
                  </a:lnTo>
                  <a:lnTo>
                    <a:pt x="1263" y="666"/>
                  </a:lnTo>
                  <a:lnTo>
                    <a:pt x="1224" y="727"/>
                  </a:lnTo>
                  <a:lnTo>
                    <a:pt x="1188" y="791"/>
                  </a:lnTo>
                  <a:lnTo>
                    <a:pt x="1154" y="855"/>
                  </a:lnTo>
                  <a:lnTo>
                    <a:pt x="1124" y="922"/>
                  </a:lnTo>
                  <a:lnTo>
                    <a:pt x="1097" y="991"/>
                  </a:lnTo>
                  <a:lnTo>
                    <a:pt x="1073" y="1060"/>
                  </a:lnTo>
                  <a:lnTo>
                    <a:pt x="1053" y="1133"/>
                  </a:lnTo>
                  <a:lnTo>
                    <a:pt x="1036" y="1205"/>
                  </a:lnTo>
                  <a:lnTo>
                    <a:pt x="1023" y="1280"/>
                  </a:lnTo>
                  <a:lnTo>
                    <a:pt x="1014" y="1355"/>
                  </a:lnTo>
                  <a:lnTo>
                    <a:pt x="1008" y="1431"/>
                  </a:lnTo>
                  <a:lnTo>
                    <a:pt x="1006" y="1509"/>
                  </a:lnTo>
                  <a:lnTo>
                    <a:pt x="1006" y="9065"/>
                  </a:lnTo>
                  <a:lnTo>
                    <a:pt x="949" y="9109"/>
                  </a:lnTo>
                  <a:lnTo>
                    <a:pt x="894" y="9154"/>
                  </a:lnTo>
                  <a:lnTo>
                    <a:pt x="841" y="9200"/>
                  </a:lnTo>
                  <a:lnTo>
                    <a:pt x="788" y="9249"/>
                  </a:lnTo>
                  <a:lnTo>
                    <a:pt x="737" y="9299"/>
                  </a:lnTo>
                  <a:lnTo>
                    <a:pt x="687" y="9349"/>
                  </a:lnTo>
                  <a:lnTo>
                    <a:pt x="638" y="9401"/>
                  </a:lnTo>
                  <a:lnTo>
                    <a:pt x="592" y="9456"/>
                  </a:lnTo>
                  <a:lnTo>
                    <a:pt x="547" y="9511"/>
                  </a:lnTo>
                  <a:lnTo>
                    <a:pt x="503" y="9567"/>
                  </a:lnTo>
                  <a:lnTo>
                    <a:pt x="460" y="9625"/>
                  </a:lnTo>
                  <a:lnTo>
                    <a:pt x="420" y="9683"/>
                  </a:lnTo>
                  <a:lnTo>
                    <a:pt x="381" y="9744"/>
                  </a:lnTo>
                  <a:lnTo>
                    <a:pt x="344" y="9804"/>
                  </a:lnTo>
                  <a:lnTo>
                    <a:pt x="308" y="9866"/>
                  </a:lnTo>
                  <a:lnTo>
                    <a:pt x="275" y="9930"/>
                  </a:lnTo>
                  <a:lnTo>
                    <a:pt x="243" y="9994"/>
                  </a:lnTo>
                  <a:lnTo>
                    <a:pt x="213" y="10059"/>
                  </a:lnTo>
                  <a:lnTo>
                    <a:pt x="184" y="10126"/>
                  </a:lnTo>
                  <a:lnTo>
                    <a:pt x="158" y="10193"/>
                  </a:lnTo>
                  <a:lnTo>
                    <a:pt x="133" y="10262"/>
                  </a:lnTo>
                  <a:lnTo>
                    <a:pt x="110" y="10330"/>
                  </a:lnTo>
                  <a:lnTo>
                    <a:pt x="90" y="10400"/>
                  </a:lnTo>
                  <a:lnTo>
                    <a:pt x="71" y="10471"/>
                  </a:lnTo>
                  <a:lnTo>
                    <a:pt x="55" y="10543"/>
                  </a:lnTo>
                  <a:lnTo>
                    <a:pt x="41" y="10616"/>
                  </a:lnTo>
                  <a:lnTo>
                    <a:pt x="28" y="10689"/>
                  </a:lnTo>
                  <a:lnTo>
                    <a:pt x="18" y="10763"/>
                  </a:lnTo>
                  <a:lnTo>
                    <a:pt x="10" y="10837"/>
                  </a:lnTo>
                  <a:lnTo>
                    <a:pt x="5" y="10912"/>
                  </a:lnTo>
                  <a:lnTo>
                    <a:pt x="1" y="10989"/>
                  </a:lnTo>
                  <a:lnTo>
                    <a:pt x="0" y="11065"/>
                  </a:lnTo>
                  <a:lnTo>
                    <a:pt x="1" y="11142"/>
                  </a:lnTo>
                  <a:lnTo>
                    <a:pt x="5" y="11218"/>
                  </a:lnTo>
                  <a:lnTo>
                    <a:pt x="10" y="11294"/>
                  </a:lnTo>
                  <a:lnTo>
                    <a:pt x="18" y="11368"/>
                  </a:lnTo>
                  <a:lnTo>
                    <a:pt x="28" y="11442"/>
                  </a:lnTo>
                  <a:lnTo>
                    <a:pt x="41" y="11515"/>
                  </a:lnTo>
                  <a:lnTo>
                    <a:pt x="55" y="11587"/>
                  </a:lnTo>
                  <a:lnTo>
                    <a:pt x="71" y="11660"/>
                  </a:lnTo>
                  <a:lnTo>
                    <a:pt x="90" y="11730"/>
                  </a:lnTo>
                  <a:lnTo>
                    <a:pt x="110" y="11801"/>
                  </a:lnTo>
                  <a:lnTo>
                    <a:pt x="133" y="11869"/>
                  </a:lnTo>
                  <a:lnTo>
                    <a:pt x="158" y="11937"/>
                  </a:lnTo>
                  <a:lnTo>
                    <a:pt x="184" y="12005"/>
                  </a:lnTo>
                  <a:lnTo>
                    <a:pt x="213" y="12071"/>
                  </a:lnTo>
                  <a:lnTo>
                    <a:pt x="243" y="12137"/>
                  </a:lnTo>
                  <a:lnTo>
                    <a:pt x="275" y="12201"/>
                  </a:lnTo>
                  <a:lnTo>
                    <a:pt x="308" y="12264"/>
                  </a:lnTo>
                  <a:lnTo>
                    <a:pt x="344" y="12327"/>
                  </a:lnTo>
                  <a:lnTo>
                    <a:pt x="381" y="12387"/>
                  </a:lnTo>
                  <a:lnTo>
                    <a:pt x="420" y="12447"/>
                  </a:lnTo>
                  <a:lnTo>
                    <a:pt x="460" y="12506"/>
                  </a:lnTo>
                  <a:lnTo>
                    <a:pt x="503" y="12564"/>
                  </a:lnTo>
                  <a:lnTo>
                    <a:pt x="547" y="12619"/>
                  </a:lnTo>
                  <a:lnTo>
                    <a:pt x="592" y="12675"/>
                  </a:lnTo>
                  <a:lnTo>
                    <a:pt x="638" y="12729"/>
                  </a:lnTo>
                  <a:lnTo>
                    <a:pt x="687" y="12781"/>
                  </a:lnTo>
                  <a:lnTo>
                    <a:pt x="737" y="12832"/>
                  </a:lnTo>
                  <a:lnTo>
                    <a:pt x="788" y="12882"/>
                  </a:lnTo>
                  <a:lnTo>
                    <a:pt x="841" y="12930"/>
                  </a:lnTo>
                  <a:lnTo>
                    <a:pt x="894" y="12977"/>
                  </a:lnTo>
                  <a:lnTo>
                    <a:pt x="949" y="13022"/>
                  </a:lnTo>
                  <a:lnTo>
                    <a:pt x="1006" y="13066"/>
                  </a:lnTo>
                  <a:lnTo>
                    <a:pt x="1006" y="14586"/>
                  </a:lnTo>
                  <a:lnTo>
                    <a:pt x="1008" y="14664"/>
                  </a:lnTo>
                  <a:lnTo>
                    <a:pt x="1014" y="14740"/>
                  </a:lnTo>
                  <a:lnTo>
                    <a:pt x="1023" y="14815"/>
                  </a:lnTo>
                  <a:lnTo>
                    <a:pt x="1036" y="14890"/>
                  </a:lnTo>
                  <a:lnTo>
                    <a:pt x="1053" y="14962"/>
                  </a:lnTo>
                  <a:lnTo>
                    <a:pt x="1073" y="15035"/>
                  </a:lnTo>
                  <a:lnTo>
                    <a:pt x="1097" y="15104"/>
                  </a:lnTo>
                  <a:lnTo>
                    <a:pt x="1124" y="15173"/>
                  </a:lnTo>
                  <a:lnTo>
                    <a:pt x="1154" y="15240"/>
                  </a:lnTo>
                  <a:lnTo>
                    <a:pt x="1188" y="15304"/>
                  </a:lnTo>
                  <a:lnTo>
                    <a:pt x="1224" y="15368"/>
                  </a:lnTo>
                  <a:lnTo>
                    <a:pt x="1263" y="15429"/>
                  </a:lnTo>
                  <a:lnTo>
                    <a:pt x="1305" y="15488"/>
                  </a:lnTo>
                  <a:lnTo>
                    <a:pt x="1351" y="15546"/>
                  </a:lnTo>
                  <a:lnTo>
                    <a:pt x="1398" y="15600"/>
                  </a:lnTo>
                  <a:lnTo>
                    <a:pt x="1448" y="15652"/>
                  </a:lnTo>
                  <a:lnTo>
                    <a:pt x="1501" y="15703"/>
                  </a:lnTo>
                  <a:lnTo>
                    <a:pt x="1555" y="15750"/>
                  </a:lnTo>
                  <a:lnTo>
                    <a:pt x="1612" y="15795"/>
                  </a:lnTo>
                  <a:lnTo>
                    <a:pt x="1672" y="15836"/>
                  </a:lnTo>
                  <a:lnTo>
                    <a:pt x="1733" y="15877"/>
                  </a:lnTo>
                  <a:lnTo>
                    <a:pt x="1795" y="15913"/>
                  </a:lnTo>
                  <a:lnTo>
                    <a:pt x="1861" y="15946"/>
                  </a:lnTo>
                  <a:lnTo>
                    <a:pt x="1928" y="15976"/>
                  </a:lnTo>
                  <a:lnTo>
                    <a:pt x="1996" y="16003"/>
                  </a:lnTo>
                  <a:lnTo>
                    <a:pt x="2066" y="16027"/>
                  </a:lnTo>
                  <a:lnTo>
                    <a:pt x="2137" y="16048"/>
                  </a:lnTo>
                  <a:lnTo>
                    <a:pt x="2211" y="16064"/>
                  </a:lnTo>
                  <a:lnTo>
                    <a:pt x="2285" y="16078"/>
                  </a:lnTo>
                  <a:lnTo>
                    <a:pt x="2361" y="16087"/>
                  </a:lnTo>
                  <a:lnTo>
                    <a:pt x="2437" y="16093"/>
                  </a:lnTo>
                  <a:lnTo>
                    <a:pt x="2515" y="16095"/>
                  </a:lnTo>
                  <a:lnTo>
                    <a:pt x="2592" y="16093"/>
                  </a:lnTo>
                  <a:lnTo>
                    <a:pt x="2668" y="16087"/>
                  </a:lnTo>
                  <a:lnTo>
                    <a:pt x="2744" y="16078"/>
                  </a:lnTo>
                  <a:lnTo>
                    <a:pt x="2818" y="16064"/>
                  </a:lnTo>
                  <a:lnTo>
                    <a:pt x="2891" y="16048"/>
                  </a:lnTo>
                  <a:lnTo>
                    <a:pt x="2963" y="16027"/>
                  </a:lnTo>
                  <a:lnTo>
                    <a:pt x="3033" y="16003"/>
                  </a:lnTo>
                  <a:lnTo>
                    <a:pt x="3101" y="15976"/>
                  </a:lnTo>
                  <a:lnTo>
                    <a:pt x="3168" y="15946"/>
                  </a:lnTo>
                  <a:lnTo>
                    <a:pt x="3233" y="15913"/>
                  </a:lnTo>
                  <a:lnTo>
                    <a:pt x="3296" y="15877"/>
                  </a:lnTo>
                  <a:lnTo>
                    <a:pt x="3357" y="15836"/>
                  </a:lnTo>
                  <a:lnTo>
                    <a:pt x="3417" y="15795"/>
                  </a:lnTo>
                  <a:lnTo>
                    <a:pt x="3474" y="15750"/>
                  </a:lnTo>
                  <a:lnTo>
                    <a:pt x="3528" y="15703"/>
                  </a:lnTo>
                  <a:lnTo>
                    <a:pt x="3581" y="15652"/>
                  </a:lnTo>
                  <a:lnTo>
                    <a:pt x="3631" y="15600"/>
                  </a:lnTo>
                  <a:lnTo>
                    <a:pt x="3678" y="15546"/>
                  </a:lnTo>
                  <a:lnTo>
                    <a:pt x="3724" y="15488"/>
                  </a:lnTo>
                  <a:lnTo>
                    <a:pt x="3765" y="15429"/>
                  </a:lnTo>
                  <a:lnTo>
                    <a:pt x="3805" y="15368"/>
                  </a:lnTo>
                  <a:lnTo>
                    <a:pt x="3841" y="15304"/>
                  </a:lnTo>
                  <a:lnTo>
                    <a:pt x="3875" y="15240"/>
                  </a:lnTo>
                  <a:lnTo>
                    <a:pt x="3905" y="15173"/>
                  </a:lnTo>
                  <a:lnTo>
                    <a:pt x="3932" y="15104"/>
                  </a:lnTo>
                  <a:lnTo>
                    <a:pt x="3955" y="15035"/>
                  </a:lnTo>
                  <a:lnTo>
                    <a:pt x="3976" y="14962"/>
                  </a:lnTo>
                  <a:lnTo>
                    <a:pt x="3992" y="14890"/>
                  </a:lnTo>
                  <a:lnTo>
                    <a:pt x="4006" y="14815"/>
                  </a:lnTo>
                  <a:lnTo>
                    <a:pt x="4015" y="14740"/>
                  </a:lnTo>
                  <a:lnTo>
                    <a:pt x="4021" y="14664"/>
                  </a:lnTo>
                  <a:lnTo>
                    <a:pt x="4023" y="14586"/>
                  </a:lnTo>
                  <a:lnTo>
                    <a:pt x="4023" y="13066"/>
                  </a:lnTo>
                  <a:lnTo>
                    <a:pt x="4080" y="13022"/>
                  </a:lnTo>
                  <a:lnTo>
                    <a:pt x="4135" y="12977"/>
                  </a:lnTo>
                  <a:lnTo>
                    <a:pt x="4188" y="12930"/>
                  </a:lnTo>
                  <a:lnTo>
                    <a:pt x="4241" y="12882"/>
                  </a:lnTo>
                  <a:lnTo>
                    <a:pt x="4292" y="12832"/>
                  </a:lnTo>
                  <a:lnTo>
                    <a:pt x="4342" y="12781"/>
                  </a:lnTo>
                  <a:lnTo>
                    <a:pt x="4391" y="12729"/>
                  </a:lnTo>
                  <a:lnTo>
                    <a:pt x="4437" y="12675"/>
                  </a:lnTo>
                  <a:lnTo>
                    <a:pt x="4482" y="12619"/>
                  </a:lnTo>
                  <a:lnTo>
                    <a:pt x="4526" y="12564"/>
                  </a:lnTo>
                  <a:lnTo>
                    <a:pt x="4569" y="12506"/>
                  </a:lnTo>
                  <a:lnTo>
                    <a:pt x="4609" y="12447"/>
                  </a:lnTo>
                  <a:lnTo>
                    <a:pt x="4648" y="12387"/>
                  </a:lnTo>
                  <a:lnTo>
                    <a:pt x="4685" y="12327"/>
                  </a:lnTo>
                  <a:lnTo>
                    <a:pt x="4721" y="12264"/>
                  </a:lnTo>
                  <a:lnTo>
                    <a:pt x="4755" y="12201"/>
                  </a:lnTo>
                  <a:lnTo>
                    <a:pt x="4786" y="12137"/>
                  </a:lnTo>
                  <a:lnTo>
                    <a:pt x="4816" y="12071"/>
                  </a:lnTo>
                  <a:lnTo>
                    <a:pt x="4845" y="12005"/>
                  </a:lnTo>
                  <a:lnTo>
                    <a:pt x="4871" y="11937"/>
                  </a:lnTo>
                  <a:lnTo>
                    <a:pt x="4896" y="11869"/>
                  </a:lnTo>
                  <a:lnTo>
                    <a:pt x="4919" y="11801"/>
                  </a:lnTo>
                  <a:lnTo>
                    <a:pt x="4939" y="11730"/>
                  </a:lnTo>
                  <a:lnTo>
                    <a:pt x="4958" y="11660"/>
                  </a:lnTo>
                  <a:lnTo>
                    <a:pt x="4974" y="11587"/>
                  </a:lnTo>
                  <a:lnTo>
                    <a:pt x="4989" y="11515"/>
                  </a:lnTo>
                  <a:lnTo>
                    <a:pt x="5001" y="11442"/>
                  </a:lnTo>
                  <a:lnTo>
                    <a:pt x="5011" y="11368"/>
                  </a:lnTo>
                  <a:lnTo>
                    <a:pt x="5019" y="11294"/>
                  </a:lnTo>
                  <a:lnTo>
                    <a:pt x="5024" y="11218"/>
                  </a:lnTo>
                  <a:lnTo>
                    <a:pt x="5028" y="11142"/>
                  </a:lnTo>
                  <a:lnTo>
                    <a:pt x="5029" y="11065"/>
                  </a:lnTo>
                  <a:lnTo>
                    <a:pt x="5028" y="10989"/>
                  </a:lnTo>
                  <a:lnTo>
                    <a:pt x="5024" y="10912"/>
                  </a:lnTo>
                  <a:lnTo>
                    <a:pt x="5019" y="10837"/>
                  </a:lnTo>
                  <a:lnTo>
                    <a:pt x="5011" y="10763"/>
                  </a:lnTo>
                  <a:lnTo>
                    <a:pt x="5001" y="10689"/>
                  </a:lnTo>
                  <a:lnTo>
                    <a:pt x="4989" y="10616"/>
                  </a:lnTo>
                  <a:lnTo>
                    <a:pt x="4974" y="10543"/>
                  </a:lnTo>
                  <a:lnTo>
                    <a:pt x="4958" y="10471"/>
                  </a:lnTo>
                  <a:lnTo>
                    <a:pt x="4939" y="10400"/>
                  </a:lnTo>
                  <a:lnTo>
                    <a:pt x="4919" y="10330"/>
                  </a:lnTo>
                  <a:lnTo>
                    <a:pt x="4896" y="10262"/>
                  </a:lnTo>
                  <a:lnTo>
                    <a:pt x="4871" y="10193"/>
                  </a:lnTo>
                  <a:lnTo>
                    <a:pt x="4845" y="10126"/>
                  </a:lnTo>
                  <a:lnTo>
                    <a:pt x="4816" y="10059"/>
                  </a:lnTo>
                  <a:lnTo>
                    <a:pt x="4786" y="9994"/>
                  </a:lnTo>
                  <a:lnTo>
                    <a:pt x="4755" y="9930"/>
                  </a:lnTo>
                  <a:lnTo>
                    <a:pt x="4721" y="9866"/>
                  </a:lnTo>
                  <a:lnTo>
                    <a:pt x="4685" y="9804"/>
                  </a:lnTo>
                  <a:lnTo>
                    <a:pt x="4648" y="9744"/>
                  </a:lnTo>
                  <a:lnTo>
                    <a:pt x="4609" y="9683"/>
                  </a:lnTo>
                  <a:lnTo>
                    <a:pt x="4569" y="9625"/>
                  </a:lnTo>
                  <a:lnTo>
                    <a:pt x="4526" y="9567"/>
                  </a:lnTo>
                  <a:lnTo>
                    <a:pt x="4482" y="9511"/>
                  </a:lnTo>
                  <a:lnTo>
                    <a:pt x="4437" y="9456"/>
                  </a:lnTo>
                  <a:lnTo>
                    <a:pt x="4391" y="9401"/>
                  </a:lnTo>
                  <a:lnTo>
                    <a:pt x="4342" y="9349"/>
                  </a:lnTo>
                  <a:lnTo>
                    <a:pt x="4292" y="9299"/>
                  </a:lnTo>
                  <a:lnTo>
                    <a:pt x="4241" y="9249"/>
                  </a:lnTo>
                  <a:lnTo>
                    <a:pt x="4188" y="9200"/>
                  </a:lnTo>
                  <a:lnTo>
                    <a:pt x="4135" y="9154"/>
                  </a:lnTo>
                  <a:lnTo>
                    <a:pt x="4080" y="9109"/>
                  </a:lnTo>
                  <a:lnTo>
                    <a:pt x="4023" y="90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68" name="ïṧļîḋê">
              <a:extLst>
                <a:ext uri="{FF2B5EF4-FFF2-40B4-BE49-F238E27FC236}">
                  <a16:creationId xmlns:a16="http://schemas.microsoft.com/office/drawing/2014/main" id="{1EBF3386-0CE9-4448-85DC-2CCC431AF193}"/>
                </a:ext>
              </a:extLst>
            </p:cNvPr>
            <p:cNvSpPr/>
            <p:nvPr/>
          </p:nvSpPr>
          <p:spPr bwMode="auto">
            <a:xfrm>
              <a:off x="5083698" y="2576482"/>
              <a:ext cx="268740" cy="268739"/>
            </a:xfrm>
            <a:custGeom>
              <a:avLst/>
              <a:gdLst>
                <a:gd name="T0" fmla="*/ 8330 w 16095"/>
                <a:gd name="T1" fmla="*/ 13155 h 16095"/>
                <a:gd name="T2" fmla="*/ 8153 w 16095"/>
                <a:gd name="T3" fmla="*/ 13120 h 16095"/>
                <a:gd name="T4" fmla="*/ 5125 w 16095"/>
                <a:gd name="T5" fmla="*/ 12104 h 16095"/>
                <a:gd name="T6" fmla="*/ 5125 w 16095"/>
                <a:gd name="T7" fmla="*/ 12104 h 16095"/>
                <a:gd name="T8" fmla="*/ 4694 w 16095"/>
                <a:gd name="T9" fmla="*/ 11707 h 16095"/>
                <a:gd name="T10" fmla="*/ 1577 w 16095"/>
                <a:gd name="T11" fmla="*/ 10451 h 16095"/>
                <a:gd name="T12" fmla="*/ 15800 w 16095"/>
                <a:gd name="T13" fmla="*/ 45 h 16095"/>
                <a:gd name="T14" fmla="*/ 15716 w 16095"/>
                <a:gd name="T15" fmla="*/ 15 h 16095"/>
                <a:gd name="T16" fmla="*/ 15627 w 16095"/>
                <a:gd name="T17" fmla="*/ 1 h 16095"/>
                <a:gd name="T18" fmla="*/ 15537 w 16095"/>
                <a:gd name="T19" fmla="*/ 3 h 16095"/>
                <a:gd name="T20" fmla="*/ 15448 w 16095"/>
                <a:gd name="T21" fmla="*/ 21 h 16095"/>
                <a:gd name="T22" fmla="*/ 15362 w 16095"/>
                <a:gd name="T23" fmla="*/ 55 h 16095"/>
                <a:gd name="T24" fmla="*/ 210 w 16095"/>
                <a:gd name="T25" fmla="*/ 10154 h 16095"/>
                <a:gd name="T26" fmla="*/ 145 w 16095"/>
                <a:gd name="T27" fmla="*/ 10209 h 16095"/>
                <a:gd name="T28" fmla="*/ 91 w 16095"/>
                <a:gd name="T29" fmla="*/ 10275 h 16095"/>
                <a:gd name="T30" fmla="*/ 48 w 16095"/>
                <a:gd name="T31" fmla="*/ 10348 h 16095"/>
                <a:gd name="T32" fmla="*/ 18 w 16095"/>
                <a:gd name="T33" fmla="*/ 10428 h 16095"/>
                <a:gd name="T34" fmla="*/ 3 w 16095"/>
                <a:gd name="T35" fmla="*/ 10511 h 16095"/>
                <a:gd name="T36" fmla="*/ 1 w 16095"/>
                <a:gd name="T37" fmla="*/ 10597 h 16095"/>
                <a:gd name="T38" fmla="*/ 15 w 16095"/>
                <a:gd name="T39" fmla="*/ 10682 h 16095"/>
                <a:gd name="T40" fmla="*/ 42 w 16095"/>
                <a:gd name="T41" fmla="*/ 10764 h 16095"/>
                <a:gd name="T42" fmla="*/ 82 w 16095"/>
                <a:gd name="T43" fmla="*/ 10838 h 16095"/>
                <a:gd name="T44" fmla="*/ 134 w 16095"/>
                <a:gd name="T45" fmla="*/ 10904 h 16095"/>
                <a:gd name="T46" fmla="*/ 197 w 16095"/>
                <a:gd name="T47" fmla="*/ 10961 h 16095"/>
                <a:gd name="T48" fmla="*/ 269 w 16095"/>
                <a:gd name="T49" fmla="*/ 11007 h 16095"/>
                <a:gd name="T50" fmla="*/ 6102 w 16095"/>
                <a:gd name="T51" fmla="*/ 15842 h 16095"/>
                <a:gd name="T52" fmla="*/ 6148 w 16095"/>
                <a:gd name="T53" fmla="*/ 15910 h 16095"/>
                <a:gd name="T54" fmla="*/ 6206 w 16095"/>
                <a:gd name="T55" fmla="*/ 15968 h 16095"/>
                <a:gd name="T56" fmla="*/ 6270 w 16095"/>
                <a:gd name="T57" fmla="*/ 16018 h 16095"/>
                <a:gd name="T58" fmla="*/ 6341 w 16095"/>
                <a:gd name="T59" fmla="*/ 16055 h 16095"/>
                <a:gd name="T60" fmla="*/ 6419 w 16095"/>
                <a:gd name="T61" fmla="*/ 16081 h 16095"/>
                <a:gd name="T62" fmla="*/ 6499 w 16095"/>
                <a:gd name="T63" fmla="*/ 16093 h 16095"/>
                <a:gd name="T64" fmla="*/ 6572 w 16095"/>
                <a:gd name="T65" fmla="*/ 16094 h 16095"/>
                <a:gd name="T66" fmla="*/ 6652 w 16095"/>
                <a:gd name="T67" fmla="*/ 16082 h 16095"/>
                <a:gd name="T68" fmla="*/ 6729 w 16095"/>
                <a:gd name="T69" fmla="*/ 16058 h 16095"/>
                <a:gd name="T70" fmla="*/ 6800 w 16095"/>
                <a:gd name="T71" fmla="*/ 16022 h 16095"/>
                <a:gd name="T72" fmla="*/ 6866 w 16095"/>
                <a:gd name="T73" fmla="*/ 15974 h 16095"/>
                <a:gd name="T74" fmla="*/ 6922 w 16095"/>
                <a:gd name="T75" fmla="*/ 15917 h 16095"/>
                <a:gd name="T76" fmla="*/ 6970 w 16095"/>
                <a:gd name="T77" fmla="*/ 15851 h 16095"/>
                <a:gd name="T78" fmla="*/ 12958 w 16095"/>
                <a:gd name="T79" fmla="*/ 16081 h 16095"/>
                <a:gd name="T80" fmla="*/ 13077 w 16095"/>
                <a:gd name="T81" fmla="*/ 16095 h 16095"/>
                <a:gd name="T82" fmla="*/ 13157 w 16095"/>
                <a:gd name="T83" fmla="*/ 16089 h 16095"/>
                <a:gd name="T84" fmla="*/ 13234 w 16095"/>
                <a:gd name="T85" fmla="*/ 16070 h 16095"/>
                <a:gd name="T86" fmla="*/ 13309 w 16095"/>
                <a:gd name="T87" fmla="*/ 16038 h 16095"/>
                <a:gd name="T88" fmla="*/ 13415 w 16095"/>
                <a:gd name="T89" fmla="*/ 15964 h 16095"/>
                <a:gd name="T90" fmla="*/ 13504 w 16095"/>
                <a:gd name="T91" fmla="*/ 15858 h 16095"/>
                <a:gd name="T92" fmla="*/ 13561 w 16095"/>
                <a:gd name="T93" fmla="*/ 15730 h 16095"/>
                <a:gd name="T94" fmla="*/ 16093 w 16095"/>
                <a:gd name="T95" fmla="*/ 548 h 16095"/>
                <a:gd name="T96" fmla="*/ 16093 w 16095"/>
                <a:gd name="T97" fmla="*/ 457 h 16095"/>
                <a:gd name="T98" fmla="*/ 16076 w 16095"/>
                <a:gd name="T99" fmla="*/ 367 h 16095"/>
                <a:gd name="T100" fmla="*/ 16045 w 16095"/>
                <a:gd name="T101" fmla="*/ 284 h 16095"/>
                <a:gd name="T102" fmla="*/ 15997 w 16095"/>
                <a:gd name="T103" fmla="*/ 206 h 16095"/>
                <a:gd name="T104" fmla="*/ 15938 w 16095"/>
                <a:gd name="T105" fmla="*/ 138 h 16095"/>
                <a:gd name="T106" fmla="*/ 15865 w 16095"/>
                <a:gd name="T107" fmla="*/ 80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6095" h="16095">
                  <a:moveTo>
                    <a:pt x="12684" y="14892"/>
                  </a:moveTo>
                  <a:lnTo>
                    <a:pt x="8388" y="13174"/>
                  </a:lnTo>
                  <a:lnTo>
                    <a:pt x="8368" y="13167"/>
                  </a:lnTo>
                  <a:lnTo>
                    <a:pt x="8349" y="13161"/>
                  </a:lnTo>
                  <a:lnTo>
                    <a:pt x="8330" y="13155"/>
                  </a:lnTo>
                  <a:lnTo>
                    <a:pt x="8310" y="13149"/>
                  </a:lnTo>
                  <a:lnTo>
                    <a:pt x="8271" y="13140"/>
                  </a:lnTo>
                  <a:lnTo>
                    <a:pt x="8232" y="13132"/>
                  </a:lnTo>
                  <a:lnTo>
                    <a:pt x="8192" y="13125"/>
                  </a:lnTo>
                  <a:lnTo>
                    <a:pt x="8153" y="13120"/>
                  </a:lnTo>
                  <a:lnTo>
                    <a:pt x="8114" y="13117"/>
                  </a:lnTo>
                  <a:lnTo>
                    <a:pt x="8074" y="13114"/>
                  </a:lnTo>
                  <a:lnTo>
                    <a:pt x="14689" y="2860"/>
                  </a:lnTo>
                  <a:lnTo>
                    <a:pt x="12684" y="14892"/>
                  </a:lnTo>
                  <a:close/>
                  <a:moveTo>
                    <a:pt x="5125" y="12104"/>
                  </a:moveTo>
                  <a:lnTo>
                    <a:pt x="5123" y="12102"/>
                  </a:lnTo>
                  <a:lnTo>
                    <a:pt x="5121" y="12099"/>
                  </a:lnTo>
                  <a:lnTo>
                    <a:pt x="14648" y="1902"/>
                  </a:lnTo>
                  <a:lnTo>
                    <a:pt x="6527" y="14558"/>
                  </a:lnTo>
                  <a:lnTo>
                    <a:pt x="5125" y="12104"/>
                  </a:lnTo>
                  <a:close/>
                  <a:moveTo>
                    <a:pt x="1577" y="10451"/>
                  </a:moveTo>
                  <a:lnTo>
                    <a:pt x="13234" y="2679"/>
                  </a:lnTo>
                  <a:lnTo>
                    <a:pt x="4759" y="11751"/>
                  </a:lnTo>
                  <a:lnTo>
                    <a:pt x="4726" y="11729"/>
                  </a:lnTo>
                  <a:lnTo>
                    <a:pt x="4694" y="11707"/>
                  </a:lnTo>
                  <a:lnTo>
                    <a:pt x="4678" y="11697"/>
                  </a:lnTo>
                  <a:lnTo>
                    <a:pt x="4661" y="11687"/>
                  </a:lnTo>
                  <a:lnTo>
                    <a:pt x="4643" y="11677"/>
                  </a:lnTo>
                  <a:lnTo>
                    <a:pt x="4625" y="11669"/>
                  </a:lnTo>
                  <a:lnTo>
                    <a:pt x="1577" y="10451"/>
                  </a:lnTo>
                  <a:close/>
                  <a:moveTo>
                    <a:pt x="15865" y="80"/>
                  </a:moveTo>
                  <a:lnTo>
                    <a:pt x="15850" y="70"/>
                  </a:lnTo>
                  <a:lnTo>
                    <a:pt x="15833" y="61"/>
                  </a:lnTo>
                  <a:lnTo>
                    <a:pt x="15817" y="53"/>
                  </a:lnTo>
                  <a:lnTo>
                    <a:pt x="15800" y="45"/>
                  </a:lnTo>
                  <a:lnTo>
                    <a:pt x="15784" y="38"/>
                  </a:lnTo>
                  <a:lnTo>
                    <a:pt x="15767" y="31"/>
                  </a:lnTo>
                  <a:lnTo>
                    <a:pt x="15750" y="25"/>
                  </a:lnTo>
                  <a:lnTo>
                    <a:pt x="15733" y="20"/>
                  </a:lnTo>
                  <a:lnTo>
                    <a:pt x="15716" y="15"/>
                  </a:lnTo>
                  <a:lnTo>
                    <a:pt x="15698" y="11"/>
                  </a:lnTo>
                  <a:lnTo>
                    <a:pt x="15681" y="8"/>
                  </a:lnTo>
                  <a:lnTo>
                    <a:pt x="15662" y="5"/>
                  </a:lnTo>
                  <a:lnTo>
                    <a:pt x="15645" y="3"/>
                  </a:lnTo>
                  <a:lnTo>
                    <a:pt x="15627" y="1"/>
                  </a:lnTo>
                  <a:lnTo>
                    <a:pt x="15609" y="0"/>
                  </a:lnTo>
                  <a:lnTo>
                    <a:pt x="15592" y="0"/>
                  </a:lnTo>
                  <a:lnTo>
                    <a:pt x="15574" y="0"/>
                  </a:lnTo>
                  <a:lnTo>
                    <a:pt x="15556" y="1"/>
                  </a:lnTo>
                  <a:lnTo>
                    <a:pt x="15537" y="3"/>
                  </a:lnTo>
                  <a:lnTo>
                    <a:pt x="15520" y="5"/>
                  </a:lnTo>
                  <a:lnTo>
                    <a:pt x="15501" y="8"/>
                  </a:lnTo>
                  <a:lnTo>
                    <a:pt x="15483" y="12"/>
                  </a:lnTo>
                  <a:lnTo>
                    <a:pt x="15465" y="16"/>
                  </a:lnTo>
                  <a:lnTo>
                    <a:pt x="15448" y="21"/>
                  </a:lnTo>
                  <a:lnTo>
                    <a:pt x="15430" y="26"/>
                  </a:lnTo>
                  <a:lnTo>
                    <a:pt x="15413" y="32"/>
                  </a:lnTo>
                  <a:lnTo>
                    <a:pt x="15396" y="39"/>
                  </a:lnTo>
                  <a:lnTo>
                    <a:pt x="15379" y="47"/>
                  </a:lnTo>
                  <a:lnTo>
                    <a:pt x="15362" y="55"/>
                  </a:lnTo>
                  <a:lnTo>
                    <a:pt x="15346" y="64"/>
                  </a:lnTo>
                  <a:lnTo>
                    <a:pt x="15329" y="74"/>
                  </a:lnTo>
                  <a:lnTo>
                    <a:pt x="15313" y="84"/>
                  </a:lnTo>
                  <a:lnTo>
                    <a:pt x="224" y="10144"/>
                  </a:lnTo>
                  <a:lnTo>
                    <a:pt x="210" y="10154"/>
                  </a:lnTo>
                  <a:lnTo>
                    <a:pt x="196" y="10164"/>
                  </a:lnTo>
                  <a:lnTo>
                    <a:pt x="182" y="10175"/>
                  </a:lnTo>
                  <a:lnTo>
                    <a:pt x="169" y="10186"/>
                  </a:lnTo>
                  <a:lnTo>
                    <a:pt x="157" y="10197"/>
                  </a:lnTo>
                  <a:lnTo>
                    <a:pt x="145" y="10209"/>
                  </a:lnTo>
                  <a:lnTo>
                    <a:pt x="133" y="10222"/>
                  </a:lnTo>
                  <a:lnTo>
                    <a:pt x="122" y="10234"/>
                  </a:lnTo>
                  <a:lnTo>
                    <a:pt x="111" y="10247"/>
                  </a:lnTo>
                  <a:lnTo>
                    <a:pt x="100" y="10262"/>
                  </a:lnTo>
                  <a:lnTo>
                    <a:pt x="91" y="10275"/>
                  </a:lnTo>
                  <a:lnTo>
                    <a:pt x="80" y="10289"/>
                  </a:lnTo>
                  <a:lnTo>
                    <a:pt x="71" y="10304"/>
                  </a:lnTo>
                  <a:lnTo>
                    <a:pt x="63" y="10318"/>
                  </a:lnTo>
                  <a:lnTo>
                    <a:pt x="55" y="10333"/>
                  </a:lnTo>
                  <a:lnTo>
                    <a:pt x="48" y="10348"/>
                  </a:lnTo>
                  <a:lnTo>
                    <a:pt x="41" y="10363"/>
                  </a:lnTo>
                  <a:lnTo>
                    <a:pt x="34" y="10379"/>
                  </a:lnTo>
                  <a:lnTo>
                    <a:pt x="29" y="10395"/>
                  </a:lnTo>
                  <a:lnTo>
                    <a:pt x="23" y="10411"/>
                  </a:lnTo>
                  <a:lnTo>
                    <a:pt x="18" y="10428"/>
                  </a:lnTo>
                  <a:lnTo>
                    <a:pt x="14" y="10444"/>
                  </a:lnTo>
                  <a:lnTo>
                    <a:pt x="10" y="10460"/>
                  </a:lnTo>
                  <a:lnTo>
                    <a:pt x="7" y="10477"/>
                  </a:lnTo>
                  <a:lnTo>
                    <a:pt x="5" y="10494"/>
                  </a:lnTo>
                  <a:lnTo>
                    <a:pt x="3" y="10511"/>
                  </a:lnTo>
                  <a:lnTo>
                    <a:pt x="1" y="10528"/>
                  </a:lnTo>
                  <a:lnTo>
                    <a:pt x="0" y="10545"/>
                  </a:lnTo>
                  <a:lnTo>
                    <a:pt x="0" y="10562"/>
                  </a:lnTo>
                  <a:lnTo>
                    <a:pt x="0" y="10579"/>
                  </a:lnTo>
                  <a:lnTo>
                    <a:pt x="1" y="10597"/>
                  </a:lnTo>
                  <a:lnTo>
                    <a:pt x="3" y="10614"/>
                  </a:lnTo>
                  <a:lnTo>
                    <a:pt x="5" y="10632"/>
                  </a:lnTo>
                  <a:lnTo>
                    <a:pt x="8" y="10649"/>
                  </a:lnTo>
                  <a:lnTo>
                    <a:pt x="11" y="10666"/>
                  </a:lnTo>
                  <a:lnTo>
                    <a:pt x="15" y="10682"/>
                  </a:lnTo>
                  <a:lnTo>
                    <a:pt x="19" y="10699"/>
                  </a:lnTo>
                  <a:lnTo>
                    <a:pt x="24" y="10715"/>
                  </a:lnTo>
                  <a:lnTo>
                    <a:pt x="29" y="10731"/>
                  </a:lnTo>
                  <a:lnTo>
                    <a:pt x="35" y="10747"/>
                  </a:lnTo>
                  <a:lnTo>
                    <a:pt x="42" y="10764"/>
                  </a:lnTo>
                  <a:lnTo>
                    <a:pt x="49" y="10779"/>
                  </a:lnTo>
                  <a:lnTo>
                    <a:pt x="56" y="10794"/>
                  </a:lnTo>
                  <a:lnTo>
                    <a:pt x="64" y="10809"/>
                  </a:lnTo>
                  <a:lnTo>
                    <a:pt x="73" y="10824"/>
                  </a:lnTo>
                  <a:lnTo>
                    <a:pt x="82" y="10838"/>
                  </a:lnTo>
                  <a:lnTo>
                    <a:pt x="92" y="10852"/>
                  </a:lnTo>
                  <a:lnTo>
                    <a:pt x="102" y="10865"/>
                  </a:lnTo>
                  <a:lnTo>
                    <a:pt x="112" y="10878"/>
                  </a:lnTo>
                  <a:lnTo>
                    <a:pt x="123" y="10891"/>
                  </a:lnTo>
                  <a:lnTo>
                    <a:pt x="134" y="10904"/>
                  </a:lnTo>
                  <a:lnTo>
                    <a:pt x="146" y="10916"/>
                  </a:lnTo>
                  <a:lnTo>
                    <a:pt x="158" y="10929"/>
                  </a:lnTo>
                  <a:lnTo>
                    <a:pt x="171" y="10940"/>
                  </a:lnTo>
                  <a:lnTo>
                    <a:pt x="183" y="10951"/>
                  </a:lnTo>
                  <a:lnTo>
                    <a:pt x="197" y="10961"/>
                  </a:lnTo>
                  <a:lnTo>
                    <a:pt x="210" y="10972"/>
                  </a:lnTo>
                  <a:lnTo>
                    <a:pt x="224" y="10981"/>
                  </a:lnTo>
                  <a:lnTo>
                    <a:pt x="239" y="10990"/>
                  </a:lnTo>
                  <a:lnTo>
                    <a:pt x="253" y="10999"/>
                  </a:lnTo>
                  <a:lnTo>
                    <a:pt x="269" y="11007"/>
                  </a:lnTo>
                  <a:lnTo>
                    <a:pt x="285" y="11015"/>
                  </a:lnTo>
                  <a:lnTo>
                    <a:pt x="300" y="11022"/>
                  </a:lnTo>
                  <a:lnTo>
                    <a:pt x="316" y="11029"/>
                  </a:lnTo>
                  <a:lnTo>
                    <a:pt x="4251" y="12603"/>
                  </a:lnTo>
                  <a:lnTo>
                    <a:pt x="6102" y="15842"/>
                  </a:lnTo>
                  <a:lnTo>
                    <a:pt x="6110" y="15856"/>
                  </a:lnTo>
                  <a:lnTo>
                    <a:pt x="6119" y="15870"/>
                  </a:lnTo>
                  <a:lnTo>
                    <a:pt x="6128" y="15884"/>
                  </a:lnTo>
                  <a:lnTo>
                    <a:pt x="6138" y="15897"/>
                  </a:lnTo>
                  <a:lnTo>
                    <a:pt x="6148" y="15910"/>
                  </a:lnTo>
                  <a:lnTo>
                    <a:pt x="6159" y="15922"/>
                  </a:lnTo>
                  <a:lnTo>
                    <a:pt x="6170" y="15934"/>
                  </a:lnTo>
                  <a:lnTo>
                    <a:pt x="6181" y="15946"/>
                  </a:lnTo>
                  <a:lnTo>
                    <a:pt x="6194" y="15957"/>
                  </a:lnTo>
                  <a:lnTo>
                    <a:pt x="6206" y="15968"/>
                  </a:lnTo>
                  <a:lnTo>
                    <a:pt x="6218" y="15979"/>
                  </a:lnTo>
                  <a:lnTo>
                    <a:pt x="6230" y="15989"/>
                  </a:lnTo>
                  <a:lnTo>
                    <a:pt x="6243" y="15999"/>
                  </a:lnTo>
                  <a:lnTo>
                    <a:pt x="6257" y="16008"/>
                  </a:lnTo>
                  <a:lnTo>
                    <a:pt x="6270" y="16018"/>
                  </a:lnTo>
                  <a:lnTo>
                    <a:pt x="6284" y="16026"/>
                  </a:lnTo>
                  <a:lnTo>
                    <a:pt x="6298" y="16034"/>
                  </a:lnTo>
                  <a:lnTo>
                    <a:pt x="6312" y="16041"/>
                  </a:lnTo>
                  <a:lnTo>
                    <a:pt x="6326" y="16048"/>
                  </a:lnTo>
                  <a:lnTo>
                    <a:pt x="6341" y="16055"/>
                  </a:lnTo>
                  <a:lnTo>
                    <a:pt x="6357" y="16061"/>
                  </a:lnTo>
                  <a:lnTo>
                    <a:pt x="6372" y="16067"/>
                  </a:lnTo>
                  <a:lnTo>
                    <a:pt x="6388" y="16072"/>
                  </a:lnTo>
                  <a:lnTo>
                    <a:pt x="6403" y="16076"/>
                  </a:lnTo>
                  <a:lnTo>
                    <a:pt x="6419" y="16081"/>
                  </a:lnTo>
                  <a:lnTo>
                    <a:pt x="6435" y="16084"/>
                  </a:lnTo>
                  <a:lnTo>
                    <a:pt x="6451" y="16087"/>
                  </a:lnTo>
                  <a:lnTo>
                    <a:pt x="6467" y="16090"/>
                  </a:lnTo>
                  <a:lnTo>
                    <a:pt x="6483" y="16092"/>
                  </a:lnTo>
                  <a:lnTo>
                    <a:pt x="6499" y="16093"/>
                  </a:lnTo>
                  <a:lnTo>
                    <a:pt x="6516" y="16094"/>
                  </a:lnTo>
                  <a:lnTo>
                    <a:pt x="6533" y="16095"/>
                  </a:lnTo>
                  <a:lnTo>
                    <a:pt x="6539" y="16095"/>
                  </a:lnTo>
                  <a:lnTo>
                    <a:pt x="6555" y="16095"/>
                  </a:lnTo>
                  <a:lnTo>
                    <a:pt x="6572" y="16094"/>
                  </a:lnTo>
                  <a:lnTo>
                    <a:pt x="6588" y="16093"/>
                  </a:lnTo>
                  <a:lnTo>
                    <a:pt x="6604" y="16091"/>
                  </a:lnTo>
                  <a:lnTo>
                    <a:pt x="6620" y="16088"/>
                  </a:lnTo>
                  <a:lnTo>
                    <a:pt x="6636" y="16085"/>
                  </a:lnTo>
                  <a:lnTo>
                    <a:pt x="6652" y="16082"/>
                  </a:lnTo>
                  <a:lnTo>
                    <a:pt x="6667" y="16078"/>
                  </a:lnTo>
                  <a:lnTo>
                    <a:pt x="6683" y="16074"/>
                  </a:lnTo>
                  <a:lnTo>
                    <a:pt x="6699" y="16069"/>
                  </a:lnTo>
                  <a:lnTo>
                    <a:pt x="6714" y="16063"/>
                  </a:lnTo>
                  <a:lnTo>
                    <a:pt x="6729" y="16058"/>
                  </a:lnTo>
                  <a:lnTo>
                    <a:pt x="6743" y="16051"/>
                  </a:lnTo>
                  <a:lnTo>
                    <a:pt x="6758" y="16045"/>
                  </a:lnTo>
                  <a:lnTo>
                    <a:pt x="6772" y="16037"/>
                  </a:lnTo>
                  <a:lnTo>
                    <a:pt x="6786" y="16030"/>
                  </a:lnTo>
                  <a:lnTo>
                    <a:pt x="6800" y="16022"/>
                  </a:lnTo>
                  <a:lnTo>
                    <a:pt x="6813" y="16013"/>
                  </a:lnTo>
                  <a:lnTo>
                    <a:pt x="6827" y="16003"/>
                  </a:lnTo>
                  <a:lnTo>
                    <a:pt x="6840" y="15994"/>
                  </a:lnTo>
                  <a:lnTo>
                    <a:pt x="6852" y="15984"/>
                  </a:lnTo>
                  <a:lnTo>
                    <a:pt x="6866" y="15974"/>
                  </a:lnTo>
                  <a:lnTo>
                    <a:pt x="6878" y="15963"/>
                  </a:lnTo>
                  <a:lnTo>
                    <a:pt x="6889" y="15952"/>
                  </a:lnTo>
                  <a:lnTo>
                    <a:pt x="6901" y="15941"/>
                  </a:lnTo>
                  <a:lnTo>
                    <a:pt x="6912" y="15929"/>
                  </a:lnTo>
                  <a:lnTo>
                    <a:pt x="6922" y="15917"/>
                  </a:lnTo>
                  <a:lnTo>
                    <a:pt x="6933" y="15904"/>
                  </a:lnTo>
                  <a:lnTo>
                    <a:pt x="6943" y="15891"/>
                  </a:lnTo>
                  <a:lnTo>
                    <a:pt x="6952" y="15878"/>
                  </a:lnTo>
                  <a:lnTo>
                    <a:pt x="6961" y="15864"/>
                  </a:lnTo>
                  <a:lnTo>
                    <a:pt x="6970" y="15851"/>
                  </a:lnTo>
                  <a:lnTo>
                    <a:pt x="8014" y="14108"/>
                  </a:lnTo>
                  <a:lnTo>
                    <a:pt x="12890" y="16059"/>
                  </a:lnTo>
                  <a:lnTo>
                    <a:pt x="12913" y="16067"/>
                  </a:lnTo>
                  <a:lnTo>
                    <a:pt x="12936" y="16074"/>
                  </a:lnTo>
                  <a:lnTo>
                    <a:pt x="12958" y="16081"/>
                  </a:lnTo>
                  <a:lnTo>
                    <a:pt x="12983" y="16086"/>
                  </a:lnTo>
                  <a:lnTo>
                    <a:pt x="13006" y="16090"/>
                  </a:lnTo>
                  <a:lnTo>
                    <a:pt x="13030" y="16093"/>
                  </a:lnTo>
                  <a:lnTo>
                    <a:pt x="13053" y="16094"/>
                  </a:lnTo>
                  <a:lnTo>
                    <a:pt x="13077" y="16095"/>
                  </a:lnTo>
                  <a:lnTo>
                    <a:pt x="13093" y="16095"/>
                  </a:lnTo>
                  <a:lnTo>
                    <a:pt x="13109" y="16094"/>
                  </a:lnTo>
                  <a:lnTo>
                    <a:pt x="13124" y="16093"/>
                  </a:lnTo>
                  <a:lnTo>
                    <a:pt x="13141" y="16091"/>
                  </a:lnTo>
                  <a:lnTo>
                    <a:pt x="13157" y="16089"/>
                  </a:lnTo>
                  <a:lnTo>
                    <a:pt x="13173" y="16086"/>
                  </a:lnTo>
                  <a:lnTo>
                    <a:pt x="13188" y="16083"/>
                  </a:lnTo>
                  <a:lnTo>
                    <a:pt x="13204" y="16079"/>
                  </a:lnTo>
                  <a:lnTo>
                    <a:pt x="13219" y="16075"/>
                  </a:lnTo>
                  <a:lnTo>
                    <a:pt x="13234" y="16070"/>
                  </a:lnTo>
                  <a:lnTo>
                    <a:pt x="13250" y="16064"/>
                  </a:lnTo>
                  <a:lnTo>
                    <a:pt x="13265" y="16059"/>
                  </a:lnTo>
                  <a:lnTo>
                    <a:pt x="13279" y="16052"/>
                  </a:lnTo>
                  <a:lnTo>
                    <a:pt x="13294" y="16046"/>
                  </a:lnTo>
                  <a:lnTo>
                    <a:pt x="13309" y="16038"/>
                  </a:lnTo>
                  <a:lnTo>
                    <a:pt x="13324" y="16031"/>
                  </a:lnTo>
                  <a:lnTo>
                    <a:pt x="13348" y="16016"/>
                  </a:lnTo>
                  <a:lnTo>
                    <a:pt x="13371" y="15999"/>
                  </a:lnTo>
                  <a:lnTo>
                    <a:pt x="13394" y="15982"/>
                  </a:lnTo>
                  <a:lnTo>
                    <a:pt x="13415" y="15964"/>
                  </a:lnTo>
                  <a:lnTo>
                    <a:pt x="13435" y="15945"/>
                  </a:lnTo>
                  <a:lnTo>
                    <a:pt x="13454" y="15924"/>
                  </a:lnTo>
                  <a:lnTo>
                    <a:pt x="13473" y="15903"/>
                  </a:lnTo>
                  <a:lnTo>
                    <a:pt x="13489" y="15881"/>
                  </a:lnTo>
                  <a:lnTo>
                    <a:pt x="13504" y="15858"/>
                  </a:lnTo>
                  <a:lnTo>
                    <a:pt x="13518" y="15833"/>
                  </a:lnTo>
                  <a:lnTo>
                    <a:pt x="13531" y="15808"/>
                  </a:lnTo>
                  <a:lnTo>
                    <a:pt x="13542" y="15783"/>
                  </a:lnTo>
                  <a:lnTo>
                    <a:pt x="13552" y="15757"/>
                  </a:lnTo>
                  <a:lnTo>
                    <a:pt x="13561" y="15730"/>
                  </a:lnTo>
                  <a:lnTo>
                    <a:pt x="13568" y="15703"/>
                  </a:lnTo>
                  <a:lnTo>
                    <a:pt x="13573" y="15675"/>
                  </a:lnTo>
                  <a:lnTo>
                    <a:pt x="16088" y="585"/>
                  </a:lnTo>
                  <a:lnTo>
                    <a:pt x="16091" y="567"/>
                  </a:lnTo>
                  <a:lnTo>
                    <a:pt x="16093" y="548"/>
                  </a:lnTo>
                  <a:lnTo>
                    <a:pt x="16094" y="530"/>
                  </a:lnTo>
                  <a:lnTo>
                    <a:pt x="16095" y="512"/>
                  </a:lnTo>
                  <a:lnTo>
                    <a:pt x="16095" y="493"/>
                  </a:lnTo>
                  <a:lnTo>
                    <a:pt x="16094" y="475"/>
                  </a:lnTo>
                  <a:lnTo>
                    <a:pt x="16093" y="457"/>
                  </a:lnTo>
                  <a:lnTo>
                    <a:pt x="16091" y="439"/>
                  </a:lnTo>
                  <a:lnTo>
                    <a:pt x="16088" y="420"/>
                  </a:lnTo>
                  <a:lnTo>
                    <a:pt x="16085" y="402"/>
                  </a:lnTo>
                  <a:lnTo>
                    <a:pt x="16081" y="385"/>
                  </a:lnTo>
                  <a:lnTo>
                    <a:pt x="16076" y="367"/>
                  </a:lnTo>
                  <a:lnTo>
                    <a:pt x="16071" y="350"/>
                  </a:lnTo>
                  <a:lnTo>
                    <a:pt x="16066" y="333"/>
                  </a:lnTo>
                  <a:lnTo>
                    <a:pt x="16059" y="317"/>
                  </a:lnTo>
                  <a:lnTo>
                    <a:pt x="16052" y="300"/>
                  </a:lnTo>
                  <a:lnTo>
                    <a:pt x="16045" y="284"/>
                  </a:lnTo>
                  <a:lnTo>
                    <a:pt x="16037" y="268"/>
                  </a:lnTo>
                  <a:lnTo>
                    <a:pt x="16028" y="251"/>
                  </a:lnTo>
                  <a:lnTo>
                    <a:pt x="16019" y="236"/>
                  </a:lnTo>
                  <a:lnTo>
                    <a:pt x="16008" y="221"/>
                  </a:lnTo>
                  <a:lnTo>
                    <a:pt x="15997" y="206"/>
                  </a:lnTo>
                  <a:lnTo>
                    <a:pt x="15987" y="192"/>
                  </a:lnTo>
                  <a:lnTo>
                    <a:pt x="15975" y="178"/>
                  </a:lnTo>
                  <a:lnTo>
                    <a:pt x="15963" y="164"/>
                  </a:lnTo>
                  <a:lnTo>
                    <a:pt x="15951" y="151"/>
                  </a:lnTo>
                  <a:lnTo>
                    <a:pt x="15938" y="138"/>
                  </a:lnTo>
                  <a:lnTo>
                    <a:pt x="15924" y="126"/>
                  </a:lnTo>
                  <a:lnTo>
                    <a:pt x="15910" y="114"/>
                  </a:lnTo>
                  <a:lnTo>
                    <a:pt x="15896" y="102"/>
                  </a:lnTo>
                  <a:lnTo>
                    <a:pt x="15881" y="92"/>
                  </a:lnTo>
                  <a:lnTo>
                    <a:pt x="15865" y="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7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69" name="iśḷïďê">
              <a:extLst>
                <a:ext uri="{FF2B5EF4-FFF2-40B4-BE49-F238E27FC236}">
                  <a16:creationId xmlns:a16="http://schemas.microsoft.com/office/drawing/2014/main" id="{844D932A-1071-42BC-B8B2-C8F5F33B508A}"/>
                </a:ext>
              </a:extLst>
            </p:cNvPr>
            <p:cNvSpPr/>
            <p:nvPr/>
          </p:nvSpPr>
          <p:spPr bwMode="auto">
            <a:xfrm>
              <a:off x="5703737" y="1529561"/>
              <a:ext cx="613339" cy="535789"/>
            </a:xfrm>
            <a:custGeom>
              <a:avLst/>
              <a:gdLst>
                <a:gd name="T0" fmla="*/ 1006 w 16095"/>
                <a:gd name="T1" fmla="*/ 3013 h 14060"/>
                <a:gd name="T2" fmla="*/ 5802 w 16095"/>
                <a:gd name="T3" fmla="*/ 1392 h 14060"/>
                <a:gd name="T4" fmla="*/ 6204 w 16095"/>
                <a:gd name="T5" fmla="*/ 1861 h 14060"/>
                <a:gd name="T6" fmla="*/ 6751 w 16095"/>
                <a:gd name="T7" fmla="*/ 2221 h 14060"/>
                <a:gd name="T8" fmla="*/ 7413 w 16095"/>
                <a:gd name="T9" fmla="*/ 2445 h 14060"/>
                <a:gd name="T10" fmla="*/ 8157 w 16095"/>
                <a:gd name="T11" fmla="*/ 2509 h 14060"/>
                <a:gd name="T12" fmla="*/ 8881 w 16095"/>
                <a:gd name="T13" fmla="*/ 2397 h 14060"/>
                <a:gd name="T14" fmla="*/ 9513 w 16095"/>
                <a:gd name="T15" fmla="*/ 2131 h 14060"/>
                <a:gd name="T16" fmla="*/ 10022 w 16095"/>
                <a:gd name="T17" fmla="*/ 1737 h 14060"/>
                <a:gd name="T18" fmla="*/ 10376 w 16095"/>
                <a:gd name="T19" fmla="*/ 1241 h 14060"/>
                <a:gd name="T20" fmla="*/ 9936 w 16095"/>
                <a:gd name="T21" fmla="*/ 1004 h 14060"/>
                <a:gd name="T22" fmla="*/ 9691 w 16095"/>
                <a:gd name="T23" fmla="*/ 1361 h 14060"/>
                <a:gd name="T24" fmla="*/ 9334 w 16095"/>
                <a:gd name="T25" fmla="*/ 1655 h 14060"/>
                <a:gd name="T26" fmla="*/ 8886 w 16095"/>
                <a:gd name="T27" fmla="*/ 1870 h 14060"/>
                <a:gd name="T28" fmla="*/ 8368 w 16095"/>
                <a:gd name="T29" fmla="*/ 1989 h 14060"/>
                <a:gd name="T30" fmla="*/ 7806 w 16095"/>
                <a:gd name="T31" fmla="*/ 1998 h 14060"/>
                <a:gd name="T32" fmla="*/ 7279 w 16095"/>
                <a:gd name="T33" fmla="*/ 1893 h 14060"/>
                <a:gd name="T34" fmla="*/ 6819 w 16095"/>
                <a:gd name="T35" fmla="*/ 1691 h 14060"/>
                <a:gd name="T36" fmla="*/ 6449 w 16095"/>
                <a:gd name="T37" fmla="*/ 1407 h 14060"/>
                <a:gd name="T38" fmla="*/ 6187 w 16095"/>
                <a:gd name="T39" fmla="*/ 1059 h 14060"/>
                <a:gd name="T40" fmla="*/ 13098 w 16095"/>
                <a:gd name="T41" fmla="*/ 147 h 14060"/>
                <a:gd name="T42" fmla="*/ 12827 w 16095"/>
                <a:gd name="T43" fmla="*/ 32 h 14060"/>
                <a:gd name="T44" fmla="*/ 3521 w 16095"/>
                <a:gd name="T45" fmla="*/ 0 h 14060"/>
                <a:gd name="T46" fmla="*/ 3228 w 16095"/>
                <a:gd name="T47" fmla="*/ 43 h 14060"/>
                <a:gd name="T48" fmla="*/ 2960 w 16095"/>
                <a:gd name="T49" fmla="*/ 170 h 14060"/>
                <a:gd name="T50" fmla="*/ 264 w 16095"/>
                <a:gd name="T51" fmla="*/ 2335 h 14060"/>
                <a:gd name="T52" fmla="*/ 112 w 16095"/>
                <a:gd name="T53" fmla="*/ 2554 h 14060"/>
                <a:gd name="T54" fmla="*/ 22 w 16095"/>
                <a:gd name="T55" fmla="*/ 2802 h 14060"/>
                <a:gd name="T56" fmla="*/ 1 w 16095"/>
                <a:gd name="T57" fmla="*/ 3065 h 14060"/>
                <a:gd name="T58" fmla="*/ 52 w 16095"/>
                <a:gd name="T59" fmla="*/ 3331 h 14060"/>
                <a:gd name="T60" fmla="*/ 1127 w 16095"/>
                <a:gd name="T61" fmla="*/ 6504 h 14060"/>
                <a:gd name="T62" fmla="*/ 1239 w 16095"/>
                <a:gd name="T63" fmla="*/ 6669 h 14060"/>
                <a:gd name="T64" fmla="*/ 1382 w 16095"/>
                <a:gd name="T65" fmla="*/ 6809 h 14060"/>
                <a:gd name="T66" fmla="*/ 1551 w 16095"/>
                <a:gd name="T67" fmla="*/ 6919 h 14060"/>
                <a:gd name="T68" fmla="*/ 1766 w 16095"/>
                <a:gd name="T69" fmla="*/ 7000 h 14060"/>
                <a:gd name="T70" fmla="*/ 2045 w 16095"/>
                <a:gd name="T71" fmla="*/ 7029 h 14060"/>
                <a:gd name="T72" fmla="*/ 2271 w 16095"/>
                <a:gd name="T73" fmla="*/ 6996 h 14060"/>
                <a:gd name="T74" fmla="*/ 2486 w 16095"/>
                <a:gd name="T75" fmla="*/ 6911 h 14060"/>
                <a:gd name="T76" fmla="*/ 2546 w 16095"/>
                <a:gd name="T77" fmla="*/ 13307 h 14060"/>
                <a:gd name="T78" fmla="*/ 2687 w 16095"/>
                <a:gd name="T79" fmla="*/ 13617 h 14060"/>
                <a:gd name="T80" fmla="*/ 2919 w 16095"/>
                <a:gd name="T81" fmla="*/ 13860 h 14060"/>
                <a:gd name="T82" fmla="*/ 3222 w 16095"/>
                <a:gd name="T83" fmla="*/ 14015 h 14060"/>
                <a:gd name="T84" fmla="*/ 12574 w 16095"/>
                <a:gd name="T85" fmla="*/ 14060 h 14060"/>
                <a:gd name="T86" fmla="*/ 12920 w 16095"/>
                <a:gd name="T87" fmla="*/ 13999 h 14060"/>
                <a:gd name="T88" fmla="*/ 13214 w 16095"/>
                <a:gd name="T89" fmla="*/ 13831 h 14060"/>
                <a:gd name="T90" fmla="*/ 13434 w 16095"/>
                <a:gd name="T91" fmla="*/ 13576 h 14060"/>
                <a:gd name="T92" fmla="*/ 13560 w 16095"/>
                <a:gd name="T93" fmla="*/ 13258 h 14060"/>
                <a:gd name="T94" fmla="*/ 13639 w 16095"/>
                <a:gd name="T95" fmla="*/ 6927 h 14060"/>
                <a:gd name="T96" fmla="*/ 13856 w 16095"/>
                <a:gd name="T97" fmla="*/ 7004 h 14060"/>
                <a:gd name="T98" fmla="*/ 14083 w 16095"/>
                <a:gd name="T99" fmla="*/ 7030 h 14060"/>
                <a:gd name="T100" fmla="*/ 14370 w 16095"/>
                <a:gd name="T101" fmla="*/ 6989 h 14060"/>
                <a:gd name="T102" fmla="*/ 14569 w 16095"/>
                <a:gd name="T103" fmla="*/ 6905 h 14060"/>
                <a:gd name="T104" fmla="*/ 14735 w 16095"/>
                <a:gd name="T105" fmla="*/ 6791 h 14060"/>
                <a:gd name="T106" fmla="*/ 14874 w 16095"/>
                <a:gd name="T107" fmla="*/ 6647 h 14060"/>
                <a:gd name="T108" fmla="*/ 14981 w 16095"/>
                <a:gd name="T109" fmla="*/ 6478 h 14060"/>
                <a:gd name="T110" fmla="*/ 16055 w 16095"/>
                <a:gd name="T111" fmla="*/ 3293 h 14060"/>
                <a:gd name="T112" fmla="*/ 16095 w 16095"/>
                <a:gd name="T113" fmla="*/ 3027 h 14060"/>
                <a:gd name="T114" fmla="*/ 16064 w 16095"/>
                <a:gd name="T115" fmla="*/ 2765 h 14060"/>
                <a:gd name="T116" fmla="*/ 15966 w 16095"/>
                <a:gd name="T117" fmla="*/ 2521 h 14060"/>
                <a:gd name="T118" fmla="*/ 15805 w 16095"/>
                <a:gd name="T119" fmla="*/ 2307 h 14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95" h="14060">
                  <a:moveTo>
                    <a:pt x="14083" y="6026"/>
                  </a:moveTo>
                  <a:lnTo>
                    <a:pt x="12574" y="5021"/>
                  </a:lnTo>
                  <a:lnTo>
                    <a:pt x="12574" y="13056"/>
                  </a:lnTo>
                  <a:lnTo>
                    <a:pt x="3521" y="13056"/>
                  </a:lnTo>
                  <a:lnTo>
                    <a:pt x="3521" y="5021"/>
                  </a:lnTo>
                  <a:lnTo>
                    <a:pt x="2012" y="6026"/>
                  </a:lnTo>
                  <a:lnTo>
                    <a:pt x="1006" y="3013"/>
                  </a:lnTo>
                  <a:lnTo>
                    <a:pt x="3521" y="1004"/>
                  </a:lnTo>
                  <a:lnTo>
                    <a:pt x="5622" y="1004"/>
                  </a:lnTo>
                  <a:lnTo>
                    <a:pt x="5650" y="1085"/>
                  </a:lnTo>
                  <a:lnTo>
                    <a:pt x="5683" y="1164"/>
                  </a:lnTo>
                  <a:lnTo>
                    <a:pt x="5719" y="1241"/>
                  </a:lnTo>
                  <a:lnTo>
                    <a:pt x="5758" y="1318"/>
                  </a:lnTo>
                  <a:lnTo>
                    <a:pt x="5802" y="1392"/>
                  </a:lnTo>
                  <a:lnTo>
                    <a:pt x="5850" y="1464"/>
                  </a:lnTo>
                  <a:lnTo>
                    <a:pt x="5900" y="1536"/>
                  </a:lnTo>
                  <a:lnTo>
                    <a:pt x="5954" y="1605"/>
                  </a:lnTo>
                  <a:lnTo>
                    <a:pt x="6011" y="1672"/>
                  </a:lnTo>
                  <a:lnTo>
                    <a:pt x="6073" y="1737"/>
                  </a:lnTo>
                  <a:lnTo>
                    <a:pt x="6136" y="1800"/>
                  </a:lnTo>
                  <a:lnTo>
                    <a:pt x="6204" y="1861"/>
                  </a:lnTo>
                  <a:lnTo>
                    <a:pt x="6274" y="1920"/>
                  </a:lnTo>
                  <a:lnTo>
                    <a:pt x="6346" y="1976"/>
                  </a:lnTo>
                  <a:lnTo>
                    <a:pt x="6422" y="2031"/>
                  </a:lnTo>
                  <a:lnTo>
                    <a:pt x="6500" y="2082"/>
                  </a:lnTo>
                  <a:lnTo>
                    <a:pt x="6582" y="2131"/>
                  </a:lnTo>
                  <a:lnTo>
                    <a:pt x="6665" y="2177"/>
                  </a:lnTo>
                  <a:lnTo>
                    <a:pt x="6751" y="2221"/>
                  </a:lnTo>
                  <a:lnTo>
                    <a:pt x="6839" y="2262"/>
                  </a:lnTo>
                  <a:lnTo>
                    <a:pt x="6930" y="2300"/>
                  </a:lnTo>
                  <a:lnTo>
                    <a:pt x="7022" y="2336"/>
                  </a:lnTo>
                  <a:lnTo>
                    <a:pt x="7117" y="2368"/>
                  </a:lnTo>
                  <a:lnTo>
                    <a:pt x="7215" y="2397"/>
                  </a:lnTo>
                  <a:lnTo>
                    <a:pt x="7313" y="2423"/>
                  </a:lnTo>
                  <a:lnTo>
                    <a:pt x="7413" y="2445"/>
                  </a:lnTo>
                  <a:lnTo>
                    <a:pt x="7515" y="2466"/>
                  </a:lnTo>
                  <a:lnTo>
                    <a:pt x="7619" y="2482"/>
                  </a:lnTo>
                  <a:lnTo>
                    <a:pt x="7724" y="2495"/>
                  </a:lnTo>
                  <a:lnTo>
                    <a:pt x="7830" y="2504"/>
                  </a:lnTo>
                  <a:lnTo>
                    <a:pt x="7939" y="2509"/>
                  </a:lnTo>
                  <a:lnTo>
                    <a:pt x="8048" y="2511"/>
                  </a:lnTo>
                  <a:lnTo>
                    <a:pt x="8157" y="2509"/>
                  </a:lnTo>
                  <a:lnTo>
                    <a:pt x="8265" y="2504"/>
                  </a:lnTo>
                  <a:lnTo>
                    <a:pt x="8371" y="2495"/>
                  </a:lnTo>
                  <a:lnTo>
                    <a:pt x="8476" y="2482"/>
                  </a:lnTo>
                  <a:lnTo>
                    <a:pt x="8580" y="2466"/>
                  </a:lnTo>
                  <a:lnTo>
                    <a:pt x="8682" y="2445"/>
                  </a:lnTo>
                  <a:lnTo>
                    <a:pt x="8783" y="2423"/>
                  </a:lnTo>
                  <a:lnTo>
                    <a:pt x="8881" y="2397"/>
                  </a:lnTo>
                  <a:lnTo>
                    <a:pt x="8978" y="2368"/>
                  </a:lnTo>
                  <a:lnTo>
                    <a:pt x="9073" y="2336"/>
                  </a:lnTo>
                  <a:lnTo>
                    <a:pt x="9165" y="2300"/>
                  </a:lnTo>
                  <a:lnTo>
                    <a:pt x="9256" y="2262"/>
                  </a:lnTo>
                  <a:lnTo>
                    <a:pt x="9344" y="2221"/>
                  </a:lnTo>
                  <a:lnTo>
                    <a:pt x="9430" y="2177"/>
                  </a:lnTo>
                  <a:lnTo>
                    <a:pt x="9513" y="2131"/>
                  </a:lnTo>
                  <a:lnTo>
                    <a:pt x="9595" y="2082"/>
                  </a:lnTo>
                  <a:lnTo>
                    <a:pt x="9673" y="2031"/>
                  </a:lnTo>
                  <a:lnTo>
                    <a:pt x="9749" y="1976"/>
                  </a:lnTo>
                  <a:lnTo>
                    <a:pt x="9821" y="1920"/>
                  </a:lnTo>
                  <a:lnTo>
                    <a:pt x="9891" y="1861"/>
                  </a:lnTo>
                  <a:lnTo>
                    <a:pt x="9959" y="1800"/>
                  </a:lnTo>
                  <a:lnTo>
                    <a:pt x="10022" y="1737"/>
                  </a:lnTo>
                  <a:lnTo>
                    <a:pt x="10084" y="1672"/>
                  </a:lnTo>
                  <a:lnTo>
                    <a:pt x="10141" y="1605"/>
                  </a:lnTo>
                  <a:lnTo>
                    <a:pt x="10195" y="1536"/>
                  </a:lnTo>
                  <a:lnTo>
                    <a:pt x="10245" y="1464"/>
                  </a:lnTo>
                  <a:lnTo>
                    <a:pt x="10293" y="1392"/>
                  </a:lnTo>
                  <a:lnTo>
                    <a:pt x="10337" y="1318"/>
                  </a:lnTo>
                  <a:lnTo>
                    <a:pt x="10376" y="1241"/>
                  </a:lnTo>
                  <a:lnTo>
                    <a:pt x="10412" y="1164"/>
                  </a:lnTo>
                  <a:lnTo>
                    <a:pt x="10445" y="1085"/>
                  </a:lnTo>
                  <a:lnTo>
                    <a:pt x="10473" y="1004"/>
                  </a:lnTo>
                  <a:lnTo>
                    <a:pt x="12574" y="1004"/>
                  </a:lnTo>
                  <a:lnTo>
                    <a:pt x="15089" y="3013"/>
                  </a:lnTo>
                  <a:lnTo>
                    <a:pt x="14083" y="6026"/>
                  </a:lnTo>
                  <a:close/>
                  <a:moveTo>
                    <a:pt x="9936" y="1004"/>
                  </a:moveTo>
                  <a:lnTo>
                    <a:pt x="9908" y="1059"/>
                  </a:lnTo>
                  <a:lnTo>
                    <a:pt x="9878" y="1112"/>
                  </a:lnTo>
                  <a:lnTo>
                    <a:pt x="9846" y="1164"/>
                  </a:lnTo>
                  <a:lnTo>
                    <a:pt x="9811" y="1215"/>
                  </a:lnTo>
                  <a:lnTo>
                    <a:pt x="9773" y="1264"/>
                  </a:lnTo>
                  <a:lnTo>
                    <a:pt x="9733" y="1314"/>
                  </a:lnTo>
                  <a:lnTo>
                    <a:pt x="9691" y="1361"/>
                  </a:lnTo>
                  <a:lnTo>
                    <a:pt x="9646" y="1407"/>
                  </a:lnTo>
                  <a:lnTo>
                    <a:pt x="9600" y="1452"/>
                  </a:lnTo>
                  <a:lnTo>
                    <a:pt x="9550" y="1495"/>
                  </a:lnTo>
                  <a:lnTo>
                    <a:pt x="9500" y="1538"/>
                  </a:lnTo>
                  <a:lnTo>
                    <a:pt x="9447" y="1579"/>
                  </a:lnTo>
                  <a:lnTo>
                    <a:pt x="9391" y="1617"/>
                  </a:lnTo>
                  <a:lnTo>
                    <a:pt x="9334" y="1655"/>
                  </a:lnTo>
                  <a:lnTo>
                    <a:pt x="9276" y="1691"/>
                  </a:lnTo>
                  <a:lnTo>
                    <a:pt x="9215" y="1725"/>
                  </a:lnTo>
                  <a:lnTo>
                    <a:pt x="9152" y="1758"/>
                  </a:lnTo>
                  <a:lnTo>
                    <a:pt x="9089" y="1789"/>
                  </a:lnTo>
                  <a:lnTo>
                    <a:pt x="9022" y="1818"/>
                  </a:lnTo>
                  <a:lnTo>
                    <a:pt x="8956" y="1845"/>
                  </a:lnTo>
                  <a:lnTo>
                    <a:pt x="8886" y="1870"/>
                  </a:lnTo>
                  <a:lnTo>
                    <a:pt x="8816" y="1893"/>
                  </a:lnTo>
                  <a:lnTo>
                    <a:pt x="8745" y="1914"/>
                  </a:lnTo>
                  <a:lnTo>
                    <a:pt x="8672" y="1933"/>
                  </a:lnTo>
                  <a:lnTo>
                    <a:pt x="8598" y="1951"/>
                  </a:lnTo>
                  <a:lnTo>
                    <a:pt x="8522" y="1965"/>
                  </a:lnTo>
                  <a:lnTo>
                    <a:pt x="8446" y="1978"/>
                  </a:lnTo>
                  <a:lnTo>
                    <a:pt x="8368" y="1989"/>
                  </a:lnTo>
                  <a:lnTo>
                    <a:pt x="8289" y="1998"/>
                  </a:lnTo>
                  <a:lnTo>
                    <a:pt x="8209" y="2004"/>
                  </a:lnTo>
                  <a:lnTo>
                    <a:pt x="8129" y="2008"/>
                  </a:lnTo>
                  <a:lnTo>
                    <a:pt x="8048" y="2009"/>
                  </a:lnTo>
                  <a:lnTo>
                    <a:pt x="7966" y="2008"/>
                  </a:lnTo>
                  <a:lnTo>
                    <a:pt x="7886" y="2004"/>
                  </a:lnTo>
                  <a:lnTo>
                    <a:pt x="7806" y="1998"/>
                  </a:lnTo>
                  <a:lnTo>
                    <a:pt x="7727" y="1989"/>
                  </a:lnTo>
                  <a:lnTo>
                    <a:pt x="7649" y="1978"/>
                  </a:lnTo>
                  <a:lnTo>
                    <a:pt x="7573" y="1965"/>
                  </a:lnTo>
                  <a:lnTo>
                    <a:pt x="7497" y="1951"/>
                  </a:lnTo>
                  <a:lnTo>
                    <a:pt x="7423" y="1933"/>
                  </a:lnTo>
                  <a:lnTo>
                    <a:pt x="7350" y="1914"/>
                  </a:lnTo>
                  <a:lnTo>
                    <a:pt x="7279" y="1893"/>
                  </a:lnTo>
                  <a:lnTo>
                    <a:pt x="7209" y="1870"/>
                  </a:lnTo>
                  <a:lnTo>
                    <a:pt x="7139" y="1845"/>
                  </a:lnTo>
                  <a:lnTo>
                    <a:pt x="7073" y="1818"/>
                  </a:lnTo>
                  <a:lnTo>
                    <a:pt x="7006" y="1789"/>
                  </a:lnTo>
                  <a:lnTo>
                    <a:pt x="6943" y="1758"/>
                  </a:lnTo>
                  <a:lnTo>
                    <a:pt x="6881" y="1725"/>
                  </a:lnTo>
                  <a:lnTo>
                    <a:pt x="6819" y="1691"/>
                  </a:lnTo>
                  <a:lnTo>
                    <a:pt x="6761" y="1655"/>
                  </a:lnTo>
                  <a:lnTo>
                    <a:pt x="6704" y="1617"/>
                  </a:lnTo>
                  <a:lnTo>
                    <a:pt x="6648" y="1579"/>
                  </a:lnTo>
                  <a:lnTo>
                    <a:pt x="6596" y="1538"/>
                  </a:lnTo>
                  <a:lnTo>
                    <a:pt x="6545" y="1495"/>
                  </a:lnTo>
                  <a:lnTo>
                    <a:pt x="6495" y="1452"/>
                  </a:lnTo>
                  <a:lnTo>
                    <a:pt x="6449" y="1407"/>
                  </a:lnTo>
                  <a:lnTo>
                    <a:pt x="6404" y="1361"/>
                  </a:lnTo>
                  <a:lnTo>
                    <a:pt x="6362" y="1314"/>
                  </a:lnTo>
                  <a:lnTo>
                    <a:pt x="6322" y="1264"/>
                  </a:lnTo>
                  <a:lnTo>
                    <a:pt x="6284" y="1215"/>
                  </a:lnTo>
                  <a:lnTo>
                    <a:pt x="6249" y="1164"/>
                  </a:lnTo>
                  <a:lnTo>
                    <a:pt x="6217" y="1112"/>
                  </a:lnTo>
                  <a:lnTo>
                    <a:pt x="6187" y="1059"/>
                  </a:lnTo>
                  <a:lnTo>
                    <a:pt x="6159" y="1004"/>
                  </a:lnTo>
                  <a:lnTo>
                    <a:pt x="9936" y="1004"/>
                  </a:lnTo>
                  <a:close/>
                  <a:moveTo>
                    <a:pt x="15718" y="2229"/>
                  </a:moveTo>
                  <a:lnTo>
                    <a:pt x="13203" y="220"/>
                  </a:lnTo>
                  <a:lnTo>
                    <a:pt x="13169" y="194"/>
                  </a:lnTo>
                  <a:lnTo>
                    <a:pt x="13135" y="170"/>
                  </a:lnTo>
                  <a:lnTo>
                    <a:pt x="13098" y="147"/>
                  </a:lnTo>
                  <a:lnTo>
                    <a:pt x="13061" y="126"/>
                  </a:lnTo>
                  <a:lnTo>
                    <a:pt x="13024" y="105"/>
                  </a:lnTo>
                  <a:lnTo>
                    <a:pt x="12986" y="87"/>
                  </a:lnTo>
                  <a:lnTo>
                    <a:pt x="12946" y="71"/>
                  </a:lnTo>
                  <a:lnTo>
                    <a:pt x="12907" y="56"/>
                  </a:lnTo>
                  <a:lnTo>
                    <a:pt x="12867" y="43"/>
                  </a:lnTo>
                  <a:lnTo>
                    <a:pt x="12827" y="32"/>
                  </a:lnTo>
                  <a:lnTo>
                    <a:pt x="12785" y="22"/>
                  </a:lnTo>
                  <a:lnTo>
                    <a:pt x="12743" y="14"/>
                  </a:lnTo>
                  <a:lnTo>
                    <a:pt x="12702" y="8"/>
                  </a:lnTo>
                  <a:lnTo>
                    <a:pt x="12660" y="4"/>
                  </a:lnTo>
                  <a:lnTo>
                    <a:pt x="12616" y="1"/>
                  </a:lnTo>
                  <a:lnTo>
                    <a:pt x="12574" y="0"/>
                  </a:lnTo>
                  <a:lnTo>
                    <a:pt x="3521" y="0"/>
                  </a:lnTo>
                  <a:lnTo>
                    <a:pt x="3479" y="1"/>
                  </a:lnTo>
                  <a:lnTo>
                    <a:pt x="3435" y="4"/>
                  </a:lnTo>
                  <a:lnTo>
                    <a:pt x="3393" y="8"/>
                  </a:lnTo>
                  <a:lnTo>
                    <a:pt x="3352" y="14"/>
                  </a:lnTo>
                  <a:lnTo>
                    <a:pt x="3310" y="22"/>
                  </a:lnTo>
                  <a:lnTo>
                    <a:pt x="3268" y="32"/>
                  </a:lnTo>
                  <a:lnTo>
                    <a:pt x="3228" y="43"/>
                  </a:lnTo>
                  <a:lnTo>
                    <a:pt x="3188" y="56"/>
                  </a:lnTo>
                  <a:lnTo>
                    <a:pt x="3149" y="71"/>
                  </a:lnTo>
                  <a:lnTo>
                    <a:pt x="3109" y="87"/>
                  </a:lnTo>
                  <a:lnTo>
                    <a:pt x="3071" y="105"/>
                  </a:lnTo>
                  <a:lnTo>
                    <a:pt x="3034" y="126"/>
                  </a:lnTo>
                  <a:lnTo>
                    <a:pt x="2997" y="147"/>
                  </a:lnTo>
                  <a:lnTo>
                    <a:pt x="2960" y="170"/>
                  </a:lnTo>
                  <a:lnTo>
                    <a:pt x="2926" y="194"/>
                  </a:lnTo>
                  <a:lnTo>
                    <a:pt x="2892" y="220"/>
                  </a:lnTo>
                  <a:lnTo>
                    <a:pt x="377" y="2229"/>
                  </a:lnTo>
                  <a:lnTo>
                    <a:pt x="347" y="2254"/>
                  </a:lnTo>
                  <a:lnTo>
                    <a:pt x="318" y="2280"/>
                  </a:lnTo>
                  <a:lnTo>
                    <a:pt x="290" y="2307"/>
                  </a:lnTo>
                  <a:lnTo>
                    <a:pt x="264" y="2335"/>
                  </a:lnTo>
                  <a:lnTo>
                    <a:pt x="237" y="2364"/>
                  </a:lnTo>
                  <a:lnTo>
                    <a:pt x="213" y="2393"/>
                  </a:lnTo>
                  <a:lnTo>
                    <a:pt x="191" y="2424"/>
                  </a:lnTo>
                  <a:lnTo>
                    <a:pt x="169" y="2455"/>
                  </a:lnTo>
                  <a:lnTo>
                    <a:pt x="148" y="2488"/>
                  </a:lnTo>
                  <a:lnTo>
                    <a:pt x="129" y="2521"/>
                  </a:lnTo>
                  <a:lnTo>
                    <a:pt x="112" y="2554"/>
                  </a:lnTo>
                  <a:lnTo>
                    <a:pt x="95" y="2588"/>
                  </a:lnTo>
                  <a:lnTo>
                    <a:pt x="79" y="2622"/>
                  </a:lnTo>
                  <a:lnTo>
                    <a:pt x="65" y="2657"/>
                  </a:lnTo>
                  <a:lnTo>
                    <a:pt x="52" y="2692"/>
                  </a:lnTo>
                  <a:lnTo>
                    <a:pt x="41" y="2729"/>
                  </a:lnTo>
                  <a:lnTo>
                    <a:pt x="31" y="2765"/>
                  </a:lnTo>
                  <a:lnTo>
                    <a:pt x="22" y="2802"/>
                  </a:lnTo>
                  <a:lnTo>
                    <a:pt x="15" y="2839"/>
                  </a:lnTo>
                  <a:lnTo>
                    <a:pt x="9" y="2876"/>
                  </a:lnTo>
                  <a:lnTo>
                    <a:pt x="5" y="2913"/>
                  </a:lnTo>
                  <a:lnTo>
                    <a:pt x="2" y="2952"/>
                  </a:lnTo>
                  <a:lnTo>
                    <a:pt x="0" y="2989"/>
                  </a:lnTo>
                  <a:lnTo>
                    <a:pt x="0" y="3027"/>
                  </a:lnTo>
                  <a:lnTo>
                    <a:pt x="1" y="3065"/>
                  </a:lnTo>
                  <a:lnTo>
                    <a:pt x="4" y="3103"/>
                  </a:lnTo>
                  <a:lnTo>
                    <a:pt x="8" y="3141"/>
                  </a:lnTo>
                  <a:lnTo>
                    <a:pt x="14" y="3180"/>
                  </a:lnTo>
                  <a:lnTo>
                    <a:pt x="21" y="3218"/>
                  </a:lnTo>
                  <a:lnTo>
                    <a:pt x="30" y="3256"/>
                  </a:lnTo>
                  <a:lnTo>
                    <a:pt x="40" y="3293"/>
                  </a:lnTo>
                  <a:lnTo>
                    <a:pt x="52" y="3331"/>
                  </a:lnTo>
                  <a:lnTo>
                    <a:pt x="1057" y="6344"/>
                  </a:lnTo>
                  <a:lnTo>
                    <a:pt x="1067" y="6371"/>
                  </a:lnTo>
                  <a:lnTo>
                    <a:pt x="1078" y="6398"/>
                  </a:lnTo>
                  <a:lnTo>
                    <a:pt x="1089" y="6425"/>
                  </a:lnTo>
                  <a:lnTo>
                    <a:pt x="1100" y="6452"/>
                  </a:lnTo>
                  <a:lnTo>
                    <a:pt x="1114" y="6478"/>
                  </a:lnTo>
                  <a:lnTo>
                    <a:pt x="1127" y="6504"/>
                  </a:lnTo>
                  <a:lnTo>
                    <a:pt x="1141" y="6529"/>
                  </a:lnTo>
                  <a:lnTo>
                    <a:pt x="1156" y="6553"/>
                  </a:lnTo>
                  <a:lnTo>
                    <a:pt x="1171" y="6577"/>
                  </a:lnTo>
                  <a:lnTo>
                    <a:pt x="1187" y="6601"/>
                  </a:lnTo>
                  <a:lnTo>
                    <a:pt x="1204" y="6624"/>
                  </a:lnTo>
                  <a:lnTo>
                    <a:pt x="1221" y="6647"/>
                  </a:lnTo>
                  <a:lnTo>
                    <a:pt x="1239" y="6669"/>
                  </a:lnTo>
                  <a:lnTo>
                    <a:pt x="1258" y="6692"/>
                  </a:lnTo>
                  <a:lnTo>
                    <a:pt x="1278" y="6713"/>
                  </a:lnTo>
                  <a:lnTo>
                    <a:pt x="1298" y="6733"/>
                  </a:lnTo>
                  <a:lnTo>
                    <a:pt x="1318" y="6753"/>
                  </a:lnTo>
                  <a:lnTo>
                    <a:pt x="1339" y="6772"/>
                  </a:lnTo>
                  <a:lnTo>
                    <a:pt x="1360" y="6791"/>
                  </a:lnTo>
                  <a:lnTo>
                    <a:pt x="1382" y="6809"/>
                  </a:lnTo>
                  <a:lnTo>
                    <a:pt x="1405" y="6827"/>
                  </a:lnTo>
                  <a:lnTo>
                    <a:pt x="1428" y="6844"/>
                  </a:lnTo>
                  <a:lnTo>
                    <a:pt x="1452" y="6860"/>
                  </a:lnTo>
                  <a:lnTo>
                    <a:pt x="1476" y="6875"/>
                  </a:lnTo>
                  <a:lnTo>
                    <a:pt x="1501" y="6890"/>
                  </a:lnTo>
                  <a:lnTo>
                    <a:pt x="1526" y="6905"/>
                  </a:lnTo>
                  <a:lnTo>
                    <a:pt x="1551" y="6919"/>
                  </a:lnTo>
                  <a:lnTo>
                    <a:pt x="1577" y="6932"/>
                  </a:lnTo>
                  <a:lnTo>
                    <a:pt x="1603" y="6944"/>
                  </a:lnTo>
                  <a:lnTo>
                    <a:pt x="1631" y="6956"/>
                  </a:lnTo>
                  <a:lnTo>
                    <a:pt x="1658" y="6966"/>
                  </a:lnTo>
                  <a:lnTo>
                    <a:pt x="1686" y="6976"/>
                  </a:lnTo>
                  <a:lnTo>
                    <a:pt x="1725" y="6989"/>
                  </a:lnTo>
                  <a:lnTo>
                    <a:pt x="1766" y="7000"/>
                  </a:lnTo>
                  <a:lnTo>
                    <a:pt x="1807" y="7009"/>
                  </a:lnTo>
                  <a:lnTo>
                    <a:pt x="1848" y="7016"/>
                  </a:lnTo>
                  <a:lnTo>
                    <a:pt x="1888" y="7022"/>
                  </a:lnTo>
                  <a:lnTo>
                    <a:pt x="1929" y="7027"/>
                  </a:lnTo>
                  <a:lnTo>
                    <a:pt x="1971" y="7029"/>
                  </a:lnTo>
                  <a:lnTo>
                    <a:pt x="2012" y="7030"/>
                  </a:lnTo>
                  <a:lnTo>
                    <a:pt x="2045" y="7029"/>
                  </a:lnTo>
                  <a:lnTo>
                    <a:pt x="2077" y="7028"/>
                  </a:lnTo>
                  <a:lnTo>
                    <a:pt x="2110" y="7025"/>
                  </a:lnTo>
                  <a:lnTo>
                    <a:pt x="2143" y="7021"/>
                  </a:lnTo>
                  <a:lnTo>
                    <a:pt x="2175" y="7017"/>
                  </a:lnTo>
                  <a:lnTo>
                    <a:pt x="2207" y="7011"/>
                  </a:lnTo>
                  <a:lnTo>
                    <a:pt x="2239" y="7004"/>
                  </a:lnTo>
                  <a:lnTo>
                    <a:pt x="2271" y="6996"/>
                  </a:lnTo>
                  <a:lnTo>
                    <a:pt x="2303" y="6987"/>
                  </a:lnTo>
                  <a:lnTo>
                    <a:pt x="2334" y="6977"/>
                  </a:lnTo>
                  <a:lnTo>
                    <a:pt x="2365" y="6966"/>
                  </a:lnTo>
                  <a:lnTo>
                    <a:pt x="2396" y="6954"/>
                  </a:lnTo>
                  <a:lnTo>
                    <a:pt x="2426" y="6941"/>
                  </a:lnTo>
                  <a:lnTo>
                    <a:pt x="2456" y="6927"/>
                  </a:lnTo>
                  <a:lnTo>
                    <a:pt x="2486" y="6911"/>
                  </a:lnTo>
                  <a:lnTo>
                    <a:pt x="2515" y="6895"/>
                  </a:lnTo>
                  <a:lnTo>
                    <a:pt x="2515" y="13056"/>
                  </a:lnTo>
                  <a:lnTo>
                    <a:pt x="2516" y="13107"/>
                  </a:lnTo>
                  <a:lnTo>
                    <a:pt x="2520" y="13158"/>
                  </a:lnTo>
                  <a:lnTo>
                    <a:pt x="2526" y="13208"/>
                  </a:lnTo>
                  <a:lnTo>
                    <a:pt x="2535" y="13258"/>
                  </a:lnTo>
                  <a:lnTo>
                    <a:pt x="2546" y="13307"/>
                  </a:lnTo>
                  <a:lnTo>
                    <a:pt x="2560" y="13354"/>
                  </a:lnTo>
                  <a:lnTo>
                    <a:pt x="2576" y="13401"/>
                  </a:lnTo>
                  <a:lnTo>
                    <a:pt x="2594" y="13446"/>
                  </a:lnTo>
                  <a:lnTo>
                    <a:pt x="2614" y="13491"/>
                  </a:lnTo>
                  <a:lnTo>
                    <a:pt x="2637" y="13535"/>
                  </a:lnTo>
                  <a:lnTo>
                    <a:pt x="2661" y="13576"/>
                  </a:lnTo>
                  <a:lnTo>
                    <a:pt x="2687" y="13617"/>
                  </a:lnTo>
                  <a:lnTo>
                    <a:pt x="2715" y="13656"/>
                  </a:lnTo>
                  <a:lnTo>
                    <a:pt x="2744" y="13694"/>
                  </a:lnTo>
                  <a:lnTo>
                    <a:pt x="2776" y="13731"/>
                  </a:lnTo>
                  <a:lnTo>
                    <a:pt x="2810" y="13766"/>
                  </a:lnTo>
                  <a:lnTo>
                    <a:pt x="2845" y="13799"/>
                  </a:lnTo>
                  <a:lnTo>
                    <a:pt x="2881" y="13831"/>
                  </a:lnTo>
                  <a:lnTo>
                    <a:pt x="2919" y="13860"/>
                  </a:lnTo>
                  <a:lnTo>
                    <a:pt x="2958" y="13888"/>
                  </a:lnTo>
                  <a:lnTo>
                    <a:pt x="3000" y="13914"/>
                  </a:lnTo>
                  <a:lnTo>
                    <a:pt x="3041" y="13938"/>
                  </a:lnTo>
                  <a:lnTo>
                    <a:pt x="3085" y="13961"/>
                  </a:lnTo>
                  <a:lnTo>
                    <a:pt x="3129" y="13981"/>
                  </a:lnTo>
                  <a:lnTo>
                    <a:pt x="3175" y="13999"/>
                  </a:lnTo>
                  <a:lnTo>
                    <a:pt x="3222" y="14015"/>
                  </a:lnTo>
                  <a:lnTo>
                    <a:pt x="3269" y="14028"/>
                  </a:lnTo>
                  <a:lnTo>
                    <a:pt x="3319" y="14040"/>
                  </a:lnTo>
                  <a:lnTo>
                    <a:pt x="3368" y="14048"/>
                  </a:lnTo>
                  <a:lnTo>
                    <a:pt x="3418" y="14055"/>
                  </a:lnTo>
                  <a:lnTo>
                    <a:pt x="3469" y="14059"/>
                  </a:lnTo>
                  <a:lnTo>
                    <a:pt x="3521" y="14060"/>
                  </a:lnTo>
                  <a:lnTo>
                    <a:pt x="12574" y="14060"/>
                  </a:lnTo>
                  <a:lnTo>
                    <a:pt x="12626" y="14059"/>
                  </a:lnTo>
                  <a:lnTo>
                    <a:pt x="12677" y="14055"/>
                  </a:lnTo>
                  <a:lnTo>
                    <a:pt x="12727" y="14048"/>
                  </a:lnTo>
                  <a:lnTo>
                    <a:pt x="12776" y="14040"/>
                  </a:lnTo>
                  <a:lnTo>
                    <a:pt x="12826" y="14028"/>
                  </a:lnTo>
                  <a:lnTo>
                    <a:pt x="12873" y="14015"/>
                  </a:lnTo>
                  <a:lnTo>
                    <a:pt x="12920" y="13999"/>
                  </a:lnTo>
                  <a:lnTo>
                    <a:pt x="12966" y="13981"/>
                  </a:lnTo>
                  <a:lnTo>
                    <a:pt x="13010" y="13961"/>
                  </a:lnTo>
                  <a:lnTo>
                    <a:pt x="13054" y="13938"/>
                  </a:lnTo>
                  <a:lnTo>
                    <a:pt x="13095" y="13914"/>
                  </a:lnTo>
                  <a:lnTo>
                    <a:pt x="13137" y="13888"/>
                  </a:lnTo>
                  <a:lnTo>
                    <a:pt x="13176" y="13860"/>
                  </a:lnTo>
                  <a:lnTo>
                    <a:pt x="13214" y="13831"/>
                  </a:lnTo>
                  <a:lnTo>
                    <a:pt x="13250" y="13799"/>
                  </a:lnTo>
                  <a:lnTo>
                    <a:pt x="13285" y="13766"/>
                  </a:lnTo>
                  <a:lnTo>
                    <a:pt x="13319" y="13731"/>
                  </a:lnTo>
                  <a:lnTo>
                    <a:pt x="13351" y="13694"/>
                  </a:lnTo>
                  <a:lnTo>
                    <a:pt x="13380" y="13656"/>
                  </a:lnTo>
                  <a:lnTo>
                    <a:pt x="13408" y="13617"/>
                  </a:lnTo>
                  <a:lnTo>
                    <a:pt x="13434" y="13576"/>
                  </a:lnTo>
                  <a:lnTo>
                    <a:pt x="13458" y="13535"/>
                  </a:lnTo>
                  <a:lnTo>
                    <a:pt x="13481" y="13491"/>
                  </a:lnTo>
                  <a:lnTo>
                    <a:pt x="13501" y="13446"/>
                  </a:lnTo>
                  <a:lnTo>
                    <a:pt x="13519" y="13401"/>
                  </a:lnTo>
                  <a:lnTo>
                    <a:pt x="13535" y="13354"/>
                  </a:lnTo>
                  <a:lnTo>
                    <a:pt x="13548" y="13307"/>
                  </a:lnTo>
                  <a:lnTo>
                    <a:pt x="13560" y="13258"/>
                  </a:lnTo>
                  <a:lnTo>
                    <a:pt x="13568" y="13208"/>
                  </a:lnTo>
                  <a:lnTo>
                    <a:pt x="13575" y="13158"/>
                  </a:lnTo>
                  <a:lnTo>
                    <a:pt x="13579" y="13107"/>
                  </a:lnTo>
                  <a:lnTo>
                    <a:pt x="13580" y="13056"/>
                  </a:lnTo>
                  <a:lnTo>
                    <a:pt x="13580" y="6895"/>
                  </a:lnTo>
                  <a:lnTo>
                    <a:pt x="13609" y="6911"/>
                  </a:lnTo>
                  <a:lnTo>
                    <a:pt x="13639" y="6927"/>
                  </a:lnTo>
                  <a:lnTo>
                    <a:pt x="13669" y="6941"/>
                  </a:lnTo>
                  <a:lnTo>
                    <a:pt x="13699" y="6954"/>
                  </a:lnTo>
                  <a:lnTo>
                    <a:pt x="13730" y="6966"/>
                  </a:lnTo>
                  <a:lnTo>
                    <a:pt x="13761" y="6977"/>
                  </a:lnTo>
                  <a:lnTo>
                    <a:pt x="13792" y="6987"/>
                  </a:lnTo>
                  <a:lnTo>
                    <a:pt x="13824" y="6996"/>
                  </a:lnTo>
                  <a:lnTo>
                    <a:pt x="13856" y="7004"/>
                  </a:lnTo>
                  <a:lnTo>
                    <a:pt x="13888" y="7011"/>
                  </a:lnTo>
                  <a:lnTo>
                    <a:pt x="13920" y="7017"/>
                  </a:lnTo>
                  <a:lnTo>
                    <a:pt x="13952" y="7021"/>
                  </a:lnTo>
                  <a:lnTo>
                    <a:pt x="13985" y="7025"/>
                  </a:lnTo>
                  <a:lnTo>
                    <a:pt x="14018" y="7028"/>
                  </a:lnTo>
                  <a:lnTo>
                    <a:pt x="14050" y="7029"/>
                  </a:lnTo>
                  <a:lnTo>
                    <a:pt x="14083" y="7030"/>
                  </a:lnTo>
                  <a:lnTo>
                    <a:pt x="14124" y="7029"/>
                  </a:lnTo>
                  <a:lnTo>
                    <a:pt x="14166" y="7027"/>
                  </a:lnTo>
                  <a:lnTo>
                    <a:pt x="14207" y="7022"/>
                  </a:lnTo>
                  <a:lnTo>
                    <a:pt x="14247" y="7016"/>
                  </a:lnTo>
                  <a:lnTo>
                    <a:pt x="14288" y="7009"/>
                  </a:lnTo>
                  <a:lnTo>
                    <a:pt x="14329" y="7000"/>
                  </a:lnTo>
                  <a:lnTo>
                    <a:pt x="14370" y="6989"/>
                  </a:lnTo>
                  <a:lnTo>
                    <a:pt x="14410" y="6976"/>
                  </a:lnTo>
                  <a:lnTo>
                    <a:pt x="14437" y="6966"/>
                  </a:lnTo>
                  <a:lnTo>
                    <a:pt x="14464" y="6956"/>
                  </a:lnTo>
                  <a:lnTo>
                    <a:pt x="14492" y="6944"/>
                  </a:lnTo>
                  <a:lnTo>
                    <a:pt x="14518" y="6932"/>
                  </a:lnTo>
                  <a:lnTo>
                    <a:pt x="14544" y="6919"/>
                  </a:lnTo>
                  <a:lnTo>
                    <a:pt x="14569" y="6905"/>
                  </a:lnTo>
                  <a:lnTo>
                    <a:pt x="14594" y="6890"/>
                  </a:lnTo>
                  <a:lnTo>
                    <a:pt x="14619" y="6875"/>
                  </a:lnTo>
                  <a:lnTo>
                    <a:pt x="14643" y="6860"/>
                  </a:lnTo>
                  <a:lnTo>
                    <a:pt x="14667" y="6844"/>
                  </a:lnTo>
                  <a:lnTo>
                    <a:pt x="14690" y="6827"/>
                  </a:lnTo>
                  <a:lnTo>
                    <a:pt x="14713" y="6809"/>
                  </a:lnTo>
                  <a:lnTo>
                    <a:pt x="14735" y="6791"/>
                  </a:lnTo>
                  <a:lnTo>
                    <a:pt x="14756" y="6772"/>
                  </a:lnTo>
                  <a:lnTo>
                    <a:pt x="14777" y="6753"/>
                  </a:lnTo>
                  <a:lnTo>
                    <a:pt x="14797" y="6733"/>
                  </a:lnTo>
                  <a:lnTo>
                    <a:pt x="14817" y="6713"/>
                  </a:lnTo>
                  <a:lnTo>
                    <a:pt x="14837" y="6692"/>
                  </a:lnTo>
                  <a:lnTo>
                    <a:pt x="14856" y="6669"/>
                  </a:lnTo>
                  <a:lnTo>
                    <a:pt x="14874" y="6647"/>
                  </a:lnTo>
                  <a:lnTo>
                    <a:pt x="14891" y="6624"/>
                  </a:lnTo>
                  <a:lnTo>
                    <a:pt x="14908" y="6601"/>
                  </a:lnTo>
                  <a:lnTo>
                    <a:pt x="14924" y="6577"/>
                  </a:lnTo>
                  <a:lnTo>
                    <a:pt x="14939" y="6553"/>
                  </a:lnTo>
                  <a:lnTo>
                    <a:pt x="14954" y="6529"/>
                  </a:lnTo>
                  <a:lnTo>
                    <a:pt x="14968" y="6504"/>
                  </a:lnTo>
                  <a:lnTo>
                    <a:pt x="14981" y="6478"/>
                  </a:lnTo>
                  <a:lnTo>
                    <a:pt x="14995" y="6452"/>
                  </a:lnTo>
                  <a:lnTo>
                    <a:pt x="15006" y="6425"/>
                  </a:lnTo>
                  <a:lnTo>
                    <a:pt x="15017" y="6398"/>
                  </a:lnTo>
                  <a:lnTo>
                    <a:pt x="15028" y="6371"/>
                  </a:lnTo>
                  <a:lnTo>
                    <a:pt x="15038" y="6344"/>
                  </a:lnTo>
                  <a:lnTo>
                    <a:pt x="16044" y="3331"/>
                  </a:lnTo>
                  <a:lnTo>
                    <a:pt x="16055" y="3293"/>
                  </a:lnTo>
                  <a:lnTo>
                    <a:pt x="16065" y="3256"/>
                  </a:lnTo>
                  <a:lnTo>
                    <a:pt x="16074" y="3218"/>
                  </a:lnTo>
                  <a:lnTo>
                    <a:pt x="16081" y="3180"/>
                  </a:lnTo>
                  <a:lnTo>
                    <a:pt x="16087" y="3141"/>
                  </a:lnTo>
                  <a:lnTo>
                    <a:pt x="16091" y="3103"/>
                  </a:lnTo>
                  <a:lnTo>
                    <a:pt x="16094" y="3065"/>
                  </a:lnTo>
                  <a:lnTo>
                    <a:pt x="16095" y="3027"/>
                  </a:lnTo>
                  <a:lnTo>
                    <a:pt x="16095" y="2989"/>
                  </a:lnTo>
                  <a:lnTo>
                    <a:pt x="16093" y="2952"/>
                  </a:lnTo>
                  <a:lnTo>
                    <a:pt x="16090" y="2913"/>
                  </a:lnTo>
                  <a:lnTo>
                    <a:pt x="16086" y="2876"/>
                  </a:lnTo>
                  <a:lnTo>
                    <a:pt x="16080" y="2839"/>
                  </a:lnTo>
                  <a:lnTo>
                    <a:pt x="16073" y="2802"/>
                  </a:lnTo>
                  <a:lnTo>
                    <a:pt x="16064" y="2765"/>
                  </a:lnTo>
                  <a:lnTo>
                    <a:pt x="16054" y="2729"/>
                  </a:lnTo>
                  <a:lnTo>
                    <a:pt x="16043" y="2692"/>
                  </a:lnTo>
                  <a:lnTo>
                    <a:pt x="16030" y="2657"/>
                  </a:lnTo>
                  <a:lnTo>
                    <a:pt x="16016" y="2622"/>
                  </a:lnTo>
                  <a:lnTo>
                    <a:pt x="16000" y="2588"/>
                  </a:lnTo>
                  <a:lnTo>
                    <a:pt x="15983" y="2554"/>
                  </a:lnTo>
                  <a:lnTo>
                    <a:pt x="15966" y="2521"/>
                  </a:lnTo>
                  <a:lnTo>
                    <a:pt x="15947" y="2488"/>
                  </a:lnTo>
                  <a:lnTo>
                    <a:pt x="15926" y="2455"/>
                  </a:lnTo>
                  <a:lnTo>
                    <a:pt x="15904" y="2424"/>
                  </a:lnTo>
                  <a:lnTo>
                    <a:pt x="15882" y="2393"/>
                  </a:lnTo>
                  <a:lnTo>
                    <a:pt x="15858" y="2364"/>
                  </a:lnTo>
                  <a:lnTo>
                    <a:pt x="15831" y="2335"/>
                  </a:lnTo>
                  <a:lnTo>
                    <a:pt x="15805" y="2307"/>
                  </a:lnTo>
                  <a:lnTo>
                    <a:pt x="15777" y="2280"/>
                  </a:lnTo>
                  <a:lnTo>
                    <a:pt x="15748" y="2254"/>
                  </a:lnTo>
                  <a:lnTo>
                    <a:pt x="15718" y="222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70" name="iṣḻîḍe">
              <a:extLst>
                <a:ext uri="{FF2B5EF4-FFF2-40B4-BE49-F238E27FC236}">
                  <a16:creationId xmlns:a16="http://schemas.microsoft.com/office/drawing/2014/main" id="{D04483CA-48AE-43BB-88F4-01AD9FBDCAB3}"/>
                </a:ext>
              </a:extLst>
            </p:cNvPr>
            <p:cNvSpPr/>
            <p:nvPr/>
          </p:nvSpPr>
          <p:spPr bwMode="auto">
            <a:xfrm>
              <a:off x="6339510" y="2356836"/>
              <a:ext cx="403593" cy="404523"/>
            </a:xfrm>
            <a:custGeom>
              <a:avLst/>
              <a:gdLst>
                <a:gd name="T0" fmla="*/ 15014 w 16058"/>
                <a:gd name="T1" fmla="*/ 14913 h 16095"/>
                <a:gd name="T2" fmla="*/ 14893 w 16058"/>
                <a:gd name="T3" fmla="*/ 15041 h 16095"/>
                <a:gd name="T4" fmla="*/ 14719 w 16058"/>
                <a:gd name="T5" fmla="*/ 15089 h 16095"/>
                <a:gd name="T6" fmla="*/ 1179 w 16058"/>
                <a:gd name="T7" fmla="*/ 15049 h 16095"/>
                <a:gd name="T8" fmla="*/ 1052 w 16058"/>
                <a:gd name="T9" fmla="*/ 14927 h 16095"/>
                <a:gd name="T10" fmla="*/ 1004 w 16058"/>
                <a:gd name="T11" fmla="*/ 14754 h 16095"/>
                <a:gd name="T12" fmla="*/ 1044 w 16058"/>
                <a:gd name="T13" fmla="*/ 2690 h 16095"/>
                <a:gd name="T14" fmla="*/ 1165 w 16058"/>
                <a:gd name="T15" fmla="*/ 2563 h 16095"/>
                <a:gd name="T16" fmla="*/ 1338 w 16058"/>
                <a:gd name="T17" fmla="*/ 2515 h 16095"/>
                <a:gd name="T18" fmla="*/ 3562 w 16058"/>
                <a:gd name="T19" fmla="*/ 3739 h 16095"/>
                <a:gd name="T20" fmla="*/ 3733 w 16058"/>
                <a:gd name="T21" fmla="*/ 3938 h 16095"/>
                <a:gd name="T22" fmla="*/ 3988 w 16058"/>
                <a:gd name="T23" fmla="*/ 4023 h 16095"/>
                <a:gd name="T24" fmla="*/ 4253 w 16058"/>
                <a:gd name="T25" fmla="*/ 3963 h 16095"/>
                <a:gd name="T26" fmla="*/ 4444 w 16058"/>
                <a:gd name="T27" fmla="*/ 3781 h 16095"/>
                <a:gd name="T28" fmla="*/ 4516 w 16058"/>
                <a:gd name="T29" fmla="*/ 3521 h 16095"/>
                <a:gd name="T30" fmla="*/ 7566 w 16058"/>
                <a:gd name="T31" fmla="*/ 3717 h 16095"/>
                <a:gd name="T32" fmla="*/ 7729 w 16058"/>
                <a:gd name="T33" fmla="*/ 3924 h 16095"/>
                <a:gd name="T34" fmla="*/ 7978 w 16058"/>
                <a:gd name="T35" fmla="*/ 4021 h 16095"/>
                <a:gd name="T36" fmla="*/ 8247 w 16058"/>
                <a:gd name="T37" fmla="*/ 3974 h 16095"/>
                <a:gd name="T38" fmla="*/ 8446 w 16058"/>
                <a:gd name="T39" fmla="*/ 3802 h 16095"/>
                <a:gd name="T40" fmla="*/ 8530 w 16058"/>
                <a:gd name="T41" fmla="*/ 3547 h 16095"/>
                <a:gd name="T42" fmla="*/ 11572 w 16058"/>
                <a:gd name="T43" fmla="*/ 3694 h 16095"/>
                <a:gd name="T44" fmla="*/ 11724 w 16058"/>
                <a:gd name="T45" fmla="*/ 3909 h 16095"/>
                <a:gd name="T46" fmla="*/ 11967 w 16058"/>
                <a:gd name="T47" fmla="*/ 4018 h 16095"/>
                <a:gd name="T48" fmla="*/ 12238 w 16058"/>
                <a:gd name="T49" fmla="*/ 3985 h 16095"/>
                <a:gd name="T50" fmla="*/ 12446 w 16058"/>
                <a:gd name="T51" fmla="*/ 3822 h 16095"/>
                <a:gd name="T52" fmla="*/ 12542 w 16058"/>
                <a:gd name="T53" fmla="*/ 3572 h 16095"/>
                <a:gd name="T54" fmla="*/ 14835 w 16058"/>
                <a:gd name="T55" fmla="*/ 2535 h 16095"/>
                <a:gd name="T56" fmla="*/ 14978 w 16058"/>
                <a:gd name="T57" fmla="*/ 2637 h 16095"/>
                <a:gd name="T58" fmla="*/ 15050 w 16058"/>
                <a:gd name="T59" fmla="*/ 2799 h 16095"/>
                <a:gd name="T60" fmla="*/ 12535 w 16058"/>
                <a:gd name="T61" fmla="*/ 401 h 16095"/>
                <a:gd name="T62" fmla="*/ 12415 w 16058"/>
                <a:gd name="T63" fmla="*/ 165 h 16095"/>
                <a:gd name="T64" fmla="*/ 12193 w 16058"/>
                <a:gd name="T65" fmla="*/ 22 h 16095"/>
                <a:gd name="T66" fmla="*/ 11918 w 16058"/>
                <a:gd name="T67" fmla="*/ 16 h 16095"/>
                <a:gd name="T68" fmla="*/ 11688 w 16058"/>
                <a:gd name="T69" fmla="*/ 147 h 16095"/>
                <a:gd name="T70" fmla="*/ 11558 w 16058"/>
                <a:gd name="T71" fmla="*/ 377 h 16095"/>
                <a:gd name="T72" fmla="*/ 8525 w 16058"/>
                <a:gd name="T73" fmla="*/ 427 h 16095"/>
                <a:gd name="T74" fmla="*/ 8416 w 16058"/>
                <a:gd name="T75" fmla="*/ 183 h 16095"/>
                <a:gd name="T76" fmla="*/ 8202 w 16058"/>
                <a:gd name="T77" fmla="*/ 30 h 16095"/>
                <a:gd name="T78" fmla="*/ 7928 w 16058"/>
                <a:gd name="T79" fmla="*/ 10 h 16095"/>
                <a:gd name="T80" fmla="*/ 7692 w 16058"/>
                <a:gd name="T81" fmla="*/ 131 h 16095"/>
                <a:gd name="T82" fmla="*/ 7549 w 16058"/>
                <a:gd name="T83" fmla="*/ 353 h 16095"/>
                <a:gd name="T84" fmla="*/ 4513 w 16058"/>
                <a:gd name="T85" fmla="*/ 452 h 16095"/>
                <a:gd name="T86" fmla="*/ 4417 w 16058"/>
                <a:gd name="T87" fmla="*/ 202 h 16095"/>
                <a:gd name="T88" fmla="*/ 4210 w 16058"/>
                <a:gd name="T89" fmla="*/ 39 h 16095"/>
                <a:gd name="T90" fmla="*/ 3938 w 16058"/>
                <a:gd name="T91" fmla="*/ 6 h 16095"/>
                <a:gd name="T92" fmla="*/ 3695 w 16058"/>
                <a:gd name="T93" fmla="*/ 115 h 16095"/>
                <a:gd name="T94" fmla="*/ 3543 w 16058"/>
                <a:gd name="T95" fmla="*/ 330 h 16095"/>
                <a:gd name="T96" fmla="*/ 1201 w 16058"/>
                <a:gd name="T97" fmla="*/ 1516 h 16095"/>
                <a:gd name="T98" fmla="*/ 538 w 16058"/>
                <a:gd name="T99" fmla="*/ 1775 h 16095"/>
                <a:gd name="T100" fmla="*/ 105 w 16058"/>
                <a:gd name="T101" fmla="*/ 2328 h 16095"/>
                <a:gd name="T102" fmla="*/ 7 w 16058"/>
                <a:gd name="T103" fmla="*/ 14891 h 16095"/>
                <a:gd name="T104" fmla="*/ 266 w 16058"/>
                <a:gd name="T105" fmla="*/ 15556 h 16095"/>
                <a:gd name="T106" fmla="*/ 817 w 16058"/>
                <a:gd name="T107" fmla="*/ 15989 h 16095"/>
                <a:gd name="T108" fmla="*/ 14857 w 16058"/>
                <a:gd name="T109" fmla="*/ 16088 h 16095"/>
                <a:gd name="T110" fmla="*/ 15520 w 16058"/>
                <a:gd name="T111" fmla="*/ 15828 h 16095"/>
                <a:gd name="T112" fmla="*/ 15953 w 16058"/>
                <a:gd name="T113" fmla="*/ 15276 h 16095"/>
                <a:gd name="T114" fmla="*/ 16051 w 16058"/>
                <a:gd name="T115" fmla="*/ 2713 h 16095"/>
                <a:gd name="T116" fmla="*/ 15792 w 16058"/>
                <a:gd name="T117" fmla="*/ 2047 h 16095"/>
                <a:gd name="T118" fmla="*/ 15241 w 16058"/>
                <a:gd name="T119" fmla="*/ 1615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58" h="16095">
                  <a:moveTo>
                    <a:pt x="15054" y="14754"/>
                  </a:moveTo>
                  <a:lnTo>
                    <a:pt x="15053" y="14771"/>
                  </a:lnTo>
                  <a:lnTo>
                    <a:pt x="15052" y="14788"/>
                  </a:lnTo>
                  <a:lnTo>
                    <a:pt x="15050" y="14804"/>
                  </a:lnTo>
                  <a:lnTo>
                    <a:pt x="15047" y="14821"/>
                  </a:lnTo>
                  <a:lnTo>
                    <a:pt x="15043" y="14838"/>
                  </a:lnTo>
                  <a:lnTo>
                    <a:pt x="15039" y="14854"/>
                  </a:lnTo>
                  <a:lnTo>
                    <a:pt x="15034" y="14869"/>
                  </a:lnTo>
                  <a:lnTo>
                    <a:pt x="15028" y="14884"/>
                  </a:lnTo>
                  <a:lnTo>
                    <a:pt x="15021" y="14899"/>
                  </a:lnTo>
                  <a:lnTo>
                    <a:pt x="15014" y="14913"/>
                  </a:lnTo>
                  <a:lnTo>
                    <a:pt x="15006" y="14927"/>
                  </a:lnTo>
                  <a:lnTo>
                    <a:pt x="14997" y="14941"/>
                  </a:lnTo>
                  <a:lnTo>
                    <a:pt x="14988" y="14954"/>
                  </a:lnTo>
                  <a:lnTo>
                    <a:pt x="14978" y="14967"/>
                  </a:lnTo>
                  <a:lnTo>
                    <a:pt x="14967" y="14979"/>
                  </a:lnTo>
                  <a:lnTo>
                    <a:pt x="14956" y="14990"/>
                  </a:lnTo>
                  <a:lnTo>
                    <a:pt x="14945" y="15002"/>
                  </a:lnTo>
                  <a:lnTo>
                    <a:pt x="14932" y="15013"/>
                  </a:lnTo>
                  <a:lnTo>
                    <a:pt x="14920" y="15023"/>
                  </a:lnTo>
                  <a:lnTo>
                    <a:pt x="14907" y="15032"/>
                  </a:lnTo>
                  <a:lnTo>
                    <a:pt x="14893" y="15041"/>
                  </a:lnTo>
                  <a:lnTo>
                    <a:pt x="14879" y="15049"/>
                  </a:lnTo>
                  <a:lnTo>
                    <a:pt x="14865" y="15056"/>
                  </a:lnTo>
                  <a:lnTo>
                    <a:pt x="14850" y="15063"/>
                  </a:lnTo>
                  <a:lnTo>
                    <a:pt x="14835" y="15069"/>
                  </a:lnTo>
                  <a:lnTo>
                    <a:pt x="14820" y="15074"/>
                  </a:lnTo>
                  <a:lnTo>
                    <a:pt x="14803" y="15079"/>
                  </a:lnTo>
                  <a:lnTo>
                    <a:pt x="14787" y="15082"/>
                  </a:lnTo>
                  <a:lnTo>
                    <a:pt x="14770" y="15085"/>
                  </a:lnTo>
                  <a:lnTo>
                    <a:pt x="14754" y="15087"/>
                  </a:lnTo>
                  <a:lnTo>
                    <a:pt x="14737" y="15089"/>
                  </a:lnTo>
                  <a:lnTo>
                    <a:pt x="14719" y="15089"/>
                  </a:lnTo>
                  <a:lnTo>
                    <a:pt x="1338" y="15089"/>
                  </a:lnTo>
                  <a:lnTo>
                    <a:pt x="1321" y="15089"/>
                  </a:lnTo>
                  <a:lnTo>
                    <a:pt x="1304" y="15087"/>
                  </a:lnTo>
                  <a:lnTo>
                    <a:pt x="1288" y="15085"/>
                  </a:lnTo>
                  <a:lnTo>
                    <a:pt x="1271" y="15082"/>
                  </a:lnTo>
                  <a:lnTo>
                    <a:pt x="1255" y="15079"/>
                  </a:lnTo>
                  <a:lnTo>
                    <a:pt x="1238" y="15074"/>
                  </a:lnTo>
                  <a:lnTo>
                    <a:pt x="1223" y="15069"/>
                  </a:lnTo>
                  <a:lnTo>
                    <a:pt x="1208" y="15063"/>
                  </a:lnTo>
                  <a:lnTo>
                    <a:pt x="1193" y="15056"/>
                  </a:lnTo>
                  <a:lnTo>
                    <a:pt x="1179" y="15049"/>
                  </a:lnTo>
                  <a:lnTo>
                    <a:pt x="1165" y="15041"/>
                  </a:lnTo>
                  <a:lnTo>
                    <a:pt x="1151" y="15032"/>
                  </a:lnTo>
                  <a:lnTo>
                    <a:pt x="1138" y="15023"/>
                  </a:lnTo>
                  <a:lnTo>
                    <a:pt x="1125" y="15013"/>
                  </a:lnTo>
                  <a:lnTo>
                    <a:pt x="1113" y="15002"/>
                  </a:lnTo>
                  <a:lnTo>
                    <a:pt x="1102" y="14990"/>
                  </a:lnTo>
                  <a:lnTo>
                    <a:pt x="1091" y="14979"/>
                  </a:lnTo>
                  <a:lnTo>
                    <a:pt x="1080" y="14967"/>
                  </a:lnTo>
                  <a:lnTo>
                    <a:pt x="1070" y="14954"/>
                  </a:lnTo>
                  <a:lnTo>
                    <a:pt x="1061" y="14941"/>
                  </a:lnTo>
                  <a:lnTo>
                    <a:pt x="1052" y="14927"/>
                  </a:lnTo>
                  <a:lnTo>
                    <a:pt x="1044" y="14913"/>
                  </a:lnTo>
                  <a:lnTo>
                    <a:pt x="1037" y="14899"/>
                  </a:lnTo>
                  <a:lnTo>
                    <a:pt x="1030" y="14884"/>
                  </a:lnTo>
                  <a:lnTo>
                    <a:pt x="1024" y="14869"/>
                  </a:lnTo>
                  <a:lnTo>
                    <a:pt x="1019" y="14854"/>
                  </a:lnTo>
                  <a:lnTo>
                    <a:pt x="1014" y="14838"/>
                  </a:lnTo>
                  <a:lnTo>
                    <a:pt x="1011" y="14821"/>
                  </a:lnTo>
                  <a:lnTo>
                    <a:pt x="1008" y="14804"/>
                  </a:lnTo>
                  <a:lnTo>
                    <a:pt x="1006" y="14788"/>
                  </a:lnTo>
                  <a:lnTo>
                    <a:pt x="1004" y="14771"/>
                  </a:lnTo>
                  <a:lnTo>
                    <a:pt x="1004" y="14754"/>
                  </a:lnTo>
                  <a:lnTo>
                    <a:pt x="1004" y="2850"/>
                  </a:lnTo>
                  <a:lnTo>
                    <a:pt x="1004" y="2833"/>
                  </a:lnTo>
                  <a:lnTo>
                    <a:pt x="1006" y="2816"/>
                  </a:lnTo>
                  <a:lnTo>
                    <a:pt x="1008" y="2799"/>
                  </a:lnTo>
                  <a:lnTo>
                    <a:pt x="1011" y="2782"/>
                  </a:lnTo>
                  <a:lnTo>
                    <a:pt x="1014" y="2766"/>
                  </a:lnTo>
                  <a:lnTo>
                    <a:pt x="1019" y="2750"/>
                  </a:lnTo>
                  <a:lnTo>
                    <a:pt x="1024" y="2735"/>
                  </a:lnTo>
                  <a:lnTo>
                    <a:pt x="1030" y="2720"/>
                  </a:lnTo>
                  <a:lnTo>
                    <a:pt x="1037" y="2705"/>
                  </a:lnTo>
                  <a:lnTo>
                    <a:pt x="1044" y="2690"/>
                  </a:lnTo>
                  <a:lnTo>
                    <a:pt x="1052" y="2676"/>
                  </a:lnTo>
                  <a:lnTo>
                    <a:pt x="1061" y="2663"/>
                  </a:lnTo>
                  <a:lnTo>
                    <a:pt x="1070" y="2650"/>
                  </a:lnTo>
                  <a:lnTo>
                    <a:pt x="1080" y="2637"/>
                  </a:lnTo>
                  <a:lnTo>
                    <a:pt x="1091" y="2624"/>
                  </a:lnTo>
                  <a:lnTo>
                    <a:pt x="1102" y="2613"/>
                  </a:lnTo>
                  <a:lnTo>
                    <a:pt x="1113" y="2602"/>
                  </a:lnTo>
                  <a:lnTo>
                    <a:pt x="1125" y="2591"/>
                  </a:lnTo>
                  <a:lnTo>
                    <a:pt x="1138" y="2581"/>
                  </a:lnTo>
                  <a:lnTo>
                    <a:pt x="1151" y="2572"/>
                  </a:lnTo>
                  <a:lnTo>
                    <a:pt x="1165" y="2563"/>
                  </a:lnTo>
                  <a:lnTo>
                    <a:pt x="1179" y="2555"/>
                  </a:lnTo>
                  <a:lnTo>
                    <a:pt x="1193" y="2548"/>
                  </a:lnTo>
                  <a:lnTo>
                    <a:pt x="1208" y="2541"/>
                  </a:lnTo>
                  <a:lnTo>
                    <a:pt x="1223" y="2535"/>
                  </a:lnTo>
                  <a:lnTo>
                    <a:pt x="1238" y="2530"/>
                  </a:lnTo>
                  <a:lnTo>
                    <a:pt x="1255" y="2525"/>
                  </a:lnTo>
                  <a:lnTo>
                    <a:pt x="1271" y="2522"/>
                  </a:lnTo>
                  <a:lnTo>
                    <a:pt x="1288" y="2519"/>
                  </a:lnTo>
                  <a:lnTo>
                    <a:pt x="1304" y="2517"/>
                  </a:lnTo>
                  <a:lnTo>
                    <a:pt x="1321" y="2515"/>
                  </a:lnTo>
                  <a:lnTo>
                    <a:pt x="1338" y="2515"/>
                  </a:lnTo>
                  <a:lnTo>
                    <a:pt x="3513" y="2515"/>
                  </a:lnTo>
                  <a:lnTo>
                    <a:pt x="3513" y="3521"/>
                  </a:lnTo>
                  <a:lnTo>
                    <a:pt x="3514" y="3547"/>
                  </a:lnTo>
                  <a:lnTo>
                    <a:pt x="3515" y="3572"/>
                  </a:lnTo>
                  <a:lnTo>
                    <a:pt x="3519" y="3597"/>
                  </a:lnTo>
                  <a:lnTo>
                    <a:pt x="3523" y="3622"/>
                  </a:lnTo>
                  <a:lnTo>
                    <a:pt x="3529" y="3647"/>
                  </a:lnTo>
                  <a:lnTo>
                    <a:pt x="3535" y="3671"/>
                  </a:lnTo>
                  <a:lnTo>
                    <a:pt x="3543" y="3694"/>
                  </a:lnTo>
                  <a:lnTo>
                    <a:pt x="3552" y="3717"/>
                  </a:lnTo>
                  <a:lnTo>
                    <a:pt x="3562" y="3739"/>
                  </a:lnTo>
                  <a:lnTo>
                    <a:pt x="3573" y="3760"/>
                  </a:lnTo>
                  <a:lnTo>
                    <a:pt x="3585" y="3781"/>
                  </a:lnTo>
                  <a:lnTo>
                    <a:pt x="3598" y="3802"/>
                  </a:lnTo>
                  <a:lnTo>
                    <a:pt x="3612" y="3822"/>
                  </a:lnTo>
                  <a:lnTo>
                    <a:pt x="3627" y="3841"/>
                  </a:lnTo>
                  <a:lnTo>
                    <a:pt x="3643" y="3859"/>
                  </a:lnTo>
                  <a:lnTo>
                    <a:pt x="3659" y="3877"/>
                  </a:lnTo>
                  <a:lnTo>
                    <a:pt x="3677" y="3893"/>
                  </a:lnTo>
                  <a:lnTo>
                    <a:pt x="3695" y="3909"/>
                  </a:lnTo>
                  <a:lnTo>
                    <a:pt x="3714" y="3924"/>
                  </a:lnTo>
                  <a:lnTo>
                    <a:pt x="3733" y="3938"/>
                  </a:lnTo>
                  <a:lnTo>
                    <a:pt x="3755" y="3951"/>
                  </a:lnTo>
                  <a:lnTo>
                    <a:pt x="3776" y="3963"/>
                  </a:lnTo>
                  <a:lnTo>
                    <a:pt x="3797" y="3974"/>
                  </a:lnTo>
                  <a:lnTo>
                    <a:pt x="3819" y="3985"/>
                  </a:lnTo>
                  <a:lnTo>
                    <a:pt x="3842" y="3994"/>
                  </a:lnTo>
                  <a:lnTo>
                    <a:pt x="3865" y="4002"/>
                  </a:lnTo>
                  <a:lnTo>
                    <a:pt x="3889" y="4008"/>
                  </a:lnTo>
                  <a:lnTo>
                    <a:pt x="3913" y="4014"/>
                  </a:lnTo>
                  <a:lnTo>
                    <a:pt x="3938" y="4018"/>
                  </a:lnTo>
                  <a:lnTo>
                    <a:pt x="3963" y="4021"/>
                  </a:lnTo>
                  <a:lnTo>
                    <a:pt x="3988" y="4023"/>
                  </a:lnTo>
                  <a:lnTo>
                    <a:pt x="4015" y="4024"/>
                  </a:lnTo>
                  <a:lnTo>
                    <a:pt x="4041" y="4023"/>
                  </a:lnTo>
                  <a:lnTo>
                    <a:pt x="4066" y="4021"/>
                  </a:lnTo>
                  <a:lnTo>
                    <a:pt x="4091" y="4018"/>
                  </a:lnTo>
                  <a:lnTo>
                    <a:pt x="4116" y="4014"/>
                  </a:lnTo>
                  <a:lnTo>
                    <a:pt x="4140" y="4008"/>
                  </a:lnTo>
                  <a:lnTo>
                    <a:pt x="4164" y="4002"/>
                  </a:lnTo>
                  <a:lnTo>
                    <a:pt x="4187" y="3994"/>
                  </a:lnTo>
                  <a:lnTo>
                    <a:pt x="4210" y="3985"/>
                  </a:lnTo>
                  <a:lnTo>
                    <a:pt x="4232" y="3974"/>
                  </a:lnTo>
                  <a:lnTo>
                    <a:pt x="4253" y="3963"/>
                  </a:lnTo>
                  <a:lnTo>
                    <a:pt x="4274" y="3951"/>
                  </a:lnTo>
                  <a:lnTo>
                    <a:pt x="4295" y="3938"/>
                  </a:lnTo>
                  <a:lnTo>
                    <a:pt x="4315" y="3924"/>
                  </a:lnTo>
                  <a:lnTo>
                    <a:pt x="4334" y="3909"/>
                  </a:lnTo>
                  <a:lnTo>
                    <a:pt x="4352" y="3893"/>
                  </a:lnTo>
                  <a:lnTo>
                    <a:pt x="4369" y="3877"/>
                  </a:lnTo>
                  <a:lnTo>
                    <a:pt x="4386" y="3859"/>
                  </a:lnTo>
                  <a:lnTo>
                    <a:pt x="4402" y="3841"/>
                  </a:lnTo>
                  <a:lnTo>
                    <a:pt x="4417" y="3822"/>
                  </a:lnTo>
                  <a:lnTo>
                    <a:pt x="4431" y="3802"/>
                  </a:lnTo>
                  <a:lnTo>
                    <a:pt x="4444" y="3781"/>
                  </a:lnTo>
                  <a:lnTo>
                    <a:pt x="4456" y="3760"/>
                  </a:lnTo>
                  <a:lnTo>
                    <a:pt x="4467" y="3739"/>
                  </a:lnTo>
                  <a:lnTo>
                    <a:pt x="4477" y="3717"/>
                  </a:lnTo>
                  <a:lnTo>
                    <a:pt x="4486" y="3694"/>
                  </a:lnTo>
                  <a:lnTo>
                    <a:pt x="4493" y="3671"/>
                  </a:lnTo>
                  <a:lnTo>
                    <a:pt x="4500" y="3647"/>
                  </a:lnTo>
                  <a:lnTo>
                    <a:pt x="4506" y="3622"/>
                  </a:lnTo>
                  <a:lnTo>
                    <a:pt x="4510" y="3597"/>
                  </a:lnTo>
                  <a:lnTo>
                    <a:pt x="4513" y="3572"/>
                  </a:lnTo>
                  <a:lnTo>
                    <a:pt x="4515" y="3547"/>
                  </a:lnTo>
                  <a:lnTo>
                    <a:pt x="4516" y="3521"/>
                  </a:lnTo>
                  <a:lnTo>
                    <a:pt x="4516" y="2515"/>
                  </a:lnTo>
                  <a:lnTo>
                    <a:pt x="7527" y="2515"/>
                  </a:lnTo>
                  <a:lnTo>
                    <a:pt x="7527" y="3521"/>
                  </a:lnTo>
                  <a:lnTo>
                    <a:pt x="7528" y="3547"/>
                  </a:lnTo>
                  <a:lnTo>
                    <a:pt x="7529" y="3572"/>
                  </a:lnTo>
                  <a:lnTo>
                    <a:pt x="7533" y="3597"/>
                  </a:lnTo>
                  <a:lnTo>
                    <a:pt x="7537" y="3622"/>
                  </a:lnTo>
                  <a:lnTo>
                    <a:pt x="7543" y="3647"/>
                  </a:lnTo>
                  <a:lnTo>
                    <a:pt x="7549" y="3671"/>
                  </a:lnTo>
                  <a:lnTo>
                    <a:pt x="7557" y="3694"/>
                  </a:lnTo>
                  <a:lnTo>
                    <a:pt x="7566" y="3717"/>
                  </a:lnTo>
                  <a:lnTo>
                    <a:pt x="7576" y="3739"/>
                  </a:lnTo>
                  <a:lnTo>
                    <a:pt x="7587" y="3760"/>
                  </a:lnTo>
                  <a:lnTo>
                    <a:pt x="7599" y="3781"/>
                  </a:lnTo>
                  <a:lnTo>
                    <a:pt x="7612" y="3802"/>
                  </a:lnTo>
                  <a:lnTo>
                    <a:pt x="7627" y="3822"/>
                  </a:lnTo>
                  <a:lnTo>
                    <a:pt x="7642" y="3841"/>
                  </a:lnTo>
                  <a:lnTo>
                    <a:pt x="7658" y="3859"/>
                  </a:lnTo>
                  <a:lnTo>
                    <a:pt x="7674" y="3877"/>
                  </a:lnTo>
                  <a:lnTo>
                    <a:pt x="7692" y="3893"/>
                  </a:lnTo>
                  <a:lnTo>
                    <a:pt x="7710" y="3909"/>
                  </a:lnTo>
                  <a:lnTo>
                    <a:pt x="7729" y="3924"/>
                  </a:lnTo>
                  <a:lnTo>
                    <a:pt x="7748" y="3938"/>
                  </a:lnTo>
                  <a:lnTo>
                    <a:pt x="7769" y="3951"/>
                  </a:lnTo>
                  <a:lnTo>
                    <a:pt x="7790" y="3963"/>
                  </a:lnTo>
                  <a:lnTo>
                    <a:pt x="7811" y="3974"/>
                  </a:lnTo>
                  <a:lnTo>
                    <a:pt x="7833" y="3985"/>
                  </a:lnTo>
                  <a:lnTo>
                    <a:pt x="7856" y="3994"/>
                  </a:lnTo>
                  <a:lnTo>
                    <a:pt x="7879" y="4002"/>
                  </a:lnTo>
                  <a:lnTo>
                    <a:pt x="7904" y="4008"/>
                  </a:lnTo>
                  <a:lnTo>
                    <a:pt x="7928" y="4014"/>
                  </a:lnTo>
                  <a:lnTo>
                    <a:pt x="7953" y="4018"/>
                  </a:lnTo>
                  <a:lnTo>
                    <a:pt x="7978" y="4021"/>
                  </a:lnTo>
                  <a:lnTo>
                    <a:pt x="8003" y="4023"/>
                  </a:lnTo>
                  <a:lnTo>
                    <a:pt x="8029" y="4024"/>
                  </a:lnTo>
                  <a:lnTo>
                    <a:pt x="8055" y="4023"/>
                  </a:lnTo>
                  <a:lnTo>
                    <a:pt x="8080" y="4021"/>
                  </a:lnTo>
                  <a:lnTo>
                    <a:pt x="8105" y="4018"/>
                  </a:lnTo>
                  <a:lnTo>
                    <a:pt x="8130" y="4014"/>
                  </a:lnTo>
                  <a:lnTo>
                    <a:pt x="8154" y="4008"/>
                  </a:lnTo>
                  <a:lnTo>
                    <a:pt x="8179" y="4002"/>
                  </a:lnTo>
                  <a:lnTo>
                    <a:pt x="8202" y="3994"/>
                  </a:lnTo>
                  <a:lnTo>
                    <a:pt x="8224" y="3985"/>
                  </a:lnTo>
                  <a:lnTo>
                    <a:pt x="8247" y="3974"/>
                  </a:lnTo>
                  <a:lnTo>
                    <a:pt x="8268" y="3963"/>
                  </a:lnTo>
                  <a:lnTo>
                    <a:pt x="8289" y="3951"/>
                  </a:lnTo>
                  <a:lnTo>
                    <a:pt x="8309" y="3938"/>
                  </a:lnTo>
                  <a:lnTo>
                    <a:pt x="8329" y="3924"/>
                  </a:lnTo>
                  <a:lnTo>
                    <a:pt x="8348" y="3909"/>
                  </a:lnTo>
                  <a:lnTo>
                    <a:pt x="8366" y="3893"/>
                  </a:lnTo>
                  <a:lnTo>
                    <a:pt x="8383" y="3877"/>
                  </a:lnTo>
                  <a:lnTo>
                    <a:pt x="8400" y="3859"/>
                  </a:lnTo>
                  <a:lnTo>
                    <a:pt x="8416" y="3841"/>
                  </a:lnTo>
                  <a:lnTo>
                    <a:pt x="8431" y="3822"/>
                  </a:lnTo>
                  <a:lnTo>
                    <a:pt x="8446" y="3802"/>
                  </a:lnTo>
                  <a:lnTo>
                    <a:pt x="8459" y="3781"/>
                  </a:lnTo>
                  <a:lnTo>
                    <a:pt x="8471" y="3760"/>
                  </a:lnTo>
                  <a:lnTo>
                    <a:pt x="8482" y="3739"/>
                  </a:lnTo>
                  <a:lnTo>
                    <a:pt x="8492" y="3717"/>
                  </a:lnTo>
                  <a:lnTo>
                    <a:pt x="8501" y="3694"/>
                  </a:lnTo>
                  <a:lnTo>
                    <a:pt x="8508" y="3671"/>
                  </a:lnTo>
                  <a:lnTo>
                    <a:pt x="8515" y="3647"/>
                  </a:lnTo>
                  <a:lnTo>
                    <a:pt x="8521" y="3622"/>
                  </a:lnTo>
                  <a:lnTo>
                    <a:pt x="8525" y="3597"/>
                  </a:lnTo>
                  <a:lnTo>
                    <a:pt x="8528" y="3572"/>
                  </a:lnTo>
                  <a:lnTo>
                    <a:pt x="8530" y="3547"/>
                  </a:lnTo>
                  <a:lnTo>
                    <a:pt x="8531" y="3521"/>
                  </a:lnTo>
                  <a:lnTo>
                    <a:pt x="8531" y="2515"/>
                  </a:lnTo>
                  <a:lnTo>
                    <a:pt x="11542" y="2515"/>
                  </a:lnTo>
                  <a:lnTo>
                    <a:pt x="11542" y="3521"/>
                  </a:lnTo>
                  <a:lnTo>
                    <a:pt x="11543" y="3547"/>
                  </a:lnTo>
                  <a:lnTo>
                    <a:pt x="11545" y="3572"/>
                  </a:lnTo>
                  <a:lnTo>
                    <a:pt x="11548" y="3597"/>
                  </a:lnTo>
                  <a:lnTo>
                    <a:pt x="11552" y="3622"/>
                  </a:lnTo>
                  <a:lnTo>
                    <a:pt x="11558" y="3647"/>
                  </a:lnTo>
                  <a:lnTo>
                    <a:pt x="11564" y="3671"/>
                  </a:lnTo>
                  <a:lnTo>
                    <a:pt x="11572" y="3694"/>
                  </a:lnTo>
                  <a:lnTo>
                    <a:pt x="11581" y="3717"/>
                  </a:lnTo>
                  <a:lnTo>
                    <a:pt x="11591" y="3739"/>
                  </a:lnTo>
                  <a:lnTo>
                    <a:pt x="11602" y="3760"/>
                  </a:lnTo>
                  <a:lnTo>
                    <a:pt x="11614" y="3781"/>
                  </a:lnTo>
                  <a:lnTo>
                    <a:pt x="11627" y="3802"/>
                  </a:lnTo>
                  <a:lnTo>
                    <a:pt x="11641" y="3822"/>
                  </a:lnTo>
                  <a:lnTo>
                    <a:pt x="11656" y="3841"/>
                  </a:lnTo>
                  <a:lnTo>
                    <a:pt x="11672" y="3859"/>
                  </a:lnTo>
                  <a:lnTo>
                    <a:pt x="11688" y="3877"/>
                  </a:lnTo>
                  <a:lnTo>
                    <a:pt x="11706" y="3893"/>
                  </a:lnTo>
                  <a:lnTo>
                    <a:pt x="11724" y="3909"/>
                  </a:lnTo>
                  <a:lnTo>
                    <a:pt x="11743" y="3924"/>
                  </a:lnTo>
                  <a:lnTo>
                    <a:pt x="11762" y="3938"/>
                  </a:lnTo>
                  <a:lnTo>
                    <a:pt x="11784" y="3951"/>
                  </a:lnTo>
                  <a:lnTo>
                    <a:pt x="11805" y="3963"/>
                  </a:lnTo>
                  <a:lnTo>
                    <a:pt x="11826" y="3974"/>
                  </a:lnTo>
                  <a:lnTo>
                    <a:pt x="11848" y="3985"/>
                  </a:lnTo>
                  <a:lnTo>
                    <a:pt x="11871" y="3994"/>
                  </a:lnTo>
                  <a:lnTo>
                    <a:pt x="11894" y="4002"/>
                  </a:lnTo>
                  <a:lnTo>
                    <a:pt x="11918" y="4008"/>
                  </a:lnTo>
                  <a:lnTo>
                    <a:pt x="11942" y="4014"/>
                  </a:lnTo>
                  <a:lnTo>
                    <a:pt x="11967" y="4018"/>
                  </a:lnTo>
                  <a:lnTo>
                    <a:pt x="11992" y="4021"/>
                  </a:lnTo>
                  <a:lnTo>
                    <a:pt x="12017" y="4023"/>
                  </a:lnTo>
                  <a:lnTo>
                    <a:pt x="12044" y="4024"/>
                  </a:lnTo>
                  <a:lnTo>
                    <a:pt x="12070" y="4023"/>
                  </a:lnTo>
                  <a:lnTo>
                    <a:pt x="12095" y="4021"/>
                  </a:lnTo>
                  <a:lnTo>
                    <a:pt x="12120" y="4018"/>
                  </a:lnTo>
                  <a:lnTo>
                    <a:pt x="12145" y="4014"/>
                  </a:lnTo>
                  <a:lnTo>
                    <a:pt x="12169" y="4008"/>
                  </a:lnTo>
                  <a:lnTo>
                    <a:pt x="12193" y="4002"/>
                  </a:lnTo>
                  <a:lnTo>
                    <a:pt x="12216" y="3994"/>
                  </a:lnTo>
                  <a:lnTo>
                    <a:pt x="12238" y="3985"/>
                  </a:lnTo>
                  <a:lnTo>
                    <a:pt x="12261" y="3974"/>
                  </a:lnTo>
                  <a:lnTo>
                    <a:pt x="12282" y="3963"/>
                  </a:lnTo>
                  <a:lnTo>
                    <a:pt x="12303" y="3951"/>
                  </a:lnTo>
                  <a:lnTo>
                    <a:pt x="12324" y="3938"/>
                  </a:lnTo>
                  <a:lnTo>
                    <a:pt x="12344" y="3924"/>
                  </a:lnTo>
                  <a:lnTo>
                    <a:pt x="12363" y="3909"/>
                  </a:lnTo>
                  <a:lnTo>
                    <a:pt x="12381" y="3893"/>
                  </a:lnTo>
                  <a:lnTo>
                    <a:pt x="12398" y="3877"/>
                  </a:lnTo>
                  <a:lnTo>
                    <a:pt x="12415" y="3859"/>
                  </a:lnTo>
                  <a:lnTo>
                    <a:pt x="12431" y="3841"/>
                  </a:lnTo>
                  <a:lnTo>
                    <a:pt x="12446" y="3822"/>
                  </a:lnTo>
                  <a:lnTo>
                    <a:pt x="12460" y="3802"/>
                  </a:lnTo>
                  <a:lnTo>
                    <a:pt x="12473" y="3781"/>
                  </a:lnTo>
                  <a:lnTo>
                    <a:pt x="12485" y="3760"/>
                  </a:lnTo>
                  <a:lnTo>
                    <a:pt x="12496" y="3739"/>
                  </a:lnTo>
                  <a:lnTo>
                    <a:pt x="12506" y="3717"/>
                  </a:lnTo>
                  <a:lnTo>
                    <a:pt x="12515" y="3694"/>
                  </a:lnTo>
                  <a:lnTo>
                    <a:pt x="12522" y="3671"/>
                  </a:lnTo>
                  <a:lnTo>
                    <a:pt x="12529" y="3647"/>
                  </a:lnTo>
                  <a:lnTo>
                    <a:pt x="12535" y="3622"/>
                  </a:lnTo>
                  <a:lnTo>
                    <a:pt x="12539" y="3597"/>
                  </a:lnTo>
                  <a:lnTo>
                    <a:pt x="12542" y="3572"/>
                  </a:lnTo>
                  <a:lnTo>
                    <a:pt x="12544" y="3547"/>
                  </a:lnTo>
                  <a:lnTo>
                    <a:pt x="12545" y="3521"/>
                  </a:lnTo>
                  <a:lnTo>
                    <a:pt x="12545" y="2515"/>
                  </a:lnTo>
                  <a:lnTo>
                    <a:pt x="14719" y="2515"/>
                  </a:lnTo>
                  <a:lnTo>
                    <a:pt x="14737" y="2515"/>
                  </a:lnTo>
                  <a:lnTo>
                    <a:pt x="14754" y="2517"/>
                  </a:lnTo>
                  <a:lnTo>
                    <a:pt x="14770" y="2519"/>
                  </a:lnTo>
                  <a:lnTo>
                    <a:pt x="14787" y="2522"/>
                  </a:lnTo>
                  <a:lnTo>
                    <a:pt x="14803" y="2525"/>
                  </a:lnTo>
                  <a:lnTo>
                    <a:pt x="14820" y="2530"/>
                  </a:lnTo>
                  <a:lnTo>
                    <a:pt x="14835" y="2535"/>
                  </a:lnTo>
                  <a:lnTo>
                    <a:pt x="14850" y="2541"/>
                  </a:lnTo>
                  <a:lnTo>
                    <a:pt x="14865" y="2548"/>
                  </a:lnTo>
                  <a:lnTo>
                    <a:pt x="14879" y="2555"/>
                  </a:lnTo>
                  <a:lnTo>
                    <a:pt x="14893" y="2563"/>
                  </a:lnTo>
                  <a:lnTo>
                    <a:pt x="14907" y="2572"/>
                  </a:lnTo>
                  <a:lnTo>
                    <a:pt x="14920" y="2581"/>
                  </a:lnTo>
                  <a:lnTo>
                    <a:pt x="14932" y="2591"/>
                  </a:lnTo>
                  <a:lnTo>
                    <a:pt x="14945" y="2602"/>
                  </a:lnTo>
                  <a:lnTo>
                    <a:pt x="14956" y="2613"/>
                  </a:lnTo>
                  <a:lnTo>
                    <a:pt x="14967" y="2624"/>
                  </a:lnTo>
                  <a:lnTo>
                    <a:pt x="14978" y="2637"/>
                  </a:lnTo>
                  <a:lnTo>
                    <a:pt x="14988" y="2650"/>
                  </a:lnTo>
                  <a:lnTo>
                    <a:pt x="14997" y="2663"/>
                  </a:lnTo>
                  <a:lnTo>
                    <a:pt x="15006" y="2676"/>
                  </a:lnTo>
                  <a:lnTo>
                    <a:pt x="15014" y="2690"/>
                  </a:lnTo>
                  <a:lnTo>
                    <a:pt x="15021" y="2705"/>
                  </a:lnTo>
                  <a:lnTo>
                    <a:pt x="15028" y="2720"/>
                  </a:lnTo>
                  <a:lnTo>
                    <a:pt x="15034" y="2735"/>
                  </a:lnTo>
                  <a:lnTo>
                    <a:pt x="15039" y="2750"/>
                  </a:lnTo>
                  <a:lnTo>
                    <a:pt x="15043" y="2766"/>
                  </a:lnTo>
                  <a:lnTo>
                    <a:pt x="15047" y="2782"/>
                  </a:lnTo>
                  <a:lnTo>
                    <a:pt x="15050" y="2799"/>
                  </a:lnTo>
                  <a:lnTo>
                    <a:pt x="15052" y="2816"/>
                  </a:lnTo>
                  <a:lnTo>
                    <a:pt x="15053" y="2833"/>
                  </a:lnTo>
                  <a:lnTo>
                    <a:pt x="15054" y="2850"/>
                  </a:lnTo>
                  <a:lnTo>
                    <a:pt x="15054" y="14754"/>
                  </a:lnTo>
                  <a:close/>
                  <a:moveTo>
                    <a:pt x="14719" y="1509"/>
                  </a:moveTo>
                  <a:lnTo>
                    <a:pt x="12545" y="1509"/>
                  </a:lnTo>
                  <a:lnTo>
                    <a:pt x="12545" y="503"/>
                  </a:lnTo>
                  <a:lnTo>
                    <a:pt x="12544" y="477"/>
                  </a:lnTo>
                  <a:lnTo>
                    <a:pt x="12542" y="452"/>
                  </a:lnTo>
                  <a:lnTo>
                    <a:pt x="12539" y="427"/>
                  </a:lnTo>
                  <a:lnTo>
                    <a:pt x="12535" y="401"/>
                  </a:lnTo>
                  <a:lnTo>
                    <a:pt x="12529" y="377"/>
                  </a:lnTo>
                  <a:lnTo>
                    <a:pt x="12522" y="353"/>
                  </a:lnTo>
                  <a:lnTo>
                    <a:pt x="12515" y="330"/>
                  </a:lnTo>
                  <a:lnTo>
                    <a:pt x="12506" y="307"/>
                  </a:lnTo>
                  <a:lnTo>
                    <a:pt x="12496" y="285"/>
                  </a:lnTo>
                  <a:lnTo>
                    <a:pt x="12485" y="264"/>
                  </a:lnTo>
                  <a:lnTo>
                    <a:pt x="12473" y="242"/>
                  </a:lnTo>
                  <a:lnTo>
                    <a:pt x="12460" y="221"/>
                  </a:lnTo>
                  <a:lnTo>
                    <a:pt x="12446" y="202"/>
                  </a:lnTo>
                  <a:lnTo>
                    <a:pt x="12431" y="183"/>
                  </a:lnTo>
                  <a:lnTo>
                    <a:pt x="12415" y="165"/>
                  </a:lnTo>
                  <a:lnTo>
                    <a:pt x="12398" y="147"/>
                  </a:lnTo>
                  <a:lnTo>
                    <a:pt x="12381" y="131"/>
                  </a:lnTo>
                  <a:lnTo>
                    <a:pt x="12363" y="115"/>
                  </a:lnTo>
                  <a:lnTo>
                    <a:pt x="12344" y="100"/>
                  </a:lnTo>
                  <a:lnTo>
                    <a:pt x="12324" y="86"/>
                  </a:lnTo>
                  <a:lnTo>
                    <a:pt x="12303" y="72"/>
                  </a:lnTo>
                  <a:lnTo>
                    <a:pt x="12282" y="60"/>
                  </a:lnTo>
                  <a:lnTo>
                    <a:pt x="12261" y="49"/>
                  </a:lnTo>
                  <a:lnTo>
                    <a:pt x="12238" y="39"/>
                  </a:lnTo>
                  <a:lnTo>
                    <a:pt x="12216" y="30"/>
                  </a:lnTo>
                  <a:lnTo>
                    <a:pt x="12193" y="22"/>
                  </a:lnTo>
                  <a:lnTo>
                    <a:pt x="12169" y="16"/>
                  </a:lnTo>
                  <a:lnTo>
                    <a:pt x="12145" y="10"/>
                  </a:lnTo>
                  <a:lnTo>
                    <a:pt x="12120" y="6"/>
                  </a:lnTo>
                  <a:lnTo>
                    <a:pt x="12095" y="3"/>
                  </a:lnTo>
                  <a:lnTo>
                    <a:pt x="12070" y="1"/>
                  </a:lnTo>
                  <a:lnTo>
                    <a:pt x="12044" y="0"/>
                  </a:lnTo>
                  <a:lnTo>
                    <a:pt x="12017" y="1"/>
                  </a:lnTo>
                  <a:lnTo>
                    <a:pt x="11992" y="3"/>
                  </a:lnTo>
                  <a:lnTo>
                    <a:pt x="11967" y="6"/>
                  </a:lnTo>
                  <a:lnTo>
                    <a:pt x="11942" y="10"/>
                  </a:lnTo>
                  <a:lnTo>
                    <a:pt x="11918" y="16"/>
                  </a:lnTo>
                  <a:lnTo>
                    <a:pt x="11894" y="22"/>
                  </a:lnTo>
                  <a:lnTo>
                    <a:pt x="11871" y="30"/>
                  </a:lnTo>
                  <a:lnTo>
                    <a:pt x="11848" y="39"/>
                  </a:lnTo>
                  <a:lnTo>
                    <a:pt x="11826" y="49"/>
                  </a:lnTo>
                  <a:lnTo>
                    <a:pt x="11805" y="60"/>
                  </a:lnTo>
                  <a:lnTo>
                    <a:pt x="11784" y="72"/>
                  </a:lnTo>
                  <a:lnTo>
                    <a:pt x="11762" y="86"/>
                  </a:lnTo>
                  <a:lnTo>
                    <a:pt x="11743" y="100"/>
                  </a:lnTo>
                  <a:lnTo>
                    <a:pt x="11724" y="115"/>
                  </a:lnTo>
                  <a:lnTo>
                    <a:pt x="11706" y="131"/>
                  </a:lnTo>
                  <a:lnTo>
                    <a:pt x="11688" y="147"/>
                  </a:lnTo>
                  <a:lnTo>
                    <a:pt x="11672" y="165"/>
                  </a:lnTo>
                  <a:lnTo>
                    <a:pt x="11656" y="183"/>
                  </a:lnTo>
                  <a:lnTo>
                    <a:pt x="11641" y="202"/>
                  </a:lnTo>
                  <a:lnTo>
                    <a:pt x="11627" y="221"/>
                  </a:lnTo>
                  <a:lnTo>
                    <a:pt x="11614" y="242"/>
                  </a:lnTo>
                  <a:lnTo>
                    <a:pt x="11602" y="264"/>
                  </a:lnTo>
                  <a:lnTo>
                    <a:pt x="11591" y="285"/>
                  </a:lnTo>
                  <a:lnTo>
                    <a:pt x="11581" y="307"/>
                  </a:lnTo>
                  <a:lnTo>
                    <a:pt x="11572" y="330"/>
                  </a:lnTo>
                  <a:lnTo>
                    <a:pt x="11564" y="353"/>
                  </a:lnTo>
                  <a:lnTo>
                    <a:pt x="11558" y="377"/>
                  </a:lnTo>
                  <a:lnTo>
                    <a:pt x="11552" y="401"/>
                  </a:lnTo>
                  <a:lnTo>
                    <a:pt x="11548" y="427"/>
                  </a:lnTo>
                  <a:lnTo>
                    <a:pt x="11545" y="452"/>
                  </a:lnTo>
                  <a:lnTo>
                    <a:pt x="11543" y="477"/>
                  </a:lnTo>
                  <a:lnTo>
                    <a:pt x="11542" y="503"/>
                  </a:lnTo>
                  <a:lnTo>
                    <a:pt x="11542" y="1509"/>
                  </a:lnTo>
                  <a:lnTo>
                    <a:pt x="8531" y="1509"/>
                  </a:lnTo>
                  <a:lnTo>
                    <a:pt x="8531" y="503"/>
                  </a:lnTo>
                  <a:lnTo>
                    <a:pt x="8530" y="477"/>
                  </a:lnTo>
                  <a:lnTo>
                    <a:pt x="8528" y="452"/>
                  </a:lnTo>
                  <a:lnTo>
                    <a:pt x="8525" y="427"/>
                  </a:lnTo>
                  <a:lnTo>
                    <a:pt x="8521" y="401"/>
                  </a:lnTo>
                  <a:lnTo>
                    <a:pt x="8515" y="377"/>
                  </a:lnTo>
                  <a:lnTo>
                    <a:pt x="8508" y="353"/>
                  </a:lnTo>
                  <a:lnTo>
                    <a:pt x="8501" y="330"/>
                  </a:lnTo>
                  <a:lnTo>
                    <a:pt x="8492" y="307"/>
                  </a:lnTo>
                  <a:lnTo>
                    <a:pt x="8482" y="285"/>
                  </a:lnTo>
                  <a:lnTo>
                    <a:pt x="8471" y="264"/>
                  </a:lnTo>
                  <a:lnTo>
                    <a:pt x="8459" y="242"/>
                  </a:lnTo>
                  <a:lnTo>
                    <a:pt x="8446" y="221"/>
                  </a:lnTo>
                  <a:lnTo>
                    <a:pt x="8431" y="202"/>
                  </a:lnTo>
                  <a:lnTo>
                    <a:pt x="8416" y="183"/>
                  </a:lnTo>
                  <a:lnTo>
                    <a:pt x="8400" y="165"/>
                  </a:lnTo>
                  <a:lnTo>
                    <a:pt x="8383" y="147"/>
                  </a:lnTo>
                  <a:lnTo>
                    <a:pt x="8366" y="131"/>
                  </a:lnTo>
                  <a:lnTo>
                    <a:pt x="8348" y="115"/>
                  </a:lnTo>
                  <a:lnTo>
                    <a:pt x="8329" y="100"/>
                  </a:lnTo>
                  <a:lnTo>
                    <a:pt x="8309" y="86"/>
                  </a:lnTo>
                  <a:lnTo>
                    <a:pt x="8289" y="72"/>
                  </a:lnTo>
                  <a:lnTo>
                    <a:pt x="8268" y="60"/>
                  </a:lnTo>
                  <a:lnTo>
                    <a:pt x="8247" y="49"/>
                  </a:lnTo>
                  <a:lnTo>
                    <a:pt x="8224" y="39"/>
                  </a:lnTo>
                  <a:lnTo>
                    <a:pt x="8202" y="30"/>
                  </a:lnTo>
                  <a:lnTo>
                    <a:pt x="8179" y="22"/>
                  </a:lnTo>
                  <a:lnTo>
                    <a:pt x="8154" y="16"/>
                  </a:lnTo>
                  <a:lnTo>
                    <a:pt x="8130" y="10"/>
                  </a:lnTo>
                  <a:lnTo>
                    <a:pt x="8105" y="6"/>
                  </a:lnTo>
                  <a:lnTo>
                    <a:pt x="8080" y="3"/>
                  </a:lnTo>
                  <a:lnTo>
                    <a:pt x="8055" y="1"/>
                  </a:lnTo>
                  <a:lnTo>
                    <a:pt x="8029" y="0"/>
                  </a:lnTo>
                  <a:lnTo>
                    <a:pt x="8003" y="1"/>
                  </a:lnTo>
                  <a:lnTo>
                    <a:pt x="7978" y="3"/>
                  </a:lnTo>
                  <a:lnTo>
                    <a:pt x="7953" y="6"/>
                  </a:lnTo>
                  <a:lnTo>
                    <a:pt x="7928" y="10"/>
                  </a:lnTo>
                  <a:lnTo>
                    <a:pt x="7904" y="16"/>
                  </a:lnTo>
                  <a:lnTo>
                    <a:pt x="7879" y="22"/>
                  </a:lnTo>
                  <a:lnTo>
                    <a:pt x="7856" y="30"/>
                  </a:lnTo>
                  <a:lnTo>
                    <a:pt x="7833" y="39"/>
                  </a:lnTo>
                  <a:lnTo>
                    <a:pt x="7811" y="49"/>
                  </a:lnTo>
                  <a:lnTo>
                    <a:pt x="7790" y="60"/>
                  </a:lnTo>
                  <a:lnTo>
                    <a:pt x="7769" y="72"/>
                  </a:lnTo>
                  <a:lnTo>
                    <a:pt x="7748" y="86"/>
                  </a:lnTo>
                  <a:lnTo>
                    <a:pt x="7729" y="100"/>
                  </a:lnTo>
                  <a:lnTo>
                    <a:pt x="7710" y="115"/>
                  </a:lnTo>
                  <a:lnTo>
                    <a:pt x="7692" y="131"/>
                  </a:lnTo>
                  <a:lnTo>
                    <a:pt x="7674" y="147"/>
                  </a:lnTo>
                  <a:lnTo>
                    <a:pt x="7658" y="165"/>
                  </a:lnTo>
                  <a:lnTo>
                    <a:pt x="7642" y="183"/>
                  </a:lnTo>
                  <a:lnTo>
                    <a:pt x="7627" y="202"/>
                  </a:lnTo>
                  <a:lnTo>
                    <a:pt x="7612" y="221"/>
                  </a:lnTo>
                  <a:lnTo>
                    <a:pt x="7599" y="242"/>
                  </a:lnTo>
                  <a:lnTo>
                    <a:pt x="7587" y="264"/>
                  </a:lnTo>
                  <a:lnTo>
                    <a:pt x="7576" y="285"/>
                  </a:lnTo>
                  <a:lnTo>
                    <a:pt x="7566" y="307"/>
                  </a:lnTo>
                  <a:lnTo>
                    <a:pt x="7557" y="330"/>
                  </a:lnTo>
                  <a:lnTo>
                    <a:pt x="7549" y="353"/>
                  </a:lnTo>
                  <a:lnTo>
                    <a:pt x="7543" y="377"/>
                  </a:lnTo>
                  <a:lnTo>
                    <a:pt x="7537" y="401"/>
                  </a:lnTo>
                  <a:lnTo>
                    <a:pt x="7533" y="427"/>
                  </a:lnTo>
                  <a:lnTo>
                    <a:pt x="7529" y="452"/>
                  </a:lnTo>
                  <a:lnTo>
                    <a:pt x="7528" y="477"/>
                  </a:lnTo>
                  <a:lnTo>
                    <a:pt x="7527" y="503"/>
                  </a:lnTo>
                  <a:lnTo>
                    <a:pt x="7527" y="1509"/>
                  </a:lnTo>
                  <a:lnTo>
                    <a:pt x="4516" y="1509"/>
                  </a:lnTo>
                  <a:lnTo>
                    <a:pt x="4516" y="503"/>
                  </a:lnTo>
                  <a:lnTo>
                    <a:pt x="4515" y="477"/>
                  </a:lnTo>
                  <a:lnTo>
                    <a:pt x="4513" y="452"/>
                  </a:lnTo>
                  <a:lnTo>
                    <a:pt x="4510" y="427"/>
                  </a:lnTo>
                  <a:lnTo>
                    <a:pt x="4506" y="401"/>
                  </a:lnTo>
                  <a:lnTo>
                    <a:pt x="4500" y="377"/>
                  </a:lnTo>
                  <a:lnTo>
                    <a:pt x="4493" y="353"/>
                  </a:lnTo>
                  <a:lnTo>
                    <a:pt x="4486" y="330"/>
                  </a:lnTo>
                  <a:lnTo>
                    <a:pt x="4477" y="307"/>
                  </a:lnTo>
                  <a:lnTo>
                    <a:pt x="4467" y="285"/>
                  </a:lnTo>
                  <a:lnTo>
                    <a:pt x="4456" y="264"/>
                  </a:lnTo>
                  <a:lnTo>
                    <a:pt x="4444" y="242"/>
                  </a:lnTo>
                  <a:lnTo>
                    <a:pt x="4431" y="221"/>
                  </a:lnTo>
                  <a:lnTo>
                    <a:pt x="4417" y="202"/>
                  </a:lnTo>
                  <a:lnTo>
                    <a:pt x="4402" y="183"/>
                  </a:lnTo>
                  <a:lnTo>
                    <a:pt x="4386" y="165"/>
                  </a:lnTo>
                  <a:lnTo>
                    <a:pt x="4369" y="147"/>
                  </a:lnTo>
                  <a:lnTo>
                    <a:pt x="4352" y="131"/>
                  </a:lnTo>
                  <a:lnTo>
                    <a:pt x="4334" y="115"/>
                  </a:lnTo>
                  <a:lnTo>
                    <a:pt x="4315" y="100"/>
                  </a:lnTo>
                  <a:lnTo>
                    <a:pt x="4295" y="86"/>
                  </a:lnTo>
                  <a:lnTo>
                    <a:pt x="4274" y="72"/>
                  </a:lnTo>
                  <a:lnTo>
                    <a:pt x="4253" y="60"/>
                  </a:lnTo>
                  <a:lnTo>
                    <a:pt x="4232" y="49"/>
                  </a:lnTo>
                  <a:lnTo>
                    <a:pt x="4210" y="39"/>
                  </a:lnTo>
                  <a:lnTo>
                    <a:pt x="4187" y="30"/>
                  </a:lnTo>
                  <a:lnTo>
                    <a:pt x="4164" y="22"/>
                  </a:lnTo>
                  <a:lnTo>
                    <a:pt x="4140" y="16"/>
                  </a:lnTo>
                  <a:lnTo>
                    <a:pt x="4116" y="10"/>
                  </a:lnTo>
                  <a:lnTo>
                    <a:pt x="4091" y="6"/>
                  </a:lnTo>
                  <a:lnTo>
                    <a:pt x="4066" y="3"/>
                  </a:lnTo>
                  <a:lnTo>
                    <a:pt x="4041" y="1"/>
                  </a:lnTo>
                  <a:lnTo>
                    <a:pt x="4015" y="0"/>
                  </a:lnTo>
                  <a:lnTo>
                    <a:pt x="3988" y="1"/>
                  </a:lnTo>
                  <a:lnTo>
                    <a:pt x="3963" y="3"/>
                  </a:lnTo>
                  <a:lnTo>
                    <a:pt x="3938" y="6"/>
                  </a:lnTo>
                  <a:lnTo>
                    <a:pt x="3913" y="10"/>
                  </a:lnTo>
                  <a:lnTo>
                    <a:pt x="3889" y="16"/>
                  </a:lnTo>
                  <a:lnTo>
                    <a:pt x="3865" y="22"/>
                  </a:lnTo>
                  <a:lnTo>
                    <a:pt x="3842" y="30"/>
                  </a:lnTo>
                  <a:lnTo>
                    <a:pt x="3819" y="39"/>
                  </a:lnTo>
                  <a:lnTo>
                    <a:pt x="3797" y="49"/>
                  </a:lnTo>
                  <a:lnTo>
                    <a:pt x="3776" y="60"/>
                  </a:lnTo>
                  <a:lnTo>
                    <a:pt x="3755" y="72"/>
                  </a:lnTo>
                  <a:lnTo>
                    <a:pt x="3733" y="86"/>
                  </a:lnTo>
                  <a:lnTo>
                    <a:pt x="3714" y="100"/>
                  </a:lnTo>
                  <a:lnTo>
                    <a:pt x="3695" y="115"/>
                  </a:lnTo>
                  <a:lnTo>
                    <a:pt x="3677" y="131"/>
                  </a:lnTo>
                  <a:lnTo>
                    <a:pt x="3659" y="147"/>
                  </a:lnTo>
                  <a:lnTo>
                    <a:pt x="3643" y="165"/>
                  </a:lnTo>
                  <a:lnTo>
                    <a:pt x="3627" y="183"/>
                  </a:lnTo>
                  <a:lnTo>
                    <a:pt x="3612" y="202"/>
                  </a:lnTo>
                  <a:lnTo>
                    <a:pt x="3598" y="221"/>
                  </a:lnTo>
                  <a:lnTo>
                    <a:pt x="3585" y="242"/>
                  </a:lnTo>
                  <a:lnTo>
                    <a:pt x="3573" y="264"/>
                  </a:lnTo>
                  <a:lnTo>
                    <a:pt x="3562" y="285"/>
                  </a:lnTo>
                  <a:lnTo>
                    <a:pt x="3552" y="307"/>
                  </a:lnTo>
                  <a:lnTo>
                    <a:pt x="3543" y="330"/>
                  </a:lnTo>
                  <a:lnTo>
                    <a:pt x="3535" y="353"/>
                  </a:lnTo>
                  <a:lnTo>
                    <a:pt x="3529" y="377"/>
                  </a:lnTo>
                  <a:lnTo>
                    <a:pt x="3523" y="401"/>
                  </a:lnTo>
                  <a:lnTo>
                    <a:pt x="3519" y="427"/>
                  </a:lnTo>
                  <a:lnTo>
                    <a:pt x="3515" y="452"/>
                  </a:lnTo>
                  <a:lnTo>
                    <a:pt x="3514" y="477"/>
                  </a:lnTo>
                  <a:lnTo>
                    <a:pt x="3513" y="503"/>
                  </a:lnTo>
                  <a:lnTo>
                    <a:pt x="3513" y="1509"/>
                  </a:lnTo>
                  <a:lnTo>
                    <a:pt x="1338" y="1509"/>
                  </a:lnTo>
                  <a:lnTo>
                    <a:pt x="1270" y="1511"/>
                  </a:lnTo>
                  <a:lnTo>
                    <a:pt x="1201" y="1516"/>
                  </a:lnTo>
                  <a:lnTo>
                    <a:pt x="1134" y="1524"/>
                  </a:lnTo>
                  <a:lnTo>
                    <a:pt x="1069" y="1536"/>
                  </a:lnTo>
                  <a:lnTo>
                    <a:pt x="1004" y="1551"/>
                  </a:lnTo>
                  <a:lnTo>
                    <a:pt x="940" y="1569"/>
                  </a:lnTo>
                  <a:lnTo>
                    <a:pt x="878" y="1590"/>
                  </a:lnTo>
                  <a:lnTo>
                    <a:pt x="817" y="1615"/>
                  </a:lnTo>
                  <a:lnTo>
                    <a:pt x="758" y="1641"/>
                  </a:lnTo>
                  <a:lnTo>
                    <a:pt x="701" y="1671"/>
                  </a:lnTo>
                  <a:lnTo>
                    <a:pt x="644" y="1703"/>
                  </a:lnTo>
                  <a:lnTo>
                    <a:pt x="590" y="1738"/>
                  </a:lnTo>
                  <a:lnTo>
                    <a:pt x="538" y="1775"/>
                  </a:lnTo>
                  <a:lnTo>
                    <a:pt x="487" y="1815"/>
                  </a:lnTo>
                  <a:lnTo>
                    <a:pt x="439" y="1857"/>
                  </a:lnTo>
                  <a:lnTo>
                    <a:pt x="391" y="1901"/>
                  </a:lnTo>
                  <a:lnTo>
                    <a:pt x="347" y="1949"/>
                  </a:lnTo>
                  <a:lnTo>
                    <a:pt x="305" y="1997"/>
                  </a:lnTo>
                  <a:lnTo>
                    <a:pt x="266" y="2047"/>
                  </a:lnTo>
                  <a:lnTo>
                    <a:pt x="229" y="2100"/>
                  </a:lnTo>
                  <a:lnTo>
                    <a:pt x="194" y="2155"/>
                  </a:lnTo>
                  <a:lnTo>
                    <a:pt x="162" y="2210"/>
                  </a:lnTo>
                  <a:lnTo>
                    <a:pt x="131" y="2268"/>
                  </a:lnTo>
                  <a:lnTo>
                    <a:pt x="105" y="2328"/>
                  </a:lnTo>
                  <a:lnTo>
                    <a:pt x="81" y="2389"/>
                  </a:lnTo>
                  <a:lnTo>
                    <a:pt x="60" y="2450"/>
                  </a:lnTo>
                  <a:lnTo>
                    <a:pt x="42" y="2515"/>
                  </a:lnTo>
                  <a:lnTo>
                    <a:pt x="27" y="2579"/>
                  </a:lnTo>
                  <a:lnTo>
                    <a:pt x="15" y="2646"/>
                  </a:lnTo>
                  <a:lnTo>
                    <a:pt x="7" y="2713"/>
                  </a:lnTo>
                  <a:lnTo>
                    <a:pt x="2" y="2780"/>
                  </a:lnTo>
                  <a:lnTo>
                    <a:pt x="0" y="2850"/>
                  </a:lnTo>
                  <a:lnTo>
                    <a:pt x="0" y="14754"/>
                  </a:lnTo>
                  <a:lnTo>
                    <a:pt x="2" y="14822"/>
                  </a:lnTo>
                  <a:lnTo>
                    <a:pt x="7" y="14891"/>
                  </a:lnTo>
                  <a:lnTo>
                    <a:pt x="15" y="14958"/>
                  </a:lnTo>
                  <a:lnTo>
                    <a:pt x="27" y="15024"/>
                  </a:lnTo>
                  <a:lnTo>
                    <a:pt x="42" y="15089"/>
                  </a:lnTo>
                  <a:lnTo>
                    <a:pt x="60" y="15152"/>
                  </a:lnTo>
                  <a:lnTo>
                    <a:pt x="81" y="15215"/>
                  </a:lnTo>
                  <a:lnTo>
                    <a:pt x="105" y="15276"/>
                  </a:lnTo>
                  <a:lnTo>
                    <a:pt x="131" y="15336"/>
                  </a:lnTo>
                  <a:lnTo>
                    <a:pt x="162" y="15393"/>
                  </a:lnTo>
                  <a:lnTo>
                    <a:pt x="194" y="15449"/>
                  </a:lnTo>
                  <a:lnTo>
                    <a:pt x="229" y="15504"/>
                  </a:lnTo>
                  <a:lnTo>
                    <a:pt x="266" y="15556"/>
                  </a:lnTo>
                  <a:lnTo>
                    <a:pt x="305" y="15607"/>
                  </a:lnTo>
                  <a:lnTo>
                    <a:pt x="347" y="15655"/>
                  </a:lnTo>
                  <a:lnTo>
                    <a:pt x="391" y="15702"/>
                  </a:lnTo>
                  <a:lnTo>
                    <a:pt x="439" y="15747"/>
                  </a:lnTo>
                  <a:lnTo>
                    <a:pt x="487" y="15789"/>
                  </a:lnTo>
                  <a:lnTo>
                    <a:pt x="538" y="15828"/>
                  </a:lnTo>
                  <a:lnTo>
                    <a:pt x="590" y="15866"/>
                  </a:lnTo>
                  <a:lnTo>
                    <a:pt x="644" y="15901"/>
                  </a:lnTo>
                  <a:lnTo>
                    <a:pt x="701" y="15933"/>
                  </a:lnTo>
                  <a:lnTo>
                    <a:pt x="758" y="15963"/>
                  </a:lnTo>
                  <a:lnTo>
                    <a:pt x="817" y="15989"/>
                  </a:lnTo>
                  <a:lnTo>
                    <a:pt x="878" y="16014"/>
                  </a:lnTo>
                  <a:lnTo>
                    <a:pt x="940" y="16035"/>
                  </a:lnTo>
                  <a:lnTo>
                    <a:pt x="1004" y="16053"/>
                  </a:lnTo>
                  <a:lnTo>
                    <a:pt x="1069" y="16068"/>
                  </a:lnTo>
                  <a:lnTo>
                    <a:pt x="1134" y="16080"/>
                  </a:lnTo>
                  <a:lnTo>
                    <a:pt x="1201" y="16088"/>
                  </a:lnTo>
                  <a:lnTo>
                    <a:pt x="1270" y="16093"/>
                  </a:lnTo>
                  <a:lnTo>
                    <a:pt x="1338" y="16095"/>
                  </a:lnTo>
                  <a:lnTo>
                    <a:pt x="14719" y="16095"/>
                  </a:lnTo>
                  <a:lnTo>
                    <a:pt x="14788" y="16093"/>
                  </a:lnTo>
                  <a:lnTo>
                    <a:pt x="14857" y="16088"/>
                  </a:lnTo>
                  <a:lnTo>
                    <a:pt x="14924" y="16080"/>
                  </a:lnTo>
                  <a:lnTo>
                    <a:pt x="14989" y="16068"/>
                  </a:lnTo>
                  <a:lnTo>
                    <a:pt x="15054" y="16053"/>
                  </a:lnTo>
                  <a:lnTo>
                    <a:pt x="15118" y="16035"/>
                  </a:lnTo>
                  <a:lnTo>
                    <a:pt x="15180" y="16014"/>
                  </a:lnTo>
                  <a:lnTo>
                    <a:pt x="15241" y="15989"/>
                  </a:lnTo>
                  <a:lnTo>
                    <a:pt x="15300" y="15963"/>
                  </a:lnTo>
                  <a:lnTo>
                    <a:pt x="15357" y="15933"/>
                  </a:lnTo>
                  <a:lnTo>
                    <a:pt x="15414" y="15901"/>
                  </a:lnTo>
                  <a:lnTo>
                    <a:pt x="15468" y="15866"/>
                  </a:lnTo>
                  <a:lnTo>
                    <a:pt x="15520" y="15828"/>
                  </a:lnTo>
                  <a:lnTo>
                    <a:pt x="15571" y="15789"/>
                  </a:lnTo>
                  <a:lnTo>
                    <a:pt x="15619" y="15747"/>
                  </a:lnTo>
                  <a:lnTo>
                    <a:pt x="15666" y="15702"/>
                  </a:lnTo>
                  <a:lnTo>
                    <a:pt x="15711" y="15655"/>
                  </a:lnTo>
                  <a:lnTo>
                    <a:pt x="15752" y="15607"/>
                  </a:lnTo>
                  <a:lnTo>
                    <a:pt x="15792" y="15556"/>
                  </a:lnTo>
                  <a:lnTo>
                    <a:pt x="15829" y="15504"/>
                  </a:lnTo>
                  <a:lnTo>
                    <a:pt x="15864" y="15449"/>
                  </a:lnTo>
                  <a:lnTo>
                    <a:pt x="15896" y="15393"/>
                  </a:lnTo>
                  <a:lnTo>
                    <a:pt x="15926" y="15336"/>
                  </a:lnTo>
                  <a:lnTo>
                    <a:pt x="15953" y="15276"/>
                  </a:lnTo>
                  <a:lnTo>
                    <a:pt x="15977" y="15215"/>
                  </a:lnTo>
                  <a:lnTo>
                    <a:pt x="15998" y="15152"/>
                  </a:lnTo>
                  <a:lnTo>
                    <a:pt x="16016" y="15089"/>
                  </a:lnTo>
                  <a:lnTo>
                    <a:pt x="16031" y="15024"/>
                  </a:lnTo>
                  <a:lnTo>
                    <a:pt x="16043" y="14958"/>
                  </a:lnTo>
                  <a:lnTo>
                    <a:pt x="16051" y="14891"/>
                  </a:lnTo>
                  <a:lnTo>
                    <a:pt x="16056" y="14822"/>
                  </a:lnTo>
                  <a:lnTo>
                    <a:pt x="16058" y="14754"/>
                  </a:lnTo>
                  <a:lnTo>
                    <a:pt x="16058" y="2850"/>
                  </a:lnTo>
                  <a:lnTo>
                    <a:pt x="16056" y="2780"/>
                  </a:lnTo>
                  <a:lnTo>
                    <a:pt x="16051" y="2713"/>
                  </a:lnTo>
                  <a:lnTo>
                    <a:pt x="16043" y="2646"/>
                  </a:lnTo>
                  <a:lnTo>
                    <a:pt x="16031" y="2579"/>
                  </a:lnTo>
                  <a:lnTo>
                    <a:pt x="16016" y="2515"/>
                  </a:lnTo>
                  <a:lnTo>
                    <a:pt x="15998" y="2450"/>
                  </a:lnTo>
                  <a:lnTo>
                    <a:pt x="15977" y="2389"/>
                  </a:lnTo>
                  <a:lnTo>
                    <a:pt x="15953" y="2328"/>
                  </a:lnTo>
                  <a:lnTo>
                    <a:pt x="15926" y="2268"/>
                  </a:lnTo>
                  <a:lnTo>
                    <a:pt x="15896" y="2210"/>
                  </a:lnTo>
                  <a:lnTo>
                    <a:pt x="15864" y="2155"/>
                  </a:lnTo>
                  <a:lnTo>
                    <a:pt x="15829" y="2100"/>
                  </a:lnTo>
                  <a:lnTo>
                    <a:pt x="15792" y="2047"/>
                  </a:lnTo>
                  <a:lnTo>
                    <a:pt x="15752" y="1997"/>
                  </a:lnTo>
                  <a:lnTo>
                    <a:pt x="15711" y="1949"/>
                  </a:lnTo>
                  <a:lnTo>
                    <a:pt x="15666" y="1901"/>
                  </a:lnTo>
                  <a:lnTo>
                    <a:pt x="15619" y="1857"/>
                  </a:lnTo>
                  <a:lnTo>
                    <a:pt x="15571" y="1815"/>
                  </a:lnTo>
                  <a:lnTo>
                    <a:pt x="15520" y="1775"/>
                  </a:lnTo>
                  <a:lnTo>
                    <a:pt x="15468" y="1738"/>
                  </a:lnTo>
                  <a:lnTo>
                    <a:pt x="15414" y="1703"/>
                  </a:lnTo>
                  <a:lnTo>
                    <a:pt x="15357" y="1671"/>
                  </a:lnTo>
                  <a:lnTo>
                    <a:pt x="15300" y="1641"/>
                  </a:lnTo>
                  <a:lnTo>
                    <a:pt x="15241" y="1615"/>
                  </a:lnTo>
                  <a:lnTo>
                    <a:pt x="15180" y="1590"/>
                  </a:lnTo>
                  <a:lnTo>
                    <a:pt x="15118" y="1569"/>
                  </a:lnTo>
                  <a:lnTo>
                    <a:pt x="15054" y="1551"/>
                  </a:lnTo>
                  <a:lnTo>
                    <a:pt x="14989" y="1536"/>
                  </a:lnTo>
                  <a:lnTo>
                    <a:pt x="14924" y="1524"/>
                  </a:lnTo>
                  <a:lnTo>
                    <a:pt x="14857" y="1516"/>
                  </a:lnTo>
                  <a:lnTo>
                    <a:pt x="14788" y="1511"/>
                  </a:lnTo>
                  <a:lnTo>
                    <a:pt x="14719" y="15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71" name="íşḻiḓé">
              <a:extLst>
                <a:ext uri="{FF2B5EF4-FFF2-40B4-BE49-F238E27FC236}">
                  <a16:creationId xmlns:a16="http://schemas.microsoft.com/office/drawing/2014/main" id="{582E1893-6540-4067-A103-3681132221C9}"/>
                </a:ext>
              </a:extLst>
            </p:cNvPr>
            <p:cNvSpPr/>
            <p:nvPr/>
          </p:nvSpPr>
          <p:spPr bwMode="auto">
            <a:xfrm>
              <a:off x="6427854" y="2508416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72" name="ïṧḻïḋè">
              <a:extLst>
                <a:ext uri="{FF2B5EF4-FFF2-40B4-BE49-F238E27FC236}">
                  <a16:creationId xmlns:a16="http://schemas.microsoft.com/office/drawing/2014/main" id="{FBE88E1D-8F2B-493A-A4B4-510F06B15019}"/>
                </a:ext>
              </a:extLst>
            </p:cNvPr>
            <p:cNvSpPr/>
            <p:nvPr/>
          </p:nvSpPr>
          <p:spPr bwMode="auto">
            <a:xfrm>
              <a:off x="6427854" y="2571652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73" name="iŝḷîḍè">
              <a:extLst>
                <a:ext uri="{FF2B5EF4-FFF2-40B4-BE49-F238E27FC236}">
                  <a16:creationId xmlns:a16="http://schemas.microsoft.com/office/drawing/2014/main" id="{5A57852C-7482-408E-AE34-152547CED1A7}"/>
                </a:ext>
              </a:extLst>
            </p:cNvPr>
            <p:cNvSpPr/>
            <p:nvPr/>
          </p:nvSpPr>
          <p:spPr bwMode="auto">
            <a:xfrm>
              <a:off x="6427854" y="2634887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74" name="iṡḷïḍe">
              <a:extLst>
                <a:ext uri="{FF2B5EF4-FFF2-40B4-BE49-F238E27FC236}">
                  <a16:creationId xmlns:a16="http://schemas.microsoft.com/office/drawing/2014/main" id="{9B7C4814-ADB7-4B56-A63F-417CA756A184}"/>
                </a:ext>
              </a:extLst>
            </p:cNvPr>
            <p:cNvSpPr/>
            <p:nvPr/>
          </p:nvSpPr>
          <p:spPr bwMode="auto">
            <a:xfrm>
              <a:off x="6516198" y="2634887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75" name="ïṥlïḓé">
              <a:extLst>
                <a:ext uri="{FF2B5EF4-FFF2-40B4-BE49-F238E27FC236}">
                  <a16:creationId xmlns:a16="http://schemas.microsoft.com/office/drawing/2014/main" id="{99D95F09-E5F5-4742-BC03-6BCFF9C268D7}"/>
                </a:ext>
              </a:extLst>
            </p:cNvPr>
            <p:cNvSpPr/>
            <p:nvPr/>
          </p:nvSpPr>
          <p:spPr bwMode="auto">
            <a:xfrm>
              <a:off x="6516198" y="2571652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76" name="i$ḻíde">
              <a:extLst>
                <a:ext uri="{FF2B5EF4-FFF2-40B4-BE49-F238E27FC236}">
                  <a16:creationId xmlns:a16="http://schemas.microsoft.com/office/drawing/2014/main" id="{130C7355-EE35-4374-970F-C581D0E01031}"/>
                </a:ext>
              </a:extLst>
            </p:cNvPr>
            <p:cNvSpPr/>
            <p:nvPr/>
          </p:nvSpPr>
          <p:spPr bwMode="auto">
            <a:xfrm>
              <a:off x="6516198" y="2508416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77" name="îṥ1iďè">
              <a:extLst>
                <a:ext uri="{FF2B5EF4-FFF2-40B4-BE49-F238E27FC236}">
                  <a16:creationId xmlns:a16="http://schemas.microsoft.com/office/drawing/2014/main" id="{98010718-6CEA-470F-AAB2-3BBA519B0473}"/>
                </a:ext>
              </a:extLst>
            </p:cNvPr>
            <p:cNvSpPr/>
            <p:nvPr/>
          </p:nvSpPr>
          <p:spPr bwMode="auto">
            <a:xfrm>
              <a:off x="6604543" y="2634887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78" name="iśḻíďe">
              <a:extLst>
                <a:ext uri="{FF2B5EF4-FFF2-40B4-BE49-F238E27FC236}">
                  <a16:creationId xmlns:a16="http://schemas.microsoft.com/office/drawing/2014/main" id="{C3847D33-BD92-4AFF-B3ED-BDBB31ED9D87}"/>
                </a:ext>
              </a:extLst>
            </p:cNvPr>
            <p:cNvSpPr/>
            <p:nvPr/>
          </p:nvSpPr>
          <p:spPr bwMode="auto">
            <a:xfrm>
              <a:off x="6604543" y="2571652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79" name="iŝ1íḑe">
              <a:extLst>
                <a:ext uri="{FF2B5EF4-FFF2-40B4-BE49-F238E27FC236}">
                  <a16:creationId xmlns:a16="http://schemas.microsoft.com/office/drawing/2014/main" id="{E3167E00-8DD5-4E64-A28F-EDD15E483880}"/>
                </a:ext>
              </a:extLst>
            </p:cNvPr>
            <p:cNvSpPr/>
            <p:nvPr/>
          </p:nvSpPr>
          <p:spPr bwMode="auto">
            <a:xfrm>
              <a:off x="6604543" y="2508416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80" name="íṩļïḍe">
              <a:extLst>
                <a:ext uri="{FF2B5EF4-FFF2-40B4-BE49-F238E27FC236}">
                  <a16:creationId xmlns:a16="http://schemas.microsoft.com/office/drawing/2014/main" id="{0C459602-F17F-4F5A-8D45-FDF5BCCBB2AE}"/>
                </a:ext>
              </a:extLst>
            </p:cNvPr>
            <p:cNvSpPr/>
            <p:nvPr/>
          </p:nvSpPr>
          <p:spPr bwMode="auto">
            <a:xfrm>
              <a:off x="5987095" y="2263864"/>
              <a:ext cx="325956" cy="295234"/>
            </a:xfrm>
            <a:custGeom>
              <a:avLst/>
              <a:gdLst>
                <a:gd name="T0" fmla="*/ 13271 w 16095"/>
                <a:gd name="T1" fmla="*/ 332 h 14578"/>
                <a:gd name="T2" fmla="*/ 11351 w 16095"/>
                <a:gd name="T3" fmla="*/ 5 h 14578"/>
                <a:gd name="T4" fmla="*/ 9463 w 16095"/>
                <a:gd name="T5" fmla="*/ 518 h 14578"/>
                <a:gd name="T6" fmla="*/ 789 w 16095"/>
                <a:gd name="T7" fmla="*/ 8840 h 14578"/>
                <a:gd name="T8" fmla="*/ 101 w 16095"/>
                <a:gd name="T9" fmla="*/ 10223 h 14578"/>
                <a:gd name="T10" fmla="*/ 64 w 16095"/>
                <a:gd name="T11" fmla="*/ 11733 h 14578"/>
                <a:gd name="T12" fmla="*/ 680 w 16095"/>
                <a:gd name="T13" fmla="*/ 13142 h 14578"/>
                <a:gd name="T14" fmla="*/ 1881 w 16095"/>
                <a:gd name="T15" fmla="*/ 14176 h 14578"/>
                <a:gd name="T16" fmla="*/ 3350 w 16095"/>
                <a:gd name="T17" fmla="*/ 14574 h 14578"/>
                <a:gd name="T18" fmla="*/ 4844 w 16095"/>
                <a:gd name="T19" fmla="*/ 14321 h 14578"/>
                <a:gd name="T20" fmla="*/ 13346 w 16095"/>
                <a:gd name="T21" fmla="*/ 6301 h 14578"/>
                <a:gd name="T22" fmla="*/ 13942 w 16095"/>
                <a:gd name="T23" fmla="*/ 5355 h 14578"/>
                <a:gd name="T24" fmla="*/ 14071 w 16095"/>
                <a:gd name="T25" fmla="*/ 4284 h 14578"/>
                <a:gd name="T26" fmla="*/ 13735 w 16095"/>
                <a:gd name="T27" fmla="*/ 3247 h 14578"/>
                <a:gd name="T28" fmla="*/ 12951 w 16095"/>
                <a:gd name="T29" fmla="*/ 2425 h 14578"/>
                <a:gd name="T30" fmla="*/ 11928 w 16095"/>
                <a:gd name="T31" fmla="*/ 2037 h 14578"/>
                <a:gd name="T32" fmla="*/ 10852 w 16095"/>
                <a:gd name="T33" fmla="*/ 2115 h 14578"/>
                <a:gd name="T34" fmla="*/ 9884 w 16095"/>
                <a:gd name="T35" fmla="*/ 2658 h 14578"/>
                <a:gd name="T36" fmla="*/ 4173 w 16095"/>
                <a:gd name="T37" fmla="*/ 8404 h 14578"/>
                <a:gd name="T38" fmla="*/ 4125 w 16095"/>
                <a:gd name="T39" fmla="*/ 8617 h 14578"/>
                <a:gd name="T40" fmla="*/ 4173 w 16095"/>
                <a:gd name="T41" fmla="*/ 8828 h 14578"/>
                <a:gd name="T42" fmla="*/ 4311 w 16095"/>
                <a:gd name="T43" fmla="*/ 9007 h 14578"/>
                <a:gd name="T44" fmla="*/ 4509 w 16095"/>
                <a:gd name="T45" fmla="*/ 9105 h 14578"/>
                <a:gd name="T46" fmla="*/ 4725 w 16095"/>
                <a:gd name="T47" fmla="*/ 9110 h 14578"/>
                <a:gd name="T48" fmla="*/ 4926 w 16095"/>
                <a:gd name="T49" fmla="*/ 9022 h 14578"/>
                <a:gd name="T50" fmla="*/ 10802 w 16095"/>
                <a:gd name="T51" fmla="*/ 3226 h 14578"/>
                <a:gd name="T52" fmla="*/ 11423 w 16095"/>
                <a:gd name="T53" fmla="*/ 3024 h 14578"/>
                <a:gd name="T54" fmla="*/ 12067 w 16095"/>
                <a:gd name="T55" fmla="*/ 3101 h 14578"/>
                <a:gd name="T56" fmla="*/ 12635 w 16095"/>
                <a:gd name="T57" fmla="*/ 3458 h 14578"/>
                <a:gd name="T58" fmla="*/ 12992 w 16095"/>
                <a:gd name="T59" fmla="*/ 4025 h 14578"/>
                <a:gd name="T60" fmla="*/ 13069 w 16095"/>
                <a:gd name="T61" fmla="*/ 4669 h 14578"/>
                <a:gd name="T62" fmla="*/ 12868 w 16095"/>
                <a:gd name="T63" fmla="*/ 5291 h 14578"/>
                <a:gd name="T64" fmla="*/ 5006 w 16095"/>
                <a:gd name="T65" fmla="*/ 13088 h 14578"/>
                <a:gd name="T66" fmla="*/ 3999 w 16095"/>
                <a:gd name="T67" fmla="*/ 13528 h 14578"/>
                <a:gd name="T68" fmla="*/ 2920 w 16095"/>
                <a:gd name="T69" fmla="*/ 13502 h 14578"/>
                <a:gd name="T70" fmla="*/ 1931 w 16095"/>
                <a:gd name="T71" fmla="*/ 13011 h 14578"/>
                <a:gd name="T72" fmla="*/ 1237 w 16095"/>
                <a:gd name="T73" fmla="*/ 12119 h 14578"/>
                <a:gd name="T74" fmla="*/ 1004 w 16095"/>
                <a:gd name="T75" fmla="*/ 11060 h 14578"/>
                <a:gd name="T76" fmla="*/ 1237 w 16095"/>
                <a:gd name="T77" fmla="*/ 10003 h 14578"/>
                <a:gd name="T78" fmla="*/ 9139 w 16095"/>
                <a:gd name="T79" fmla="*/ 1982 h 14578"/>
                <a:gd name="T80" fmla="*/ 10495 w 16095"/>
                <a:gd name="T81" fmla="*/ 1221 h 14578"/>
                <a:gd name="T82" fmla="*/ 12003 w 16095"/>
                <a:gd name="T83" fmla="*/ 1113 h 14578"/>
                <a:gd name="T84" fmla="*/ 13433 w 16095"/>
                <a:gd name="T85" fmla="*/ 1657 h 14578"/>
                <a:gd name="T86" fmla="*/ 14530 w 16095"/>
                <a:gd name="T87" fmla="*/ 2808 h 14578"/>
                <a:gd name="T88" fmla="*/ 15002 w 16095"/>
                <a:gd name="T89" fmla="*/ 4258 h 14578"/>
                <a:gd name="T90" fmla="*/ 14820 w 16095"/>
                <a:gd name="T91" fmla="*/ 5759 h 14578"/>
                <a:gd name="T92" fmla="*/ 13987 w 16095"/>
                <a:gd name="T93" fmla="*/ 7083 h 14578"/>
                <a:gd name="T94" fmla="*/ 8431 w 16095"/>
                <a:gd name="T95" fmla="*/ 12692 h 14578"/>
                <a:gd name="T96" fmla="*/ 8395 w 16095"/>
                <a:gd name="T97" fmla="*/ 12905 h 14578"/>
                <a:gd name="T98" fmla="*/ 8451 w 16095"/>
                <a:gd name="T99" fmla="*/ 13115 h 14578"/>
                <a:gd name="T100" fmla="*/ 8600 w 16095"/>
                <a:gd name="T101" fmla="*/ 13286 h 14578"/>
                <a:gd name="T102" fmla="*/ 8801 w 16095"/>
                <a:gd name="T103" fmla="*/ 13375 h 14578"/>
                <a:gd name="T104" fmla="*/ 9017 w 16095"/>
                <a:gd name="T105" fmla="*/ 13370 h 14578"/>
                <a:gd name="T106" fmla="*/ 9214 w 16095"/>
                <a:gd name="T107" fmla="*/ 13271 h 14578"/>
                <a:gd name="T108" fmla="*/ 15577 w 16095"/>
                <a:gd name="T109" fmla="*/ 6628 h 14578"/>
                <a:gd name="T110" fmla="*/ 16090 w 16095"/>
                <a:gd name="T111" fmla="*/ 4742 h 14578"/>
                <a:gd name="T112" fmla="*/ 15763 w 16095"/>
                <a:gd name="T113" fmla="*/ 2822 h 14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4578">
                  <a:moveTo>
                    <a:pt x="14768" y="1326"/>
                  </a:moveTo>
                  <a:lnTo>
                    <a:pt x="14600" y="1165"/>
                  </a:lnTo>
                  <a:lnTo>
                    <a:pt x="14425" y="1015"/>
                  </a:lnTo>
                  <a:lnTo>
                    <a:pt x="14244" y="875"/>
                  </a:lnTo>
                  <a:lnTo>
                    <a:pt x="14059" y="746"/>
                  </a:lnTo>
                  <a:lnTo>
                    <a:pt x="13868" y="626"/>
                  </a:lnTo>
                  <a:lnTo>
                    <a:pt x="13673" y="518"/>
                  </a:lnTo>
                  <a:lnTo>
                    <a:pt x="13474" y="419"/>
                  </a:lnTo>
                  <a:lnTo>
                    <a:pt x="13271" y="332"/>
                  </a:lnTo>
                  <a:lnTo>
                    <a:pt x="13065" y="253"/>
                  </a:lnTo>
                  <a:lnTo>
                    <a:pt x="12857" y="187"/>
                  </a:lnTo>
                  <a:lnTo>
                    <a:pt x="12646" y="130"/>
                  </a:lnTo>
                  <a:lnTo>
                    <a:pt x="12432" y="83"/>
                  </a:lnTo>
                  <a:lnTo>
                    <a:pt x="12218" y="46"/>
                  </a:lnTo>
                  <a:lnTo>
                    <a:pt x="12002" y="21"/>
                  </a:lnTo>
                  <a:lnTo>
                    <a:pt x="11786" y="5"/>
                  </a:lnTo>
                  <a:lnTo>
                    <a:pt x="11568" y="0"/>
                  </a:lnTo>
                  <a:lnTo>
                    <a:pt x="11351" y="5"/>
                  </a:lnTo>
                  <a:lnTo>
                    <a:pt x="11134" y="21"/>
                  </a:lnTo>
                  <a:lnTo>
                    <a:pt x="10918" y="46"/>
                  </a:lnTo>
                  <a:lnTo>
                    <a:pt x="10703" y="83"/>
                  </a:lnTo>
                  <a:lnTo>
                    <a:pt x="10490" y="130"/>
                  </a:lnTo>
                  <a:lnTo>
                    <a:pt x="10280" y="187"/>
                  </a:lnTo>
                  <a:lnTo>
                    <a:pt x="10070" y="253"/>
                  </a:lnTo>
                  <a:lnTo>
                    <a:pt x="9864" y="332"/>
                  </a:lnTo>
                  <a:lnTo>
                    <a:pt x="9662" y="419"/>
                  </a:lnTo>
                  <a:lnTo>
                    <a:pt x="9463" y="518"/>
                  </a:lnTo>
                  <a:lnTo>
                    <a:pt x="9268" y="626"/>
                  </a:lnTo>
                  <a:lnTo>
                    <a:pt x="9078" y="746"/>
                  </a:lnTo>
                  <a:lnTo>
                    <a:pt x="8891" y="875"/>
                  </a:lnTo>
                  <a:lnTo>
                    <a:pt x="8711" y="1015"/>
                  </a:lnTo>
                  <a:lnTo>
                    <a:pt x="8536" y="1165"/>
                  </a:lnTo>
                  <a:lnTo>
                    <a:pt x="8367" y="1326"/>
                  </a:lnTo>
                  <a:lnTo>
                    <a:pt x="1029" y="8572"/>
                  </a:lnTo>
                  <a:lnTo>
                    <a:pt x="904" y="8704"/>
                  </a:lnTo>
                  <a:lnTo>
                    <a:pt x="789" y="8840"/>
                  </a:lnTo>
                  <a:lnTo>
                    <a:pt x="680" y="8979"/>
                  </a:lnTo>
                  <a:lnTo>
                    <a:pt x="579" y="9124"/>
                  </a:lnTo>
                  <a:lnTo>
                    <a:pt x="487" y="9272"/>
                  </a:lnTo>
                  <a:lnTo>
                    <a:pt x="402" y="9424"/>
                  </a:lnTo>
                  <a:lnTo>
                    <a:pt x="326" y="9579"/>
                  </a:lnTo>
                  <a:lnTo>
                    <a:pt x="258" y="9736"/>
                  </a:lnTo>
                  <a:lnTo>
                    <a:pt x="197" y="9896"/>
                  </a:lnTo>
                  <a:lnTo>
                    <a:pt x="145" y="10058"/>
                  </a:lnTo>
                  <a:lnTo>
                    <a:pt x="101" y="10223"/>
                  </a:lnTo>
                  <a:lnTo>
                    <a:pt x="64" y="10388"/>
                  </a:lnTo>
                  <a:lnTo>
                    <a:pt x="36" y="10556"/>
                  </a:lnTo>
                  <a:lnTo>
                    <a:pt x="16" y="10724"/>
                  </a:lnTo>
                  <a:lnTo>
                    <a:pt x="4" y="10892"/>
                  </a:lnTo>
                  <a:lnTo>
                    <a:pt x="0" y="11060"/>
                  </a:lnTo>
                  <a:lnTo>
                    <a:pt x="4" y="11229"/>
                  </a:lnTo>
                  <a:lnTo>
                    <a:pt x="16" y="11398"/>
                  </a:lnTo>
                  <a:lnTo>
                    <a:pt x="36" y="11566"/>
                  </a:lnTo>
                  <a:lnTo>
                    <a:pt x="64" y="11733"/>
                  </a:lnTo>
                  <a:lnTo>
                    <a:pt x="101" y="11899"/>
                  </a:lnTo>
                  <a:lnTo>
                    <a:pt x="145" y="12064"/>
                  </a:lnTo>
                  <a:lnTo>
                    <a:pt x="197" y="12226"/>
                  </a:lnTo>
                  <a:lnTo>
                    <a:pt x="258" y="12385"/>
                  </a:lnTo>
                  <a:lnTo>
                    <a:pt x="326" y="12543"/>
                  </a:lnTo>
                  <a:lnTo>
                    <a:pt x="402" y="12698"/>
                  </a:lnTo>
                  <a:lnTo>
                    <a:pt x="487" y="12850"/>
                  </a:lnTo>
                  <a:lnTo>
                    <a:pt x="579" y="12998"/>
                  </a:lnTo>
                  <a:lnTo>
                    <a:pt x="680" y="13142"/>
                  </a:lnTo>
                  <a:lnTo>
                    <a:pt x="789" y="13282"/>
                  </a:lnTo>
                  <a:lnTo>
                    <a:pt x="904" y="13418"/>
                  </a:lnTo>
                  <a:lnTo>
                    <a:pt x="1029" y="13550"/>
                  </a:lnTo>
                  <a:lnTo>
                    <a:pt x="1161" y="13673"/>
                  </a:lnTo>
                  <a:lnTo>
                    <a:pt x="1297" y="13790"/>
                  </a:lnTo>
                  <a:lnTo>
                    <a:pt x="1436" y="13898"/>
                  </a:lnTo>
                  <a:lnTo>
                    <a:pt x="1581" y="13999"/>
                  </a:lnTo>
                  <a:lnTo>
                    <a:pt x="1729" y="14091"/>
                  </a:lnTo>
                  <a:lnTo>
                    <a:pt x="1881" y="14176"/>
                  </a:lnTo>
                  <a:lnTo>
                    <a:pt x="2036" y="14252"/>
                  </a:lnTo>
                  <a:lnTo>
                    <a:pt x="2193" y="14321"/>
                  </a:lnTo>
                  <a:lnTo>
                    <a:pt x="2354" y="14381"/>
                  </a:lnTo>
                  <a:lnTo>
                    <a:pt x="2516" y="14433"/>
                  </a:lnTo>
                  <a:lnTo>
                    <a:pt x="2680" y="14477"/>
                  </a:lnTo>
                  <a:lnTo>
                    <a:pt x="2846" y="14514"/>
                  </a:lnTo>
                  <a:lnTo>
                    <a:pt x="3013" y="14542"/>
                  </a:lnTo>
                  <a:lnTo>
                    <a:pt x="3181" y="14562"/>
                  </a:lnTo>
                  <a:lnTo>
                    <a:pt x="3350" y="14574"/>
                  </a:lnTo>
                  <a:lnTo>
                    <a:pt x="3519" y="14578"/>
                  </a:lnTo>
                  <a:lnTo>
                    <a:pt x="3688" y="14574"/>
                  </a:lnTo>
                  <a:lnTo>
                    <a:pt x="3857" y="14562"/>
                  </a:lnTo>
                  <a:lnTo>
                    <a:pt x="4025" y="14542"/>
                  </a:lnTo>
                  <a:lnTo>
                    <a:pt x="4192" y="14514"/>
                  </a:lnTo>
                  <a:lnTo>
                    <a:pt x="4358" y="14477"/>
                  </a:lnTo>
                  <a:lnTo>
                    <a:pt x="4522" y="14433"/>
                  </a:lnTo>
                  <a:lnTo>
                    <a:pt x="4684" y="14381"/>
                  </a:lnTo>
                  <a:lnTo>
                    <a:pt x="4844" y="14321"/>
                  </a:lnTo>
                  <a:lnTo>
                    <a:pt x="5002" y="14252"/>
                  </a:lnTo>
                  <a:lnTo>
                    <a:pt x="5156" y="14176"/>
                  </a:lnTo>
                  <a:lnTo>
                    <a:pt x="5308" y="14091"/>
                  </a:lnTo>
                  <a:lnTo>
                    <a:pt x="5456" y="13999"/>
                  </a:lnTo>
                  <a:lnTo>
                    <a:pt x="5601" y="13898"/>
                  </a:lnTo>
                  <a:lnTo>
                    <a:pt x="5741" y="13790"/>
                  </a:lnTo>
                  <a:lnTo>
                    <a:pt x="5877" y="13673"/>
                  </a:lnTo>
                  <a:lnTo>
                    <a:pt x="6007" y="13550"/>
                  </a:lnTo>
                  <a:lnTo>
                    <a:pt x="13346" y="6301"/>
                  </a:lnTo>
                  <a:lnTo>
                    <a:pt x="13435" y="6208"/>
                  </a:lnTo>
                  <a:lnTo>
                    <a:pt x="13519" y="6110"/>
                  </a:lnTo>
                  <a:lnTo>
                    <a:pt x="13596" y="6011"/>
                  </a:lnTo>
                  <a:lnTo>
                    <a:pt x="13669" y="5907"/>
                  </a:lnTo>
                  <a:lnTo>
                    <a:pt x="13735" y="5802"/>
                  </a:lnTo>
                  <a:lnTo>
                    <a:pt x="13795" y="5693"/>
                  </a:lnTo>
                  <a:lnTo>
                    <a:pt x="13850" y="5582"/>
                  </a:lnTo>
                  <a:lnTo>
                    <a:pt x="13899" y="5470"/>
                  </a:lnTo>
                  <a:lnTo>
                    <a:pt x="13942" y="5355"/>
                  </a:lnTo>
                  <a:lnTo>
                    <a:pt x="13980" y="5240"/>
                  </a:lnTo>
                  <a:lnTo>
                    <a:pt x="14011" y="5123"/>
                  </a:lnTo>
                  <a:lnTo>
                    <a:pt x="14037" y="5004"/>
                  </a:lnTo>
                  <a:lnTo>
                    <a:pt x="14057" y="4885"/>
                  </a:lnTo>
                  <a:lnTo>
                    <a:pt x="14071" y="4765"/>
                  </a:lnTo>
                  <a:lnTo>
                    <a:pt x="14080" y="4645"/>
                  </a:lnTo>
                  <a:lnTo>
                    <a:pt x="14083" y="4524"/>
                  </a:lnTo>
                  <a:lnTo>
                    <a:pt x="14080" y="4404"/>
                  </a:lnTo>
                  <a:lnTo>
                    <a:pt x="14071" y="4284"/>
                  </a:lnTo>
                  <a:lnTo>
                    <a:pt x="14057" y="4164"/>
                  </a:lnTo>
                  <a:lnTo>
                    <a:pt x="14037" y="4044"/>
                  </a:lnTo>
                  <a:lnTo>
                    <a:pt x="14011" y="3926"/>
                  </a:lnTo>
                  <a:lnTo>
                    <a:pt x="13980" y="3809"/>
                  </a:lnTo>
                  <a:lnTo>
                    <a:pt x="13942" y="3693"/>
                  </a:lnTo>
                  <a:lnTo>
                    <a:pt x="13899" y="3579"/>
                  </a:lnTo>
                  <a:lnTo>
                    <a:pt x="13850" y="3466"/>
                  </a:lnTo>
                  <a:lnTo>
                    <a:pt x="13795" y="3356"/>
                  </a:lnTo>
                  <a:lnTo>
                    <a:pt x="13735" y="3247"/>
                  </a:lnTo>
                  <a:lnTo>
                    <a:pt x="13669" y="3142"/>
                  </a:lnTo>
                  <a:lnTo>
                    <a:pt x="13596" y="3038"/>
                  </a:lnTo>
                  <a:lnTo>
                    <a:pt x="13519" y="2939"/>
                  </a:lnTo>
                  <a:lnTo>
                    <a:pt x="13435" y="2841"/>
                  </a:lnTo>
                  <a:lnTo>
                    <a:pt x="13346" y="2748"/>
                  </a:lnTo>
                  <a:lnTo>
                    <a:pt x="13252" y="2658"/>
                  </a:lnTo>
                  <a:lnTo>
                    <a:pt x="13156" y="2575"/>
                  </a:lnTo>
                  <a:lnTo>
                    <a:pt x="13055" y="2497"/>
                  </a:lnTo>
                  <a:lnTo>
                    <a:pt x="12951" y="2425"/>
                  </a:lnTo>
                  <a:lnTo>
                    <a:pt x="12846" y="2359"/>
                  </a:lnTo>
                  <a:lnTo>
                    <a:pt x="12737" y="2299"/>
                  </a:lnTo>
                  <a:lnTo>
                    <a:pt x="12627" y="2244"/>
                  </a:lnTo>
                  <a:lnTo>
                    <a:pt x="12514" y="2196"/>
                  </a:lnTo>
                  <a:lnTo>
                    <a:pt x="12400" y="2152"/>
                  </a:lnTo>
                  <a:lnTo>
                    <a:pt x="12284" y="2115"/>
                  </a:lnTo>
                  <a:lnTo>
                    <a:pt x="12167" y="2083"/>
                  </a:lnTo>
                  <a:lnTo>
                    <a:pt x="12048" y="2057"/>
                  </a:lnTo>
                  <a:lnTo>
                    <a:pt x="11928" y="2037"/>
                  </a:lnTo>
                  <a:lnTo>
                    <a:pt x="11809" y="2023"/>
                  </a:lnTo>
                  <a:lnTo>
                    <a:pt x="11689" y="2015"/>
                  </a:lnTo>
                  <a:lnTo>
                    <a:pt x="11568" y="2012"/>
                  </a:lnTo>
                  <a:lnTo>
                    <a:pt x="11448" y="2015"/>
                  </a:lnTo>
                  <a:lnTo>
                    <a:pt x="11327" y="2023"/>
                  </a:lnTo>
                  <a:lnTo>
                    <a:pt x="11207" y="2037"/>
                  </a:lnTo>
                  <a:lnTo>
                    <a:pt x="11087" y="2057"/>
                  </a:lnTo>
                  <a:lnTo>
                    <a:pt x="10969" y="2083"/>
                  </a:lnTo>
                  <a:lnTo>
                    <a:pt x="10852" y="2115"/>
                  </a:lnTo>
                  <a:lnTo>
                    <a:pt x="10736" y="2152"/>
                  </a:lnTo>
                  <a:lnTo>
                    <a:pt x="10622" y="2196"/>
                  </a:lnTo>
                  <a:lnTo>
                    <a:pt x="10509" y="2244"/>
                  </a:lnTo>
                  <a:lnTo>
                    <a:pt x="10398" y="2299"/>
                  </a:lnTo>
                  <a:lnTo>
                    <a:pt x="10291" y="2359"/>
                  </a:lnTo>
                  <a:lnTo>
                    <a:pt x="10184" y="2425"/>
                  </a:lnTo>
                  <a:lnTo>
                    <a:pt x="10082" y="2497"/>
                  </a:lnTo>
                  <a:lnTo>
                    <a:pt x="9981" y="2575"/>
                  </a:lnTo>
                  <a:lnTo>
                    <a:pt x="9884" y="2658"/>
                  </a:lnTo>
                  <a:lnTo>
                    <a:pt x="9790" y="2748"/>
                  </a:lnTo>
                  <a:lnTo>
                    <a:pt x="4273" y="8261"/>
                  </a:lnTo>
                  <a:lnTo>
                    <a:pt x="4255" y="8279"/>
                  </a:lnTo>
                  <a:lnTo>
                    <a:pt x="4239" y="8299"/>
                  </a:lnTo>
                  <a:lnTo>
                    <a:pt x="4223" y="8319"/>
                  </a:lnTo>
                  <a:lnTo>
                    <a:pt x="4209" y="8339"/>
                  </a:lnTo>
                  <a:lnTo>
                    <a:pt x="4196" y="8361"/>
                  </a:lnTo>
                  <a:lnTo>
                    <a:pt x="4184" y="8382"/>
                  </a:lnTo>
                  <a:lnTo>
                    <a:pt x="4173" y="8404"/>
                  </a:lnTo>
                  <a:lnTo>
                    <a:pt x="4163" y="8427"/>
                  </a:lnTo>
                  <a:lnTo>
                    <a:pt x="4154" y="8450"/>
                  </a:lnTo>
                  <a:lnTo>
                    <a:pt x="4146" y="8473"/>
                  </a:lnTo>
                  <a:lnTo>
                    <a:pt x="4140" y="8497"/>
                  </a:lnTo>
                  <a:lnTo>
                    <a:pt x="4134" y="8520"/>
                  </a:lnTo>
                  <a:lnTo>
                    <a:pt x="4130" y="8544"/>
                  </a:lnTo>
                  <a:lnTo>
                    <a:pt x="4128" y="8568"/>
                  </a:lnTo>
                  <a:lnTo>
                    <a:pt x="4126" y="8592"/>
                  </a:lnTo>
                  <a:lnTo>
                    <a:pt x="4125" y="8617"/>
                  </a:lnTo>
                  <a:lnTo>
                    <a:pt x="4126" y="8640"/>
                  </a:lnTo>
                  <a:lnTo>
                    <a:pt x="4128" y="8664"/>
                  </a:lnTo>
                  <a:lnTo>
                    <a:pt x="4130" y="8688"/>
                  </a:lnTo>
                  <a:lnTo>
                    <a:pt x="4134" y="8712"/>
                  </a:lnTo>
                  <a:lnTo>
                    <a:pt x="4140" y="8736"/>
                  </a:lnTo>
                  <a:lnTo>
                    <a:pt x="4146" y="8759"/>
                  </a:lnTo>
                  <a:lnTo>
                    <a:pt x="4154" y="8782"/>
                  </a:lnTo>
                  <a:lnTo>
                    <a:pt x="4163" y="8806"/>
                  </a:lnTo>
                  <a:lnTo>
                    <a:pt x="4173" y="8828"/>
                  </a:lnTo>
                  <a:lnTo>
                    <a:pt x="4184" y="8850"/>
                  </a:lnTo>
                  <a:lnTo>
                    <a:pt x="4196" y="8872"/>
                  </a:lnTo>
                  <a:lnTo>
                    <a:pt x="4209" y="8893"/>
                  </a:lnTo>
                  <a:lnTo>
                    <a:pt x="4223" y="8913"/>
                  </a:lnTo>
                  <a:lnTo>
                    <a:pt x="4239" y="8933"/>
                  </a:lnTo>
                  <a:lnTo>
                    <a:pt x="4255" y="8953"/>
                  </a:lnTo>
                  <a:lnTo>
                    <a:pt x="4273" y="8971"/>
                  </a:lnTo>
                  <a:lnTo>
                    <a:pt x="4292" y="8989"/>
                  </a:lnTo>
                  <a:lnTo>
                    <a:pt x="4311" y="9007"/>
                  </a:lnTo>
                  <a:lnTo>
                    <a:pt x="4332" y="9022"/>
                  </a:lnTo>
                  <a:lnTo>
                    <a:pt x="4352" y="9036"/>
                  </a:lnTo>
                  <a:lnTo>
                    <a:pt x="4373" y="9050"/>
                  </a:lnTo>
                  <a:lnTo>
                    <a:pt x="4395" y="9062"/>
                  </a:lnTo>
                  <a:lnTo>
                    <a:pt x="4417" y="9073"/>
                  </a:lnTo>
                  <a:lnTo>
                    <a:pt x="4439" y="9082"/>
                  </a:lnTo>
                  <a:lnTo>
                    <a:pt x="4462" y="9091"/>
                  </a:lnTo>
                  <a:lnTo>
                    <a:pt x="4485" y="9098"/>
                  </a:lnTo>
                  <a:lnTo>
                    <a:pt x="4509" y="9105"/>
                  </a:lnTo>
                  <a:lnTo>
                    <a:pt x="4533" y="9110"/>
                  </a:lnTo>
                  <a:lnTo>
                    <a:pt x="4557" y="9114"/>
                  </a:lnTo>
                  <a:lnTo>
                    <a:pt x="4580" y="9117"/>
                  </a:lnTo>
                  <a:lnTo>
                    <a:pt x="4604" y="9118"/>
                  </a:lnTo>
                  <a:lnTo>
                    <a:pt x="4628" y="9119"/>
                  </a:lnTo>
                  <a:lnTo>
                    <a:pt x="4652" y="9118"/>
                  </a:lnTo>
                  <a:lnTo>
                    <a:pt x="4677" y="9117"/>
                  </a:lnTo>
                  <a:lnTo>
                    <a:pt x="4701" y="9114"/>
                  </a:lnTo>
                  <a:lnTo>
                    <a:pt x="4725" y="9110"/>
                  </a:lnTo>
                  <a:lnTo>
                    <a:pt x="4748" y="9105"/>
                  </a:lnTo>
                  <a:lnTo>
                    <a:pt x="4772" y="9098"/>
                  </a:lnTo>
                  <a:lnTo>
                    <a:pt x="4795" y="9091"/>
                  </a:lnTo>
                  <a:lnTo>
                    <a:pt x="4817" y="9082"/>
                  </a:lnTo>
                  <a:lnTo>
                    <a:pt x="4841" y="9073"/>
                  </a:lnTo>
                  <a:lnTo>
                    <a:pt x="4863" y="9062"/>
                  </a:lnTo>
                  <a:lnTo>
                    <a:pt x="4884" y="9050"/>
                  </a:lnTo>
                  <a:lnTo>
                    <a:pt x="4905" y="9036"/>
                  </a:lnTo>
                  <a:lnTo>
                    <a:pt x="4926" y="9022"/>
                  </a:lnTo>
                  <a:lnTo>
                    <a:pt x="4946" y="9007"/>
                  </a:lnTo>
                  <a:lnTo>
                    <a:pt x="4965" y="8989"/>
                  </a:lnTo>
                  <a:lnTo>
                    <a:pt x="4984" y="8971"/>
                  </a:lnTo>
                  <a:lnTo>
                    <a:pt x="10501" y="3458"/>
                  </a:lnTo>
                  <a:lnTo>
                    <a:pt x="10557" y="3405"/>
                  </a:lnTo>
                  <a:lnTo>
                    <a:pt x="10616" y="3355"/>
                  </a:lnTo>
                  <a:lnTo>
                    <a:pt x="10676" y="3308"/>
                  </a:lnTo>
                  <a:lnTo>
                    <a:pt x="10738" y="3265"/>
                  </a:lnTo>
                  <a:lnTo>
                    <a:pt x="10802" y="3226"/>
                  </a:lnTo>
                  <a:lnTo>
                    <a:pt x="10866" y="3190"/>
                  </a:lnTo>
                  <a:lnTo>
                    <a:pt x="10933" y="3157"/>
                  </a:lnTo>
                  <a:lnTo>
                    <a:pt x="11000" y="3128"/>
                  </a:lnTo>
                  <a:lnTo>
                    <a:pt x="11069" y="3101"/>
                  </a:lnTo>
                  <a:lnTo>
                    <a:pt x="11139" y="3079"/>
                  </a:lnTo>
                  <a:lnTo>
                    <a:pt x="11209" y="3060"/>
                  </a:lnTo>
                  <a:lnTo>
                    <a:pt x="11280" y="3045"/>
                  </a:lnTo>
                  <a:lnTo>
                    <a:pt x="11352" y="3033"/>
                  </a:lnTo>
                  <a:lnTo>
                    <a:pt x="11423" y="3024"/>
                  </a:lnTo>
                  <a:lnTo>
                    <a:pt x="11496" y="3019"/>
                  </a:lnTo>
                  <a:lnTo>
                    <a:pt x="11568" y="3017"/>
                  </a:lnTo>
                  <a:lnTo>
                    <a:pt x="11641" y="3019"/>
                  </a:lnTo>
                  <a:lnTo>
                    <a:pt x="11713" y="3024"/>
                  </a:lnTo>
                  <a:lnTo>
                    <a:pt x="11785" y="3033"/>
                  </a:lnTo>
                  <a:lnTo>
                    <a:pt x="11857" y="3045"/>
                  </a:lnTo>
                  <a:lnTo>
                    <a:pt x="11927" y="3060"/>
                  </a:lnTo>
                  <a:lnTo>
                    <a:pt x="11998" y="3079"/>
                  </a:lnTo>
                  <a:lnTo>
                    <a:pt x="12067" y="3101"/>
                  </a:lnTo>
                  <a:lnTo>
                    <a:pt x="12137" y="3128"/>
                  </a:lnTo>
                  <a:lnTo>
                    <a:pt x="12204" y="3157"/>
                  </a:lnTo>
                  <a:lnTo>
                    <a:pt x="12270" y="3190"/>
                  </a:lnTo>
                  <a:lnTo>
                    <a:pt x="12335" y="3226"/>
                  </a:lnTo>
                  <a:lnTo>
                    <a:pt x="12398" y="3265"/>
                  </a:lnTo>
                  <a:lnTo>
                    <a:pt x="12461" y="3308"/>
                  </a:lnTo>
                  <a:lnTo>
                    <a:pt x="12521" y="3355"/>
                  </a:lnTo>
                  <a:lnTo>
                    <a:pt x="12579" y="3405"/>
                  </a:lnTo>
                  <a:lnTo>
                    <a:pt x="12635" y="3458"/>
                  </a:lnTo>
                  <a:lnTo>
                    <a:pt x="12689" y="3515"/>
                  </a:lnTo>
                  <a:lnTo>
                    <a:pt x="12738" y="3572"/>
                  </a:lnTo>
                  <a:lnTo>
                    <a:pt x="12785" y="3632"/>
                  </a:lnTo>
                  <a:lnTo>
                    <a:pt x="12828" y="3695"/>
                  </a:lnTo>
                  <a:lnTo>
                    <a:pt x="12868" y="3758"/>
                  </a:lnTo>
                  <a:lnTo>
                    <a:pt x="12904" y="3823"/>
                  </a:lnTo>
                  <a:lnTo>
                    <a:pt x="12936" y="3890"/>
                  </a:lnTo>
                  <a:lnTo>
                    <a:pt x="12967" y="3957"/>
                  </a:lnTo>
                  <a:lnTo>
                    <a:pt x="12992" y="4025"/>
                  </a:lnTo>
                  <a:lnTo>
                    <a:pt x="13015" y="4095"/>
                  </a:lnTo>
                  <a:lnTo>
                    <a:pt x="13033" y="4165"/>
                  </a:lnTo>
                  <a:lnTo>
                    <a:pt x="13049" y="4236"/>
                  </a:lnTo>
                  <a:lnTo>
                    <a:pt x="13061" y="4308"/>
                  </a:lnTo>
                  <a:lnTo>
                    <a:pt x="13069" y="4380"/>
                  </a:lnTo>
                  <a:lnTo>
                    <a:pt x="13075" y="4452"/>
                  </a:lnTo>
                  <a:lnTo>
                    <a:pt x="13076" y="4524"/>
                  </a:lnTo>
                  <a:lnTo>
                    <a:pt x="13075" y="4596"/>
                  </a:lnTo>
                  <a:lnTo>
                    <a:pt x="13069" y="4669"/>
                  </a:lnTo>
                  <a:lnTo>
                    <a:pt x="13061" y="4741"/>
                  </a:lnTo>
                  <a:lnTo>
                    <a:pt x="13049" y="4812"/>
                  </a:lnTo>
                  <a:lnTo>
                    <a:pt x="13033" y="4884"/>
                  </a:lnTo>
                  <a:lnTo>
                    <a:pt x="13015" y="4954"/>
                  </a:lnTo>
                  <a:lnTo>
                    <a:pt x="12992" y="5024"/>
                  </a:lnTo>
                  <a:lnTo>
                    <a:pt x="12967" y="5092"/>
                  </a:lnTo>
                  <a:lnTo>
                    <a:pt x="12936" y="5159"/>
                  </a:lnTo>
                  <a:lnTo>
                    <a:pt x="12904" y="5226"/>
                  </a:lnTo>
                  <a:lnTo>
                    <a:pt x="12868" y="5291"/>
                  </a:lnTo>
                  <a:lnTo>
                    <a:pt x="12828" y="5354"/>
                  </a:lnTo>
                  <a:lnTo>
                    <a:pt x="12785" y="5417"/>
                  </a:lnTo>
                  <a:lnTo>
                    <a:pt x="12738" y="5476"/>
                  </a:lnTo>
                  <a:lnTo>
                    <a:pt x="12689" y="5534"/>
                  </a:lnTo>
                  <a:lnTo>
                    <a:pt x="12635" y="5591"/>
                  </a:lnTo>
                  <a:lnTo>
                    <a:pt x="5297" y="12838"/>
                  </a:lnTo>
                  <a:lnTo>
                    <a:pt x="5203" y="12927"/>
                  </a:lnTo>
                  <a:lnTo>
                    <a:pt x="5106" y="13011"/>
                  </a:lnTo>
                  <a:lnTo>
                    <a:pt x="5006" y="13088"/>
                  </a:lnTo>
                  <a:lnTo>
                    <a:pt x="4902" y="13160"/>
                  </a:lnTo>
                  <a:lnTo>
                    <a:pt x="4796" y="13226"/>
                  </a:lnTo>
                  <a:lnTo>
                    <a:pt x="4688" y="13286"/>
                  </a:lnTo>
                  <a:lnTo>
                    <a:pt x="4577" y="13341"/>
                  </a:lnTo>
                  <a:lnTo>
                    <a:pt x="4465" y="13390"/>
                  </a:lnTo>
                  <a:lnTo>
                    <a:pt x="4351" y="13433"/>
                  </a:lnTo>
                  <a:lnTo>
                    <a:pt x="4235" y="13470"/>
                  </a:lnTo>
                  <a:lnTo>
                    <a:pt x="4117" y="13502"/>
                  </a:lnTo>
                  <a:lnTo>
                    <a:pt x="3999" y="13528"/>
                  </a:lnTo>
                  <a:lnTo>
                    <a:pt x="3880" y="13549"/>
                  </a:lnTo>
                  <a:lnTo>
                    <a:pt x="3760" y="13563"/>
                  </a:lnTo>
                  <a:lnTo>
                    <a:pt x="3639" y="13571"/>
                  </a:lnTo>
                  <a:lnTo>
                    <a:pt x="3519" y="13574"/>
                  </a:lnTo>
                  <a:lnTo>
                    <a:pt x="3398" y="13571"/>
                  </a:lnTo>
                  <a:lnTo>
                    <a:pt x="3277" y="13563"/>
                  </a:lnTo>
                  <a:lnTo>
                    <a:pt x="3158" y="13549"/>
                  </a:lnTo>
                  <a:lnTo>
                    <a:pt x="3039" y="13528"/>
                  </a:lnTo>
                  <a:lnTo>
                    <a:pt x="2920" y="13502"/>
                  </a:lnTo>
                  <a:lnTo>
                    <a:pt x="2803" y="13470"/>
                  </a:lnTo>
                  <a:lnTo>
                    <a:pt x="2687" y="13433"/>
                  </a:lnTo>
                  <a:lnTo>
                    <a:pt x="2572" y="13390"/>
                  </a:lnTo>
                  <a:lnTo>
                    <a:pt x="2460" y="13341"/>
                  </a:lnTo>
                  <a:lnTo>
                    <a:pt x="2350" y="13286"/>
                  </a:lnTo>
                  <a:lnTo>
                    <a:pt x="2241" y="13226"/>
                  </a:lnTo>
                  <a:lnTo>
                    <a:pt x="2136" y="13160"/>
                  </a:lnTo>
                  <a:lnTo>
                    <a:pt x="2032" y="13088"/>
                  </a:lnTo>
                  <a:lnTo>
                    <a:pt x="1931" y="13011"/>
                  </a:lnTo>
                  <a:lnTo>
                    <a:pt x="1835" y="12927"/>
                  </a:lnTo>
                  <a:lnTo>
                    <a:pt x="1740" y="12838"/>
                  </a:lnTo>
                  <a:lnTo>
                    <a:pt x="1652" y="12744"/>
                  </a:lnTo>
                  <a:lnTo>
                    <a:pt x="1568" y="12647"/>
                  </a:lnTo>
                  <a:lnTo>
                    <a:pt x="1491" y="12546"/>
                  </a:lnTo>
                  <a:lnTo>
                    <a:pt x="1418" y="12444"/>
                  </a:lnTo>
                  <a:lnTo>
                    <a:pt x="1352" y="12338"/>
                  </a:lnTo>
                  <a:lnTo>
                    <a:pt x="1292" y="12230"/>
                  </a:lnTo>
                  <a:lnTo>
                    <a:pt x="1237" y="12119"/>
                  </a:lnTo>
                  <a:lnTo>
                    <a:pt x="1188" y="12006"/>
                  </a:lnTo>
                  <a:lnTo>
                    <a:pt x="1145" y="11892"/>
                  </a:lnTo>
                  <a:lnTo>
                    <a:pt x="1108" y="11776"/>
                  </a:lnTo>
                  <a:lnTo>
                    <a:pt x="1076" y="11660"/>
                  </a:lnTo>
                  <a:lnTo>
                    <a:pt x="1050" y="11541"/>
                  </a:lnTo>
                  <a:lnTo>
                    <a:pt x="1030" y="11421"/>
                  </a:lnTo>
                  <a:lnTo>
                    <a:pt x="1016" y="11302"/>
                  </a:lnTo>
                  <a:lnTo>
                    <a:pt x="1007" y="11181"/>
                  </a:lnTo>
                  <a:lnTo>
                    <a:pt x="1004" y="11060"/>
                  </a:lnTo>
                  <a:lnTo>
                    <a:pt x="1007" y="10940"/>
                  </a:lnTo>
                  <a:lnTo>
                    <a:pt x="1016" y="10820"/>
                  </a:lnTo>
                  <a:lnTo>
                    <a:pt x="1030" y="10701"/>
                  </a:lnTo>
                  <a:lnTo>
                    <a:pt x="1050" y="10581"/>
                  </a:lnTo>
                  <a:lnTo>
                    <a:pt x="1076" y="10462"/>
                  </a:lnTo>
                  <a:lnTo>
                    <a:pt x="1108" y="10346"/>
                  </a:lnTo>
                  <a:lnTo>
                    <a:pt x="1145" y="10229"/>
                  </a:lnTo>
                  <a:lnTo>
                    <a:pt x="1188" y="10115"/>
                  </a:lnTo>
                  <a:lnTo>
                    <a:pt x="1237" y="10003"/>
                  </a:lnTo>
                  <a:lnTo>
                    <a:pt x="1292" y="9892"/>
                  </a:lnTo>
                  <a:lnTo>
                    <a:pt x="1352" y="9784"/>
                  </a:lnTo>
                  <a:lnTo>
                    <a:pt x="1418" y="9678"/>
                  </a:lnTo>
                  <a:lnTo>
                    <a:pt x="1491" y="9575"/>
                  </a:lnTo>
                  <a:lnTo>
                    <a:pt x="1568" y="9475"/>
                  </a:lnTo>
                  <a:lnTo>
                    <a:pt x="1652" y="9378"/>
                  </a:lnTo>
                  <a:lnTo>
                    <a:pt x="1740" y="9284"/>
                  </a:lnTo>
                  <a:lnTo>
                    <a:pt x="9007" y="2108"/>
                  </a:lnTo>
                  <a:lnTo>
                    <a:pt x="9139" y="1982"/>
                  </a:lnTo>
                  <a:lnTo>
                    <a:pt x="9275" y="1866"/>
                  </a:lnTo>
                  <a:lnTo>
                    <a:pt x="9415" y="1757"/>
                  </a:lnTo>
                  <a:lnTo>
                    <a:pt x="9559" y="1657"/>
                  </a:lnTo>
                  <a:lnTo>
                    <a:pt x="9707" y="1564"/>
                  </a:lnTo>
                  <a:lnTo>
                    <a:pt x="9859" y="1480"/>
                  </a:lnTo>
                  <a:lnTo>
                    <a:pt x="10014" y="1402"/>
                  </a:lnTo>
                  <a:lnTo>
                    <a:pt x="10172" y="1334"/>
                  </a:lnTo>
                  <a:lnTo>
                    <a:pt x="10332" y="1274"/>
                  </a:lnTo>
                  <a:lnTo>
                    <a:pt x="10495" y="1221"/>
                  </a:lnTo>
                  <a:lnTo>
                    <a:pt x="10659" y="1177"/>
                  </a:lnTo>
                  <a:lnTo>
                    <a:pt x="10825" y="1141"/>
                  </a:lnTo>
                  <a:lnTo>
                    <a:pt x="10992" y="1113"/>
                  </a:lnTo>
                  <a:lnTo>
                    <a:pt x="11160" y="1093"/>
                  </a:lnTo>
                  <a:lnTo>
                    <a:pt x="11328" y="1081"/>
                  </a:lnTo>
                  <a:lnTo>
                    <a:pt x="11497" y="1077"/>
                  </a:lnTo>
                  <a:lnTo>
                    <a:pt x="11666" y="1081"/>
                  </a:lnTo>
                  <a:lnTo>
                    <a:pt x="11835" y="1093"/>
                  </a:lnTo>
                  <a:lnTo>
                    <a:pt x="12003" y="1113"/>
                  </a:lnTo>
                  <a:lnTo>
                    <a:pt x="12170" y="1141"/>
                  </a:lnTo>
                  <a:lnTo>
                    <a:pt x="12335" y="1177"/>
                  </a:lnTo>
                  <a:lnTo>
                    <a:pt x="12500" y="1221"/>
                  </a:lnTo>
                  <a:lnTo>
                    <a:pt x="12662" y="1274"/>
                  </a:lnTo>
                  <a:lnTo>
                    <a:pt x="12822" y="1334"/>
                  </a:lnTo>
                  <a:lnTo>
                    <a:pt x="12980" y="1402"/>
                  </a:lnTo>
                  <a:lnTo>
                    <a:pt x="13135" y="1480"/>
                  </a:lnTo>
                  <a:lnTo>
                    <a:pt x="13285" y="1564"/>
                  </a:lnTo>
                  <a:lnTo>
                    <a:pt x="13433" y="1657"/>
                  </a:lnTo>
                  <a:lnTo>
                    <a:pt x="13578" y="1757"/>
                  </a:lnTo>
                  <a:lnTo>
                    <a:pt x="13718" y="1866"/>
                  </a:lnTo>
                  <a:lnTo>
                    <a:pt x="13855" y="1982"/>
                  </a:lnTo>
                  <a:lnTo>
                    <a:pt x="13986" y="2108"/>
                  </a:lnTo>
                  <a:lnTo>
                    <a:pt x="14110" y="2239"/>
                  </a:lnTo>
                  <a:lnTo>
                    <a:pt x="14228" y="2376"/>
                  </a:lnTo>
                  <a:lnTo>
                    <a:pt x="14337" y="2515"/>
                  </a:lnTo>
                  <a:lnTo>
                    <a:pt x="14437" y="2660"/>
                  </a:lnTo>
                  <a:lnTo>
                    <a:pt x="14530" y="2808"/>
                  </a:lnTo>
                  <a:lnTo>
                    <a:pt x="14614" y="2960"/>
                  </a:lnTo>
                  <a:lnTo>
                    <a:pt x="14692" y="3114"/>
                  </a:lnTo>
                  <a:lnTo>
                    <a:pt x="14760" y="3272"/>
                  </a:lnTo>
                  <a:lnTo>
                    <a:pt x="14820" y="3432"/>
                  </a:lnTo>
                  <a:lnTo>
                    <a:pt x="14873" y="3594"/>
                  </a:lnTo>
                  <a:lnTo>
                    <a:pt x="14917" y="3758"/>
                  </a:lnTo>
                  <a:lnTo>
                    <a:pt x="14953" y="3924"/>
                  </a:lnTo>
                  <a:lnTo>
                    <a:pt x="14981" y="4091"/>
                  </a:lnTo>
                  <a:lnTo>
                    <a:pt x="15002" y="4258"/>
                  </a:lnTo>
                  <a:lnTo>
                    <a:pt x="15014" y="4427"/>
                  </a:lnTo>
                  <a:lnTo>
                    <a:pt x="15018" y="4596"/>
                  </a:lnTo>
                  <a:lnTo>
                    <a:pt x="15014" y="4765"/>
                  </a:lnTo>
                  <a:lnTo>
                    <a:pt x="15002" y="4933"/>
                  </a:lnTo>
                  <a:lnTo>
                    <a:pt x="14981" y="5101"/>
                  </a:lnTo>
                  <a:lnTo>
                    <a:pt x="14953" y="5268"/>
                  </a:lnTo>
                  <a:lnTo>
                    <a:pt x="14917" y="5434"/>
                  </a:lnTo>
                  <a:lnTo>
                    <a:pt x="14873" y="5598"/>
                  </a:lnTo>
                  <a:lnTo>
                    <a:pt x="14820" y="5759"/>
                  </a:lnTo>
                  <a:lnTo>
                    <a:pt x="14760" y="5919"/>
                  </a:lnTo>
                  <a:lnTo>
                    <a:pt x="14692" y="6077"/>
                  </a:lnTo>
                  <a:lnTo>
                    <a:pt x="14615" y="6232"/>
                  </a:lnTo>
                  <a:lnTo>
                    <a:pt x="14531" y="6384"/>
                  </a:lnTo>
                  <a:lnTo>
                    <a:pt x="14438" y="6531"/>
                  </a:lnTo>
                  <a:lnTo>
                    <a:pt x="14338" y="6676"/>
                  </a:lnTo>
                  <a:lnTo>
                    <a:pt x="14228" y="6816"/>
                  </a:lnTo>
                  <a:lnTo>
                    <a:pt x="14111" y="6953"/>
                  </a:lnTo>
                  <a:lnTo>
                    <a:pt x="13987" y="7083"/>
                  </a:lnTo>
                  <a:lnTo>
                    <a:pt x="8541" y="12525"/>
                  </a:lnTo>
                  <a:lnTo>
                    <a:pt x="8523" y="12544"/>
                  </a:lnTo>
                  <a:lnTo>
                    <a:pt x="8507" y="12563"/>
                  </a:lnTo>
                  <a:lnTo>
                    <a:pt x="8491" y="12583"/>
                  </a:lnTo>
                  <a:lnTo>
                    <a:pt x="8477" y="12605"/>
                  </a:lnTo>
                  <a:lnTo>
                    <a:pt x="8464" y="12626"/>
                  </a:lnTo>
                  <a:lnTo>
                    <a:pt x="8451" y="12648"/>
                  </a:lnTo>
                  <a:lnTo>
                    <a:pt x="8441" y="12670"/>
                  </a:lnTo>
                  <a:lnTo>
                    <a:pt x="8431" y="12692"/>
                  </a:lnTo>
                  <a:lnTo>
                    <a:pt x="8422" y="12715"/>
                  </a:lnTo>
                  <a:lnTo>
                    <a:pt x="8415" y="12738"/>
                  </a:lnTo>
                  <a:lnTo>
                    <a:pt x="8408" y="12761"/>
                  </a:lnTo>
                  <a:lnTo>
                    <a:pt x="8403" y="12786"/>
                  </a:lnTo>
                  <a:lnTo>
                    <a:pt x="8399" y="12810"/>
                  </a:lnTo>
                  <a:lnTo>
                    <a:pt x="8396" y="12833"/>
                  </a:lnTo>
                  <a:lnTo>
                    <a:pt x="8395" y="12857"/>
                  </a:lnTo>
                  <a:lnTo>
                    <a:pt x="8394" y="12881"/>
                  </a:lnTo>
                  <a:lnTo>
                    <a:pt x="8395" y="12905"/>
                  </a:lnTo>
                  <a:lnTo>
                    <a:pt x="8396" y="12929"/>
                  </a:lnTo>
                  <a:lnTo>
                    <a:pt x="8399" y="12953"/>
                  </a:lnTo>
                  <a:lnTo>
                    <a:pt x="8403" y="12978"/>
                  </a:lnTo>
                  <a:lnTo>
                    <a:pt x="8408" y="13001"/>
                  </a:lnTo>
                  <a:lnTo>
                    <a:pt x="8415" y="13025"/>
                  </a:lnTo>
                  <a:lnTo>
                    <a:pt x="8422" y="13048"/>
                  </a:lnTo>
                  <a:lnTo>
                    <a:pt x="8431" y="13070"/>
                  </a:lnTo>
                  <a:lnTo>
                    <a:pt x="8441" y="13093"/>
                  </a:lnTo>
                  <a:lnTo>
                    <a:pt x="8451" y="13115"/>
                  </a:lnTo>
                  <a:lnTo>
                    <a:pt x="8464" y="13136"/>
                  </a:lnTo>
                  <a:lnTo>
                    <a:pt x="8477" y="13157"/>
                  </a:lnTo>
                  <a:lnTo>
                    <a:pt x="8491" y="13179"/>
                  </a:lnTo>
                  <a:lnTo>
                    <a:pt x="8507" y="13199"/>
                  </a:lnTo>
                  <a:lnTo>
                    <a:pt x="8523" y="13218"/>
                  </a:lnTo>
                  <a:lnTo>
                    <a:pt x="8541" y="13237"/>
                  </a:lnTo>
                  <a:lnTo>
                    <a:pt x="8561" y="13254"/>
                  </a:lnTo>
                  <a:lnTo>
                    <a:pt x="8580" y="13271"/>
                  </a:lnTo>
                  <a:lnTo>
                    <a:pt x="8600" y="13286"/>
                  </a:lnTo>
                  <a:lnTo>
                    <a:pt x="8621" y="13301"/>
                  </a:lnTo>
                  <a:lnTo>
                    <a:pt x="8642" y="13314"/>
                  </a:lnTo>
                  <a:lnTo>
                    <a:pt x="8663" y="13326"/>
                  </a:lnTo>
                  <a:lnTo>
                    <a:pt x="8685" y="13337"/>
                  </a:lnTo>
                  <a:lnTo>
                    <a:pt x="8708" y="13348"/>
                  </a:lnTo>
                  <a:lnTo>
                    <a:pt x="8731" y="13356"/>
                  </a:lnTo>
                  <a:lnTo>
                    <a:pt x="8754" y="13364"/>
                  </a:lnTo>
                  <a:lnTo>
                    <a:pt x="8778" y="13370"/>
                  </a:lnTo>
                  <a:lnTo>
                    <a:pt x="8801" y="13375"/>
                  </a:lnTo>
                  <a:lnTo>
                    <a:pt x="8825" y="13379"/>
                  </a:lnTo>
                  <a:lnTo>
                    <a:pt x="8849" y="13382"/>
                  </a:lnTo>
                  <a:lnTo>
                    <a:pt x="8873" y="13384"/>
                  </a:lnTo>
                  <a:lnTo>
                    <a:pt x="8898" y="13385"/>
                  </a:lnTo>
                  <a:lnTo>
                    <a:pt x="8922" y="13384"/>
                  </a:lnTo>
                  <a:lnTo>
                    <a:pt x="8946" y="13382"/>
                  </a:lnTo>
                  <a:lnTo>
                    <a:pt x="8969" y="13379"/>
                  </a:lnTo>
                  <a:lnTo>
                    <a:pt x="8993" y="13375"/>
                  </a:lnTo>
                  <a:lnTo>
                    <a:pt x="9017" y="13370"/>
                  </a:lnTo>
                  <a:lnTo>
                    <a:pt x="9040" y="13364"/>
                  </a:lnTo>
                  <a:lnTo>
                    <a:pt x="9063" y="13356"/>
                  </a:lnTo>
                  <a:lnTo>
                    <a:pt x="9087" y="13348"/>
                  </a:lnTo>
                  <a:lnTo>
                    <a:pt x="9109" y="13337"/>
                  </a:lnTo>
                  <a:lnTo>
                    <a:pt x="9131" y="13326"/>
                  </a:lnTo>
                  <a:lnTo>
                    <a:pt x="9153" y="13314"/>
                  </a:lnTo>
                  <a:lnTo>
                    <a:pt x="9174" y="13301"/>
                  </a:lnTo>
                  <a:lnTo>
                    <a:pt x="9194" y="13286"/>
                  </a:lnTo>
                  <a:lnTo>
                    <a:pt x="9214" y="13271"/>
                  </a:lnTo>
                  <a:lnTo>
                    <a:pt x="9234" y="13254"/>
                  </a:lnTo>
                  <a:lnTo>
                    <a:pt x="9253" y="13237"/>
                  </a:lnTo>
                  <a:lnTo>
                    <a:pt x="14768" y="7724"/>
                  </a:lnTo>
                  <a:lnTo>
                    <a:pt x="14929" y="7555"/>
                  </a:lnTo>
                  <a:lnTo>
                    <a:pt x="15080" y="7380"/>
                  </a:lnTo>
                  <a:lnTo>
                    <a:pt x="15220" y="7200"/>
                  </a:lnTo>
                  <a:lnTo>
                    <a:pt x="15349" y="7014"/>
                  </a:lnTo>
                  <a:lnTo>
                    <a:pt x="15468" y="6823"/>
                  </a:lnTo>
                  <a:lnTo>
                    <a:pt x="15577" y="6628"/>
                  </a:lnTo>
                  <a:lnTo>
                    <a:pt x="15676" y="6430"/>
                  </a:lnTo>
                  <a:lnTo>
                    <a:pt x="15763" y="6227"/>
                  </a:lnTo>
                  <a:lnTo>
                    <a:pt x="15842" y="6021"/>
                  </a:lnTo>
                  <a:lnTo>
                    <a:pt x="15909" y="5813"/>
                  </a:lnTo>
                  <a:lnTo>
                    <a:pt x="15965" y="5602"/>
                  </a:lnTo>
                  <a:lnTo>
                    <a:pt x="16013" y="5388"/>
                  </a:lnTo>
                  <a:lnTo>
                    <a:pt x="16049" y="5174"/>
                  </a:lnTo>
                  <a:lnTo>
                    <a:pt x="16074" y="4958"/>
                  </a:lnTo>
                  <a:lnTo>
                    <a:pt x="16090" y="4742"/>
                  </a:lnTo>
                  <a:lnTo>
                    <a:pt x="16095" y="4525"/>
                  </a:lnTo>
                  <a:lnTo>
                    <a:pt x="16090" y="4308"/>
                  </a:lnTo>
                  <a:lnTo>
                    <a:pt x="16074" y="4091"/>
                  </a:lnTo>
                  <a:lnTo>
                    <a:pt x="16049" y="3875"/>
                  </a:lnTo>
                  <a:lnTo>
                    <a:pt x="16013" y="3660"/>
                  </a:lnTo>
                  <a:lnTo>
                    <a:pt x="15965" y="3447"/>
                  </a:lnTo>
                  <a:lnTo>
                    <a:pt x="15909" y="3236"/>
                  </a:lnTo>
                  <a:lnTo>
                    <a:pt x="15842" y="3028"/>
                  </a:lnTo>
                  <a:lnTo>
                    <a:pt x="15763" y="2822"/>
                  </a:lnTo>
                  <a:lnTo>
                    <a:pt x="15676" y="2620"/>
                  </a:lnTo>
                  <a:lnTo>
                    <a:pt x="15577" y="2421"/>
                  </a:lnTo>
                  <a:lnTo>
                    <a:pt x="15468" y="2226"/>
                  </a:lnTo>
                  <a:lnTo>
                    <a:pt x="15349" y="2036"/>
                  </a:lnTo>
                  <a:lnTo>
                    <a:pt x="15220" y="1850"/>
                  </a:lnTo>
                  <a:lnTo>
                    <a:pt x="15080" y="1669"/>
                  </a:lnTo>
                  <a:lnTo>
                    <a:pt x="14929" y="1495"/>
                  </a:lnTo>
                  <a:lnTo>
                    <a:pt x="14768" y="13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81" name="íSḻiḓe">
              <a:extLst>
                <a:ext uri="{FF2B5EF4-FFF2-40B4-BE49-F238E27FC236}">
                  <a16:creationId xmlns:a16="http://schemas.microsoft.com/office/drawing/2014/main" id="{99FDD8A2-6822-4A23-8BB2-4649515E9D9E}"/>
                </a:ext>
              </a:extLst>
            </p:cNvPr>
            <p:cNvSpPr/>
            <p:nvPr/>
          </p:nvSpPr>
          <p:spPr bwMode="auto">
            <a:xfrm>
              <a:off x="5935863" y="2587513"/>
              <a:ext cx="366358" cy="366358"/>
            </a:xfrm>
            <a:custGeom>
              <a:avLst/>
              <a:gdLst>
                <a:gd name="T0" fmla="*/ 4167 w 16092"/>
                <a:gd name="T1" fmla="*/ 13921 h 16091"/>
                <a:gd name="T2" fmla="*/ 2857 w 16092"/>
                <a:gd name="T3" fmla="*/ 12802 h 16091"/>
                <a:gd name="T4" fmla="*/ 1872 w 16092"/>
                <a:gd name="T5" fmla="*/ 11423 h 16091"/>
                <a:gd name="T6" fmla="*/ 1245 w 16092"/>
                <a:gd name="T7" fmla="*/ 9857 h 16091"/>
                <a:gd name="T8" fmla="*/ 1007 w 16092"/>
                <a:gd name="T9" fmla="*/ 8176 h 16091"/>
                <a:gd name="T10" fmla="*/ 1188 w 16092"/>
                <a:gd name="T11" fmla="*/ 6453 h 16091"/>
                <a:gd name="T12" fmla="*/ 1812 w 16092"/>
                <a:gd name="T13" fmla="*/ 4775 h 16091"/>
                <a:gd name="T14" fmla="*/ 2807 w 16092"/>
                <a:gd name="T15" fmla="*/ 3343 h 16091"/>
                <a:gd name="T16" fmla="*/ 4090 w 16092"/>
                <a:gd name="T17" fmla="*/ 2225 h 16091"/>
                <a:gd name="T18" fmla="*/ 5590 w 16092"/>
                <a:gd name="T19" fmla="*/ 1452 h 16091"/>
                <a:gd name="T20" fmla="*/ 7234 w 16092"/>
                <a:gd name="T21" fmla="*/ 1054 h 16091"/>
                <a:gd name="T22" fmla="*/ 8949 w 16092"/>
                <a:gd name="T23" fmla="*/ 1063 h 16091"/>
                <a:gd name="T24" fmla="*/ 10662 w 16092"/>
                <a:gd name="T25" fmla="*/ 1511 h 16091"/>
                <a:gd name="T26" fmla="*/ 12211 w 16092"/>
                <a:gd name="T27" fmla="*/ 2370 h 16091"/>
                <a:gd name="T28" fmla="*/ 13458 w 16092"/>
                <a:gd name="T29" fmla="*/ 3547 h 16091"/>
                <a:gd name="T30" fmla="*/ 14374 w 16092"/>
                <a:gd name="T31" fmla="*/ 4968 h 16091"/>
                <a:gd name="T32" fmla="*/ 14925 w 16092"/>
                <a:gd name="T33" fmla="*/ 6564 h 16091"/>
                <a:gd name="T34" fmla="*/ 15082 w 16092"/>
                <a:gd name="T35" fmla="*/ 8259 h 16091"/>
                <a:gd name="T36" fmla="*/ 14814 w 16092"/>
                <a:gd name="T37" fmla="*/ 9982 h 16091"/>
                <a:gd name="T38" fmla="*/ 14107 w 16092"/>
                <a:gd name="T39" fmla="*/ 11626 h 16091"/>
                <a:gd name="T40" fmla="*/ 13049 w 16092"/>
                <a:gd name="T41" fmla="*/ 12998 h 16091"/>
                <a:gd name="T42" fmla="*/ 11716 w 16092"/>
                <a:gd name="T43" fmla="*/ 14049 h 16091"/>
                <a:gd name="T44" fmla="*/ 10181 w 16092"/>
                <a:gd name="T45" fmla="*/ 14750 h 16091"/>
                <a:gd name="T46" fmla="*/ 8518 w 16092"/>
                <a:gd name="T47" fmla="*/ 15069 h 16091"/>
                <a:gd name="T48" fmla="*/ 6797 w 16092"/>
                <a:gd name="T49" fmla="*/ 14974 h 16091"/>
                <a:gd name="T50" fmla="*/ 11036 w 16092"/>
                <a:gd name="T51" fmla="*/ 576 h 16091"/>
                <a:gd name="T52" fmla="*/ 9076 w 16092"/>
                <a:gd name="T53" fmla="*/ 64 h 16091"/>
                <a:gd name="T54" fmla="*/ 7115 w 16092"/>
                <a:gd name="T55" fmla="*/ 52 h 16091"/>
                <a:gd name="T56" fmla="*/ 5238 w 16092"/>
                <a:gd name="T57" fmla="*/ 506 h 16091"/>
                <a:gd name="T58" fmla="*/ 3525 w 16092"/>
                <a:gd name="T59" fmla="*/ 1390 h 16091"/>
                <a:gd name="T60" fmla="*/ 2058 w 16092"/>
                <a:gd name="T61" fmla="*/ 2669 h 16091"/>
                <a:gd name="T62" fmla="*/ 921 w 16092"/>
                <a:gd name="T63" fmla="*/ 4306 h 16091"/>
                <a:gd name="T64" fmla="*/ 207 w 16092"/>
                <a:gd name="T65" fmla="*/ 6227 h 16091"/>
                <a:gd name="T66" fmla="*/ 0 w 16092"/>
                <a:gd name="T67" fmla="*/ 8197 h 16091"/>
                <a:gd name="T68" fmla="*/ 272 w 16092"/>
                <a:gd name="T69" fmla="*/ 10118 h 16091"/>
                <a:gd name="T70" fmla="*/ 987 w 16092"/>
                <a:gd name="T71" fmla="*/ 11906 h 16091"/>
                <a:gd name="T72" fmla="*/ 2111 w 16092"/>
                <a:gd name="T73" fmla="*/ 13482 h 16091"/>
                <a:gd name="T74" fmla="*/ 3610 w 16092"/>
                <a:gd name="T75" fmla="*/ 14760 h 16091"/>
                <a:gd name="T76" fmla="*/ 5443 w 16092"/>
                <a:gd name="T77" fmla="*/ 15658 h 16091"/>
                <a:gd name="T78" fmla="*/ 7410 w 16092"/>
                <a:gd name="T79" fmla="*/ 16068 h 16091"/>
                <a:gd name="T80" fmla="*/ 9360 w 16092"/>
                <a:gd name="T81" fmla="*/ 15984 h 16091"/>
                <a:gd name="T82" fmla="*/ 11211 w 16092"/>
                <a:gd name="T83" fmla="*/ 15441 h 16091"/>
                <a:gd name="T84" fmla="*/ 12882 w 16092"/>
                <a:gd name="T85" fmla="*/ 14476 h 16091"/>
                <a:gd name="T86" fmla="*/ 14289 w 16092"/>
                <a:gd name="T87" fmla="*/ 13122 h 16091"/>
                <a:gd name="T88" fmla="*/ 15351 w 16092"/>
                <a:gd name="T89" fmla="*/ 11416 h 16091"/>
                <a:gd name="T90" fmla="*/ 15965 w 16092"/>
                <a:gd name="T91" fmla="*/ 9470 h 16091"/>
                <a:gd name="T92" fmla="*/ 16075 w 16092"/>
                <a:gd name="T93" fmla="*/ 7503 h 16091"/>
                <a:gd name="T94" fmla="*/ 15711 w 16092"/>
                <a:gd name="T95" fmla="*/ 5602 h 16091"/>
                <a:gd name="T96" fmla="*/ 14911 w 16092"/>
                <a:gd name="T97" fmla="*/ 3850 h 16091"/>
                <a:gd name="T98" fmla="*/ 13708 w 16092"/>
                <a:gd name="T99" fmla="*/ 2328 h 16091"/>
                <a:gd name="T100" fmla="*/ 12139 w 16092"/>
                <a:gd name="T101" fmla="*/ 1119 h 16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092" h="16091">
                  <a:moveTo>
                    <a:pt x="5429" y="14581"/>
                  </a:moveTo>
                  <a:lnTo>
                    <a:pt x="5096" y="14438"/>
                  </a:lnTo>
                  <a:lnTo>
                    <a:pt x="4775" y="14279"/>
                  </a:lnTo>
                  <a:lnTo>
                    <a:pt x="4465" y="14107"/>
                  </a:lnTo>
                  <a:lnTo>
                    <a:pt x="4167" y="13921"/>
                  </a:lnTo>
                  <a:lnTo>
                    <a:pt x="3880" y="13721"/>
                  </a:lnTo>
                  <a:lnTo>
                    <a:pt x="3605" y="13509"/>
                  </a:lnTo>
                  <a:lnTo>
                    <a:pt x="3343" y="13284"/>
                  </a:lnTo>
                  <a:lnTo>
                    <a:pt x="3093" y="13049"/>
                  </a:lnTo>
                  <a:lnTo>
                    <a:pt x="2857" y="12802"/>
                  </a:lnTo>
                  <a:lnTo>
                    <a:pt x="2633" y="12544"/>
                  </a:lnTo>
                  <a:lnTo>
                    <a:pt x="2422" y="12277"/>
                  </a:lnTo>
                  <a:lnTo>
                    <a:pt x="2225" y="12001"/>
                  </a:lnTo>
                  <a:lnTo>
                    <a:pt x="2042" y="11716"/>
                  </a:lnTo>
                  <a:lnTo>
                    <a:pt x="1872" y="11423"/>
                  </a:lnTo>
                  <a:lnTo>
                    <a:pt x="1717" y="11123"/>
                  </a:lnTo>
                  <a:lnTo>
                    <a:pt x="1577" y="10815"/>
                  </a:lnTo>
                  <a:lnTo>
                    <a:pt x="1452" y="10501"/>
                  </a:lnTo>
                  <a:lnTo>
                    <a:pt x="1341" y="10182"/>
                  </a:lnTo>
                  <a:lnTo>
                    <a:pt x="1245" y="9857"/>
                  </a:lnTo>
                  <a:lnTo>
                    <a:pt x="1166" y="9527"/>
                  </a:lnTo>
                  <a:lnTo>
                    <a:pt x="1102" y="9194"/>
                  </a:lnTo>
                  <a:lnTo>
                    <a:pt x="1054" y="8857"/>
                  </a:lnTo>
                  <a:lnTo>
                    <a:pt x="1022" y="8518"/>
                  </a:lnTo>
                  <a:lnTo>
                    <a:pt x="1007" y="8176"/>
                  </a:lnTo>
                  <a:lnTo>
                    <a:pt x="1009" y="7832"/>
                  </a:lnTo>
                  <a:lnTo>
                    <a:pt x="1027" y="7488"/>
                  </a:lnTo>
                  <a:lnTo>
                    <a:pt x="1063" y="7143"/>
                  </a:lnTo>
                  <a:lnTo>
                    <a:pt x="1117" y="6797"/>
                  </a:lnTo>
                  <a:lnTo>
                    <a:pt x="1188" y="6453"/>
                  </a:lnTo>
                  <a:lnTo>
                    <a:pt x="1277" y="6109"/>
                  </a:lnTo>
                  <a:lnTo>
                    <a:pt x="1384" y="5768"/>
                  </a:lnTo>
                  <a:lnTo>
                    <a:pt x="1510" y="5429"/>
                  </a:lnTo>
                  <a:lnTo>
                    <a:pt x="1654" y="5096"/>
                  </a:lnTo>
                  <a:lnTo>
                    <a:pt x="1812" y="4775"/>
                  </a:lnTo>
                  <a:lnTo>
                    <a:pt x="1984" y="4465"/>
                  </a:lnTo>
                  <a:lnTo>
                    <a:pt x="2170" y="4167"/>
                  </a:lnTo>
                  <a:lnTo>
                    <a:pt x="2370" y="3880"/>
                  </a:lnTo>
                  <a:lnTo>
                    <a:pt x="2582" y="3605"/>
                  </a:lnTo>
                  <a:lnTo>
                    <a:pt x="2807" y="3343"/>
                  </a:lnTo>
                  <a:lnTo>
                    <a:pt x="3042" y="3093"/>
                  </a:lnTo>
                  <a:lnTo>
                    <a:pt x="3289" y="2857"/>
                  </a:lnTo>
                  <a:lnTo>
                    <a:pt x="3547" y="2633"/>
                  </a:lnTo>
                  <a:lnTo>
                    <a:pt x="3814" y="2422"/>
                  </a:lnTo>
                  <a:lnTo>
                    <a:pt x="4090" y="2225"/>
                  </a:lnTo>
                  <a:lnTo>
                    <a:pt x="4375" y="2042"/>
                  </a:lnTo>
                  <a:lnTo>
                    <a:pt x="4669" y="1873"/>
                  </a:lnTo>
                  <a:lnTo>
                    <a:pt x="4968" y="1718"/>
                  </a:lnTo>
                  <a:lnTo>
                    <a:pt x="5276" y="1577"/>
                  </a:lnTo>
                  <a:lnTo>
                    <a:pt x="5590" y="1452"/>
                  </a:lnTo>
                  <a:lnTo>
                    <a:pt x="5910" y="1341"/>
                  </a:lnTo>
                  <a:lnTo>
                    <a:pt x="6234" y="1245"/>
                  </a:lnTo>
                  <a:lnTo>
                    <a:pt x="6564" y="1166"/>
                  </a:lnTo>
                  <a:lnTo>
                    <a:pt x="6897" y="1103"/>
                  </a:lnTo>
                  <a:lnTo>
                    <a:pt x="7234" y="1054"/>
                  </a:lnTo>
                  <a:lnTo>
                    <a:pt x="7573" y="1022"/>
                  </a:lnTo>
                  <a:lnTo>
                    <a:pt x="7915" y="1007"/>
                  </a:lnTo>
                  <a:lnTo>
                    <a:pt x="8259" y="1009"/>
                  </a:lnTo>
                  <a:lnTo>
                    <a:pt x="8603" y="1028"/>
                  </a:lnTo>
                  <a:lnTo>
                    <a:pt x="8949" y="1063"/>
                  </a:lnTo>
                  <a:lnTo>
                    <a:pt x="9294" y="1117"/>
                  </a:lnTo>
                  <a:lnTo>
                    <a:pt x="9638" y="1188"/>
                  </a:lnTo>
                  <a:lnTo>
                    <a:pt x="9982" y="1278"/>
                  </a:lnTo>
                  <a:lnTo>
                    <a:pt x="10323" y="1385"/>
                  </a:lnTo>
                  <a:lnTo>
                    <a:pt x="10662" y="1511"/>
                  </a:lnTo>
                  <a:lnTo>
                    <a:pt x="10995" y="1654"/>
                  </a:lnTo>
                  <a:lnTo>
                    <a:pt x="11316" y="1812"/>
                  </a:lnTo>
                  <a:lnTo>
                    <a:pt x="11626" y="1984"/>
                  </a:lnTo>
                  <a:lnTo>
                    <a:pt x="11924" y="2171"/>
                  </a:lnTo>
                  <a:lnTo>
                    <a:pt x="12211" y="2370"/>
                  </a:lnTo>
                  <a:lnTo>
                    <a:pt x="12486" y="2582"/>
                  </a:lnTo>
                  <a:lnTo>
                    <a:pt x="12748" y="2807"/>
                  </a:lnTo>
                  <a:lnTo>
                    <a:pt x="12998" y="3043"/>
                  </a:lnTo>
                  <a:lnTo>
                    <a:pt x="13234" y="3289"/>
                  </a:lnTo>
                  <a:lnTo>
                    <a:pt x="13458" y="3547"/>
                  </a:lnTo>
                  <a:lnTo>
                    <a:pt x="13669" y="3814"/>
                  </a:lnTo>
                  <a:lnTo>
                    <a:pt x="13866" y="4090"/>
                  </a:lnTo>
                  <a:lnTo>
                    <a:pt x="14049" y="4375"/>
                  </a:lnTo>
                  <a:lnTo>
                    <a:pt x="14219" y="4669"/>
                  </a:lnTo>
                  <a:lnTo>
                    <a:pt x="14374" y="4968"/>
                  </a:lnTo>
                  <a:lnTo>
                    <a:pt x="14514" y="5276"/>
                  </a:lnTo>
                  <a:lnTo>
                    <a:pt x="14639" y="5590"/>
                  </a:lnTo>
                  <a:lnTo>
                    <a:pt x="14750" y="5910"/>
                  </a:lnTo>
                  <a:lnTo>
                    <a:pt x="14846" y="6234"/>
                  </a:lnTo>
                  <a:lnTo>
                    <a:pt x="14925" y="6564"/>
                  </a:lnTo>
                  <a:lnTo>
                    <a:pt x="14989" y="6897"/>
                  </a:lnTo>
                  <a:lnTo>
                    <a:pt x="15037" y="7234"/>
                  </a:lnTo>
                  <a:lnTo>
                    <a:pt x="15069" y="7573"/>
                  </a:lnTo>
                  <a:lnTo>
                    <a:pt x="15084" y="7915"/>
                  </a:lnTo>
                  <a:lnTo>
                    <a:pt x="15082" y="8259"/>
                  </a:lnTo>
                  <a:lnTo>
                    <a:pt x="15064" y="8603"/>
                  </a:lnTo>
                  <a:lnTo>
                    <a:pt x="15028" y="8949"/>
                  </a:lnTo>
                  <a:lnTo>
                    <a:pt x="14974" y="9294"/>
                  </a:lnTo>
                  <a:lnTo>
                    <a:pt x="14903" y="9638"/>
                  </a:lnTo>
                  <a:lnTo>
                    <a:pt x="14814" y="9982"/>
                  </a:lnTo>
                  <a:lnTo>
                    <a:pt x="14707" y="10323"/>
                  </a:lnTo>
                  <a:lnTo>
                    <a:pt x="14581" y="10662"/>
                  </a:lnTo>
                  <a:lnTo>
                    <a:pt x="14437" y="10995"/>
                  </a:lnTo>
                  <a:lnTo>
                    <a:pt x="14279" y="11316"/>
                  </a:lnTo>
                  <a:lnTo>
                    <a:pt x="14107" y="11626"/>
                  </a:lnTo>
                  <a:lnTo>
                    <a:pt x="13921" y="11924"/>
                  </a:lnTo>
                  <a:lnTo>
                    <a:pt x="13721" y="12211"/>
                  </a:lnTo>
                  <a:lnTo>
                    <a:pt x="13509" y="12486"/>
                  </a:lnTo>
                  <a:lnTo>
                    <a:pt x="13284" y="12748"/>
                  </a:lnTo>
                  <a:lnTo>
                    <a:pt x="13049" y="12998"/>
                  </a:lnTo>
                  <a:lnTo>
                    <a:pt x="12802" y="13235"/>
                  </a:lnTo>
                  <a:lnTo>
                    <a:pt x="12544" y="13458"/>
                  </a:lnTo>
                  <a:lnTo>
                    <a:pt x="12277" y="13669"/>
                  </a:lnTo>
                  <a:lnTo>
                    <a:pt x="12001" y="13866"/>
                  </a:lnTo>
                  <a:lnTo>
                    <a:pt x="11716" y="14049"/>
                  </a:lnTo>
                  <a:lnTo>
                    <a:pt x="11422" y="14219"/>
                  </a:lnTo>
                  <a:lnTo>
                    <a:pt x="11123" y="14374"/>
                  </a:lnTo>
                  <a:lnTo>
                    <a:pt x="10815" y="14514"/>
                  </a:lnTo>
                  <a:lnTo>
                    <a:pt x="10501" y="14639"/>
                  </a:lnTo>
                  <a:lnTo>
                    <a:pt x="10181" y="14750"/>
                  </a:lnTo>
                  <a:lnTo>
                    <a:pt x="9857" y="14846"/>
                  </a:lnTo>
                  <a:lnTo>
                    <a:pt x="9527" y="14925"/>
                  </a:lnTo>
                  <a:lnTo>
                    <a:pt x="9194" y="14989"/>
                  </a:lnTo>
                  <a:lnTo>
                    <a:pt x="8857" y="15037"/>
                  </a:lnTo>
                  <a:lnTo>
                    <a:pt x="8518" y="15069"/>
                  </a:lnTo>
                  <a:lnTo>
                    <a:pt x="8176" y="15084"/>
                  </a:lnTo>
                  <a:lnTo>
                    <a:pt x="7832" y="15082"/>
                  </a:lnTo>
                  <a:lnTo>
                    <a:pt x="7487" y="15064"/>
                  </a:lnTo>
                  <a:lnTo>
                    <a:pt x="7142" y="15028"/>
                  </a:lnTo>
                  <a:lnTo>
                    <a:pt x="6797" y="14974"/>
                  </a:lnTo>
                  <a:lnTo>
                    <a:pt x="6453" y="14903"/>
                  </a:lnTo>
                  <a:lnTo>
                    <a:pt x="6109" y="14814"/>
                  </a:lnTo>
                  <a:lnTo>
                    <a:pt x="5768" y="14707"/>
                  </a:lnTo>
                  <a:lnTo>
                    <a:pt x="5429" y="14581"/>
                  </a:lnTo>
                  <a:close/>
                  <a:moveTo>
                    <a:pt x="11036" y="576"/>
                  </a:moveTo>
                  <a:lnTo>
                    <a:pt x="10648" y="433"/>
                  </a:lnTo>
                  <a:lnTo>
                    <a:pt x="10258" y="310"/>
                  </a:lnTo>
                  <a:lnTo>
                    <a:pt x="9864" y="207"/>
                  </a:lnTo>
                  <a:lnTo>
                    <a:pt x="9470" y="126"/>
                  </a:lnTo>
                  <a:lnTo>
                    <a:pt x="9076" y="64"/>
                  </a:lnTo>
                  <a:lnTo>
                    <a:pt x="8681" y="23"/>
                  </a:lnTo>
                  <a:lnTo>
                    <a:pt x="8287" y="2"/>
                  </a:lnTo>
                  <a:lnTo>
                    <a:pt x="7895" y="0"/>
                  </a:lnTo>
                  <a:lnTo>
                    <a:pt x="7503" y="17"/>
                  </a:lnTo>
                  <a:lnTo>
                    <a:pt x="7115" y="52"/>
                  </a:lnTo>
                  <a:lnTo>
                    <a:pt x="6731" y="108"/>
                  </a:lnTo>
                  <a:lnTo>
                    <a:pt x="6349" y="180"/>
                  </a:lnTo>
                  <a:lnTo>
                    <a:pt x="5973" y="272"/>
                  </a:lnTo>
                  <a:lnTo>
                    <a:pt x="5603" y="380"/>
                  </a:lnTo>
                  <a:lnTo>
                    <a:pt x="5238" y="506"/>
                  </a:lnTo>
                  <a:lnTo>
                    <a:pt x="4880" y="650"/>
                  </a:lnTo>
                  <a:lnTo>
                    <a:pt x="4529" y="810"/>
                  </a:lnTo>
                  <a:lnTo>
                    <a:pt x="4185" y="987"/>
                  </a:lnTo>
                  <a:lnTo>
                    <a:pt x="3851" y="1180"/>
                  </a:lnTo>
                  <a:lnTo>
                    <a:pt x="3525" y="1390"/>
                  </a:lnTo>
                  <a:lnTo>
                    <a:pt x="3209" y="1616"/>
                  </a:lnTo>
                  <a:lnTo>
                    <a:pt x="2904" y="1856"/>
                  </a:lnTo>
                  <a:lnTo>
                    <a:pt x="2610" y="2111"/>
                  </a:lnTo>
                  <a:lnTo>
                    <a:pt x="2328" y="2383"/>
                  </a:lnTo>
                  <a:lnTo>
                    <a:pt x="2058" y="2669"/>
                  </a:lnTo>
                  <a:lnTo>
                    <a:pt x="1803" y="2969"/>
                  </a:lnTo>
                  <a:lnTo>
                    <a:pt x="1559" y="3282"/>
                  </a:lnTo>
                  <a:lnTo>
                    <a:pt x="1332" y="3610"/>
                  </a:lnTo>
                  <a:lnTo>
                    <a:pt x="1119" y="3951"/>
                  </a:lnTo>
                  <a:lnTo>
                    <a:pt x="921" y="4306"/>
                  </a:lnTo>
                  <a:lnTo>
                    <a:pt x="740" y="4675"/>
                  </a:lnTo>
                  <a:lnTo>
                    <a:pt x="577" y="5055"/>
                  </a:lnTo>
                  <a:lnTo>
                    <a:pt x="433" y="5443"/>
                  </a:lnTo>
                  <a:lnTo>
                    <a:pt x="310" y="5833"/>
                  </a:lnTo>
                  <a:lnTo>
                    <a:pt x="207" y="6227"/>
                  </a:lnTo>
                  <a:lnTo>
                    <a:pt x="126" y="6621"/>
                  </a:lnTo>
                  <a:lnTo>
                    <a:pt x="64" y="7015"/>
                  </a:lnTo>
                  <a:lnTo>
                    <a:pt x="23" y="7411"/>
                  </a:lnTo>
                  <a:lnTo>
                    <a:pt x="2" y="7804"/>
                  </a:lnTo>
                  <a:lnTo>
                    <a:pt x="0" y="8197"/>
                  </a:lnTo>
                  <a:lnTo>
                    <a:pt x="17" y="8588"/>
                  </a:lnTo>
                  <a:lnTo>
                    <a:pt x="52" y="8976"/>
                  </a:lnTo>
                  <a:lnTo>
                    <a:pt x="108" y="9360"/>
                  </a:lnTo>
                  <a:lnTo>
                    <a:pt x="180" y="9742"/>
                  </a:lnTo>
                  <a:lnTo>
                    <a:pt x="272" y="10118"/>
                  </a:lnTo>
                  <a:lnTo>
                    <a:pt x="380" y="10489"/>
                  </a:lnTo>
                  <a:lnTo>
                    <a:pt x="506" y="10854"/>
                  </a:lnTo>
                  <a:lnTo>
                    <a:pt x="650" y="11212"/>
                  </a:lnTo>
                  <a:lnTo>
                    <a:pt x="810" y="11563"/>
                  </a:lnTo>
                  <a:lnTo>
                    <a:pt x="987" y="11906"/>
                  </a:lnTo>
                  <a:lnTo>
                    <a:pt x="1180" y="12241"/>
                  </a:lnTo>
                  <a:lnTo>
                    <a:pt x="1389" y="12566"/>
                  </a:lnTo>
                  <a:lnTo>
                    <a:pt x="1615" y="12882"/>
                  </a:lnTo>
                  <a:lnTo>
                    <a:pt x="1856" y="13188"/>
                  </a:lnTo>
                  <a:lnTo>
                    <a:pt x="2111" y="13482"/>
                  </a:lnTo>
                  <a:lnTo>
                    <a:pt x="2383" y="13763"/>
                  </a:lnTo>
                  <a:lnTo>
                    <a:pt x="2669" y="14033"/>
                  </a:lnTo>
                  <a:lnTo>
                    <a:pt x="2969" y="14289"/>
                  </a:lnTo>
                  <a:lnTo>
                    <a:pt x="3282" y="14532"/>
                  </a:lnTo>
                  <a:lnTo>
                    <a:pt x="3610" y="14760"/>
                  </a:lnTo>
                  <a:lnTo>
                    <a:pt x="3951" y="14972"/>
                  </a:lnTo>
                  <a:lnTo>
                    <a:pt x="4306" y="15170"/>
                  </a:lnTo>
                  <a:lnTo>
                    <a:pt x="4675" y="15351"/>
                  </a:lnTo>
                  <a:lnTo>
                    <a:pt x="5055" y="15514"/>
                  </a:lnTo>
                  <a:lnTo>
                    <a:pt x="5443" y="15658"/>
                  </a:lnTo>
                  <a:lnTo>
                    <a:pt x="5833" y="15781"/>
                  </a:lnTo>
                  <a:lnTo>
                    <a:pt x="6227" y="15884"/>
                  </a:lnTo>
                  <a:lnTo>
                    <a:pt x="6621" y="15965"/>
                  </a:lnTo>
                  <a:lnTo>
                    <a:pt x="7015" y="16027"/>
                  </a:lnTo>
                  <a:lnTo>
                    <a:pt x="7410" y="16068"/>
                  </a:lnTo>
                  <a:lnTo>
                    <a:pt x="7804" y="16089"/>
                  </a:lnTo>
                  <a:lnTo>
                    <a:pt x="8196" y="16091"/>
                  </a:lnTo>
                  <a:lnTo>
                    <a:pt x="8588" y="16074"/>
                  </a:lnTo>
                  <a:lnTo>
                    <a:pt x="8976" y="16039"/>
                  </a:lnTo>
                  <a:lnTo>
                    <a:pt x="9360" y="15984"/>
                  </a:lnTo>
                  <a:lnTo>
                    <a:pt x="9742" y="15911"/>
                  </a:lnTo>
                  <a:lnTo>
                    <a:pt x="10118" y="15820"/>
                  </a:lnTo>
                  <a:lnTo>
                    <a:pt x="10488" y="15711"/>
                  </a:lnTo>
                  <a:lnTo>
                    <a:pt x="10853" y="15585"/>
                  </a:lnTo>
                  <a:lnTo>
                    <a:pt x="11211" y="15441"/>
                  </a:lnTo>
                  <a:lnTo>
                    <a:pt x="11563" y="15281"/>
                  </a:lnTo>
                  <a:lnTo>
                    <a:pt x="11906" y="15104"/>
                  </a:lnTo>
                  <a:lnTo>
                    <a:pt x="12241" y="14911"/>
                  </a:lnTo>
                  <a:lnTo>
                    <a:pt x="12566" y="14702"/>
                  </a:lnTo>
                  <a:lnTo>
                    <a:pt x="12882" y="14476"/>
                  </a:lnTo>
                  <a:lnTo>
                    <a:pt x="13187" y="14235"/>
                  </a:lnTo>
                  <a:lnTo>
                    <a:pt x="13481" y="13980"/>
                  </a:lnTo>
                  <a:lnTo>
                    <a:pt x="13763" y="13708"/>
                  </a:lnTo>
                  <a:lnTo>
                    <a:pt x="14033" y="13423"/>
                  </a:lnTo>
                  <a:lnTo>
                    <a:pt x="14289" y="13122"/>
                  </a:lnTo>
                  <a:lnTo>
                    <a:pt x="14532" y="12809"/>
                  </a:lnTo>
                  <a:lnTo>
                    <a:pt x="14760" y="12481"/>
                  </a:lnTo>
                  <a:lnTo>
                    <a:pt x="14972" y="12140"/>
                  </a:lnTo>
                  <a:lnTo>
                    <a:pt x="15170" y="11785"/>
                  </a:lnTo>
                  <a:lnTo>
                    <a:pt x="15351" y="11416"/>
                  </a:lnTo>
                  <a:lnTo>
                    <a:pt x="15515" y="11036"/>
                  </a:lnTo>
                  <a:lnTo>
                    <a:pt x="15658" y="10648"/>
                  </a:lnTo>
                  <a:lnTo>
                    <a:pt x="15781" y="10258"/>
                  </a:lnTo>
                  <a:lnTo>
                    <a:pt x="15884" y="9864"/>
                  </a:lnTo>
                  <a:lnTo>
                    <a:pt x="15965" y="9470"/>
                  </a:lnTo>
                  <a:lnTo>
                    <a:pt x="16027" y="9076"/>
                  </a:lnTo>
                  <a:lnTo>
                    <a:pt x="16068" y="8680"/>
                  </a:lnTo>
                  <a:lnTo>
                    <a:pt x="16089" y="8287"/>
                  </a:lnTo>
                  <a:lnTo>
                    <a:pt x="16092" y="7894"/>
                  </a:lnTo>
                  <a:lnTo>
                    <a:pt x="16075" y="7503"/>
                  </a:lnTo>
                  <a:lnTo>
                    <a:pt x="16039" y="7115"/>
                  </a:lnTo>
                  <a:lnTo>
                    <a:pt x="15984" y="6731"/>
                  </a:lnTo>
                  <a:lnTo>
                    <a:pt x="15911" y="6349"/>
                  </a:lnTo>
                  <a:lnTo>
                    <a:pt x="15820" y="5973"/>
                  </a:lnTo>
                  <a:lnTo>
                    <a:pt x="15711" y="5602"/>
                  </a:lnTo>
                  <a:lnTo>
                    <a:pt x="15585" y="5238"/>
                  </a:lnTo>
                  <a:lnTo>
                    <a:pt x="15441" y="4879"/>
                  </a:lnTo>
                  <a:lnTo>
                    <a:pt x="15281" y="4528"/>
                  </a:lnTo>
                  <a:lnTo>
                    <a:pt x="15104" y="4185"/>
                  </a:lnTo>
                  <a:lnTo>
                    <a:pt x="14911" y="3850"/>
                  </a:lnTo>
                  <a:lnTo>
                    <a:pt x="14701" y="3525"/>
                  </a:lnTo>
                  <a:lnTo>
                    <a:pt x="14476" y="3209"/>
                  </a:lnTo>
                  <a:lnTo>
                    <a:pt x="14235" y="2904"/>
                  </a:lnTo>
                  <a:lnTo>
                    <a:pt x="13980" y="2610"/>
                  </a:lnTo>
                  <a:lnTo>
                    <a:pt x="13708" y="2328"/>
                  </a:lnTo>
                  <a:lnTo>
                    <a:pt x="13422" y="2058"/>
                  </a:lnTo>
                  <a:lnTo>
                    <a:pt x="13122" y="1802"/>
                  </a:lnTo>
                  <a:lnTo>
                    <a:pt x="12809" y="1559"/>
                  </a:lnTo>
                  <a:lnTo>
                    <a:pt x="12481" y="1331"/>
                  </a:lnTo>
                  <a:lnTo>
                    <a:pt x="12139" y="1119"/>
                  </a:lnTo>
                  <a:lnTo>
                    <a:pt x="11785" y="921"/>
                  </a:lnTo>
                  <a:lnTo>
                    <a:pt x="11416" y="740"/>
                  </a:lnTo>
                  <a:lnTo>
                    <a:pt x="11036" y="5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82" name="íṣļîďê">
              <a:extLst>
                <a:ext uri="{FF2B5EF4-FFF2-40B4-BE49-F238E27FC236}">
                  <a16:creationId xmlns:a16="http://schemas.microsoft.com/office/drawing/2014/main" id="{7F4960E2-6190-4221-BCC8-65609103F1E2}"/>
                </a:ext>
              </a:extLst>
            </p:cNvPr>
            <p:cNvSpPr/>
            <p:nvPr/>
          </p:nvSpPr>
          <p:spPr bwMode="auto">
            <a:xfrm>
              <a:off x="6095882" y="2747532"/>
              <a:ext cx="46321" cy="46321"/>
            </a:xfrm>
            <a:custGeom>
              <a:avLst/>
              <a:gdLst>
                <a:gd name="T0" fmla="*/ 728 w 2011"/>
                <a:gd name="T1" fmla="*/ 1425 h 2011"/>
                <a:gd name="T2" fmla="*/ 634 w 2011"/>
                <a:gd name="T3" fmla="*/ 1346 h 2011"/>
                <a:gd name="T4" fmla="*/ 565 w 2011"/>
                <a:gd name="T5" fmla="*/ 1247 h 2011"/>
                <a:gd name="T6" fmla="*/ 520 w 2011"/>
                <a:gd name="T7" fmla="*/ 1135 h 2011"/>
                <a:gd name="T8" fmla="*/ 503 w 2011"/>
                <a:gd name="T9" fmla="*/ 1015 h 2011"/>
                <a:gd name="T10" fmla="*/ 516 w 2011"/>
                <a:gd name="T11" fmla="*/ 892 h 2011"/>
                <a:gd name="T12" fmla="*/ 560 w 2011"/>
                <a:gd name="T13" fmla="*/ 771 h 2011"/>
                <a:gd name="T14" fmla="*/ 631 w 2011"/>
                <a:gd name="T15" fmla="*/ 670 h 2011"/>
                <a:gd name="T16" fmla="*/ 723 w 2011"/>
                <a:gd name="T17" fmla="*/ 590 h 2011"/>
                <a:gd name="T18" fmla="*/ 830 w 2011"/>
                <a:gd name="T19" fmla="*/ 535 h 2011"/>
                <a:gd name="T20" fmla="*/ 947 w 2011"/>
                <a:gd name="T21" fmla="*/ 507 h 2011"/>
                <a:gd name="T22" fmla="*/ 1070 w 2011"/>
                <a:gd name="T23" fmla="*/ 507 h 2011"/>
                <a:gd name="T24" fmla="*/ 1193 w 2011"/>
                <a:gd name="T25" fmla="*/ 539 h 2011"/>
                <a:gd name="T26" fmla="*/ 1303 w 2011"/>
                <a:gd name="T27" fmla="*/ 600 h 2011"/>
                <a:gd name="T28" fmla="*/ 1392 w 2011"/>
                <a:gd name="T29" fmla="*/ 685 h 2011"/>
                <a:gd name="T30" fmla="*/ 1457 w 2011"/>
                <a:gd name="T31" fmla="*/ 786 h 2011"/>
                <a:gd name="T32" fmla="*/ 1496 w 2011"/>
                <a:gd name="T33" fmla="*/ 900 h 2011"/>
                <a:gd name="T34" fmla="*/ 1507 w 2011"/>
                <a:gd name="T35" fmla="*/ 1021 h 2011"/>
                <a:gd name="T36" fmla="*/ 1488 w 2011"/>
                <a:gd name="T37" fmla="*/ 1143 h 2011"/>
                <a:gd name="T38" fmla="*/ 1438 w 2011"/>
                <a:gd name="T39" fmla="*/ 1261 h 2011"/>
                <a:gd name="T40" fmla="*/ 1363 w 2011"/>
                <a:gd name="T41" fmla="*/ 1360 h 2011"/>
                <a:gd name="T42" fmla="*/ 1267 w 2011"/>
                <a:gd name="T43" fmla="*/ 1434 h 2011"/>
                <a:gd name="T44" fmla="*/ 1158 w 2011"/>
                <a:gd name="T45" fmla="*/ 1484 h 2011"/>
                <a:gd name="T46" fmla="*/ 1039 w 2011"/>
                <a:gd name="T47" fmla="*/ 1507 h 2011"/>
                <a:gd name="T48" fmla="*/ 916 w 2011"/>
                <a:gd name="T49" fmla="*/ 1500 h 2011"/>
                <a:gd name="T50" fmla="*/ 1380 w 2011"/>
                <a:gd name="T51" fmla="*/ 72 h 2011"/>
                <a:gd name="T52" fmla="*/ 1134 w 2011"/>
                <a:gd name="T53" fmla="*/ 8 h 2011"/>
                <a:gd name="T54" fmla="*/ 890 w 2011"/>
                <a:gd name="T55" fmla="*/ 7 h 2011"/>
                <a:gd name="T56" fmla="*/ 654 w 2011"/>
                <a:gd name="T57" fmla="*/ 63 h 2011"/>
                <a:gd name="T58" fmla="*/ 440 w 2011"/>
                <a:gd name="T59" fmla="*/ 174 h 2011"/>
                <a:gd name="T60" fmla="*/ 257 w 2011"/>
                <a:gd name="T61" fmla="*/ 334 h 2011"/>
                <a:gd name="T62" fmla="*/ 115 w 2011"/>
                <a:gd name="T63" fmla="*/ 538 h 2011"/>
                <a:gd name="T64" fmla="*/ 26 w 2011"/>
                <a:gd name="T65" fmla="*/ 778 h 2011"/>
                <a:gd name="T66" fmla="*/ 0 w 2011"/>
                <a:gd name="T67" fmla="*/ 1025 h 2011"/>
                <a:gd name="T68" fmla="*/ 34 w 2011"/>
                <a:gd name="T69" fmla="*/ 1265 h 2011"/>
                <a:gd name="T70" fmla="*/ 123 w 2011"/>
                <a:gd name="T71" fmla="*/ 1488 h 2011"/>
                <a:gd name="T72" fmla="*/ 264 w 2011"/>
                <a:gd name="T73" fmla="*/ 1686 h 2011"/>
                <a:gd name="T74" fmla="*/ 451 w 2011"/>
                <a:gd name="T75" fmla="*/ 1844 h 2011"/>
                <a:gd name="T76" fmla="*/ 680 w 2011"/>
                <a:gd name="T77" fmla="*/ 1957 h 2011"/>
                <a:gd name="T78" fmla="*/ 926 w 2011"/>
                <a:gd name="T79" fmla="*/ 2008 h 2011"/>
                <a:gd name="T80" fmla="*/ 1169 w 2011"/>
                <a:gd name="T81" fmla="*/ 1997 h 2011"/>
                <a:gd name="T82" fmla="*/ 1401 w 2011"/>
                <a:gd name="T83" fmla="*/ 1930 h 2011"/>
                <a:gd name="T84" fmla="*/ 1610 w 2011"/>
                <a:gd name="T85" fmla="*/ 1809 h 2011"/>
                <a:gd name="T86" fmla="*/ 1786 w 2011"/>
                <a:gd name="T87" fmla="*/ 1640 h 2011"/>
                <a:gd name="T88" fmla="*/ 1919 w 2011"/>
                <a:gd name="T89" fmla="*/ 1427 h 2011"/>
                <a:gd name="T90" fmla="*/ 1995 w 2011"/>
                <a:gd name="T91" fmla="*/ 1184 h 2011"/>
                <a:gd name="T92" fmla="*/ 2009 w 2011"/>
                <a:gd name="T93" fmla="*/ 938 h 2011"/>
                <a:gd name="T94" fmla="*/ 1964 w 2011"/>
                <a:gd name="T95" fmla="*/ 701 h 2011"/>
                <a:gd name="T96" fmla="*/ 1864 w 2011"/>
                <a:gd name="T97" fmla="*/ 481 h 2011"/>
                <a:gd name="T98" fmla="*/ 1714 w 2011"/>
                <a:gd name="T99" fmla="*/ 291 h 2011"/>
                <a:gd name="T100" fmla="*/ 1518 w 2011"/>
                <a:gd name="T101" fmla="*/ 139 h 20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011" h="2011">
                  <a:moveTo>
                    <a:pt x="818" y="1472"/>
                  </a:moveTo>
                  <a:lnTo>
                    <a:pt x="794" y="1462"/>
                  </a:lnTo>
                  <a:lnTo>
                    <a:pt x="772" y="1451"/>
                  </a:lnTo>
                  <a:lnTo>
                    <a:pt x="750" y="1438"/>
                  </a:lnTo>
                  <a:lnTo>
                    <a:pt x="728" y="1425"/>
                  </a:lnTo>
                  <a:lnTo>
                    <a:pt x="708" y="1411"/>
                  </a:lnTo>
                  <a:lnTo>
                    <a:pt x="689" y="1396"/>
                  </a:lnTo>
                  <a:lnTo>
                    <a:pt x="670" y="1380"/>
                  </a:lnTo>
                  <a:lnTo>
                    <a:pt x="651" y="1363"/>
                  </a:lnTo>
                  <a:lnTo>
                    <a:pt x="634" y="1346"/>
                  </a:lnTo>
                  <a:lnTo>
                    <a:pt x="619" y="1326"/>
                  </a:lnTo>
                  <a:lnTo>
                    <a:pt x="604" y="1307"/>
                  </a:lnTo>
                  <a:lnTo>
                    <a:pt x="590" y="1288"/>
                  </a:lnTo>
                  <a:lnTo>
                    <a:pt x="577" y="1268"/>
                  </a:lnTo>
                  <a:lnTo>
                    <a:pt x="565" y="1247"/>
                  </a:lnTo>
                  <a:lnTo>
                    <a:pt x="554" y="1225"/>
                  </a:lnTo>
                  <a:lnTo>
                    <a:pt x="544" y="1204"/>
                  </a:lnTo>
                  <a:lnTo>
                    <a:pt x="535" y="1181"/>
                  </a:lnTo>
                  <a:lnTo>
                    <a:pt x="527" y="1158"/>
                  </a:lnTo>
                  <a:lnTo>
                    <a:pt x="520" y="1135"/>
                  </a:lnTo>
                  <a:lnTo>
                    <a:pt x="514" y="1111"/>
                  </a:lnTo>
                  <a:lnTo>
                    <a:pt x="510" y="1087"/>
                  </a:lnTo>
                  <a:lnTo>
                    <a:pt x="507" y="1064"/>
                  </a:lnTo>
                  <a:lnTo>
                    <a:pt x="504" y="1039"/>
                  </a:lnTo>
                  <a:lnTo>
                    <a:pt x="503" y="1015"/>
                  </a:lnTo>
                  <a:lnTo>
                    <a:pt x="503" y="990"/>
                  </a:lnTo>
                  <a:lnTo>
                    <a:pt x="505" y="965"/>
                  </a:lnTo>
                  <a:lnTo>
                    <a:pt x="507" y="941"/>
                  </a:lnTo>
                  <a:lnTo>
                    <a:pt x="511" y="916"/>
                  </a:lnTo>
                  <a:lnTo>
                    <a:pt x="516" y="892"/>
                  </a:lnTo>
                  <a:lnTo>
                    <a:pt x="522" y="867"/>
                  </a:lnTo>
                  <a:lnTo>
                    <a:pt x="530" y="843"/>
                  </a:lnTo>
                  <a:lnTo>
                    <a:pt x="539" y="818"/>
                  </a:lnTo>
                  <a:lnTo>
                    <a:pt x="549" y="794"/>
                  </a:lnTo>
                  <a:lnTo>
                    <a:pt x="560" y="771"/>
                  </a:lnTo>
                  <a:lnTo>
                    <a:pt x="572" y="749"/>
                  </a:lnTo>
                  <a:lnTo>
                    <a:pt x="586" y="728"/>
                  </a:lnTo>
                  <a:lnTo>
                    <a:pt x="600" y="708"/>
                  </a:lnTo>
                  <a:lnTo>
                    <a:pt x="615" y="689"/>
                  </a:lnTo>
                  <a:lnTo>
                    <a:pt x="631" y="670"/>
                  </a:lnTo>
                  <a:lnTo>
                    <a:pt x="648" y="651"/>
                  </a:lnTo>
                  <a:lnTo>
                    <a:pt x="665" y="634"/>
                  </a:lnTo>
                  <a:lnTo>
                    <a:pt x="685" y="619"/>
                  </a:lnTo>
                  <a:lnTo>
                    <a:pt x="703" y="604"/>
                  </a:lnTo>
                  <a:lnTo>
                    <a:pt x="723" y="590"/>
                  </a:lnTo>
                  <a:lnTo>
                    <a:pt x="743" y="577"/>
                  </a:lnTo>
                  <a:lnTo>
                    <a:pt x="764" y="565"/>
                  </a:lnTo>
                  <a:lnTo>
                    <a:pt x="786" y="554"/>
                  </a:lnTo>
                  <a:lnTo>
                    <a:pt x="807" y="544"/>
                  </a:lnTo>
                  <a:lnTo>
                    <a:pt x="830" y="535"/>
                  </a:lnTo>
                  <a:lnTo>
                    <a:pt x="853" y="527"/>
                  </a:lnTo>
                  <a:lnTo>
                    <a:pt x="876" y="520"/>
                  </a:lnTo>
                  <a:lnTo>
                    <a:pt x="900" y="515"/>
                  </a:lnTo>
                  <a:lnTo>
                    <a:pt x="923" y="510"/>
                  </a:lnTo>
                  <a:lnTo>
                    <a:pt x="947" y="507"/>
                  </a:lnTo>
                  <a:lnTo>
                    <a:pt x="972" y="504"/>
                  </a:lnTo>
                  <a:lnTo>
                    <a:pt x="996" y="503"/>
                  </a:lnTo>
                  <a:lnTo>
                    <a:pt x="1021" y="503"/>
                  </a:lnTo>
                  <a:lnTo>
                    <a:pt x="1046" y="505"/>
                  </a:lnTo>
                  <a:lnTo>
                    <a:pt x="1070" y="507"/>
                  </a:lnTo>
                  <a:lnTo>
                    <a:pt x="1095" y="511"/>
                  </a:lnTo>
                  <a:lnTo>
                    <a:pt x="1119" y="516"/>
                  </a:lnTo>
                  <a:lnTo>
                    <a:pt x="1144" y="522"/>
                  </a:lnTo>
                  <a:lnTo>
                    <a:pt x="1168" y="530"/>
                  </a:lnTo>
                  <a:lnTo>
                    <a:pt x="1193" y="539"/>
                  </a:lnTo>
                  <a:lnTo>
                    <a:pt x="1217" y="549"/>
                  </a:lnTo>
                  <a:lnTo>
                    <a:pt x="1239" y="560"/>
                  </a:lnTo>
                  <a:lnTo>
                    <a:pt x="1261" y="573"/>
                  </a:lnTo>
                  <a:lnTo>
                    <a:pt x="1282" y="586"/>
                  </a:lnTo>
                  <a:lnTo>
                    <a:pt x="1303" y="600"/>
                  </a:lnTo>
                  <a:lnTo>
                    <a:pt x="1322" y="615"/>
                  </a:lnTo>
                  <a:lnTo>
                    <a:pt x="1341" y="631"/>
                  </a:lnTo>
                  <a:lnTo>
                    <a:pt x="1360" y="648"/>
                  </a:lnTo>
                  <a:lnTo>
                    <a:pt x="1376" y="665"/>
                  </a:lnTo>
                  <a:lnTo>
                    <a:pt x="1392" y="685"/>
                  </a:lnTo>
                  <a:lnTo>
                    <a:pt x="1407" y="704"/>
                  </a:lnTo>
                  <a:lnTo>
                    <a:pt x="1421" y="723"/>
                  </a:lnTo>
                  <a:lnTo>
                    <a:pt x="1434" y="743"/>
                  </a:lnTo>
                  <a:lnTo>
                    <a:pt x="1446" y="764"/>
                  </a:lnTo>
                  <a:lnTo>
                    <a:pt x="1457" y="786"/>
                  </a:lnTo>
                  <a:lnTo>
                    <a:pt x="1467" y="807"/>
                  </a:lnTo>
                  <a:lnTo>
                    <a:pt x="1476" y="830"/>
                  </a:lnTo>
                  <a:lnTo>
                    <a:pt x="1484" y="853"/>
                  </a:lnTo>
                  <a:lnTo>
                    <a:pt x="1491" y="876"/>
                  </a:lnTo>
                  <a:lnTo>
                    <a:pt x="1496" y="900"/>
                  </a:lnTo>
                  <a:lnTo>
                    <a:pt x="1501" y="923"/>
                  </a:lnTo>
                  <a:lnTo>
                    <a:pt x="1504" y="947"/>
                  </a:lnTo>
                  <a:lnTo>
                    <a:pt x="1506" y="971"/>
                  </a:lnTo>
                  <a:lnTo>
                    <a:pt x="1508" y="996"/>
                  </a:lnTo>
                  <a:lnTo>
                    <a:pt x="1507" y="1021"/>
                  </a:lnTo>
                  <a:lnTo>
                    <a:pt x="1506" y="1046"/>
                  </a:lnTo>
                  <a:lnTo>
                    <a:pt x="1504" y="1070"/>
                  </a:lnTo>
                  <a:lnTo>
                    <a:pt x="1500" y="1095"/>
                  </a:lnTo>
                  <a:lnTo>
                    <a:pt x="1495" y="1119"/>
                  </a:lnTo>
                  <a:lnTo>
                    <a:pt x="1488" y="1143"/>
                  </a:lnTo>
                  <a:lnTo>
                    <a:pt x="1481" y="1168"/>
                  </a:lnTo>
                  <a:lnTo>
                    <a:pt x="1472" y="1193"/>
                  </a:lnTo>
                  <a:lnTo>
                    <a:pt x="1462" y="1216"/>
                  </a:lnTo>
                  <a:lnTo>
                    <a:pt x="1451" y="1239"/>
                  </a:lnTo>
                  <a:lnTo>
                    <a:pt x="1438" y="1261"/>
                  </a:lnTo>
                  <a:lnTo>
                    <a:pt x="1425" y="1282"/>
                  </a:lnTo>
                  <a:lnTo>
                    <a:pt x="1411" y="1303"/>
                  </a:lnTo>
                  <a:lnTo>
                    <a:pt x="1396" y="1322"/>
                  </a:lnTo>
                  <a:lnTo>
                    <a:pt x="1380" y="1341"/>
                  </a:lnTo>
                  <a:lnTo>
                    <a:pt x="1363" y="1360"/>
                  </a:lnTo>
                  <a:lnTo>
                    <a:pt x="1346" y="1376"/>
                  </a:lnTo>
                  <a:lnTo>
                    <a:pt x="1326" y="1392"/>
                  </a:lnTo>
                  <a:lnTo>
                    <a:pt x="1307" y="1407"/>
                  </a:lnTo>
                  <a:lnTo>
                    <a:pt x="1288" y="1421"/>
                  </a:lnTo>
                  <a:lnTo>
                    <a:pt x="1267" y="1434"/>
                  </a:lnTo>
                  <a:lnTo>
                    <a:pt x="1247" y="1446"/>
                  </a:lnTo>
                  <a:lnTo>
                    <a:pt x="1225" y="1457"/>
                  </a:lnTo>
                  <a:lnTo>
                    <a:pt x="1204" y="1467"/>
                  </a:lnTo>
                  <a:lnTo>
                    <a:pt x="1181" y="1476"/>
                  </a:lnTo>
                  <a:lnTo>
                    <a:pt x="1158" y="1484"/>
                  </a:lnTo>
                  <a:lnTo>
                    <a:pt x="1134" y="1491"/>
                  </a:lnTo>
                  <a:lnTo>
                    <a:pt x="1111" y="1496"/>
                  </a:lnTo>
                  <a:lnTo>
                    <a:pt x="1087" y="1501"/>
                  </a:lnTo>
                  <a:lnTo>
                    <a:pt x="1063" y="1504"/>
                  </a:lnTo>
                  <a:lnTo>
                    <a:pt x="1039" y="1507"/>
                  </a:lnTo>
                  <a:lnTo>
                    <a:pt x="1015" y="1508"/>
                  </a:lnTo>
                  <a:lnTo>
                    <a:pt x="990" y="1508"/>
                  </a:lnTo>
                  <a:lnTo>
                    <a:pt x="965" y="1506"/>
                  </a:lnTo>
                  <a:lnTo>
                    <a:pt x="941" y="1504"/>
                  </a:lnTo>
                  <a:lnTo>
                    <a:pt x="916" y="1500"/>
                  </a:lnTo>
                  <a:lnTo>
                    <a:pt x="892" y="1495"/>
                  </a:lnTo>
                  <a:lnTo>
                    <a:pt x="867" y="1489"/>
                  </a:lnTo>
                  <a:lnTo>
                    <a:pt x="843" y="1481"/>
                  </a:lnTo>
                  <a:lnTo>
                    <a:pt x="818" y="1472"/>
                  </a:lnTo>
                  <a:close/>
                  <a:moveTo>
                    <a:pt x="1380" y="72"/>
                  </a:moveTo>
                  <a:lnTo>
                    <a:pt x="1331" y="54"/>
                  </a:lnTo>
                  <a:lnTo>
                    <a:pt x="1282" y="39"/>
                  </a:lnTo>
                  <a:lnTo>
                    <a:pt x="1233" y="26"/>
                  </a:lnTo>
                  <a:lnTo>
                    <a:pt x="1184" y="16"/>
                  </a:lnTo>
                  <a:lnTo>
                    <a:pt x="1134" y="8"/>
                  </a:lnTo>
                  <a:lnTo>
                    <a:pt x="1085" y="3"/>
                  </a:lnTo>
                  <a:lnTo>
                    <a:pt x="1036" y="1"/>
                  </a:lnTo>
                  <a:lnTo>
                    <a:pt x="987" y="0"/>
                  </a:lnTo>
                  <a:lnTo>
                    <a:pt x="938" y="2"/>
                  </a:lnTo>
                  <a:lnTo>
                    <a:pt x="890" y="7"/>
                  </a:lnTo>
                  <a:lnTo>
                    <a:pt x="842" y="14"/>
                  </a:lnTo>
                  <a:lnTo>
                    <a:pt x="794" y="23"/>
                  </a:lnTo>
                  <a:lnTo>
                    <a:pt x="747" y="34"/>
                  </a:lnTo>
                  <a:lnTo>
                    <a:pt x="701" y="48"/>
                  </a:lnTo>
                  <a:lnTo>
                    <a:pt x="654" y="63"/>
                  </a:lnTo>
                  <a:lnTo>
                    <a:pt x="610" y="81"/>
                  </a:lnTo>
                  <a:lnTo>
                    <a:pt x="566" y="101"/>
                  </a:lnTo>
                  <a:lnTo>
                    <a:pt x="524" y="123"/>
                  </a:lnTo>
                  <a:lnTo>
                    <a:pt x="481" y="147"/>
                  </a:lnTo>
                  <a:lnTo>
                    <a:pt x="440" y="174"/>
                  </a:lnTo>
                  <a:lnTo>
                    <a:pt x="401" y="202"/>
                  </a:lnTo>
                  <a:lnTo>
                    <a:pt x="363" y="232"/>
                  </a:lnTo>
                  <a:lnTo>
                    <a:pt x="326" y="264"/>
                  </a:lnTo>
                  <a:lnTo>
                    <a:pt x="291" y="297"/>
                  </a:lnTo>
                  <a:lnTo>
                    <a:pt x="257" y="334"/>
                  </a:lnTo>
                  <a:lnTo>
                    <a:pt x="225" y="371"/>
                  </a:lnTo>
                  <a:lnTo>
                    <a:pt x="195" y="410"/>
                  </a:lnTo>
                  <a:lnTo>
                    <a:pt x="167" y="451"/>
                  </a:lnTo>
                  <a:lnTo>
                    <a:pt x="139" y="493"/>
                  </a:lnTo>
                  <a:lnTo>
                    <a:pt x="115" y="538"/>
                  </a:lnTo>
                  <a:lnTo>
                    <a:pt x="93" y="584"/>
                  </a:lnTo>
                  <a:lnTo>
                    <a:pt x="72" y="631"/>
                  </a:lnTo>
                  <a:lnTo>
                    <a:pt x="54" y="681"/>
                  </a:lnTo>
                  <a:lnTo>
                    <a:pt x="39" y="729"/>
                  </a:lnTo>
                  <a:lnTo>
                    <a:pt x="26" y="778"/>
                  </a:lnTo>
                  <a:lnTo>
                    <a:pt x="16" y="827"/>
                  </a:lnTo>
                  <a:lnTo>
                    <a:pt x="8" y="877"/>
                  </a:lnTo>
                  <a:lnTo>
                    <a:pt x="3" y="926"/>
                  </a:lnTo>
                  <a:lnTo>
                    <a:pt x="1" y="975"/>
                  </a:lnTo>
                  <a:lnTo>
                    <a:pt x="0" y="1025"/>
                  </a:lnTo>
                  <a:lnTo>
                    <a:pt x="3" y="1074"/>
                  </a:lnTo>
                  <a:lnTo>
                    <a:pt x="7" y="1122"/>
                  </a:lnTo>
                  <a:lnTo>
                    <a:pt x="14" y="1170"/>
                  </a:lnTo>
                  <a:lnTo>
                    <a:pt x="23" y="1218"/>
                  </a:lnTo>
                  <a:lnTo>
                    <a:pt x="34" y="1265"/>
                  </a:lnTo>
                  <a:lnTo>
                    <a:pt x="48" y="1311"/>
                  </a:lnTo>
                  <a:lnTo>
                    <a:pt x="63" y="1357"/>
                  </a:lnTo>
                  <a:lnTo>
                    <a:pt x="81" y="1402"/>
                  </a:lnTo>
                  <a:lnTo>
                    <a:pt x="101" y="1445"/>
                  </a:lnTo>
                  <a:lnTo>
                    <a:pt x="123" y="1488"/>
                  </a:lnTo>
                  <a:lnTo>
                    <a:pt x="147" y="1531"/>
                  </a:lnTo>
                  <a:lnTo>
                    <a:pt x="174" y="1571"/>
                  </a:lnTo>
                  <a:lnTo>
                    <a:pt x="202" y="1610"/>
                  </a:lnTo>
                  <a:lnTo>
                    <a:pt x="232" y="1648"/>
                  </a:lnTo>
                  <a:lnTo>
                    <a:pt x="264" y="1686"/>
                  </a:lnTo>
                  <a:lnTo>
                    <a:pt x="297" y="1721"/>
                  </a:lnTo>
                  <a:lnTo>
                    <a:pt x="334" y="1754"/>
                  </a:lnTo>
                  <a:lnTo>
                    <a:pt x="371" y="1786"/>
                  </a:lnTo>
                  <a:lnTo>
                    <a:pt x="410" y="1816"/>
                  </a:lnTo>
                  <a:lnTo>
                    <a:pt x="451" y="1844"/>
                  </a:lnTo>
                  <a:lnTo>
                    <a:pt x="493" y="1872"/>
                  </a:lnTo>
                  <a:lnTo>
                    <a:pt x="538" y="1896"/>
                  </a:lnTo>
                  <a:lnTo>
                    <a:pt x="584" y="1919"/>
                  </a:lnTo>
                  <a:lnTo>
                    <a:pt x="631" y="1939"/>
                  </a:lnTo>
                  <a:lnTo>
                    <a:pt x="680" y="1957"/>
                  </a:lnTo>
                  <a:lnTo>
                    <a:pt x="729" y="1972"/>
                  </a:lnTo>
                  <a:lnTo>
                    <a:pt x="778" y="1985"/>
                  </a:lnTo>
                  <a:lnTo>
                    <a:pt x="827" y="1995"/>
                  </a:lnTo>
                  <a:lnTo>
                    <a:pt x="877" y="2003"/>
                  </a:lnTo>
                  <a:lnTo>
                    <a:pt x="926" y="2008"/>
                  </a:lnTo>
                  <a:lnTo>
                    <a:pt x="975" y="2011"/>
                  </a:lnTo>
                  <a:lnTo>
                    <a:pt x="1025" y="2011"/>
                  </a:lnTo>
                  <a:lnTo>
                    <a:pt x="1073" y="2009"/>
                  </a:lnTo>
                  <a:lnTo>
                    <a:pt x="1122" y="2004"/>
                  </a:lnTo>
                  <a:lnTo>
                    <a:pt x="1169" y="1997"/>
                  </a:lnTo>
                  <a:lnTo>
                    <a:pt x="1218" y="1988"/>
                  </a:lnTo>
                  <a:lnTo>
                    <a:pt x="1264" y="1977"/>
                  </a:lnTo>
                  <a:lnTo>
                    <a:pt x="1311" y="1964"/>
                  </a:lnTo>
                  <a:lnTo>
                    <a:pt x="1357" y="1948"/>
                  </a:lnTo>
                  <a:lnTo>
                    <a:pt x="1401" y="1930"/>
                  </a:lnTo>
                  <a:lnTo>
                    <a:pt x="1445" y="1910"/>
                  </a:lnTo>
                  <a:lnTo>
                    <a:pt x="1488" y="1888"/>
                  </a:lnTo>
                  <a:lnTo>
                    <a:pt x="1530" y="1864"/>
                  </a:lnTo>
                  <a:lnTo>
                    <a:pt x="1571" y="1837"/>
                  </a:lnTo>
                  <a:lnTo>
                    <a:pt x="1610" y="1809"/>
                  </a:lnTo>
                  <a:lnTo>
                    <a:pt x="1648" y="1779"/>
                  </a:lnTo>
                  <a:lnTo>
                    <a:pt x="1685" y="1747"/>
                  </a:lnTo>
                  <a:lnTo>
                    <a:pt x="1721" y="1714"/>
                  </a:lnTo>
                  <a:lnTo>
                    <a:pt x="1754" y="1677"/>
                  </a:lnTo>
                  <a:lnTo>
                    <a:pt x="1786" y="1640"/>
                  </a:lnTo>
                  <a:lnTo>
                    <a:pt x="1816" y="1601"/>
                  </a:lnTo>
                  <a:lnTo>
                    <a:pt x="1844" y="1560"/>
                  </a:lnTo>
                  <a:lnTo>
                    <a:pt x="1872" y="1518"/>
                  </a:lnTo>
                  <a:lnTo>
                    <a:pt x="1896" y="1473"/>
                  </a:lnTo>
                  <a:lnTo>
                    <a:pt x="1919" y="1427"/>
                  </a:lnTo>
                  <a:lnTo>
                    <a:pt x="1939" y="1380"/>
                  </a:lnTo>
                  <a:lnTo>
                    <a:pt x="1957" y="1330"/>
                  </a:lnTo>
                  <a:lnTo>
                    <a:pt x="1972" y="1282"/>
                  </a:lnTo>
                  <a:lnTo>
                    <a:pt x="1985" y="1233"/>
                  </a:lnTo>
                  <a:lnTo>
                    <a:pt x="1995" y="1184"/>
                  </a:lnTo>
                  <a:lnTo>
                    <a:pt x="2003" y="1134"/>
                  </a:lnTo>
                  <a:lnTo>
                    <a:pt x="2008" y="1085"/>
                  </a:lnTo>
                  <a:lnTo>
                    <a:pt x="2011" y="1036"/>
                  </a:lnTo>
                  <a:lnTo>
                    <a:pt x="2011" y="986"/>
                  </a:lnTo>
                  <a:lnTo>
                    <a:pt x="2009" y="938"/>
                  </a:lnTo>
                  <a:lnTo>
                    <a:pt x="2004" y="890"/>
                  </a:lnTo>
                  <a:lnTo>
                    <a:pt x="1998" y="842"/>
                  </a:lnTo>
                  <a:lnTo>
                    <a:pt x="1988" y="794"/>
                  </a:lnTo>
                  <a:lnTo>
                    <a:pt x="1977" y="747"/>
                  </a:lnTo>
                  <a:lnTo>
                    <a:pt x="1964" y="701"/>
                  </a:lnTo>
                  <a:lnTo>
                    <a:pt x="1948" y="654"/>
                  </a:lnTo>
                  <a:lnTo>
                    <a:pt x="1930" y="610"/>
                  </a:lnTo>
                  <a:lnTo>
                    <a:pt x="1910" y="566"/>
                  </a:lnTo>
                  <a:lnTo>
                    <a:pt x="1888" y="523"/>
                  </a:lnTo>
                  <a:lnTo>
                    <a:pt x="1864" y="481"/>
                  </a:lnTo>
                  <a:lnTo>
                    <a:pt x="1837" y="441"/>
                  </a:lnTo>
                  <a:lnTo>
                    <a:pt x="1809" y="401"/>
                  </a:lnTo>
                  <a:lnTo>
                    <a:pt x="1780" y="363"/>
                  </a:lnTo>
                  <a:lnTo>
                    <a:pt x="1748" y="326"/>
                  </a:lnTo>
                  <a:lnTo>
                    <a:pt x="1714" y="291"/>
                  </a:lnTo>
                  <a:lnTo>
                    <a:pt x="1678" y="257"/>
                  </a:lnTo>
                  <a:lnTo>
                    <a:pt x="1640" y="225"/>
                  </a:lnTo>
                  <a:lnTo>
                    <a:pt x="1601" y="195"/>
                  </a:lnTo>
                  <a:lnTo>
                    <a:pt x="1561" y="167"/>
                  </a:lnTo>
                  <a:lnTo>
                    <a:pt x="1518" y="139"/>
                  </a:lnTo>
                  <a:lnTo>
                    <a:pt x="1473" y="115"/>
                  </a:lnTo>
                  <a:lnTo>
                    <a:pt x="1427" y="92"/>
                  </a:lnTo>
                  <a:lnTo>
                    <a:pt x="1380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83" name="íSľiďe">
              <a:extLst>
                <a:ext uri="{FF2B5EF4-FFF2-40B4-BE49-F238E27FC236}">
                  <a16:creationId xmlns:a16="http://schemas.microsoft.com/office/drawing/2014/main" id="{9C9CA307-7DEE-4265-96D7-4C21E55353E7}"/>
                </a:ext>
              </a:extLst>
            </p:cNvPr>
            <p:cNvSpPr/>
            <p:nvPr/>
          </p:nvSpPr>
          <p:spPr bwMode="auto">
            <a:xfrm>
              <a:off x="6050403" y="2702053"/>
              <a:ext cx="137279" cy="137279"/>
            </a:xfrm>
            <a:custGeom>
              <a:avLst/>
              <a:gdLst>
                <a:gd name="T0" fmla="*/ 1909 w 6034"/>
                <a:gd name="T1" fmla="*/ 4695 h 6033"/>
                <a:gd name="T2" fmla="*/ 1534 w 6034"/>
                <a:gd name="T3" fmla="*/ 4376 h 6033"/>
                <a:gd name="T4" fmla="*/ 1253 w 6034"/>
                <a:gd name="T5" fmla="*/ 3981 h 6033"/>
                <a:gd name="T6" fmla="*/ 1074 w 6034"/>
                <a:gd name="T7" fmla="*/ 3534 h 6033"/>
                <a:gd name="T8" fmla="*/ 1006 w 6034"/>
                <a:gd name="T9" fmla="*/ 3054 h 6033"/>
                <a:gd name="T10" fmla="*/ 1057 w 6034"/>
                <a:gd name="T11" fmla="*/ 2561 h 6033"/>
                <a:gd name="T12" fmla="*/ 1235 w 6034"/>
                <a:gd name="T13" fmla="*/ 2082 h 6033"/>
                <a:gd name="T14" fmla="*/ 1520 w 6034"/>
                <a:gd name="T15" fmla="*/ 1673 h 6033"/>
                <a:gd name="T16" fmla="*/ 1886 w 6034"/>
                <a:gd name="T17" fmla="*/ 1354 h 6033"/>
                <a:gd name="T18" fmla="*/ 2314 w 6034"/>
                <a:gd name="T19" fmla="*/ 1132 h 6033"/>
                <a:gd name="T20" fmla="*/ 2784 w 6034"/>
                <a:gd name="T21" fmla="*/ 1019 h 6033"/>
                <a:gd name="T22" fmla="*/ 3274 w 6034"/>
                <a:gd name="T23" fmla="*/ 1022 h 6033"/>
                <a:gd name="T24" fmla="*/ 3764 w 6034"/>
                <a:gd name="T25" fmla="*/ 1148 h 6033"/>
                <a:gd name="T26" fmla="*/ 4207 w 6034"/>
                <a:gd name="T27" fmla="*/ 1395 h 6033"/>
                <a:gd name="T28" fmla="*/ 4563 w 6034"/>
                <a:gd name="T29" fmla="*/ 1731 h 6033"/>
                <a:gd name="T30" fmla="*/ 4824 w 6034"/>
                <a:gd name="T31" fmla="*/ 2137 h 6033"/>
                <a:gd name="T32" fmla="*/ 4982 w 6034"/>
                <a:gd name="T33" fmla="*/ 2593 h 6033"/>
                <a:gd name="T34" fmla="*/ 5027 w 6034"/>
                <a:gd name="T35" fmla="*/ 3078 h 6033"/>
                <a:gd name="T36" fmla="*/ 4951 w 6034"/>
                <a:gd name="T37" fmla="*/ 3570 h 6033"/>
                <a:gd name="T38" fmla="*/ 4749 w 6034"/>
                <a:gd name="T39" fmla="*/ 4040 h 6033"/>
                <a:gd name="T40" fmla="*/ 4446 w 6034"/>
                <a:gd name="T41" fmla="*/ 4431 h 6033"/>
                <a:gd name="T42" fmla="*/ 4066 w 6034"/>
                <a:gd name="T43" fmla="*/ 4732 h 6033"/>
                <a:gd name="T44" fmla="*/ 3627 w 6034"/>
                <a:gd name="T45" fmla="*/ 4932 h 6033"/>
                <a:gd name="T46" fmla="*/ 3151 w 6034"/>
                <a:gd name="T47" fmla="*/ 5023 h 6033"/>
                <a:gd name="T48" fmla="*/ 2660 w 6034"/>
                <a:gd name="T49" fmla="*/ 4996 h 6033"/>
                <a:gd name="T50" fmla="*/ 4138 w 6034"/>
                <a:gd name="T51" fmla="*/ 216 h 6033"/>
                <a:gd name="T52" fmla="*/ 3403 w 6034"/>
                <a:gd name="T53" fmla="*/ 24 h 6033"/>
                <a:gd name="T54" fmla="*/ 2667 w 6034"/>
                <a:gd name="T55" fmla="*/ 19 h 6033"/>
                <a:gd name="T56" fmla="*/ 1963 w 6034"/>
                <a:gd name="T57" fmla="*/ 190 h 6033"/>
                <a:gd name="T58" fmla="*/ 1321 w 6034"/>
                <a:gd name="T59" fmla="*/ 521 h 6033"/>
                <a:gd name="T60" fmla="*/ 771 w 6034"/>
                <a:gd name="T61" fmla="*/ 1001 h 6033"/>
                <a:gd name="T62" fmla="*/ 346 w 6034"/>
                <a:gd name="T63" fmla="*/ 1614 h 6033"/>
                <a:gd name="T64" fmla="*/ 78 w 6034"/>
                <a:gd name="T65" fmla="*/ 2334 h 6033"/>
                <a:gd name="T66" fmla="*/ 0 w 6034"/>
                <a:gd name="T67" fmla="*/ 3073 h 6033"/>
                <a:gd name="T68" fmla="*/ 101 w 6034"/>
                <a:gd name="T69" fmla="*/ 3793 h 6033"/>
                <a:gd name="T70" fmla="*/ 370 w 6034"/>
                <a:gd name="T71" fmla="*/ 4464 h 6033"/>
                <a:gd name="T72" fmla="*/ 791 w 6034"/>
                <a:gd name="T73" fmla="*/ 5055 h 6033"/>
                <a:gd name="T74" fmla="*/ 1354 w 6034"/>
                <a:gd name="T75" fmla="*/ 5534 h 6033"/>
                <a:gd name="T76" fmla="*/ 2041 w 6034"/>
                <a:gd name="T77" fmla="*/ 5870 h 6033"/>
                <a:gd name="T78" fmla="*/ 2778 w 6034"/>
                <a:gd name="T79" fmla="*/ 6024 h 6033"/>
                <a:gd name="T80" fmla="*/ 3509 w 6034"/>
                <a:gd name="T81" fmla="*/ 5993 h 6033"/>
                <a:gd name="T82" fmla="*/ 4205 w 6034"/>
                <a:gd name="T83" fmla="*/ 5790 h 6033"/>
                <a:gd name="T84" fmla="*/ 4830 w 6034"/>
                <a:gd name="T85" fmla="*/ 5428 h 6033"/>
                <a:gd name="T86" fmla="*/ 5358 w 6034"/>
                <a:gd name="T87" fmla="*/ 4921 h 6033"/>
                <a:gd name="T88" fmla="*/ 5757 w 6034"/>
                <a:gd name="T89" fmla="*/ 4281 h 6033"/>
                <a:gd name="T90" fmla="*/ 5987 w 6034"/>
                <a:gd name="T91" fmla="*/ 3551 h 6033"/>
                <a:gd name="T92" fmla="*/ 6027 w 6034"/>
                <a:gd name="T93" fmla="*/ 2813 h 6033"/>
                <a:gd name="T94" fmla="*/ 5891 w 6034"/>
                <a:gd name="T95" fmla="*/ 2100 h 6033"/>
                <a:gd name="T96" fmla="*/ 5591 w 6034"/>
                <a:gd name="T97" fmla="*/ 1443 h 6033"/>
                <a:gd name="T98" fmla="*/ 5140 w 6034"/>
                <a:gd name="T99" fmla="*/ 873 h 6033"/>
                <a:gd name="T100" fmla="*/ 4552 w 6034"/>
                <a:gd name="T101" fmla="*/ 419 h 6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34" h="6033">
                  <a:moveTo>
                    <a:pt x="2269" y="4884"/>
                  </a:moveTo>
                  <a:lnTo>
                    <a:pt x="2175" y="4842"/>
                  </a:lnTo>
                  <a:lnTo>
                    <a:pt x="2082" y="4797"/>
                  </a:lnTo>
                  <a:lnTo>
                    <a:pt x="1993" y="4749"/>
                  </a:lnTo>
                  <a:lnTo>
                    <a:pt x="1909" y="4695"/>
                  </a:lnTo>
                  <a:lnTo>
                    <a:pt x="1826" y="4638"/>
                  </a:lnTo>
                  <a:lnTo>
                    <a:pt x="1748" y="4578"/>
                  </a:lnTo>
                  <a:lnTo>
                    <a:pt x="1674" y="4513"/>
                  </a:lnTo>
                  <a:lnTo>
                    <a:pt x="1602" y="4446"/>
                  </a:lnTo>
                  <a:lnTo>
                    <a:pt x="1534" y="4376"/>
                  </a:lnTo>
                  <a:lnTo>
                    <a:pt x="1470" y="4302"/>
                  </a:lnTo>
                  <a:lnTo>
                    <a:pt x="1410" y="4226"/>
                  </a:lnTo>
                  <a:lnTo>
                    <a:pt x="1354" y="4146"/>
                  </a:lnTo>
                  <a:lnTo>
                    <a:pt x="1301" y="4065"/>
                  </a:lnTo>
                  <a:lnTo>
                    <a:pt x="1253" y="3981"/>
                  </a:lnTo>
                  <a:lnTo>
                    <a:pt x="1209" y="3896"/>
                  </a:lnTo>
                  <a:lnTo>
                    <a:pt x="1169" y="3807"/>
                  </a:lnTo>
                  <a:lnTo>
                    <a:pt x="1132" y="3718"/>
                  </a:lnTo>
                  <a:lnTo>
                    <a:pt x="1101" y="3627"/>
                  </a:lnTo>
                  <a:lnTo>
                    <a:pt x="1074" y="3534"/>
                  </a:lnTo>
                  <a:lnTo>
                    <a:pt x="1051" y="3440"/>
                  </a:lnTo>
                  <a:lnTo>
                    <a:pt x="1033" y="3344"/>
                  </a:lnTo>
                  <a:lnTo>
                    <a:pt x="1019" y="3248"/>
                  </a:lnTo>
                  <a:lnTo>
                    <a:pt x="1010" y="3151"/>
                  </a:lnTo>
                  <a:lnTo>
                    <a:pt x="1006" y="3054"/>
                  </a:lnTo>
                  <a:lnTo>
                    <a:pt x="1007" y="2955"/>
                  </a:lnTo>
                  <a:lnTo>
                    <a:pt x="1012" y="2857"/>
                  </a:lnTo>
                  <a:lnTo>
                    <a:pt x="1022" y="2758"/>
                  </a:lnTo>
                  <a:lnTo>
                    <a:pt x="1037" y="2659"/>
                  </a:lnTo>
                  <a:lnTo>
                    <a:pt x="1057" y="2561"/>
                  </a:lnTo>
                  <a:lnTo>
                    <a:pt x="1083" y="2463"/>
                  </a:lnTo>
                  <a:lnTo>
                    <a:pt x="1113" y="2366"/>
                  </a:lnTo>
                  <a:lnTo>
                    <a:pt x="1149" y="2269"/>
                  </a:lnTo>
                  <a:lnTo>
                    <a:pt x="1190" y="2174"/>
                  </a:lnTo>
                  <a:lnTo>
                    <a:pt x="1235" y="2082"/>
                  </a:lnTo>
                  <a:lnTo>
                    <a:pt x="1284" y="1993"/>
                  </a:lnTo>
                  <a:lnTo>
                    <a:pt x="1338" y="1908"/>
                  </a:lnTo>
                  <a:lnTo>
                    <a:pt x="1395" y="1826"/>
                  </a:lnTo>
                  <a:lnTo>
                    <a:pt x="1455" y="1748"/>
                  </a:lnTo>
                  <a:lnTo>
                    <a:pt x="1520" y="1673"/>
                  </a:lnTo>
                  <a:lnTo>
                    <a:pt x="1587" y="1601"/>
                  </a:lnTo>
                  <a:lnTo>
                    <a:pt x="1657" y="1534"/>
                  </a:lnTo>
                  <a:lnTo>
                    <a:pt x="1731" y="1470"/>
                  </a:lnTo>
                  <a:lnTo>
                    <a:pt x="1807" y="1410"/>
                  </a:lnTo>
                  <a:lnTo>
                    <a:pt x="1886" y="1354"/>
                  </a:lnTo>
                  <a:lnTo>
                    <a:pt x="1967" y="1301"/>
                  </a:lnTo>
                  <a:lnTo>
                    <a:pt x="2052" y="1253"/>
                  </a:lnTo>
                  <a:lnTo>
                    <a:pt x="2137" y="1209"/>
                  </a:lnTo>
                  <a:lnTo>
                    <a:pt x="2225" y="1169"/>
                  </a:lnTo>
                  <a:lnTo>
                    <a:pt x="2314" y="1132"/>
                  </a:lnTo>
                  <a:lnTo>
                    <a:pt x="2406" y="1101"/>
                  </a:lnTo>
                  <a:lnTo>
                    <a:pt x="2498" y="1074"/>
                  </a:lnTo>
                  <a:lnTo>
                    <a:pt x="2593" y="1051"/>
                  </a:lnTo>
                  <a:lnTo>
                    <a:pt x="2689" y="1033"/>
                  </a:lnTo>
                  <a:lnTo>
                    <a:pt x="2784" y="1019"/>
                  </a:lnTo>
                  <a:lnTo>
                    <a:pt x="2882" y="1010"/>
                  </a:lnTo>
                  <a:lnTo>
                    <a:pt x="2979" y="1006"/>
                  </a:lnTo>
                  <a:lnTo>
                    <a:pt x="3077" y="1006"/>
                  </a:lnTo>
                  <a:lnTo>
                    <a:pt x="3175" y="1011"/>
                  </a:lnTo>
                  <a:lnTo>
                    <a:pt x="3274" y="1022"/>
                  </a:lnTo>
                  <a:lnTo>
                    <a:pt x="3373" y="1037"/>
                  </a:lnTo>
                  <a:lnTo>
                    <a:pt x="3471" y="1057"/>
                  </a:lnTo>
                  <a:lnTo>
                    <a:pt x="3570" y="1082"/>
                  </a:lnTo>
                  <a:lnTo>
                    <a:pt x="3667" y="1113"/>
                  </a:lnTo>
                  <a:lnTo>
                    <a:pt x="3764" y="1148"/>
                  </a:lnTo>
                  <a:lnTo>
                    <a:pt x="3859" y="1190"/>
                  </a:lnTo>
                  <a:lnTo>
                    <a:pt x="3951" y="1235"/>
                  </a:lnTo>
                  <a:lnTo>
                    <a:pt x="4040" y="1284"/>
                  </a:lnTo>
                  <a:lnTo>
                    <a:pt x="4125" y="1338"/>
                  </a:lnTo>
                  <a:lnTo>
                    <a:pt x="4207" y="1395"/>
                  </a:lnTo>
                  <a:lnTo>
                    <a:pt x="4285" y="1455"/>
                  </a:lnTo>
                  <a:lnTo>
                    <a:pt x="4360" y="1520"/>
                  </a:lnTo>
                  <a:lnTo>
                    <a:pt x="4432" y="1587"/>
                  </a:lnTo>
                  <a:lnTo>
                    <a:pt x="4499" y="1657"/>
                  </a:lnTo>
                  <a:lnTo>
                    <a:pt x="4563" y="1731"/>
                  </a:lnTo>
                  <a:lnTo>
                    <a:pt x="4623" y="1807"/>
                  </a:lnTo>
                  <a:lnTo>
                    <a:pt x="4679" y="1887"/>
                  </a:lnTo>
                  <a:lnTo>
                    <a:pt x="4732" y="1968"/>
                  </a:lnTo>
                  <a:lnTo>
                    <a:pt x="4780" y="2052"/>
                  </a:lnTo>
                  <a:lnTo>
                    <a:pt x="4824" y="2137"/>
                  </a:lnTo>
                  <a:lnTo>
                    <a:pt x="4864" y="2226"/>
                  </a:lnTo>
                  <a:lnTo>
                    <a:pt x="4901" y="2315"/>
                  </a:lnTo>
                  <a:lnTo>
                    <a:pt x="4932" y="2407"/>
                  </a:lnTo>
                  <a:lnTo>
                    <a:pt x="4960" y="2499"/>
                  </a:lnTo>
                  <a:lnTo>
                    <a:pt x="4982" y="2593"/>
                  </a:lnTo>
                  <a:lnTo>
                    <a:pt x="5000" y="2689"/>
                  </a:lnTo>
                  <a:lnTo>
                    <a:pt x="5014" y="2785"/>
                  </a:lnTo>
                  <a:lnTo>
                    <a:pt x="5023" y="2882"/>
                  </a:lnTo>
                  <a:lnTo>
                    <a:pt x="5027" y="2979"/>
                  </a:lnTo>
                  <a:lnTo>
                    <a:pt x="5027" y="3078"/>
                  </a:lnTo>
                  <a:lnTo>
                    <a:pt x="5021" y="3176"/>
                  </a:lnTo>
                  <a:lnTo>
                    <a:pt x="5011" y="3275"/>
                  </a:lnTo>
                  <a:lnTo>
                    <a:pt x="4996" y="3374"/>
                  </a:lnTo>
                  <a:lnTo>
                    <a:pt x="4976" y="3472"/>
                  </a:lnTo>
                  <a:lnTo>
                    <a:pt x="4951" y="3570"/>
                  </a:lnTo>
                  <a:lnTo>
                    <a:pt x="4920" y="3667"/>
                  </a:lnTo>
                  <a:lnTo>
                    <a:pt x="4884" y="3764"/>
                  </a:lnTo>
                  <a:lnTo>
                    <a:pt x="4843" y="3859"/>
                  </a:lnTo>
                  <a:lnTo>
                    <a:pt x="4798" y="3951"/>
                  </a:lnTo>
                  <a:lnTo>
                    <a:pt x="4749" y="4040"/>
                  </a:lnTo>
                  <a:lnTo>
                    <a:pt x="4695" y="4125"/>
                  </a:lnTo>
                  <a:lnTo>
                    <a:pt x="4638" y="4207"/>
                  </a:lnTo>
                  <a:lnTo>
                    <a:pt x="4578" y="4285"/>
                  </a:lnTo>
                  <a:lnTo>
                    <a:pt x="4513" y="4359"/>
                  </a:lnTo>
                  <a:lnTo>
                    <a:pt x="4446" y="4431"/>
                  </a:lnTo>
                  <a:lnTo>
                    <a:pt x="4376" y="4499"/>
                  </a:lnTo>
                  <a:lnTo>
                    <a:pt x="4302" y="4563"/>
                  </a:lnTo>
                  <a:lnTo>
                    <a:pt x="4226" y="4623"/>
                  </a:lnTo>
                  <a:lnTo>
                    <a:pt x="4147" y="4679"/>
                  </a:lnTo>
                  <a:lnTo>
                    <a:pt x="4066" y="4732"/>
                  </a:lnTo>
                  <a:lnTo>
                    <a:pt x="3981" y="4780"/>
                  </a:lnTo>
                  <a:lnTo>
                    <a:pt x="3896" y="4824"/>
                  </a:lnTo>
                  <a:lnTo>
                    <a:pt x="3808" y="4864"/>
                  </a:lnTo>
                  <a:lnTo>
                    <a:pt x="3719" y="4901"/>
                  </a:lnTo>
                  <a:lnTo>
                    <a:pt x="3627" y="4932"/>
                  </a:lnTo>
                  <a:lnTo>
                    <a:pt x="3535" y="4959"/>
                  </a:lnTo>
                  <a:lnTo>
                    <a:pt x="3440" y="4982"/>
                  </a:lnTo>
                  <a:lnTo>
                    <a:pt x="3344" y="5000"/>
                  </a:lnTo>
                  <a:lnTo>
                    <a:pt x="3249" y="5014"/>
                  </a:lnTo>
                  <a:lnTo>
                    <a:pt x="3151" y="5023"/>
                  </a:lnTo>
                  <a:lnTo>
                    <a:pt x="3054" y="5027"/>
                  </a:lnTo>
                  <a:lnTo>
                    <a:pt x="2956" y="5027"/>
                  </a:lnTo>
                  <a:lnTo>
                    <a:pt x="2858" y="5021"/>
                  </a:lnTo>
                  <a:lnTo>
                    <a:pt x="2759" y="5011"/>
                  </a:lnTo>
                  <a:lnTo>
                    <a:pt x="2660" y="4996"/>
                  </a:lnTo>
                  <a:lnTo>
                    <a:pt x="2562" y="4976"/>
                  </a:lnTo>
                  <a:lnTo>
                    <a:pt x="2463" y="4950"/>
                  </a:lnTo>
                  <a:lnTo>
                    <a:pt x="2366" y="4920"/>
                  </a:lnTo>
                  <a:lnTo>
                    <a:pt x="2269" y="4884"/>
                  </a:lnTo>
                  <a:close/>
                  <a:moveTo>
                    <a:pt x="4138" y="216"/>
                  </a:moveTo>
                  <a:lnTo>
                    <a:pt x="3992" y="162"/>
                  </a:lnTo>
                  <a:lnTo>
                    <a:pt x="3846" y="115"/>
                  </a:lnTo>
                  <a:lnTo>
                    <a:pt x="3699" y="77"/>
                  </a:lnTo>
                  <a:lnTo>
                    <a:pt x="3551" y="47"/>
                  </a:lnTo>
                  <a:lnTo>
                    <a:pt x="3403" y="24"/>
                  </a:lnTo>
                  <a:lnTo>
                    <a:pt x="3255" y="9"/>
                  </a:lnTo>
                  <a:lnTo>
                    <a:pt x="3107" y="1"/>
                  </a:lnTo>
                  <a:lnTo>
                    <a:pt x="2960" y="0"/>
                  </a:lnTo>
                  <a:lnTo>
                    <a:pt x="2813" y="6"/>
                  </a:lnTo>
                  <a:lnTo>
                    <a:pt x="2667" y="19"/>
                  </a:lnTo>
                  <a:lnTo>
                    <a:pt x="2524" y="40"/>
                  </a:lnTo>
                  <a:lnTo>
                    <a:pt x="2381" y="67"/>
                  </a:lnTo>
                  <a:lnTo>
                    <a:pt x="2240" y="101"/>
                  </a:lnTo>
                  <a:lnTo>
                    <a:pt x="2100" y="142"/>
                  </a:lnTo>
                  <a:lnTo>
                    <a:pt x="1963" y="190"/>
                  </a:lnTo>
                  <a:lnTo>
                    <a:pt x="1829" y="243"/>
                  </a:lnTo>
                  <a:lnTo>
                    <a:pt x="1698" y="303"/>
                  </a:lnTo>
                  <a:lnTo>
                    <a:pt x="1569" y="370"/>
                  </a:lnTo>
                  <a:lnTo>
                    <a:pt x="1443" y="442"/>
                  </a:lnTo>
                  <a:lnTo>
                    <a:pt x="1321" y="521"/>
                  </a:lnTo>
                  <a:lnTo>
                    <a:pt x="1203" y="605"/>
                  </a:lnTo>
                  <a:lnTo>
                    <a:pt x="1088" y="696"/>
                  </a:lnTo>
                  <a:lnTo>
                    <a:pt x="978" y="791"/>
                  </a:lnTo>
                  <a:lnTo>
                    <a:pt x="873" y="893"/>
                  </a:lnTo>
                  <a:lnTo>
                    <a:pt x="771" y="1001"/>
                  </a:lnTo>
                  <a:lnTo>
                    <a:pt x="676" y="1112"/>
                  </a:lnTo>
                  <a:lnTo>
                    <a:pt x="584" y="1231"/>
                  </a:lnTo>
                  <a:lnTo>
                    <a:pt x="499" y="1354"/>
                  </a:lnTo>
                  <a:lnTo>
                    <a:pt x="419" y="1481"/>
                  </a:lnTo>
                  <a:lnTo>
                    <a:pt x="346" y="1614"/>
                  </a:lnTo>
                  <a:lnTo>
                    <a:pt x="277" y="1752"/>
                  </a:lnTo>
                  <a:lnTo>
                    <a:pt x="216" y="1895"/>
                  </a:lnTo>
                  <a:lnTo>
                    <a:pt x="162" y="2041"/>
                  </a:lnTo>
                  <a:lnTo>
                    <a:pt x="116" y="2188"/>
                  </a:lnTo>
                  <a:lnTo>
                    <a:pt x="78" y="2334"/>
                  </a:lnTo>
                  <a:lnTo>
                    <a:pt x="47" y="2482"/>
                  </a:lnTo>
                  <a:lnTo>
                    <a:pt x="24" y="2630"/>
                  </a:lnTo>
                  <a:lnTo>
                    <a:pt x="9" y="2778"/>
                  </a:lnTo>
                  <a:lnTo>
                    <a:pt x="1" y="2926"/>
                  </a:lnTo>
                  <a:lnTo>
                    <a:pt x="0" y="3073"/>
                  </a:lnTo>
                  <a:lnTo>
                    <a:pt x="6" y="3220"/>
                  </a:lnTo>
                  <a:lnTo>
                    <a:pt x="20" y="3366"/>
                  </a:lnTo>
                  <a:lnTo>
                    <a:pt x="40" y="3509"/>
                  </a:lnTo>
                  <a:lnTo>
                    <a:pt x="67" y="3652"/>
                  </a:lnTo>
                  <a:lnTo>
                    <a:pt x="101" y="3793"/>
                  </a:lnTo>
                  <a:lnTo>
                    <a:pt x="143" y="3933"/>
                  </a:lnTo>
                  <a:lnTo>
                    <a:pt x="190" y="4070"/>
                  </a:lnTo>
                  <a:lnTo>
                    <a:pt x="243" y="4204"/>
                  </a:lnTo>
                  <a:lnTo>
                    <a:pt x="303" y="4335"/>
                  </a:lnTo>
                  <a:lnTo>
                    <a:pt x="370" y="4464"/>
                  </a:lnTo>
                  <a:lnTo>
                    <a:pt x="442" y="4590"/>
                  </a:lnTo>
                  <a:lnTo>
                    <a:pt x="521" y="4712"/>
                  </a:lnTo>
                  <a:lnTo>
                    <a:pt x="605" y="4830"/>
                  </a:lnTo>
                  <a:lnTo>
                    <a:pt x="696" y="4945"/>
                  </a:lnTo>
                  <a:lnTo>
                    <a:pt x="791" y="5055"/>
                  </a:lnTo>
                  <a:lnTo>
                    <a:pt x="893" y="5160"/>
                  </a:lnTo>
                  <a:lnTo>
                    <a:pt x="1001" y="5262"/>
                  </a:lnTo>
                  <a:lnTo>
                    <a:pt x="1113" y="5357"/>
                  </a:lnTo>
                  <a:lnTo>
                    <a:pt x="1231" y="5449"/>
                  </a:lnTo>
                  <a:lnTo>
                    <a:pt x="1354" y="5534"/>
                  </a:lnTo>
                  <a:lnTo>
                    <a:pt x="1481" y="5614"/>
                  </a:lnTo>
                  <a:lnTo>
                    <a:pt x="1614" y="5687"/>
                  </a:lnTo>
                  <a:lnTo>
                    <a:pt x="1752" y="5756"/>
                  </a:lnTo>
                  <a:lnTo>
                    <a:pt x="1895" y="5817"/>
                  </a:lnTo>
                  <a:lnTo>
                    <a:pt x="2041" y="5870"/>
                  </a:lnTo>
                  <a:lnTo>
                    <a:pt x="2188" y="5917"/>
                  </a:lnTo>
                  <a:lnTo>
                    <a:pt x="2334" y="5955"/>
                  </a:lnTo>
                  <a:lnTo>
                    <a:pt x="2482" y="5986"/>
                  </a:lnTo>
                  <a:lnTo>
                    <a:pt x="2630" y="6009"/>
                  </a:lnTo>
                  <a:lnTo>
                    <a:pt x="2778" y="6024"/>
                  </a:lnTo>
                  <a:lnTo>
                    <a:pt x="2926" y="6032"/>
                  </a:lnTo>
                  <a:lnTo>
                    <a:pt x="3074" y="6033"/>
                  </a:lnTo>
                  <a:lnTo>
                    <a:pt x="3220" y="6027"/>
                  </a:lnTo>
                  <a:lnTo>
                    <a:pt x="3366" y="6013"/>
                  </a:lnTo>
                  <a:lnTo>
                    <a:pt x="3509" y="5993"/>
                  </a:lnTo>
                  <a:lnTo>
                    <a:pt x="3652" y="5966"/>
                  </a:lnTo>
                  <a:lnTo>
                    <a:pt x="3794" y="5932"/>
                  </a:lnTo>
                  <a:lnTo>
                    <a:pt x="3933" y="5891"/>
                  </a:lnTo>
                  <a:lnTo>
                    <a:pt x="4070" y="5843"/>
                  </a:lnTo>
                  <a:lnTo>
                    <a:pt x="4205" y="5790"/>
                  </a:lnTo>
                  <a:lnTo>
                    <a:pt x="4336" y="5730"/>
                  </a:lnTo>
                  <a:lnTo>
                    <a:pt x="4465" y="5663"/>
                  </a:lnTo>
                  <a:lnTo>
                    <a:pt x="4590" y="5591"/>
                  </a:lnTo>
                  <a:lnTo>
                    <a:pt x="4713" y="5512"/>
                  </a:lnTo>
                  <a:lnTo>
                    <a:pt x="4830" y="5428"/>
                  </a:lnTo>
                  <a:lnTo>
                    <a:pt x="4945" y="5338"/>
                  </a:lnTo>
                  <a:lnTo>
                    <a:pt x="5056" y="5242"/>
                  </a:lnTo>
                  <a:lnTo>
                    <a:pt x="5161" y="5140"/>
                  </a:lnTo>
                  <a:lnTo>
                    <a:pt x="5262" y="5033"/>
                  </a:lnTo>
                  <a:lnTo>
                    <a:pt x="5358" y="4921"/>
                  </a:lnTo>
                  <a:lnTo>
                    <a:pt x="5449" y="4803"/>
                  </a:lnTo>
                  <a:lnTo>
                    <a:pt x="5534" y="4680"/>
                  </a:lnTo>
                  <a:lnTo>
                    <a:pt x="5615" y="4552"/>
                  </a:lnTo>
                  <a:lnTo>
                    <a:pt x="5688" y="4419"/>
                  </a:lnTo>
                  <a:lnTo>
                    <a:pt x="5757" y="4281"/>
                  </a:lnTo>
                  <a:lnTo>
                    <a:pt x="5818" y="4138"/>
                  </a:lnTo>
                  <a:lnTo>
                    <a:pt x="5871" y="3992"/>
                  </a:lnTo>
                  <a:lnTo>
                    <a:pt x="5918" y="3846"/>
                  </a:lnTo>
                  <a:lnTo>
                    <a:pt x="5956" y="3699"/>
                  </a:lnTo>
                  <a:lnTo>
                    <a:pt x="5987" y="3551"/>
                  </a:lnTo>
                  <a:lnTo>
                    <a:pt x="6009" y="3403"/>
                  </a:lnTo>
                  <a:lnTo>
                    <a:pt x="6025" y="3255"/>
                  </a:lnTo>
                  <a:lnTo>
                    <a:pt x="6033" y="3107"/>
                  </a:lnTo>
                  <a:lnTo>
                    <a:pt x="6034" y="2960"/>
                  </a:lnTo>
                  <a:lnTo>
                    <a:pt x="6027" y="2813"/>
                  </a:lnTo>
                  <a:lnTo>
                    <a:pt x="6014" y="2667"/>
                  </a:lnTo>
                  <a:lnTo>
                    <a:pt x="5993" y="2524"/>
                  </a:lnTo>
                  <a:lnTo>
                    <a:pt x="5966" y="2381"/>
                  </a:lnTo>
                  <a:lnTo>
                    <a:pt x="5932" y="2240"/>
                  </a:lnTo>
                  <a:lnTo>
                    <a:pt x="5891" y="2100"/>
                  </a:lnTo>
                  <a:lnTo>
                    <a:pt x="5844" y="1963"/>
                  </a:lnTo>
                  <a:lnTo>
                    <a:pt x="5790" y="1829"/>
                  </a:lnTo>
                  <a:lnTo>
                    <a:pt x="5730" y="1698"/>
                  </a:lnTo>
                  <a:lnTo>
                    <a:pt x="5663" y="1569"/>
                  </a:lnTo>
                  <a:lnTo>
                    <a:pt x="5591" y="1443"/>
                  </a:lnTo>
                  <a:lnTo>
                    <a:pt x="5512" y="1321"/>
                  </a:lnTo>
                  <a:lnTo>
                    <a:pt x="5428" y="1203"/>
                  </a:lnTo>
                  <a:lnTo>
                    <a:pt x="5338" y="1088"/>
                  </a:lnTo>
                  <a:lnTo>
                    <a:pt x="5242" y="978"/>
                  </a:lnTo>
                  <a:lnTo>
                    <a:pt x="5140" y="873"/>
                  </a:lnTo>
                  <a:lnTo>
                    <a:pt x="5033" y="771"/>
                  </a:lnTo>
                  <a:lnTo>
                    <a:pt x="4921" y="676"/>
                  </a:lnTo>
                  <a:lnTo>
                    <a:pt x="4803" y="584"/>
                  </a:lnTo>
                  <a:lnTo>
                    <a:pt x="4679" y="499"/>
                  </a:lnTo>
                  <a:lnTo>
                    <a:pt x="4552" y="419"/>
                  </a:lnTo>
                  <a:lnTo>
                    <a:pt x="4419" y="345"/>
                  </a:lnTo>
                  <a:lnTo>
                    <a:pt x="4281" y="277"/>
                  </a:lnTo>
                  <a:lnTo>
                    <a:pt x="4138" y="2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84" name="iśḷïḓe">
              <a:extLst>
                <a:ext uri="{FF2B5EF4-FFF2-40B4-BE49-F238E27FC236}">
                  <a16:creationId xmlns:a16="http://schemas.microsoft.com/office/drawing/2014/main" id="{0356D575-C068-45E7-94F8-812DB2679C6B}"/>
                </a:ext>
              </a:extLst>
            </p:cNvPr>
            <p:cNvSpPr/>
            <p:nvPr/>
          </p:nvSpPr>
          <p:spPr bwMode="auto">
            <a:xfrm>
              <a:off x="6147256" y="2797221"/>
              <a:ext cx="57270" cy="58112"/>
            </a:xfrm>
            <a:custGeom>
              <a:avLst/>
              <a:gdLst>
                <a:gd name="T0" fmla="*/ 2514 w 2520"/>
                <a:gd name="T1" fmla="*/ 308 h 2567"/>
                <a:gd name="T2" fmla="*/ 2520 w 2520"/>
                <a:gd name="T3" fmla="*/ 259 h 2567"/>
                <a:gd name="T4" fmla="*/ 2517 w 2520"/>
                <a:gd name="T5" fmla="*/ 211 h 2567"/>
                <a:gd name="T6" fmla="*/ 2505 w 2520"/>
                <a:gd name="T7" fmla="*/ 163 h 2567"/>
                <a:gd name="T8" fmla="*/ 2483 w 2520"/>
                <a:gd name="T9" fmla="*/ 120 h 2567"/>
                <a:gd name="T10" fmla="*/ 2454 w 2520"/>
                <a:gd name="T11" fmla="*/ 82 h 2567"/>
                <a:gd name="T12" fmla="*/ 2417 w 2520"/>
                <a:gd name="T13" fmla="*/ 49 h 2567"/>
                <a:gd name="T14" fmla="*/ 2374 w 2520"/>
                <a:gd name="T15" fmla="*/ 23 h 2567"/>
                <a:gd name="T16" fmla="*/ 2326 w 2520"/>
                <a:gd name="T17" fmla="*/ 6 h 2567"/>
                <a:gd name="T18" fmla="*/ 2276 w 2520"/>
                <a:gd name="T19" fmla="*/ 0 h 2567"/>
                <a:gd name="T20" fmla="*/ 2227 w 2520"/>
                <a:gd name="T21" fmla="*/ 3 h 2567"/>
                <a:gd name="T22" fmla="*/ 2181 w 2520"/>
                <a:gd name="T23" fmla="*/ 15 h 2567"/>
                <a:gd name="T24" fmla="*/ 2137 w 2520"/>
                <a:gd name="T25" fmla="*/ 37 h 2567"/>
                <a:gd name="T26" fmla="*/ 2098 w 2520"/>
                <a:gd name="T27" fmla="*/ 66 h 2567"/>
                <a:gd name="T28" fmla="*/ 2066 w 2520"/>
                <a:gd name="T29" fmla="*/ 103 h 2567"/>
                <a:gd name="T30" fmla="*/ 2041 w 2520"/>
                <a:gd name="T31" fmla="*/ 146 h 2567"/>
                <a:gd name="T32" fmla="*/ 1963 w 2520"/>
                <a:gd name="T33" fmla="*/ 324 h 2567"/>
                <a:gd name="T34" fmla="*/ 1797 w 2520"/>
                <a:gd name="T35" fmla="*/ 640 h 2567"/>
                <a:gd name="T36" fmla="*/ 1605 w 2520"/>
                <a:gd name="T37" fmla="*/ 934 h 2567"/>
                <a:gd name="T38" fmla="*/ 1387 w 2520"/>
                <a:gd name="T39" fmla="*/ 1202 h 2567"/>
                <a:gd name="T40" fmla="*/ 1146 w 2520"/>
                <a:gd name="T41" fmla="*/ 1446 h 2567"/>
                <a:gd name="T42" fmla="*/ 883 w 2520"/>
                <a:gd name="T43" fmla="*/ 1663 h 2567"/>
                <a:gd name="T44" fmla="*/ 602 w 2520"/>
                <a:gd name="T45" fmla="*/ 1853 h 2567"/>
                <a:gd name="T46" fmla="*/ 306 w 2520"/>
                <a:gd name="T47" fmla="*/ 2015 h 2567"/>
                <a:gd name="T48" fmla="*/ 130 w 2520"/>
                <a:gd name="T49" fmla="*/ 2097 h 2567"/>
                <a:gd name="T50" fmla="*/ 88 w 2520"/>
                <a:gd name="T51" fmla="*/ 2125 h 2567"/>
                <a:gd name="T52" fmla="*/ 54 w 2520"/>
                <a:gd name="T53" fmla="*/ 2160 h 2567"/>
                <a:gd name="T54" fmla="*/ 28 w 2520"/>
                <a:gd name="T55" fmla="*/ 2201 h 2567"/>
                <a:gd name="T56" fmla="*/ 10 w 2520"/>
                <a:gd name="T57" fmla="*/ 2246 h 2567"/>
                <a:gd name="T58" fmla="*/ 1 w 2520"/>
                <a:gd name="T59" fmla="*/ 2293 h 2567"/>
                <a:gd name="T60" fmla="*/ 2 w 2520"/>
                <a:gd name="T61" fmla="*/ 2342 h 2567"/>
                <a:gd name="T62" fmla="*/ 12 w 2520"/>
                <a:gd name="T63" fmla="*/ 2390 h 2567"/>
                <a:gd name="T64" fmla="*/ 32 w 2520"/>
                <a:gd name="T65" fmla="*/ 2438 h 2567"/>
                <a:gd name="T66" fmla="*/ 60 w 2520"/>
                <a:gd name="T67" fmla="*/ 2479 h 2567"/>
                <a:gd name="T68" fmla="*/ 95 w 2520"/>
                <a:gd name="T69" fmla="*/ 2513 h 2567"/>
                <a:gd name="T70" fmla="*/ 137 w 2520"/>
                <a:gd name="T71" fmla="*/ 2539 h 2567"/>
                <a:gd name="T72" fmla="*/ 181 w 2520"/>
                <a:gd name="T73" fmla="*/ 2557 h 2567"/>
                <a:gd name="T74" fmla="*/ 228 w 2520"/>
                <a:gd name="T75" fmla="*/ 2566 h 2567"/>
                <a:gd name="T76" fmla="*/ 277 w 2520"/>
                <a:gd name="T77" fmla="*/ 2566 h 2567"/>
                <a:gd name="T78" fmla="*/ 327 w 2520"/>
                <a:gd name="T79" fmla="*/ 2556 h 2567"/>
                <a:gd name="T80" fmla="*/ 362 w 2520"/>
                <a:gd name="T81" fmla="*/ 2540 h 2567"/>
                <a:gd name="T82" fmla="*/ 707 w 2520"/>
                <a:gd name="T83" fmla="*/ 2371 h 2567"/>
                <a:gd name="T84" fmla="*/ 1036 w 2520"/>
                <a:gd name="T85" fmla="*/ 2169 h 2567"/>
                <a:gd name="T86" fmla="*/ 1344 w 2520"/>
                <a:gd name="T87" fmla="*/ 1937 h 2567"/>
                <a:gd name="T88" fmla="*/ 1630 w 2520"/>
                <a:gd name="T89" fmla="*/ 1674 h 2567"/>
                <a:gd name="T90" fmla="*/ 1892 w 2520"/>
                <a:gd name="T91" fmla="*/ 1382 h 2567"/>
                <a:gd name="T92" fmla="*/ 2126 w 2520"/>
                <a:gd name="T93" fmla="*/ 1063 h 2567"/>
                <a:gd name="T94" fmla="*/ 2331 w 2520"/>
                <a:gd name="T95" fmla="*/ 717 h 2567"/>
                <a:gd name="T96" fmla="*/ 2502 w 2520"/>
                <a:gd name="T97" fmla="*/ 344 h 2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20" h="2567">
                  <a:moveTo>
                    <a:pt x="2502" y="344"/>
                  </a:moveTo>
                  <a:lnTo>
                    <a:pt x="2507" y="332"/>
                  </a:lnTo>
                  <a:lnTo>
                    <a:pt x="2511" y="320"/>
                  </a:lnTo>
                  <a:lnTo>
                    <a:pt x="2514" y="308"/>
                  </a:lnTo>
                  <a:lnTo>
                    <a:pt x="2516" y="296"/>
                  </a:lnTo>
                  <a:lnTo>
                    <a:pt x="2518" y="284"/>
                  </a:lnTo>
                  <a:lnTo>
                    <a:pt x="2520" y="271"/>
                  </a:lnTo>
                  <a:lnTo>
                    <a:pt x="2520" y="259"/>
                  </a:lnTo>
                  <a:lnTo>
                    <a:pt x="2520" y="247"/>
                  </a:lnTo>
                  <a:lnTo>
                    <a:pt x="2520" y="235"/>
                  </a:lnTo>
                  <a:lnTo>
                    <a:pt x="2519" y="223"/>
                  </a:lnTo>
                  <a:lnTo>
                    <a:pt x="2517" y="211"/>
                  </a:lnTo>
                  <a:lnTo>
                    <a:pt x="2515" y="198"/>
                  </a:lnTo>
                  <a:lnTo>
                    <a:pt x="2512" y="186"/>
                  </a:lnTo>
                  <a:lnTo>
                    <a:pt x="2509" y="175"/>
                  </a:lnTo>
                  <a:lnTo>
                    <a:pt x="2505" y="163"/>
                  </a:lnTo>
                  <a:lnTo>
                    <a:pt x="2500" y="152"/>
                  </a:lnTo>
                  <a:lnTo>
                    <a:pt x="2494" y="141"/>
                  </a:lnTo>
                  <a:lnTo>
                    <a:pt x="2489" y="131"/>
                  </a:lnTo>
                  <a:lnTo>
                    <a:pt x="2483" y="120"/>
                  </a:lnTo>
                  <a:lnTo>
                    <a:pt x="2476" y="110"/>
                  </a:lnTo>
                  <a:lnTo>
                    <a:pt x="2469" y="100"/>
                  </a:lnTo>
                  <a:lnTo>
                    <a:pt x="2462" y="91"/>
                  </a:lnTo>
                  <a:lnTo>
                    <a:pt x="2454" y="82"/>
                  </a:lnTo>
                  <a:lnTo>
                    <a:pt x="2445" y="73"/>
                  </a:lnTo>
                  <a:lnTo>
                    <a:pt x="2437" y="65"/>
                  </a:lnTo>
                  <a:lnTo>
                    <a:pt x="2427" y="57"/>
                  </a:lnTo>
                  <a:lnTo>
                    <a:pt x="2417" y="49"/>
                  </a:lnTo>
                  <a:lnTo>
                    <a:pt x="2407" y="42"/>
                  </a:lnTo>
                  <a:lnTo>
                    <a:pt x="2397" y="36"/>
                  </a:lnTo>
                  <a:lnTo>
                    <a:pt x="2386" y="29"/>
                  </a:lnTo>
                  <a:lnTo>
                    <a:pt x="2374" y="23"/>
                  </a:lnTo>
                  <a:lnTo>
                    <a:pt x="2362" y="18"/>
                  </a:lnTo>
                  <a:lnTo>
                    <a:pt x="2350" y="13"/>
                  </a:lnTo>
                  <a:lnTo>
                    <a:pt x="2338" y="9"/>
                  </a:lnTo>
                  <a:lnTo>
                    <a:pt x="2326" y="6"/>
                  </a:lnTo>
                  <a:lnTo>
                    <a:pt x="2313" y="4"/>
                  </a:lnTo>
                  <a:lnTo>
                    <a:pt x="2300" y="2"/>
                  </a:lnTo>
                  <a:lnTo>
                    <a:pt x="2288" y="0"/>
                  </a:lnTo>
                  <a:lnTo>
                    <a:pt x="2276" y="0"/>
                  </a:lnTo>
                  <a:lnTo>
                    <a:pt x="2264" y="0"/>
                  </a:lnTo>
                  <a:lnTo>
                    <a:pt x="2251" y="0"/>
                  </a:lnTo>
                  <a:lnTo>
                    <a:pt x="2239" y="1"/>
                  </a:lnTo>
                  <a:lnTo>
                    <a:pt x="2227" y="3"/>
                  </a:lnTo>
                  <a:lnTo>
                    <a:pt x="2216" y="5"/>
                  </a:lnTo>
                  <a:lnTo>
                    <a:pt x="2204" y="8"/>
                  </a:lnTo>
                  <a:lnTo>
                    <a:pt x="2192" y="11"/>
                  </a:lnTo>
                  <a:lnTo>
                    <a:pt x="2181" y="15"/>
                  </a:lnTo>
                  <a:lnTo>
                    <a:pt x="2170" y="20"/>
                  </a:lnTo>
                  <a:lnTo>
                    <a:pt x="2159" y="25"/>
                  </a:lnTo>
                  <a:lnTo>
                    <a:pt x="2147" y="30"/>
                  </a:lnTo>
                  <a:lnTo>
                    <a:pt x="2137" y="37"/>
                  </a:lnTo>
                  <a:lnTo>
                    <a:pt x="2127" y="44"/>
                  </a:lnTo>
                  <a:lnTo>
                    <a:pt x="2117" y="51"/>
                  </a:lnTo>
                  <a:lnTo>
                    <a:pt x="2108" y="58"/>
                  </a:lnTo>
                  <a:lnTo>
                    <a:pt x="2098" y="66"/>
                  </a:lnTo>
                  <a:lnTo>
                    <a:pt x="2090" y="75"/>
                  </a:lnTo>
                  <a:lnTo>
                    <a:pt x="2081" y="83"/>
                  </a:lnTo>
                  <a:lnTo>
                    <a:pt x="2073" y="93"/>
                  </a:lnTo>
                  <a:lnTo>
                    <a:pt x="2066" y="103"/>
                  </a:lnTo>
                  <a:lnTo>
                    <a:pt x="2059" y="113"/>
                  </a:lnTo>
                  <a:lnTo>
                    <a:pt x="2052" y="124"/>
                  </a:lnTo>
                  <a:lnTo>
                    <a:pt x="2046" y="135"/>
                  </a:lnTo>
                  <a:lnTo>
                    <a:pt x="2041" y="146"/>
                  </a:lnTo>
                  <a:lnTo>
                    <a:pt x="2036" y="158"/>
                  </a:lnTo>
                  <a:lnTo>
                    <a:pt x="2035" y="157"/>
                  </a:lnTo>
                  <a:lnTo>
                    <a:pt x="2000" y="242"/>
                  </a:lnTo>
                  <a:lnTo>
                    <a:pt x="1963" y="324"/>
                  </a:lnTo>
                  <a:lnTo>
                    <a:pt x="1924" y="406"/>
                  </a:lnTo>
                  <a:lnTo>
                    <a:pt x="1884" y="485"/>
                  </a:lnTo>
                  <a:lnTo>
                    <a:pt x="1842" y="564"/>
                  </a:lnTo>
                  <a:lnTo>
                    <a:pt x="1797" y="640"/>
                  </a:lnTo>
                  <a:lnTo>
                    <a:pt x="1752" y="716"/>
                  </a:lnTo>
                  <a:lnTo>
                    <a:pt x="1705" y="790"/>
                  </a:lnTo>
                  <a:lnTo>
                    <a:pt x="1656" y="862"/>
                  </a:lnTo>
                  <a:lnTo>
                    <a:pt x="1605" y="934"/>
                  </a:lnTo>
                  <a:lnTo>
                    <a:pt x="1553" y="1003"/>
                  </a:lnTo>
                  <a:lnTo>
                    <a:pt x="1499" y="1071"/>
                  </a:lnTo>
                  <a:lnTo>
                    <a:pt x="1443" y="1137"/>
                  </a:lnTo>
                  <a:lnTo>
                    <a:pt x="1387" y="1202"/>
                  </a:lnTo>
                  <a:lnTo>
                    <a:pt x="1329" y="1266"/>
                  </a:lnTo>
                  <a:lnTo>
                    <a:pt x="1268" y="1327"/>
                  </a:lnTo>
                  <a:lnTo>
                    <a:pt x="1208" y="1387"/>
                  </a:lnTo>
                  <a:lnTo>
                    <a:pt x="1146" y="1446"/>
                  </a:lnTo>
                  <a:lnTo>
                    <a:pt x="1081" y="1502"/>
                  </a:lnTo>
                  <a:lnTo>
                    <a:pt x="1017" y="1557"/>
                  </a:lnTo>
                  <a:lnTo>
                    <a:pt x="950" y="1612"/>
                  </a:lnTo>
                  <a:lnTo>
                    <a:pt x="883" y="1663"/>
                  </a:lnTo>
                  <a:lnTo>
                    <a:pt x="815" y="1713"/>
                  </a:lnTo>
                  <a:lnTo>
                    <a:pt x="745" y="1762"/>
                  </a:lnTo>
                  <a:lnTo>
                    <a:pt x="674" y="1808"/>
                  </a:lnTo>
                  <a:lnTo>
                    <a:pt x="602" y="1853"/>
                  </a:lnTo>
                  <a:lnTo>
                    <a:pt x="530" y="1896"/>
                  </a:lnTo>
                  <a:lnTo>
                    <a:pt x="456" y="1938"/>
                  </a:lnTo>
                  <a:lnTo>
                    <a:pt x="381" y="1978"/>
                  </a:lnTo>
                  <a:lnTo>
                    <a:pt x="306" y="2015"/>
                  </a:lnTo>
                  <a:lnTo>
                    <a:pt x="229" y="2051"/>
                  </a:lnTo>
                  <a:lnTo>
                    <a:pt x="153" y="2086"/>
                  </a:lnTo>
                  <a:lnTo>
                    <a:pt x="141" y="2091"/>
                  </a:lnTo>
                  <a:lnTo>
                    <a:pt x="130" y="2097"/>
                  </a:lnTo>
                  <a:lnTo>
                    <a:pt x="118" y="2103"/>
                  </a:lnTo>
                  <a:lnTo>
                    <a:pt x="107" y="2110"/>
                  </a:lnTo>
                  <a:lnTo>
                    <a:pt x="97" y="2118"/>
                  </a:lnTo>
                  <a:lnTo>
                    <a:pt x="88" y="2125"/>
                  </a:lnTo>
                  <a:lnTo>
                    <a:pt x="79" y="2133"/>
                  </a:lnTo>
                  <a:lnTo>
                    <a:pt x="70" y="2142"/>
                  </a:lnTo>
                  <a:lnTo>
                    <a:pt x="62" y="2151"/>
                  </a:lnTo>
                  <a:lnTo>
                    <a:pt x="54" y="2160"/>
                  </a:lnTo>
                  <a:lnTo>
                    <a:pt x="47" y="2170"/>
                  </a:lnTo>
                  <a:lnTo>
                    <a:pt x="40" y="2180"/>
                  </a:lnTo>
                  <a:lnTo>
                    <a:pt x="34" y="2190"/>
                  </a:lnTo>
                  <a:lnTo>
                    <a:pt x="28" y="2201"/>
                  </a:lnTo>
                  <a:lnTo>
                    <a:pt x="23" y="2211"/>
                  </a:lnTo>
                  <a:lnTo>
                    <a:pt x="18" y="2222"/>
                  </a:lnTo>
                  <a:lnTo>
                    <a:pt x="14" y="2234"/>
                  </a:lnTo>
                  <a:lnTo>
                    <a:pt x="10" y="2246"/>
                  </a:lnTo>
                  <a:lnTo>
                    <a:pt x="7" y="2258"/>
                  </a:lnTo>
                  <a:lnTo>
                    <a:pt x="5" y="2269"/>
                  </a:lnTo>
                  <a:lnTo>
                    <a:pt x="3" y="2281"/>
                  </a:lnTo>
                  <a:lnTo>
                    <a:pt x="1" y="2293"/>
                  </a:lnTo>
                  <a:lnTo>
                    <a:pt x="1" y="2305"/>
                  </a:lnTo>
                  <a:lnTo>
                    <a:pt x="0" y="2317"/>
                  </a:lnTo>
                  <a:lnTo>
                    <a:pt x="1" y="2330"/>
                  </a:lnTo>
                  <a:lnTo>
                    <a:pt x="2" y="2342"/>
                  </a:lnTo>
                  <a:lnTo>
                    <a:pt x="3" y="2354"/>
                  </a:lnTo>
                  <a:lnTo>
                    <a:pt x="5" y="2366"/>
                  </a:lnTo>
                  <a:lnTo>
                    <a:pt x="8" y="2378"/>
                  </a:lnTo>
                  <a:lnTo>
                    <a:pt x="12" y="2390"/>
                  </a:lnTo>
                  <a:lnTo>
                    <a:pt x="16" y="2402"/>
                  </a:lnTo>
                  <a:lnTo>
                    <a:pt x="21" y="2415"/>
                  </a:lnTo>
                  <a:lnTo>
                    <a:pt x="26" y="2427"/>
                  </a:lnTo>
                  <a:lnTo>
                    <a:pt x="32" y="2438"/>
                  </a:lnTo>
                  <a:lnTo>
                    <a:pt x="38" y="2449"/>
                  </a:lnTo>
                  <a:lnTo>
                    <a:pt x="45" y="2460"/>
                  </a:lnTo>
                  <a:lnTo>
                    <a:pt x="52" y="2470"/>
                  </a:lnTo>
                  <a:lnTo>
                    <a:pt x="60" y="2479"/>
                  </a:lnTo>
                  <a:lnTo>
                    <a:pt x="68" y="2489"/>
                  </a:lnTo>
                  <a:lnTo>
                    <a:pt x="77" y="2497"/>
                  </a:lnTo>
                  <a:lnTo>
                    <a:pt x="86" y="2506"/>
                  </a:lnTo>
                  <a:lnTo>
                    <a:pt x="95" y="2513"/>
                  </a:lnTo>
                  <a:lnTo>
                    <a:pt x="105" y="2521"/>
                  </a:lnTo>
                  <a:lnTo>
                    <a:pt x="115" y="2527"/>
                  </a:lnTo>
                  <a:lnTo>
                    <a:pt x="126" y="2534"/>
                  </a:lnTo>
                  <a:lnTo>
                    <a:pt x="137" y="2539"/>
                  </a:lnTo>
                  <a:lnTo>
                    <a:pt x="148" y="2545"/>
                  </a:lnTo>
                  <a:lnTo>
                    <a:pt x="159" y="2549"/>
                  </a:lnTo>
                  <a:lnTo>
                    <a:pt x="170" y="2553"/>
                  </a:lnTo>
                  <a:lnTo>
                    <a:pt x="181" y="2557"/>
                  </a:lnTo>
                  <a:lnTo>
                    <a:pt x="193" y="2560"/>
                  </a:lnTo>
                  <a:lnTo>
                    <a:pt x="204" y="2563"/>
                  </a:lnTo>
                  <a:lnTo>
                    <a:pt x="216" y="2565"/>
                  </a:lnTo>
                  <a:lnTo>
                    <a:pt x="228" y="2566"/>
                  </a:lnTo>
                  <a:lnTo>
                    <a:pt x="240" y="2567"/>
                  </a:lnTo>
                  <a:lnTo>
                    <a:pt x="253" y="2567"/>
                  </a:lnTo>
                  <a:lnTo>
                    <a:pt x="265" y="2567"/>
                  </a:lnTo>
                  <a:lnTo>
                    <a:pt x="277" y="2566"/>
                  </a:lnTo>
                  <a:lnTo>
                    <a:pt x="289" y="2564"/>
                  </a:lnTo>
                  <a:lnTo>
                    <a:pt x="302" y="2562"/>
                  </a:lnTo>
                  <a:lnTo>
                    <a:pt x="314" y="2559"/>
                  </a:lnTo>
                  <a:lnTo>
                    <a:pt x="327" y="2556"/>
                  </a:lnTo>
                  <a:lnTo>
                    <a:pt x="339" y="2552"/>
                  </a:lnTo>
                  <a:lnTo>
                    <a:pt x="351" y="2547"/>
                  </a:lnTo>
                  <a:lnTo>
                    <a:pt x="356" y="2543"/>
                  </a:lnTo>
                  <a:lnTo>
                    <a:pt x="362" y="2540"/>
                  </a:lnTo>
                  <a:lnTo>
                    <a:pt x="449" y="2501"/>
                  </a:lnTo>
                  <a:lnTo>
                    <a:pt x="536" y="2460"/>
                  </a:lnTo>
                  <a:lnTo>
                    <a:pt x="622" y="2417"/>
                  </a:lnTo>
                  <a:lnTo>
                    <a:pt x="707" y="2371"/>
                  </a:lnTo>
                  <a:lnTo>
                    <a:pt x="790" y="2324"/>
                  </a:lnTo>
                  <a:lnTo>
                    <a:pt x="874" y="2275"/>
                  </a:lnTo>
                  <a:lnTo>
                    <a:pt x="955" y="2222"/>
                  </a:lnTo>
                  <a:lnTo>
                    <a:pt x="1036" y="2169"/>
                  </a:lnTo>
                  <a:lnTo>
                    <a:pt x="1114" y="2114"/>
                  </a:lnTo>
                  <a:lnTo>
                    <a:pt x="1193" y="2057"/>
                  </a:lnTo>
                  <a:lnTo>
                    <a:pt x="1269" y="1998"/>
                  </a:lnTo>
                  <a:lnTo>
                    <a:pt x="1344" y="1937"/>
                  </a:lnTo>
                  <a:lnTo>
                    <a:pt x="1418" y="1874"/>
                  </a:lnTo>
                  <a:lnTo>
                    <a:pt x="1491" y="1809"/>
                  </a:lnTo>
                  <a:lnTo>
                    <a:pt x="1561" y="1743"/>
                  </a:lnTo>
                  <a:lnTo>
                    <a:pt x="1630" y="1674"/>
                  </a:lnTo>
                  <a:lnTo>
                    <a:pt x="1699" y="1604"/>
                  </a:lnTo>
                  <a:lnTo>
                    <a:pt x="1765" y="1532"/>
                  </a:lnTo>
                  <a:lnTo>
                    <a:pt x="1830" y="1458"/>
                  </a:lnTo>
                  <a:lnTo>
                    <a:pt x="1892" y="1382"/>
                  </a:lnTo>
                  <a:lnTo>
                    <a:pt x="1953" y="1305"/>
                  </a:lnTo>
                  <a:lnTo>
                    <a:pt x="2013" y="1227"/>
                  </a:lnTo>
                  <a:lnTo>
                    <a:pt x="2071" y="1145"/>
                  </a:lnTo>
                  <a:lnTo>
                    <a:pt x="2126" y="1063"/>
                  </a:lnTo>
                  <a:lnTo>
                    <a:pt x="2181" y="979"/>
                  </a:lnTo>
                  <a:lnTo>
                    <a:pt x="2232" y="894"/>
                  </a:lnTo>
                  <a:lnTo>
                    <a:pt x="2282" y="806"/>
                  </a:lnTo>
                  <a:lnTo>
                    <a:pt x="2331" y="717"/>
                  </a:lnTo>
                  <a:lnTo>
                    <a:pt x="2376" y="626"/>
                  </a:lnTo>
                  <a:lnTo>
                    <a:pt x="2420" y="533"/>
                  </a:lnTo>
                  <a:lnTo>
                    <a:pt x="2462" y="440"/>
                  </a:lnTo>
                  <a:lnTo>
                    <a:pt x="2502" y="344"/>
                  </a:lnTo>
                  <a:lnTo>
                    <a:pt x="2502" y="3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85" name="îŝļïdé">
              <a:extLst>
                <a:ext uri="{FF2B5EF4-FFF2-40B4-BE49-F238E27FC236}">
                  <a16:creationId xmlns:a16="http://schemas.microsoft.com/office/drawing/2014/main" id="{823EFFAE-16D4-4E63-A513-228F2FCF30B6}"/>
                </a:ext>
              </a:extLst>
            </p:cNvPr>
            <p:cNvSpPr/>
            <p:nvPr/>
          </p:nvSpPr>
          <p:spPr bwMode="auto">
            <a:xfrm>
              <a:off x="6164942" y="2814065"/>
              <a:ext cx="81693" cy="83378"/>
            </a:xfrm>
            <a:custGeom>
              <a:avLst/>
              <a:gdLst>
                <a:gd name="T0" fmla="*/ 3402 w 3596"/>
                <a:gd name="T1" fmla="*/ 6 h 3668"/>
                <a:gd name="T2" fmla="*/ 3352 w 3596"/>
                <a:gd name="T3" fmla="*/ 0 h 3668"/>
                <a:gd name="T4" fmla="*/ 3303 w 3596"/>
                <a:gd name="T5" fmla="*/ 3 h 3668"/>
                <a:gd name="T6" fmla="*/ 3257 w 3596"/>
                <a:gd name="T7" fmla="*/ 15 h 3668"/>
                <a:gd name="T8" fmla="*/ 3213 w 3596"/>
                <a:gd name="T9" fmla="*/ 36 h 3668"/>
                <a:gd name="T10" fmla="*/ 3174 w 3596"/>
                <a:gd name="T11" fmla="*/ 65 h 3668"/>
                <a:gd name="T12" fmla="*/ 3142 w 3596"/>
                <a:gd name="T13" fmla="*/ 102 h 3668"/>
                <a:gd name="T14" fmla="*/ 3116 w 3596"/>
                <a:gd name="T15" fmla="*/ 146 h 3668"/>
                <a:gd name="T16" fmla="*/ 2938 w 3596"/>
                <a:gd name="T17" fmla="*/ 547 h 3668"/>
                <a:gd name="T18" fmla="*/ 2666 w 3596"/>
                <a:gd name="T19" fmla="*/ 1035 h 3668"/>
                <a:gd name="T20" fmla="*/ 2353 w 3596"/>
                <a:gd name="T21" fmla="*/ 1485 h 3668"/>
                <a:gd name="T22" fmla="*/ 2000 w 3596"/>
                <a:gd name="T23" fmla="*/ 1898 h 3668"/>
                <a:gd name="T24" fmla="*/ 1613 w 3596"/>
                <a:gd name="T25" fmla="*/ 2270 h 3668"/>
                <a:gd name="T26" fmla="*/ 1193 w 3596"/>
                <a:gd name="T27" fmla="*/ 2601 h 3668"/>
                <a:gd name="T28" fmla="*/ 746 w 3596"/>
                <a:gd name="T29" fmla="*/ 2889 h 3668"/>
                <a:gd name="T30" fmla="*/ 274 w 3596"/>
                <a:gd name="T31" fmla="*/ 3133 h 3668"/>
                <a:gd name="T32" fmla="*/ 119 w 3596"/>
                <a:gd name="T33" fmla="*/ 3204 h 3668"/>
                <a:gd name="T34" fmla="*/ 80 w 3596"/>
                <a:gd name="T35" fmla="*/ 3234 h 3668"/>
                <a:gd name="T36" fmla="*/ 48 w 3596"/>
                <a:gd name="T37" fmla="*/ 3271 h 3668"/>
                <a:gd name="T38" fmla="*/ 24 w 3596"/>
                <a:gd name="T39" fmla="*/ 3312 h 3668"/>
                <a:gd name="T40" fmla="*/ 7 w 3596"/>
                <a:gd name="T41" fmla="*/ 3359 h 3668"/>
                <a:gd name="T42" fmla="*/ 1 w 3596"/>
                <a:gd name="T43" fmla="*/ 3406 h 3668"/>
                <a:gd name="T44" fmla="*/ 3 w 3596"/>
                <a:gd name="T45" fmla="*/ 3455 h 3668"/>
                <a:gd name="T46" fmla="*/ 17 w 3596"/>
                <a:gd name="T47" fmla="*/ 3504 h 3668"/>
                <a:gd name="T48" fmla="*/ 39 w 3596"/>
                <a:gd name="T49" fmla="*/ 3551 h 3668"/>
                <a:gd name="T50" fmla="*/ 69 w 3596"/>
                <a:gd name="T51" fmla="*/ 3590 h 3668"/>
                <a:gd name="T52" fmla="*/ 106 w 3596"/>
                <a:gd name="T53" fmla="*/ 3622 h 3668"/>
                <a:gd name="T54" fmla="*/ 147 w 3596"/>
                <a:gd name="T55" fmla="*/ 3646 h 3668"/>
                <a:gd name="T56" fmla="*/ 194 w 3596"/>
                <a:gd name="T57" fmla="*/ 3661 h 3668"/>
                <a:gd name="T58" fmla="*/ 241 w 3596"/>
                <a:gd name="T59" fmla="*/ 3668 h 3668"/>
                <a:gd name="T60" fmla="*/ 290 w 3596"/>
                <a:gd name="T61" fmla="*/ 3666 h 3668"/>
                <a:gd name="T62" fmla="*/ 339 w 3596"/>
                <a:gd name="T63" fmla="*/ 3653 h 3668"/>
                <a:gd name="T64" fmla="*/ 499 w 3596"/>
                <a:gd name="T65" fmla="*/ 3578 h 3668"/>
                <a:gd name="T66" fmla="*/ 1011 w 3596"/>
                <a:gd name="T67" fmla="*/ 3312 h 3668"/>
                <a:gd name="T68" fmla="*/ 1497 w 3596"/>
                <a:gd name="T69" fmla="*/ 2998 h 3668"/>
                <a:gd name="T70" fmla="*/ 1952 w 3596"/>
                <a:gd name="T71" fmla="*/ 2638 h 3668"/>
                <a:gd name="T72" fmla="*/ 2373 w 3596"/>
                <a:gd name="T73" fmla="*/ 2233 h 3668"/>
                <a:gd name="T74" fmla="*/ 2756 w 3596"/>
                <a:gd name="T75" fmla="*/ 1785 h 3668"/>
                <a:gd name="T76" fmla="*/ 3096 w 3596"/>
                <a:gd name="T77" fmla="*/ 1295 h 3668"/>
                <a:gd name="T78" fmla="*/ 3390 w 3596"/>
                <a:gd name="T79" fmla="*/ 766 h 3668"/>
                <a:gd name="T80" fmla="*/ 3583 w 3596"/>
                <a:gd name="T81" fmla="*/ 333 h 3668"/>
                <a:gd name="T82" fmla="*/ 3594 w 3596"/>
                <a:gd name="T83" fmla="*/ 283 h 3668"/>
                <a:gd name="T84" fmla="*/ 3596 w 3596"/>
                <a:gd name="T85" fmla="*/ 234 h 3668"/>
                <a:gd name="T86" fmla="*/ 3587 w 3596"/>
                <a:gd name="T87" fmla="*/ 186 h 3668"/>
                <a:gd name="T88" fmla="*/ 3571 w 3596"/>
                <a:gd name="T89" fmla="*/ 142 h 3668"/>
                <a:gd name="T90" fmla="*/ 3545 w 3596"/>
                <a:gd name="T91" fmla="*/ 100 h 3668"/>
                <a:gd name="T92" fmla="*/ 3512 w 3596"/>
                <a:gd name="T93" fmla="*/ 64 h 3668"/>
                <a:gd name="T94" fmla="*/ 3472 w 3596"/>
                <a:gd name="T95" fmla="*/ 35 h 3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96" h="3668">
                  <a:moveTo>
                    <a:pt x="3438" y="18"/>
                  </a:moveTo>
                  <a:lnTo>
                    <a:pt x="3426" y="13"/>
                  </a:lnTo>
                  <a:lnTo>
                    <a:pt x="3414" y="9"/>
                  </a:lnTo>
                  <a:lnTo>
                    <a:pt x="3402" y="6"/>
                  </a:lnTo>
                  <a:lnTo>
                    <a:pt x="3388" y="4"/>
                  </a:lnTo>
                  <a:lnTo>
                    <a:pt x="3376" y="2"/>
                  </a:lnTo>
                  <a:lnTo>
                    <a:pt x="3364" y="0"/>
                  </a:lnTo>
                  <a:lnTo>
                    <a:pt x="3352" y="0"/>
                  </a:lnTo>
                  <a:lnTo>
                    <a:pt x="3339" y="0"/>
                  </a:lnTo>
                  <a:lnTo>
                    <a:pt x="3327" y="0"/>
                  </a:lnTo>
                  <a:lnTo>
                    <a:pt x="3315" y="1"/>
                  </a:lnTo>
                  <a:lnTo>
                    <a:pt x="3303" y="3"/>
                  </a:lnTo>
                  <a:lnTo>
                    <a:pt x="3291" y="5"/>
                  </a:lnTo>
                  <a:lnTo>
                    <a:pt x="3280" y="8"/>
                  </a:lnTo>
                  <a:lnTo>
                    <a:pt x="3268" y="11"/>
                  </a:lnTo>
                  <a:lnTo>
                    <a:pt x="3257" y="15"/>
                  </a:lnTo>
                  <a:lnTo>
                    <a:pt x="3246" y="20"/>
                  </a:lnTo>
                  <a:lnTo>
                    <a:pt x="3235" y="25"/>
                  </a:lnTo>
                  <a:lnTo>
                    <a:pt x="3223" y="30"/>
                  </a:lnTo>
                  <a:lnTo>
                    <a:pt x="3213" y="36"/>
                  </a:lnTo>
                  <a:lnTo>
                    <a:pt x="3203" y="43"/>
                  </a:lnTo>
                  <a:lnTo>
                    <a:pt x="3193" y="50"/>
                  </a:lnTo>
                  <a:lnTo>
                    <a:pt x="3183" y="57"/>
                  </a:lnTo>
                  <a:lnTo>
                    <a:pt x="3174" y="65"/>
                  </a:lnTo>
                  <a:lnTo>
                    <a:pt x="3165" y="74"/>
                  </a:lnTo>
                  <a:lnTo>
                    <a:pt x="3157" y="83"/>
                  </a:lnTo>
                  <a:lnTo>
                    <a:pt x="3149" y="92"/>
                  </a:lnTo>
                  <a:lnTo>
                    <a:pt x="3142" y="102"/>
                  </a:lnTo>
                  <a:lnTo>
                    <a:pt x="3135" y="112"/>
                  </a:lnTo>
                  <a:lnTo>
                    <a:pt x="3128" y="122"/>
                  </a:lnTo>
                  <a:lnTo>
                    <a:pt x="3122" y="133"/>
                  </a:lnTo>
                  <a:lnTo>
                    <a:pt x="3116" y="146"/>
                  </a:lnTo>
                  <a:lnTo>
                    <a:pt x="3111" y="158"/>
                  </a:lnTo>
                  <a:lnTo>
                    <a:pt x="3056" y="289"/>
                  </a:lnTo>
                  <a:lnTo>
                    <a:pt x="2998" y="419"/>
                  </a:lnTo>
                  <a:lnTo>
                    <a:pt x="2938" y="547"/>
                  </a:lnTo>
                  <a:lnTo>
                    <a:pt x="2874" y="672"/>
                  </a:lnTo>
                  <a:lnTo>
                    <a:pt x="2808" y="795"/>
                  </a:lnTo>
                  <a:lnTo>
                    <a:pt x="2739" y="916"/>
                  </a:lnTo>
                  <a:lnTo>
                    <a:pt x="2666" y="1035"/>
                  </a:lnTo>
                  <a:lnTo>
                    <a:pt x="2592" y="1150"/>
                  </a:lnTo>
                  <a:lnTo>
                    <a:pt x="2515" y="1264"/>
                  </a:lnTo>
                  <a:lnTo>
                    <a:pt x="2435" y="1376"/>
                  </a:lnTo>
                  <a:lnTo>
                    <a:pt x="2353" y="1485"/>
                  </a:lnTo>
                  <a:lnTo>
                    <a:pt x="2269" y="1592"/>
                  </a:lnTo>
                  <a:lnTo>
                    <a:pt x="2181" y="1697"/>
                  </a:lnTo>
                  <a:lnTo>
                    <a:pt x="2092" y="1798"/>
                  </a:lnTo>
                  <a:lnTo>
                    <a:pt x="2000" y="1898"/>
                  </a:lnTo>
                  <a:lnTo>
                    <a:pt x="1907" y="1994"/>
                  </a:lnTo>
                  <a:lnTo>
                    <a:pt x="1811" y="2089"/>
                  </a:lnTo>
                  <a:lnTo>
                    <a:pt x="1713" y="2181"/>
                  </a:lnTo>
                  <a:lnTo>
                    <a:pt x="1613" y="2270"/>
                  </a:lnTo>
                  <a:lnTo>
                    <a:pt x="1511" y="2357"/>
                  </a:lnTo>
                  <a:lnTo>
                    <a:pt x="1407" y="2441"/>
                  </a:lnTo>
                  <a:lnTo>
                    <a:pt x="1301" y="2523"/>
                  </a:lnTo>
                  <a:lnTo>
                    <a:pt x="1193" y="2601"/>
                  </a:lnTo>
                  <a:lnTo>
                    <a:pt x="1084" y="2678"/>
                  </a:lnTo>
                  <a:lnTo>
                    <a:pt x="973" y="2751"/>
                  </a:lnTo>
                  <a:lnTo>
                    <a:pt x="861" y="2821"/>
                  </a:lnTo>
                  <a:lnTo>
                    <a:pt x="746" y="2889"/>
                  </a:lnTo>
                  <a:lnTo>
                    <a:pt x="630" y="2954"/>
                  </a:lnTo>
                  <a:lnTo>
                    <a:pt x="512" y="3017"/>
                  </a:lnTo>
                  <a:lnTo>
                    <a:pt x="394" y="3076"/>
                  </a:lnTo>
                  <a:lnTo>
                    <a:pt x="274" y="3133"/>
                  </a:lnTo>
                  <a:lnTo>
                    <a:pt x="152" y="3187"/>
                  </a:lnTo>
                  <a:lnTo>
                    <a:pt x="141" y="3192"/>
                  </a:lnTo>
                  <a:lnTo>
                    <a:pt x="129" y="3198"/>
                  </a:lnTo>
                  <a:lnTo>
                    <a:pt x="119" y="3204"/>
                  </a:lnTo>
                  <a:lnTo>
                    <a:pt x="108" y="3211"/>
                  </a:lnTo>
                  <a:lnTo>
                    <a:pt x="98" y="3219"/>
                  </a:lnTo>
                  <a:lnTo>
                    <a:pt x="89" y="3226"/>
                  </a:lnTo>
                  <a:lnTo>
                    <a:pt x="80" y="3234"/>
                  </a:lnTo>
                  <a:lnTo>
                    <a:pt x="71" y="3243"/>
                  </a:lnTo>
                  <a:lnTo>
                    <a:pt x="63" y="3252"/>
                  </a:lnTo>
                  <a:lnTo>
                    <a:pt x="55" y="3261"/>
                  </a:lnTo>
                  <a:lnTo>
                    <a:pt x="48" y="3271"/>
                  </a:lnTo>
                  <a:lnTo>
                    <a:pt x="41" y="3281"/>
                  </a:lnTo>
                  <a:lnTo>
                    <a:pt x="35" y="3291"/>
                  </a:lnTo>
                  <a:lnTo>
                    <a:pt x="29" y="3302"/>
                  </a:lnTo>
                  <a:lnTo>
                    <a:pt x="24" y="3312"/>
                  </a:lnTo>
                  <a:lnTo>
                    <a:pt x="19" y="3324"/>
                  </a:lnTo>
                  <a:lnTo>
                    <a:pt x="15" y="3335"/>
                  </a:lnTo>
                  <a:lnTo>
                    <a:pt x="11" y="3346"/>
                  </a:lnTo>
                  <a:lnTo>
                    <a:pt x="7" y="3359"/>
                  </a:lnTo>
                  <a:lnTo>
                    <a:pt x="5" y="3370"/>
                  </a:lnTo>
                  <a:lnTo>
                    <a:pt x="3" y="3382"/>
                  </a:lnTo>
                  <a:lnTo>
                    <a:pt x="1" y="3394"/>
                  </a:lnTo>
                  <a:lnTo>
                    <a:pt x="1" y="3406"/>
                  </a:lnTo>
                  <a:lnTo>
                    <a:pt x="0" y="3419"/>
                  </a:lnTo>
                  <a:lnTo>
                    <a:pt x="1" y="3431"/>
                  </a:lnTo>
                  <a:lnTo>
                    <a:pt x="2" y="3443"/>
                  </a:lnTo>
                  <a:lnTo>
                    <a:pt x="3" y="3455"/>
                  </a:lnTo>
                  <a:lnTo>
                    <a:pt x="6" y="3467"/>
                  </a:lnTo>
                  <a:lnTo>
                    <a:pt x="8" y="3480"/>
                  </a:lnTo>
                  <a:lnTo>
                    <a:pt x="13" y="3492"/>
                  </a:lnTo>
                  <a:lnTo>
                    <a:pt x="17" y="3504"/>
                  </a:lnTo>
                  <a:lnTo>
                    <a:pt x="22" y="3516"/>
                  </a:lnTo>
                  <a:lnTo>
                    <a:pt x="27" y="3529"/>
                  </a:lnTo>
                  <a:lnTo>
                    <a:pt x="33" y="3540"/>
                  </a:lnTo>
                  <a:lnTo>
                    <a:pt x="39" y="3551"/>
                  </a:lnTo>
                  <a:lnTo>
                    <a:pt x="46" y="3561"/>
                  </a:lnTo>
                  <a:lnTo>
                    <a:pt x="54" y="3571"/>
                  </a:lnTo>
                  <a:lnTo>
                    <a:pt x="61" y="3581"/>
                  </a:lnTo>
                  <a:lnTo>
                    <a:pt x="69" y="3590"/>
                  </a:lnTo>
                  <a:lnTo>
                    <a:pt x="78" y="3599"/>
                  </a:lnTo>
                  <a:lnTo>
                    <a:pt x="87" y="3607"/>
                  </a:lnTo>
                  <a:lnTo>
                    <a:pt x="96" y="3615"/>
                  </a:lnTo>
                  <a:lnTo>
                    <a:pt x="106" y="3622"/>
                  </a:lnTo>
                  <a:lnTo>
                    <a:pt x="116" y="3629"/>
                  </a:lnTo>
                  <a:lnTo>
                    <a:pt x="126" y="3635"/>
                  </a:lnTo>
                  <a:lnTo>
                    <a:pt x="137" y="3641"/>
                  </a:lnTo>
                  <a:lnTo>
                    <a:pt x="147" y="3646"/>
                  </a:lnTo>
                  <a:lnTo>
                    <a:pt x="158" y="3651"/>
                  </a:lnTo>
                  <a:lnTo>
                    <a:pt x="170" y="3655"/>
                  </a:lnTo>
                  <a:lnTo>
                    <a:pt x="182" y="3658"/>
                  </a:lnTo>
                  <a:lnTo>
                    <a:pt x="194" y="3661"/>
                  </a:lnTo>
                  <a:lnTo>
                    <a:pt x="205" y="3664"/>
                  </a:lnTo>
                  <a:lnTo>
                    <a:pt x="217" y="3666"/>
                  </a:lnTo>
                  <a:lnTo>
                    <a:pt x="229" y="3667"/>
                  </a:lnTo>
                  <a:lnTo>
                    <a:pt x="241" y="3668"/>
                  </a:lnTo>
                  <a:lnTo>
                    <a:pt x="254" y="3668"/>
                  </a:lnTo>
                  <a:lnTo>
                    <a:pt x="266" y="3668"/>
                  </a:lnTo>
                  <a:lnTo>
                    <a:pt x="278" y="3667"/>
                  </a:lnTo>
                  <a:lnTo>
                    <a:pt x="290" y="3666"/>
                  </a:lnTo>
                  <a:lnTo>
                    <a:pt x="302" y="3663"/>
                  </a:lnTo>
                  <a:lnTo>
                    <a:pt x="315" y="3661"/>
                  </a:lnTo>
                  <a:lnTo>
                    <a:pt x="327" y="3657"/>
                  </a:lnTo>
                  <a:lnTo>
                    <a:pt x="339" y="3653"/>
                  </a:lnTo>
                  <a:lnTo>
                    <a:pt x="352" y="3648"/>
                  </a:lnTo>
                  <a:lnTo>
                    <a:pt x="360" y="3642"/>
                  </a:lnTo>
                  <a:lnTo>
                    <a:pt x="368" y="3637"/>
                  </a:lnTo>
                  <a:lnTo>
                    <a:pt x="499" y="3578"/>
                  </a:lnTo>
                  <a:lnTo>
                    <a:pt x="629" y="3516"/>
                  </a:lnTo>
                  <a:lnTo>
                    <a:pt x="758" y="3451"/>
                  </a:lnTo>
                  <a:lnTo>
                    <a:pt x="886" y="3384"/>
                  </a:lnTo>
                  <a:lnTo>
                    <a:pt x="1011" y="3312"/>
                  </a:lnTo>
                  <a:lnTo>
                    <a:pt x="1135" y="3238"/>
                  </a:lnTo>
                  <a:lnTo>
                    <a:pt x="1258" y="3161"/>
                  </a:lnTo>
                  <a:lnTo>
                    <a:pt x="1379" y="3081"/>
                  </a:lnTo>
                  <a:lnTo>
                    <a:pt x="1497" y="2998"/>
                  </a:lnTo>
                  <a:lnTo>
                    <a:pt x="1614" y="2913"/>
                  </a:lnTo>
                  <a:lnTo>
                    <a:pt x="1729" y="2824"/>
                  </a:lnTo>
                  <a:lnTo>
                    <a:pt x="1841" y="2733"/>
                  </a:lnTo>
                  <a:lnTo>
                    <a:pt x="1952" y="2638"/>
                  </a:lnTo>
                  <a:lnTo>
                    <a:pt x="2061" y="2541"/>
                  </a:lnTo>
                  <a:lnTo>
                    <a:pt x="2167" y="2441"/>
                  </a:lnTo>
                  <a:lnTo>
                    <a:pt x="2271" y="2339"/>
                  </a:lnTo>
                  <a:lnTo>
                    <a:pt x="2373" y="2233"/>
                  </a:lnTo>
                  <a:lnTo>
                    <a:pt x="2472" y="2125"/>
                  </a:lnTo>
                  <a:lnTo>
                    <a:pt x="2570" y="2015"/>
                  </a:lnTo>
                  <a:lnTo>
                    <a:pt x="2664" y="1901"/>
                  </a:lnTo>
                  <a:lnTo>
                    <a:pt x="2756" y="1785"/>
                  </a:lnTo>
                  <a:lnTo>
                    <a:pt x="2845" y="1667"/>
                  </a:lnTo>
                  <a:lnTo>
                    <a:pt x="2932" y="1546"/>
                  </a:lnTo>
                  <a:lnTo>
                    <a:pt x="3015" y="1422"/>
                  </a:lnTo>
                  <a:lnTo>
                    <a:pt x="3096" y="1295"/>
                  </a:lnTo>
                  <a:lnTo>
                    <a:pt x="3174" y="1167"/>
                  </a:lnTo>
                  <a:lnTo>
                    <a:pt x="3249" y="1036"/>
                  </a:lnTo>
                  <a:lnTo>
                    <a:pt x="3321" y="902"/>
                  </a:lnTo>
                  <a:lnTo>
                    <a:pt x="3390" y="766"/>
                  </a:lnTo>
                  <a:lnTo>
                    <a:pt x="3456" y="628"/>
                  </a:lnTo>
                  <a:lnTo>
                    <a:pt x="3518" y="488"/>
                  </a:lnTo>
                  <a:lnTo>
                    <a:pt x="3578" y="345"/>
                  </a:lnTo>
                  <a:lnTo>
                    <a:pt x="3583" y="333"/>
                  </a:lnTo>
                  <a:lnTo>
                    <a:pt x="3587" y="320"/>
                  </a:lnTo>
                  <a:lnTo>
                    <a:pt x="3590" y="308"/>
                  </a:lnTo>
                  <a:lnTo>
                    <a:pt x="3592" y="295"/>
                  </a:lnTo>
                  <a:lnTo>
                    <a:pt x="3594" y="283"/>
                  </a:lnTo>
                  <a:lnTo>
                    <a:pt x="3595" y="271"/>
                  </a:lnTo>
                  <a:lnTo>
                    <a:pt x="3596" y="258"/>
                  </a:lnTo>
                  <a:lnTo>
                    <a:pt x="3596" y="246"/>
                  </a:lnTo>
                  <a:lnTo>
                    <a:pt x="3596" y="234"/>
                  </a:lnTo>
                  <a:lnTo>
                    <a:pt x="3594" y="222"/>
                  </a:lnTo>
                  <a:lnTo>
                    <a:pt x="3593" y="210"/>
                  </a:lnTo>
                  <a:lnTo>
                    <a:pt x="3590" y="198"/>
                  </a:lnTo>
                  <a:lnTo>
                    <a:pt x="3587" y="186"/>
                  </a:lnTo>
                  <a:lnTo>
                    <a:pt x="3584" y="175"/>
                  </a:lnTo>
                  <a:lnTo>
                    <a:pt x="3580" y="164"/>
                  </a:lnTo>
                  <a:lnTo>
                    <a:pt x="3576" y="153"/>
                  </a:lnTo>
                  <a:lnTo>
                    <a:pt x="3571" y="142"/>
                  </a:lnTo>
                  <a:lnTo>
                    <a:pt x="3564" y="130"/>
                  </a:lnTo>
                  <a:lnTo>
                    <a:pt x="3558" y="119"/>
                  </a:lnTo>
                  <a:lnTo>
                    <a:pt x="3552" y="109"/>
                  </a:lnTo>
                  <a:lnTo>
                    <a:pt x="3545" y="100"/>
                  </a:lnTo>
                  <a:lnTo>
                    <a:pt x="3537" y="90"/>
                  </a:lnTo>
                  <a:lnTo>
                    <a:pt x="3529" y="81"/>
                  </a:lnTo>
                  <a:lnTo>
                    <a:pt x="3521" y="72"/>
                  </a:lnTo>
                  <a:lnTo>
                    <a:pt x="3512" y="64"/>
                  </a:lnTo>
                  <a:lnTo>
                    <a:pt x="3503" y="56"/>
                  </a:lnTo>
                  <a:lnTo>
                    <a:pt x="3493" y="48"/>
                  </a:lnTo>
                  <a:lnTo>
                    <a:pt x="3483" y="41"/>
                  </a:lnTo>
                  <a:lnTo>
                    <a:pt x="3472" y="35"/>
                  </a:lnTo>
                  <a:lnTo>
                    <a:pt x="3461" y="29"/>
                  </a:lnTo>
                  <a:lnTo>
                    <a:pt x="3450" y="23"/>
                  </a:lnTo>
                  <a:lnTo>
                    <a:pt x="3438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86" name="îš1ïḓê">
              <a:extLst>
                <a:ext uri="{FF2B5EF4-FFF2-40B4-BE49-F238E27FC236}">
                  <a16:creationId xmlns:a16="http://schemas.microsoft.com/office/drawing/2014/main" id="{DD03AACC-1168-46EE-B7F9-12EF8CCB4856}"/>
                </a:ext>
              </a:extLst>
            </p:cNvPr>
            <p:cNvSpPr/>
            <p:nvPr/>
          </p:nvSpPr>
          <p:spPr bwMode="auto">
            <a:xfrm>
              <a:off x="6156520" y="2805643"/>
              <a:ext cx="69061" cy="70745"/>
            </a:xfrm>
            <a:custGeom>
              <a:avLst/>
              <a:gdLst>
                <a:gd name="T0" fmla="*/ 2862 w 3057"/>
                <a:gd name="T1" fmla="*/ 8 h 3119"/>
                <a:gd name="T2" fmla="*/ 2813 w 3057"/>
                <a:gd name="T3" fmla="*/ 0 h 3119"/>
                <a:gd name="T4" fmla="*/ 2764 w 3057"/>
                <a:gd name="T5" fmla="*/ 4 h 3119"/>
                <a:gd name="T6" fmla="*/ 2718 w 3057"/>
                <a:gd name="T7" fmla="*/ 17 h 3119"/>
                <a:gd name="T8" fmla="*/ 2674 w 3057"/>
                <a:gd name="T9" fmla="*/ 38 h 3119"/>
                <a:gd name="T10" fmla="*/ 2636 w 3057"/>
                <a:gd name="T11" fmla="*/ 67 h 3119"/>
                <a:gd name="T12" fmla="*/ 2602 w 3057"/>
                <a:gd name="T13" fmla="*/ 103 h 3119"/>
                <a:gd name="T14" fmla="*/ 2577 w 3057"/>
                <a:gd name="T15" fmla="*/ 146 h 3119"/>
                <a:gd name="T16" fmla="*/ 2430 w 3057"/>
                <a:gd name="T17" fmla="*/ 477 h 3119"/>
                <a:gd name="T18" fmla="*/ 2209 w 3057"/>
                <a:gd name="T19" fmla="*/ 877 h 3119"/>
                <a:gd name="T20" fmla="*/ 1953 w 3057"/>
                <a:gd name="T21" fmla="*/ 1245 h 3119"/>
                <a:gd name="T22" fmla="*/ 1664 w 3057"/>
                <a:gd name="T23" fmla="*/ 1583 h 3119"/>
                <a:gd name="T24" fmla="*/ 1347 w 3057"/>
                <a:gd name="T25" fmla="*/ 1888 h 3119"/>
                <a:gd name="T26" fmla="*/ 1004 w 3057"/>
                <a:gd name="T27" fmla="*/ 2158 h 3119"/>
                <a:gd name="T28" fmla="*/ 638 w 3057"/>
                <a:gd name="T29" fmla="*/ 2394 h 3119"/>
                <a:gd name="T30" fmla="*/ 252 w 3057"/>
                <a:gd name="T31" fmla="*/ 2593 h 3119"/>
                <a:gd name="T32" fmla="*/ 129 w 3057"/>
                <a:gd name="T33" fmla="*/ 2648 h 3119"/>
                <a:gd name="T34" fmla="*/ 88 w 3057"/>
                <a:gd name="T35" fmla="*/ 2676 h 3119"/>
                <a:gd name="T36" fmla="*/ 54 w 3057"/>
                <a:gd name="T37" fmla="*/ 2711 h 3119"/>
                <a:gd name="T38" fmla="*/ 28 w 3057"/>
                <a:gd name="T39" fmla="*/ 2753 h 3119"/>
                <a:gd name="T40" fmla="*/ 10 w 3057"/>
                <a:gd name="T41" fmla="*/ 2797 h 3119"/>
                <a:gd name="T42" fmla="*/ 1 w 3057"/>
                <a:gd name="T43" fmla="*/ 2844 h 3119"/>
                <a:gd name="T44" fmla="*/ 1 w 3057"/>
                <a:gd name="T45" fmla="*/ 2894 h 3119"/>
                <a:gd name="T46" fmla="*/ 11 w 3057"/>
                <a:gd name="T47" fmla="*/ 2943 h 3119"/>
                <a:gd name="T48" fmla="*/ 31 w 3057"/>
                <a:gd name="T49" fmla="*/ 2990 h 3119"/>
                <a:gd name="T50" fmla="*/ 60 w 3057"/>
                <a:gd name="T51" fmla="*/ 3031 h 3119"/>
                <a:gd name="T52" fmla="*/ 96 w 3057"/>
                <a:gd name="T53" fmla="*/ 3066 h 3119"/>
                <a:gd name="T54" fmla="*/ 136 w 3057"/>
                <a:gd name="T55" fmla="*/ 3092 h 3119"/>
                <a:gd name="T56" fmla="*/ 181 w 3057"/>
                <a:gd name="T57" fmla="*/ 3109 h 3119"/>
                <a:gd name="T58" fmla="*/ 228 w 3057"/>
                <a:gd name="T59" fmla="*/ 3118 h 3119"/>
                <a:gd name="T60" fmla="*/ 278 w 3057"/>
                <a:gd name="T61" fmla="*/ 3118 h 3119"/>
                <a:gd name="T62" fmla="*/ 326 w 3057"/>
                <a:gd name="T63" fmla="*/ 3108 h 3119"/>
                <a:gd name="T64" fmla="*/ 363 w 3057"/>
                <a:gd name="T65" fmla="*/ 3089 h 3119"/>
                <a:gd name="T66" fmla="*/ 796 w 3057"/>
                <a:gd name="T67" fmla="*/ 2877 h 3119"/>
                <a:gd name="T68" fmla="*/ 1206 w 3057"/>
                <a:gd name="T69" fmla="*/ 2626 h 3119"/>
                <a:gd name="T70" fmla="*/ 1593 w 3057"/>
                <a:gd name="T71" fmla="*/ 2336 h 3119"/>
                <a:gd name="T72" fmla="*/ 1951 w 3057"/>
                <a:gd name="T73" fmla="*/ 2007 h 3119"/>
                <a:gd name="T74" fmla="*/ 2278 w 3057"/>
                <a:gd name="T75" fmla="*/ 1643 h 3119"/>
                <a:gd name="T76" fmla="*/ 2570 w 3057"/>
                <a:gd name="T77" fmla="*/ 1244 h 3119"/>
                <a:gd name="T78" fmla="*/ 2825 w 3057"/>
                <a:gd name="T79" fmla="*/ 810 h 3119"/>
                <a:gd name="T80" fmla="*/ 3039 w 3057"/>
                <a:gd name="T81" fmla="*/ 346 h 3119"/>
                <a:gd name="T82" fmla="*/ 3053 w 3057"/>
                <a:gd name="T83" fmla="*/ 297 h 3119"/>
                <a:gd name="T84" fmla="*/ 3057 w 3057"/>
                <a:gd name="T85" fmla="*/ 248 h 3119"/>
                <a:gd name="T86" fmla="*/ 3051 w 3057"/>
                <a:gd name="T87" fmla="*/ 200 h 3119"/>
                <a:gd name="T88" fmla="*/ 3036 w 3057"/>
                <a:gd name="T89" fmla="*/ 153 h 3119"/>
                <a:gd name="T90" fmla="*/ 3013 w 3057"/>
                <a:gd name="T91" fmla="*/ 111 h 3119"/>
                <a:gd name="T92" fmla="*/ 2983 w 3057"/>
                <a:gd name="T93" fmla="*/ 74 h 3119"/>
                <a:gd name="T94" fmla="*/ 2943 w 3057"/>
                <a:gd name="T95" fmla="*/ 43 h 3119"/>
                <a:gd name="T96" fmla="*/ 2899 w 3057"/>
                <a:gd name="T97" fmla="*/ 19 h 3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57" h="3119">
                  <a:moveTo>
                    <a:pt x="2899" y="19"/>
                  </a:moveTo>
                  <a:lnTo>
                    <a:pt x="2887" y="15"/>
                  </a:lnTo>
                  <a:lnTo>
                    <a:pt x="2874" y="11"/>
                  </a:lnTo>
                  <a:lnTo>
                    <a:pt x="2862" y="8"/>
                  </a:lnTo>
                  <a:lnTo>
                    <a:pt x="2850" y="5"/>
                  </a:lnTo>
                  <a:lnTo>
                    <a:pt x="2838" y="3"/>
                  </a:lnTo>
                  <a:lnTo>
                    <a:pt x="2825" y="2"/>
                  </a:lnTo>
                  <a:lnTo>
                    <a:pt x="2813" y="0"/>
                  </a:lnTo>
                  <a:lnTo>
                    <a:pt x="2801" y="0"/>
                  </a:lnTo>
                  <a:lnTo>
                    <a:pt x="2789" y="2"/>
                  </a:lnTo>
                  <a:lnTo>
                    <a:pt x="2777" y="3"/>
                  </a:lnTo>
                  <a:lnTo>
                    <a:pt x="2764" y="4"/>
                  </a:lnTo>
                  <a:lnTo>
                    <a:pt x="2752" y="7"/>
                  </a:lnTo>
                  <a:lnTo>
                    <a:pt x="2740" y="9"/>
                  </a:lnTo>
                  <a:lnTo>
                    <a:pt x="2729" y="13"/>
                  </a:lnTo>
                  <a:lnTo>
                    <a:pt x="2718" y="17"/>
                  </a:lnTo>
                  <a:lnTo>
                    <a:pt x="2706" y="21"/>
                  </a:lnTo>
                  <a:lnTo>
                    <a:pt x="2695" y="26"/>
                  </a:lnTo>
                  <a:lnTo>
                    <a:pt x="2685" y="32"/>
                  </a:lnTo>
                  <a:lnTo>
                    <a:pt x="2674" y="38"/>
                  </a:lnTo>
                  <a:lnTo>
                    <a:pt x="2664" y="44"/>
                  </a:lnTo>
                  <a:lnTo>
                    <a:pt x="2655" y="51"/>
                  </a:lnTo>
                  <a:lnTo>
                    <a:pt x="2645" y="59"/>
                  </a:lnTo>
                  <a:lnTo>
                    <a:pt x="2636" y="67"/>
                  </a:lnTo>
                  <a:lnTo>
                    <a:pt x="2627" y="75"/>
                  </a:lnTo>
                  <a:lnTo>
                    <a:pt x="2619" y="84"/>
                  </a:lnTo>
                  <a:lnTo>
                    <a:pt x="2611" y="93"/>
                  </a:lnTo>
                  <a:lnTo>
                    <a:pt x="2602" y="103"/>
                  </a:lnTo>
                  <a:lnTo>
                    <a:pt x="2595" y="113"/>
                  </a:lnTo>
                  <a:lnTo>
                    <a:pt x="2589" y="124"/>
                  </a:lnTo>
                  <a:lnTo>
                    <a:pt x="2582" y="135"/>
                  </a:lnTo>
                  <a:lnTo>
                    <a:pt x="2577" y="146"/>
                  </a:lnTo>
                  <a:lnTo>
                    <a:pt x="2572" y="158"/>
                  </a:lnTo>
                  <a:lnTo>
                    <a:pt x="2527" y="266"/>
                  </a:lnTo>
                  <a:lnTo>
                    <a:pt x="2480" y="373"/>
                  </a:lnTo>
                  <a:lnTo>
                    <a:pt x="2430" y="477"/>
                  </a:lnTo>
                  <a:lnTo>
                    <a:pt x="2378" y="580"/>
                  </a:lnTo>
                  <a:lnTo>
                    <a:pt x="2324" y="681"/>
                  </a:lnTo>
                  <a:lnTo>
                    <a:pt x="2267" y="779"/>
                  </a:lnTo>
                  <a:lnTo>
                    <a:pt x="2209" y="877"/>
                  </a:lnTo>
                  <a:lnTo>
                    <a:pt x="2148" y="971"/>
                  </a:lnTo>
                  <a:lnTo>
                    <a:pt x="2084" y="1065"/>
                  </a:lnTo>
                  <a:lnTo>
                    <a:pt x="2020" y="1156"/>
                  </a:lnTo>
                  <a:lnTo>
                    <a:pt x="1953" y="1245"/>
                  </a:lnTo>
                  <a:lnTo>
                    <a:pt x="1883" y="1332"/>
                  </a:lnTo>
                  <a:lnTo>
                    <a:pt x="1812" y="1418"/>
                  </a:lnTo>
                  <a:lnTo>
                    <a:pt x="1739" y="1501"/>
                  </a:lnTo>
                  <a:lnTo>
                    <a:pt x="1664" y="1583"/>
                  </a:lnTo>
                  <a:lnTo>
                    <a:pt x="1587" y="1662"/>
                  </a:lnTo>
                  <a:lnTo>
                    <a:pt x="1509" y="1739"/>
                  </a:lnTo>
                  <a:lnTo>
                    <a:pt x="1429" y="1814"/>
                  </a:lnTo>
                  <a:lnTo>
                    <a:pt x="1347" y="1888"/>
                  </a:lnTo>
                  <a:lnTo>
                    <a:pt x="1264" y="1958"/>
                  </a:lnTo>
                  <a:lnTo>
                    <a:pt x="1178" y="2027"/>
                  </a:lnTo>
                  <a:lnTo>
                    <a:pt x="1092" y="2094"/>
                  </a:lnTo>
                  <a:lnTo>
                    <a:pt x="1004" y="2158"/>
                  </a:lnTo>
                  <a:lnTo>
                    <a:pt x="915" y="2221"/>
                  </a:lnTo>
                  <a:lnTo>
                    <a:pt x="823" y="2280"/>
                  </a:lnTo>
                  <a:lnTo>
                    <a:pt x="731" y="2338"/>
                  </a:lnTo>
                  <a:lnTo>
                    <a:pt x="638" y="2394"/>
                  </a:lnTo>
                  <a:lnTo>
                    <a:pt x="542" y="2447"/>
                  </a:lnTo>
                  <a:lnTo>
                    <a:pt x="447" y="2498"/>
                  </a:lnTo>
                  <a:lnTo>
                    <a:pt x="349" y="2547"/>
                  </a:lnTo>
                  <a:lnTo>
                    <a:pt x="252" y="2593"/>
                  </a:lnTo>
                  <a:lnTo>
                    <a:pt x="152" y="2636"/>
                  </a:lnTo>
                  <a:lnTo>
                    <a:pt x="152" y="2636"/>
                  </a:lnTo>
                  <a:lnTo>
                    <a:pt x="141" y="2642"/>
                  </a:lnTo>
                  <a:lnTo>
                    <a:pt x="129" y="2648"/>
                  </a:lnTo>
                  <a:lnTo>
                    <a:pt x="119" y="2654"/>
                  </a:lnTo>
                  <a:lnTo>
                    <a:pt x="108" y="2661"/>
                  </a:lnTo>
                  <a:lnTo>
                    <a:pt x="98" y="2668"/>
                  </a:lnTo>
                  <a:lnTo>
                    <a:pt x="88" y="2676"/>
                  </a:lnTo>
                  <a:lnTo>
                    <a:pt x="79" y="2684"/>
                  </a:lnTo>
                  <a:lnTo>
                    <a:pt x="71" y="2693"/>
                  </a:lnTo>
                  <a:lnTo>
                    <a:pt x="61" y="2702"/>
                  </a:lnTo>
                  <a:lnTo>
                    <a:pt x="54" y="2711"/>
                  </a:lnTo>
                  <a:lnTo>
                    <a:pt x="46" y="2722"/>
                  </a:lnTo>
                  <a:lnTo>
                    <a:pt x="40" y="2732"/>
                  </a:lnTo>
                  <a:lnTo>
                    <a:pt x="33" y="2742"/>
                  </a:lnTo>
                  <a:lnTo>
                    <a:pt x="28" y="2753"/>
                  </a:lnTo>
                  <a:lnTo>
                    <a:pt x="22" y="2763"/>
                  </a:lnTo>
                  <a:lnTo>
                    <a:pt x="18" y="2775"/>
                  </a:lnTo>
                  <a:lnTo>
                    <a:pt x="13" y="2786"/>
                  </a:lnTo>
                  <a:lnTo>
                    <a:pt x="10" y="2797"/>
                  </a:lnTo>
                  <a:lnTo>
                    <a:pt x="7" y="2809"/>
                  </a:lnTo>
                  <a:lnTo>
                    <a:pt x="4" y="2821"/>
                  </a:lnTo>
                  <a:lnTo>
                    <a:pt x="2" y="2832"/>
                  </a:lnTo>
                  <a:lnTo>
                    <a:pt x="1" y="2844"/>
                  </a:lnTo>
                  <a:lnTo>
                    <a:pt x="0" y="2857"/>
                  </a:lnTo>
                  <a:lnTo>
                    <a:pt x="0" y="2869"/>
                  </a:lnTo>
                  <a:lnTo>
                    <a:pt x="0" y="2882"/>
                  </a:lnTo>
                  <a:lnTo>
                    <a:pt x="1" y="2894"/>
                  </a:lnTo>
                  <a:lnTo>
                    <a:pt x="3" y="2906"/>
                  </a:lnTo>
                  <a:lnTo>
                    <a:pt x="5" y="2919"/>
                  </a:lnTo>
                  <a:lnTo>
                    <a:pt x="8" y="2931"/>
                  </a:lnTo>
                  <a:lnTo>
                    <a:pt x="11" y="2943"/>
                  </a:lnTo>
                  <a:lnTo>
                    <a:pt x="15" y="2955"/>
                  </a:lnTo>
                  <a:lnTo>
                    <a:pt x="20" y="2967"/>
                  </a:lnTo>
                  <a:lnTo>
                    <a:pt x="25" y="2979"/>
                  </a:lnTo>
                  <a:lnTo>
                    <a:pt x="31" y="2990"/>
                  </a:lnTo>
                  <a:lnTo>
                    <a:pt x="38" y="3001"/>
                  </a:lnTo>
                  <a:lnTo>
                    <a:pt x="45" y="3011"/>
                  </a:lnTo>
                  <a:lnTo>
                    <a:pt x="52" y="3021"/>
                  </a:lnTo>
                  <a:lnTo>
                    <a:pt x="60" y="3031"/>
                  </a:lnTo>
                  <a:lnTo>
                    <a:pt x="69" y="3040"/>
                  </a:lnTo>
                  <a:lnTo>
                    <a:pt x="77" y="3049"/>
                  </a:lnTo>
                  <a:lnTo>
                    <a:pt x="86" y="3058"/>
                  </a:lnTo>
                  <a:lnTo>
                    <a:pt x="96" y="3066"/>
                  </a:lnTo>
                  <a:lnTo>
                    <a:pt x="105" y="3073"/>
                  </a:lnTo>
                  <a:lnTo>
                    <a:pt x="115" y="3080"/>
                  </a:lnTo>
                  <a:lnTo>
                    <a:pt x="126" y="3086"/>
                  </a:lnTo>
                  <a:lnTo>
                    <a:pt x="136" y="3092"/>
                  </a:lnTo>
                  <a:lnTo>
                    <a:pt x="147" y="3097"/>
                  </a:lnTo>
                  <a:lnTo>
                    <a:pt x="158" y="3101"/>
                  </a:lnTo>
                  <a:lnTo>
                    <a:pt x="169" y="3106"/>
                  </a:lnTo>
                  <a:lnTo>
                    <a:pt x="181" y="3109"/>
                  </a:lnTo>
                  <a:lnTo>
                    <a:pt x="192" y="3112"/>
                  </a:lnTo>
                  <a:lnTo>
                    <a:pt x="204" y="3115"/>
                  </a:lnTo>
                  <a:lnTo>
                    <a:pt x="216" y="3117"/>
                  </a:lnTo>
                  <a:lnTo>
                    <a:pt x="228" y="3118"/>
                  </a:lnTo>
                  <a:lnTo>
                    <a:pt x="241" y="3119"/>
                  </a:lnTo>
                  <a:lnTo>
                    <a:pt x="253" y="3119"/>
                  </a:lnTo>
                  <a:lnTo>
                    <a:pt x="265" y="3119"/>
                  </a:lnTo>
                  <a:lnTo>
                    <a:pt x="278" y="3118"/>
                  </a:lnTo>
                  <a:lnTo>
                    <a:pt x="290" y="3117"/>
                  </a:lnTo>
                  <a:lnTo>
                    <a:pt x="302" y="3114"/>
                  </a:lnTo>
                  <a:lnTo>
                    <a:pt x="314" y="3112"/>
                  </a:lnTo>
                  <a:lnTo>
                    <a:pt x="326" y="3108"/>
                  </a:lnTo>
                  <a:lnTo>
                    <a:pt x="338" y="3104"/>
                  </a:lnTo>
                  <a:lnTo>
                    <a:pt x="350" y="3099"/>
                  </a:lnTo>
                  <a:lnTo>
                    <a:pt x="357" y="3094"/>
                  </a:lnTo>
                  <a:lnTo>
                    <a:pt x="363" y="3089"/>
                  </a:lnTo>
                  <a:lnTo>
                    <a:pt x="474" y="3040"/>
                  </a:lnTo>
                  <a:lnTo>
                    <a:pt x="582" y="2988"/>
                  </a:lnTo>
                  <a:lnTo>
                    <a:pt x="689" y="2935"/>
                  </a:lnTo>
                  <a:lnTo>
                    <a:pt x="796" y="2877"/>
                  </a:lnTo>
                  <a:lnTo>
                    <a:pt x="900" y="2819"/>
                  </a:lnTo>
                  <a:lnTo>
                    <a:pt x="1004" y="2757"/>
                  </a:lnTo>
                  <a:lnTo>
                    <a:pt x="1106" y="2693"/>
                  </a:lnTo>
                  <a:lnTo>
                    <a:pt x="1206" y="2626"/>
                  </a:lnTo>
                  <a:lnTo>
                    <a:pt x="1305" y="2558"/>
                  </a:lnTo>
                  <a:lnTo>
                    <a:pt x="1402" y="2486"/>
                  </a:lnTo>
                  <a:lnTo>
                    <a:pt x="1498" y="2412"/>
                  </a:lnTo>
                  <a:lnTo>
                    <a:pt x="1593" y="2336"/>
                  </a:lnTo>
                  <a:lnTo>
                    <a:pt x="1684" y="2257"/>
                  </a:lnTo>
                  <a:lnTo>
                    <a:pt x="1775" y="2176"/>
                  </a:lnTo>
                  <a:lnTo>
                    <a:pt x="1863" y="2093"/>
                  </a:lnTo>
                  <a:lnTo>
                    <a:pt x="1951" y="2007"/>
                  </a:lnTo>
                  <a:lnTo>
                    <a:pt x="2035" y="1920"/>
                  </a:lnTo>
                  <a:lnTo>
                    <a:pt x="2118" y="1829"/>
                  </a:lnTo>
                  <a:lnTo>
                    <a:pt x="2199" y="1738"/>
                  </a:lnTo>
                  <a:lnTo>
                    <a:pt x="2278" y="1643"/>
                  </a:lnTo>
                  <a:lnTo>
                    <a:pt x="2354" y="1547"/>
                  </a:lnTo>
                  <a:lnTo>
                    <a:pt x="2428" y="1448"/>
                  </a:lnTo>
                  <a:lnTo>
                    <a:pt x="2500" y="1346"/>
                  </a:lnTo>
                  <a:lnTo>
                    <a:pt x="2570" y="1244"/>
                  </a:lnTo>
                  <a:lnTo>
                    <a:pt x="2638" y="1138"/>
                  </a:lnTo>
                  <a:lnTo>
                    <a:pt x="2702" y="1032"/>
                  </a:lnTo>
                  <a:lnTo>
                    <a:pt x="2764" y="922"/>
                  </a:lnTo>
                  <a:lnTo>
                    <a:pt x="2825" y="810"/>
                  </a:lnTo>
                  <a:lnTo>
                    <a:pt x="2882" y="698"/>
                  </a:lnTo>
                  <a:lnTo>
                    <a:pt x="2937" y="582"/>
                  </a:lnTo>
                  <a:lnTo>
                    <a:pt x="2989" y="465"/>
                  </a:lnTo>
                  <a:lnTo>
                    <a:pt x="3039" y="346"/>
                  </a:lnTo>
                  <a:lnTo>
                    <a:pt x="3043" y="333"/>
                  </a:lnTo>
                  <a:lnTo>
                    <a:pt x="3047" y="321"/>
                  </a:lnTo>
                  <a:lnTo>
                    <a:pt x="3050" y="309"/>
                  </a:lnTo>
                  <a:lnTo>
                    <a:pt x="3053" y="297"/>
                  </a:lnTo>
                  <a:lnTo>
                    <a:pt x="3055" y="284"/>
                  </a:lnTo>
                  <a:lnTo>
                    <a:pt x="3056" y="272"/>
                  </a:lnTo>
                  <a:lnTo>
                    <a:pt x="3057" y="260"/>
                  </a:lnTo>
                  <a:lnTo>
                    <a:pt x="3057" y="248"/>
                  </a:lnTo>
                  <a:lnTo>
                    <a:pt x="3056" y="236"/>
                  </a:lnTo>
                  <a:lnTo>
                    <a:pt x="3055" y="223"/>
                  </a:lnTo>
                  <a:lnTo>
                    <a:pt x="3053" y="212"/>
                  </a:lnTo>
                  <a:lnTo>
                    <a:pt x="3051" y="200"/>
                  </a:lnTo>
                  <a:lnTo>
                    <a:pt x="3048" y="188"/>
                  </a:lnTo>
                  <a:lnTo>
                    <a:pt x="3045" y="176"/>
                  </a:lnTo>
                  <a:lnTo>
                    <a:pt x="3041" y="164"/>
                  </a:lnTo>
                  <a:lnTo>
                    <a:pt x="3036" y="153"/>
                  </a:lnTo>
                  <a:lnTo>
                    <a:pt x="3031" y="142"/>
                  </a:lnTo>
                  <a:lnTo>
                    <a:pt x="3026" y="131"/>
                  </a:lnTo>
                  <a:lnTo>
                    <a:pt x="3020" y="121"/>
                  </a:lnTo>
                  <a:lnTo>
                    <a:pt x="3013" y="111"/>
                  </a:lnTo>
                  <a:lnTo>
                    <a:pt x="3006" y="101"/>
                  </a:lnTo>
                  <a:lnTo>
                    <a:pt x="2999" y="92"/>
                  </a:lnTo>
                  <a:lnTo>
                    <a:pt x="2991" y="83"/>
                  </a:lnTo>
                  <a:lnTo>
                    <a:pt x="2983" y="74"/>
                  </a:lnTo>
                  <a:lnTo>
                    <a:pt x="2974" y="65"/>
                  </a:lnTo>
                  <a:lnTo>
                    <a:pt x="2964" y="57"/>
                  </a:lnTo>
                  <a:lnTo>
                    <a:pt x="2955" y="50"/>
                  </a:lnTo>
                  <a:lnTo>
                    <a:pt x="2943" y="43"/>
                  </a:lnTo>
                  <a:lnTo>
                    <a:pt x="2933" y="36"/>
                  </a:lnTo>
                  <a:lnTo>
                    <a:pt x="2922" y="30"/>
                  </a:lnTo>
                  <a:lnTo>
                    <a:pt x="2910" y="24"/>
                  </a:lnTo>
                  <a:lnTo>
                    <a:pt x="2899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87" name="îšļïdè">
              <a:extLst>
                <a:ext uri="{FF2B5EF4-FFF2-40B4-BE49-F238E27FC236}">
                  <a16:creationId xmlns:a16="http://schemas.microsoft.com/office/drawing/2014/main" id="{74E78CFB-C822-4080-A397-7992D2D1406F}"/>
                </a:ext>
              </a:extLst>
            </p:cNvPr>
            <p:cNvSpPr/>
            <p:nvPr/>
          </p:nvSpPr>
          <p:spPr bwMode="auto">
            <a:xfrm>
              <a:off x="6033559" y="2686050"/>
              <a:ext cx="57270" cy="58112"/>
            </a:xfrm>
            <a:custGeom>
              <a:avLst/>
              <a:gdLst>
                <a:gd name="T0" fmla="*/ 2482 w 2520"/>
                <a:gd name="T1" fmla="*/ 117 h 2567"/>
                <a:gd name="T2" fmla="*/ 2452 w 2520"/>
                <a:gd name="T3" fmla="*/ 78 h 2567"/>
                <a:gd name="T4" fmla="*/ 2415 w 2520"/>
                <a:gd name="T5" fmla="*/ 46 h 2567"/>
                <a:gd name="T6" fmla="*/ 2373 w 2520"/>
                <a:gd name="T7" fmla="*/ 22 h 2567"/>
                <a:gd name="T8" fmla="*/ 2327 w 2520"/>
                <a:gd name="T9" fmla="*/ 6 h 2567"/>
                <a:gd name="T10" fmla="*/ 2280 w 2520"/>
                <a:gd name="T11" fmla="*/ 0 h 2567"/>
                <a:gd name="T12" fmla="*/ 2231 w 2520"/>
                <a:gd name="T13" fmla="*/ 3 h 2567"/>
                <a:gd name="T14" fmla="*/ 2181 w 2520"/>
                <a:gd name="T15" fmla="*/ 15 h 2567"/>
                <a:gd name="T16" fmla="*/ 2072 w 2520"/>
                <a:gd name="T17" fmla="*/ 66 h 2567"/>
                <a:gd name="T18" fmla="*/ 1730 w 2520"/>
                <a:gd name="T19" fmla="*/ 243 h 2567"/>
                <a:gd name="T20" fmla="*/ 1406 w 2520"/>
                <a:gd name="T21" fmla="*/ 453 h 2567"/>
                <a:gd name="T22" fmla="*/ 1102 w 2520"/>
                <a:gd name="T23" fmla="*/ 693 h 2567"/>
                <a:gd name="T24" fmla="*/ 822 w 2520"/>
                <a:gd name="T25" fmla="*/ 963 h 2567"/>
                <a:gd name="T26" fmla="*/ 567 w 2520"/>
                <a:gd name="T27" fmla="*/ 1262 h 2567"/>
                <a:gd name="T28" fmla="*/ 340 w 2520"/>
                <a:gd name="T29" fmla="*/ 1588 h 2567"/>
                <a:gd name="T30" fmla="*/ 144 w 2520"/>
                <a:gd name="T31" fmla="*/ 1941 h 2567"/>
                <a:gd name="T32" fmla="*/ 18 w 2520"/>
                <a:gd name="T33" fmla="*/ 2222 h 2567"/>
                <a:gd name="T34" fmla="*/ 4 w 2520"/>
                <a:gd name="T35" fmla="*/ 2271 h 2567"/>
                <a:gd name="T36" fmla="*/ 0 w 2520"/>
                <a:gd name="T37" fmla="*/ 2320 h 2567"/>
                <a:gd name="T38" fmla="*/ 5 w 2520"/>
                <a:gd name="T39" fmla="*/ 2369 h 2567"/>
                <a:gd name="T40" fmla="*/ 20 w 2520"/>
                <a:gd name="T41" fmla="*/ 2415 h 2567"/>
                <a:gd name="T42" fmla="*/ 44 w 2520"/>
                <a:gd name="T43" fmla="*/ 2457 h 2567"/>
                <a:gd name="T44" fmla="*/ 75 w 2520"/>
                <a:gd name="T45" fmla="*/ 2494 h 2567"/>
                <a:gd name="T46" fmla="*/ 113 w 2520"/>
                <a:gd name="T47" fmla="*/ 2525 h 2567"/>
                <a:gd name="T48" fmla="*/ 158 w 2520"/>
                <a:gd name="T49" fmla="*/ 2549 h 2567"/>
                <a:gd name="T50" fmla="*/ 208 w 2520"/>
                <a:gd name="T51" fmla="*/ 2563 h 2567"/>
                <a:gd name="T52" fmla="*/ 257 w 2520"/>
                <a:gd name="T53" fmla="*/ 2567 h 2567"/>
                <a:gd name="T54" fmla="*/ 305 w 2520"/>
                <a:gd name="T55" fmla="*/ 2561 h 2567"/>
                <a:gd name="T56" fmla="*/ 351 w 2520"/>
                <a:gd name="T57" fmla="*/ 2547 h 2567"/>
                <a:gd name="T58" fmla="*/ 394 w 2520"/>
                <a:gd name="T59" fmla="*/ 2523 h 2567"/>
                <a:gd name="T60" fmla="*/ 431 w 2520"/>
                <a:gd name="T61" fmla="*/ 2492 h 2567"/>
                <a:gd name="T62" fmla="*/ 462 w 2520"/>
                <a:gd name="T63" fmla="*/ 2454 h 2567"/>
                <a:gd name="T64" fmla="*/ 485 w 2520"/>
                <a:gd name="T65" fmla="*/ 2409 h 2567"/>
                <a:gd name="T66" fmla="*/ 596 w 2520"/>
                <a:gd name="T67" fmla="*/ 2161 h 2567"/>
                <a:gd name="T68" fmla="*/ 768 w 2520"/>
                <a:gd name="T69" fmla="*/ 1850 h 2567"/>
                <a:gd name="T70" fmla="*/ 968 w 2520"/>
                <a:gd name="T71" fmla="*/ 1564 h 2567"/>
                <a:gd name="T72" fmla="*/ 1192 w 2520"/>
                <a:gd name="T73" fmla="*/ 1301 h 2567"/>
                <a:gd name="T74" fmla="*/ 1439 w 2520"/>
                <a:gd name="T75" fmla="*/ 1065 h 2567"/>
                <a:gd name="T76" fmla="*/ 1705 w 2520"/>
                <a:gd name="T77" fmla="*/ 854 h 2567"/>
                <a:gd name="T78" fmla="*/ 1990 w 2520"/>
                <a:gd name="T79" fmla="*/ 671 h 2567"/>
                <a:gd name="T80" fmla="*/ 2291 w 2520"/>
                <a:gd name="T81" fmla="*/ 516 h 2567"/>
                <a:gd name="T82" fmla="*/ 2402 w 2520"/>
                <a:gd name="T83" fmla="*/ 464 h 2567"/>
                <a:gd name="T84" fmla="*/ 2441 w 2520"/>
                <a:gd name="T85" fmla="*/ 434 h 2567"/>
                <a:gd name="T86" fmla="*/ 2473 w 2520"/>
                <a:gd name="T87" fmla="*/ 397 h 2567"/>
                <a:gd name="T88" fmla="*/ 2497 w 2520"/>
                <a:gd name="T89" fmla="*/ 356 h 2567"/>
                <a:gd name="T90" fmla="*/ 2513 w 2520"/>
                <a:gd name="T91" fmla="*/ 309 h 2567"/>
                <a:gd name="T92" fmla="*/ 2520 w 2520"/>
                <a:gd name="T93" fmla="*/ 262 h 2567"/>
                <a:gd name="T94" fmla="*/ 2517 w 2520"/>
                <a:gd name="T95" fmla="*/ 213 h 2567"/>
                <a:gd name="T96" fmla="*/ 2505 w 2520"/>
                <a:gd name="T97" fmla="*/ 164 h 2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20" h="2567">
                  <a:moveTo>
                    <a:pt x="2500" y="151"/>
                  </a:moveTo>
                  <a:lnTo>
                    <a:pt x="2494" y="139"/>
                  </a:lnTo>
                  <a:lnTo>
                    <a:pt x="2489" y="128"/>
                  </a:lnTo>
                  <a:lnTo>
                    <a:pt x="2482" y="117"/>
                  </a:lnTo>
                  <a:lnTo>
                    <a:pt x="2475" y="107"/>
                  </a:lnTo>
                  <a:lnTo>
                    <a:pt x="2468" y="97"/>
                  </a:lnTo>
                  <a:lnTo>
                    <a:pt x="2460" y="87"/>
                  </a:lnTo>
                  <a:lnTo>
                    <a:pt x="2452" y="78"/>
                  </a:lnTo>
                  <a:lnTo>
                    <a:pt x="2443" y="69"/>
                  </a:lnTo>
                  <a:lnTo>
                    <a:pt x="2434" y="61"/>
                  </a:lnTo>
                  <a:lnTo>
                    <a:pt x="2425" y="53"/>
                  </a:lnTo>
                  <a:lnTo>
                    <a:pt x="2415" y="46"/>
                  </a:lnTo>
                  <a:lnTo>
                    <a:pt x="2405" y="39"/>
                  </a:lnTo>
                  <a:lnTo>
                    <a:pt x="2394" y="33"/>
                  </a:lnTo>
                  <a:lnTo>
                    <a:pt x="2384" y="27"/>
                  </a:lnTo>
                  <a:lnTo>
                    <a:pt x="2373" y="22"/>
                  </a:lnTo>
                  <a:lnTo>
                    <a:pt x="2362" y="17"/>
                  </a:lnTo>
                  <a:lnTo>
                    <a:pt x="2351" y="13"/>
                  </a:lnTo>
                  <a:lnTo>
                    <a:pt x="2339" y="10"/>
                  </a:lnTo>
                  <a:lnTo>
                    <a:pt x="2327" y="6"/>
                  </a:lnTo>
                  <a:lnTo>
                    <a:pt x="2316" y="4"/>
                  </a:lnTo>
                  <a:lnTo>
                    <a:pt x="2304" y="2"/>
                  </a:lnTo>
                  <a:lnTo>
                    <a:pt x="2292" y="1"/>
                  </a:lnTo>
                  <a:lnTo>
                    <a:pt x="2280" y="0"/>
                  </a:lnTo>
                  <a:lnTo>
                    <a:pt x="2268" y="0"/>
                  </a:lnTo>
                  <a:lnTo>
                    <a:pt x="2255" y="0"/>
                  </a:lnTo>
                  <a:lnTo>
                    <a:pt x="2243" y="1"/>
                  </a:lnTo>
                  <a:lnTo>
                    <a:pt x="2231" y="3"/>
                  </a:lnTo>
                  <a:lnTo>
                    <a:pt x="2218" y="5"/>
                  </a:lnTo>
                  <a:lnTo>
                    <a:pt x="2206" y="8"/>
                  </a:lnTo>
                  <a:lnTo>
                    <a:pt x="2193" y="11"/>
                  </a:lnTo>
                  <a:lnTo>
                    <a:pt x="2181" y="15"/>
                  </a:lnTo>
                  <a:lnTo>
                    <a:pt x="2169" y="20"/>
                  </a:lnTo>
                  <a:lnTo>
                    <a:pt x="2164" y="24"/>
                  </a:lnTo>
                  <a:lnTo>
                    <a:pt x="2159" y="27"/>
                  </a:lnTo>
                  <a:lnTo>
                    <a:pt x="2072" y="66"/>
                  </a:lnTo>
                  <a:lnTo>
                    <a:pt x="1984" y="107"/>
                  </a:lnTo>
                  <a:lnTo>
                    <a:pt x="1899" y="150"/>
                  </a:lnTo>
                  <a:lnTo>
                    <a:pt x="1813" y="196"/>
                  </a:lnTo>
                  <a:lnTo>
                    <a:pt x="1730" y="243"/>
                  </a:lnTo>
                  <a:lnTo>
                    <a:pt x="1647" y="292"/>
                  </a:lnTo>
                  <a:lnTo>
                    <a:pt x="1566" y="345"/>
                  </a:lnTo>
                  <a:lnTo>
                    <a:pt x="1485" y="398"/>
                  </a:lnTo>
                  <a:lnTo>
                    <a:pt x="1406" y="453"/>
                  </a:lnTo>
                  <a:lnTo>
                    <a:pt x="1328" y="510"/>
                  </a:lnTo>
                  <a:lnTo>
                    <a:pt x="1252" y="569"/>
                  </a:lnTo>
                  <a:lnTo>
                    <a:pt x="1176" y="630"/>
                  </a:lnTo>
                  <a:lnTo>
                    <a:pt x="1102" y="693"/>
                  </a:lnTo>
                  <a:lnTo>
                    <a:pt x="1029" y="758"/>
                  </a:lnTo>
                  <a:lnTo>
                    <a:pt x="959" y="824"/>
                  </a:lnTo>
                  <a:lnTo>
                    <a:pt x="890" y="893"/>
                  </a:lnTo>
                  <a:lnTo>
                    <a:pt x="822" y="963"/>
                  </a:lnTo>
                  <a:lnTo>
                    <a:pt x="756" y="1036"/>
                  </a:lnTo>
                  <a:lnTo>
                    <a:pt x="690" y="1109"/>
                  </a:lnTo>
                  <a:lnTo>
                    <a:pt x="628" y="1185"/>
                  </a:lnTo>
                  <a:lnTo>
                    <a:pt x="567" y="1262"/>
                  </a:lnTo>
                  <a:lnTo>
                    <a:pt x="507" y="1340"/>
                  </a:lnTo>
                  <a:lnTo>
                    <a:pt x="450" y="1422"/>
                  </a:lnTo>
                  <a:lnTo>
                    <a:pt x="394" y="1504"/>
                  </a:lnTo>
                  <a:lnTo>
                    <a:pt x="340" y="1588"/>
                  </a:lnTo>
                  <a:lnTo>
                    <a:pt x="288" y="1673"/>
                  </a:lnTo>
                  <a:lnTo>
                    <a:pt x="238" y="1761"/>
                  </a:lnTo>
                  <a:lnTo>
                    <a:pt x="189" y="1850"/>
                  </a:lnTo>
                  <a:lnTo>
                    <a:pt x="144" y="1941"/>
                  </a:lnTo>
                  <a:lnTo>
                    <a:pt x="100" y="2034"/>
                  </a:lnTo>
                  <a:lnTo>
                    <a:pt x="58" y="2127"/>
                  </a:lnTo>
                  <a:lnTo>
                    <a:pt x="18" y="2222"/>
                  </a:lnTo>
                  <a:lnTo>
                    <a:pt x="18" y="2222"/>
                  </a:lnTo>
                  <a:lnTo>
                    <a:pt x="13" y="2235"/>
                  </a:lnTo>
                  <a:lnTo>
                    <a:pt x="9" y="2247"/>
                  </a:lnTo>
                  <a:lnTo>
                    <a:pt x="6" y="2259"/>
                  </a:lnTo>
                  <a:lnTo>
                    <a:pt x="4" y="2271"/>
                  </a:lnTo>
                  <a:lnTo>
                    <a:pt x="2" y="2283"/>
                  </a:lnTo>
                  <a:lnTo>
                    <a:pt x="1" y="2296"/>
                  </a:lnTo>
                  <a:lnTo>
                    <a:pt x="0" y="2308"/>
                  </a:lnTo>
                  <a:lnTo>
                    <a:pt x="0" y="2320"/>
                  </a:lnTo>
                  <a:lnTo>
                    <a:pt x="0" y="2332"/>
                  </a:lnTo>
                  <a:lnTo>
                    <a:pt x="1" y="2344"/>
                  </a:lnTo>
                  <a:lnTo>
                    <a:pt x="3" y="2356"/>
                  </a:lnTo>
                  <a:lnTo>
                    <a:pt x="5" y="2369"/>
                  </a:lnTo>
                  <a:lnTo>
                    <a:pt x="8" y="2381"/>
                  </a:lnTo>
                  <a:lnTo>
                    <a:pt x="12" y="2392"/>
                  </a:lnTo>
                  <a:lnTo>
                    <a:pt x="16" y="2404"/>
                  </a:lnTo>
                  <a:lnTo>
                    <a:pt x="20" y="2415"/>
                  </a:lnTo>
                  <a:lnTo>
                    <a:pt x="26" y="2426"/>
                  </a:lnTo>
                  <a:lnTo>
                    <a:pt x="31" y="2436"/>
                  </a:lnTo>
                  <a:lnTo>
                    <a:pt x="37" y="2447"/>
                  </a:lnTo>
                  <a:lnTo>
                    <a:pt x="44" y="2457"/>
                  </a:lnTo>
                  <a:lnTo>
                    <a:pt x="51" y="2467"/>
                  </a:lnTo>
                  <a:lnTo>
                    <a:pt x="58" y="2476"/>
                  </a:lnTo>
                  <a:lnTo>
                    <a:pt x="66" y="2485"/>
                  </a:lnTo>
                  <a:lnTo>
                    <a:pt x="75" y="2494"/>
                  </a:lnTo>
                  <a:lnTo>
                    <a:pt x="84" y="2502"/>
                  </a:lnTo>
                  <a:lnTo>
                    <a:pt x="93" y="2510"/>
                  </a:lnTo>
                  <a:lnTo>
                    <a:pt x="103" y="2518"/>
                  </a:lnTo>
                  <a:lnTo>
                    <a:pt x="113" y="2525"/>
                  </a:lnTo>
                  <a:lnTo>
                    <a:pt x="124" y="2533"/>
                  </a:lnTo>
                  <a:lnTo>
                    <a:pt x="135" y="2539"/>
                  </a:lnTo>
                  <a:lnTo>
                    <a:pt x="146" y="2544"/>
                  </a:lnTo>
                  <a:lnTo>
                    <a:pt x="158" y="2549"/>
                  </a:lnTo>
                  <a:lnTo>
                    <a:pt x="170" y="2554"/>
                  </a:lnTo>
                  <a:lnTo>
                    <a:pt x="182" y="2558"/>
                  </a:lnTo>
                  <a:lnTo>
                    <a:pt x="194" y="2561"/>
                  </a:lnTo>
                  <a:lnTo>
                    <a:pt x="208" y="2563"/>
                  </a:lnTo>
                  <a:lnTo>
                    <a:pt x="220" y="2565"/>
                  </a:lnTo>
                  <a:lnTo>
                    <a:pt x="232" y="2566"/>
                  </a:lnTo>
                  <a:lnTo>
                    <a:pt x="245" y="2567"/>
                  </a:lnTo>
                  <a:lnTo>
                    <a:pt x="257" y="2567"/>
                  </a:lnTo>
                  <a:lnTo>
                    <a:pt x="269" y="2567"/>
                  </a:lnTo>
                  <a:lnTo>
                    <a:pt x="281" y="2565"/>
                  </a:lnTo>
                  <a:lnTo>
                    <a:pt x="293" y="2564"/>
                  </a:lnTo>
                  <a:lnTo>
                    <a:pt x="305" y="2561"/>
                  </a:lnTo>
                  <a:lnTo>
                    <a:pt x="316" y="2559"/>
                  </a:lnTo>
                  <a:lnTo>
                    <a:pt x="328" y="2555"/>
                  </a:lnTo>
                  <a:lnTo>
                    <a:pt x="339" y="2551"/>
                  </a:lnTo>
                  <a:lnTo>
                    <a:pt x="351" y="2547"/>
                  </a:lnTo>
                  <a:lnTo>
                    <a:pt x="361" y="2542"/>
                  </a:lnTo>
                  <a:lnTo>
                    <a:pt x="373" y="2536"/>
                  </a:lnTo>
                  <a:lnTo>
                    <a:pt x="383" y="2529"/>
                  </a:lnTo>
                  <a:lnTo>
                    <a:pt x="394" y="2523"/>
                  </a:lnTo>
                  <a:lnTo>
                    <a:pt x="403" y="2516"/>
                  </a:lnTo>
                  <a:lnTo>
                    <a:pt x="413" y="2508"/>
                  </a:lnTo>
                  <a:lnTo>
                    <a:pt x="422" y="2500"/>
                  </a:lnTo>
                  <a:lnTo>
                    <a:pt x="431" y="2492"/>
                  </a:lnTo>
                  <a:lnTo>
                    <a:pt x="439" y="2483"/>
                  </a:lnTo>
                  <a:lnTo>
                    <a:pt x="447" y="2474"/>
                  </a:lnTo>
                  <a:lnTo>
                    <a:pt x="455" y="2464"/>
                  </a:lnTo>
                  <a:lnTo>
                    <a:pt x="462" y="2454"/>
                  </a:lnTo>
                  <a:lnTo>
                    <a:pt x="468" y="2443"/>
                  </a:lnTo>
                  <a:lnTo>
                    <a:pt x="474" y="2432"/>
                  </a:lnTo>
                  <a:lnTo>
                    <a:pt x="480" y="2421"/>
                  </a:lnTo>
                  <a:lnTo>
                    <a:pt x="485" y="2409"/>
                  </a:lnTo>
                  <a:lnTo>
                    <a:pt x="485" y="2409"/>
                  </a:lnTo>
                  <a:lnTo>
                    <a:pt x="520" y="2324"/>
                  </a:lnTo>
                  <a:lnTo>
                    <a:pt x="558" y="2242"/>
                  </a:lnTo>
                  <a:lnTo>
                    <a:pt x="596" y="2161"/>
                  </a:lnTo>
                  <a:lnTo>
                    <a:pt x="636" y="2082"/>
                  </a:lnTo>
                  <a:lnTo>
                    <a:pt x="678" y="2003"/>
                  </a:lnTo>
                  <a:lnTo>
                    <a:pt x="723" y="1926"/>
                  </a:lnTo>
                  <a:lnTo>
                    <a:pt x="768" y="1850"/>
                  </a:lnTo>
                  <a:lnTo>
                    <a:pt x="815" y="1777"/>
                  </a:lnTo>
                  <a:lnTo>
                    <a:pt x="864" y="1705"/>
                  </a:lnTo>
                  <a:lnTo>
                    <a:pt x="916" y="1633"/>
                  </a:lnTo>
                  <a:lnTo>
                    <a:pt x="968" y="1564"/>
                  </a:lnTo>
                  <a:lnTo>
                    <a:pt x="1021" y="1496"/>
                  </a:lnTo>
                  <a:lnTo>
                    <a:pt x="1077" y="1430"/>
                  </a:lnTo>
                  <a:lnTo>
                    <a:pt x="1134" y="1365"/>
                  </a:lnTo>
                  <a:lnTo>
                    <a:pt x="1192" y="1301"/>
                  </a:lnTo>
                  <a:lnTo>
                    <a:pt x="1252" y="1240"/>
                  </a:lnTo>
                  <a:lnTo>
                    <a:pt x="1313" y="1180"/>
                  </a:lnTo>
                  <a:lnTo>
                    <a:pt x="1375" y="1121"/>
                  </a:lnTo>
                  <a:lnTo>
                    <a:pt x="1439" y="1065"/>
                  </a:lnTo>
                  <a:lnTo>
                    <a:pt x="1503" y="1010"/>
                  </a:lnTo>
                  <a:lnTo>
                    <a:pt x="1570" y="956"/>
                  </a:lnTo>
                  <a:lnTo>
                    <a:pt x="1637" y="904"/>
                  </a:lnTo>
                  <a:lnTo>
                    <a:pt x="1705" y="854"/>
                  </a:lnTo>
                  <a:lnTo>
                    <a:pt x="1775" y="805"/>
                  </a:lnTo>
                  <a:lnTo>
                    <a:pt x="1846" y="759"/>
                  </a:lnTo>
                  <a:lnTo>
                    <a:pt x="1918" y="714"/>
                  </a:lnTo>
                  <a:lnTo>
                    <a:pt x="1990" y="671"/>
                  </a:lnTo>
                  <a:lnTo>
                    <a:pt x="2064" y="629"/>
                  </a:lnTo>
                  <a:lnTo>
                    <a:pt x="2139" y="590"/>
                  </a:lnTo>
                  <a:lnTo>
                    <a:pt x="2214" y="552"/>
                  </a:lnTo>
                  <a:lnTo>
                    <a:pt x="2291" y="516"/>
                  </a:lnTo>
                  <a:lnTo>
                    <a:pt x="2367" y="481"/>
                  </a:lnTo>
                  <a:lnTo>
                    <a:pt x="2379" y="476"/>
                  </a:lnTo>
                  <a:lnTo>
                    <a:pt x="2390" y="470"/>
                  </a:lnTo>
                  <a:lnTo>
                    <a:pt x="2402" y="464"/>
                  </a:lnTo>
                  <a:lnTo>
                    <a:pt x="2413" y="457"/>
                  </a:lnTo>
                  <a:lnTo>
                    <a:pt x="2423" y="450"/>
                  </a:lnTo>
                  <a:lnTo>
                    <a:pt x="2432" y="442"/>
                  </a:lnTo>
                  <a:lnTo>
                    <a:pt x="2441" y="434"/>
                  </a:lnTo>
                  <a:lnTo>
                    <a:pt x="2450" y="425"/>
                  </a:lnTo>
                  <a:lnTo>
                    <a:pt x="2458" y="416"/>
                  </a:lnTo>
                  <a:lnTo>
                    <a:pt x="2466" y="407"/>
                  </a:lnTo>
                  <a:lnTo>
                    <a:pt x="2473" y="397"/>
                  </a:lnTo>
                  <a:lnTo>
                    <a:pt x="2480" y="387"/>
                  </a:lnTo>
                  <a:lnTo>
                    <a:pt x="2486" y="377"/>
                  </a:lnTo>
                  <a:lnTo>
                    <a:pt x="2492" y="366"/>
                  </a:lnTo>
                  <a:lnTo>
                    <a:pt x="2497" y="356"/>
                  </a:lnTo>
                  <a:lnTo>
                    <a:pt x="2502" y="345"/>
                  </a:lnTo>
                  <a:lnTo>
                    <a:pt x="2506" y="333"/>
                  </a:lnTo>
                  <a:lnTo>
                    <a:pt x="2510" y="321"/>
                  </a:lnTo>
                  <a:lnTo>
                    <a:pt x="2513" y="309"/>
                  </a:lnTo>
                  <a:lnTo>
                    <a:pt x="2515" y="298"/>
                  </a:lnTo>
                  <a:lnTo>
                    <a:pt x="2517" y="286"/>
                  </a:lnTo>
                  <a:lnTo>
                    <a:pt x="2519" y="274"/>
                  </a:lnTo>
                  <a:lnTo>
                    <a:pt x="2520" y="262"/>
                  </a:lnTo>
                  <a:lnTo>
                    <a:pt x="2520" y="249"/>
                  </a:lnTo>
                  <a:lnTo>
                    <a:pt x="2520" y="237"/>
                  </a:lnTo>
                  <a:lnTo>
                    <a:pt x="2519" y="225"/>
                  </a:lnTo>
                  <a:lnTo>
                    <a:pt x="2517" y="213"/>
                  </a:lnTo>
                  <a:lnTo>
                    <a:pt x="2515" y="200"/>
                  </a:lnTo>
                  <a:lnTo>
                    <a:pt x="2512" y="188"/>
                  </a:lnTo>
                  <a:lnTo>
                    <a:pt x="2509" y="176"/>
                  </a:lnTo>
                  <a:lnTo>
                    <a:pt x="2505" y="164"/>
                  </a:lnTo>
                  <a:lnTo>
                    <a:pt x="2500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88" name="îṥḷidé">
              <a:extLst>
                <a:ext uri="{FF2B5EF4-FFF2-40B4-BE49-F238E27FC236}">
                  <a16:creationId xmlns:a16="http://schemas.microsoft.com/office/drawing/2014/main" id="{E62CDDB7-567B-48E2-9B44-9754B2F5B373}"/>
                </a:ext>
              </a:extLst>
            </p:cNvPr>
            <p:cNvSpPr/>
            <p:nvPr/>
          </p:nvSpPr>
          <p:spPr bwMode="auto">
            <a:xfrm>
              <a:off x="5991448" y="2643940"/>
              <a:ext cx="81693" cy="83378"/>
            </a:xfrm>
            <a:custGeom>
              <a:avLst/>
              <a:gdLst>
                <a:gd name="T0" fmla="*/ 3557 w 3596"/>
                <a:gd name="T1" fmla="*/ 117 h 3668"/>
                <a:gd name="T2" fmla="*/ 3527 w 3596"/>
                <a:gd name="T3" fmla="*/ 78 h 3668"/>
                <a:gd name="T4" fmla="*/ 3490 w 3596"/>
                <a:gd name="T5" fmla="*/ 46 h 3668"/>
                <a:gd name="T6" fmla="*/ 3449 w 3596"/>
                <a:gd name="T7" fmla="*/ 22 h 3668"/>
                <a:gd name="T8" fmla="*/ 3402 w 3596"/>
                <a:gd name="T9" fmla="*/ 7 h 3668"/>
                <a:gd name="T10" fmla="*/ 3355 w 3596"/>
                <a:gd name="T11" fmla="*/ 0 h 3668"/>
                <a:gd name="T12" fmla="*/ 3306 w 3596"/>
                <a:gd name="T13" fmla="*/ 2 h 3668"/>
                <a:gd name="T14" fmla="*/ 3257 w 3596"/>
                <a:gd name="T15" fmla="*/ 15 h 3668"/>
                <a:gd name="T16" fmla="*/ 3098 w 3596"/>
                <a:gd name="T17" fmla="*/ 89 h 3668"/>
                <a:gd name="T18" fmla="*/ 2585 w 3596"/>
                <a:gd name="T19" fmla="*/ 356 h 3668"/>
                <a:gd name="T20" fmla="*/ 2100 w 3596"/>
                <a:gd name="T21" fmla="*/ 670 h 3668"/>
                <a:gd name="T22" fmla="*/ 1644 w 3596"/>
                <a:gd name="T23" fmla="*/ 1030 h 3668"/>
                <a:gd name="T24" fmla="*/ 1224 w 3596"/>
                <a:gd name="T25" fmla="*/ 1434 h 3668"/>
                <a:gd name="T26" fmla="*/ 841 w 3596"/>
                <a:gd name="T27" fmla="*/ 1883 h 3668"/>
                <a:gd name="T28" fmla="*/ 500 w 3596"/>
                <a:gd name="T29" fmla="*/ 2372 h 3668"/>
                <a:gd name="T30" fmla="*/ 207 w 3596"/>
                <a:gd name="T31" fmla="*/ 2901 h 3668"/>
                <a:gd name="T32" fmla="*/ 14 w 3596"/>
                <a:gd name="T33" fmla="*/ 3335 h 3668"/>
                <a:gd name="T34" fmla="*/ 2 w 3596"/>
                <a:gd name="T35" fmla="*/ 3385 h 3668"/>
                <a:gd name="T36" fmla="*/ 1 w 3596"/>
                <a:gd name="T37" fmla="*/ 3434 h 3668"/>
                <a:gd name="T38" fmla="*/ 9 w 3596"/>
                <a:gd name="T39" fmla="*/ 3481 h 3668"/>
                <a:gd name="T40" fmla="*/ 25 w 3596"/>
                <a:gd name="T41" fmla="*/ 3526 h 3668"/>
                <a:gd name="T42" fmla="*/ 52 w 3596"/>
                <a:gd name="T43" fmla="*/ 3568 h 3668"/>
                <a:gd name="T44" fmla="*/ 84 w 3596"/>
                <a:gd name="T45" fmla="*/ 3604 h 3668"/>
                <a:gd name="T46" fmla="*/ 124 w 3596"/>
                <a:gd name="T47" fmla="*/ 3633 h 3668"/>
                <a:gd name="T48" fmla="*/ 171 w 3596"/>
                <a:gd name="T49" fmla="*/ 3655 h 3668"/>
                <a:gd name="T50" fmla="*/ 220 w 3596"/>
                <a:gd name="T51" fmla="*/ 3666 h 3668"/>
                <a:gd name="T52" fmla="*/ 269 w 3596"/>
                <a:gd name="T53" fmla="*/ 3668 h 3668"/>
                <a:gd name="T54" fmla="*/ 316 w 3596"/>
                <a:gd name="T55" fmla="*/ 3660 h 3668"/>
                <a:gd name="T56" fmla="*/ 361 w 3596"/>
                <a:gd name="T57" fmla="*/ 3643 h 3668"/>
                <a:gd name="T58" fmla="*/ 403 w 3596"/>
                <a:gd name="T59" fmla="*/ 3618 h 3668"/>
                <a:gd name="T60" fmla="*/ 439 w 3596"/>
                <a:gd name="T61" fmla="*/ 3586 h 3668"/>
                <a:gd name="T62" fmla="*/ 468 w 3596"/>
                <a:gd name="T63" fmla="*/ 3546 h 3668"/>
                <a:gd name="T64" fmla="*/ 540 w 3596"/>
                <a:gd name="T65" fmla="*/ 3379 h 3668"/>
                <a:gd name="T66" fmla="*/ 788 w 3596"/>
                <a:gd name="T67" fmla="*/ 2873 h 3668"/>
                <a:gd name="T68" fmla="*/ 1081 w 3596"/>
                <a:gd name="T69" fmla="*/ 2404 h 3668"/>
                <a:gd name="T70" fmla="*/ 1415 w 3596"/>
                <a:gd name="T71" fmla="*/ 1971 h 3668"/>
                <a:gd name="T72" fmla="*/ 1785 w 3596"/>
                <a:gd name="T73" fmla="*/ 1579 h 3668"/>
                <a:gd name="T74" fmla="*/ 2189 w 3596"/>
                <a:gd name="T75" fmla="*/ 1227 h 3668"/>
                <a:gd name="T76" fmla="*/ 2623 w 3596"/>
                <a:gd name="T77" fmla="*/ 917 h 3668"/>
                <a:gd name="T78" fmla="*/ 3084 w 3596"/>
                <a:gd name="T79" fmla="*/ 651 h 3668"/>
                <a:gd name="T80" fmla="*/ 3455 w 3596"/>
                <a:gd name="T81" fmla="*/ 476 h 3668"/>
                <a:gd name="T82" fmla="*/ 3498 w 3596"/>
                <a:gd name="T83" fmla="*/ 449 h 3668"/>
                <a:gd name="T84" fmla="*/ 3533 w 3596"/>
                <a:gd name="T85" fmla="*/ 416 h 3668"/>
                <a:gd name="T86" fmla="*/ 3561 w 3596"/>
                <a:gd name="T87" fmla="*/ 377 h 3668"/>
                <a:gd name="T88" fmla="*/ 3581 w 3596"/>
                <a:gd name="T89" fmla="*/ 333 h 3668"/>
                <a:gd name="T90" fmla="*/ 3593 w 3596"/>
                <a:gd name="T91" fmla="*/ 286 h 3668"/>
                <a:gd name="T92" fmla="*/ 3596 w 3596"/>
                <a:gd name="T93" fmla="*/ 237 h 3668"/>
                <a:gd name="T94" fmla="*/ 3588 w 3596"/>
                <a:gd name="T95" fmla="*/ 188 h 3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96" h="3668">
                  <a:moveTo>
                    <a:pt x="3575" y="152"/>
                  </a:moveTo>
                  <a:lnTo>
                    <a:pt x="3569" y="140"/>
                  </a:lnTo>
                  <a:lnTo>
                    <a:pt x="3563" y="128"/>
                  </a:lnTo>
                  <a:lnTo>
                    <a:pt x="3557" y="117"/>
                  </a:lnTo>
                  <a:lnTo>
                    <a:pt x="3550" y="107"/>
                  </a:lnTo>
                  <a:lnTo>
                    <a:pt x="3543" y="97"/>
                  </a:lnTo>
                  <a:lnTo>
                    <a:pt x="3535" y="87"/>
                  </a:lnTo>
                  <a:lnTo>
                    <a:pt x="3527" y="78"/>
                  </a:lnTo>
                  <a:lnTo>
                    <a:pt x="3518" y="70"/>
                  </a:lnTo>
                  <a:lnTo>
                    <a:pt x="3509" y="61"/>
                  </a:lnTo>
                  <a:lnTo>
                    <a:pt x="3500" y="54"/>
                  </a:lnTo>
                  <a:lnTo>
                    <a:pt x="3490" y="46"/>
                  </a:lnTo>
                  <a:lnTo>
                    <a:pt x="3480" y="40"/>
                  </a:lnTo>
                  <a:lnTo>
                    <a:pt x="3470" y="33"/>
                  </a:lnTo>
                  <a:lnTo>
                    <a:pt x="3459" y="28"/>
                  </a:lnTo>
                  <a:lnTo>
                    <a:pt x="3449" y="22"/>
                  </a:lnTo>
                  <a:lnTo>
                    <a:pt x="3438" y="18"/>
                  </a:lnTo>
                  <a:lnTo>
                    <a:pt x="3426" y="13"/>
                  </a:lnTo>
                  <a:lnTo>
                    <a:pt x="3414" y="10"/>
                  </a:lnTo>
                  <a:lnTo>
                    <a:pt x="3402" y="7"/>
                  </a:lnTo>
                  <a:lnTo>
                    <a:pt x="3391" y="4"/>
                  </a:lnTo>
                  <a:lnTo>
                    <a:pt x="3379" y="2"/>
                  </a:lnTo>
                  <a:lnTo>
                    <a:pt x="3367" y="1"/>
                  </a:lnTo>
                  <a:lnTo>
                    <a:pt x="3355" y="0"/>
                  </a:lnTo>
                  <a:lnTo>
                    <a:pt x="3342" y="0"/>
                  </a:lnTo>
                  <a:lnTo>
                    <a:pt x="3330" y="0"/>
                  </a:lnTo>
                  <a:lnTo>
                    <a:pt x="3318" y="1"/>
                  </a:lnTo>
                  <a:lnTo>
                    <a:pt x="3306" y="2"/>
                  </a:lnTo>
                  <a:lnTo>
                    <a:pt x="3294" y="5"/>
                  </a:lnTo>
                  <a:lnTo>
                    <a:pt x="3281" y="7"/>
                  </a:lnTo>
                  <a:lnTo>
                    <a:pt x="3269" y="11"/>
                  </a:lnTo>
                  <a:lnTo>
                    <a:pt x="3257" y="15"/>
                  </a:lnTo>
                  <a:lnTo>
                    <a:pt x="3244" y="20"/>
                  </a:lnTo>
                  <a:lnTo>
                    <a:pt x="3236" y="25"/>
                  </a:lnTo>
                  <a:lnTo>
                    <a:pt x="3229" y="31"/>
                  </a:lnTo>
                  <a:lnTo>
                    <a:pt x="3098" y="89"/>
                  </a:lnTo>
                  <a:lnTo>
                    <a:pt x="2967" y="152"/>
                  </a:lnTo>
                  <a:lnTo>
                    <a:pt x="2838" y="216"/>
                  </a:lnTo>
                  <a:lnTo>
                    <a:pt x="2710" y="284"/>
                  </a:lnTo>
                  <a:lnTo>
                    <a:pt x="2585" y="356"/>
                  </a:lnTo>
                  <a:lnTo>
                    <a:pt x="2461" y="429"/>
                  </a:lnTo>
                  <a:lnTo>
                    <a:pt x="2338" y="507"/>
                  </a:lnTo>
                  <a:lnTo>
                    <a:pt x="2218" y="586"/>
                  </a:lnTo>
                  <a:lnTo>
                    <a:pt x="2100" y="670"/>
                  </a:lnTo>
                  <a:lnTo>
                    <a:pt x="1982" y="755"/>
                  </a:lnTo>
                  <a:lnTo>
                    <a:pt x="1867" y="844"/>
                  </a:lnTo>
                  <a:lnTo>
                    <a:pt x="1755" y="935"/>
                  </a:lnTo>
                  <a:lnTo>
                    <a:pt x="1644" y="1030"/>
                  </a:lnTo>
                  <a:lnTo>
                    <a:pt x="1535" y="1126"/>
                  </a:lnTo>
                  <a:lnTo>
                    <a:pt x="1429" y="1227"/>
                  </a:lnTo>
                  <a:lnTo>
                    <a:pt x="1325" y="1329"/>
                  </a:lnTo>
                  <a:lnTo>
                    <a:pt x="1224" y="1434"/>
                  </a:lnTo>
                  <a:lnTo>
                    <a:pt x="1124" y="1543"/>
                  </a:lnTo>
                  <a:lnTo>
                    <a:pt x="1027" y="1653"/>
                  </a:lnTo>
                  <a:lnTo>
                    <a:pt x="933" y="1766"/>
                  </a:lnTo>
                  <a:lnTo>
                    <a:pt x="841" y="1883"/>
                  </a:lnTo>
                  <a:lnTo>
                    <a:pt x="752" y="2001"/>
                  </a:lnTo>
                  <a:lnTo>
                    <a:pt x="665" y="2122"/>
                  </a:lnTo>
                  <a:lnTo>
                    <a:pt x="582" y="2246"/>
                  </a:lnTo>
                  <a:lnTo>
                    <a:pt x="500" y="2372"/>
                  </a:lnTo>
                  <a:lnTo>
                    <a:pt x="423" y="2500"/>
                  </a:lnTo>
                  <a:lnTo>
                    <a:pt x="347" y="2631"/>
                  </a:lnTo>
                  <a:lnTo>
                    <a:pt x="276" y="2765"/>
                  </a:lnTo>
                  <a:lnTo>
                    <a:pt x="207" y="2901"/>
                  </a:lnTo>
                  <a:lnTo>
                    <a:pt x="141" y="3040"/>
                  </a:lnTo>
                  <a:lnTo>
                    <a:pt x="78" y="3180"/>
                  </a:lnTo>
                  <a:lnTo>
                    <a:pt x="18" y="3323"/>
                  </a:lnTo>
                  <a:lnTo>
                    <a:pt x="14" y="3335"/>
                  </a:lnTo>
                  <a:lnTo>
                    <a:pt x="10" y="3347"/>
                  </a:lnTo>
                  <a:lnTo>
                    <a:pt x="7" y="3359"/>
                  </a:lnTo>
                  <a:lnTo>
                    <a:pt x="4" y="3373"/>
                  </a:lnTo>
                  <a:lnTo>
                    <a:pt x="2" y="3385"/>
                  </a:lnTo>
                  <a:lnTo>
                    <a:pt x="1" y="3397"/>
                  </a:lnTo>
                  <a:lnTo>
                    <a:pt x="0" y="3409"/>
                  </a:lnTo>
                  <a:lnTo>
                    <a:pt x="0" y="3422"/>
                  </a:lnTo>
                  <a:lnTo>
                    <a:pt x="1" y="3434"/>
                  </a:lnTo>
                  <a:lnTo>
                    <a:pt x="2" y="3446"/>
                  </a:lnTo>
                  <a:lnTo>
                    <a:pt x="4" y="3458"/>
                  </a:lnTo>
                  <a:lnTo>
                    <a:pt x="6" y="3470"/>
                  </a:lnTo>
                  <a:lnTo>
                    <a:pt x="9" y="3481"/>
                  </a:lnTo>
                  <a:lnTo>
                    <a:pt x="12" y="3493"/>
                  </a:lnTo>
                  <a:lnTo>
                    <a:pt x="16" y="3504"/>
                  </a:lnTo>
                  <a:lnTo>
                    <a:pt x="20" y="3515"/>
                  </a:lnTo>
                  <a:lnTo>
                    <a:pt x="25" y="3526"/>
                  </a:lnTo>
                  <a:lnTo>
                    <a:pt x="32" y="3538"/>
                  </a:lnTo>
                  <a:lnTo>
                    <a:pt x="38" y="3548"/>
                  </a:lnTo>
                  <a:lnTo>
                    <a:pt x="45" y="3559"/>
                  </a:lnTo>
                  <a:lnTo>
                    <a:pt x="52" y="3568"/>
                  </a:lnTo>
                  <a:lnTo>
                    <a:pt x="59" y="3578"/>
                  </a:lnTo>
                  <a:lnTo>
                    <a:pt x="67" y="3587"/>
                  </a:lnTo>
                  <a:lnTo>
                    <a:pt x="75" y="3596"/>
                  </a:lnTo>
                  <a:lnTo>
                    <a:pt x="84" y="3604"/>
                  </a:lnTo>
                  <a:lnTo>
                    <a:pt x="94" y="3612"/>
                  </a:lnTo>
                  <a:lnTo>
                    <a:pt x="103" y="3620"/>
                  </a:lnTo>
                  <a:lnTo>
                    <a:pt x="114" y="3627"/>
                  </a:lnTo>
                  <a:lnTo>
                    <a:pt x="124" y="3633"/>
                  </a:lnTo>
                  <a:lnTo>
                    <a:pt x="135" y="3639"/>
                  </a:lnTo>
                  <a:lnTo>
                    <a:pt x="147" y="3645"/>
                  </a:lnTo>
                  <a:lnTo>
                    <a:pt x="159" y="3650"/>
                  </a:lnTo>
                  <a:lnTo>
                    <a:pt x="171" y="3655"/>
                  </a:lnTo>
                  <a:lnTo>
                    <a:pt x="183" y="3659"/>
                  </a:lnTo>
                  <a:lnTo>
                    <a:pt x="195" y="3662"/>
                  </a:lnTo>
                  <a:lnTo>
                    <a:pt x="208" y="3664"/>
                  </a:lnTo>
                  <a:lnTo>
                    <a:pt x="220" y="3666"/>
                  </a:lnTo>
                  <a:lnTo>
                    <a:pt x="232" y="3668"/>
                  </a:lnTo>
                  <a:lnTo>
                    <a:pt x="245" y="3668"/>
                  </a:lnTo>
                  <a:lnTo>
                    <a:pt x="257" y="3668"/>
                  </a:lnTo>
                  <a:lnTo>
                    <a:pt x="269" y="3668"/>
                  </a:lnTo>
                  <a:lnTo>
                    <a:pt x="281" y="3667"/>
                  </a:lnTo>
                  <a:lnTo>
                    <a:pt x="293" y="3665"/>
                  </a:lnTo>
                  <a:lnTo>
                    <a:pt x="305" y="3663"/>
                  </a:lnTo>
                  <a:lnTo>
                    <a:pt x="316" y="3660"/>
                  </a:lnTo>
                  <a:lnTo>
                    <a:pt x="328" y="3657"/>
                  </a:lnTo>
                  <a:lnTo>
                    <a:pt x="339" y="3653"/>
                  </a:lnTo>
                  <a:lnTo>
                    <a:pt x="350" y="3648"/>
                  </a:lnTo>
                  <a:lnTo>
                    <a:pt x="361" y="3643"/>
                  </a:lnTo>
                  <a:lnTo>
                    <a:pt x="373" y="3638"/>
                  </a:lnTo>
                  <a:lnTo>
                    <a:pt x="383" y="3632"/>
                  </a:lnTo>
                  <a:lnTo>
                    <a:pt x="393" y="3625"/>
                  </a:lnTo>
                  <a:lnTo>
                    <a:pt x="403" y="3618"/>
                  </a:lnTo>
                  <a:lnTo>
                    <a:pt x="413" y="3611"/>
                  </a:lnTo>
                  <a:lnTo>
                    <a:pt x="422" y="3603"/>
                  </a:lnTo>
                  <a:lnTo>
                    <a:pt x="431" y="3594"/>
                  </a:lnTo>
                  <a:lnTo>
                    <a:pt x="439" y="3586"/>
                  </a:lnTo>
                  <a:lnTo>
                    <a:pt x="447" y="3576"/>
                  </a:lnTo>
                  <a:lnTo>
                    <a:pt x="454" y="3566"/>
                  </a:lnTo>
                  <a:lnTo>
                    <a:pt x="461" y="3556"/>
                  </a:lnTo>
                  <a:lnTo>
                    <a:pt x="468" y="3546"/>
                  </a:lnTo>
                  <a:lnTo>
                    <a:pt x="474" y="3535"/>
                  </a:lnTo>
                  <a:lnTo>
                    <a:pt x="480" y="3522"/>
                  </a:lnTo>
                  <a:lnTo>
                    <a:pt x="485" y="3510"/>
                  </a:lnTo>
                  <a:lnTo>
                    <a:pt x="540" y="3379"/>
                  </a:lnTo>
                  <a:lnTo>
                    <a:pt x="598" y="3249"/>
                  </a:lnTo>
                  <a:lnTo>
                    <a:pt x="658" y="3121"/>
                  </a:lnTo>
                  <a:lnTo>
                    <a:pt x="722" y="2996"/>
                  </a:lnTo>
                  <a:lnTo>
                    <a:pt x="788" y="2873"/>
                  </a:lnTo>
                  <a:lnTo>
                    <a:pt x="857" y="2752"/>
                  </a:lnTo>
                  <a:lnTo>
                    <a:pt x="929" y="2633"/>
                  </a:lnTo>
                  <a:lnTo>
                    <a:pt x="1004" y="2518"/>
                  </a:lnTo>
                  <a:lnTo>
                    <a:pt x="1081" y="2404"/>
                  </a:lnTo>
                  <a:lnTo>
                    <a:pt x="1160" y="2292"/>
                  </a:lnTo>
                  <a:lnTo>
                    <a:pt x="1243" y="2183"/>
                  </a:lnTo>
                  <a:lnTo>
                    <a:pt x="1327" y="2076"/>
                  </a:lnTo>
                  <a:lnTo>
                    <a:pt x="1415" y="1971"/>
                  </a:lnTo>
                  <a:lnTo>
                    <a:pt x="1503" y="1870"/>
                  </a:lnTo>
                  <a:lnTo>
                    <a:pt x="1595" y="1770"/>
                  </a:lnTo>
                  <a:lnTo>
                    <a:pt x="1689" y="1674"/>
                  </a:lnTo>
                  <a:lnTo>
                    <a:pt x="1785" y="1579"/>
                  </a:lnTo>
                  <a:lnTo>
                    <a:pt x="1882" y="1487"/>
                  </a:lnTo>
                  <a:lnTo>
                    <a:pt x="1983" y="1398"/>
                  </a:lnTo>
                  <a:lnTo>
                    <a:pt x="2085" y="1311"/>
                  </a:lnTo>
                  <a:lnTo>
                    <a:pt x="2189" y="1227"/>
                  </a:lnTo>
                  <a:lnTo>
                    <a:pt x="2295" y="1145"/>
                  </a:lnTo>
                  <a:lnTo>
                    <a:pt x="2403" y="1067"/>
                  </a:lnTo>
                  <a:lnTo>
                    <a:pt x="2512" y="990"/>
                  </a:lnTo>
                  <a:lnTo>
                    <a:pt x="2623" y="917"/>
                  </a:lnTo>
                  <a:lnTo>
                    <a:pt x="2735" y="847"/>
                  </a:lnTo>
                  <a:lnTo>
                    <a:pt x="2850" y="778"/>
                  </a:lnTo>
                  <a:lnTo>
                    <a:pt x="2966" y="714"/>
                  </a:lnTo>
                  <a:lnTo>
                    <a:pt x="3084" y="651"/>
                  </a:lnTo>
                  <a:lnTo>
                    <a:pt x="3202" y="592"/>
                  </a:lnTo>
                  <a:lnTo>
                    <a:pt x="3322" y="535"/>
                  </a:lnTo>
                  <a:lnTo>
                    <a:pt x="3444" y="481"/>
                  </a:lnTo>
                  <a:lnTo>
                    <a:pt x="3455" y="476"/>
                  </a:lnTo>
                  <a:lnTo>
                    <a:pt x="3467" y="470"/>
                  </a:lnTo>
                  <a:lnTo>
                    <a:pt x="3477" y="463"/>
                  </a:lnTo>
                  <a:lnTo>
                    <a:pt x="3488" y="457"/>
                  </a:lnTo>
                  <a:lnTo>
                    <a:pt x="3498" y="449"/>
                  </a:lnTo>
                  <a:lnTo>
                    <a:pt x="3507" y="441"/>
                  </a:lnTo>
                  <a:lnTo>
                    <a:pt x="3517" y="433"/>
                  </a:lnTo>
                  <a:lnTo>
                    <a:pt x="3525" y="425"/>
                  </a:lnTo>
                  <a:lnTo>
                    <a:pt x="3533" y="416"/>
                  </a:lnTo>
                  <a:lnTo>
                    <a:pt x="3541" y="406"/>
                  </a:lnTo>
                  <a:lnTo>
                    <a:pt x="3548" y="397"/>
                  </a:lnTo>
                  <a:lnTo>
                    <a:pt x="3555" y="387"/>
                  </a:lnTo>
                  <a:lnTo>
                    <a:pt x="3561" y="377"/>
                  </a:lnTo>
                  <a:lnTo>
                    <a:pt x="3567" y="366"/>
                  </a:lnTo>
                  <a:lnTo>
                    <a:pt x="3572" y="355"/>
                  </a:lnTo>
                  <a:lnTo>
                    <a:pt x="3577" y="344"/>
                  </a:lnTo>
                  <a:lnTo>
                    <a:pt x="3581" y="333"/>
                  </a:lnTo>
                  <a:lnTo>
                    <a:pt x="3585" y="322"/>
                  </a:lnTo>
                  <a:lnTo>
                    <a:pt x="3589" y="309"/>
                  </a:lnTo>
                  <a:lnTo>
                    <a:pt x="3591" y="297"/>
                  </a:lnTo>
                  <a:lnTo>
                    <a:pt x="3593" y="286"/>
                  </a:lnTo>
                  <a:lnTo>
                    <a:pt x="3595" y="274"/>
                  </a:lnTo>
                  <a:lnTo>
                    <a:pt x="3596" y="261"/>
                  </a:lnTo>
                  <a:lnTo>
                    <a:pt x="3596" y="249"/>
                  </a:lnTo>
                  <a:lnTo>
                    <a:pt x="3596" y="237"/>
                  </a:lnTo>
                  <a:lnTo>
                    <a:pt x="3595" y="225"/>
                  </a:lnTo>
                  <a:lnTo>
                    <a:pt x="3593" y="213"/>
                  </a:lnTo>
                  <a:lnTo>
                    <a:pt x="3591" y="200"/>
                  </a:lnTo>
                  <a:lnTo>
                    <a:pt x="3588" y="188"/>
                  </a:lnTo>
                  <a:lnTo>
                    <a:pt x="3584" y="176"/>
                  </a:lnTo>
                  <a:lnTo>
                    <a:pt x="3579" y="164"/>
                  </a:lnTo>
                  <a:lnTo>
                    <a:pt x="3575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89" name="î$ļîḓe">
              <a:extLst>
                <a:ext uri="{FF2B5EF4-FFF2-40B4-BE49-F238E27FC236}">
                  <a16:creationId xmlns:a16="http://schemas.microsoft.com/office/drawing/2014/main" id="{35E4F862-E748-42E5-80B8-65F6622FC1B9}"/>
                </a:ext>
              </a:extLst>
            </p:cNvPr>
            <p:cNvSpPr/>
            <p:nvPr/>
          </p:nvSpPr>
          <p:spPr bwMode="auto">
            <a:xfrm>
              <a:off x="6012503" y="2664996"/>
              <a:ext cx="69061" cy="70745"/>
            </a:xfrm>
            <a:custGeom>
              <a:avLst/>
              <a:gdLst>
                <a:gd name="T0" fmla="*/ 2939 w 3057"/>
                <a:gd name="T1" fmla="*/ 464 h 3119"/>
                <a:gd name="T2" fmla="*/ 2978 w 3057"/>
                <a:gd name="T3" fmla="*/ 434 h 3119"/>
                <a:gd name="T4" fmla="*/ 3011 w 3057"/>
                <a:gd name="T5" fmla="*/ 397 h 3119"/>
                <a:gd name="T6" fmla="*/ 3035 w 3057"/>
                <a:gd name="T7" fmla="*/ 355 h 3119"/>
                <a:gd name="T8" fmla="*/ 3050 w 3057"/>
                <a:gd name="T9" fmla="*/ 310 h 3119"/>
                <a:gd name="T10" fmla="*/ 3057 w 3057"/>
                <a:gd name="T11" fmla="*/ 263 h 3119"/>
                <a:gd name="T12" fmla="*/ 3055 w 3057"/>
                <a:gd name="T13" fmla="*/ 213 h 3119"/>
                <a:gd name="T14" fmla="*/ 3042 w 3057"/>
                <a:gd name="T15" fmla="*/ 164 h 3119"/>
                <a:gd name="T16" fmla="*/ 3020 w 3057"/>
                <a:gd name="T17" fmla="*/ 118 h 3119"/>
                <a:gd name="T18" fmla="*/ 2988 w 3057"/>
                <a:gd name="T19" fmla="*/ 79 h 3119"/>
                <a:gd name="T20" fmla="*/ 2952 w 3057"/>
                <a:gd name="T21" fmla="*/ 46 h 3119"/>
                <a:gd name="T22" fmla="*/ 2910 w 3057"/>
                <a:gd name="T23" fmla="*/ 22 h 3119"/>
                <a:gd name="T24" fmla="*/ 2865 w 3057"/>
                <a:gd name="T25" fmla="*/ 7 h 3119"/>
                <a:gd name="T26" fmla="*/ 2816 w 3057"/>
                <a:gd name="T27" fmla="*/ 0 h 3119"/>
                <a:gd name="T28" fmla="*/ 2767 w 3057"/>
                <a:gd name="T29" fmla="*/ 3 h 3119"/>
                <a:gd name="T30" fmla="*/ 2719 w 3057"/>
                <a:gd name="T31" fmla="*/ 15 h 3119"/>
                <a:gd name="T32" fmla="*/ 2584 w 3057"/>
                <a:gd name="T33" fmla="*/ 79 h 3119"/>
                <a:gd name="T34" fmla="*/ 2157 w 3057"/>
                <a:gd name="T35" fmla="*/ 300 h 3119"/>
                <a:gd name="T36" fmla="*/ 1752 w 3057"/>
                <a:gd name="T37" fmla="*/ 561 h 3119"/>
                <a:gd name="T38" fmla="*/ 1373 w 3057"/>
                <a:gd name="T39" fmla="*/ 862 h 3119"/>
                <a:gd name="T40" fmla="*/ 1022 w 3057"/>
                <a:gd name="T41" fmla="*/ 1199 h 3119"/>
                <a:gd name="T42" fmla="*/ 703 w 3057"/>
                <a:gd name="T43" fmla="*/ 1573 h 3119"/>
                <a:gd name="T44" fmla="*/ 419 w 3057"/>
                <a:gd name="T45" fmla="*/ 1981 h 3119"/>
                <a:gd name="T46" fmla="*/ 175 w 3057"/>
                <a:gd name="T47" fmla="*/ 2422 h 3119"/>
                <a:gd name="T48" fmla="*/ 14 w 3057"/>
                <a:gd name="T49" fmla="*/ 2786 h 3119"/>
                <a:gd name="T50" fmla="*/ 2 w 3057"/>
                <a:gd name="T51" fmla="*/ 2835 h 3119"/>
                <a:gd name="T52" fmla="*/ 1 w 3057"/>
                <a:gd name="T53" fmla="*/ 2884 h 3119"/>
                <a:gd name="T54" fmla="*/ 9 w 3057"/>
                <a:gd name="T55" fmla="*/ 2931 h 3119"/>
                <a:gd name="T56" fmla="*/ 26 w 3057"/>
                <a:gd name="T57" fmla="*/ 2977 h 3119"/>
                <a:gd name="T58" fmla="*/ 51 w 3057"/>
                <a:gd name="T59" fmla="*/ 3018 h 3119"/>
                <a:gd name="T60" fmla="*/ 83 w 3057"/>
                <a:gd name="T61" fmla="*/ 3054 h 3119"/>
                <a:gd name="T62" fmla="*/ 124 w 3057"/>
                <a:gd name="T63" fmla="*/ 3083 h 3119"/>
                <a:gd name="T64" fmla="*/ 171 w 3057"/>
                <a:gd name="T65" fmla="*/ 3105 h 3119"/>
                <a:gd name="T66" fmla="*/ 219 w 3057"/>
                <a:gd name="T67" fmla="*/ 3116 h 3119"/>
                <a:gd name="T68" fmla="*/ 268 w 3057"/>
                <a:gd name="T69" fmla="*/ 3119 h 3119"/>
                <a:gd name="T70" fmla="*/ 317 w 3057"/>
                <a:gd name="T71" fmla="*/ 3110 h 3119"/>
                <a:gd name="T72" fmla="*/ 361 w 3057"/>
                <a:gd name="T73" fmla="*/ 3093 h 3119"/>
                <a:gd name="T74" fmla="*/ 402 w 3057"/>
                <a:gd name="T75" fmla="*/ 3068 h 3119"/>
                <a:gd name="T76" fmla="*/ 438 w 3057"/>
                <a:gd name="T77" fmla="*/ 3035 h 3119"/>
                <a:gd name="T78" fmla="*/ 469 w 3057"/>
                <a:gd name="T79" fmla="*/ 2996 h 3119"/>
                <a:gd name="T80" fmla="*/ 530 w 3057"/>
                <a:gd name="T81" fmla="*/ 2853 h 3119"/>
                <a:gd name="T82" fmla="*/ 733 w 3057"/>
                <a:gd name="T83" fmla="*/ 2439 h 3119"/>
                <a:gd name="T84" fmla="*/ 973 w 3057"/>
                <a:gd name="T85" fmla="*/ 2055 h 3119"/>
                <a:gd name="T86" fmla="*/ 1245 w 3057"/>
                <a:gd name="T87" fmla="*/ 1701 h 3119"/>
                <a:gd name="T88" fmla="*/ 1548 w 3057"/>
                <a:gd name="T89" fmla="*/ 1380 h 3119"/>
                <a:gd name="T90" fmla="*/ 1879 w 3057"/>
                <a:gd name="T91" fmla="*/ 1092 h 3119"/>
                <a:gd name="T92" fmla="*/ 2234 w 3057"/>
                <a:gd name="T93" fmla="*/ 839 h 3119"/>
                <a:gd name="T94" fmla="*/ 2610 w 3057"/>
                <a:gd name="T95" fmla="*/ 622 h 3119"/>
                <a:gd name="T96" fmla="*/ 2905 w 3057"/>
                <a:gd name="T97" fmla="*/ 482 h 3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57" h="3119">
                  <a:moveTo>
                    <a:pt x="2905" y="482"/>
                  </a:moveTo>
                  <a:lnTo>
                    <a:pt x="2917" y="477"/>
                  </a:lnTo>
                  <a:lnTo>
                    <a:pt x="2928" y="471"/>
                  </a:lnTo>
                  <a:lnTo>
                    <a:pt x="2939" y="464"/>
                  </a:lnTo>
                  <a:lnTo>
                    <a:pt x="2949" y="458"/>
                  </a:lnTo>
                  <a:lnTo>
                    <a:pt x="2959" y="450"/>
                  </a:lnTo>
                  <a:lnTo>
                    <a:pt x="2969" y="442"/>
                  </a:lnTo>
                  <a:lnTo>
                    <a:pt x="2978" y="434"/>
                  </a:lnTo>
                  <a:lnTo>
                    <a:pt x="2986" y="426"/>
                  </a:lnTo>
                  <a:lnTo>
                    <a:pt x="2996" y="417"/>
                  </a:lnTo>
                  <a:lnTo>
                    <a:pt x="3003" y="408"/>
                  </a:lnTo>
                  <a:lnTo>
                    <a:pt x="3011" y="397"/>
                  </a:lnTo>
                  <a:lnTo>
                    <a:pt x="3017" y="387"/>
                  </a:lnTo>
                  <a:lnTo>
                    <a:pt x="3024" y="377"/>
                  </a:lnTo>
                  <a:lnTo>
                    <a:pt x="3029" y="366"/>
                  </a:lnTo>
                  <a:lnTo>
                    <a:pt x="3035" y="355"/>
                  </a:lnTo>
                  <a:lnTo>
                    <a:pt x="3039" y="344"/>
                  </a:lnTo>
                  <a:lnTo>
                    <a:pt x="3044" y="333"/>
                  </a:lnTo>
                  <a:lnTo>
                    <a:pt x="3047" y="322"/>
                  </a:lnTo>
                  <a:lnTo>
                    <a:pt x="3050" y="310"/>
                  </a:lnTo>
                  <a:lnTo>
                    <a:pt x="3053" y="298"/>
                  </a:lnTo>
                  <a:lnTo>
                    <a:pt x="3055" y="287"/>
                  </a:lnTo>
                  <a:lnTo>
                    <a:pt x="3056" y="275"/>
                  </a:lnTo>
                  <a:lnTo>
                    <a:pt x="3057" y="263"/>
                  </a:lnTo>
                  <a:lnTo>
                    <a:pt x="3057" y="250"/>
                  </a:lnTo>
                  <a:lnTo>
                    <a:pt x="3057" y="237"/>
                  </a:lnTo>
                  <a:lnTo>
                    <a:pt x="3056" y="225"/>
                  </a:lnTo>
                  <a:lnTo>
                    <a:pt x="3055" y="213"/>
                  </a:lnTo>
                  <a:lnTo>
                    <a:pt x="3052" y="200"/>
                  </a:lnTo>
                  <a:lnTo>
                    <a:pt x="3050" y="188"/>
                  </a:lnTo>
                  <a:lnTo>
                    <a:pt x="3046" y="176"/>
                  </a:lnTo>
                  <a:lnTo>
                    <a:pt x="3042" y="164"/>
                  </a:lnTo>
                  <a:lnTo>
                    <a:pt x="3037" y="152"/>
                  </a:lnTo>
                  <a:lnTo>
                    <a:pt x="3032" y="140"/>
                  </a:lnTo>
                  <a:lnTo>
                    <a:pt x="3026" y="129"/>
                  </a:lnTo>
                  <a:lnTo>
                    <a:pt x="3020" y="118"/>
                  </a:lnTo>
                  <a:lnTo>
                    <a:pt x="3013" y="108"/>
                  </a:lnTo>
                  <a:lnTo>
                    <a:pt x="3005" y="98"/>
                  </a:lnTo>
                  <a:lnTo>
                    <a:pt x="2998" y="88"/>
                  </a:lnTo>
                  <a:lnTo>
                    <a:pt x="2988" y="79"/>
                  </a:lnTo>
                  <a:lnTo>
                    <a:pt x="2980" y="71"/>
                  </a:lnTo>
                  <a:lnTo>
                    <a:pt x="2971" y="61"/>
                  </a:lnTo>
                  <a:lnTo>
                    <a:pt x="2962" y="54"/>
                  </a:lnTo>
                  <a:lnTo>
                    <a:pt x="2952" y="46"/>
                  </a:lnTo>
                  <a:lnTo>
                    <a:pt x="2942" y="40"/>
                  </a:lnTo>
                  <a:lnTo>
                    <a:pt x="2932" y="33"/>
                  </a:lnTo>
                  <a:lnTo>
                    <a:pt x="2921" y="28"/>
                  </a:lnTo>
                  <a:lnTo>
                    <a:pt x="2910" y="22"/>
                  </a:lnTo>
                  <a:lnTo>
                    <a:pt x="2899" y="18"/>
                  </a:lnTo>
                  <a:lnTo>
                    <a:pt x="2888" y="13"/>
                  </a:lnTo>
                  <a:lnTo>
                    <a:pt x="2877" y="10"/>
                  </a:lnTo>
                  <a:lnTo>
                    <a:pt x="2865" y="7"/>
                  </a:lnTo>
                  <a:lnTo>
                    <a:pt x="2853" y="4"/>
                  </a:lnTo>
                  <a:lnTo>
                    <a:pt x="2841" y="2"/>
                  </a:lnTo>
                  <a:lnTo>
                    <a:pt x="2829" y="1"/>
                  </a:lnTo>
                  <a:lnTo>
                    <a:pt x="2816" y="0"/>
                  </a:lnTo>
                  <a:lnTo>
                    <a:pt x="2804" y="0"/>
                  </a:lnTo>
                  <a:lnTo>
                    <a:pt x="2792" y="0"/>
                  </a:lnTo>
                  <a:lnTo>
                    <a:pt x="2780" y="1"/>
                  </a:lnTo>
                  <a:lnTo>
                    <a:pt x="2767" y="3"/>
                  </a:lnTo>
                  <a:lnTo>
                    <a:pt x="2755" y="5"/>
                  </a:lnTo>
                  <a:lnTo>
                    <a:pt x="2743" y="8"/>
                  </a:lnTo>
                  <a:lnTo>
                    <a:pt x="2731" y="11"/>
                  </a:lnTo>
                  <a:lnTo>
                    <a:pt x="2719" y="15"/>
                  </a:lnTo>
                  <a:lnTo>
                    <a:pt x="2707" y="20"/>
                  </a:lnTo>
                  <a:lnTo>
                    <a:pt x="2700" y="25"/>
                  </a:lnTo>
                  <a:lnTo>
                    <a:pt x="2694" y="29"/>
                  </a:lnTo>
                  <a:lnTo>
                    <a:pt x="2584" y="79"/>
                  </a:lnTo>
                  <a:lnTo>
                    <a:pt x="2475" y="130"/>
                  </a:lnTo>
                  <a:lnTo>
                    <a:pt x="2368" y="184"/>
                  </a:lnTo>
                  <a:lnTo>
                    <a:pt x="2262" y="241"/>
                  </a:lnTo>
                  <a:lnTo>
                    <a:pt x="2157" y="300"/>
                  </a:lnTo>
                  <a:lnTo>
                    <a:pt x="2054" y="361"/>
                  </a:lnTo>
                  <a:lnTo>
                    <a:pt x="1951" y="426"/>
                  </a:lnTo>
                  <a:lnTo>
                    <a:pt x="1851" y="492"/>
                  </a:lnTo>
                  <a:lnTo>
                    <a:pt x="1752" y="561"/>
                  </a:lnTo>
                  <a:lnTo>
                    <a:pt x="1655" y="633"/>
                  </a:lnTo>
                  <a:lnTo>
                    <a:pt x="1559" y="707"/>
                  </a:lnTo>
                  <a:lnTo>
                    <a:pt x="1465" y="783"/>
                  </a:lnTo>
                  <a:lnTo>
                    <a:pt x="1373" y="862"/>
                  </a:lnTo>
                  <a:lnTo>
                    <a:pt x="1282" y="943"/>
                  </a:lnTo>
                  <a:lnTo>
                    <a:pt x="1194" y="1026"/>
                  </a:lnTo>
                  <a:lnTo>
                    <a:pt x="1107" y="1112"/>
                  </a:lnTo>
                  <a:lnTo>
                    <a:pt x="1022" y="1199"/>
                  </a:lnTo>
                  <a:lnTo>
                    <a:pt x="939" y="1290"/>
                  </a:lnTo>
                  <a:lnTo>
                    <a:pt x="859" y="1382"/>
                  </a:lnTo>
                  <a:lnTo>
                    <a:pt x="779" y="1477"/>
                  </a:lnTo>
                  <a:lnTo>
                    <a:pt x="703" y="1573"/>
                  </a:lnTo>
                  <a:lnTo>
                    <a:pt x="629" y="1672"/>
                  </a:lnTo>
                  <a:lnTo>
                    <a:pt x="557" y="1773"/>
                  </a:lnTo>
                  <a:lnTo>
                    <a:pt x="487" y="1876"/>
                  </a:lnTo>
                  <a:lnTo>
                    <a:pt x="419" y="1981"/>
                  </a:lnTo>
                  <a:lnTo>
                    <a:pt x="355" y="2088"/>
                  </a:lnTo>
                  <a:lnTo>
                    <a:pt x="293" y="2197"/>
                  </a:lnTo>
                  <a:lnTo>
                    <a:pt x="232" y="2309"/>
                  </a:lnTo>
                  <a:lnTo>
                    <a:pt x="175" y="2422"/>
                  </a:lnTo>
                  <a:lnTo>
                    <a:pt x="120" y="2537"/>
                  </a:lnTo>
                  <a:lnTo>
                    <a:pt x="67" y="2655"/>
                  </a:lnTo>
                  <a:lnTo>
                    <a:pt x="18" y="2773"/>
                  </a:lnTo>
                  <a:lnTo>
                    <a:pt x="14" y="2786"/>
                  </a:lnTo>
                  <a:lnTo>
                    <a:pt x="10" y="2798"/>
                  </a:lnTo>
                  <a:lnTo>
                    <a:pt x="7" y="2811"/>
                  </a:lnTo>
                  <a:lnTo>
                    <a:pt x="4" y="2823"/>
                  </a:lnTo>
                  <a:lnTo>
                    <a:pt x="2" y="2835"/>
                  </a:lnTo>
                  <a:lnTo>
                    <a:pt x="1" y="2847"/>
                  </a:lnTo>
                  <a:lnTo>
                    <a:pt x="0" y="2860"/>
                  </a:lnTo>
                  <a:lnTo>
                    <a:pt x="0" y="2872"/>
                  </a:lnTo>
                  <a:lnTo>
                    <a:pt x="1" y="2884"/>
                  </a:lnTo>
                  <a:lnTo>
                    <a:pt x="2" y="2896"/>
                  </a:lnTo>
                  <a:lnTo>
                    <a:pt x="4" y="2908"/>
                  </a:lnTo>
                  <a:lnTo>
                    <a:pt x="6" y="2920"/>
                  </a:lnTo>
                  <a:lnTo>
                    <a:pt x="9" y="2931"/>
                  </a:lnTo>
                  <a:lnTo>
                    <a:pt x="12" y="2943"/>
                  </a:lnTo>
                  <a:lnTo>
                    <a:pt x="16" y="2955"/>
                  </a:lnTo>
                  <a:lnTo>
                    <a:pt x="21" y="2966"/>
                  </a:lnTo>
                  <a:lnTo>
                    <a:pt x="26" y="2977"/>
                  </a:lnTo>
                  <a:lnTo>
                    <a:pt x="31" y="2988"/>
                  </a:lnTo>
                  <a:lnTo>
                    <a:pt x="37" y="2998"/>
                  </a:lnTo>
                  <a:lnTo>
                    <a:pt x="44" y="3008"/>
                  </a:lnTo>
                  <a:lnTo>
                    <a:pt x="51" y="3018"/>
                  </a:lnTo>
                  <a:lnTo>
                    <a:pt x="58" y="3028"/>
                  </a:lnTo>
                  <a:lnTo>
                    <a:pt x="66" y="3037"/>
                  </a:lnTo>
                  <a:lnTo>
                    <a:pt x="75" y="3045"/>
                  </a:lnTo>
                  <a:lnTo>
                    <a:pt x="83" y="3054"/>
                  </a:lnTo>
                  <a:lnTo>
                    <a:pt x="93" y="3062"/>
                  </a:lnTo>
                  <a:lnTo>
                    <a:pt x="103" y="3069"/>
                  </a:lnTo>
                  <a:lnTo>
                    <a:pt x="114" y="3077"/>
                  </a:lnTo>
                  <a:lnTo>
                    <a:pt x="124" y="3083"/>
                  </a:lnTo>
                  <a:lnTo>
                    <a:pt x="135" y="3089"/>
                  </a:lnTo>
                  <a:lnTo>
                    <a:pt x="147" y="3095"/>
                  </a:lnTo>
                  <a:lnTo>
                    <a:pt x="159" y="3100"/>
                  </a:lnTo>
                  <a:lnTo>
                    <a:pt x="171" y="3105"/>
                  </a:lnTo>
                  <a:lnTo>
                    <a:pt x="183" y="3108"/>
                  </a:lnTo>
                  <a:lnTo>
                    <a:pt x="195" y="3112"/>
                  </a:lnTo>
                  <a:lnTo>
                    <a:pt x="207" y="3114"/>
                  </a:lnTo>
                  <a:lnTo>
                    <a:pt x="219" y="3116"/>
                  </a:lnTo>
                  <a:lnTo>
                    <a:pt x="232" y="3117"/>
                  </a:lnTo>
                  <a:lnTo>
                    <a:pt x="244" y="3119"/>
                  </a:lnTo>
                  <a:lnTo>
                    <a:pt x="256" y="3119"/>
                  </a:lnTo>
                  <a:lnTo>
                    <a:pt x="268" y="3119"/>
                  </a:lnTo>
                  <a:lnTo>
                    <a:pt x="280" y="3116"/>
                  </a:lnTo>
                  <a:lnTo>
                    <a:pt x="293" y="3115"/>
                  </a:lnTo>
                  <a:lnTo>
                    <a:pt x="305" y="3112"/>
                  </a:lnTo>
                  <a:lnTo>
                    <a:pt x="317" y="3110"/>
                  </a:lnTo>
                  <a:lnTo>
                    <a:pt x="328" y="3106"/>
                  </a:lnTo>
                  <a:lnTo>
                    <a:pt x="339" y="3102"/>
                  </a:lnTo>
                  <a:lnTo>
                    <a:pt x="351" y="3098"/>
                  </a:lnTo>
                  <a:lnTo>
                    <a:pt x="361" y="3093"/>
                  </a:lnTo>
                  <a:lnTo>
                    <a:pt x="372" y="3088"/>
                  </a:lnTo>
                  <a:lnTo>
                    <a:pt x="382" y="3082"/>
                  </a:lnTo>
                  <a:lnTo>
                    <a:pt x="393" y="3075"/>
                  </a:lnTo>
                  <a:lnTo>
                    <a:pt x="402" y="3068"/>
                  </a:lnTo>
                  <a:lnTo>
                    <a:pt x="412" y="3061"/>
                  </a:lnTo>
                  <a:lnTo>
                    <a:pt x="421" y="3053"/>
                  </a:lnTo>
                  <a:lnTo>
                    <a:pt x="430" y="3044"/>
                  </a:lnTo>
                  <a:lnTo>
                    <a:pt x="438" y="3035"/>
                  </a:lnTo>
                  <a:lnTo>
                    <a:pt x="446" y="3026"/>
                  </a:lnTo>
                  <a:lnTo>
                    <a:pt x="455" y="3016"/>
                  </a:lnTo>
                  <a:lnTo>
                    <a:pt x="462" y="3006"/>
                  </a:lnTo>
                  <a:lnTo>
                    <a:pt x="469" y="2996"/>
                  </a:lnTo>
                  <a:lnTo>
                    <a:pt x="475" y="2984"/>
                  </a:lnTo>
                  <a:lnTo>
                    <a:pt x="480" y="2973"/>
                  </a:lnTo>
                  <a:lnTo>
                    <a:pt x="486" y="2961"/>
                  </a:lnTo>
                  <a:lnTo>
                    <a:pt x="530" y="2853"/>
                  </a:lnTo>
                  <a:lnTo>
                    <a:pt x="577" y="2746"/>
                  </a:lnTo>
                  <a:lnTo>
                    <a:pt x="627" y="2643"/>
                  </a:lnTo>
                  <a:lnTo>
                    <a:pt x="679" y="2540"/>
                  </a:lnTo>
                  <a:lnTo>
                    <a:pt x="733" y="2439"/>
                  </a:lnTo>
                  <a:lnTo>
                    <a:pt x="790" y="2340"/>
                  </a:lnTo>
                  <a:lnTo>
                    <a:pt x="849" y="2243"/>
                  </a:lnTo>
                  <a:lnTo>
                    <a:pt x="909" y="2148"/>
                  </a:lnTo>
                  <a:lnTo>
                    <a:pt x="973" y="2055"/>
                  </a:lnTo>
                  <a:lnTo>
                    <a:pt x="1038" y="1964"/>
                  </a:lnTo>
                  <a:lnTo>
                    <a:pt x="1104" y="1874"/>
                  </a:lnTo>
                  <a:lnTo>
                    <a:pt x="1174" y="1787"/>
                  </a:lnTo>
                  <a:lnTo>
                    <a:pt x="1245" y="1701"/>
                  </a:lnTo>
                  <a:lnTo>
                    <a:pt x="1319" y="1618"/>
                  </a:lnTo>
                  <a:lnTo>
                    <a:pt x="1393" y="1536"/>
                  </a:lnTo>
                  <a:lnTo>
                    <a:pt x="1470" y="1458"/>
                  </a:lnTo>
                  <a:lnTo>
                    <a:pt x="1548" y="1380"/>
                  </a:lnTo>
                  <a:lnTo>
                    <a:pt x="1628" y="1305"/>
                  </a:lnTo>
                  <a:lnTo>
                    <a:pt x="1710" y="1231"/>
                  </a:lnTo>
                  <a:lnTo>
                    <a:pt x="1793" y="1161"/>
                  </a:lnTo>
                  <a:lnTo>
                    <a:pt x="1879" y="1092"/>
                  </a:lnTo>
                  <a:lnTo>
                    <a:pt x="1965" y="1025"/>
                  </a:lnTo>
                  <a:lnTo>
                    <a:pt x="2053" y="961"/>
                  </a:lnTo>
                  <a:lnTo>
                    <a:pt x="2142" y="898"/>
                  </a:lnTo>
                  <a:lnTo>
                    <a:pt x="2234" y="839"/>
                  </a:lnTo>
                  <a:lnTo>
                    <a:pt x="2326" y="781"/>
                  </a:lnTo>
                  <a:lnTo>
                    <a:pt x="2419" y="725"/>
                  </a:lnTo>
                  <a:lnTo>
                    <a:pt x="2515" y="672"/>
                  </a:lnTo>
                  <a:lnTo>
                    <a:pt x="2610" y="622"/>
                  </a:lnTo>
                  <a:lnTo>
                    <a:pt x="2708" y="572"/>
                  </a:lnTo>
                  <a:lnTo>
                    <a:pt x="2805" y="526"/>
                  </a:lnTo>
                  <a:lnTo>
                    <a:pt x="2905" y="483"/>
                  </a:lnTo>
                  <a:lnTo>
                    <a:pt x="2905" y="4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90" name="îṡľïḑê">
              <a:extLst>
                <a:ext uri="{FF2B5EF4-FFF2-40B4-BE49-F238E27FC236}">
                  <a16:creationId xmlns:a16="http://schemas.microsoft.com/office/drawing/2014/main" id="{74480474-E2D9-4862-8A90-E372DEC04A06}"/>
                </a:ext>
              </a:extLst>
            </p:cNvPr>
            <p:cNvSpPr/>
            <p:nvPr/>
          </p:nvSpPr>
          <p:spPr bwMode="auto">
            <a:xfrm>
              <a:off x="5936882" y="2186890"/>
              <a:ext cx="62274" cy="82779"/>
            </a:xfrm>
            <a:custGeom>
              <a:avLst/>
              <a:gdLst>
                <a:gd name="T0" fmla="*/ 503 w 3018"/>
                <a:gd name="T1" fmla="*/ 504 h 4030"/>
                <a:gd name="T2" fmla="*/ 2515 w 3018"/>
                <a:gd name="T3" fmla="*/ 3526 h 4030"/>
                <a:gd name="T4" fmla="*/ 1386 w 3018"/>
                <a:gd name="T5" fmla="*/ 175 h 4030"/>
                <a:gd name="T6" fmla="*/ 1320 w 3018"/>
                <a:gd name="T7" fmla="*/ 110 h 4030"/>
                <a:gd name="T8" fmla="*/ 1244 w 3018"/>
                <a:gd name="T9" fmla="*/ 60 h 4030"/>
                <a:gd name="T10" fmla="*/ 1159 w 3018"/>
                <a:gd name="T11" fmla="*/ 24 h 4030"/>
                <a:gd name="T12" fmla="*/ 1069 w 3018"/>
                <a:gd name="T13" fmla="*/ 3 h 4030"/>
                <a:gd name="T14" fmla="*/ 503 w 3018"/>
                <a:gd name="T15" fmla="*/ 0 h 4030"/>
                <a:gd name="T16" fmla="*/ 427 w 3018"/>
                <a:gd name="T17" fmla="*/ 6 h 4030"/>
                <a:gd name="T18" fmla="*/ 353 w 3018"/>
                <a:gd name="T19" fmla="*/ 23 h 4030"/>
                <a:gd name="T20" fmla="*/ 285 w 3018"/>
                <a:gd name="T21" fmla="*/ 50 h 4030"/>
                <a:gd name="T22" fmla="*/ 222 w 3018"/>
                <a:gd name="T23" fmla="*/ 86 h 4030"/>
                <a:gd name="T24" fmla="*/ 165 w 3018"/>
                <a:gd name="T25" fmla="*/ 130 h 4030"/>
                <a:gd name="T26" fmla="*/ 115 w 3018"/>
                <a:gd name="T27" fmla="*/ 183 h 4030"/>
                <a:gd name="T28" fmla="*/ 74 w 3018"/>
                <a:gd name="T29" fmla="*/ 242 h 4030"/>
                <a:gd name="T30" fmla="*/ 40 w 3018"/>
                <a:gd name="T31" fmla="*/ 308 h 4030"/>
                <a:gd name="T32" fmla="*/ 16 w 3018"/>
                <a:gd name="T33" fmla="*/ 377 h 4030"/>
                <a:gd name="T34" fmla="*/ 3 w 3018"/>
                <a:gd name="T35" fmla="*/ 452 h 4030"/>
                <a:gd name="T36" fmla="*/ 0 w 3018"/>
                <a:gd name="T37" fmla="*/ 3526 h 4030"/>
                <a:gd name="T38" fmla="*/ 6 w 3018"/>
                <a:gd name="T39" fmla="*/ 3604 h 4030"/>
                <a:gd name="T40" fmla="*/ 23 w 3018"/>
                <a:gd name="T41" fmla="*/ 3676 h 4030"/>
                <a:gd name="T42" fmla="*/ 50 w 3018"/>
                <a:gd name="T43" fmla="*/ 3745 h 4030"/>
                <a:gd name="T44" fmla="*/ 86 w 3018"/>
                <a:gd name="T45" fmla="*/ 3808 h 4030"/>
                <a:gd name="T46" fmla="*/ 131 w 3018"/>
                <a:gd name="T47" fmla="*/ 3866 h 4030"/>
                <a:gd name="T48" fmla="*/ 183 w 3018"/>
                <a:gd name="T49" fmla="*/ 3915 h 4030"/>
                <a:gd name="T50" fmla="*/ 243 w 3018"/>
                <a:gd name="T51" fmla="*/ 3957 h 4030"/>
                <a:gd name="T52" fmla="*/ 307 w 3018"/>
                <a:gd name="T53" fmla="*/ 3991 h 4030"/>
                <a:gd name="T54" fmla="*/ 378 w 3018"/>
                <a:gd name="T55" fmla="*/ 4015 h 4030"/>
                <a:gd name="T56" fmla="*/ 452 w 3018"/>
                <a:gd name="T57" fmla="*/ 4028 h 4030"/>
                <a:gd name="T58" fmla="*/ 2515 w 3018"/>
                <a:gd name="T59" fmla="*/ 4030 h 4030"/>
                <a:gd name="T60" fmla="*/ 2592 w 3018"/>
                <a:gd name="T61" fmla="*/ 4025 h 4030"/>
                <a:gd name="T62" fmla="*/ 2665 w 3018"/>
                <a:gd name="T63" fmla="*/ 4008 h 4030"/>
                <a:gd name="T64" fmla="*/ 2733 w 3018"/>
                <a:gd name="T65" fmla="*/ 3981 h 4030"/>
                <a:gd name="T66" fmla="*/ 2797 w 3018"/>
                <a:gd name="T67" fmla="*/ 3944 h 4030"/>
                <a:gd name="T68" fmla="*/ 2853 w 3018"/>
                <a:gd name="T69" fmla="*/ 3899 h 4030"/>
                <a:gd name="T70" fmla="*/ 2903 w 3018"/>
                <a:gd name="T71" fmla="*/ 3848 h 4030"/>
                <a:gd name="T72" fmla="*/ 2946 w 3018"/>
                <a:gd name="T73" fmla="*/ 3788 h 4030"/>
                <a:gd name="T74" fmla="*/ 2979 w 3018"/>
                <a:gd name="T75" fmla="*/ 3723 h 4030"/>
                <a:gd name="T76" fmla="*/ 3002 w 3018"/>
                <a:gd name="T77" fmla="*/ 3652 h 4030"/>
                <a:gd name="T78" fmla="*/ 3015 w 3018"/>
                <a:gd name="T79" fmla="*/ 3578 h 4030"/>
                <a:gd name="T80" fmla="*/ 3018 w 3018"/>
                <a:gd name="T81" fmla="*/ 2770 h 4030"/>
                <a:gd name="T82" fmla="*/ 3015 w 3018"/>
                <a:gd name="T83" fmla="*/ 2715 h 4030"/>
                <a:gd name="T84" fmla="*/ 3006 w 3018"/>
                <a:gd name="T85" fmla="*/ 2661 h 4030"/>
                <a:gd name="T86" fmla="*/ 2991 w 3018"/>
                <a:gd name="T87" fmla="*/ 2607 h 4030"/>
                <a:gd name="T88" fmla="*/ 2970 w 3018"/>
                <a:gd name="T89" fmla="*/ 2556 h 4030"/>
                <a:gd name="T90" fmla="*/ 2944 w 3018"/>
                <a:gd name="T91" fmla="*/ 2506 h 40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18" h="4030">
                  <a:moveTo>
                    <a:pt x="2515" y="3526"/>
                  </a:moveTo>
                  <a:lnTo>
                    <a:pt x="503" y="3526"/>
                  </a:lnTo>
                  <a:lnTo>
                    <a:pt x="503" y="504"/>
                  </a:lnTo>
                  <a:lnTo>
                    <a:pt x="1006" y="504"/>
                  </a:lnTo>
                  <a:lnTo>
                    <a:pt x="2515" y="2770"/>
                  </a:lnTo>
                  <a:lnTo>
                    <a:pt x="2515" y="3526"/>
                  </a:lnTo>
                  <a:close/>
                  <a:moveTo>
                    <a:pt x="1425" y="224"/>
                  </a:moveTo>
                  <a:lnTo>
                    <a:pt x="1407" y="199"/>
                  </a:lnTo>
                  <a:lnTo>
                    <a:pt x="1386" y="175"/>
                  </a:lnTo>
                  <a:lnTo>
                    <a:pt x="1365" y="152"/>
                  </a:lnTo>
                  <a:lnTo>
                    <a:pt x="1343" y="130"/>
                  </a:lnTo>
                  <a:lnTo>
                    <a:pt x="1320" y="110"/>
                  </a:lnTo>
                  <a:lnTo>
                    <a:pt x="1296" y="92"/>
                  </a:lnTo>
                  <a:lnTo>
                    <a:pt x="1270" y="75"/>
                  </a:lnTo>
                  <a:lnTo>
                    <a:pt x="1244" y="60"/>
                  </a:lnTo>
                  <a:lnTo>
                    <a:pt x="1216" y="46"/>
                  </a:lnTo>
                  <a:lnTo>
                    <a:pt x="1188" y="34"/>
                  </a:lnTo>
                  <a:lnTo>
                    <a:pt x="1159" y="24"/>
                  </a:lnTo>
                  <a:lnTo>
                    <a:pt x="1130" y="16"/>
                  </a:lnTo>
                  <a:lnTo>
                    <a:pt x="1100" y="9"/>
                  </a:lnTo>
                  <a:lnTo>
                    <a:pt x="1069" y="3"/>
                  </a:lnTo>
                  <a:lnTo>
                    <a:pt x="1037" y="1"/>
                  </a:lnTo>
                  <a:lnTo>
                    <a:pt x="1006" y="0"/>
                  </a:lnTo>
                  <a:lnTo>
                    <a:pt x="503" y="0"/>
                  </a:lnTo>
                  <a:lnTo>
                    <a:pt x="477" y="0"/>
                  </a:lnTo>
                  <a:lnTo>
                    <a:pt x="452" y="2"/>
                  </a:lnTo>
                  <a:lnTo>
                    <a:pt x="427" y="6"/>
                  </a:lnTo>
                  <a:lnTo>
                    <a:pt x="402" y="11"/>
                  </a:lnTo>
                  <a:lnTo>
                    <a:pt x="378" y="16"/>
                  </a:lnTo>
                  <a:lnTo>
                    <a:pt x="353" y="23"/>
                  </a:lnTo>
                  <a:lnTo>
                    <a:pt x="330" y="31"/>
                  </a:lnTo>
                  <a:lnTo>
                    <a:pt x="307" y="40"/>
                  </a:lnTo>
                  <a:lnTo>
                    <a:pt x="285" y="50"/>
                  </a:lnTo>
                  <a:lnTo>
                    <a:pt x="264" y="61"/>
                  </a:lnTo>
                  <a:lnTo>
                    <a:pt x="243" y="73"/>
                  </a:lnTo>
                  <a:lnTo>
                    <a:pt x="222" y="86"/>
                  </a:lnTo>
                  <a:lnTo>
                    <a:pt x="203" y="100"/>
                  </a:lnTo>
                  <a:lnTo>
                    <a:pt x="183" y="115"/>
                  </a:lnTo>
                  <a:lnTo>
                    <a:pt x="165" y="130"/>
                  </a:lnTo>
                  <a:lnTo>
                    <a:pt x="148" y="148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100" y="202"/>
                  </a:lnTo>
                  <a:lnTo>
                    <a:pt x="86" y="222"/>
                  </a:lnTo>
                  <a:lnTo>
                    <a:pt x="74" y="242"/>
                  </a:lnTo>
                  <a:lnTo>
                    <a:pt x="61" y="263"/>
                  </a:lnTo>
                  <a:lnTo>
                    <a:pt x="50" y="286"/>
                  </a:lnTo>
                  <a:lnTo>
                    <a:pt x="40" y="308"/>
                  </a:lnTo>
                  <a:lnTo>
                    <a:pt x="31" y="331"/>
                  </a:lnTo>
                  <a:lnTo>
                    <a:pt x="23" y="354"/>
                  </a:lnTo>
                  <a:lnTo>
                    <a:pt x="16" y="377"/>
                  </a:lnTo>
                  <a:lnTo>
                    <a:pt x="10" y="403"/>
                  </a:lnTo>
                  <a:lnTo>
                    <a:pt x="6" y="427"/>
                  </a:lnTo>
                  <a:lnTo>
                    <a:pt x="3" y="452"/>
                  </a:lnTo>
                  <a:lnTo>
                    <a:pt x="1" y="478"/>
                  </a:lnTo>
                  <a:lnTo>
                    <a:pt x="0" y="504"/>
                  </a:lnTo>
                  <a:lnTo>
                    <a:pt x="0" y="3526"/>
                  </a:lnTo>
                  <a:lnTo>
                    <a:pt x="1" y="3552"/>
                  </a:lnTo>
                  <a:lnTo>
                    <a:pt x="3" y="3578"/>
                  </a:lnTo>
                  <a:lnTo>
                    <a:pt x="6" y="3604"/>
                  </a:lnTo>
                  <a:lnTo>
                    <a:pt x="10" y="3628"/>
                  </a:lnTo>
                  <a:lnTo>
                    <a:pt x="16" y="3652"/>
                  </a:lnTo>
                  <a:lnTo>
                    <a:pt x="23" y="3676"/>
                  </a:lnTo>
                  <a:lnTo>
                    <a:pt x="31" y="3699"/>
                  </a:lnTo>
                  <a:lnTo>
                    <a:pt x="40" y="3723"/>
                  </a:lnTo>
                  <a:lnTo>
                    <a:pt x="50" y="3745"/>
                  </a:lnTo>
                  <a:lnTo>
                    <a:pt x="61" y="3767"/>
                  </a:lnTo>
                  <a:lnTo>
                    <a:pt x="74" y="3788"/>
                  </a:lnTo>
                  <a:lnTo>
                    <a:pt x="86" y="3808"/>
                  </a:lnTo>
                  <a:lnTo>
                    <a:pt x="100" y="3828"/>
                  </a:lnTo>
                  <a:lnTo>
                    <a:pt x="115" y="3848"/>
                  </a:lnTo>
                  <a:lnTo>
                    <a:pt x="131" y="3866"/>
                  </a:lnTo>
                  <a:lnTo>
                    <a:pt x="148" y="3883"/>
                  </a:lnTo>
                  <a:lnTo>
                    <a:pt x="165" y="3899"/>
                  </a:lnTo>
                  <a:lnTo>
                    <a:pt x="183" y="3915"/>
                  </a:lnTo>
                  <a:lnTo>
                    <a:pt x="203" y="3930"/>
                  </a:lnTo>
                  <a:lnTo>
                    <a:pt x="222" y="3944"/>
                  </a:lnTo>
                  <a:lnTo>
                    <a:pt x="243" y="3957"/>
                  </a:lnTo>
                  <a:lnTo>
                    <a:pt x="264" y="3969"/>
                  </a:lnTo>
                  <a:lnTo>
                    <a:pt x="285" y="3981"/>
                  </a:lnTo>
                  <a:lnTo>
                    <a:pt x="307" y="3991"/>
                  </a:lnTo>
                  <a:lnTo>
                    <a:pt x="330" y="4000"/>
                  </a:lnTo>
                  <a:lnTo>
                    <a:pt x="353" y="4008"/>
                  </a:lnTo>
                  <a:lnTo>
                    <a:pt x="378" y="4015"/>
                  </a:lnTo>
                  <a:lnTo>
                    <a:pt x="402" y="4020"/>
                  </a:lnTo>
                  <a:lnTo>
                    <a:pt x="427" y="4025"/>
                  </a:lnTo>
                  <a:lnTo>
                    <a:pt x="452" y="4028"/>
                  </a:lnTo>
                  <a:lnTo>
                    <a:pt x="477" y="4030"/>
                  </a:lnTo>
                  <a:lnTo>
                    <a:pt x="503" y="4030"/>
                  </a:lnTo>
                  <a:lnTo>
                    <a:pt x="2515" y="4030"/>
                  </a:lnTo>
                  <a:lnTo>
                    <a:pt x="2541" y="4030"/>
                  </a:lnTo>
                  <a:lnTo>
                    <a:pt x="2566" y="4028"/>
                  </a:lnTo>
                  <a:lnTo>
                    <a:pt x="2592" y="4025"/>
                  </a:lnTo>
                  <a:lnTo>
                    <a:pt x="2617" y="4020"/>
                  </a:lnTo>
                  <a:lnTo>
                    <a:pt x="2641" y="4015"/>
                  </a:lnTo>
                  <a:lnTo>
                    <a:pt x="2665" y="4008"/>
                  </a:lnTo>
                  <a:lnTo>
                    <a:pt x="2688" y="4000"/>
                  </a:lnTo>
                  <a:lnTo>
                    <a:pt x="2711" y="3991"/>
                  </a:lnTo>
                  <a:lnTo>
                    <a:pt x="2733" y="3981"/>
                  </a:lnTo>
                  <a:lnTo>
                    <a:pt x="2756" y="3969"/>
                  </a:lnTo>
                  <a:lnTo>
                    <a:pt x="2777" y="3957"/>
                  </a:lnTo>
                  <a:lnTo>
                    <a:pt x="2797" y="3944"/>
                  </a:lnTo>
                  <a:lnTo>
                    <a:pt x="2816" y="3930"/>
                  </a:lnTo>
                  <a:lnTo>
                    <a:pt x="2835" y="3915"/>
                  </a:lnTo>
                  <a:lnTo>
                    <a:pt x="2853" y="3899"/>
                  </a:lnTo>
                  <a:lnTo>
                    <a:pt x="2871" y="3883"/>
                  </a:lnTo>
                  <a:lnTo>
                    <a:pt x="2887" y="3866"/>
                  </a:lnTo>
                  <a:lnTo>
                    <a:pt x="2903" y="3848"/>
                  </a:lnTo>
                  <a:lnTo>
                    <a:pt x="2919" y="3828"/>
                  </a:lnTo>
                  <a:lnTo>
                    <a:pt x="2933" y="3808"/>
                  </a:lnTo>
                  <a:lnTo>
                    <a:pt x="2946" y="3788"/>
                  </a:lnTo>
                  <a:lnTo>
                    <a:pt x="2958" y="3767"/>
                  </a:lnTo>
                  <a:lnTo>
                    <a:pt x="2969" y="3745"/>
                  </a:lnTo>
                  <a:lnTo>
                    <a:pt x="2979" y="3723"/>
                  </a:lnTo>
                  <a:lnTo>
                    <a:pt x="2988" y="3699"/>
                  </a:lnTo>
                  <a:lnTo>
                    <a:pt x="2996" y="3676"/>
                  </a:lnTo>
                  <a:lnTo>
                    <a:pt x="3002" y="3652"/>
                  </a:lnTo>
                  <a:lnTo>
                    <a:pt x="3008" y="3628"/>
                  </a:lnTo>
                  <a:lnTo>
                    <a:pt x="3012" y="3604"/>
                  </a:lnTo>
                  <a:lnTo>
                    <a:pt x="3015" y="3578"/>
                  </a:lnTo>
                  <a:lnTo>
                    <a:pt x="3017" y="3552"/>
                  </a:lnTo>
                  <a:lnTo>
                    <a:pt x="3018" y="3526"/>
                  </a:lnTo>
                  <a:lnTo>
                    <a:pt x="3018" y="2770"/>
                  </a:lnTo>
                  <a:lnTo>
                    <a:pt x="3018" y="2752"/>
                  </a:lnTo>
                  <a:lnTo>
                    <a:pt x="3017" y="2734"/>
                  </a:lnTo>
                  <a:lnTo>
                    <a:pt x="3015" y="2715"/>
                  </a:lnTo>
                  <a:lnTo>
                    <a:pt x="3013" y="2697"/>
                  </a:lnTo>
                  <a:lnTo>
                    <a:pt x="3010" y="2679"/>
                  </a:lnTo>
                  <a:lnTo>
                    <a:pt x="3006" y="2661"/>
                  </a:lnTo>
                  <a:lnTo>
                    <a:pt x="3002" y="2642"/>
                  </a:lnTo>
                  <a:lnTo>
                    <a:pt x="2997" y="2625"/>
                  </a:lnTo>
                  <a:lnTo>
                    <a:pt x="2991" y="2607"/>
                  </a:lnTo>
                  <a:lnTo>
                    <a:pt x="2985" y="2590"/>
                  </a:lnTo>
                  <a:lnTo>
                    <a:pt x="2978" y="2573"/>
                  </a:lnTo>
                  <a:lnTo>
                    <a:pt x="2970" y="2556"/>
                  </a:lnTo>
                  <a:lnTo>
                    <a:pt x="2962" y="2540"/>
                  </a:lnTo>
                  <a:lnTo>
                    <a:pt x="2953" y="2523"/>
                  </a:lnTo>
                  <a:lnTo>
                    <a:pt x="2944" y="2506"/>
                  </a:lnTo>
                  <a:lnTo>
                    <a:pt x="2934" y="2491"/>
                  </a:lnTo>
                  <a:lnTo>
                    <a:pt x="1425" y="2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91" name="îṩļide">
              <a:extLst>
                <a:ext uri="{FF2B5EF4-FFF2-40B4-BE49-F238E27FC236}">
                  <a16:creationId xmlns:a16="http://schemas.microsoft.com/office/drawing/2014/main" id="{D312913F-FEA3-4524-B311-7B589F0F77E0}"/>
                </a:ext>
              </a:extLst>
            </p:cNvPr>
            <p:cNvSpPr/>
            <p:nvPr/>
          </p:nvSpPr>
          <p:spPr bwMode="auto">
            <a:xfrm>
              <a:off x="5709810" y="2104111"/>
              <a:ext cx="330356" cy="268841"/>
            </a:xfrm>
            <a:custGeom>
              <a:avLst/>
              <a:gdLst>
                <a:gd name="T0" fmla="*/ 14958 w 16095"/>
                <a:gd name="T1" fmla="*/ 10414 h 13098"/>
                <a:gd name="T2" fmla="*/ 14612 w 16095"/>
                <a:gd name="T3" fmla="*/ 10578 h 13098"/>
                <a:gd name="T4" fmla="*/ 13430 w 16095"/>
                <a:gd name="T5" fmla="*/ 9605 h 13098"/>
                <a:gd name="T6" fmla="*/ 12244 w 16095"/>
                <a:gd name="T7" fmla="*/ 9076 h 13098"/>
                <a:gd name="T8" fmla="*/ 10967 w 16095"/>
                <a:gd name="T9" fmla="*/ 9402 h 13098"/>
                <a:gd name="T10" fmla="*/ 10179 w 16095"/>
                <a:gd name="T11" fmla="*/ 10419 h 13098"/>
                <a:gd name="T12" fmla="*/ 6951 w 16095"/>
                <a:gd name="T13" fmla="*/ 9661 h 13098"/>
                <a:gd name="T14" fmla="*/ 5791 w 16095"/>
                <a:gd name="T15" fmla="*/ 9085 h 13098"/>
                <a:gd name="T16" fmla="*/ 4497 w 16095"/>
                <a:gd name="T17" fmla="*/ 9359 h 13098"/>
                <a:gd name="T18" fmla="*/ 3670 w 16095"/>
                <a:gd name="T19" fmla="*/ 10341 h 13098"/>
                <a:gd name="T20" fmla="*/ 2737 w 16095"/>
                <a:gd name="T21" fmla="*/ 10493 h 13098"/>
                <a:gd name="T22" fmla="*/ 2526 w 16095"/>
                <a:gd name="T23" fmla="*/ 10177 h 13098"/>
                <a:gd name="T24" fmla="*/ 9773 w 16095"/>
                <a:gd name="T25" fmla="*/ 8381 h 13098"/>
                <a:gd name="T26" fmla="*/ 10495 w 16095"/>
                <a:gd name="T27" fmla="*/ 7502 h 13098"/>
                <a:gd name="T28" fmla="*/ 12812 w 16095"/>
                <a:gd name="T29" fmla="*/ 3586 h 13098"/>
                <a:gd name="T30" fmla="*/ 15062 w 16095"/>
                <a:gd name="T31" fmla="*/ 6889 h 13098"/>
                <a:gd name="T32" fmla="*/ 11820 w 16095"/>
                <a:gd name="T33" fmla="*/ 12058 h 13098"/>
                <a:gd name="T34" fmla="*/ 11211 w 16095"/>
                <a:gd name="T35" fmla="*/ 11606 h 13098"/>
                <a:gd name="T36" fmla="*/ 11098 w 16095"/>
                <a:gd name="T37" fmla="*/ 10831 h 13098"/>
                <a:gd name="T38" fmla="*/ 11550 w 16095"/>
                <a:gd name="T39" fmla="*/ 10221 h 13098"/>
                <a:gd name="T40" fmla="*/ 12323 w 16095"/>
                <a:gd name="T41" fmla="*/ 10107 h 13098"/>
                <a:gd name="T42" fmla="*/ 12931 w 16095"/>
                <a:gd name="T43" fmla="*/ 10561 h 13098"/>
                <a:gd name="T44" fmla="*/ 13046 w 16095"/>
                <a:gd name="T45" fmla="*/ 11335 h 13098"/>
                <a:gd name="T46" fmla="*/ 12593 w 16095"/>
                <a:gd name="T47" fmla="*/ 11944 h 13098"/>
                <a:gd name="T48" fmla="*/ 5330 w 16095"/>
                <a:gd name="T49" fmla="*/ 12070 h 13098"/>
                <a:gd name="T50" fmla="*/ 4699 w 16095"/>
                <a:gd name="T51" fmla="*/ 11646 h 13098"/>
                <a:gd name="T52" fmla="*/ 4548 w 16095"/>
                <a:gd name="T53" fmla="*/ 10880 h 13098"/>
                <a:gd name="T54" fmla="*/ 4970 w 16095"/>
                <a:gd name="T55" fmla="*/ 10247 h 13098"/>
                <a:gd name="T56" fmla="*/ 5736 w 16095"/>
                <a:gd name="T57" fmla="*/ 10096 h 13098"/>
                <a:gd name="T58" fmla="*/ 6368 w 16095"/>
                <a:gd name="T59" fmla="*/ 10520 h 13098"/>
                <a:gd name="T60" fmla="*/ 6518 w 16095"/>
                <a:gd name="T61" fmla="*/ 11286 h 13098"/>
                <a:gd name="T62" fmla="*/ 6095 w 16095"/>
                <a:gd name="T63" fmla="*/ 11918 h 13098"/>
                <a:gd name="T64" fmla="*/ 1432 w 16095"/>
                <a:gd name="T65" fmla="*/ 7551 h 13098"/>
                <a:gd name="T66" fmla="*/ 1106 w 16095"/>
                <a:gd name="T67" fmla="*/ 7355 h 13098"/>
                <a:gd name="T68" fmla="*/ 1009 w 16095"/>
                <a:gd name="T69" fmla="*/ 1460 h 13098"/>
                <a:gd name="T70" fmla="*/ 1189 w 16095"/>
                <a:gd name="T71" fmla="*/ 1122 h 13098"/>
                <a:gd name="T72" fmla="*/ 9080 w 16095"/>
                <a:gd name="T73" fmla="*/ 1008 h 13098"/>
                <a:gd name="T74" fmla="*/ 9426 w 16095"/>
                <a:gd name="T75" fmla="*/ 1172 h 13098"/>
                <a:gd name="T76" fmla="*/ 9556 w 16095"/>
                <a:gd name="T77" fmla="*/ 2519 h 13098"/>
                <a:gd name="T78" fmla="*/ 9442 w 16095"/>
                <a:gd name="T79" fmla="*/ 7374 h 13098"/>
                <a:gd name="T80" fmla="*/ 9105 w 16095"/>
                <a:gd name="T81" fmla="*/ 7554 h 13098"/>
                <a:gd name="T82" fmla="*/ 13480 w 16095"/>
                <a:gd name="T83" fmla="*/ 2820 h 13098"/>
                <a:gd name="T84" fmla="*/ 12808 w 16095"/>
                <a:gd name="T85" fmla="*/ 2537 h 13098"/>
                <a:gd name="T86" fmla="*/ 10413 w 16095"/>
                <a:gd name="T87" fmla="*/ 856 h 13098"/>
                <a:gd name="T88" fmla="*/ 9571 w 16095"/>
                <a:gd name="T89" fmla="*/ 92 h 13098"/>
                <a:gd name="T90" fmla="*/ 922 w 16095"/>
                <a:gd name="T91" fmla="*/ 119 h 13098"/>
                <a:gd name="T92" fmla="*/ 119 w 16095"/>
                <a:gd name="T93" fmla="*/ 924 h 13098"/>
                <a:gd name="T94" fmla="*/ 92 w 16095"/>
                <a:gd name="T95" fmla="*/ 7572 h 13098"/>
                <a:gd name="T96" fmla="*/ 855 w 16095"/>
                <a:gd name="T97" fmla="*/ 8415 h 13098"/>
                <a:gd name="T98" fmla="*/ 1557 w 16095"/>
                <a:gd name="T99" fmla="*/ 10453 h 13098"/>
                <a:gd name="T100" fmla="*/ 2236 w 16095"/>
                <a:gd name="T101" fmla="*/ 11368 h 13098"/>
                <a:gd name="T102" fmla="*/ 3702 w 16095"/>
                <a:gd name="T103" fmla="*/ 11901 h 13098"/>
                <a:gd name="T104" fmla="*/ 4567 w 16095"/>
                <a:gd name="T105" fmla="*/ 12848 h 13098"/>
                <a:gd name="T106" fmla="*/ 5876 w 16095"/>
                <a:gd name="T107" fmla="*/ 13069 h 13098"/>
                <a:gd name="T108" fmla="*/ 7006 w 16095"/>
                <a:gd name="T109" fmla="*/ 12446 h 13098"/>
                <a:gd name="T110" fmla="*/ 10208 w 16095"/>
                <a:gd name="T111" fmla="*/ 11824 h 13098"/>
                <a:gd name="T112" fmla="*/ 11035 w 16095"/>
                <a:gd name="T113" fmla="*/ 12807 h 13098"/>
                <a:gd name="T114" fmla="*/ 12330 w 16095"/>
                <a:gd name="T115" fmla="*/ 13081 h 13098"/>
                <a:gd name="T116" fmla="*/ 13489 w 16095"/>
                <a:gd name="T117" fmla="*/ 12505 h 13098"/>
                <a:gd name="T118" fmla="*/ 14740 w 16095"/>
                <a:gd name="T119" fmla="*/ 11579 h 13098"/>
                <a:gd name="T120" fmla="*/ 15750 w 16095"/>
                <a:gd name="T121" fmla="*/ 11036 h 13098"/>
                <a:gd name="T122" fmla="*/ 16095 w 16095"/>
                <a:gd name="T123" fmla="*/ 7025 h 13098"/>
                <a:gd name="T124" fmla="*/ 16023 w 16095"/>
                <a:gd name="T125" fmla="*/ 6588 h 130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95" h="13098">
                  <a:moveTo>
                    <a:pt x="15089" y="10075"/>
                  </a:moveTo>
                  <a:lnTo>
                    <a:pt x="15088" y="10101"/>
                  </a:lnTo>
                  <a:lnTo>
                    <a:pt x="15087" y="10127"/>
                  </a:lnTo>
                  <a:lnTo>
                    <a:pt x="15083" y="10152"/>
                  </a:lnTo>
                  <a:lnTo>
                    <a:pt x="15079" y="10177"/>
                  </a:lnTo>
                  <a:lnTo>
                    <a:pt x="15073" y="10201"/>
                  </a:lnTo>
                  <a:lnTo>
                    <a:pt x="15067" y="10225"/>
                  </a:lnTo>
                  <a:lnTo>
                    <a:pt x="15059" y="10248"/>
                  </a:lnTo>
                  <a:lnTo>
                    <a:pt x="15050" y="10272"/>
                  </a:lnTo>
                  <a:lnTo>
                    <a:pt x="15040" y="10294"/>
                  </a:lnTo>
                  <a:lnTo>
                    <a:pt x="15029" y="10316"/>
                  </a:lnTo>
                  <a:lnTo>
                    <a:pt x="15017" y="10337"/>
                  </a:lnTo>
                  <a:lnTo>
                    <a:pt x="15004" y="10357"/>
                  </a:lnTo>
                  <a:lnTo>
                    <a:pt x="14989" y="10376"/>
                  </a:lnTo>
                  <a:lnTo>
                    <a:pt x="14974" y="10396"/>
                  </a:lnTo>
                  <a:lnTo>
                    <a:pt x="14958" y="10414"/>
                  </a:lnTo>
                  <a:lnTo>
                    <a:pt x="14942" y="10432"/>
                  </a:lnTo>
                  <a:lnTo>
                    <a:pt x="14924" y="10448"/>
                  </a:lnTo>
                  <a:lnTo>
                    <a:pt x="14906" y="10464"/>
                  </a:lnTo>
                  <a:lnTo>
                    <a:pt x="14887" y="10479"/>
                  </a:lnTo>
                  <a:lnTo>
                    <a:pt x="14868" y="10493"/>
                  </a:lnTo>
                  <a:lnTo>
                    <a:pt x="14848" y="10506"/>
                  </a:lnTo>
                  <a:lnTo>
                    <a:pt x="14827" y="10519"/>
                  </a:lnTo>
                  <a:lnTo>
                    <a:pt x="14804" y="10530"/>
                  </a:lnTo>
                  <a:lnTo>
                    <a:pt x="14782" y="10540"/>
                  </a:lnTo>
                  <a:lnTo>
                    <a:pt x="14759" y="10549"/>
                  </a:lnTo>
                  <a:lnTo>
                    <a:pt x="14736" y="10557"/>
                  </a:lnTo>
                  <a:lnTo>
                    <a:pt x="14712" y="10563"/>
                  </a:lnTo>
                  <a:lnTo>
                    <a:pt x="14688" y="10569"/>
                  </a:lnTo>
                  <a:lnTo>
                    <a:pt x="14663" y="10573"/>
                  </a:lnTo>
                  <a:lnTo>
                    <a:pt x="14637" y="10577"/>
                  </a:lnTo>
                  <a:lnTo>
                    <a:pt x="14612" y="10578"/>
                  </a:lnTo>
                  <a:lnTo>
                    <a:pt x="14586" y="10579"/>
                  </a:lnTo>
                  <a:lnTo>
                    <a:pt x="14012" y="10579"/>
                  </a:lnTo>
                  <a:lnTo>
                    <a:pt x="13989" y="10498"/>
                  </a:lnTo>
                  <a:lnTo>
                    <a:pt x="13962" y="10419"/>
                  </a:lnTo>
                  <a:lnTo>
                    <a:pt x="13934" y="10341"/>
                  </a:lnTo>
                  <a:lnTo>
                    <a:pt x="13902" y="10266"/>
                  </a:lnTo>
                  <a:lnTo>
                    <a:pt x="13867" y="10191"/>
                  </a:lnTo>
                  <a:lnTo>
                    <a:pt x="13829" y="10117"/>
                  </a:lnTo>
                  <a:lnTo>
                    <a:pt x="13788" y="10047"/>
                  </a:lnTo>
                  <a:lnTo>
                    <a:pt x="13745" y="9977"/>
                  </a:lnTo>
                  <a:lnTo>
                    <a:pt x="13699" y="9910"/>
                  </a:lnTo>
                  <a:lnTo>
                    <a:pt x="13650" y="9844"/>
                  </a:lnTo>
                  <a:lnTo>
                    <a:pt x="13598" y="9781"/>
                  </a:lnTo>
                  <a:lnTo>
                    <a:pt x="13545" y="9719"/>
                  </a:lnTo>
                  <a:lnTo>
                    <a:pt x="13489" y="9661"/>
                  </a:lnTo>
                  <a:lnTo>
                    <a:pt x="13430" y="9605"/>
                  </a:lnTo>
                  <a:lnTo>
                    <a:pt x="13370" y="9550"/>
                  </a:lnTo>
                  <a:lnTo>
                    <a:pt x="13308" y="9499"/>
                  </a:lnTo>
                  <a:lnTo>
                    <a:pt x="13242" y="9449"/>
                  </a:lnTo>
                  <a:lnTo>
                    <a:pt x="13176" y="9402"/>
                  </a:lnTo>
                  <a:lnTo>
                    <a:pt x="13107" y="9359"/>
                  </a:lnTo>
                  <a:lnTo>
                    <a:pt x="13036" y="9317"/>
                  </a:lnTo>
                  <a:lnTo>
                    <a:pt x="12964" y="9279"/>
                  </a:lnTo>
                  <a:lnTo>
                    <a:pt x="12890" y="9244"/>
                  </a:lnTo>
                  <a:lnTo>
                    <a:pt x="12815" y="9212"/>
                  </a:lnTo>
                  <a:lnTo>
                    <a:pt x="12737" y="9182"/>
                  </a:lnTo>
                  <a:lnTo>
                    <a:pt x="12658" y="9156"/>
                  </a:lnTo>
                  <a:lnTo>
                    <a:pt x="12578" y="9133"/>
                  </a:lnTo>
                  <a:lnTo>
                    <a:pt x="12497" y="9113"/>
                  </a:lnTo>
                  <a:lnTo>
                    <a:pt x="12413" y="9097"/>
                  </a:lnTo>
                  <a:lnTo>
                    <a:pt x="12330" y="9085"/>
                  </a:lnTo>
                  <a:lnTo>
                    <a:pt x="12244" y="9076"/>
                  </a:lnTo>
                  <a:lnTo>
                    <a:pt x="12159" y="9070"/>
                  </a:lnTo>
                  <a:lnTo>
                    <a:pt x="12071" y="9068"/>
                  </a:lnTo>
                  <a:lnTo>
                    <a:pt x="11984" y="9070"/>
                  </a:lnTo>
                  <a:lnTo>
                    <a:pt x="11898" y="9076"/>
                  </a:lnTo>
                  <a:lnTo>
                    <a:pt x="11813" y="9085"/>
                  </a:lnTo>
                  <a:lnTo>
                    <a:pt x="11729" y="9097"/>
                  </a:lnTo>
                  <a:lnTo>
                    <a:pt x="11646" y="9113"/>
                  </a:lnTo>
                  <a:lnTo>
                    <a:pt x="11564" y="9133"/>
                  </a:lnTo>
                  <a:lnTo>
                    <a:pt x="11484" y="9156"/>
                  </a:lnTo>
                  <a:lnTo>
                    <a:pt x="11405" y="9182"/>
                  </a:lnTo>
                  <a:lnTo>
                    <a:pt x="11328" y="9212"/>
                  </a:lnTo>
                  <a:lnTo>
                    <a:pt x="11252" y="9244"/>
                  </a:lnTo>
                  <a:lnTo>
                    <a:pt x="11178" y="9279"/>
                  </a:lnTo>
                  <a:lnTo>
                    <a:pt x="11106" y="9317"/>
                  </a:lnTo>
                  <a:lnTo>
                    <a:pt x="11035" y="9359"/>
                  </a:lnTo>
                  <a:lnTo>
                    <a:pt x="10967" y="9402"/>
                  </a:lnTo>
                  <a:lnTo>
                    <a:pt x="10899" y="9449"/>
                  </a:lnTo>
                  <a:lnTo>
                    <a:pt x="10835" y="9499"/>
                  </a:lnTo>
                  <a:lnTo>
                    <a:pt x="10772" y="9550"/>
                  </a:lnTo>
                  <a:lnTo>
                    <a:pt x="10711" y="9605"/>
                  </a:lnTo>
                  <a:lnTo>
                    <a:pt x="10653" y="9661"/>
                  </a:lnTo>
                  <a:lnTo>
                    <a:pt x="10597" y="9719"/>
                  </a:lnTo>
                  <a:lnTo>
                    <a:pt x="10543" y="9781"/>
                  </a:lnTo>
                  <a:lnTo>
                    <a:pt x="10492" y="9844"/>
                  </a:lnTo>
                  <a:lnTo>
                    <a:pt x="10444" y="9910"/>
                  </a:lnTo>
                  <a:lnTo>
                    <a:pt x="10397" y="9977"/>
                  </a:lnTo>
                  <a:lnTo>
                    <a:pt x="10354" y="10047"/>
                  </a:lnTo>
                  <a:lnTo>
                    <a:pt x="10313" y="10117"/>
                  </a:lnTo>
                  <a:lnTo>
                    <a:pt x="10275" y="10191"/>
                  </a:lnTo>
                  <a:lnTo>
                    <a:pt x="10240" y="10266"/>
                  </a:lnTo>
                  <a:lnTo>
                    <a:pt x="10208" y="10341"/>
                  </a:lnTo>
                  <a:lnTo>
                    <a:pt x="10179" y="10419"/>
                  </a:lnTo>
                  <a:lnTo>
                    <a:pt x="10153" y="10498"/>
                  </a:lnTo>
                  <a:lnTo>
                    <a:pt x="10131" y="10579"/>
                  </a:lnTo>
                  <a:lnTo>
                    <a:pt x="7473" y="10579"/>
                  </a:lnTo>
                  <a:lnTo>
                    <a:pt x="7450" y="10498"/>
                  </a:lnTo>
                  <a:lnTo>
                    <a:pt x="7425" y="10419"/>
                  </a:lnTo>
                  <a:lnTo>
                    <a:pt x="7396" y="10341"/>
                  </a:lnTo>
                  <a:lnTo>
                    <a:pt x="7363" y="10266"/>
                  </a:lnTo>
                  <a:lnTo>
                    <a:pt x="7328" y="10191"/>
                  </a:lnTo>
                  <a:lnTo>
                    <a:pt x="7290" y="10117"/>
                  </a:lnTo>
                  <a:lnTo>
                    <a:pt x="7250" y="10047"/>
                  </a:lnTo>
                  <a:lnTo>
                    <a:pt x="7207" y="9977"/>
                  </a:lnTo>
                  <a:lnTo>
                    <a:pt x="7160" y="9910"/>
                  </a:lnTo>
                  <a:lnTo>
                    <a:pt x="7112" y="9844"/>
                  </a:lnTo>
                  <a:lnTo>
                    <a:pt x="7061" y="9781"/>
                  </a:lnTo>
                  <a:lnTo>
                    <a:pt x="7006" y="9719"/>
                  </a:lnTo>
                  <a:lnTo>
                    <a:pt x="6951" y="9661"/>
                  </a:lnTo>
                  <a:lnTo>
                    <a:pt x="6892" y="9605"/>
                  </a:lnTo>
                  <a:lnTo>
                    <a:pt x="6831" y="9550"/>
                  </a:lnTo>
                  <a:lnTo>
                    <a:pt x="6769" y="9499"/>
                  </a:lnTo>
                  <a:lnTo>
                    <a:pt x="6705" y="9449"/>
                  </a:lnTo>
                  <a:lnTo>
                    <a:pt x="6637" y="9402"/>
                  </a:lnTo>
                  <a:lnTo>
                    <a:pt x="6569" y="9359"/>
                  </a:lnTo>
                  <a:lnTo>
                    <a:pt x="6498" y="9317"/>
                  </a:lnTo>
                  <a:lnTo>
                    <a:pt x="6426" y="9279"/>
                  </a:lnTo>
                  <a:lnTo>
                    <a:pt x="6351" y="9244"/>
                  </a:lnTo>
                  <a:lnTo>
                    <a:pt x="6276" y="9212"/>
                  </a:lnTo>
                  <a:lnTo>
                    <a:pt x="6199" y="9182"/>
                  </a:lnTo>
                  <a:lnTo>
                    <a:pt x="6120" y="9156"/>
                  </a:lnTo>
                  <a:lnTo>
                    <a:pt x="6040" y="9133"/>
                  </a:lnTo>
                  <a:lnTo>
                    <a:pt x="5958" y="9113"/>
                  </a:lnTo>
                  <a:lnTo>
                    <a:pt x="5876" y="9097"/>
                  </a:lnTo>
                  <a:lnTo>
                    <a:pt x="5791" y="9085"/>
                  </a:lnTo>
                  <a:lnTo>
                    <a:pt x="5707" y="9076"/>
                  </a:lnTo>
                  <a:lnTo>
                    <a:pt x="5620" y="9070"/>
                  </a:lnTo>
                  <a:lnTo>
                    <a:pt x="5533" y="9068"/>
                  </a:lnTo>
                  <a:lnTo>
                    <a:pt x="5446" y="9070"/>
                  </a:lnTo>
                  <a:lnTo>
                    <a:pt x="5360" y="9076"/>
                  </a:lnTo>
                  <a:lnTo>
                    <a:pt x="5274" y="9085"/>
                  </a:lnTo>
                  <a:lnTo>
                    <a:pt x="5191" y="9097"/>
                  </a:lnTo>
                  <a:lnTo>
                    <a:pt x="5107" y="9113"/>
                  </a:lnTo>
                  <a:lnTo>
                    <a:pt x="5026" y="9133"/>
                  </a:lnTo>
                  <a:lnTo>
                    <a:pt x="4946" y="9156"/>
                  </a:lnTo>
                  <a:lnTo>
                    <a:pt x="4867" y="9182"/>
                  </a:lnTo>
                  <a:lnTo>
                    <a:pt x="4789" y="9212"/>
                  </a:lnTo>
                  <a:lnTo>
                    <a:pt x="4714" y="9244"/>
                  </a:lnTo>
                  <a:lnTo>
                    <a:pt x="4639" y="9279"/>
                  </a:lnTo>
                  <a:lnTo>
                    <a:pt x="4567" y="9317"/>
                  </a:lnTo>
                  <a:lnTo>
                    <a:pt x="4497" y="9359"/>
                  </a:lnTo>
                  <a:lnTo>
                    <a:pt x="4428" y="9402"/>
                  </a:lnTo>
                  <a:lnTo>
                    <a:pt x="4361" y="9449"/>
                  </a:lnTo>
                  <a:lnTo>
                    <a:pt x="4296" y="9499"/>
                  </a:lnTo>
                  <a:lnTo>
                    <a:pt x="4233" y="9550"/>
                  </a:lnTo>
                  <a:lnTo>
                    <a:pt x="4173" y="9605"/>
                  </a:lnTo>
                  <a:lnTo>
                    <a:pt x="4114" y="9661"/>
                  </a:lnTo>
                  <a:lnTo>
                    <a:pt x="4059" y="9719"/>
                  </a:lnTo>
                  <a:lnTo>
                    <a:pt x="4005" y="9781"/>
                  </a:lnTo>
                  <a:lnTo>
                    <a:pt x="3953" y="9844"/>
                  </a:lnTo>
                  <a:lnTo>
                    <a:pt x="3905" y="9910"/>
                  </a:lnTo>
                  <a:lnTo>
                    <a:pt x="3859" y="9977"/>
                  </a:lnTo>
                  <a:lnTo>
                    <a:pt x="3816" y="10047"/>
                  </a:lnTo>
                  <a:lnTo>
                    <a:pt x="3774" y="10117"/>
                  </a:lnTo>
                  <a:lnTo>
                    <a:pt x="3737" y="10191"/>
                  </a:lnTo>
                  <a:lnTo>
                    <a:pt x="3702" y="10266"/>
                  </a:lnTo>
                  <a:lnTo>
                    <a:pt x="3670" y="10341"/>
                  </a:lnTo>
                  <a:lnTo>
                    <a:pt x="3640" y="10419"/>
                  </a:lnTo>
                  <a:lnTo>
                    <a:pt x="3614" y="10498"/>
                  </a:lnTo>
                  <a:lnTo>
                    <a:pt x="3592" y="10579"/>
                  </a:lnTo>
                  <a:lnTo>
                    <a:pt x="3018" y="10579"/>
                  </a:lnTo>
                  <a:lnTo>
                    <a:pt x="2993" y="10578"/>
                  </a:lnTo>
                  <a:lnTo>
                    <a:pt x="2967" y="10577"/>
                  </a:lnTo>
                  <a:lnTo>
                    <a:pt x="2941" y="10573"/>
                  </a:lnTo>
                  <a:lnTo>
                    <a:pt x="2917" y="10569"/>
                  </a:lnTo>
                  <a:lnTo>
                    <a:pt x="2892" y="10563"/>
                  </a:lnTo>
                  <a:lnTo>
                    <a:pt x="2869" y="10557"/>
                  </a:lnTo>
                  <a:lnTo>
                    <a:pt x="2845" y="10549"/>
                  </a:lnTo>
                  <a:lnTo>
                    <a:pt x="2823" y="10540"/>
                  </a:lnTo>
                  <a:lnTo>
                    <a:pt x="2800" y="10530"/>
                  </a:lnTo>
                  <a:lnTo>
                    <a:pt x="2778" y="10519"/>
                  </a:lnTo>
                  <a:lnTo>
                    <a:pt x="2757" y="10506"/>
                  </a:lnTo>
                  <a:lnTo>
                    <a:pt x="2737" y="10493"/>
                  </a:lnTo>
                  <a:lnTo>
                    <a:pt x="2717" y="10479"/>
                  </a:lnTo>
                  <a:lnTo>
                    <a:pt x="2698" y="10464"/>
                  </a:lnTo>
                  <a:lnTo>
                    <a:pt x="2680" y="10448"/>
                  </a:lnTo>
                  <a:lnTo>
                    <a:pt x="2663" y="10432"/>
                  </a:lnTo>
                  <a:lnTo>
                    <a:pt x="2646" y="10414"/>
                  </a:lnTo>
                  <a:lnTo>
                    <a:pt x="2630" y="10396"/>
                  </a:lnTo>
                  <a:lnTo>
                    <a:pt x="2615" y="10376"/>
                  </a:lnTo>
                  <a:lnTo>
                    <a:pt x="2601" y="10357"/>
                  </a:lnTo>
                  <a:lnTo>
                    <a:pt x="2588" y="10337"/>
                  </a:lnTo>
                  <a:lnTo>
                    <a:pt x="2576" y="10316"/>
                  </a:lnTo>
                  <a:lnTo>
                    <a:pt x="2565" y="10294"/>
                  </a:lnTo>
                  <a:lnTo>
                    <a:pt x="2555" y="10272"/>
                  </a:lnTo>
                  <a:lnTo>
                    <a:pt x="2546" y="10248"/>
                  </a:lnTo>
                  <a:lnTo>
                    <a:pt x="2538" y="10225"/>
                  </a:lnTo>
                  <a:lnTo>
                    <a:pt x="2531" y="10201"/>
                  </a:lnTo>
                  <a:lnTo>
                    <a:pt x="2526" y="10177"/>
                  </a:lnTo>
                  <a:lnTo>
                    <a:pt x="2521" y="10152"/>
                  </a:lnTo>
                  <a:lnTo>
                    <a:pt x="2518" y="10127"/>
                  </a:lnTo>
                  <a:lnTo>
                    <a:pt x="2516" y="10101"/>
                  </a:lnTo>
                  <a:lnTo>
                    <a:pt x="2515" y="10075"/>
                  </a:lnTo>
                  <a:lnTo>
                    <a:pt x="2515" y="8564"/>
                  </a:lnTo>
                  <a:lnTo>
                    <a:pt x="9053" y="8564"/>
                  </a:lnTo>
                  <a:lnTo>
                    <a:pt x="9131" y="8562"/>
                  </a:lnTo>
                  <a:lnTo>
                    <a:pt x="9207" y="8557"/>
                  </a:lnTo>
                  <a:lnTo>
                    <a:pt x="9283" y="8547"/>
                  </a:lnTo>
                  <a:lnTo>
                    <a:pt x="9357" y="8533"/>
                  </a:lnTo>
                  <a:lnTo>
                    <a:pt x="9431" y="8516"/>
                  </a:lnTo>
                  <a:lnTo>
                    <a:pt x="9502" y="8496"/>
                  </a:lnTo>
                  <a:lnTo>
                    <a:pt x="9571" y="8472"/>
                  </a:lnTo>
                  <a:lnTo>
                    <a:pt x="9641" y="8445"/>
                  </a:lnTo>
                  <a:lnTo>
                    <a:pt x="9707" y="8415"/>
                  </a:lnTo>
                  <a:lnTo>
                    <a:pt x="9773" y="8381"/>
                  </a:lnTo>
                  <a:lnTo>
                    <a:pt x="9835" y="8345"/>
                  </a:lnTo>
                  <a:lnTo>
                    <a:pt x="9896" y="8306"/>
                  </a:lnTo>
                  <a:lnTo>
                    <a:pt x="9956" y="8263"/>
                  </a:lnTo>
                  <a:lnTo>
                    <a:pt x="10013" y="8218"/>
                  </a:lnTo>
                  <a:lnTo>
                    <a:pt x="10067" y="8171"/>
                  </a:lnTo>
                  <a:lnTo>
                    <a:pt x="10120" y="8120"/>
                  </a:lnTo>
                  <a:lnTo>
                    <a:pt x="10170" y="8068"/>
                  </a:lnTo>
                  <a:lnTo>
                    <a:pt x="10217" y="8014"/>
                  </a:lnTo>
                  <a:lnTo>
                    <a:pt x="10263" y="7956"/>
                  </a:lnTo>
                  <a:lnTo>
                    <a:pt x="10305" y="7897"/>
                  </a:lnTo>
                  <a:lnTo>
                    <a:pt x="10344" y="7836"/>
                  </a:lnTo>
                  <a:lnTo>
                    <a:pt x="10380" y="7773"/>
                  </a:lnTo>
                  <a:lnTo>
                    <a:pt x="10413" y="7707"/>
                  </a:lnTo>
                  <a:lnTo>
                    <a:pt x="10444" y="7641"/>
                  </a:lnTo>
                  <a:lnTo>
                    <a:pt x="10471" y="7572"/>
                  </a:lnTo>
                  <a:lnTo>
                    <a:pt x="10495" y="7502"/>
                  </a:lnTo>
                  <a:lnTo>
                    <a:pt x="10515" y="7430"/>
                  </a:lnTo>
                  <a:lnTo>
                    <a:pt x="10532" y="7357"/>
                  </a:lnTo>
                  <a:lnTo>
                    <a:pt x="10545" y="7283"/>
                  </a:lnTo>
                  <a:lnTo>
                    <a:pt x="10554" y="7207"/>
                  </a:lnTo>
                  <a:lnTo>
                    <a:pt x="10560" y="7131"/>
                  </a:lnTo>
                  <a:lnTo>
                    <a:pt x="10562" y="7052"/>
                  </a:lnTo>
                  <a:lnTo>
                    <a:pt x="10562" y="3527"/>
                  </a:lnTo>
                  <a:lnTo>
                    <a:pt x="12574" y="3527"/>
                  </a:lnTo>
                  <a:lnTo>
                    <a:pt x="12605" y="3528"/>
                  </a:lnTo>
                  <a:lnTo>
                    <a:pt x="12637" y="3530"/>
                  </a:lnTo>
                  <a:lnTo>
                    <a:pt x="12668" y="3535"/>
                  </a:lnTo>
                  <a:lnTo>
                    <a:pt x="12698" y="3542"/>
                  </a:lnTo>
                  <a:lnTo>
                    <a:pt x="12727" y="3550"/>
                  </a:lnTo>
                  <a:lnTo>
                    <a:pt x="12756" y="3560"/>
                  </a:lnTo>
                  <a:lnTo>
                    <a:pt x="12784" y="3572"/>
                  </a:lnTo>
                  <a:lnTo>
                    <a:pt x="12812" y="3586"/>
                  </a:lnTo>
                  <a:lnTo>
                    <a:pt x="12838" y="3601"/>
                  </a:lnTo>
                  <a:lnTo>
                    <a:pt x="12864" y="3618"/>
                  </a:lnTo>
                  <a:lnTo>
                    <a:pt x="12888" y="3636"/>
                  </a:lnTo>
                  <a:lnTo>
                    <a:pt x="12911" y="3657"/>
                  </a:lnTo>
                  <a:lnTo>
                    <a:pt x="12933" y="3678"/>
                  </a:lnTo>
                  <a:lnTo>
                    <a:pt x="12954" y="3701"/>
                  </a:lnTo>
                  <a:lnTo>
                    <a:pt x="12975" y="3725"/>
                  </a:lnTo>
                  <a:lnTo>
                    <a:pt x="12993" y="3750"/>
                  </a:lnTo>
                  <a:lnTo>
                    <a:pt x="15005" y="6773"/>
                  </a:lnTo>
                  <a:lnTo>
                    <a:pt x="15015" y="6788"/>
                  </a:lnTo>
                  <a:lnTo>
                    <a:pt x="15024" y="6804"/>
                  </a:lnTo>
                  <a:lnTo>
                    <a:pt x="15033" y="6822"/>
                  </a:lnTo>
                  <a:lnTo>
                    <a:pt x="15041" y="6838"/>
                  </a:lnTo>
                  <a:lnTo>
                    <a:pt x="15049" y="6855"/>
                  </a:lnTo>
                  <a:lnTo>
                    <a:pt x="15056" y="6872"/>
                  </a:lnTo>
                  <a:lnTo>
                    <a:pt x="15062" y="6889"/>
                  </a:lnTo>
                  <a:lnTo>
                    <a:pt x="15067" y="6907"/>
                  </a:lnTo>
                  <a:lnTo>
                    <a:pt x="15072" y="6924"/>
                  </a:lnTo>
                  <a:lnTo>
                    <a:pt x="15077" y="6942"/>
                  </a:lnTo>
                  <a:lnTo>
                    <a:pt x="15081" y="6961"/>
                  </a:lnTo>
                  <a:lnTo>
                    <a:pt x="15084" y="6979"/>
                  </a:lnTo>
                  <a:lnTo>
                    <a:pt x="15086" y="6997"/>
                  </a:lnTo>
                  <a:lnTo>
                    <a:pt x="15088" y="7016"/>
                  </a:lnTo>
                  <a:lnTo>
                    <a:pt x="15089" y="7034"/>
                  </a:lnTo>
                  <a:lnTo>
                    <a:pt x="15089" y="7052"/>
                  </a:lnTo>
                  <a:lnTo>
                    <a:pt x="15089" y="10075"/>
                  </a:lnTo>
                  <a:close/>
                  <a:moveTo>
                    <a:pt x="12071" y="12090"/>
                  </a:moveTo>
                  <a:lnTo>
                    <a:pt x="12020" y="12089"/>
                  </a:lnTo>
                  <a:lnTo>
                    <a:pt x="11969" y="12085"/>
                  </a:lnTo>
                  <a:lnTo>
                    <a:pt x="11918" y="12078"/>
                  </a:lnTo>
                  <a:lnTo>
                    <a:pt x="11869" y="12070"/>
                  </a:lnTo>
                  <a:lnTo>
                    <a:pt x="11820" y="12058"/>
                  </a:lnTo>
                  <a:lnTo>
                    <a:pt x="11772" y="12045"/>
                  </a:lnTo>
                  <a:lnTo>
                    <a:pt x="11725" y="12029"/>
                  </a:lnTo>
                  <a:lnTo>
                    <a:pt x="11680" y="12011"/>
                  </a:lnTo>
                  <a:lnTo>
                    <a:pt x="11636" y="11991"/>
                  </a:lnTo>
                  <a:lnTo>
                    <a:pt x="11591" y="11968"/>
                  </a:lnTo>
                  <a:lnTo>
                    <a:pt x="11550" y="11944"/>
                  </a:lnTo>
                  <a:lnTo>
                    <a:pt x="11509" y="11918"/>
                  </a:lnTo>
                  <a:lnTo>
                    <a:pt x="11470" y="11890"/>
                  </a:lnTo>
                  <a:lnTo>
                    <a:pt x="11431" y="11861"/>
                  </a:lnTo>
                  <a:lnTo>
                    <a:pt x="11395" y="11828"/>
                  </a:lnTo>
                  <a:lnTo>
                    <a:pt x="11360" y="11795"/>
                  </a:lnTo>
                  <a:lnTo>
                    <a:pt x="11327" y="11760"/>
                  </a:lnTo>
                  <a:lnTo>
                    <a:pt x="11295" y="11724"/>
                  </a:lnTo>
                  <a:lnTo>
                    <a:pt x="11265" y="11685"/>
                  </a:lnTo>
                  <a:lnTo>
                    <a:pt x="11237" y="11646"/>
                  </a:lnTo>
                  <a:lnTo>
                    <a:pt x="11211" y="11606"/>
                  </a:lnTo>
                  <a:lnTo>
                    <a:pt x="11187" y="11563"/>
                  </a:lnTo>
                  <a:lnTo>
                    <a:pt x="11165" y="11520"/>
                  </a:lnTo>
                  <a:lnTo>
                    <a:pt x="11145" y="11475"/>
                  </a:lnTo>
                  <a:lnTo>
                    <a:pt x="11127" y="11429"/>
                  </a:lnTo>
                  <a:lnTo>
                    <a:pt x="11111" y="11382"/>
                  </a:lnTo>
                  <a:lnTo>
                    <a:pt x="11098" y="11335"/>
                  </a:lnTo>
                  <a:lnTo>
                    <a:pt x="11086" y="11286"/>
                  </a:lnTo>
                  <a:lnTo>
                    <a:pt x="11077" y="11236"/>
                  </a:lnTo>
                  <a:lnTo>
                    <a:pt x="11070" y="11186"/>
                  </a:lnTo>
                  <a:lnTo>
                    <a:pt x="11067" y="11135"/>
                  </a:lnTo>
                  <a:lnTo>
                    <a:pt x="11065" y="11083"/>
                  </a:lnTo>
                  <a:lnTo>
                    <a:pt x="11067" y="11031"/>
                  </a:lnTo>
                  <a:lnTo>
                    <a:pt x="11070" y="10980"/>
                  </a:lnTo>
                  <a:lnTo>
                    <a:pt x="11077" y="10930"/>
                  </a:lnTo>
                  <a:lnTo>
                    <a:pt x="11086" y="10880"/>
                  </a:lnTo>
                  <a:lnTo>
                    <a:pt x="11098" y="10831"/>
                  </a:lnTo>
                  <a:lnTo>
                    <a:pt x="11111" y="10784"/>
                  </a:lnTo>
                  <a:lnTo>
                    <a:pt x="11127" y="10736"/>
                  </a:lnTo>
                  <a:lnTo>
                    <a:pt x="11145" y="10691"/>
                  </a:lnTo>
                  <a:lnTo>
                    <a:pt x="11165" y="10646"/>
                  </a:lnTo>
                  <a:lnTo>
                    <a:pt x="11187" y="10603"/>
                  </a:lnTo>
                  <a:lnTo>
                    <a:pt x="11211" y="10561"/>
                  </a:lnTo>
                  <a:lnTo>
                    <a:pt x="11237" y="10520"/>
                  </a:lnTo>
                  <a:lnTo>
                    <a:pt x="11265" y="10480"/>
                  </a:lnTo>
                  <a:lnTo>
                    <a:pt x="11295" y="10442"/>
                  </a:lnTo>
                  <a:lnTo>
                    <a:pt x="11327" y="10406"/>
                  </a:lnTo>
                  <a:lnTo>
                    <a:pt x="11360" y="10370"/>
                  </a:lnTo>
                  <a:lnTo>
                    <a:pt x="11395" y="10337"/>
                  </a:lnTo>
                  <a:lnTo>
                    <a:pt x="11431" y="10306"/>
                  </a:lnTo>
                  <a:lnTo>
                    <a:pt x="11470" y="10276"/>
                  </a:lnTo>
                  <a:lnTo>
                    <a:pt x="11509" y="10247"/>
                  </a:lnTo>
                  <a:lnTo>
                    <a:pt x="11550" y="10221"/>
                  </a:lnTo>
                  <a:lnTo>
                    <a:pt x="11591" y="10197"/>
                  </a:lnTo>
                  <a:lnTo>
                    <a:pt x="11636" y="10175"/>
                  </a:lnTo>
                  <a:lnTo>
                    <a:pt x="11680" y="10155"/>
                  </a:lnTo>
                  <a:lnTo>
                    <a:pt x="11725" y="10137"/>
                  </a:lnTo>
                  <a:lnTo>
                    <a:pt x="11772" y="10120"/>
                  </a:lnTo>
                  <a:lnTo>
                    <a:pt x="11820" y="10107"/>
                  </a:lnTo>
                  <a:lnTo>
                    <a:pt x="11869" y="10096"/>
                  </a:lnTo>
                  <a:lnTo>
                    <a:pt x="11918" y="10087"/>
                  </a:lnTo>
                  <a:lnTo>
                    <a:pt x="11969" y="10080"/>
                  </a:lnTo>
                  <a:lnTo>
                    <a:pt x="12020" y="10076"/>
                  </a:lnTo>
                  <a:lnTo>
                    <a:pt x="12071" y="10075"/>
                  </a:lnTo>
                  <a:lnTo>
                    <a:pt x="12124" y="10076"/>
                  </a:lnTo>
                  <a:lnTo>
                    <a:pt x="12174" y="10080"/>
                  </a:lnTo>
                  <a:lnTo>
                    <a:pt x="12224" y="10087"/>
                  </a:lnTo>
                  <a:lnTo>
                    <a:pt x="12274" y="10096"/>
                  </a:lnTo>
                  <a:lnTo>
                    <a:pt x="12323" y="10107"/>
                  </a:lnTo>
                  <a:lnTo>
                    <a:pt x="12370" y="10120"/>
                  </a:lnTo>
                  <a:lnTo>
                    <a:pt x="12417" y="10137"/>
                  </a:lnTo>
                  <a:lnTo>
                    <a:pt x="12463" y="10155"/>
                  </a:lnTo>
                  <a:lnTo>
                    <a:pt x="12508" y="10175"/>
                  </a:lnTo>
                  <a:lnTo>
                    <a:pt x="12551" y="10197"/>
                  </a:lnTo>
                  <a:lnTo>
                    <a:pt x="12593" y="10221"/>
                  </a:lnTo>
                  <a:lnTo>
                    <a:pt x="12634" y="10247"/>
                  </a:lnTo>
                  <a:lnTo>
                    <a:pt x="12673" y="10276"/>
                  </a:lnTo>
                  <a:lnTo>
                    <a:pt x="12711" y="10306"/>
                  </a:lnTo>
                  <a:lnTo>
                    <a:pt x="12747" y="10337"/>
                  </a:lnTo>
                  <a:lnTo>
                    <a:pt x="12782" y="10370"/>
                  </a:lnTo>
                  <a:lnTo>
                    <a:pt x="12816" y="10406"/>
                  </a:lnTo>
                  <a:lnTo>
                    <a:pt x="12848" y="10442"/>
                  </a:lnTo>
                  <a:lnTo>
                    <a:pt x="12877" y="10480"/>
                  </a:lnTo>
                  <a:lnTo>
                    <a:pt x="12905" y="10520"/>
                  </a:lnTo>
                  <a:lnTo>
                    <a:pt x="12931" y="10561"/>
                  </a:lnTo>
                  <a:lnTo>
                    <a:pt x="12955" y="10603"/>
                  </a:lnTo>
                  <a:lnTo>
                    <a:pt x="12978" y="10646"/>
                  </a:lnTo>
                  <a:lnTo>
                    <a:pt x="12999" y="10691"/>
                  </a:lnTo>
                  <a:lnTo>
                    <a:pt x="13016" y="10736"/>
                  </a:lnTo>
                  <a:lnTo>
                    <a:pt x="13032" y="10784"/>
                  </a:lnTo>
                  <a:lnTo>
                    <a:pt x="13046" y="10831"/>
                  </a:lnTo>
                  <a:lnTo>
                    <a:pt x="13057" y="10880"/>
                  </a:lnTo>
                  <a:lnTo>
                    <a:pt x="13066" y="10930"/>
                  </a:lnTo>
                  <a:lnTo>
                    <a:pt x="13072" y="10980"/>
                  </a:lnTo>
                  <a:lnTo>
                    <a:pt x="13076" y="11031"/>
                  </a:lnTo>
                  <a:lnTo>
                    <a:pt x="13077" y="11083"/>
                  </a:lnTo>
                  <a:lnTo>
                    <a:pt x="13076" y="11135"/>
                  </a:lnTo>
                  <a:lnTo>
                    <a:pt x="13072" y="11186"/>
                  </a:lnTo>
                  <a:lnTo>
                    <a:pt x="13066" y="11236"/>
                  </a:lnTo>
                  <a:lnTo>
                    <a:pt x="13057" y="11286"/>
                  </a:lnTo>
                  <a:lnTo>
                    <a:pt x="13046" y="11335"/>
                  </a:lnTo>
                  <a:lnTo>
                    <a:pt x="13032" y="11382"/>
                  </a:lnTo>
                  <a:lnTo>
                    <a:pt x="13016" y="11429"/>
                  </a:lnTo>
                  <a:lnTo>
                    <a:pt x="12999" y="11475"/>
                  </a:lnTo>
                  <a:lnTo>
                    <a:pt x="12978" y="11520"/>
                  </a:lnTo>
                  <a:lnTo>
                    <a:pt x="12955" y="11563"/>
                  </a:lnTo>
                  <a:lnTo>
                    <a:pt x="12931" y="11606"/>
                  </a:lnTo>
                  <a:lnTo>
                    <a:pt x="12905" y="11646"/>
                  </a:lnTo>
                  <a:lnTo>
                    <a:pt x="12877" y="11685"/>
                  </a:lnTo>
                  <a:lnTo>
                    <a:pt x="12848" y="11724"/>
                  </a:lnTo>
                  <a:lnTo>
                    <a:pt x="12816" y="11760"/>
                  </a:lnTo>
                  <a:lnTo>
                    <a:pt x="12782" y="11795"/>
                  </a:lnTo>
                  <a:lnTo>
                    <a:pt x="12747" y="11828"/>
                  </a:lnTo>
                  <a:lnTo>
                    <a:pt x="12711" y="11861"/>
                  </a:lnTo>
                  <a:lnTo>
                    <a:pt x="12673" y="11890"/>
                  </a:lnTo>
                  <a:lnTo>
                    <a:pt x="12634" y="11918"/>
                  </a:lnTo>
                  <a:lnTo>
                    <a:pt x="12593" y="11944"/>
                  </a:lnTo>
                  <a:lnTo>
                    <a:pt x="12551" y="11968"/>
                  </a:lnTo>
                  <a:lnTo>
                    <a:pt x="12508" y="11991"/>
                  </a:lnTo>
                  <a:lnTo>
                    <a:pt x="12463" y="12011"/>
                  </a:lnTo>
                  <a:lnTo>
                    <a:pt x="12417" y="12029"/>
                  </a:lnTo>
                  <a:lnTo>
                    <a:pt x="12370" y="12045"/>
                  </a:lnTo>
                  <a:lnTo>
                    <a:pt x="12323" y="12058"/>
                  </a:lnTo>
                  <a:lnTo>
                    <a:pt x="12274" y="12070"/>
                  </a:lnTo>
                  <a:lnTo>
                    <a:pt x="12224" y="12078"/>
                  </a:lnTo>
                  <a:lnTo>
                    <a:pt x="12174" y="12085"/>
                  </a:lnTo>
                  <a:lnTo>
                    <a:pt x="12124" y="12089"/>
                  </a:lnTo>
                  <a:lnTo>
                    <a:pt x="12071" y="12090"/>
                  </a:lnTo>
                  <a:close/>
                  <a:moveTo>
                    <a:pt x="5533" y="12090"/>
                  </a:moveTo>
                  <a:lnTo>
                    <a:pt x="5481" y="12089"/>
                  </a:lnTo>
                  <a:lnTo>
                    <a:pt x="5430" y="12085"/>
                  </a:lnTo>
                  <a:lnTo>
                    <a:pt x="5380" y="12078"/>
                  </a:lnTo>
                  <a:lnTo>
                    <a:pt x="5330" y="12070"/>
                  </a:lnTo>
                  <a:lnTo>
                    <a:pt x="5281" y="12058"/>
                  </a:lnTo>
                  <a:lnTo>
                    <a:pt x="5234" y="12045"/>
                  </a:lnTo>
                  <a:lnTo>
                    <a:pt x="5187" y="12029"/>
                  </a:lnTo>
                  <a:lnTo>
                    <a:pt x="5141" y="12011"/>
                  </a:lnTo>
                  <a:lnTo>
                    <a:pt x="5097" y="11991"/>
                  </a:lnTo>
                  <a:lnTo>
                    <a:pt x="5054" y="11968"/>
                  </a:lnTo>
                  <a:lnTo>
                    <a:pt x="5012" y="11944"/>
                  </a:lnTo>
                  <a:lnTo>
                    <a:pt x="4970" y="11918"/>
                  </a:lnTo>
                  <a:lnTo>
                    <a:pt x="4931" y="11890"/>
                  </a:lnTo>
                  <a:lnTo>
                    <a:pt x="4893" y="11861"/>
                  </a:lnTo>
                  <a:lnTo>
                    <a:pt x="4857" y="11828"/>
                  </a:lnTo>
                  <a:lnTo>
                    <a:pt x="4821" y="11795"/>
                  </a:lnTo>
                  <a:lnTo>
                    <a:pt x="4788" y="11760"/>
                  </a:lnTo>
                  <a:lnTo>
                    <a:pt x="4757" y="11724"/>
                  </a:lnTo>
                  <a:lnTo>
                    <a:pt x="4727" y="11685"/>
                  </a:lnTo>
                  <a:lnTo>
                    <a:pt x="4699" y="11646"/>
                  </a:lnTo>
                  <a:lnTo>
                    <a:pt x="4673" y="11606"/>
                  </a:lnTo>
                  <a:lnTo>
                    <a:pt x="4648" y="11563"/>
                  </a:lnTo>
                  <a:lnTo>
                    <a:pt x="4626" y="11520"/>
                  </a:lnTo>
                  <a:lnTo>
                    <a:pt x="4606" y="11475"/>
                  </a:lnTo>
                  <a:lnTo>
                    <a:pt x="4588" y="11429"/>
                  </a:lnTo>
                  <a:lnTo>
                    <a:pt x="4572" y="11382"/>
                  </a:lnTo>
                  <a:lnTo>
                    <a:pt x="4559" y="11335"/>
                  </a:lnTo>
                  <a:lnTo>
                    <a:pt x="4548" y="11286"/>
                  </a:lnTo>
                  <a:lnTo>
                    <a:pt x="4539" y="11236"/>
                  </a:lnTo>
                  <a:lnTo>
                    <a:pt x="4533" y="11186"/>
                  </a:lnTo>
                  <a:lnTo>
                    <a:pt x="4529" y="11135"/>
                  </a:lnTo>
                  <a:lnTo>
                    <a:pt x="4527" y="11083"/>
                  </a:lnTo>
                  <a:lnTo>
                    <a:pt x="4529" y="11031"/>
                  </a:lnTo>
                  <a:lnTo>
                    <a:pt x="4533" y="10980"/>
                  </a:lnTo>
                  <a:lnTo>
                    <a:pt x="4539" y="10930"/>
                  </a:lnTo>
                  <a:lnTo>
                    <a:pt x="4548" y="10880"/>
                  </a:lnTo>
                  <a:lnTo>
                    <a:pt x="4559" y="10831"/>
                  </a:lnTo>
                  <a:lnTo>
                    <a:pt x="4572" y="10784"/>
                  </a:lnTo>
                  <a:lnTo>
                    <a:pt x="4588" y="10736"/>
                  </a:lnTo>
                  <a:lnTo>
                    <a:pt x="4606" y="10691"/>
                  </a:lnTo>
                  <a:lnTo>
                    <a:pt x="4626" y="10646"/>
                  </a:lnTo>
                  <a:lnTo>
                    <a:pt x="4648" y="10603"/>
                  </a:lnTo>
                  <a:lnTo>
                    <a:pt x="4673" y="10561"/>
                  </a:lnTo>
                  <a:lnTo>
                    <a:pt x="4699" y="10520"/>
                  </a:lnTo>
                  <a:lnTo>
                    <a:pt x="4727" y="10480"/>
                  </a:lnTo>
                  <a:lnTo>
                    <a:pt x="4757" y="10442"/>
                  </a:lnTo>
                  <a:lnTo>
                    <a:pt x="4788" y="10406"/>
                  </a:lnTo>
                  <a:lnTo>
                    <a:pt x="4821" y="10370"/>
                  </a:lnTo>
                  <a:lnTo>
                    <a:pt x="4857" y="10337"/>
                  </a:lnTo>
                  <a:lnTo>
                    <a:pt x="4893" y="10306"/>
                  </a:lnTo>
                  <a:lnTo>
                    <a:pt x="4931" y="10276"/>
                  </a:lnTo>
                  <a:lnTo>
                    <a:pt x="4970" y="10247"/>
                  </a:lnTo>
                  <a:lnTo>
                    <a:pt x="5012" y="10221"/>
                  </a:lnTo>
                  <a:lnTo>
                    <a:pt x="5054" y="10197"/>
                  </a:lnTo>
                  <a:lnTo>
                    <a:pt x="5097" y="10175"/>
                  </a:lnTo>
                  <a:lnTo>
                    <a:pt x="5141" y="10155"/>
                  </a:lnTo>
                  <a:lnTo>
                    <a:pt x="5187" y="10137"/>
                  </a:lnTo>
                  <a:lnTo>
                    <a:pt x="5234" y="10120"/>
                  </a:lnTo>
                  <a:lnTo>
                    <a:pt x="5281" y="10107"/>
                  </a:lnTo>
                  <a:lnTo>
                    <a:pt x="5330" y="10096"/>
                  </a:lnTo>
                  <a:lnTo>
                    <a:pt x="5380" y="10087"/>
                  </a:lnTo>
                  <a:lnTo>
                    <a:pt x="5430" y="10080"/>
                  </a:lnTo>
                  <a:lnTo>
                    <a:pt x="5481" y="10076"/>
                  </a:lnTo>
                  <a:lnTo>
                    <a:pt x="5533" y="10075"/>
                  </a:lnTo>
                  <a:lnTo>
                    <a:pt x="5585" y="10076"/>
                  </a:lnTo>
                  <a:lnTo>
                    <a:pt x="5636" y="10080"/>
                  </a:lnTo>
                  <a:lnTo>
                    <a:pt x="5687" y="10087"/>
                  </a:lnTo>
                  <a:lnTo>
                    <a:pt x="5736" y="10096"/>
                  </a:lnTo>
                  <a:lnTo>
                    <a:pt x="5784" y="10107"/>
                  </a:lnTo>
                  <a:lnTo>
                    <a:pt x="5832" y="10120"/>
                  </a:lnTo>
                  <a:lnTo>
                    <a:pt x="5879" y="10137"/>
                  </a:lnTo>
                  <a:lnTo>
                    <a:pt x="5924" y="10155"/>
                  </a:lnTo>
                  <a:lnTo>
                    <a:pt x="5969" y="10175"/>
                  </a:lnTo>
                  <a:lnTo>
                    <a:pt x="6012" y="10197"/>
                  </a:lnTo>
                  <a:lnTo>
                    <a:pt x="6055" y="10221"/>
                  </a:lnTo>
                  <a:lnTo>
                    <a:pt x="6095" y="10247"/>
                  </a:lnTo>
                  <a:lnTo>
                    <a:pt x="6135" y="10276"/>
                  </a:lnTo>
                  <a:lnTo>
                    <a:pt x="6172" y="10306"/>
                  </a:lnTo>
                  <a:lnTo>
                    <a:pt x="6210" y="10337"/>
                  </a:lnTo>
                  <a:lnTo>
                    <a:pt x="6244" y="10370"/>
                  </a:lnTo>
                  <a:lnTo>
                    <a:pt x="6277" y="10406"/>
                  </a:lnTo>
                  <a:lnTo>
                    <a:pt x="6309" y="10442"/>
                  </a:lnTo>
                  <a:lnTo>
                    <a:pt x="6339" y="10480"/>
                  </a:lnTo>
                  <a:lnTo>
                    <a:pt x="6368" y="10520"/>
                  </a:lnTo>
                  <a:lnTo>
                    <a:pt x="6394" y="10561"/>
                  </a:lnTo>
                  <a:lnTo>
                    <a:pt x="6418" y="10603"/>
                  </a:lnTo>
                  <a:lnTo>
                    <a:pt x="6440" y="10646"/>
                  </a:lnTo>
                  <a:lnTo>
                    <a:pt x="6460" y="10691"/>
                  </a:lnTo>
                  <a:lnTo>
                    <a:pt x="6478" y="10736"/>
                  </a:lnTo>
                  <a:lnTo>
                    <a:pt x="6493" y="10784"/>
                  </a:lnTo>
                  <a:lnTo>
                    <a:pt x="6507" y="10831"/>
                  </a:lnTo>
                  <a:lnTo>
                    <a:pt x="6518" y="10880"/>
                  </a:lnTo>
                  <a:lnTo>
                    <a:pt x="6528" y="10930"/>
                  </a:lnTo>
                  <a:lnTo>
                    <a:pt x="6534" y="10980"/>
                  </a:lnTo>
                  <a:lnTo>
                    <a:pt x="6538" y="11031"/>
                  </a:lnTo>
                  <a:lnTo>
                    <a:pt x="6539" y="11083"/>
                  </a:lnTo>
                  <a:lnTo>
                    <a:pt x="6538" y="11135"/>
                  </a:lnTo>
                  <a:lnTo>
                    <a:pt x="6534" y="11186"/>
                  </a:lnTo>
                  <a:lnTo>
                    <a:pt x="6528" y="11236"/>
                  </a:lnTo>
                  <a:lnTo>
                    <a:pt x="6518" y="11286"/>
                  </a:lnTo>
                  <a:lnTo>
                    <a:pt x="6507" y="11335"/>
                  </a:lnTo>
                  <a:lnTo>
                    <a:pt x="6493" y="11382"/>
                  </a:lnTo>
                  <a:lnTo>
                    <a:pt x="6478" y="11429"/>
                  </a:lnTo>
                  <a:lnTo>
                    <a:pt x="6460" y="11475"/>
                  </a:lnTo>
                  <a:lnTo>
                    <a:pt x="6440" y="11520"/>
                  </a:lnTo>
                  <a:lnTo>
                    <a:pt x="6418" y="11563"/>
                  </a:lnTo>
                  <a:lnTo>
                    <a:pt x="6394" y="11606"/>
                  </a:lnTo>
                  <a:lnTo>
                    <a:pt x="6368" y="11646"/>
                  </a:lnTo>
                  <a:lnTo>
                    <a:pt x="6339" y="11685"/>
                  </a:lnTo>
                  <a:lnTo>
                    <a:pt x="6309" y="11724"/>
                  </a:lnTo>
                  <a:lnTo>
                    <a:pt x="6277" y="11760"/>
                  </a:lnTo>
                  <a:lnTo>
                    <a:pt x="6244" y="11795"/>
                  </a:lnTo>
                  <a:lnTo>
                    <a:pt x="6210" y="11828"/>
                  </a:lnTo>
                  <a:lnTo>
                    <a:pt x="6172" y="11861"/>
                  </a:lnTo>
                  <a:lnTo>
                    <a:pt x="6135" y="11890"/>
                  </a:lnTo>
                  <a:lnTo>
                    <a:pt x="6095" y="11918"/>
                  </a:lnTo>
                  <a:lnTo>
                    <a:pt x="6055" y="11944"/>
                  </a:lnTo>
                  <a:lnTo>
                    <a:pt x="6012" y="11968"/>
                  </a:lnTo>
                  <a:lnTo>
                    <a:pt x="5969" y="11991"/>
                  </a:lnTo>
                  <a:lnTo>
                    <a:pt x="5924" y="12011"/>
                  </a:lnTo>
                  <a:lnTo>
                    <a:pt x="5879" y="12029"/>
                  </a:lnTo>
                  <a:lnTo>
                    <a:pt x="5832" y="12045"/>
                  </a:lnTo>
                  <a:lnTo>
                    <a:pt x="5784" y="12058"/>
                  </a:lnTo>
                  <a:lnTo>
                    <a:pt x="5736" y="12070"/>
                  </a:lnTo>
                  <a:lnTo>
                    <a:pt x="5687" y="12078"/>
                  </a:lnTo>
                  <a:lnTo>
                    <a:pt x="5636" y="12085"/>
                  </a:lnTo>
                  <a:lnTo>
                    <a:pt x="5585" y="12089"/>
                  </a:lnTo>
                  <a:lnTo>
                    <a:pt x="5533" y="12090"/>
                  </a:lnTo>
                  <a:close/>
                  <a:moveTo>
                    <a:pt x="1509" y="7556"/>
                  </a:moveTo>
                  <a:lnTo>
                    <a:pt x="1483" y="7556"/>
                  </a:lnTo>
                  <a:lnTo>
                    <a:pt x="1458" y="7554"/>
                  </a:lnTo>
                  <a:lnTo>
                    <a:pt x="1432" y="7551"/>
                  </a:lnTo>
                  <a:lnTo>
                    <a:pt x="1407" y="7546"/>
                  </a:lnTo>
                  <a:lnTo>
                    <a:pt x="1383" y="7541"/>
                  </a:lnTo>
                  <a:lnTo>
                    <a:pt x="1359" y="7534"/>
                  </a:lnTo>
                  <a:lnTo>
                    <a:pt x="1336" y="7526"/>
                  </a:lnTo>
                  <a:lnTo>
                    <a:pt x="1313" y="7517"/>
                  </a:lnTo>
                  <a:lnTo>
                    <a:pt x="1291" y="7507"/>
                  </a:lnTo>
                  <a:lnTo>
                    <a:pt x="1269" y="7496"/>
                  </a:lnTo>
                  <a:lnTo>
                    <a:pt x="1248" y="7484"/>
                  </a:lnTo>
                  <a:lnTo>
                    <a:pt x="1228" y="7470"/>
                  </a:lnTo>
                  <a:lnTo>
                    <a:pt x="1208" y="7456"/>
                  </a:lnTo>
                  <a:lnTo>
                    <a:pt x="1189" y="7441"/>
                  </a:lnTo>
                  <a:lnTo>
                    <a:pt x="1171" y="7426"/>
                  </a:lnTo>
                  <a:lnTo>
                    <a:pt x="1154" y="7409"/>
                  </a:lnTo>
                  <a:lnTo>
                    <a:pt x="1137" y="7392"/>
                  </a:lnTo>
                  <a:lnTo>
                    <a:pt x="1121" y="7374"/>
                  </a:lnTo>
                  <a:lnTo>
                    <a:pt x="1106" y="7355"/>
                  </a:lnTo>
                  <a:lnTo>
                    <a:pt x="1091" y="7334"/>
                  </a:lnTo>
                  <a:lnTo>
                    <a:pt x="1078" y="7314"/>
                  </a:lnTo>
                  <a:lnTo>
                    <a:pt x="1066" y="7293"/>
                  </a:lnTo>
                  <a:lnTo>
                    <a:pt x="1055" y="7271"/>
                  </a:lnTo>
                  <a:lnTo>
                    <a:pt x="1045" y="7249"/>
                  </a:lnTo>
                  <a:lnTo>
                    <a:pt x="1036" y="7226"/>
                  </a:lnTo>
                  <a:lnTo>
                    <a:pt x="1029" y="7202"/>
                  </a:lnTo>
                  <a:lnTo>
                    <a:pt x="1022" y="7179"/>
                  </a:lnTo>
                  <a:lnTo>
                    <a:pt x="1016" y="7154"/>
                  </a:lnTo>
                  <a:lnTo>
                    <a:pt x="1012" y="7130"/>
                  </a:lnTo>
                  <a:lnTo>
                    <a:pt x="1009" y="7105"/>
                  </a:lnTo>
                  <a:lnTo>
                    <a:pt x="1007" y="7079"/>
                  </a:lnTo>
                  <a:lnTo>
                    <a:pt x="1006" y="7052"/>
                  </a:lnTo>
                  <a:lnTo>
                    <a:pt x="1006" y="1511"/>
                  </a:lnTo>
                  <a:lnTo>
                    <a:pt x="1007" y="1485"/>
                  </a:lnTo>
                  <a:lnTo>
                    <a:pt x="1009" y="1460"/>
                  </a:lnTo>
                  <a:lnTo>
                    <a:pt x="1012" y="1435"/>
                  </a:lnTo>
                  <a:lnTo>
                    <a:pt x="1016" y="1410"/>
                  </a:lnTo>
                  <a:lnTo>
                    <a:pt x="1022" y="1385"/>
                  </a:lnTo>
                  <a:lnTo>
                    <a:pt x="1029" y="1361"/>
                  </a:lnTo>
                  <a:lnTo>
                    <a:pt x="1036" y="1338"/>
                  </a:lnTo>
                  <a:lnTo>
                    <a:pt x="1045" y="1315"/>
                  </a:lnTo>
                  <a:lnTo>
                    <a:pt x="1055" y="1293"/>
                  </a:lnTo>
                  <a:lnTo>
                    <a:pt x="1066" y="1271"/>
                  </a:lnTo>
                  <a:lnTo>
                    <a:pt x="1078" y="1249"/>
                  </a:lnTo>
                  <a:lnTo>
                    <a:pt x="1091" y="1229"/>
                  </a:lnTo>
                  <a:lnTo>
                    <a:pt x="1106" y="1209"/>
                  </a:lnTo>
                  <a:lnTo>
                    <a:pt x="1121" y="1191"/>
                  </a:lnTo>
                  <a:lnTo>
                    <a:pt x="1137" y="1172"/>
                  </a:lnTo>
                  <a:lnTo>
                    <a:pt x="1154" y="1155"/>
                  </a:lnTo>
                  <a:lnTo>
                    <a:pt x="1171" y="1138"/>
                  </a:lnTo>
                  <a:lnTo>
                    <a:pt x="1189" y="1122"/>
                  </a:lnTo>
                  <a:lnTo>
                    <a:pt x="1208" y="1107"/>
                  </a:lnTo>
                  <a:lnTo>
                    <a:pt x="1228" y="1093"/>
                  </a:lnTo>
                  <a:lnTo>
                    <a:pt x="1248" y="1080"/>
                  </a:lnTo>
                  <a:lnTo>
                    <a:pt x="1269" y="1068"/>
                  </a:lnTo>
                  <a:lnTo>
                    <a:pt x="1291" y="1057"/>
                  </a:lnTo>
                  <a:lnTo>
                    <a:pt x="1313" y="1047"/>
                  </a:lnTo>
                  <a:lnTo>
                    <a:pt x="1336" y="1038"/>
                  </a:lnTo>
                  <a:lnTo>
                    <a:pt x="1359" y="1030"/>
                  </a:lnTo>
                  <a:lnTo>
                    <a:pt x="1383" y="1023"/>
                  </a:lnTo>
                  <a:lnTo>
                    <a:pt x="1407" y="1018"/>
                  </a:lnTo>
                  <a:lnTo>
                    <a:pt x="1432" y="1013"/>
                  </a:lnTo>
                  <a:lnTo>
                    <a:pt x="1458" y="1010"/>
                  </a:lnTo>
                  <a:lnTo>
                    <a:pt x="1483" y="1008"/>
                  </a:lnTo>
                  <a:lnTo>
                    <a:pt x="1509" y="1008"/>
                  </a:lnTo>
                  <a:lnTo>
                    <a:pt x="9053" y="1008"/>
                  </a:lnTo>
                  <a:lnTo>
                    <a:pt x="9080" y="1008"/>
                  </a:lnTo>
                  <a:lnTo>
                    <a:pt x="9105" y="1010"/>
                  </a:lnTo>
                  <a:lnTo>
                    <a:pt x="9131" y="1013"/>
                  </a:lnTo>
                  <a:lnTo>
                    <a:pt x="9155" y="1018"/>
                  </a:lnTo>
                  <a:lnTo>
                    <a:pt x="9179" y="1023"/>
                  </a:lnTo>
                  <a:lnTo>
                    <a:pt x="9203" y="1030"/>
                  </a:lnTo>
                  <a:lnTo>
                    <a:pt x="9226" y="1038"/>
                  </a:lnTo>
                  <a:lnTo>
                    <a:pt x="9250" y="1047"/>
                  </a:lnTo>
                  <a:lnTo>
                    <a:pt x="9272" y="1057"/>
                  </a:lnTo>
                  <a:lnTo>
                    <a:pt x="9294" y="1068"/>
                  </a:lnTo>
                  <a:lnTo>
                    <a:pt x="9315" y="1080"/>
                  </a:lnTo>
                  <a:lnTo>
                    <a:pt x="9335" y="1093"/>
                  </a:lnTo>
                  <a:lnTo>
                    <a:pt x="9355" y="1107"/>
                  </a:lnTo>
                  <a:lnTo>
                    <a:pt x="9373" y="1122"/>
                  </a:lnTo>
                  <a:lnTo>
                    <a:pt x="9392" y="1138"/>
                  </a:lnTo>
                  <a:lnTo>
                    <a:pt x="9410" y="1155"/>
                  </a:lnTo>
                  <a:lnTo>
                    <a:pt x="9426" y="1172"/>
                  </a:lnTo>
                  <a:lnTo>
                    <a:pt x="9442" y="1191"/>
                  </a:lnTo>
                  <a:lnTo>
                    <a:pt x="9457" y="1209"/>
                  </a:lnTo>
                  <a:lnTo>
                    <a:pt x="9471" y="1229"/>
                  </a:lnTo>
                  <a:lnTo>
                    <a:pt x="9484" y="1249"/>
                  </a:lnTo>
                  <a:lnTo>
                    <a:pt x="9496" y="1271"/>
                  </a:lnTo>
                  <a:lnTo>
                    <a:pt x="9507" y="1293"/>
                  </a:lnTo>
                  <a:lnTo>
                    <a:pt x="9517" y="1315"/>
                  </a:lnTo>
                  <a:lnTo>
                    <a:pt x="9526" y="1338"/>
                  </a:lnTo>
                  <a:lnTo>
                    <a:pt x="9534" y="1361"/>
                  </a:lnTo>
                  <a:lnTo>
                    <a:pt x="9541" y="1385"/>
                  </a:lnTo>
                  <a:lnTo>
                    <a:pt x="9546" y="1410"/>
                  </a:lnTo>
                  <a:lnTo>
                    <a:pt x="9550" y="1435"/>
                  </a:lnTo>
                  <a:lnTo>
                    <a:pt x="9554" y="1460"/>
                  </a:lnTo>
                  <a:lnTo>
                    <a:pt x="9556" y="1485"/>
                  </a:lnTo>
                  <a:lnTo>
                    <a:pt x="9556" y="1511"/>
                  </a:lnTo>
                  <a:lnTo>
                    <a:pt x="9556" y="2519"/>
                  </a:lnTo>
                  <a:lnTo>
                    <a:pt x="9556" y="3527"/>
                  </a:lnTo>
                  <a:lnTo>
                    <a:pt x="9556" y="7052"/>
                  </a:lnTo>
                  <a:lnTo>
                    <a:pt x="9556" y="7079"/>
                  </a:lnTo>
                  <a:lnTo>
                    <a:pt x="9554" y="7105"/>
                  </a:lnTo>
                  <a:lnTo>
                    <a:pt x="9550" y="7130"/>
                  </a:lnTo>
                  <a:lnTo>
                    <a:pt x="9546" y="7154"/>
                  </a:lnTo>
                  <a:lnTo>
                    <a:pt x="9541" y="7179"/>
                  </a:lnTo>
                  <a:lnTo>
                    <a:pt x="9534" y="7202"/>
                  </a:lnTo>
                  <a:lnTo>
                    <a:pt x="9526" y="7226"/>
                  </a:lnTo>
                  <a:lnTo>
                    <a:pt x="9517" y="7249"/>
                  </a:lnTo>
                  <a:lnTo>
                    <a:pt x="9507" y="7271"/>
                  </a:lnTo>
                  <a:lnTo>
                    <a:pt x="9496" y="7293"/>
                  </a:lnTo>
                  <a:lnTo>
                    <a:pt x="9484" y="7314"/>
                  </a:lnTo>
                  <a:lnTo>
                    <a:pt x="9471" y="7334"/>
                  </a:lnTo>
                  <a:lnTo>
                    <a:pt x="9457" y="7355"/>
                  </a:lnTo>
                  <a:lnTo>
                    <a:pt x="9442" y="7374"/>
                  </a:lnTo>
                  <a:lnTo>
                    <a:pt x="9426" y="7392"/>
                  </a:lnTo>
                  <a:lnTo>
                    <a:pt x="9410" y="7409"/>
                  </a:lnTo>
                  <a:lnTo>
                    <a:pt x="9392" y="7426"/>
                  </a:lnTo>
                  <a:lnTo>
                    <a:pt x="9373" y="7441"/>
                  </a:lnTo>
                  <a:lnTo>
                    <a:pt x="9355" y="7456"/>
                  </a:lnTo>
                  <a:lnTo>
                    <a:pt x="9335" y="7470"/>
                  </a:lnTo>
                  <a:lnTo>
                    <a:pt x="9315" y="7484"/>
                  </a:lnTo>
                  <a:lnTo>
                    <a:pt x="9294" y="7496"/>
                  </a:lnTo>
                  <a:lnTo>
                    <a:pt x="9272" y="7507"/>
                  </a:lnTo>
                  <a:lnTo>
                    <a:pt x="9250" y="7517"/>
                  </a:lnTo>
                  <a:lnTo>
                    <a:pt x="9226" y="7526"/>
                  </a:lnTo>
                  <a:lnTo>
                    <a:pt x="9203" y="7534"/>
                  </a:lnTo>
                  <a:lnTo>
                    <a:pt x="9179" y="7541"/>
                  </a:lnTo>
                  <a:lnTo>
                    <a:pt x="9155" y="7546"/>
                  </a:lnTo>
                  <a:lnTo>
                    <a:pt x="9131" y="7551"/>
                  </a:lnTo>
                  <a:lnTo>
                    <a:pt x="9105" y="7554"/>
                  </a:lnTo>
                  <a:lnTo>
                    <a:pt x="9080" y="7556"/>
                  </a:lnTo>
                  <a:lnTo>
                    <a:pt x="9053" y="7556"/>
                  </a:lnTo>
                  <a:lnTo>
                    <a:pt x="1509" y="7556"/>
                  </a:lnTo>
                  <a:close/>
                  <a:moveTo>
                    <a:pt x="15842" y="6214"/>
                  </a:moveTo>
                  <a:lnTo>
                    <a:pt x="13830" y="3192"/>
                  </a:lnTo>
                  <a:lnTo>
                    <a:pt x="13802" y="3153"/>
                  </a:lnTo>
                  <a:lnTo>
                    <a:pt x="13774" y="3115"/>
                  </a:lnTo>
                  <a:lnTo>
                    <a:pt x="13746" y="3077"/>
                  </a:lnTo>
                  <a:lnTo>
                    <a:pt x="13716" y="3042"/>
                  </a:lnTo>
                  <a:lnTo>
                    <a:pt x="13685" y="3007"/>
                  </a:lnTo>
                  <a:lnTo>
                    <a:pt x="13653" y="2973"/>
                  </a:lnTo>
                  <a:lnTo>
                    <a:pt x="13619" y="2940"/>
                  </a:lnTo>
                  <a:lnTo>
                    <a:pt x="13586" y="2909"/>
                  </a:lnTo>
                  <a:lnTo>
                    <a:pt x="13551" y="2878"/>
                  </a:lnTo>
                  <a:lnTo>
                    <a:pt x="13516" y="2849"/>
                  </a:lnTo>
                  <a:lnTo>
                    <a:pt x="13480" y="2820"/>
                  </a:lnTo>
                  <a:lnTo>
                    <a:pt x="13442" y="2793"/>
                  </a:lnTo>
                  <a:lnTo>
                    <a:pt x="13404" y="2768"/>
                  </a:lnTo>
                  <a:lnTo>
                    <a:pt x="13366" y="2743"/>
                  </a:lnTo>
                  <a:lnTo>
                    <a:pt x="13326" y="2720"/>
                  </a:lnTo>
                  <a:lnTo>
                    <a:pt x="13286" y="2697"/>
                  </a:lnTo>
                  <a:lnTo>
                    <a:pt x="13245" y="2676"/>
                  </a:lnTo>
                  <a:lnTo>
                    <a:pt x="13204" y="2656"/>
                  </a:lnTo>
                  <a:lnTo>
                    <a:pt x="13162" y="2638"/>
                  </a:lnTo>
                  <a:lnTo>
                    <a:pt x="13119" y="2621"/>
                  </a:lnTo>
                  <a:lnTo>
                    <a:pt x="13076" y="2605"/>
                  </a:lnTo>
                  <a:lnTo>
                    <a:pt x="13033" y="2590"/>
                  </a:lnTo>
                  <a:lnTo>
                    <a:pt x="12989" y="2576"/>
                  </a:lnTo>
                  <a:lnTo>
                    <a:pt x="12944" y="2564"/>
                  </a:lnTo>
                  <a:lnTo>
                    <a:pt x="12899" y="2554"/>
                  </a:lnTo>
                  <a:lnTo>
                    <a:pt x="12854" y="2544"/>
                  </a:lnTo>
                  <a:lnTo>
                    <a:pt x="12808" y="2537"/>
                  </a:lnTo>
                  <a:lnTo>
                    <a:pt x="12761" y="2530"/>
                  </a:lnTo>
                  <a:lnTo>
                    <a:pt x="12715" y="2525"/>
                  </a:lnTo>
                  <a:lnTo>
                    <a:pt x="12669" y="2522"/>
                  </a:lnTo>
                  <a:lnTo>
                    <a:pt x="12621" y="2519"/>
                  </a:lnTo>
                  <a:lnTo>
                    <a:pt x="12574" y="2519"/>
                  </a:lnTo>
                  <a:lnTo>
                    <a:pt x="10562" y="2519"/>
                  </a:lnTo>
                  <a:lnTo>
                    <a:pt x="10562" y="1511"/>
                  </a:lnTo>
                  <a:lnTo>
                    <a:pt x="10560" y="1434"/>
                  </a:lnTo>
                  <a:lnTo>
                    <a:pt x="10554" y="1357"/>
                  </a:lnTo>
                  <a:lnTo>
                    <a:pt x="10545" y="1282"/>
                  </a:lnTo>
                  <a:lnTo>
                    <a:pt x="10532" y="1207"/>
                  </a:lnTo>
                  <a:lnTo>
                    <a:pt x="10515" y="1134"/>
                  </a:lnTo>
                  <a:lnTo>
                    <a:pt x="10495" y="1062"/>
                  </a:lnTo>
                  <a:lnTo>
                    <a:pt x="10471" y="993"/>
                  </a:lnTo>
                  <a:lnTo>
                    <a:pt x="10444" y="924"/>
                  </a:lnTo>
                  <a:lnTo>
                    <a:pt x="10413" y="856"/>
                  </a:lnTo>
                  <a:lnTo>
                    <a:pt x="10380" y="791"/>
                  </a:lnTo>
                  <a:lnTo>
                    <a:pt x="10344" y="729"/>
                  </a:lnTo>
                  <a:lnTo>
                    <a:pt x="10305" y="667"/>
                  </a:lnTo>
                  <a:lnTo>
                    <a:pt x="10263" y="608"/>
                  </a:lnTo>
                  <a:lnTo>
                    <a:pt x="10217" y="550"/>
                  </a:lnTo>
                  <a:lnTo>
                    <a:pt x="10170" y="496"/>
                  </a:lnTo>
                  <a:lnTo>
                    <a:pt x="10120" y="443"/>
                  </a:lnTo>
                  <a:lnTo>
                    <a:pt x="10067" y="393"/>
                  </a:lnTo>
                  <a:lnTo>
                    <a:pt x="10013" y="346"/>
                  </a:lnTo>
                  <a:lnTo>
                    <a:pt x="9956" y="300"/>
                  </a:lnTo>
                  <a:lnTo>
                    <a:pt x="9896" y="258"/>
                  </a:lnTo>
                  <a:lnTo>
                    <a:pt x="9835" y="219"/>
                  </a:lnTo>
                  <a:lnTo>
                    <a:pt x="9773" y="182"/>
                  </a:lnTo>
                  <a:lnTo>
                    <a:pt x="9707" y="149"/>
                  </a:lnTo>
                  <a:lnTo>
                    <a:pt x="9641" y="119"/>
                  </a:lnTo>
                  <a:lnTo>
                    <a:pt x="9571" y="92"/>
                  </a:lnTo>
                  <a:lnTo>
                    <a:pt x="9502" y="69"/>
                  </a:lnTo>
                  <a:lnTo>
                    <a:pt x="9431" y="47"/>
                  </a:lnTo>
                  <a:lnTo>
                    <a:pt x="9357" y="31"/>
                  </a:lnTo>
                  <a:lnTo>
                    <a:pt x="9283" y="17"/>
                  </a:lnTo>
                  <a:lnTo>
                    <a:pt x="9207" y="8"/>
                  </a:lnTo>
                  <a:lnTo>
                    <a:pt x="9131" y="2"/>
                  </a:lnTo>
                  <a:lnTo>
                    <a:pt x="9053" y="0"/>
                  </a:lnTo>
                  <a:lnTo>
                    <a:pt x="1509" y="0"/>
                  </a:lnTo>
                  <a:lnTo>
                    <a:pt x="1431" y="2"/>
                  </a:lnTo>
                  <a:lnTo>
                    <a:pt x="1355" y="8"/>
                  </a:lnTo>
                  <a:lnTo>
                    <a:pt x="1280" y="17"/>
                  </a:lnTo>
                  <a:lnTo>
                    <a:pt x="1205" y="31"/>
                  </a:lnTo>
                  <a:lnTo>
                    <a:pt x="1133" y="47"/>
                  </a:lnTo>
                  <a:lnTo>
                    <a:pt x="1060" y="69"/>
                  </a:lnTo>
                  <a:lnTo>
                    <a:pt x="991" y="92"/>
                  </a:lnTo>
                  <a:lnTo>
                    <a:pt x="922" y="119"/>
                  </a:lnTo>
                  <a:lnTo>
                    <a:pt x="855" y="149"/>
                  </a:lnTo>
                  <a:lnTo>
                    <a:pt x="791" y="182"/>
                  </a:lnTo>
                  <a:lnTo>
                    <a:pt x="727" y="219"/>
                  </a:lnTo>
                  <a:lnTo>
                    <a:pt x="666" y="258"/>
                  </a:lnTo>
                  <a:lnTo>
                    <a:pt x="607" y="300"/>
                  </a:lnTo>
                  <a:lnTo>
                    <a:pt x="549" y="346"/>
                  </a:lnTo>
                  <a:lnTo>
                    <a:pt x="495" y="393"/>
                  </a:lnTo>
                  <a:lnTo>
                    <a:pt x="443" y="443"/>
                  </a:lnTo>
                  <a:lnTo>
                    <a:pt x="392" y="496"/>
                  </a:lnTo>
                  <a:lnTo>
                    <a:pt x="345" y="550"/>
                  </a:lnTo>
                  <a:lnTo>
                    <a:pt x="300" y="608"/>
                  </a:lnTo>
                  <a:lnTo>
                    <a:pt x="259" y="667"/>
                  </a:lnTo>
                  <a:lnTo>
                    <a:pt x="218" y="729"/>
                  </a:lnTo>
                  <a:lnTo>
                    <a:pt x="182" y="791"/>
                  </a:lnTo>
                  <a:lnTo>
                    <a:pt x="149" y="856"/>
                  </a:lnTo>
                  <a:lnTo>
                    <a:pt x="119" y="924"/>
                  </a:lnTo>
                  <a:lnTo>
                    <a:pt x="92" y="993"/>
                  </a:lnTo>
                  <a:lnTo>
                    <a:pt x="68" y="1062"/>
                  </a:lnTo>
                  <a:lnTo>
                    <a:pt x="47" y="1134"/>
                  </a:lnTo>
                  <a:lnTo>
                    <a:pt x="31" y="1207"/>
                  </a:lnTo>
                  <a:lnTo>
                    <a:pt x="17" y="1282"/>
                  </a:lnTo>
                  <a:lnTo>
                    <a:pt x="8" y="1357"/>
                  </a:lnTo>
                  <a:lnTo>
                    <a:pt x="2" y="1434"/>
                  </a:lnTo>
                  <a:lnTo>
                    <a:pt x="0" y="1511"/>
                  </a:lnTo>
                  <a:lnTo>
                    <a:pt x="0" y="7052"/>
                  </a:lnTo>
                  <a:lnTo>
                    <a:pt x="2" y="7131"/>
                  </a:lnTo>
                  <a:lnTo>
                    <a:pt x="8" y="7207"/>
                  </a:lnTo>
                  <a:lnTo>
                    <a:pt x="17" y="7283"/>
                  </a:lnTo>
                  <a:lnTo>
                    <a:pt x="31" y="7357"/>
                  </a:lnTo>
                  <a:lnTo>
                    <a:pt x="47" y="7430"/>
                  </a:lnTo>
                  <a:lnTo>
                    <a:pt x="68" y="7502"/>
                  </a:lnTo>
                  <a:lnTo>
                    <a:pt x="92" y="7572"/>
                  </a:lnTo>
                  <a:lnTo>
                    <a:pt x="119" y="7641"/>
                  </a:lnTo>
                  <a:lnTo>
                    <a:pt x="149" y="7707"/>
                  </a:lnTo>
                  <a:lnTo>
                    <a:pt x="182" y="7773"/>
                  </a:lnTo>
                  <a:lnTo>
                    <a:pt x="218" y="7836"/>
                  </a:lnTo>
                  <a:lnTo>
                    <a:pt x="259" y="7897"/>
                  </a:lnTo>
                  <a:lnTo>
                    <a:pt x="300" y="7956"/>
                  </a:lnTo>
                  <a:lnTo>
                    <a:pt x="345" y="8014"/>
                  </a:lnTo>
                  <a:lnTo>
                    <a:pt x="392" y="8068"/>
                  </a:lnTo>
                  <a:lnTo>
                    <a:pt x="443" y="8120"/>
                  </a:lnTo>
                  <a:lnTo>
                    <a:pt x="495" y="8171"/>
                  </a:lnTo>
                  <a:lnTo>
                    <a:pt x="549" y="8218"/>
                  </a:lnTo>
                  <a:lnTo>
                    <a:pt x="607" y="8263"/>
                  </a:lnTo>
                  <a:lnTo>
                    <a:pt x="666" y="8306"/>
                  </a:lnTo>
                  <a:lnTo>
                    <a:pt x="727" y="8345"/>
                  </a:lnTo>
                  <a:lnTo>
                    <a:pt x="791" y="8381"/>
                  </a:lnTo>
                  <a:lnTo>
                    <a:pt x="855" y="8415"/>
                  </a:lnTo>
                  <a:lnTo>
                    <a:pt x="922" y="8445"/>
                  </a:lnTo>
                  <a:lnTo>
                    <a:pt x="991" y="8472"/>
                  </a:lnTo>
                  <a:lnTo>
                    <a:pt x="1060" y="8496"/>
                  </a:lnTo>
                  <a:lnTo>
                    <a:pt x="1133" y="8516"/>
                  </a:lnTo>
                  <a:lnTo>
                    <a:pt x="1205" y="8533"/>
                  </a:lnTo>
                  <a:lnTo>
                    <a:pt x="1280" y="8547"/>
                  </a:lnTo>
                  <a:lnTo>
                    <a:pt x="1355" y="8557"/>
                  </a:lnTo>
                  <a:lnTo>
                    <a:pt x="1431" y="8562"/>
                  </a:lnTo>
                  <a:lnTo>
                    <a:pt x="1509" y="8564"/>
                  </a:lnTo>
                  <a:lnTo>
                    <a:pt x="1509" y="8564"/>
                  </a:lnTo>
                  <a:lnTo>
                    <a:pt x="1509" y="10075"/>
                  </a:lnTo>
                  <a:lnTo>
                    <a:pt x="1511" y="10153"/>
                  </a:lnTo>
                  <a:lnTo>
                    <a:pt x="1517" y="10229"/>
                  </a:lnTo>
                  <a:lnTo>
                    <a:pt x="1527" y="10305"/>
                  </a:lnTo>
                  <a:lnTo>
                    <a:pt x="1540" y="10379"/>
                  </a:lnTo>
                  <a:lnTo>
                    <a:pt x="1557" y="10453"/>
                  </a:lnTo>
                  <a:lnTo>
                    <a:pt x="1577" y="10525"/>
                  </a:lnTo>
                  <a:lnTo>
                    <a:pt x="1601" y="10594"/>
                  </a:lnTo>
                  <a:lnTo>
                    <a:pt x="1629" y="10663"/>
                  </a:lnTo>
                  <a:lnTo>
                    <a:pt x="1659" y="10730"/>
                  </a:lnTo>
                  <a:lnTo>
                    <a:pt x="1692" y="10795"/>
                  </a:lnTo>
                  <a:lnTo>
                    <a:pt x="1728" y="10858"/>
                  </a:lnTo>
                  <a:lnTo>
                    <a:pt x="1767" y="10920"/>
                  </a:lnTo>
                  <a:lnTo>
                    <a:pt x="1810" y="10979"/>
                  </a:lnTo>
                  <a:lnTo>
                    <a:pt x="1854" y="11036"/>
                  </a:lnTo>
                  <a:lnTo>
                    <a:pt x="1901" y="11091"/>
                  </a:lnTo>
                  <a:lnTo>
                    <a:pt x="1952" y="11143"/>
                  </a:lnTo>
                  <a:lnTo>
                    <a:pt x="2004" y="11194"/>
                  </a:lnTo>
                  <a:lnTo>
                    <a:pt x="2059" y="11241"/>
                  </a:lnTo>
                  <a:lnTo>
                    <a:pt x="2115" y="11286"/>
                  </a:lnTo>
                  <a:lnTo>
                    <a:pt x="2175" y="11329"/>
                  </a:lnTo>
                  <a:lnTo>
                    <a:pt x="2236" y="11368"/>
                  </a:lnTo>
                  <a:lnTo>
                    <a:pt x="2300" y="11404"/>
                  </a:lnTo>
                  <a:lnTo>
                    <a:pt x="2365" y="11437"/>
                  </a:lnTo>
                  <a:lnTo>
                    <a:pt x="2431" y="11468"/>
                  </a:lnTo>
                  <a:lnTo>
                    <a:pt x="2500" y="11495"/>
                  </a:lnTo>
                  <a:lnTo>
                    <a:pt x="2570" y="11519"/>
                  </a:lnTo>
                  <a:lnTo>
                    <a:pt x="2642" y="11539"/>
                  </a:lnTo>
                  <a:lnTo>
                    <a:pt x="2714" y="11556"/>
                  </a:lnTo>
                  <a:lnTo>
                    <a:pt x="2788" y="11569"/>
                  </a:lnTo>
                  <a:lnTo>
                    <a:pt x="2864" y="11579"/>
                  </a:lnTo>
                  <a:lnTo>
                    <a:pt x="2940" y="11585"/>
                  </a:lnTo>
                  <a:lnTo>
                    <a:pt x="3018" y="11587"/>
                  </a:lnTo>
                  <a:lnTo>
                    <a:pt x="3592" y="11587"/>
                  </a:lnTo>
                  <a:lnTo>
                    <a:pt x="3614" y="11667"/>
                  </a:lnTo>
                  <a:lnTo>
                    <a:pt x="3640" y="11747"/>
                  </a:lnTo>
                  <a:lnTo>
                    <a:pt x="3670" y="11824"/>
                  </a:lnTo>
                  <a:lnTo>
                    <a:pt x="3702" y="11901"/>
                  </a:lnTo>
                  <a:lnTo>
                    <a:pt x="3737" y="11976"/>
                  </a:lnTo>
                  <a:lnTo>
                    <a:pt x="3774" y="12048"/>
                  </a:lnTo>
                  <a:lnTo>
                    <a:pt x="3816" y="12120"/>
                  </a:lnTo>
                  <a:lnTo>
                    <a:pt x="3859" y="12188"/>
                  </a:lnTo>
                  <a:lnTo>
                    <a:pt x="3905" y="12256"/>
                  </a:lnTo>
                  <a:lnTo>
                    <a:pt x="3953" y="12321"/>
                  </a:lnTo>
                  <a:lnTo>
                    <a:pt x="4005" y="12385"/>
                  </a:lnTo>
                  <a:lnTo>
                    <a:pt x="4059" y="12446"/>
                  </a:lnTo>
                  <a:lnTo>
                    <a:pt x="4114" y="12505"/>
                  </a:lnTo>
                  <a:lnTo>
                    <a:pt x="4173" y="12561"/>
                  </a:lnTo>
                  <a:lnTo>
                    <a:pt x="4233" y="12615"/>
                  </a:lnTo>
                  <a:lnTo>
                    <a:pt x="4296" y="12668"/>
                  </a:lnTo>
                  <a:lnTo>
                    <a:pt x="4361" y="12717"/>
                  </a:lnTo>
                  <a:lnTo>
                    <a:pt x="4428" y="12763"/>
                  </a:lnTo>
                  <a:lnTo>
                    <a:pt x="4497" y="12807"/>
                  </a:lnTo>
                  <a:lnTo>
                    <a:pt x="4567" y="12848"/>
                  </a:lnTo>
                  <a:lnTo>
                    <a:pt x="4639" y="12886"/>
                  </a:lnTo>
                  <a:lnTo>
                    <a:pt x="4714" y="12922"/>
                  </a:lnTo>
                  <a:lnTo>
                    <a:pt x="4789" y="12955"/>
                  </a:lnTo>
                  <a:lnTo>
                    <a:pt x="4867" y="12984"/>
                  </a:lnTo>
                  <a:lnTo>
                    <a:pt x="4946" y="13010"/>
                  </a:lnTo>
                  <a:lnTo>
                    <a:pt x="5026" y="13033"/>
                  </a:lnTo>
                  <a:lnTo>
                    <a:pt x="5107" y="13053"/>
                  </a:lnTo>
                  <a:lnTo>
                    <a:pt x="5191" y="13069"/>
                  </a:lnTo>
                  <a:lnTo>
                    <a:pt x="5274" y="13081"/>
                  </a:lnTo>
                  <a:lnTo>
                    <a:pt x="5360" y="13091"/>
                  </a:lnTo>
                  <a:lnTo>
                    <a:pt x="5446" y="13096"/>
                  </a:lnTo>
                  <a:lnTo>
                    <a:pt x="5533" y="13098"/>
                  </a:lnTo>
                  <a:lnTo>
                    <a:pt x="5620" y="13096"/>
                  </a:lnTo>
                  <a:lnTo>
                    <a:pt x="5707" y="13091"/>
                  </a:lnTo>
                  <a:lnTo>
                    <a:pt x="5791" y="13081"/>
                  </a:lnTo>
                  <a:lnTo>
                    <a:pt x="5876" y="13069"/>
                  </a:lnTo>
                  <a:lnTo>
                    <a:pt x="5958" y="13053"/>
                  </a:lnTo>
                  <a:lnTo>
                    <a:pt x="6040" y="13033"/>
                  </a:lnTo>
                  <a:lnTo>
                    <a:pt x="6120" y="13010"/>
                  </a:lnTo>
                  <a:lnTo>
                    <a:pt x="6199" y="12984"/>
                  </a:lnTo>
                  <a:lnTo>
                    <a:pt x="6276" y="12955"/>
                  </a:lnTo>
                  <a:lnTo>
                    <a:pt x="6351" y="12922"/>
                  </a:lnTo>
                  <a:lnTo>
                    <a:pt x="6426" y="12886"/>
                  </a:lnTo>
                  <a:lnTo>
                    <a:pt x="6498" y="12848"/>
                  </a:lnTo>
                  <a:lnTo>
                    <a:pt x="6569" y="12807"/>
                  </a:lnTo>
                  <a:lnTo>
                    <a:pt x="6637" y="12763"/>
                  </a:lnTo>
                  <a:lnTo>
                    <a:pt x="6705" y="12717"/>
                  </a:lnTo>
                  <a:lnTo>
                    <a:pt x="6769" y="12668"/>
                  </a:lnTo>
                  <a:lnTo>
                    <a:pt x="6831" y="12615"/>
                  </a:lnTo>
                  <a:lnTo>
                    <a:pt x="6892" y="12561"/>
                  </a:lnTo>
                  <a:lnTo>
                    <a:pt x="6951" y="12505"/>
                  </a:lnTo>
                  <a:lnTo>
                    <a:pt x="7006" y="12446"/>
                  </a:lnTo>
                  <a:lnTo>
                    <a:pt x="7061" y="12385"/>
                  </a:lnTo>
                  <a:lnTo>
                    <a:pt x="7112" y="12321"/>
                  </a:lnTo>
                  <a:lnTo>
                    <a:pt x="7160" y="12256"/>
                  </a:lnTo>
                  <a:lnTo>
                    <a:pt x="7207" y="12188"/>
                  </a:lnTo>
                  <a:lnTo>
                    <a:pt x="7250" y="12120"/>
                  </a:lnTo>
                  <a:lnTo>
                    <a:pt x="7290" y="12048"/>
                  </a:lnTo>
                  <a:lnTo>
                    <a:pt x="7328" y="11976"/>
                  </a:lnTo>
                  <a:lnTo>
                    <a:pt x="7363" y="11901"/>
                  </a:lnTo>
                  <a:lnTo>
                    <a:pt x="7396" y="11824"/>
                  </a:lnTo>
                  <a:lnTo>
                    <a:pt x="7425" y="11747"/>
                  </a:lnTo>
                  <a:lnTo>
                    <a:pt x="7450" y="11667"/>
                  </a:lnTo>
                  <a:lnTo>
                    <a:pt x="7473" y="11587"/>
                  </a:lnTo>
                  <a:lnTo>
                    <a:pt x="10131" y="11587"/>
                  </a:lnTo>
                  <a:lnTo>
                    <a:pt x="10153" y="11667"/>
                  </a:lnTo>
                  <a:lnTo>
                    <a:pt x="10179" y="11747"/>
                  </a:lnTo>
                  <a:lnTo>
                    <a:pt x="10208" y="11824"/>
                  </a:lnTo>
                  <a:lnTo>
                    <a:pt x="10240" y="11901"/>
                  </a:lnTo>
                  <a:lnTo>
                    <a:pt x="10275" y="11976"/>
                  </a:lnTo>
                  <a:lnTo>
                    <a:pt x="10313" y="12048"/>
                  </a:lnTo>
                  <a:lnTo>
                    <a:pt x="10354" y="12120"/>
                  </a:lnTo>
                  <a:lnTo>
                    <a:pt x="10397" y="12188"/>
                  </a:lnTo>
                  <a:lnTo>
                    <a:pt x="10444" y="12256"/>
                  </a:lnTo>
                  <a:lnTo>
                    <a:pt x="10492" y="12321"/>
                  </a:lnTo>
                  <a:lnTo>
                    <a:pt x="10543" y="12385"/>
                  </a:lnTo>
                  <a:lnTo>
                    <a:pt x="10597" y="12446"/>
                  </a:lnTo>
                  <a:lnTo>
                    <a:pt x="10653" y="12505"/>
                  </a:lnTo>
                  <a:lnTo>
                    <a:pt x="10711" y="12561"/>
                  </a:lnTo>
                  <a:lnTo>
                    <a:pt x="10772" y="12615"/>
                  </a:lnTo>
                  <a:lnTo>
                    <a:pt x="10835" y="12668"/>
                  </a:lnTo>
                  <a:lnTo>
                    <a:pt x="10899" y="12717"/>
                  </a:lnTo>
                  <a:lnTo>
                    <a:pt x="10967" y="12763"/>
                  </a:lnTo>
                  <a:lnTo>
                    <a:pt x="11035" y="12807"/>
                  </a:lnTo>
                  <a:lnTo>
                    <a:pt x="11106" y="12848"/>
                  </a:lnTo>
                  <a:lnTo>
                    <a:pt x="11178" y="12886"/>
                  </a:lnTo>
                  <a:lnTo>
                    <a:pt x="11252" y="12922"/>
                  </a:lnTo>
                  <a:lnTo>
                    <a:pt x="11328" y="12955"/>
                  </a:lnTo>
                  <a:lnTo>
                    <a:pt x="11405" y="12984"/>
                  </a:lnTo>
                  <a:lnTo>
                    <a:pt x="11484" y="13010"/>
                  </a:lnTo>
                  <a:lnTo>
                    <a:pt x="11564" y="13033"/>
                  </a:lnTo>
                  <a:lnTo>
                    <a:pt x="11646" y="13053"/>
                  </a:lnTo>
                  <a:lnTo>
                    <a:pt x="11729" y="13069"/>
                  </a:lnTo>
                  <a:lnTo>
                    <a:pt x="11813" y="13081"/>
                  </a:lnTo>
                  <a:lnTo>
                    <a:pt x="11898" y="13091"/>
                  </a:lnTo>
                  <a:lnTo>
                    <a:pt x="11984" y="13096"/>
                  </a:lnTo>
                  <a:lnTo>
                    <a:pt x="12071" y="13098"/>
                  </a:lnTo>
                  <a:lnTo>
                    <a:pt x="12159" y="13096"/>
                  </a:lnTo>
                  <a:lnTo>
                    <a:pt x="12244" y="13091"/>
                  </a:lnTo>
                  <a:lnTo>
                    <a:pt x="12330" y="13081"/>
                  </a:lnTo>
                  <a:lnTo>
                    <a:pt x="12413" y="13069"/>
                  </a:lnTo>
                  <a:lnTo>
                    <a:pt x="12497" y="13053"/>
                  </a:lnTo>
                  <a:lnTo>
                    <a:pt x="12578" y="13033"/>
                  </a:lnTo>
                  <a:lnTo>
                    <a:pt x="12658" y="13010"/>
                  </a:lnTo>
                  <a:lnTo>
                    <a:pt x="12737" y="12984"/>
                  </a:lnTo>
                  <a:lnTo>
                    <a:pt x="12815" y="12955"/>
                  </a:lnTo>
                  <a:lnTo>
                    <a:pt x="12890" y="12922"/>
                  </a:lnTo>
                  <a:lnTo>
                    <a:pt x="12964" y="12886"/>
                  </a:lnTo>
                  <a:lnTo>
                    <a:pt x="13036" y="12848"/>
                  </a:lnTo>
                  <a:lnTo>
                    <a:pt x="13107" y="12807"/>
                  </a:lnTo>
                  <a:lnTo>
                    <a:pt x="13176" y="12763"/>
                  </a:lnTo>
                  <a:lnTo>
                    <a:pt x="13242" y="12717"/>
                  </a:lnTo>
                  <a:lnTo>
                    <a:pt x="13308" y="12668"/>
                  </a:lnTo>
                  <a:lnTo>
                    <a:pt x="13370" y="12615"/>
                  </a:lnTo>
                  <a:lnTo>
                    <a:pt x="13430" y="12561"/>
                  </a:lnTo>
                  <a:lnTo>
                    <a:pt x="13489" y="12505"/>
                  </a:lnTo>
                  <a:lnTo>
                    <a:pt x="13545" y="12446"/>
                  </a:lnTo>
                  <a:lnTo>
                    <a:pt x="13598" y="12385"/>
                  </a:lnTo>
                  <a:lnTo>
                    <a:pt x="13650" y="12321"/>
                  </a:lnTo>
                  <a:lnTo>
                    <a:pt x="13699" y="12256"/>
                  </a:lnTo>
                  <a:lnTo>
                    <a:pt x="13745" y="12188"/>
                  </a:lnTo>
                  <a:lnTo>
                    <a:pt x="13788" y="12120"/>
                  </a:lnTo>
                  <a:lnTo>
                    <a:pt x="13829" y="12048"/>
                  </a:lnTo>
                  <a:lnTo>
                    <a:pt x="13867" y="11976"/>
                  </a:lnTo>
                  <a:lnTo>
                    <a:pt x="13902" y="11901"/>
                  </a:lnTo>
                  <a:lnTo>
                    <a:pt x="13934" y="11824"/>
                  </a:lnTo>
                  <a:lnTo>
                    <a:pt x="13962" y="11747"/>
                  </a:lnTo>
                  <a:lnTo>
                    <a:pt x="13989" y="11667"/>
                  </a:lnTo>
                  <a:lnTo>
                    <a:pt x="14012" y="11587"/>
                  </a:lnTo>
                  <a:lnTo>
                    <a:pt x="14586" y="11587"/>
                  </a:lnTo>
                  <a:lnTo>
                    <a:pt x="14664" y="11585"/>
                  </a:lnTo>
                  <a:lnTo>
                    <a:pt x="14740" y="11579"/>
                  </a:lnTo>
                  <a:lnTo>
                    <a:pt x="14815" y="11569"/>
                  </a:lnTo>
                  <a:lnTo>
                    <a:pt x="14890" y="11556"/>
                  </a:lnTo>
                  <a:lnTo>
                    <a:pt x="14962" y="11539"/>
                  </a:lnTo>
                  <a:lnTo>
                    <a:pt x="15035" y="11519"/>
                  </a:lnTo>
                  <a:lnTo>
                    <a:pt x="15104" y="11495"/>
                  </a:lnTo>
                  <a:lnTo>
                    <a:pt x="15173" y="11468"/>
                  </a:lnTo>
                  <a:lnTo>
                    <a:pt x="15240" y="11437"/>
                  </a:lnTo>
                  <a:lnTo>
                    <a:pt x="15304" y="11404"/>
                  </a:lnTo>
                  <a:lnTo>
                    <a:pt x="15368" y="11368"/>
                  </a:lnTo>
                  <a:lnTo>
                    <a:pt x="15429" y="11329"/>
                  </a:lnTo>
                  <a:lnTo>
                    <a:pt x="15488" y="11286"/>
                  </a:lnTo>
                  <a:lnTo>
                    <a:pt x="15546" y="11241"/>
                  </a:lnTo>
                  <a:lnTo>
                    <a:pt x="15600" y="11194"/>
                  </a:lnTo>
                  <a:lnTo>
                    <a:pt x="15652" y="11143"/>
                  </a:lnTo>
                  <a:lnTo>
                    <a:pt x="15703" y="11091"/>
                  </a:lnTo>
                  <a:lnTo>
                    <a:pt x="15750" y="11036"/>
                  </a:lnTo>
                  <a:lnTo>
                    <a:pt x="15795" y="10979"/>
                  </a:lnTo>
                  <a:lnTo>
                    <a:pt x="15836" y="10920"/>
                  </a:lnTo>
                  <a:lnTo>
                    <a:pt x="15877" y="10858"/>
                  </a:lnTo>
                  <a:lnTo>
                    <a:pt x="15913" y="10795"/>
                  </a:lnTo>
                  <a:lnTo>
                    <a:pt x="15946" y="10730"/>
                  </a:lnTo>
                  <a:lnTo>
                    <a:pt x="15976" y="10663"/>
                  </a:lnTo>
                  <a:lnTo>
                    <a:pt x="16003" y="10594"/>
                  </a:lnTo>
                  <a:lnTo>
                    <a:pt x="16027" y="10525"/>
                  </a:lnTo>
                  <a:lnTo>
                    <a:pt x="16048" y="10453"/>
                  </a:lnTo>
                  <a:lnTo>
                    <a:pt x="16064" y="10379"/>
                  </a:lnTo>
                  <a:lnTo>
                    <a:pt x="16078" y="10305"/>
                  </a:lnTo>
                  <a:lnTo>
                    <a:pt x="16087" y="10229"/>
                  </a:lnTo>
                  <a:lnTo>
                    <a:pt x="16093" y="10153"/>
                  </a:lnTo>
                  <a:lnTo>
                    <a:pt x="16095" y="10075"/>
                  </a:lnTo>
                  <a:lnTo>
                    <a:pt x="16095" y="7052"/>
                  </a:lnTo>
                  <a:lnTo>
                    <a:pt x="16095" y="7025"/>
                  </a:lnTo>
                  <a:lnTo>
                    <a:pt x="16094" y="6997"/>
                  </a:lnTo>
                  <a:lnTo>
                    <a:pt x="16093" y="6969"/>
                  </a:lnTo>
                  <a:lnTo>
                    <a:pt x="16091" y="6941"/>
                  </a:lnTo>
                  <a:lnTo>
                    <a:pt x="16089" y="6913"/>
                  </a:lnTo>
                  <a:lnTo>
                    <a:pt x="16086" y="6885"/>
                  </a:lnTo>
                  <a:lnTo>
                    <a:pt x="16083" y="6858"/>
                  </a:lnTo>
                  <a:lnTo>
                    <a:pt x="16079" y="6831"/>
                  </a:lnTo>
                  <a:lnTo>
                    <a:pt x="16075" y="6803"/>
                  </a:lnTo>
                  <a:lnTo>
                    <a:pt x="16070" y="6776"/>
                  </a:lnTo>
                  <a:lnTo>
                    <a:pt x="16065" y="6749"/>
                  </a:lnTo>
                  <a:lnTo>
                    <a:pt x="16059" y="6722"/>
                  </a:lnTo>
                  <a:lnTo>
                    <a:pt x="16053" y="6695"/>
                  </a:lnTo>
                  <a:lnTo>
                    <a:pt x="16046" y="6667"/>
                  </a:lnTo>
                  <a:lnTo>
                    <a:pt x="16039" y="6641"/>
                  </a:lnTo>
                  <a:lnTo>
                    <a:pt x="16031" y="6615"/>
                  </a:lnTo>
                  <a:lnTo>
                    <a:pt x="16023" y="6588"/>
                  </a:lnTo>
                  <a:lnTo>
                    <a:pt x="16014" y="6562"/>
                  </a:lnTo>
                  <a:lnTo>
                    <a:pt x="16004" y="6536"/>
                  </a:lnTo>
                  <a:lnTo>
                    <a:pt x="15994" y="6510"/>
                  </a:lnTo>
                  <a:lnTo>
                    <a:pt x="15984" y="6484"/>
                  </a:lnTo>
                  <a:lnTo>
                    <a:pt x="15974" y="6459"/>
                  </a:lnTo>
                  <a:lnTo>
                    <a:pt x="15963" y="6434"/>
                  </a:lnTo>
                  <a:lnTo>
                    <a:pt x="15951" y="6408"/>
                  </a:lnTo>
                  <a:lnTo>
                    <a:pt x="15939" y="6383"/>
                  </a:lnTo>
                  <a:lnTo>
                    <a:pt x="15927" y="6358"/>
                  </a:lnTo>
                  <a:lnTo>
                    <a:pt x="15914" y="6334"/>
                  </a:lnTo>
                  <a:lnTo>
                    <a:pt x="15900" y="6310"/>
                  </a:lnTo>
                  <a:lnTo>
                    <a:pt x="15886" y="6286"/>
                  </a:lnTo>
                  <a:lnTo>
                    <a:pt x="15872" y="6261"/>
                  </a:lnTo>
                  <a:lnTo>
                    <a:pt x="15857" y="6238"/>
                  </a:lnTo>
                  <a:lnTo>
                    <a:pt x="15842" y="6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7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92" name="ïṩlîḓê">
              <a:extLst>
                <a:ext uri="{FF2B5EF4-FFF2-40B4-BE49-F238E27FC236}">
                  <a16:creationId xmlns:a16="http://schemas.microsoft.com/office/drawing/2014/main" id="{A39B1FC8-7E30-4DE0-9AA3-B748C5E550C7}"/>
                </a:ext>
              </a:extLst>
            </p:cNvPr>
            <p:cNvSpPr/>
            <p:nvPr/>
          </p:nvSpPr>
          <p:spPr bwMode="auto">
            <a:xfrm>
              <a:off x="6270422" y="1722710"/>
              <a:ext cx="593599" cy="595008"/>
            </a:xfrm>
            <a:custGeom>
              <a:avLst/>
              <a:gdLst>
                <a:gd name="T0" fmla="*/ 11438 w 16419"/>
                <a:gd name="T1" fmla="*/ 11992 h 16036"/>
                <a:gd name="T2" fmla="*/ 12051 w 16419"/>
                <a:gd name="T3" fmla="*/ 9611 h 16036"/>
                <a:gd name="T4" fmla="*/ 15080 w 16419"/>
                <a:gd name="T5" fmla="*/ 9931 h 16036"/>
                <a:gd name="T6" fmla="*/ 13248 w 16419"/>
                <a:gd name="T7" fmla="*/ 12967 h 16036"/>
                <a:gd name="T8" fmla="*/ 4590 w 16419"/>
                <a:gd name="T9" fmla="*/ 10655 h 16036"/>
                <a:gd name="T10" fmla="*/ 4429 w 16419"/>
                <a:gd name="T11" fmla="*/ 12231 h 16036"/>
                <a:gd name="T12" fmla="*/ 2147 w 16419"/>
                <a:gd name="T13" fmla="*/ 11712 h 16036"/>
                <a:gd name="T14" fmla="*/ 1073 w 16419"/>
                <a:gd name="T15" fmla="*/ 8277 h 16036"/>
                <a:gd name="T16" fmla="*/ 4139 w 16419"/>
                <a:gd name="T17" fmla="*/ 4183 h 16036"/>
                <a:gd name="T18" fmla="*/ 4533 w 16419"/>
                <a:gd name="T19" fmla="*/ 5582 h 16036"/>
                <a:gd name="T20" fmla="*/ 1073 w 16419"/>
                <a:gd name="T21" fmla="*/ 7759 h 16036"/>
                <a:gd name="T22" fmla="*/ 1997 w 16419"/>
                <a:gd name="T23" fmla="*/ 4578 h 16036"/>
                <a:gd name="T24" fmla="*/ 9313 w 16419"/>
                <a:gd name="T25" fmla="*/ 5095 h 16036"/>
                <a:gd name="T26" fmla="*/ 11066 w 16419"/>
                <a:gd name="T27" fmla="*/ 4695 h 16036"/>
                <a:gd name="T28" fmla="*/ 11565 w 16419"/>
                <a:gd name="T29" fmla="*/ 6759 h 16036"/>
                <a:gd name="T30" fmla="*/ 10152 w 16419"/>
                <a:gd name="T31" fmla="*/ 11598 h 16036"/>
                <a:gd name="T32" fmla="*/ 8474 w 16419"/>
                <a:gd name="T33" fmla="*/ 11394 h 16036"/>
                <a:gd name="T34" fmla="*/ 11313 w 16419"/>
                <a:gd name="T35" fmla="*/ 10543 h 16036"/>
                <a:gd name="T36" fmla="*/ 12142 w 16419"/>
                <a:gd name="T37" fmla="*/ 12889 h 16036"/>
                <a:gd name="T38" fmla="*/ 11354 w 16419"/>
                <a:gd name="T39" fmla="*/ 14282 h 16036"/>
                <a:gd name="T40" fmla="*/ 9710 w 16419"/>
                <a:gd name="T41" fmla="*/ 14564 h 16036"/>
                <a:gd name="T42" fmla="*/ 10935 w 16419"/>
                <a:gd name="T43" fmla="*/ 12871 h 16036"/>
                <a:gd name="T44" fmla="*/ 9524 w 16419"/>
                <a:gd name="T45" fmla="*/ 12005 h 16036"/>
                <a:gd name="T46" fmla="*/ 10393 w 16419"/>
                <a:gd name="T47" fmla="*/ 12757 h 16036"/>
                <a:gd name="T48" fmla="*/ 8904 w 16419"/>
                <a:gd name="T49" fmla="*/ 14636 h 16036"/>
                <a:gd name="T50" fmla="*/ 5284 w 16419"/>
                <a:gd name="T51" fmla="*/ 14382 h 16036"/>
                <a:gd name="T52" fmla="*/ 4071 w 16419"/>
                <a:gd name="T53" fmla="*/ 13005 h 16036"/>
                <a:gd name="T54" fmla="*/ 5783 w 16419"/>
                <a:gd name="T55" fmla="*/ 13367 h 16036"/>
                <a:gd name="T56" fmla="*/ 7945 w 16419"/>
                <a:gd name="T57" fmla="*/ 8277 h 16036"/>
                <a:gd name="T58" fmla="*/ 6342 w 16419"/>
                <a:gd name="T59" fmla="*/ 11582 h 16036"/>
                <a:gd name="T60" fmla="*/ 5136 w 16419"/>
                <a:gd name="T61" fmla="*/ 10650 h 16036"/>
                <a:gd name="T62" fmla="*/ 7945 w 16419"/>
                <a:gd name="T63" fmla="*/ 8277 h 16036"/>
                <a:gd name="T64" fmla="*/ 7024 w 16419"/>
                <a:gd name="T65" fmla="*/ 5084 h 16036"/>
                <a:gd name="T66" fmla="*/ 4843 w 16419"/>
                <a:gd name="T67" fmla="*/ 6857 h 16036"/>
                <a:gd name="T68" fmla="*/ 5321 w 16419"/>
                <a:gd name="T69" fmla="*/ 4784 h 16036"/>
                <a:gd name="T70" fmla="*/ 3667 w 16419"/>
                <a:gd name="T71" fmla="*/ 3305 h 16036"/>
                <a:gd name="T72" fmla="*/ 5215 w 16419"/>
                <a:gd name="T73" fmla="*/ 1684 h 16036"/>
                <a:gd name="T74" fmla="*/ 6448 w 16419"/>
                <a:gd name="T75" fmla="*/ 1771 h 16036"/>
                <a:gd name="T76" fmla="*/ 5148 w 16419"/>
                <a:gd name="T77" fmla="*/ 3833 h 16036"/>
                <a:gd name="T78" fmla="*/ 6569 w 16419"/>
                <a:gd name="T79" fmla="*/ 4486 h 16036"/>
                <a:gd name="T80" fmla="*/ 6014 w 16419"/>
                <a:gd name="T81" fmla="*/ 3301 h 16036"/>
                <a:gd name="T82" fmla="*/ 7732 w 16419"/>
                <a:gd name="T83" fmla="*/ 1205 h 16036"/>
                <a:gd name="T84" fmla="*/ 11565 w 16419"/>
                <a:gd name="T85" fmla="*/ 1859 h 16036"/>
                <a:gd name="T86" fmla="*/ 12421 w 16419"/>
                <a:gd name="T87" fmla="*/ 3513 h 16036"/>
                <a:gd name="T88" fmla="*/ 11123 w 16419"/>
                <a:gd name="T89" fmla="*/ 3527 h 16036"/>
                <a:gd name="T90" fmla="*/ 9758 w 16419"/>
                <a:gd name="T91" fmla="*/ 1525 h 16036"/>
                <a:gd name="T92" fmla="*/ 9852 w 16419"/>
                <a:gd name="T93" fmla="*/ 2463 h 16036"/>
                <a:gd name="T94" fmla="*/ 10437 w 16419"/>
                <a:gd name="T95" fmla="*/ 4348 h 16036"/>
                <a:gd name="T96" fmla="*/ 8786 w 16419"/>
                <a:gd name="T97" fmla="*/ 4626 h 16036"/>
                <a:gd name="T98" fmla="*/ 6848 w 16419"/>
                <a:gd name="T99" fmla="*/ 13930 h 16036"/>
                <a:gd name="T100" fmla="*/ 6020 w 16419"/>
                <a:gd name="T101" fmla="*/ 12187 h 16036"/>
                <a:gd name="T102" fmla="*/ 7521 w 16419"/>
                <a:gd name="T103" fmla="*/ 11934 h 16036"/>
                <a:gd name="T104" fmla="*/ 12063 w 16419"/>
                <a:gd name="T105" fmla="*/ 6494 h 16036"/>
                <a:gd name="T106" fmla="*/ 11695 w 16419"/>
                <a:gd name="T107" fmla="*/ 4461 h 16036"/>
                <a:gd name="T108" fmla="*/ 13078 w 16419"/>
                <a:gd name="T109" fmla="*/ 3710 h 16036"/>
                <a:gd name="T110" fmla="*/ 14700 w 16419"/>
                <a:gd name="T111" fmla="*/ 5106 h 16036"/>
                <a:gd name="T112" fmla="*/ 6960 w 16419"/>
                <a:gd name="T113" fmla="*/ 92 h 16036"/>
                <a:gd name="T114" fmla="*/ 498 w 16419"/>
                <a:gd name="T115" fmla="*/ 5261 h 16036"/>
                <a:gd name="T116" fmla="*/ 2132 w 16419"/>
                <a:gd name="T117" fmla="*/ 13409 h 16036"/>
                <a:gd name="T118" fmla="*/ 10261 w 16419"/>
                <a:gd name="T119" fmla="*/ 15783 h 16036"/>
                <a:gd name="T120" fmla="*/ 16160 w 16419"/>
                <a:gd name="T121" fmla="*/ 10021 h 16036"/>
                <a:gd name="T122" fmla="*/ 13729 w 16419"/>
                <a:gd name="T123" fmla="*/ 2083 h 160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19" h="16036">
                  <a:moveTo>
                    <a:pt x="13248" y="12967"/>
                  </a:moveTo>
                  <a:lnTo>
                    <a:pt x="13139" y="12892"/>
                  </a:lnTo>
                  <a:lnTo>
                    <a:pt x="13030" y="12819"/>
                  </a:lnTo>
                  <a:lnTo>
                    <a:pt x="12919" y="12748"/>
                  </a:lnTo>
                  <a:lnTo>
                    <a:pt x="12807" y="12676"/>
                  </a:lnTo>
                  <a:lnTo>
                    <a:pt x="12693" y="12608"/>
                  </a:lnTo>
                  <a:lnTo>
                    <a:pt x="12579" y="12541"/>
                  </a:lnTo>
                  <a:lnTo>
                    <a:pt x="12463" y="12476"/>
                  </a:lnTo>
                  <a:lnTo>
                    <a:pt x="12347" y="12413"/>
                  </a:lnTo>
                  <a:lnTo>
                    <a:pt x="12229" y="12351"/>
                  </a:lnTo>
                  <a:lnTo>
                    <a:pt x="12110" y="12291"/>
                  </a:lnTo>
                  <a:lnTo>
                    <a:pt x="12051" y="12261"/>
                  </a:lnTo>
                  <a:lnTo>
                    <a:pt x="11990" y="12231"/>
                  </a:lnTo>
                  <a:lnTo>
                    <a:pt x="11930" y="12203"/>
                  </a:lnTo>
                  <a:lnTo>
                    <a:pt x="11869" y="12175"/>
                  </a:lnTo>
                  <a:lnTo>
                    <a:pt x="11808" y="12147"/>
                  </a:lnTo>
                  <a:lnTo>
                    <a:pt x="11747" y="12120"/>
                  </a:lnTo>
                  <a:lnTo>
                    <a:pt x="11686" y="12094"/>
                  </a:lnTo>
                  <a:lnTo>
                    <a:pt x="11625" y="12068"/>
                  </a:lnTo>
                  <a:lnTo>
                    <a:pt x="11562" y="12042"/>
                  </a:lnTo>
                  <a:lnTo>
                    <a:pt x="11499" y="12017"/>
                  </a:lnTo>
                  <a:lnTo>
                    <a:pt x="11438" y="11992"/>
                  </a:lnTo>
                  <a:lnTo>
                    <a:pt x="11374" y="11968"/>
                  </a:lnTo>
                  <a:lnTo>
                    <a:pt x="11419" y="11863"/>
                  </a:lnTo>
                  <a:lnTo>
                    <a:pt x="11463" y="11756"/>
                  </a:lnTo>
                  <a:lnTo>
                    <a:pt x="11505" y="11649"/>
                  </a:lnTo>
                  <a:lnTo>
                    <a:pt x="11546" y="11541"/>
                  </a:lnTo>
                  <a:lnTo>
                    <a:pt x="11585" y="11433"/>
                  </a:lnTo>
                  <a:lnTo>
                    <a:pt x="11624" y="11323"/>
                  </a:lnTo>
                  <a:lnTo>
                    <a:pt x="11661" y="11214"/>
                  </a:lnTo>
                  <a:lnTo>
                    <a:pt x="11696" y="11104"/>
                  </a:lnTo>
                  <a:lnTo>
                    <a:pt x="11731" y="10993"/>
                  </a:lnTo>
                  <a:lnTo>
                    <a:pt x="11765" y="10880"/>
                  </a:lnTo>
                  <a:lnTo>
                    <a:pt x="11798" y="10768"/>
                  </a:lnTo>
                  <a:lnTo>
                    <a:pt x="11829" y="10655"/>
                  </a:lnTo>
                  <a:lnTo>
                    <a:pt x="11859" y="10542"/>
                  </a:lnTo>
                  <a:lnTo>
                    <a:pt x="11887" y="10427"/>
                  </a:lnTo>
                  <a:lnTo>
                    <a:pt x="11914" y="10312"/>
                  </a:lnTo>
                  <a:lnTo>
                    <a:pt x="11941" y="10197"/>
                  </a:lnTo>
                  <a:lnTo>
                    <a:pt x="11965" y="10081"/>
                  </a:lnTo>
                  <a:lnTo>
                    <a:pt x="11988" y="9964"/>
                  </a:lnTo>
                  <a:lnTo>
                    <a:pt x="12010" y="9847"/>
                  </a:lnTo>
                  <a:lnTo>
                    <a:pt x="12031" y="9729"/>
                  </a:lnTo>
                  <a:lnTo>
                    <a:pt x="12051" y="9611"/>
                  </a:lnTo>
                  <a:lnTo>
                    <a:pt x="12068" y="9492"/>
                  </a:lnTo>
                  <a:lnTo>
                    <a:pt x="12084" y="9373"/>
                  </a:lnTo>
                  <a:lnTo>
                    <a:pt x="12100" y="9253"/>
                  </a:lnTo>
                  <a:lnTo>
                    <a:pt x="12113" y="9133"/>
                  </a:lnTo>
                  <a:lnTo>
                    <a:pt x="12126" y="9011"/>
                  </a:lnTo>
                  <a:lnTo>
                    <a:pt x="12137" y="8890"/>
                  </a:lnTo>
                  <a:lnTo>
                    <a:pt x="12147" y="8769"/>
                  </a:lnTo>
                  <a:lnTo>
                    <a:pt x="12155" y="8646"/>
                  </a:lnTo>
                  <a:lnTo>
                    <a:pt x="12161" y="8523"/>
                  </a:lnTo>
                  <a:lnTo>
                    <a:pt x="12166" y="8400"/>
                  </a:lnTo>
                  <a:lnTo>
                    <a:pt x="12171" y="8277"/>
                  </a:lnTo>
                  <a:lnTo>
                    <a:pt x="15347" y="8277"/>
                  </a:lnTo>
                  <a:lnTo>
                    <a:pt x="15337" y="8448"/>
                  </a:lnTo>
                  <a:lnTo>
                    <a:pt x="15325" y="8617"/>
                  </a:lnTo>
                  <a:lnTo>
                    <a:pt x="15309" y="8786"/>
                  </a:lnTo>
                  <a:lnTo>
                    <a:pt x="15287" y="8954"/>
                  </a:lnTo>
                  <a:lnTo>
                    <a:pt x="15262" y="9119"/>
                  </a:lnTo>
                  <a:lnTo>
                    <a:pt x="15234" y="9285"/>
                  </a:lnTo>
                  <a:lnTo>
                    <a:pt x="15201" y="9449"/>
                  </a:lnTo>
                  <a:lnTo>
                    <a:pt x="15164" y="9612"/>
                  </a:lnTo>
                  <a:lnTo>
                    <a:pt x="15124" y="9772"/>
                  </a:lnTo>
                  <a:lnTo>
                    <a:pt x="15080" y="9931"/>
                  </a:lnTo>
                  <a:lnTo>
                    <a:pt x="15032" y="10090"/>
                  </a:lnTo>
                  <a:lnTo>
                    <a:pt x="14980" y="10246"/>
                  </a:lnTo>
                  <a:lnTo>
                    <a:pt x="14925" y="10400"/>
                  </a:lnTo>
                  <a:lnTo>
                    <a:pt x="14866" y="10554"/>
                  </a:lnTo>
                  <a:lnTo>
                    <a:pt x="14804" y="10705"/>
                  </a:lnTo>
                  <a:lnTo>
                    <a:pt x="14738" y="10854"/>
                  </a:lnTo>
                  <a:lnTo>
                    <a:pt x="14668" y="11002"/>
                  </a:lnTo>
                  <a:lnTo>
                    <a:pt x="14596" y="11148"/>
                  </a:lnTo>
                  <a:lnTo>
                    <a:pt x="14521" y="11292"/>
                  </a:lnTo>
                  <a:lnTo>
                    <a:pt x="14441" y="11434"/>
                  </a:lnTo>
                  <a:lnTo>
                    <a:pt x="14358" y="11574"/>
                  </a:lnTo>
                  <a:lnTo>
                    <a:pt x="14272" y="11712"/>
                  </a:lnTo>
                  <a:lnTo>
                    <a:pt x="14183" y="11848"/>
                  </a:lnTo>
                  <a:lnTo>
                    <a:pt x="14092" y="11981"/>
                  </a:lnTo>
                  <a:lnTo>
                    <a:pt x="13996" y="12113"/>
                  </a:lnTo>
                  <a:lnTo>
                    <a:pt x="13898" y="12241"/>
                  </a:lnTo>
                  <a:lnTo>
                    <a:pt x="13797" y="12369"/>
                  </a:lnTo>
                  <a:lnTo>
                    <a:pt x="13693" y="12493"/>
                  </a:lnTo>
                  <a:lnTo>
                    <a:pt x="13586" y="12615"/>
                  </a:lnTo>
                  <a:lnTo>
                    <a:pt x="13476" y="12735"/>
                  </a:lnTo>
                  <a:lnTo>
                    <a:pt x="13364" y="12852"/>
                  </a:lnTo>
                  <a:lnTo>
                    <a:pt x="13248" y="12967"/>
                  </a:lnTo>
                  <a:close/>
                  <a:moveTo>
                    <a:pt x="1073" y="8277"/>
                  </a:moveTo>
                  <a:lnTo>
                    <a:pt x="4248" y="8277"/>
                  </a:lnTo>
                  <a:lnTo>
                    <a:pt x="4253" y="8400"/>
                  </a:lnTo>
                  <a:lnTo>
                    <a:pt x="4258" y="8523"/>
                  </a:lnTo>
                  <a:lnTo>
                    <a:pt x="4265" y="8646"/>
                  </a:lnTo>
                  <a:lnTo>
                    <a:pt x="4273" y="8769"/>
                  </a:lnTo>
                  <a:lnTo>
                    <a:pt x="4282" y="8890"/>
                  </a:lnTo>
                  <a:lnTo>
                    <a:pt x="4294" y="9011"/>
                  </a:lnTo>
                  <a:lnTo>
                    <a:pt x="4306" y="9133"/>
                  </a:lnTo>
                  <a:lnTo>
                    <a:pt x="4319" y="9253"/>
                  </a:lnTo>
                  <a:lnTo>
                    <a:pt x="4335" y="9373"/>
                  </a:lnTo>
                  <a:lnTo>
                    <a:pt x="4351" y="9492"/>
                  </a:lnTo>
                  <a:lnTo>
                    <a:pt x="4370" y="9611"/>
                  </a:lnTo>
                  <a:lnTo>
                    <a:pt x="4388" y="9729"/>
                  </a:lnTo>
                  <a:lnTo>
                    <a:pt x="4410" y="9847"/>
                  </a:lnTo>
                  <a:lnTo>
                    <a:pt x="4431" y="9964"/>
                  </a:lnTo>
                  <a:lnTo>
                    <a:pt x="4455" y="10081"/>
                  </a:lnTo>
                  <a:lnTo>
                    <a:pt x="4479" y="10197"/>
                  </a:lnTo>
                  <a:lnTo>
                    <a:pt x="4505" y="10312"/>
                  </a:lnTo>
                  <a:lnTo>
                    <a:pt x="4533" y="10427"/>
                  </a:lnTo>
                  <a:lnTo>
                    <a:pt x="4560" y="10542"/>
                  </a:lnTo>
                  <a:lnTo>
                    <a:pt x="4590" y="10655"/>
                  </a:lnTo>
                  <a:lnTo>
                    <a:pt x="4622" y="10768"/>
                  </a:lnTo>
                  <a:lnTo>
                    <a:pt x="4654" y="10880"/>
                  </a:lnTo>
                  <a:lnTo>
                    <a:pt x="4688" y="10993"/>
                  </a:lnTo>
                  <a:lnTo>
                    <a:pt x="4723" y="11104"/>
                  </a:lnTo>
                  <a:lnTo>
                    <a:pt x="4758" y="11214"/>
                  </a:lnTo>
                  <a:lnTo>
                    <a:pt x="4795" y="11323"/>
                  </a:lnTo>
                  <a:lnTo>
                    <a:pt x="4834" y="11433"/>
                  </a:lnTo>
                  <a:lnTo>
                    <a:pt x="4874" y="11541"/>
                  </a:lnTo>
                  <a:lnTo>
                    <a:pt x="4915" y="11649"/>
                  </a:lnTo>
                  <a:lnTo>
                    <a:pt x="4958" y="11756"/>
                  </a:lnTo>
                  <a:lnTo>
                    <a:pt x="5001" y="11863"/>
                  </a:lnTo>
                  <a:lnTo>
                    <a:pt x="5045" y="11968"/>
                  </a:lnTo>
                  <a:lnTo>
                    <a:pt x="4982" y="11992"/>
                  </a:lnTo>
                  <a:lnTo>
                    <a:pt x="4920" y="12017"/>
                  </a:lnTo>
                  <a:lnTo>
                    <a:pt x="4857" y="12042"/>
                  </a:lnTo>
                  <a:lnTo>
                    <a:pt x="4795" y="12068"/>
                  </a:lnTo>
                  <a:lnTo>
                    <a:pt x="4734" y="12094"/>
                  </a:lnTo>
                  <a:lnTo>
                    <a:pt x="4672" y="12120"/>
                  </a:lnTo>
                  <a:lnTo>
                    <a:pt x="4611" y="12147"/>
                  </a:lnTo>
                  <a:lnTo>
                    <a:pt x="4550" y="12175"/>
                  </a:lnTo>
                  <a:lnTo>
                    <a:pt x="4490" y="12203"/>
                  </a:lnTo>
                  <a:lnTo>
                    <a:pt x="4429" y="12231"/>
                  </a:lnTo>
                  <a:lnTo>
                    <a:pt x="4370" y="12261"/>
                  </a:lnTo>
                  <a:lnTo>
                    <a:pt x="4309" y="12291"/>
                  </a:lnTo>
                  <a:lnTo>
                    <a:pt x="4191" y="12351"/>
                  </a:lnTo>
                  <a:lnTo>
                    <a:pt x="4073" y="12413"/>
                  </a:lnTo>
                  <a:lnTo>
                    <a:pt x="3956" y="12476"/>
                  </a:lnTo>
                  <a:lnTo>
                    <a:pt x="3841" y="12541"/>
                  </a:lnTo>
                  <a:lnTo>
                    <a:pt x="3726" y="12608"/>
                  </a:lnTo>
                  <a:lnTo>
                    <a:pt x="3613" y="12676"/>
                  </a:lnTo>
                  <a:lnTo>
                    <a:pt x="3501" y="12748"/>
                  </a:lnTo>
                  <a:lnTo>
                    <a:pt x="3389" y="12819"/>
                  </a:lnTo>
                  <a:lnTo>
                    <a:pt x="3280" y="12892"/>
                  </a:lnTo>
                  <a:lnTo>
                    <a:pt x="3171" y="12967"/>
                  </a:lnTo>
                  <a:lnTo>
                    <a:pt x="3056" y="12852"/>
                  </a:lnTo>
                  <a:lnTo>
                    <a:pt x="2943" y="12735"/>
                  </a:lnTo>
                  <a:lnTo>
                    <a:pt x="2833" y="12615"/>
                  </a:lnTo>
                  <a:lnTo>
                    <a:pt x="2727" y="12493"/>
                  </a:lnTo>
                  <a:lnTo>
                    <a:pt x="2623" y="12369"/>
                  </a:lnTo>
                  <a:lnTo>
                    <a:pt x="2521" y="12241"/>
                  </a:lnTo>
                  <a:lnTo>
                    <a:pt x="2423" y="12113"/>
                  </a:lnTo>
                  <a:lnTo>
                    <a:pt x="2328" y="11981"/>
                  </a:lnTo>
                  <a:lnTo>
                    <a:pt x="2236" y="11848"/>
                  </a:lnTo>
                  <a:lnTo>
                    <a:pt x="2147" y="11712"/>
                  </a:lnTo>
                  <a:lnTo>
                    <a:pt x="2062" y="11574"/>
                  </a:lnTo>
                  <a:lnTo>
                    <a:pt x="1978" y="11434"/>
                  </a:lnTo>
                  <a:lnTo>
                    <a:pt x="1899" y="11292"/>
                  </a:lnTo>
                  <a:lnTo>
                    <a:pt x="1824" y="11148"/>
                  </a:lnTo>
                  <a:lnTo>
                    <a:pt x="1751" y="11002"/>
                  </a:lnTo>
                  <a:lnTo>
                    <a:pt x="1682" y="10854"/>
                  </a:lnTo>
                  <a:lnTo>
                    <a:pt x="1615" y="10705"/>
                  </a:lnTo>
                  <a:lnTo>
                    <a:pt x="1554" y="10554"/>
                  </a:lnTo>
                  <a:lnTo>
                    <a:pt x="1494" y="10400"/>
                  </a:lnTo>
                  <a:lnTo>
                    <a:pt x="1440" y="10246"/>
                  </a:lnTo>
                  <a:lnTo>
                    <a:pt x="1387" y="10090"/>
                  </a:lnTo>
                  <a:lnTo>
                    <a:pt x="1340" y="9931"/>
                  </a:lnTo>
                  <a:lnTo>
                    <a:pt x="1296" y="9772"/>
                  </a:lnTo>
                  <a:lnTo>
                    <a:pt x="1255" y="9612"/>
                  </a:lnTo>
                  <a:lnTo>
                    <a:pt x="1219" y="9449"/>
                  </a:lnTo>
                  <a:lnTo>
                    <a:pt x="1186" y="9285"/>
                  </a:lnTo>
                  <a:lnTo>
                    <a:pt x="1158" y="9119"/>
                  </a:lnTo>
                  <a:lnTo>
                    <a:pt x="1132" y="8954"/>
                  </a:lnTo>
                  <a:lnTo>
                    <a:pt x="1111" y="8786"/>
                  </a:lnTo>
                  <a:lnTo>
                    <a:pt x="1095" y="8617"/>
                  </a:lnTo>
                  <a:lnTo>
                    <a:pt x="1082" y="8448"/>
                  </a:lnTo>
                  <a:lnTo>
                    <a:pt x="1073" y="8277"/>
                  </a:lnTo>
                  <a:close/>
                  <a:moveTo>
                    <a:pt x="2878" y="3381"/>
                  </a:moveTo>
                  <a:lnTo>
                    <a:pt x="2935" y="3423"/>
                  </a:lnTo>
                  <a:lnTo>
                    <a:pt x="2992" y="3466"/>
                  </a:lnTo>
                  <a:lnTo>
                    <a:pt x="3050" y="3507"/>
                  </a:lnTo>
                  <a:lnTo>
                    <a:pt x="3107" y="3549"/>
                  </a:lnTo>
                  <a:lnTo>
                    <a:pt x="3165" y="3590"/>
                  </a:lnTo>
                  <a:lnTo>
                    <a:pt x="3223" y="3630"/>
                  </a:lnTo>
                  <a:lnTo>
                    <a:pt x="3282" y="3670"/>
                  </a:lnTo>
                  <a:lnTo>
                    <a:pt x="3341" y="3710"/>
                  </a:lnTo>
                  <a:lnTo>
                    <a:pt x="3401" y="3749"/>
                  </a:lnTo>
                  <a:lnTo>
                    <a:pt x="3460" y="3789"/>
                  </a:lnTo>
                  <a:lnTo>
                    <a:pt x="3521" y="3827"/>
                  </a:lnTo>
                  <a:lnTo>
                    <a:pt x="3581" y="3865"/>
                  </a:lnTo>
                  <a:lnTo>
                    <a:pt x="3642" y="3902"/>
                  </a:lnTo>
                  <a:lnTo>
                    <a:pt x="3702" y="3939"/>
                  </a:lnTo>
                  <a:lnTo>
                    <a:pt x="3764" y="3975"/>
                  </a:lnTo>
                  <a:lnTo>
                    <a:pt x="3826" y="4011"/>
                  </a:lnTo>
                  <a:lnTo>
                    <a:pt x="3887" y="4046"/>
                  </a:lnTo>
                  <a:lnTo>
                    <a:pt x="3950" y="4081"/>
                  </a:lnTo>
                  <a:lnTo>
                    <a:pt x="4012" y="4116"/>
                  </a:lnTo>
                  <a:lnTo>
                    <a:pt x="4076" y="4150"/>
                  </a:lnTo>
                  <a:lnTo>
                    <a:pt x="4139" y="4183"/>
                  </a:lnTo>
                  <a:lnTo>
                    <a:pt x="4202" y="4216"/>
                  </a:lnTo>
                  <a:lnTo>
                    <a:pt x="4267" y="4249"/>
                  </a:lnTo>
                  <a:lnTo>
                    <a:pt x="4331" y="4281"/>
                  </a:lnTo>
                  <a:lnTo>
                    <a:pt x="4395" y="4312"/>
                  </a:lnTo>
                  <a:lnTo>
                    <a:pt x="4461" y="4343"/>
                  </a:lnTo>
                  <a:lnTo>
                    <a:pt x="4525" y="4374"/>
                  </a:lnTo>
                  <a:lnTo>
                    <a:pt x="4591" y="4403"/>
                  </a:lnTo>
                  <a:lnTo>
                    <a:pt x="4657" y="4432"/>
                  </a:lnTo>
                  <a:lnTo>
                    <a:pt x="4724" y="4461"/>
                  </a:lnTo>
                  <a:lnTo>
                    <a:pt x="4789" y="4489"/>
                  </a:lnTo>
                  <a:lnTo>
                    <a:pt x="4856" y="4517"/>
                  </a:lnTo>
                  <a:lnTo>
                    <a:pt x="4822" y="4611"/>
                  </a:lnTo>
                  <a:lnTo>
                    <a:pt x="4789" y="4706"/>
                  </a:lnTo>
                  <a:lnTo>
                    <a:pt x="4756" y="4801"/>
                  </a:lnTo>
                  <a:lnTo>
                    <a:pt x="4726" y="4897"/>
                  </a:lnTo>
                  <a:lnTo>
                    <a:pt x="4695" y="4993"/>
                  </a:lnTo>
                  <a:lnTo>
                    <a:pt x="4665" y="5090"/>
                  </a:lnTo>
                  <a:lnTo>
                    <a:pt x="4637" y="5188"/>
                  </a:lnTo>
                  <a:lnTo>
                    <a:pt x="4610" y="5285"/>
                  </a:lnTo>
                  <a:lnTo>
                    <a:pt x="4583" y="5383"/>
                  </a:lnTo>
                  <a:lnTo>
                    <a:pt x="4557" y="5482"/>
                  </a:lnTo>
                  <a:lnTo>
                    <a:pt x="4533" y="5582"/>
                  </a:lnTo>
                  <a:lnTo>
                    <a:pt x="4509" y="5681"/>
                  </a:lnTo>
                  <a:lnTo>
                    <a:pt x="4486" y="5781"/>
                  </a:lnTo>
                  <a:lnTo>
                    <a:pt x="4465" y="5881"/>
                  </a:lnTo>
                  <a:lnTo>
                    <a:pt x="4444" y="5982"/>
                  </a:lnTo>
                  <a:lnTo>
                    <a:pt x="4425" y="6084"/>
                  </a:lnTo>
                  <a:lnTo>
                    <a:pt x="4406" y="6186"/>
                  </a:lnTo>
                  <a:lnTo>
                    <a:pt x="4388" y="6288"/>
                  </a:lnTo>
                  <a:lnTo>
                    <a:pt x="4372" y="6391"/>
                  </a:lnTo>
                  <a:lnTo>
                    <a:pt x="4356" y="6494"/>
                  </a:lnTo>
                  <a:lnTo>
                    <a:pt x="4342" y="6598"/>
                  </a:lnTo>
                  <a:lnTo>
                    <a:pt x="4328" y="6701"/>
                  </a:lnTo>
                  <a:lnTo>
                    <a:pt x="4315" y="6805"/>
                  </a:lnTo>
                  <a:lnTo>
                    <a:pt x="4304" y="6911"/>
                  </a:lnTo>
                  <a:lnTo>
                    <a:pt x="4294" y="7015"/>
                  </a:lnTo>
                  <a:lnTo>
                    <a:pt x="4284" y="7120"/>
                  </a:lnTo>
                  <a:lnTo>
                    <a:pt x="4275" y="7226"/>
                  </a:lnTo>
                  <a:lnTo>
                    <a:pt x="4268" y="7332"/>
                  </a:lnTo>
                  <a:lnTo>
                    <a:pt x="4262" y="7439"/>
                  </a:lnTo>
                  <a:lnTo>
                    <a:pt x="4257" y="7545"/>
                  </a:lnTo>
                  <a:lnTo>
                    <a:pt x="4253" y="7652"/>
                  </a:lnTo>
                  <a:lnTo>
                    <a:pt x="4248" y="7759"/>
                  </a:lnTo>
                  <a:lnTo>
                    <a:pt x="1073" y="7759"/>
                  </a:lnTo>
                  <a:lnTo>
                    <a:pt x="1081" y="7602"/>
                  </a:lnTo>
                  <a:lnTo>
                    <a:pt x="1092" y="7446"/>
                  </a:lnTo>
                  <a:lnTo>
                    <a:pt x="1107" y="7291"/>
                  </a:lnTo>
                  <a:lnTo>
                    <a:pt x="1125" y="7137"/>
                  </a:lnTo>
                  <a:lnTo>
                    <a:pt x="1146" y="6984"/>
                  </a:lnTo>
                  <a:lnTo>
                    <a:pt x="1171" y="6832"/>
                  </a:lnTo>
                  <a:lnTo>
                    <a:pt x="1200" y="6681"/>
                  </a:lnTo>
                  <a:lnTo>
                    <a:pt x="1231" y="6532"/>
                  </a:lnTo>
                  <a:lnTo>
                    <a:pt x="1265" y="6383"/>
                  </a:lnTo>
                  <a:lnTo>
                    <a:pt x="1304" y="6236"/>
                  </a:lnTo>
                  <a:lnTo>
                    <a:pt x="1345" y="6090"/>
                  </a:lnTo>
                  <a:lnTo>
                    <a:pt x="1389" y="5945"/>
                  </a:lnTo>
                  <a:lnTo>
                    <a:pt x="1437" y="5802"/>
                  </a:lnTo>
                  <a:lnTo>
                    <a:pt x="1487" y="5660"/>
                  </a:lnTo>
                  <a:lnTo>
                    <a:pt x="1540" y="5519"/>
                  </a:lnTo>
                  <a:lnTo>
                    <a:pt x="1597" y="5380"/>
                  </a:lnTo>
                  <a:lnTo>
                    <a:pt x="1656" y="5243"/>
                  </a:lnTo>
                  <a:lnTo>
                    <a:pt x="1719" y="5106"/>
                  </a:lnTo>
                  <a:lnTo>
                    <a:pt x="1785" y="4972"/>
                  </a:lnTo>
                  <a:lnTo>
                    <a:pt x="1852" y="4839"/>
                  </a:lnTo>
                  <a:lnTo>
                    <a:pt x="1923" y="4708"/>
                  </a:lnTo>
                  <a:lnTo>
                    <a:pt x="1997" y="4578"/>
                  </a:lnTo>
                  <a:lnTo>
                    <a:pt x="2074" y="4450"/>
                  </a:lnTo>
                  <a:lnTo>
                    <a:pt x="2153" y="4324"/>
                  </a:lnTo>
                  <a:lnTo>
                    <a:pt x="2234" y="4199"/>
                  </a:lnTo>
                  <a:lnTo>
                    <a:pt x="2319" y="4076"/>
                  </a:lnTo>
                  <a:lnTo>
                    <a:pt x="2405" y="3956"/>
                  </a:lnTo>
                  <a:lnTo>
                    <a:pt x="2496" y="3837"/>
                  </a:lnTo>
                  <a:lnTo>
                    <a:pt x="2587" y="3719"/>
                  </a:lnTo>
                  <a:lnTo>
                    <a:pt x="2681" y="3605"/>
                  </a:lnTo>
                  <a:lnTo>
                    <a:pt x="2779" y="3492"/>
                  </a:lnTo>
                  <a:lnTo>
                    <a:pt x="2878" y="3381"/>
                  </a:lnTo>
                  <a:close/>
                  <a:moveTo>
                    <a:pt x="8474" y="7759"/>
                  </a:moveTo>
                  <a:lnTo>
                    <a:pt x="8474" y="5160"/>
                  </a:lnTo>
                  <a:lnTo>
                    <a:pt x="8559" y="5157"/>
                  </a:lnTo>
                  <a:lnTo>
                    <a:pt x="8644" y="5153"/>
                  </a:lnTo>
                  <a:lnTo>
                    <a:pt x="8728" y="5149"/>
                  </a:lnTo>
                  <a:lnTo>
                    <a:pt x="8812" y="5143"/>
                  </a:lnTo>
                  <a:lnTo>
                    <a:pt x="8896" y="5137"/>
                  </a:lnTo>
                  <a:lnTo>
                    <a:pt x="8980" y="5131"/>
                  </a:lnTo>
                  <a:lnTo>
                    <a:pt x="9063" y="5122"/>
                  </a:lnTo>
                  <a:lnTo>
                    <a:pt x="9146" y="5114"/>
                  </a:lnTo>
                  <a:lnTo>
                    <a:pt x="9230" y="5105"/>
                  </a:lnTo>
                  <a:lnTo>
                    <a:pt x="9313" y="5095"/>
                  </a:lnTo>
                  <a:lnTo>
                    <a:pt x="9395" y="5084"/>
                  </a:lnTo>
                  <a:lnTo>
                    <a:pt x="9477" y="5073"/>
                  </a:lnTo>
                  <a:lnTo>
                    <a:pt x="9559" y="5061"/>
                  </a:lnTo>
                  <a:lnTo>
                    <a:pt x="9641" y="5048"/>
                  </a:lnTo>
                  <a:lnTo>
                    <a:pt x="9723" y="5035"/>
                  </a:lnTo>
                  <a:lnTo>
                    <a:pt x="9804" y="5020"/>
                  </a:lnTo>
                  <a:lnTo>
                    <a:pt x="9885" y="5005"/>
                  </a:lnTo>
                  <a:lnTo>
                    <a:pt x="9965" y="4990"/>
                  </a:lnTo>
                  <a:lnTo>
                    <a:pt x="10046" y="4973"/>
                  </a:lnTo>
                  <a:lnTo>
                    <a:pt x="10126" y="4956"/>
                  </a:lnTo>
                  <a:lnTo>
                    <a:pt x="10206" y="4938"/>
                  </a:lnTo>
                  <a:lnTo>
                    <a:pt x="10287" y="4920"/>
                  </a:lnTo>
                  <a:lnTo>
                    <a:pt x="10366" y="4900"/>
                  </a:lnTo>
                  <a:lnTo>
                    <a:pt x="10445" y="4880"/>
                  </a:lnTo>
                  <a:lnTo>
                    <a:pt x="10524" y="4860"/>
                  </a:lnTo>
                  <a:lnTo>
                    <a:pt x="10602" y="4838"/>
                  </a:lnTo>
                  <a:lnTo>
                    <a:pt x="10681" y="4816"/>
                  </a:lnTo>
                  <a:lnTo>
                    <a:pt x="10759" y="4793"/>
                  </a:lnTo>
                  <a:lnTo>
                    <a:pt x="10836" y="4770"/>
                  </a:lnTo>
                  <a:lnTo>
                    <a:pt x="10914" y="4746"/>
                  </a:lnTo>
                  <a:lnTo>
                    <a:pt x="10990" y="4721"/>
                  </a:lnTo>
                  <a:lnTo>
                    <a:pt x="11066" y="4695"/>
                  </a:lnTo>
                  <a:lnTo>
                    <a:pt x="11099" y="4784"/>
                  </a:lnTo>
                  <a:lnTo>
                    <a:pt x="11130" y="4873"/>
                  </a:lnTo>
                  <a:lnTo>
                    <a:pt x="11161" y="4963"/>
                  </a:lnTo>
                  <a:lnTo>
                    <a:pt x="11191" y="5053"/>
                  </a:lnTo>
                  <a:lnTo>
                    <a:pt x="11219" y="5145"/>
                  </a:lnTo>
                  <a:lnTo>
                    <a:pt x="11247" y="5236"/>
                  </a:lnTo>
                  <a:lnTo>
                    <a:pt x="11274" y="5328"/>
                  </a:lnTo>
                  <a:lnTo>
                    <a:pt x="11299" y="5420"/>
                  </a:lnTo>
                  <a:lnTo>
                    <a:pt x="11325" y="5513"/>
                  </a:lnTo>
                  <a:lnTo>
                    <a:pt x="11349" y="5607"/>
                  </a:lnTo>
                  <a:lnTo>
                    <a:pt x="11372" y="5701"/>
                  </a:lnTo>
                  <a:lnTo>
                    <a:pt x="11395" y="5795"/>
                  </a:lnTo>
                  <a:lnTo>
                    <a:pt x="11415" y="5889"/>
                  </a:lnTo>
                  <a:lnTo>
                    <a:pt x="11436" y="5984"/>
                  </a:lnTo>
                  <a:lnTo>
                    <a:pt x="11455" y="6080"/>
                  </a:lnTo>
                  <a:lnTo>
                    <a:pt x="11474" y="6176"/>
                  </a:lnTo>
                  <a:lnTo>
                    <a:pt x="11491" y="6272"/>
                  </a:lnTo>
                  <a:lnTo>
                    <a:pt x="11509" y="6368"/>
                  </a:lnTo>
                  <a:lnTo>
                    <a:pt x="11524" y="6466"/>
                  </a:lnTo>
                  <a:lnTo>
                    <a:pt x="11538" y="6563"/>
                  </a:lnTo>
                  <a:lnTo>
                    <a:pt x="11553" y="6661"/>
                  </a:lnTo>
                  <a:lnTo>
                    <a:pt x="11565" y="6759"/>
                  </a:lnTo>
                  <a:lnTo>
                    <a:pt x="11577" y="6857"/>
                  </a:lnTo>
                  <a:lnTo>
                    <a:pt x="11589" y="6957"/>
                  </a:lnTo>
                  <a:lnTo>
                    <a:pt x="11598" y="7056"/>
                  </a:lnTo>
                  <a:lnTo>
                    <a:pt x="11607" y="7155"/>
                  </a:lnTo>
                  <a:lnTo>
                    <a:pt x="11615" y="7255"/>
                  </a:lnTo>
                  <a:lnTo>
                    <a:pt x="11623" y="7356"/>
                  </a:lnTo>
                  <a:lnTo>
                    <a:pt x="11629" y="7456"/>
                  </a:lnTo>
                  <a:lnTo>
                    <a:pt x="11634" y="7557"/>
                  </a:lnTo>
                  <a:lnTo>
                    <a:pt x="11638" y="7658"/>
                  </a:lnTo>
                  <a:lnTo>
                    <a:pt x="11641" y="7759"/>
                  </a:lnTo>
                  <a:lnTo>
                    <a:pt x="8474" y="7759"/>
                  </a:lnTo>
                  <a:close/>
                  <a:moveTo>
                    <a:pt x="10879" y="11791"/>
                  </a:moveTo>
                  <a:lnTo>
                    <a:pt x="10807" y="11768"/>
                  </a:lnTo>
                  <a:lnTo>
                    <a:pt x="10735" y="11747"/>
                  </a:lnTo>
                  <a:lnTo>
                    <a:pt x="10663" y="11726"/>
                  </a:lnTo>
                  <a:lnTo>
                    <a:pt x="10590" y="11706"/>
                  </a:lnTo>
                  <a:lnTo>
                    <a:pt x="10518" y="11686"/>
                  </a:lnTo>
                  <a:lnTo>
                    <a:pt x="10446" y="11667"/>
                  </a:lnTo>
                  <a:lnTo>
                    <a:pt x="10373" y="11649"/>
                  </a:lnTo>
                  <a:lnTo>
                    <a:pt x="10299" y="11631"/>
                  </a:lnTo>
                  <a:lnTo>
                    <a:pt x="10226" y="11614"/>
                  </a:lnTo>
                  <a:lnTo>
                    <a:pt x="10152" y="11598"/>
                  </a:lnTo>
                  <a:lnTo>
                    <a:pt x="10078" y="11582"/>
                  </a:lnTo>
                  <a:lnTo>
                    <a:pt x="10003" y="11566"/>
                  </a:lnTo>
                  <a:lnTo>
                    <a:pt x="9929" y="11552"/>
                  </a:lnTo>
                  <a:lnTo>
                    <a:pt x="9854" y="11538"/>
                  </a:lnTo>
                  <a:lnTo>
                    <a:pt x="9780" y="11525"/>
                  </a:lnTo>
                  <a:lnTo>
                    <a:pt x="9704" y="11512"/>
                  </a:lnTo>
                  <a:lnTo>
                    <a:pt x="9629" y="11500"/>
                  </a:lnTo>
                  <a:lnTo>
                    <a:pt x="9553" y="11488"/>
                  </a:lnTo>
                  <a:lnTo>
                    <a:pt x="9477" y="11477"/>
                  </a:lnTo>
                  <a:lnTo>
                    <a:pt x="9401" y="11467"/>
                  </a:lnTo>
                  <a:lnTo>
                    <a:pt x="9325" y="11458"/>
                  </a:lnTo>
                  <a:lnTo>
                    <a:pt x="9249" y="11449"/>
                  </a:lnTo>
                  <a:lnTo>
                    <a:pt x="9172" y="11440"/>
                  </a:lnTo>
                  <a:lnTo>
                    <a:pt x="9095" y="11433"/>
                  </a:lnTo>
                  <a:lnTo>
                    <a:pt x="9018" y="11425"/>
                  </a:lnTo>
                  <a:lnTo>
                    <a:pt x="8941" y="11419"/>
                  </a:lnTo>
                  <a:lnTo>
                    <a:pt x="8864" y="11413"/>
                  </a:lnTo>
                  <a:lnTo>
                    <a:pt x="8786" y="11408"/>
                  </a:lnTo>
                  <a:lnTo>
                    <a:pt x="8708" y="11404"/>
                  </a:lnTo>
                  <a:lnTo>
                    <a:pt x="8630" y="11400"/>
                  </a:lnTo>
                  <a:lnTo>
                    <a:pt x="8552" y="11396"/>
                  </a:lnTo>
                  <a:lnTo>
                    <a:pt x="8474" y="11394"/>
                  </a:lnTo>
                  <a:lnTo>
                    <a:pt x="8474" y="8277"/>
                  </a:lnTo>
                  <a:lnTo>
                    <a:pt x="11641" y="8277"/>
                  </a:lnTo>
                  <a:lnTo>
                    <a:pt x="11637" y="8394"/>
                  </a:lnTo>
                  <a:lnTo>
                    <a:pt x="11632" y="8512"/>
                  </a:lnTo>
                  <a:lnTo>
                    <a:pt x="11626" y="8628"/>
                  </a:lnTo>
                  <a:lnTo>
                    <a:pt x="11617" y="8746"/>
                  </a:lnTo>
                  <a:lnTo>
                    <a:pt x="11608" y="8862"/>
                  </a:lnTo>
                  <a:lnTo>
                    <a:pt x="11598" y="8977"/>
                  </a:lnTo>
                  <a:lnTo>
                    <a:pt x="11586" y="9092"/>
                  </a:lnTo>
                  <a:lnTo>
                    <a:pt x="11572" y="9207"/>
                  </a:lnTo>
                  <a:lnTo>
                    <a:pt x="11558" y="9321"/>
                  </a:lnTo>
                  <a:lnTo>
                    <a:pt x="11542" y="9435"/>
                  </a:lnTo>
                  <a:lnTo>
                    <a:pt x="11525" y="9548"/>
                  </a:lnTo>
                  <a:lnTo>
                    <a:pt x="11506" y="9661"/>
                  </a:lnTo>
                  <a:lnTo>
                    <a:pt x="11486" y="9773"/>
                  </a:lnTo>
                  <a:lnTo>
                    <a:pt x="11466" y="9884"/>
                  </a:lnTo>
                  <a:lnTo>
                    <a:pt x="11443" y="9995"/>
                  </a:lnTo>
                  <a:lnTo>
                    <a:pt x="11419" y="10106"/>
                  </a:lnTo>
                  <a:lnTo>
                    <a:pt x="11395" y="10216"/>
                  </a:lnTo>
                  <a:lnTo>
                    <a:pt x="11368" y="10325"/>
                  </a:lnTo>
                  <a:lnTo>
                    <a:pt x="11341" y="10434"/>
                  </a:lnTo>
                  <a:lnTo>
                    <a:pt x="11313" y="10543"/>
                  </a:lnTo>
                  <a:lnTo>
                    <a:pt x="11283" y="10650"/>
                  </a:lnTo>
                  <a:lnTo>
                    <a:pt x="11252" y="10757"/>
                  </a:lnTo>
                  <a:lnTo>
                    <a:pt x="11220" y="10863"/>
                  </a:lnTo>
                  <a:lnTo>
                    <a:pt x="11186" y="10969"/>
                  </a:lnTo>
                  <a:lnTo>
                    <a:pt x="11152" y="11074"/>
                  </a:lnTo>
                  <a:lnTo>
                    <a:pt x="11117" y="11178"/>
                  </a:lnTo>
                  <a:lnTo>
                    <a:pt x="11080" y="11282"/>
                  </a:lnTo>
                  <a:lnTo>
                    <a:pt x="11042" y="11386"/>
                  </a:lnTo>
                  <a:lnTo>
                    <a:pt x="11003" y="11488"/>
                  </a:lnTo>
                  <a:lnTo>
                    <a:pt x="10962" y="11590"/>
                  </a:lnTo>
                  <a:lnTo>
                    <a:pt x="10921" y="11690"/>
                  </a:lnTo>
                  <a:lnTo>
                    <a:pt x="10879" y="11791"/>
                  </a:lnTo>
                  <a:close/>
                  <a:moveTo>
                    <a:pt x="11162" y="12440"/>
                  </a:moveTo>
                  <a:lnTo>
                    <a:pt x="11275" y="12484"/>
                  </a:lnTo>
                  <a:lnTo>
                    <a:pt x="11387" y="12529"/>
                  </a:lnTo>
                  <a:lnTo>
                    <a:pt x="11497" y="12575"/>
                  </a:lnTo>
                  <a:lnTo>
                    <a:pt x="11606" y="12624"/>
                  </a:lnTo>
                  <a:lnTo>
                    <a:pt x="11715" y="12674"/>
                  </a:lnTo>
                  <a:lnTo>
                    <a:pt x="11824" y="12726"/>
                  </a:lnTo>
                  <a:lnTo>
                    <a:pt x="11930" y="12779"/>
                  </a:lnTo>
                  <a:lnTo>
                    <a:pt x="12036" y="12833"/>
                  </a:lnTo>
                  <a:lnTo>
                    <a:pt x="12142" y="12889"/>
                  </a:lnTo>
                  <a:lnTo>
                    <a:pt x="12245" y="12946"/>
                  </a:lnTo>
                  <a:lnTo>
                    <a:pt x="12349" y="13005"/>
                  </a:lnTo>
                  <a:lnTo>
                    <a:pt x="12451" y="13065"/>
                  </a:lnTo>
                  <a:lnTo>
                    <a:pt x="12552" y="13127"/>
                  </a:lnTo>
                  <a:lnTo>
                    <a:pt x="12653" y="13191"/>
                  </a:lnTo>
                  <a:lnTo>
                    <a:pt x="12751" y="13255"/>
                  </a:lnTo>
                  <a:lnTo>
                    <a:pt x="12850" y="13320"/>
                  </a:lnTo>
                  <a:lnTo>
                    <a:pt x="12759" y="13395"/>
                  </a:lnTo>
                  <a:lnTo>
                    <a:pt x="12666" y="13469"/>
                  </a:lnTo>
                  <a:lnTo>
                    <a:pt x="12573" y="13540"/>
                  </a:lnTo>
                  <a:lnTo>
                    <a:pt x="12477" y="13612"/>
                  </a:lnTo>
                  <a:lnTo>
                    <a:pt x="12381" y="13681"/>
                  </a:lnTo>
                  <a:lnTo>
                    <a:pt x="12283" y="13748"/>
                  </a:lnTo>
                  <a:lnTo>
                    <a:pt x="12185" y="13814"/>
                  </a:lnTo>
                  <a:lnTo>
                    <a:pt x="12084" y="13878"/>
                  </a:lnTo>
                  <a:lnTo>
                    <a:pt x="11984" y="13940"/>
                  </a:lnTo>
                  <a:lnTo>
                    <a:pt x="11881" y="14001"/>
                  </a:lnTo>
                  <a:lnTo>
                    <a:pt x="11779" y="14062"/>
                  </a:lnTo>
                  <a:lnTo>
                    <a:pt x="11674" y="14119"/>
                  </a:lnTo>
                  <a:lnTo>
                    <a:pt x="11568" y="14175"/>
                  </a:lnTo>
                  <a:lnTo>
                    <a:pt x="11461" y="14229"/>
                  </a:lnTo>
                  <a:lnTo>
                    <a:pt x="11354" y="14282"/>
                  </a:lnTo>
                  <a:lnTo>
                    <a:pt x="11245" y="14333"/>
                  </a:lnTo>
                  <a:lnTo>
                    <a:pt x="11136" y="14382"/>
                  </a:lnTo>
                  <a:lnTo>
                    <a:pt x="11025" y="14429"/>
                  </a:lnTo>
                  <a:lnTo>
                    <a:pt x="10914" y="14475"/>
                  </a:lnTo>
                  <a:lnTo>
                    <a:pt x="10802" y="14519"/>
                  </a:lnTo>
                  <a:lnTo>
                    <a:pt x="10688" y="14561"/>
                  </a:lnTo>
                  <a:lnTo>
                    <a:pt x="10573" y="14601"/>
                  </a:lnTo>
                  <a:lnTo>
                    <a:pt x="10458" y="14639"/>
                  </a:lnTo>
                  <a:lnTo>
                    <a:pt x="10342" y="14676"/>
                  </a:lnTo>
                  <a:lnTo>
                    <a:pt x="10225" y="14710"/>
                  </a:lnTo>
                  <a:lnTo>
                    <a:pt x="10107" y="14743"/>
                  </a:lnTo>
                  <a:lnTo>
                    <a:pt x="9989" y="14774"/>
                  </a:lnTo>
                  <a:lnTo>
                    <a:pt x="9869" y="14802"/>
                  </a:lnTo>
                  <a:lnTo>
                    <a:pt x="9749" y="14829"/>
                  </a:lnTo>
                  <a:lnTo>
                    <a:pt x="9628" y="14854"/>
                  </a:lnTo>
                  <a:lnTo>
                    <a:pt x="9507" y="14877"/>
                  </a:lnTo>
                  <a:lnTo>
                    <a:pt x="9383" y="14898"/>
                  </a:lnTo>
                  <a:lnTo>
                    <a:pt x="9450" y="14833"/>
                  </a:lnTo>
                  <a:lnTo>
                    <a:pt x="9516" y="14767"/>
                  </a:lnTo>
                  <a:lnTo>
                    <a:pt x="9582" y="14700"/>
                  </a:lnTo>
                  <a:lnTo>
                    <a:pt x="9645" y="14633"/>
                  </a:lnTo>
                  <a:lnTo>
                    <a:pt x="9710" y="14564"/>
                  </a:lnTo>
                  <a:lnTo>
                    <a:pt x="9772" y="14495"/>
                  </a:lnTo>
                  <a:lnTo>
                    <a:pt x="9835" y="14424"/>
                  </a:lnTo>
                  <a:lnTo>
                    <a:pt x="9897" y="14354"/>
                  </a:lnTo>
                  <a:lnTo>
                    <a:pt x="9958" y="14282"/>
                  </a:lnTo>
                  <a:lnTo>
                    <a:pt x="10019" y="14210"/>
                  </a:lnTo>
                  <a:lnTo>
                    <a:pt x="10078" y="14137"/>
                  </a:lnTo>
                  <a:lnTo>
                    <a:pt x="10138" y="14064"/>
                  </a:lnTo>
                  <a:lnTo>
                    <a:pt x="10195" y="13988"/>
                  </a:lnTo>
                  <a:lnTo>
                    <a:pt x="10254" y="13913"/>
                  </a:lnTo>
                  <a:lnTo>
                    <a:pt x="10310" y="13837"/>
                  </a:lnTo>
                  <a:lnTo>
                    <a:pt x="10367" y="13761"/>
                  </a:lnTo>
                  <a:lnTo>
                    <a:pt x="10422" y="13684"/>
                  </a:lnTo>
                  <a:lnTo>
                    <a:pt x="10476" y="13606"/>
                  </a:lnTo>
                  <a:lnTo>
                    <a:pt x="10531" y="13526"/>
                  </a:lnTo>
                  <a:lnTo>
                    <a:pt x="10584" y="13447"/>
                  </a:lnTo>
                  <a:lnTo>
                    <a:pt x="10636" y="13367"/>
                  </a:lnTo>
                  <a:lnTo>
                    <a:pt x="10688" y="13286"/>
                  </a:lnTo>
                  <a:lnTo>
                    <a:pt x="10739" y="13204"/>
                  </a:lnTo>
                  <a:lnTo>
                    <a:pt x="10789" y="13121"/>
                  </a:lnTo>
                  <a:lnTo>
                    <a:pt x="10839" y="13039"/>
                  </a:lnTo>
                  <a:lnTo>
                    <a:pt x="10888" y="12955"/>
                  </a:lnTo>
                  <a:lnTo>
                    <a:pt x="10935" y="12871"/>
                  </a:lnTo>
                  <a:lnTo>
                    <a:pt x="10982" y="12786"/>
                  </a:lnTo>
                  <a:lnTo>
                    <a:pt x="11028" y="12701"/>
                  </a:lnTo>
                  <a:lnTo>
                    <a:pt x="11074" y="12614"/>
                  </a:lnTo>
                  <a:lnTo>
                    <a:pt x="11119" y="12528"/>
                  </a:lnTo>
                  <a:lnTo>
                    <a:pt x="11162" y="12440"/>
                  </a:lnTo>
                  <a:close/>
                  <a:moveTo>
                    <a:pt x="8474" y="14988"/>
                  </a:moveTo>
                  <a:lnTo>
                    <a:pt x="8474" y="11911"/>
                  </a:lnTo>
                  <a:lnTo>
                    <a:pt x="8545" y="11913"/>
                  </a:lnTo>
                  <a:lnTo>
                    <a:pt x="8616" y="11916"/>
                  </a:lnTo>
                  <a:lnTo>
                    <a:pt x="8687" y="11920"/>
                  </a:lnTo>
                  <a:lnTo>
                    <a:pt x="8757" y="11924"/>
                  </a:lnTo>
                  <a:lnTo>
                    <a:pt x="8828" y="11929"/>
                  </a:lnTo>
                  <a:lnTo>
                    <a:pt x="8899" y="11934"/>
                  </a:lnTo>
                  <a:lnTo>
                    <a:pt x="8969" y="11940"/>
                  </a:lnTo>
                  <a:lnTo>
                    <a:pt x="9039" y="11946"/>
                  </a:lnTo>
                  <a:lnTo>
                    <a:pt x="9108" y="11953"/>
                  </a:lnTo>
                  <a:lnTo>
                    <a:pt x="9178" y="11960"/>
                  </a:lnTo>
                  <a:lnTo>
                    <a:pt x="9248" y="11968"/>
                  </a:lnTo>
                  <a:lnTo>
                    <a:pt x="9317" y="11976"/>
                  </a:lnTo>
                  <a:lnTo>
                    <a:pt x="9387" y="11986"/>
                  </a:lnTo>
                  <a:lnTo>
                    <a:pt x="9455" y="11995"/>
                  </a:lnTo>
                  <a:lnTo>
                    <a:pt x="9524" y="12005"/>
                  </a:lnTo>
                  <a:lnTo>
                    <a:pt x="9593" y="12016"/>
                  </a:lnTo>
                  <a:lnTo>
                    <a:pt x="9661" y="12027"/>
                  </a:lnTo>
                  <a:lnTo>
                    <a:pt x="9729" y="12039"/>
                  </a:lnTo>
                  <a:lnTo>
                    <a:pt x="9797" y="12051"/>
                  </a:lnTo>
                  <a:lnTo>
                    <a:pt x="9865" y="12064"/>
                  </a:lnTo>
                  <a:lnTo>
                    <a:pt x="9932" y="12077"/>
                  </a:lnTo>
                  <a:lnTo>
                    <a:pt x="10000" y="12091"/>
                  </a:lnTo>
                  <a:lnTo>
                    <a:pt x="10067" y="12106"/>
                  </a:lnTo>
                  <a:lnTo>
                    <a:pt x="10134" y="12121"/>
                  </a:lnTo>
                  <a:lnTo>
                    <a:pt x="10200" y="12136"/>
                  </a:lnTo>
                  <a:lnTo>
                    <a:pt x="10267" y="12153"/>
                  </a:lnTo>
                  <a:lnTo>
                    <a:pt x="10334" y="12169"/>
                  </a:lnTo>
                  <a:lnTo>
                    <a:pt x="10399" y="12187"/>
                  </a:lnTo>
                  <a:lnTo>
                    <a:pt x="10465" y="12204"/>
                  </a:lnTo>
                  <a:lnTo>
                    <a:pt x="10531" y="12223"/>
                  </a:lnTo>
                  <a:lnTo>
                    <a:pt x="10596" y="12242"/>
                  </a:lnTo>
                  <a:lnTo>
                    <a:pt x="10661" y="12262"/>
                  </a:lnTo>
                  <a:lnTo>
                    <a:pt x="10610" y="12363"/>
                  </a:lnTo>
                  <a:lnTo>
                    <a:pt x="10557" y="12462"/>
                  </a:lnTo>
                  <a:lnTo>
                    <a:pt x="10504" y="12561"/>
                  </a:lnTo>
                  <a:lnTo>
                    <a:pt x="10450" y="12659"/>
                  </a:lnTo>
                  <a:lnTo>
                    <a:pt x="10393" y="12757"/>
                  </a:lnTo>
                  <a:lnTo>
                    <a:pt x="10337" y="12853"/>
                  </a:lnTo>
                  <a:lnTo>
                    <a:pt x="10279" y="12948"/>
                  </a:lnTo>
                  <a:lnTo>
                    <a:pt x="10220" y="13042"/>
                  </a:lnTo>
                  <a:lnTo>
                    <a:pt x="10159" y="13135"/>
                  </a:lnTo>
                  <a:lnTo>
                    <a:pt x="10099" y="13228"/>
                  </a:lnTo>
                  <a:lnTo>
                    <a:pt x="10036" y="13319"/>
                  </a:lnTo>
                  <a:lnTo>
                    <a:pt x="9972" y="13410"/>
                  </a:lnTo>
                  <a:lnTo>
                    <a:pt x="9909" y="13499"/>
                  </a:lnTo>
                  <a:lnTo>
                    <a:pt x="9843" y="13588"/>
                  </a:lnTo>
                  <a:lnTo>
                    <a:pt x="9776" y="13675"/>
                  </a:lnTo>
                  <a:lnTo>
                    <a:pt x="9710" y="13761"/>
                  </a:lnTo>
                  <a:lnTo>
                    <a:pt x="9641" y="13846"/>
                  </a:lnTo>
                  <a:lnTo>
                    <a:pt x="9571" y="13930"/>
                  </a:lnTo>
                  <a:lnTo>
                    <a:pt x="9501" y="14012"/>
                  </a:lnTo>
                  <a:lnTo>
                    <a:pt x="9430" y="14095"/>
                  </a:lnTo>
                  <a:lnTo>
                    <a:pt x="9358" y="14175"/>
                  </a:lnTo>
                  <a:lnTo>
                    <a:pt x="9284" y="14255"/>
                  </a:lnTo>
                  <a:lnTo>
                    <a:pt x="9210" y="14333"/>
                  </a:lnTo>
                  <a:lnTo>
                    <a:pt x="9135" y="14410"/>
                  </a:lnTo>
                  <a:lnTo>
                    <a:pt x="9059" y="14487"/>
                  </a:lnTo>
                  <a:lnTo>
                    <a:pt x="8982" y="14562"/>
                  </a:lnTo>
                  <a:lnTo>
                    <a:pt x="8904" y="14636"/>
                  </a:lnTo>
                  <a:lnTo>
                    <a:pt x="8825" y="14708"/>
                  </a:lnTo>
                  <a:lnTo>
                    <a:pt x="8746" y="14779"/>
                  </a:lnTo>
                  <a:lnTo>
                    <a:pt x="8666" y="14850"/>
                  </a:lnTo>
                  <a:lnTo>
                    <a:pt x="8584" y="14918"/>
                  </a:lnTo>
                  <a:lnTo>
                    <a:pt x="8502" y="14987"/>
                  </a:lnTo>
                  <a:lnTo>
                    <a:pt x="8474" y="14988"/>
                  </a:lnTo>
                  <a:close/>
                  <a:moveTo>
                    <a:pt x="7036" y="14898"/>
                  </a:moveTo>
                  <a:lnTo>
                    <a:pt x="6913" y="14877"/>
                  </a:lnTo>
                  <a:lnTo>
                    <a:pt x="6791" y="14854"/>
                  </a:lnTo>
                  <a:lnTo>
                    <a:pt x="6670" y="14829"/>
                  </a:lnTo>
                  <a:lnTo>
                    <a:pt x="6550" y="14802"/>
                  </a:lnTo>
                  <a:lnTo>
                    <a:pt x="6431" y="14774"/>
                  </a:lnTo>
                  <a:lnTo>
                    <a:pt x="6312" y="14743"/>
                  </a:lnTo>
                  <a:lnTo>
                    <a:pt x="6194" y="14710"/>
                  </a:lnTo>
                  <a:lnTo>
                    <a:pt x="6077" y="14676"/>
                  </a:lnTo>
                  <a:lnTo>
                    <a:pt x="5961" y="14639"/>
                  </a:lnTo>
                  <a:lnTo>
                    <a:pt x="5846" y="14601"/>
                  </a:lnTo>
                  <a:lnTo>
                    <a:pt x="5731" y="14561"/>
                  </a:lnTo>
                  <a:lnTo>
                    <a:pt x="5618" y="14519"/>
                  </a:lnTo>
                  <a:lnTo>
                    <a:pt x="5505" y="14475"/>
                  </a:lnTo>
                  <a:lnTo>
                    <a:pt x="5395" y="14429"/>
                  </a:lnTo>
                  <a:lnTo>
                    <a:pt x="5284" y="14382"/>
                  </a:lnTo>
                  <a:lnTo>
                    <a:pt x="5174" y="14333"/>
                  </a:lnTo>
                  <a:lnTo>
                    <a:pt x="5065" y="14282"/>
                  </a:lnTo>
                  <a:lnTo>
                    <a:pt x="4958" y="14229"/>
                  </a:lnTo>
                  <a:lnTo>
                    <a:pt x="4851" y="14175"/>
                  </a:lnTo>
                  <a:lnTo>
                    <a:pt x="4746" y="14119"/>
                  </a:lnTo>
                  <a:lnTo>
                    <a:pt x="4641" y="14062"/>
                  </a:lnTo>
                  <a:lnTo>
                    <a:pt x="4538" y="14001"/>
                  </a:lnTo>
                  <a:lnTo>
                    <a:pt x="4436" y="13940"/>
                  </a:lnTo>
                  <a:lnTo>
                    <a:pt x="4335" y="13878"/>
                  </a:lnTo>
                  <a:lnTo>
                    <a:pt x="4235" y="13814"/>
                  </a:lnTo>
                  <a:lnTo>
                    <a:pt x="4137" y="13748"/>
                  </a:lnTo>
                  <a:lnTo>
                    <a:pt x="4038" y="13681"/>
                  </a:lnTo>
                  <a:lnTo>
                    <a:pt x="3943" y="13612"/>
                  </a:lnTo>
                  <a:lnTo>
                    <a:pt x="3847" y="13540"/>
                  </a:lnTo>
                  <a:lnTo>
                    <a:pt x="3753" y="13469"/>
                  </a:lnTo>
                  <a:lnTo>
                    <a:pt x="3660" y="13395"/>
                  </a:lnTo>
                  <a:lnTo>
                    <a:pt x="3569" y="13320"/>
                  </a:lnTo>
                  <a:lnTo>
                    <a:pt x="3668" y="13255"/>
                  </a:lnTo>
                  <a:lnTo>
                    <a:pt x="3767" y="13191"/>
                  </a:lnTo>
                  <a:lnTo>
                    <a:pt x="3867" y="13127"/>
                  </a:lnTo>
                  <a:lnTo>
                    <a:pt x="3968" y="13065"/>
                  </a:lnTo>
                  <a:lnTo>
                    <a:pt x="4071" y="13005"/>
                  </a:lnTo>
                  <a:lnTo>
                    <a:pt x="4174" y="12946"/>
                  </a:lnTo>
                  <a:lnTo>
                    <a:pt x="4278" y="12889"/>
                  </a:lnTo>
                  <a:lnTo>
                    <a:pt x="4383" y="12833"/>
                  </a:lnTo>
                  <a:lnTo>
                    <a:pt x="4489" y="12779"/>
                  </a:lnTo>
                  <a:lnTo>
                    <a:pt x="4596" y="12726"/>
                  </a:lnTo>
                  <a:lnTo>
                    <a:pt x="4704" y="12674"/>
                  </a:lnTo>
                  <a:lnTo>
                    <a:pt x="4813" y="12624"/>
                  </a:lnTo>
                  <a:lnTo>
                    <a:pt x="4923" y="12575"/>
                  </a:lnTo>
                  <a:lnTo>
                    <a:pt x="5033" y="12529"/>
                  </a:lnTo>
                  <a:lnTo>
                    <a:pt x="5144" y="12484"/>
                  </a:lnTo>
                  <a:lnTo>
                    <a:pt x="5257" y="12440"/>
                  </a:lnTo>
                  <a:lnTo>
                    <a:pt x="5301" y="12528"/>
                  </a:lnTo>
                  <a:lnTo>
                    <a:pt x="5345" y="12614"/>
                  </a:lnTo>
                  <a:lnTo>
                    <a:pt x="5391" y="12701"/>
                  </a:lnTo>
                  <a:lnTo>
                    <a:pt x="5437" y="12786"/>
                  </a:lnTo>
                  <a:lnTo>
                    <a:pt x="5484" y="12871"/>
                  </a:lnTo>
                  <a:lnTo>
                    <a:pt x="5532" y="12955"/>
                  </a:lnTo>
                  <a:lnTo>
                    <a:pt x="5580" y="13039"/>
                  </a:lnTo>
                  <a:lnTo>
                    <a:pt x="5630" y="13121"/>
                  </a:lnTo>
                  <a:lnTo>
                    <a:pt x="5680" y="13204"/>
                  </a:lnTo>
                  <a:lnTo>
                    <a:pt x="5731" y="13286"/>
                  </a:lnTo>
                  <a:lnTo>
                    <a:pt x="5783" y="13367"/>
                  </a:lnTo>
                  <a:lnTo>
                    <a:pt x="5835" y="13447"/>
                  </a:lnTo>
                  <a:lnTo>
                    <a:pt x="5888" y="13526"/>
                  </a:lnTo>
                  <a:lnTo>
                    <a:pt x="5943" y="13606"/>
                  </a:lnTo>
                  <a:lnTo>
                    <a:pt x="5997" y="13684"/>
                  </a:lnTo>
                  <a:lnTo>
                    <a:pt x="6052" y="13761"/>
                  </a:lnTo>
                  <a:lnTo>
                    <a:pt x="6109" y="13837"/>
                  </a:lnTo>
                  <a:lnTo>
                    <a:pt x="6166" y="13913"/>
                  </a:lnTo>
                  <a:lnTo>
                    <a:pt x="6224" y="13988"/>
                  </a:lnTo>
                  <a:lnTo>
                    <a:pt x="6282" y="14064"/>
                  </a:lnTo>
                  <a:lnTo>
                    <a:pt x="6341" y="14137"/>
                  </a:lnTo>
                  <a:lnTo>
                    <a:pt x="6400" y="14210"/>
                  </a:lnTo>
                  <a:lnTo>
                    <a:pt x="6461" y="14282"/>
                  </a:lnTo>
                  <a:lnTo>
                    <a:pt x="6522" y="14354"/>
                  </a:lnTo>
                  <a:lnTo>
                    <a:pt x="6584" y="14424"/>
                  </a:lnTo>
                  <a:lnTo>
                    <a:pt x="6647" y="14495"/>
                  </a:lnTo>
                  <a:lnTo>
                    <a:pt x="6710" y="14564"/>
                  </a:lnTo>
                  <a:lnTo>
                    <a:pt x="6774" y="14633"/>
                  </a:lnTo>
                  <a:lnTo>
                    <a:pt x="6839" y="14700"/>
                  </a:lnTo>
                  <a:lnTo>
                    <a:pt x="6903" y="14767"/>
                  </a:lnTo>
                  <a:lnTo>
                    <a:pt x="6969" y="14833"/>
                  </a:lnTo>
                  <a:lnTo>
                    <a:pt x="7036" y="14898"/>
                  </a:lnTo>
                  <a:close/>
                  <a:moveTo>
                    <a:pt x="7945" y="8277"/>
                  </a:moveTo>
                  <a:lnTo>
                    <a:pt x="7945" y="11394"/>
                  </a:lnTo>
                  <a:lnTo>
                    <a:pt x="7867" y="11396"/>
                  </a:lnTo>
                  <a:lnTo>
                    <a:pt x="7789" y="11400"/>
                  </a:lnTo>
                  <a:lnTo>
                    <a:pt x="7711" y="11404"/>
                  </a:lnTo>
                  <a:lnTo>
                    <a:pt x="7633" y="11408"/>
                  </a:lnTo>
                  <a:lnTo>
                    <a:pt x="7555" y="11413"/>
                  </a:lnTo>
                  <a:lnTo>
                    <a:pt x="7478" y="11419"/>
                  </a:lnTo>
                  <a:lnTo>
                    <a:pt x="7401" y="11425"/>
                  </a:lnTo>
                  <a:lnTo>
                    <a:pt x="7324" y="11433"/>
                  </a:lnTo>
                  <a:lnTo>
                    <a:pt x="7247" y="11440"/>
                  </a:lnTo>
                  <a:lnTo>
                    <a:pt x="7170" y="11449"/>
                  </a:lnTo>
                  <a:lnTo>
                    <a:pt x="7094" y="11458"/>
                  </a:lnTo>
                  <a:lnTo>
                    <a:pt x="7018" y="11467"/>
                  </a:lnTo>
                  <a:lnTo>
                    <a:pt x="6942" y="11477"/>
                  </a:lnTo>
                  <a:lnTo>
                    <a:pt x="6866" y="11488"/>
                  </a:lnTo>
                  <a:lnTo>
                    <a:pt x="6790" y="11500"/>
                  </a:lnTo>
                  <a:lnTo>
                    <a:pt x="6715" y="11512"/>
                  </a:lnTo>
                  <a:lnTo>
                    <a:pt x="6640" y="11525"/>
                  </a:lnTo>
                  <a:lnTo>
                    <a:pt x="6565" y="11538"/>
                  </a:lnTo>
                  <a:lnTo>
                    <a:pt x="6491" y="11552"/>
                  </a:lnTo>
                  <a:lnTo>
                    <a:pt x="6416" y="11566"/>
                  </a:lnTo>
                  <a:lnTo>
                    <a:pt x="6342" y="11582"/>
                  </a:lnTo>
                  <a:lnTo>
                    <a:pt x="6268" y="11598"/>
                  </a:lnTo>
                  <a:lnTo>
                    <a:pt x="6194" y="11614"/>
                  </a:lnTo>
                  <a:lnTo>
                    <a:pt x="6120" y="11631"/>
                  </a:lnTo>
                  <a:lnTo>
                    <a:pt x="6047" y="11649"/>
                  </a:lnTo>
                  <a:lnTo>
                    <a:pt x="5973" y="11667"/>
                  </a:lnTo>
                  <a:lnTo>
                    <a:pt x="5901" y="11686"/>
                  </a:lnTo>
                  <a:lnTo>
                    <a:pt x="5829" y="11706"/>
                  </a:lnTo>
                  <a:lnTo>
                    <a:pt x="5756" y="11726"/>
                  </a:lnTo>
                  <a:lnTo>
                    <a:pt x="5684" y="11747"/>
                  </a:lnTo>
                  <a:lnTo>
                    <a:pt x="5612" y="11768"/>
                  </a:lnTo>
                  <a:lnTo>
                    <a:pt x="5540" y="11791"/>
                  </a:lnTo>
                  <a:lnTo>
                    <a:pt x="5498" y="11690"/>
                  </a:lnTo>
                  <a:lnTo>
                    <a:pt x="5457" y="11590"/>
                  </a:lnTo>
                  <a:lnTo>
                    <a:pt x="5417" y="11488"/>
                  </a:lnTo>
                  <a:lnTo>
                    <a:pt x="5377" y="11386"/>
                  </a:lnTo>
                  <a:lnTo>
                    <a:pt x="5339" y="11282"/>
                  </a:lnTo>
                  <a:lnTo>
                    <a:pt x="5303" y="11178"/>
                  </a:lnTo>
                  <a:lnTo>
                    <a:pt x="5267" y="11074"/>
                  </a:lnTo>
                  <a:lnTo>
                    <a:pt x="5233" y="10969"/>
                  </a:lnTo>
                  <a:lnTo>
                    <a:pt x="5200" y="10863"/>
                  </a:lnTo>
                  <a:lnTo>
                    <a:pt x="5167" y="10757"/>
                  </a:lnTo>
                  <a:lnTo>
                    <a:pt x="5136" y="10650"/>
                  </a:lnTo>
                  <a:lnTo>
                    <a:pt x="5106" y="10543"/>
                  </a:lnTo>
                  <a:lnTo>
                    <a:pt x="5079" y="10434"/>
                  </a:lnTo>
                  <a:lnTo>
                    <a:pt x="5051" y="10325"/>
                  </a:lnTo>
                  <a:lnTo>
                    <a:pt x="5025" y="10216"/>
                  </a:lnTo>
                  <a:lnTo>
                    <a:pt x="5000" y="10106"/>
                  </a:lnTo>
                  <a:lnTo>
                    <a:pt x="4976" y="9995"/>
                  </a:lnTo>
                  <a:lnTo>
                    <a:pt x="4954" y="9884"/>
                  </a:lnTo>
                  <a:lnTo>
                    <a:pt x="4933" y="9773"/>
                  </a:lnTo>
                  <a:lnTo>
                    <a:pt x="4913" y="9661"/>
                  </a:lnTo>
                  <a:lnTo>
                    <a:pt x="4895" y="9548"/>
                  </a:lnTo>
                  <a:lnTo>
                    <a:pt x="4877" y="9435"/>
                  </a:lnTo>
                  <a:lnTo>
                    <a:pt x="4861" y="9321"/>
                  </a:lnTo>
                  <a:lnTo>
                    <a:pt x="4847" y="9207"/>
                  </a:lnTo>
                  <a:lnTo>
                    <a:pt x="4833" y="9092"/>
                  </a:lnTo>
                  <a:lnTo>
                    <a:pt x="4822" y="8977"/>
                  </a:lnTo>
                  <a:lnTo>
                    <a:pt x="4811" y="8862"/>
                  </a:lnTo>
                  <a:lnTo>
                    <a:pt x="4802" y="8746"/>
                  </a:lnTo>
                  <a:lnTo>
                    <a:pt x="4794" y="8628"/>
                  </a:lnTo>
                  <a:lnTo>
                    <a:pt x="4787" y="8512"/>
                  </a:lnTo>
                  <a:lnTo>
                    <a:pt x="4782" y="8394"/>
                  </a:lnTo>
                  <a:lnTo>
                    <a:pt x="4779" y="8277"/>
                  </a:lnTo>
                  <a:lnTo>
                    <a:pt x="7945" y="8277"/>
                  </a:lnTo>
                  <a:close/>
                  <a:moveTo>
                    <a:pt x="5353" y="4695"/>
                  </a:moveTo>
                  <a:lnTo>
                    <a:pt x="5430" y="4721"/>
                  </a:lnTo>
                  <a:lnTo>
                    <a:pt x="5507" y="4746"/>
                  </a:lnTo>
                  <a:lnTo>
                    <a:pt x="5583" y="4770"/>
                  </a:lnTo>
                  <a:lnTo>
                    <a:pt x="5661" y="4793"/>
                  </a:lnTo>
                  <a:lnTo>
                    <a:pt x="5739" y="4816"/>
                  </a:lnTo>
                  <a:lnTo>
                    <a:pt x="5817" y="4838"/>
                  </a:lnTo>
                  <a:lnTo>
                    <a:pt x="5896" y="4860"/>
                  </a:lnTo>
                  <a:lnTo>
                    <a:pt x="5974" y="4880"/>
                  </a:lnTo>
                  <a:lnTo>
                    <a:pt x="6053" y="4900"/>
                  </a:lnTo>
                  <a:lnTo>
                    <a:pt x="6134" y="4920"/>
                  </a:lnTo>
                  <a:lnTo>
                    <a:pt x="6213" y="4938"/>
                  </a:lnTo>
                  <a:lnTo>
                    <a:pt x="6293" y="4956"/>
                  </a:lnTo>
                  <a:lnTo>
                    <a:pt x="6373" y="4973"/>
                  </a:lnTo>
                  <a:lnTo>
                    <a:pt x="6454" y="4990"/>
                  </a:lnTo>
                  <a:lnTo>
                    <a:pt x="6535" y="5005"/>
                  </a:lnTo>
                  <a:lnTo>
                    <a:pt x="6615" y="5020"/>
                  </a:lnTo>
                  <a:lnTo>
                    <a:pt x="6697" y="5035"/>
                  </a:lnTo>
                  <a:lnTo>
                    <a:pt x="6778" y="5048"/>
                  </a:lnTo>
                  <a:lnTo>
                    <a:pt x="6860" y="5061"/>
                  </a:lnTo>
                  <a:lnTo>
                    <a:pt x="6942" y="5073"/>
                  </a:lnTo>
                  <a:lnTo>
                    <a:pt x="7024" y="5084"/>
                  </a:lnTo>
                  <a:lnTo>
                    <a:pt x="7106" y="5095"/>
                  </a:lnTo>
                  <a:lnTo>
                    <a:pt x="7189" y="5105"/>
                  </a:lnTo>
                  <a:lnTo>
                    <a:pt x="7273" y="5114"/>
                  </a:lnTo>
                  <a:lnTo>
                    <a:pt x="7356" y="5122"/>
                  </a:lnTo>
                  <a:lnTo>
                    <a:pt x="7439" y="5131"/>
                  </a:lnTo>
                  <a:lnTo>
                    <a:pt x="7523" y="5137"/>
                  </a:lnTo>
                  <a:lnTo>
                    <a:pt x="7607" y="5143"/>
                  </a:lnTo>
                  <a:lnTo>
                    <a:pt x="7691" y="5149"/>
                  </a:lnTo>
                  <a:lnTo>
                    <a:pt x="7775" y="5153"/>
                  </a:lnTo>
                  <a:lnTo>
                    <a:pt x="7860" y="5157"/>
                  </a:lnTo>
                  <a:lnTo>
                    <a:pt x="7945" y="5160"/>
                  </a:lnTo>
                  <a:lnTo>
                    <a:pt x="7945" y="7759"/>
                  </a:lnTo>
                  <a:lnTo>
                    <a:pt x="4779" y="7759"/>
                  </a:lnTo>
                  <a:lnTo>
                    <a:pt x="4782" y="7658"/>
                  </a:lnTo>
                  <a:lnTo>
                    <a:pt x="4786" y="7557"/>
                  </a:lnTo>
                  <a:lnTo>
                    <a:pt x="4791" y="7456"/>
                  </a:lnTo>
                  <a:lnTo>
                    <a:pt x="4797" y="7356"/>
                  </a:lnTo>
                  <a:lnTo>
                    <a:pt x="4805" y="7255"/>
                  </a:lnTo>
                  <a:lnTo>
                    <a:pt x="4812" y="7155"/>
                  </a:lnTo>
                  <a:lnTo>
                    <a:pt x="4821" y="7056"/>
                  </a:lnTo>
                  <a:lnTo>
                    <a:pt x="4831" y="6957"/>
                  </a:lnTo>
                  <a:lnTo>
                    <a:pt x="4843" y="6857"/>
                  </a:lnTo>
                  <a:lnTo>
                    <a:pt x="4854" y="6759"/>
                  </a:lnTo>
                  <a:lnTo>
                    <a:pt x="4867" y="6661"/>
                  </a:lnTo>
                  <a:lnTo>
                    <a:pt x="4881" y="6563"/>
                  </a:lnTo>
                  <a:lnTo>
                    <a:pt x="4896" y="6466"/>
                  </a:lnTo>
                  <a:lnTo>
                    <a:pt x="4911" y="6368"/>
                  </a:lnTo>
                  <a:lnTo>
                    <a:pt x="4928" y="6272"/>
                  </a:lnTo>
                  <a:lnTo>
                    <a:pt x="4945" y="6176"/>
                  </a:lnTo>
                  <a:lnTo>
                    <a:pt x="4964" y="6080"/>
                  </a:lnTo>
                  <a:lnTo>
                    <a:pt x="4983" y="5984"/>
                  </a:lnTo>
                  <a:lnTo>
                    <a:pt x="5004" y="5889"/>
                  </a:lnTo>
                  <a:lnTo>
                    <a:pt x="5025" y="5795"/>
                  </a:lnTo>
                  <a:lnTo>
                    <a:pt x="5048" y="5701"/>
                  </a:lnTo>
                  <a:lnTo>
                    <a:pt x="5070" y="5607"/>
                  </a:lnTo>
                  <a:lnTo>
                    <a:pt x="5095" y="5513"/>
                  </a:lnTo>
                  <a:lnTo>
                    <a:pt x="5120" y="5420"/>
                  </a:lnTo>
                  <a:lnTo>
                    <a:pt x="5145" y="5328"/>
                  </a:lnTo>
                  <a:lnTo>
                    <a:pt x="5172" y="5236"/>
                  </a:lnTo>
                  <a:lnTo>
                    <a:pt x="5201" y="5145"/>
                  </a:lnTo>
                  <a:lnTo>
                    <a:pt x="5228" y="5053"/>
                  </a:lnTo>
                  <a:lnTo>
                    <a:pt x="5258" y="4963"/>
                  </a:lnTo>
                  <a:lnTo>
                    <a:pt x="5289" y="4873"/>
                  </a:lnTo>
                  <a:lnTo>
                    <a:pt x="5321" y="4784"/>
                  </a:lnTo>
                  <a:lnTo>
                    <a:pt x="5353" y="4695"/>
                  </a:lnTo>
                  <a:close/>
                  <a:moveTo>
                    <a:pt x="5056" y="4040"/>
                  </a:moveTo>
                  <a:lnTo>
                    <a:pt x="4994" y="4015"/>
                  </a:lnTo>
                  <a:lnTo>
                    <a:pt x="4934" y="3989"/>
                  </a:lnTo>
                  <a:lnTo>
                    <a:pt x="4873" y="3963"/>
                  </a:lnTo>
                  <a:lnTo>
                    <a:pt x="4813" y="3936"/>
                  </a:lnTo>
                  <a:lnTo>
                    <a:pt x="4753" y="3909"/>
                  </a:lnTo>
                  <a:lnTo>
                    <a:pt x="4693" y="3882"/>
                  </a:lnTo>
                  <a:lnTo>
                    <a:pt x="4633" y="3854"/>
                  </a:lnTo>
                  <a:lnTo>
                    <a:pt x="4575" y="3825"/>
                  </a:lnTo>
                  <a:lnTo>
                    <a:pt x="4515" y="3796"/>
                  </a:lnTo>
                  <a:lnTo>
                    <a:pt x="4457" y="3766"/>
                  </a:lnTo>
                  <a:lnTo>
                    <a:pt x="4398" y="3736"/>
                  </a:lnTo>
                  <a:lnTo>
                    <a:pt x="4341" y="3705"/>
                  </a:lnTo>
                  <a:lnTo>
                    <a:pt x="4282" y="3674"/>
                  </a:lnTo>
                  <a:lnTo>
                    <a:pt x="4225" y="3643"/>
                  </a:lnTo>
                  <a:lnTo>
                    <a:pt x="4168" y="3611"/>
                  </a:lnTo>
                  <a:lnTo>
                    <a:pt x="4111" y="3579"/>
                  </a:lnTo>
                  <a:lnTo>
                    <a:pt x="3998" y="3513"/>
                  </a:lnTo>
                  <a:lnTo>
                    <a:pt x="3886" y="3446"/>
                  </a:lnTo>
                  <a:lnTo>
                    <a:pt x="3776" y="3377"/>
                  </a:lnTo>
                  <a:lnTo>
                    <a:pt x="3667" y="3305"/>
                  </a:lnTo>
                  <a:lnTo>
                    <a:pt x="3559" y="3233"/>
                  </a:lnTo>
                  <a:lnTo>
                    <a:pt x="3451" y="3159"/>
                  </a:lnTo>
                  <a:lnTo>
                    <a:pt x="3345" y="3084"/>
                  </a:lnTo>
                  <a:lnTo>
                    <a:pt x="3241" y="3007"/>
                  </a:lnTo>
                  <a:lnTo>
                    <a:pt x="3337" y="2917"/>
                  </a:lnTo>
                  <a:lnTo>
                    <a:pt x="3436" y="2829"/>
                  </a:lnTo>
                  <a:lnTo>
                    <a:pt x="3535" y="2743"/>
                  </a:lnTo>
                  <a:lnTo>
                    <a:pt x="3637" y="2659"/>
                  </a:lnTo>
                  <a:lnTo>
                    <a:pt x="3740" y="2576"/>
                  </a:lnTo>
                  <a:lnTo>
                    <a:pt x="3845" y="2496"/>
                  </a:lnTo>
                  <a:lnTo>
                    <a:pt x="3951" y="2417"/>
                  </a:lnTo>
                  <a:lnTo>
                    <a:pt x="4059" y="2340"/>
                  </a:lnTo>
                  <a:lnTo>
                    <a:pt x="4168" y="2266"/>
                  </a:lnTo>
                  <a:lnTo>
                    <a:pt x="4279" y="2193"/>
                  </a:lnTo>
                  <a:lnTo>
                    <a:pt x="4391" y="2122"/>
                  </a:lnTo>
                  <a:lnTo>
                    <a:pt x="4505" y="2054"/>
                  </a:lnTo>
                  <a:lnTo>
                    <a:pt x="4620" y="1986"/>
                  </a:lnTo>
                  <a:lnTo>
                    <a:pt x="4736" y="1921"/>
                  </a:lnTo>
                  <a:lnTo>
                    <a:pt x="4854" y="1859"/>
                  </a:lnTo>
                  <a:lnTo>
                    <a:pt x="4973" y="1799"/>
                  </a:lnTo>
                  <a:lnTo>
                    <a:pt x="5093" y="1740"/>
                  </a:lnTo>
                  <a:lnTo>
                    <a:pt x="5215" y="1684"/>
                  </a:lnTo>
                  <a:lnTo>
                    <a:pt x="5338" y="1630"/>
                  </a:lnTo>
                  <a:lnTo>
                    <a:pt x="5461" y="1579"/>
                  </a:lnTo>
                  <a:lnTo>
                    <a:pt x="5587" y="1528"/>
                  </a:lnTo>
                  <a:lnTo>
                    <a:pt x="5714" y="1481"/>
                  </a:lnTo>
                  <a:lnTo>
                    <a:pt x="5841" y="1436"/>
                  </a:lnTo>
                  <a:lnTo>
                    <a:pt x="5969" y="1393"/>
                  </a:lnTo>
                  <a:lnTo>
                    <a:pt x="6100" y="1353"/>
                  </a:lnTo>
                  <a:lnTo>
                    <a:pt x="6230" y="1315"/>
                  </a:lnTo>
                  <a:lnTo>
                    <a:pt x="6362" y="1279"/>
                  </a:lnTo>
                  <a:lnTo>
                    <a:pt x="6495" y="1246"/>
                  </a:lnTo>
                  <a:lnTo>
                    <a:pt x="6628" y="1215"/>
                  </a:lnTo>
                  <a:lnTo>
                    <a:pt x="6764" y="1187"/>
                  </a:lnTo>
                  <a:lnTo>
                    <a:pt x="6899" y="1161"/>
                  </a:lnTo>
                  <a:lnTo>
                    <a:pt x="7036" y="1137"/>
                  </a:lnTo>
                  <a:lnTo>
                    <a:pt x="6960" y="1213"/>
                  </a:lnTo>
                  <a:lnTo>
                    <a:pt x="6884" y="1289"/>
                  </a:lnTo>
                  <a:lnTo>
                    <a:pt x="6809" y="1367"/>
                  </a:lnTo>
                  <a:lnTo>
                    <a:pt x="6735" y="1446"/>
                  </a:lnTo>
                  <a:lnTo>
                    <a:pt x="6662" y="1525"/>
                  </a:lnTo>
                  <a:lnTo>
                    <a:pt x="6589" y="1607"/>
                  </a:lnTo>
                  <a:lnTo>
                    <a:pt x="6518" y="1689"/>
                  </a:lnTo>
                  <a:lnTo>
                    <a:pt x="6448" y="1771"/>
                  </a:lnTo>
                  <a:lnTo>
                    <a:pt x="6379" y="1855"/>
                  </a:lnTo>
                  <a:lnTo>
                    <a:pt x="6310" y="1940"/>
                  </a:lnTo>
                  <a:lnTo>
                    <a:pt x="6242" y="2027"/>
                  </a:lnTo>
                  <a:lnTo>
                    <a:pt x="6176" y="2113"/>
                  </a:lnTo>
                  <a:lnTo>
                    <a:pt x="6110" y="2201"/>
                  </a:lnTo>
                  <a:lnTo>
                    <a:pt x="6045" y="2290"/>
                  </a:lnTo>
                  <a:lnTo>
                    <a:pt x="5982" y="2379"/>
                  </a:lnTo>
                  <a:lnTo>
                    <a:pt x="5919" y="2471"/>
                  </a:lnTo>
                  <a:lnTo>
                    <a:pt x="5857" y="2562"/>
                  </a:lnTo>
                  <a:lnTo>
                    <a:pt x="5797" y="2654"/>
                  </a:lnTo>
                  <a:lnTo>
                    <a:pt x="5736" y="2748"/>
                  </a:lnTo>
                  <a:lnTo>
                    <a:pt x="5678" y="2842"/>
                  </a:lnTo>
                  <a:lnTo>
                    <a:pt x="5620" y="2938"/>
                  </a:lnTo>
                  <a:lnTo>
                    <a:pt x="5564" y="3034"/>
                  </a:lnTo>
                  <a:lnTo>
                    <a:pt x="5508" y="3130"/>
                  </a:lnTo>
                  <a:lnTo>
                    <a:pt x="5453" y="3228"/>
                  </a:lnTo>
                  <a:lnTo>
                    <a:pt x="5400" y="3326"/>
                  </a:lnTo>
                  <a:lnTo>
                    <a:pt x="5347" y="3427"/>
                  </a:lnTo>
                  <a:lnTo>
                    <a:pt x="5296" y="3527"/>
                  </a:lnTo>
                  <a:lnTo>
                    <a:pt x="5246" y="3628"/>
                  </a:lnTo>
                  <a:lnTo>
                    <a:pt x="5197" y="3729"/>
                  </a:lnTo>
                  <a:lnTo>
                    <a:pt x="5148" y="3833"/>
                  </a:lnTo>
                  <a:lnTo>
                    <a:pt x="5102" y="3936"/>
                  </a:lnTo>
                  <a:lnTo>
                    <a:pt x="5056" y="4040"/>
                  </a:lnTo>
                  <a:close/>
                  <a:moveTo>
                    <a:pt x="7945" y="1047"/>
                  </a:moveTo>
                  <a:lnTo>
                    <a:pt x="7945" y="4642"/>
                  </a:lnTo>
                  <a:lnTo>
                    <a:pt x="7867" y="4639"/>
                  </a:lnTo>
                  <a:lnTo>
                    <a:pt x="7789" y="4635"/>
                  </a:lnTo>
                  <a:lnTo>
                    <a:pt x="7711" y="4631"/>
                  </a:lnTo>
                  <a:lnTo>
                    <a:pt x="7633" y="4626"/>
                  </a:lnTo>
                  <a:lnTo>
                    <a:pt x="7556" y="4621"/>
                  </a:lnTo>
                  <a:lnTo>
                    <a:pt x="7478" y="4614"/>
                  </a:lnTo>
                  <a:lnTo>
                    <a:pt x="7401" y="4607"/>
                  </a:lnTo>
                  <a:lnTo>
                    <a:pt x="7325" y="4600"/>
                  </a:lnTo>
                  <a:lnTo>
                    <a:pt x="7248" y="4591"/>
                  </a:lnTo>
                  <a:lnTo>
                    <a:pt x="7172" y="4582"/>
                  </a:lnTo>
                  <a:lnTo>
                    <a:pt x="7095" y="4573"/>
                  </a:lnTo>
                  <a:lnTo>
                    <a:pt x="7020" y="4562"/>
                  </a:lnTo>
                  <a:lnTo>
                    <a:pt x="6944" y="4551"/>
                  </a:lnTo>
                  <a:lnTo>
                    <a:pt x="6868" y="4540"/>
                  </a:lnTo>
                  <a:lnTo>
                    <a:pt x="6793" y="4527"/>
                  </a:lnTo>
                  <a:lnTo>
                    <a:pt x="6718" y="4514"/>
                  </a:lnTo>
                  <a:lnTo>
                    <a:pt x="6644" y="4501"/>
                  </a:lnTo>
                  <a:lnTo>
                    <a:pt x="6569" y="4486"/>
                  </a:lnTo>
                  <a:lnTo>
                    <a:pt x="6495" y="4471"/>
                  </a:lnTo>
                  <a:lnTo>
                    <a:pt x="6421" y="4456"/>
                  </a:lnTo>
                  <a:lnTo>
                    <a:pt x="6347" y="4439"/>
                  </a:lnTo>
                  <a:lnTo>
                    <a:pt x="6273" y="4423"/>
                  </a:lnTo>
                  <a:lnTo>
                    <a:pt x="6200" y="4405"/>
                  </a:lnTo>
                  <a:lnTo>
                    <a:pt x="6127" y="4387"/>
                  </a:lnTo>
                  <a:lnTo>
                    <a:pt x="6055" y="4368"/>
                  </a:lnTo>
                  <a:lnTo>
                    <a:pt x="5982" y="4348"/>
                  </a:lnTo>
                  <a:lnTo>
                    <a:pt x="5910" y="4328"/>
                  </a:lnTo>
                  <a:lnTo>
                    <a:pt x="5838" y="4308"/>
                  </a:lnTo>
                  <a:lnTo>
                    <a:pt x="5766" y="4286"/>
                  </a:lnTo>
                  <a:lnTo>
                    <a:pt x="5694" y="4264"/>
                  </a:lnTo>
                  <a:lnTo>
                    <a:pt x="5624" y="4242"/>
                  </a:lnTo>
                  <a:lnTo>
                    <a:pt x="5553" y="4217"/>
                  </a:lnTo>
                  <a:lnTo>
                    <a:pt x="5605" y="4099"/>
                  </a:lnTo>
                  <a:lnTo>
                    <a:pt x="5658" y="3982"/>
                  </a:lnTo>
                  <a:lnTo>
                    <a:pt x="5714" y="3866"/>
                  </a:lnTo>
                  <a:lnTo>
                    <a:pt x="5771" y="3750"/>
                  </a:lnTo>
                  <a:lnTo>
                    <a:pt x="5830" y="3637"/>
                  </a:lnTo>
                  <a:lnTo>
                    <a:pt x="5889" y="3524"/>
                  </a:lnTo>
                  <a:lnTo>
                    <a:pt x="5951" y="3412"/>
                  </a:lnTo>
                  <a:lnTo>
                    <a:pt x="6014" y="3301"/>
                  </a:lnTo>
                  <a:lnTo>
                    <a:pt x="6078" y="3192"/>
                  </a:lnTo>
                  <a:lnTo>
                    <a:pt x="6144" y="3084"/>
                  </a:lnTo>
                  <a:lnTo>
                    <a:pt x="6212" y="2978"/>
                  </a:lnTo>
                  <a:lnTo>
                    <a:pt x="6279" y="2871"/>
                  </a:lnTo>
                  <a:lnTo>
                    <a:pt x="6349" y="2767"/>
                  </a:lnTo>
                  <a:lnTo>
                    <a:pt x="6421" y="2664"/>
                  </a:lnTo>
                  <a:lnTo>
                    <a:pt x="6494" y="2563"/>
                  </a:lnTo>
                  <a:lnTo>
                    <a:pt x="6568" y="2463"/>
                  </a:lnTo>
                  <a:lnTo>
                    <a:pt x="6643" y="2363"/>
                  </a:lnTo>
                  <a:lnTo>
                    <a:pt x="6718" y="2265"/>
                  </a:lnTo>
                  <a:lnTo>
                    <a:pt x="6796" y="2169"/>
                  </a:lnTo>
                  <a:lnTo>
                    <a:pt x="6875" y="2074"/>
                  </a:lnTo>
                  <a:lnTo>
                    <a:pt x="6955" y="1980"/>
                  </a:lnTo>
                  <a:lnTo>
                    <a:pt x="7038" y="1888"/>
                  </a:lnTo>
                  <a:lnTo>
                    <a:pt x="7121" y="1798"/>
                  </a:lnTo>
                  <a:lnTo>
                    <a:pt x="7204" y="1709"/>
                  </a:lnTo>
                  <a:lnTo>
                    <a:pt x="7289" y="1621"/>
                  </a:lnTo>
                  <a:lnTo>
                    <a:pt x="7375" y="1534"/>
                  </a:lnTo>
                  <a:lnTo>
                    <a:pt x="7463" y="1449"/>
                  </a:lnTo>
                  <a:lnTo>
                    <a:pt x="7552" y="1366"/>
                  </a:lnTo>
                  <a:lnTo>
                    <a:pt x="7642" y="1285"/>
                  </a:lnTo>
                  <a:lnTo>
                    <a:pt x="7732" y="1205"/>
                  </a:lnTo>
                  <a:lnTo>
                    <a:pt x="7825" y="1126"/>
                  </a:lnTo>
                  <a:lnTo>
                    <a:pt x="7918" y="1049"/>
                  </a:lnTo>
                  <a:lnTo>
                    <a:pt x="7931" y="1048"/>
                  </a:lnTo>
                  <a:lnTo>
                    <a:pt x="7945" y="1047"/>
                  </a:lnTo>
                  <a:close/>
                  <a:moveTo>
                    <a:pt x="9383" y="1137"/>
                  </a:moveTo>
                  <a:lnTo>
                    <a:pt x="9520" y="1161"/>
                  </a:lnTo>
                  <a:lnTo>
                    <a:pt x="9656" y="1187"/>
                  </a:lnTo>
                  <a:lnTo>
                    <a:pt x="9791" y="1215"/>
                  </a:lnTo>
                  <a:lnTo>
                    <a:pt x="9924" y="1246"/>
                  </a:lnTo>
                  <a:lnTo>
                    <a:pt x="10058" y="1279"/>
                  </a:lnTo>
                  <a:lnTo>
                    <a:pt x="10189" y="1315"/>
                  </a:lnTo>
                  <a:lnTo>
                    <a:pt x="10320" y="1353"/>
                  </a:lnTo>
                  <a:lnTo>
                    <a:pt x="10450" y="1393"/>
                  </a:lnTo>
                  <a:lnTo>
                    <a:pt x="10578" y="1436"/>
                  </a:lnTo>
                  <a:lnTo>
                    <a:pt x="10706" y="1481"/>
                  </a:lnTo>
                  <a:lnTo>
                    <a:pt x="10832" y="1528"/>
                  </a:lnTo>
                  <a:lnTo>
                    <a:pt x="10958" y="1579"/>
                  </a:lnTo>
                  <a:lnTo>
                    <a:pt x="11082" y="1630"/>
                  </a:lnTo>
                  <a:lnTo>
                    <a:pt x="11205" y="1684"/>
                  </a:lnTo>
                  <a:lnTo>
                    <a:pt x="11326" y="1740"/>
                  </a:lnTo>
                  <a:lnTo>
                    <a:pt x="11446" y="1799"/>
                  </a:lnTo>
                  <a:lnTo>
                    <a:pt x="11565" y="1859"/>
                  </a:lnTo>
                  <a:lnTo>
                    <a:pt x="11683" y="1921"/>
                  </a:lnTo>
                  <a:lnTo>
                    <a:pt x="11799" y="1986"/>
                  </a:lnTo>
                  <a:lnTo>
                    <a:pt x="11914" y="2054"/>
                  </a:lnTo>
                  <a:lnTo>
                    <a:pt x="12028" y="2122"/>
                  </a:lnTo>
                  <a:lnTo>
                    <a:pt x="12140" y="2193"/>
                  </a:lnTo>
                  <a:lnTo>
                    <a:pt x="12251" y="2266"/>
                  </a:lnTo>
                  <a:lnTo>
                    <a:pt x="12360" y="2340"/>
                  </a:lnTo>
                  <a:lnTo>
                    <a:pt x="12468" y="2417"/>
                  </a:lnTo>
                  <a:lnTo>
                    <a:pt x="12574" y="2496"/>
                  </a:lnTo>
                  <a:lnTo>
                    <a:pt x="12679" y="2576"/>
                  </a:lnTo>
                  <a:lnTo>
                    <a:pt x="12782" y="2659"/>
                  </a:lnTo>
                  <a:lnTo>
                    <a:pt x="12884" y="2743"/>
                  </a:lnTo>
                  <a:lnTo>
                    <a:pt x="12983" y="2829"/>
                  </a:lnTo>
                  <a:lnTo>
                    <a:pt x="13082" y="2917"/>
                  </a:lnTo>
                  <a:lnTo>
                    <a:pt x="13178" y="3007"/>
                  </a:lnTo>
                  <a:lnTo>
                    <a:pt x="13074" y="3084"/>
                  </a:lnTo>
                  <a:lnTo>
                    <a:pt x="12968" y="3159"/>
                  </a:lnTo>
                  <a:lnTo>
                    <a:pt x="12861" y="3233"/>
                  </a:lnTo>
                  <a:lnTo>
                    <a:pt x="12752" y="3305"/>
                  </a:lnTo>
                  <a:lnTo>
                    <a:pt x="12644" y="3377"/>
                  </a:lnTo>
                  <a:lnTo>
                    <a:pt x="12533" y="3446"/>
                  </a:lnTo>
                  <a:lnTo>
                    <a:pt x="12421" y="3513"/>
                  </a:lnTo>
                  <a:lnTo>
                    <a:pt x="12308" y="3579"/>
                  </a:lnTo>
                  <a:lnTo>
                    <a:pt x="12252" y="3611"/>
                  </a:lnTo>
                  <a:lnTo>
                    <a:pt x="12194" y="3643"/>
                  </a:lnTo>
                  <a:lnTo>
                    <a:pt x="12137" y="3674"/>
                  </a:lnTo>
                  <a:lnTo>
                    <a:pt x="12078" y="3705"/>
                  </a:lnTo>
                  <a:lnTo>
                    <a:pt x="12021" y="3736"/>
                  </a:lnTo>
                  <a:lnTo>
                    <a:pt x="11962" y="3766"/>
                  </a:lnTo>
                  <a:lnTo>
                    <a:pt x="11904" y="3796"/>
                  </a:lnTo>
                  <a:lnTo>
                    <a:pt x="11844" y="3825"/>
                  </a:lnTo>
                  <a:lnTo>
                    <a:pt x="11786" y="3854"/>
                  </a:lnTo>
                  <a:lnTo>
                    <a:pt x="11726" y="3882"/>
                  </a:lnTo>
                  <a:lnTo>
                    <a:pt x="11667" y="3909"/>
                  </a:lnTo>
                  <a:lnTo>
                    <a:pt x="11606" y="3936"/>
                  </a:lnTo>
                  <a:lnTo>
                    <a:pt x="11546" y="3963"/>
                  </a:lnTo>
                  <a:lnTo>
                    <a:pt x="11485" y="3989"/>
                  </a:lnTo>
                  <a:lnTo>
                    <a:pt x="11425" y="4015"/>
                  </a:lnTo>
                  <a:lnTo>
                    <a:pt x="11363" y="4040"/>
                  </a:lnTo>
                  <a:lnTo>
                    <a:pt x="11317" y="3936"/>
                  </a:lnTo>
                  <a:lnTo>
                    <a:pt x="11271" y="3833"/>
                  </a:lnTo>
                  <a:lnTo>
                    <a:pt x="11222" y="3729"/>
                  </a:lnTo>
                  <a:lnTo>
                    <a:pt x="11173" y="3628"/>
                  </a:lnTo>
                  <a:lnTo>
                    <a:pt x="11123" y="3527"/>
                  </a:lnTo>
                  <a:lnTo>
                    <a:pt x="11072" y="3427"/>
                  </a:lnTo>
                  <a:lnTo>
                    <a:pt x="11019" y="3326"/>
                  </a:lnTo>
                  <a:lnTo>
                    <a:pt x="10966" y="3228"/>
                  </a:lnTo>
                  <a:lnTo>
                    <a:pt x="10911" y="3130"/>
                  </a:lnTo>
                  <a:lnTo>
                    <a:pt x="10855" y="3034"/>
                  </a:lnTo>
                  <a:lnTo>
                    <a:pt x="10799" y="2938"/>
                  </a:lnTo>
                  <a:lnTo>
                    <a:pt x="10741" y="2842"/>
                  </a:lnTo>
                  <a:lnTo>
                    <a:pt x="10683" y="2748"/>
                  </a:lnTo>
                  <a:lnTo>
                    <a:pt x="10623" y="2654"/>
                  </a:lnTo>
                  <a:lnTo>
                    <a:pt x="10562" y="2562"/>
                  </a:lnTo>
                  <a:lnTo>
                    <a:pt x="10500" y="2471"/>
                  </a:lnTo>
                  <a:lnTo>
                    <a:pt x="10437" y="2379"/>
                  </a:lnTo>
                  <a:lnTo>
                    <a:pt x="10374" y="2290"/>
                  </a:lnTo>
                  <a:lnTo>
                    <a:pt x="10309" y="2201"/>
                  </a:lnTo>
                  <a:lnTo>
                    <a:pt x="10243" y="2113"/>
                  </a:lnTo>
                  <a:lnTo>
                    <a:pt x="10177" y="2027"/>
                  </a:lnTo>
                  <a:lnTo>
                    <a:pt x="10109" y="1940"/>
                  </a:lnTo>
                  <a:lnTo>
                    <a:pt x="10041" y="1855"/>
                  </a:lnTo>
                  <a:lnTo>
                    <a:pt x="9971" y="1771"/>
                  </a:lnTo>
                  <a:lnTo>
                    <a:pt x="9901" y="1689"/>
                  </a:lnTo>
                  <a:lnTo>
                    <a:pt x="9830" y="1607"/>
                  </a:lnTo>
                  <a:lnTo>
                    <a:pt x="9758" y="1525"/>
                  </a:lnTo>
                  <a:lnTo>
                    <a:pt x="9685" y="1446"/>
                  </a:lnTo>
                  <a:lnTo>
                    <a:pt x="9610" y="1367"/>
                  </a:lnTo>
                  <a:lnTo>
                    <a:pt x="9536" y="1289"/>
                  </a:lnTo>
                  <a:lnTo>
                    <a:pt x="9460" y="1213"/>
                  </a:lnTo>
                  <a:lnTo>
                    <a:pt x="9383" y="1137"/>
                  </a:lnTo>
                  <a:close/>
                  <a:moveTo>
                    <a:pt x="8502" y="1049"/>
                  </a:moveTo>
                  <a:lnTo>
                    <a:pt x="8595" y="1126"/>
                  </a:lnTo>
                  <a:lnTo>
                    <a:pt x="8687" y="1205"/>
                  </a:lnTo>
                  <a:lnTo>
                    <a:pt x="8778" y="1285"/>
                  </a:lnTo>
                  <a:lnTo>
                    <a:pt x="8867" y="1366"/>
                  </a:lnTo>
                  <a:lnTo>
                    <a:pt x="8957" y="1449"/>
                  </a:lnTo>
                  <a:lnTo>
                    <a:pt x="9044" y="1534"/>
                  </a:lnTo>
                  <a:lnTo>
                    <a:pt x="9130" y="1621"/>
                  </a:lnTo>
                  <a:lnTo>
                    <a:pt x="9215" y="1709"/>
                  </a:lnTo>
                  <a:lnTo>
                    <a:pt x="9299" y="1798"/>
                  </a:lnTo>
                  <a:lnTo>
                    <a:pt x="9382" y="1888"/>
                  </a:lnTo>
                  <a:lnTo>
                    <a:pt x="9464" y="1980"/>
                  </a:lnTo>
                  <a:lnTo>
                    <a:pt x="9544" y="2074"/>
                  </a:lnTo>
                  <a:lnTo>
                    <a:pt x="9623" y="2169"/>
                  </a:lnTo>
                  <a:lnTo>
                    <a:pt x="9701" y="2265"/>
                  </a:lnTo>
                  <a:lnTo>
                    <a:pt x="9778" y="2363"/>
                  </a:lnTo>
                  <a:lnTo>
                    <a:pt x="9852" y="2463"/>
                  </a:lnTo>
                  <a:lnTo>
                    <a:pt x="9926" y="2563"/>
                  </a:lnTo>
                  <a:lnTo>
                    <a:pt x="9999" y="2664"/>
                  </a:lnTo>
                  <a:lnTo>
                    <a:pt x="10070" y="2767"/>
                  </a:lnTo>
                  <a:lnTo>
                    <a:pt x="10140" y="2871"/>
                  </a:lnTo>
                  <a:lnTo>
                    <a:pt x="10209" y="2978"/>
                  </a:lnTo>
                  <a:lnTo>
                    <a:pt x="10275" y="3084"/>
                  </a:lnTo>
                  <a:lnTo>
                    <a:pt x="10341" y="3192"/>
                  </a:lnTo>
                  <a:lnTo>
                    <a:pt x="10406" y="3301"/>
                  </a:lnTo>
                  <a:lnTo>
                    <a:pt x="10468" y="3412"/>
                  </a:lnTo>
                  <a:lnTo>
                    <a:pt x="10530" y="3524"/>
                  </a:lnTo>
                  <a:lnTo>
                    <a:pt x="10589" y="3637"/>
                  </a:lnTo>
                  <a:lnTo>
                    <a:pt x="10648" y="3750"/>
                  </a:lnTo>
                  <a:lnTo>
                    <a:pt x="10705" y="3866"/>
                  </a:lnTo>
                  <a:lnTo>
                    <a:pt x="10761" y="3982"/>
                  </a:lnTo>
                  <a:lnTo>
                    <a:pt x="10815" y="4099"/>
                  </a:lnTo>
                  <a:lnTo>
                    <a:pt x="10867" y="4217"/>
                  </a:lnTo>
                  <a:lnTo>
                    <a:pt x="10797" y="4242"/>
                  </a:lnTo>
                  <a:lnTo>
                    <a:pt x="10725" y="4264"/>
                  </a:lnTo>
                  <a:lnTo>
                    <a:pt x="10654" y="4286"/>
                  </a:lnTo>
                  <a:lnTo>
                    <a:pt x="10582" y="4308"/>
                  </a:lnTo>
                  <a:lnTo>
                    <a:pt x="10510" y="4328"/>
                  </a:lnTo>
                  <a:lnTo>
                    <a:pt x="10437" y="4348"/>
                  </a:lnTo>
                  <a:lnTo>
                    <a:pt x="10366" y="4368"/>
                  </a:lnTo>
                  <a:lnTo>
                    <a:pt x="10293" y="4387"/>
                  </a:lnTo>
                  <a:lnTo>
                    <a:pt x="10219" y="4405"/>
                  </a:lnTo>
                  <a:lnTo>
                    <a:pt x="10146" y="4423"/>
                  </a:lnTo>
                  <a:lnTo>
                    <a:pt x="10072" y="4439"/>
                  </a:lnTo>
                  <a:lnTo>
                    <a:pt x="9998" y="4456"/>
                  </a:lnTo>
                  <a:lnTo>
                    <a:pt x="9924" y="4471"/>
                  </a:lnTo>
                  <a:lnTo>
                    <a:pt x="9850" y="4486"/>
                  </a:lnTo>
                  <a:lnTo>
                    <a:pt x="9775" y="4501"/>
                  </a:lnTo>
                  <a:lnTo>
                    <a:pt x="9701" y="4514"/>
                  </a:lnTo>
                  <a:lnTo>
                    <a:pt x="9626" y="4527"/>
                  </a:lnTo>
                  <a:lnTo>
                    <a:pt x="9551" y="4540"/>
                  </a:lnTo>
                  <a:lnTo>
                    <a:pt x="9475" y="4551"/>
                  </a:lnTo>
                  <a:lnTo>
                    <a:pt x="9400" y="4562"/>
                  </a:lnTo>
                  <a:lnTo>
                    <a:pt x="9324" y="4573"/>
                  </a:lnTo>
                  <a:lnTo>
                    <a:pt x="9247" y="4582"/>
                  </a:lnTo>
                  <a:lnTo>
                    <a:pt x="9171" y="4591"/>
                  </a:lnTo>
                  <a:lnTo>
                    <a:pt x="9094" y="4600"/>
                  </a:lnTo>
                  <a:lnTo>
                    <a:pt x="9018" y="4607"/>
                  </a:lnTo>
                  <a:lnTo>
                    <a:pt x="8940" y="4614"/>
                  </a:lnTo>
                  <a:lnTo>
                    <a:pt x="8863" y="4621"/>
                  </a:lnTo>
                  <a:lnTo>
                    <a:pt x="8786" y="4626"/>
                  </a:lnTo>
                  <a:lnTo>
                    <a:pt x="8708" y="4631"/>
                  </a:lnTo>
                  <a:lnTo>
                    <a:pt x="8630" y="4635"/>
                  </a:lnTo>
                  <a:lnTo>
                    <a:pt x="8552" y="4639"/>
                  </a:lnTo>
                  <a:lnTo>
                    <a:pt x="8474" y="4642"/>
                  </a:lnTo>
                  <a:lnTo>
                    <a:pt x="8474" y="1047"/>
                  </a:lnTo>
                  <a:lnTo>
                    <a:pt x="8489" y="1048"/>
                  </a:lnTo>
                  <a:lnTo>
                    <a:pt x="8502" y="1049"/>
                  </a:lnTo>
                  <a:close/>
                  <a:moveTo>
                    <a:pt x="7917" y="14987"/>
                  </a:moveTo>
                  <a:lnTo>
                    <a:pt x="7835" y="14918"/>
                  </a:lnTo>
                  <a:lnTo>
                    <a:pt x="7754" y="14850"/>
                  </a:lnTo>
                  <a:lnTo>
                    <a:pt x="7673" y="14779"/>
                  </a:lnTo>
                  <a:lnTo>
                    <a:pt x="7594" y="14708"/>
                  </a:lnTo>
                  <a:lnTo>
                    <a:pt x="7515" y="14636"/>
                  </a:lnTo>
                  <a:lnTo>
                    <a:pt x="7437" y="14562"/>
                  </a:lnTo>
                  <a:lnTo>
                    <a:pt x="7360" y="14487"/>
                  </a:lnTo>
                  <a:lnTo>
                    <a:pt x="7284" y="14410"/>
                  </a:lnTo>
                  <a:lnTo>
                    <a:pt x="7209" y="14333"/>
                  </a:lnTo>
                  <a:lnTo>
                    <a:pt x="7135" y="14255"/>
                  </a:lnTo>
                  <a:lnTo>
                    <a:pt x="7061" y="14175"/>
                  </a:lnTo>
                  <a:lnTo>
                    <a:pt x="6989" y="14095"/>
                  </a:lnTo>
                  <a:lnTo>
                    <a:pt x="6919" y="14012"/>
                  </a:lnTo>
                  <a:lnTo>
                    <a:pt x="6848" y="13930"/>
                  </a:lnTo>
                  <a:lnTo>
                    <a:pt x="6778" y="13846"/>
                  </a:lnTo>
                  <a:lnTo>
                    <a:pt x="6710" y="13761"/>
                  </a:lnTo>
                  <a:lnTo>
                    <a:pt x="6643" y="13675"/>
                  </a:lnTo>
                  <a:lnTo>
                    <a:pt x="6576" y="13588"/>
                  </a:lnTo>
                  <a:lnTo>
                    <a:pt x="6511" y="13499"/>
                  </a:lnTo>
                  <a:lnTo>
                    <a:pt x="6447" y="13410"/>
                  </a:lnTo>
                  <a:lnTo>
                    <a:pt x="6383" y="13319"/>
                  </a:lnTo>
                  <a:lnTo>
                    <a:pt x="6321" y="13228"/>
                  </a:lnTo>
                  <a:lnTo>
                    <a:pt x="6260" y="13135"/>
                  </a:lnTo>
                  <a:lnTo>
                    <a:pt x="6199" y="13042"/>
                  </a:lnTo>
                  <a:lnTo>
                    <a:pt x="6141" y="12948"/>
                  </a:lnTo>
                  <a:lnTo>
                    <a:pt x="6082" y="12853"/>
                  </a:lnTo>
                  <a:lnTo>
                    <a:pt x="6026" y="12757"/>
                  </a:lnTo>
                  <a:lnTo>
                    <a:pt x="5969" y="12659"/>
                  </a:lnTo>
                  <a:lnTo>
                    <a:pt x="5915" y="12561"/>
                  </a:lnTo>
                  <a:lnTo>
                    <a:pt x="5862" y="12462"/>
                  </a:lnTo>
                  <a:lnTo>
                    <a:pt x="5809" y="12363"/>
                  </a:lnTo>
                  <a:lnTo>
                    <a:pt x="5758" y="12262"/>
                  </a:lnTo>
                  <a:lnTo>
                    <a:pt x="5823" y="12242"/>
                  </a:lnTo>
                  <a:lnTo>
                    <a:pt x="5888" y="12223"/>
                  </a:lnTo>
                  <a:lnTo>
                    <a:pt x="5954" y="12204"/>
                  </a:lnTo>
                  <a:lnTo>
                    <a:pt x="6020" y="12187"/>
                  </a:lnTo>
                  <a:lnTo>
                    <a:pt x="6086" y="12169"/>
                  </a:lnTo>
                  <a:lnTo>
                    <a:pt x="6152" y="12153"/>
                  </a:lnTo>
                  <a:lnTo>
                    <a:pt x="6219" y="12136"/>
                  </a:lnTo>
                  <a:lnTo>
                    <a:pt x="6285" y="12121"/>
                  </a:lnTo>
                  <a:lnTo>
                    <a:pt x="6352" y="12106"/>
                  </a:lnTo>
                  <a:lnTo>
                    <a:pt x="6420" y="12091"/>
                  </a:lnTo>
                  <a:lnTo>
                    <a:pt x="6487" y="12077"/>
                  </a:lnTo>
                  <a:lnTo>
                    <a:pt x="6554" y="12064"/>
                  </a:lnTo>
                  <a:lnTo>
                    <a:pt x="6622" y="12051"/>
                  </a:lnTo>
                  <a:lnTo>
                    <a:pt x="6691" y="12039"/>
                  </a:lnTo>
                  <a:lnTo>
                    <a:pt x="6758" y="12027"/>
                  </a:lnTo>
                  <a:lnTo>
                    <a:pt x="6827" y="12016"/>
                  </a:lnTo>
                  <a:lnTo>
                    <a:pt x="6895" y="12005"/>
                  </a:lnTo>
                  <a:lnTo>
                    <a:pt x="6964" y="11995"/>
                  </a:lnTo>
                  <a:lnTo>
                    <a:pt x="7033" y="11986"/>
                  </a:lnTo>
                  <a:lnTo>
                    <a:pt x="7102" y="11976"/>
                  </a:lnTo>
                  <a:lnTo>
                    <a:pt x="7171" y="11968"/>
                  </a:lnTo>
                  <a:lnTo>
                    <a:pt x="7241" y="11960"/>
                  </a:lnTo>
                  <a:lnTo>
                    <a:pt x="7311" y="11953"/>
                  </a:lnTo>
                  <a:lnTo>
                    <a:pt x="7380" y="11946"/>
                  </a:lnTo>
                  <a:lnTo>
                    <a:pt x="7450" y="11940"/>
                  </a:lnTo>
                  <a:lnTo>
                    <a:pt x="7521" y="11934"/>
                  </a:lnTo>
                  <a:lnTo>
                    <a:pt x="7591" y="11929"/>
                  </a:lnTo>
                  <a:lnTo>
                    <a:pt x="7662" y="11924"/>
                  </a:lnTo>
                  <a:lnTo>
                    <a:pt x="7732" y="11920"/>
                  </a:lnTo>
                  <a:lnTo>
                    <a:pt x="7803" y="11916"/>
                  </a:lnTo>
                  <a:lnTo>
                    <a:pt x="7874" y="11913"/>
                  </a:lnTo>
                  <a:lnTo>
                    <a:pt x="7945" y="11911"/>
                  </a:lnTo>
                  <a:lnTo>
                    <a:pt x="7945" y="14988"/>
                  </a:lnTo>
                  <a:lnTo>
                    <a:pt x="7917" y="14987"/>
                  </a:lnTo>
                  <a:close/>
                  <a:moveTo>
                    <a:pt x="15347" y="7759"/>
                  </a:moveTo>
                  <a:lnTo>
                    <a:pt x="12171" y="7759"/>
                  </a:lnTo>
                  <a:lnTo>
                    <a:pt x="12168" y="7652"/>
                  </a:lnTo>
                  <a:lnTo>
                    <a:pt x="12163" y="7545"/>
                  </a:lnTo>
                  <a:lnTo>
                    <a:pt x="12157" y="7439"/>
                  </a:lnTo>
                  <a:lnTo>
                    <a:pt x="12151" y="7332"/>
                  </a:lnTo>
                  <a:lnTo>
                    <a:pt x="12144" y="7226"/>
                  </a:lnTo>
                  <a:lnTo>
                    <a:pt x="12136" y="7120"/>
                  </a:lnTo>
                  <a:lnTo>
                    <a:pt x="12126" y="7015"/>
                  </a:lnTo>
                  <a:lnTo>
                    <a:pt x="12115" y="6911"/>
                  </a:lnTo>
                  <a:lnTo>
                    <a:pt x="12104" y="6805"/>
                  </a:lnTo>
                  <a:lnTo>
                    <a:pt x="12092" y="6701"/>
                  </a:lnTo>
                  <a:lnTo>
                    <a:pt x="12078" y="6598"/>
                  </a:lnTo>
                  <a:lnTo>
                    <a:pt x="12063" y="6494"/>
                  </a:lnTo>
                  <a:lnTo>
                    <a:pt x="12047" y="6391"/>
                  </a:lnTo>
                  <a:lnTo>
                    <a:pt x="12031" y="6288"/>
                  </a:lnTo>
                  <a:lnTo>
                    <a:pt x="12014" y="6186"/>
                  </a:lnTo>
                  <a:lnTo>
                    <a:pt x="11995" y="6084"/>
                  </a:lnTo>
                  <a:lnTo>
                    <a:pt x="11976" y="5982"/>
                  </a:lnTo>
                  <a:lnTo>
                    <a:pt x="11954" y="5881"/>
                  </a:lnTo>
                  <a:lnTo>
                    <a:pt x="11933" y="5781"/>
                  </a:lnTo>
                  <a:lnTo>
                    <a:pt x="11910" y="5681"/>
                  </a:lnTo>
                  <a:lnTo>
                    <a:pt x="11886" y="5582"/>
                  </a:lnTo>
                  <a:lnTo>
                    <a:pt x="11862" y="5482"/>
                  </a:lnTo>
                  <a:lnTo>
                    <a:pt x="11836" y="5383"/>
                  </a:lnTo>
                  <a:lnTo>
                    <a:pt x="11810" y="5285"/>
                  </a:lnTo>
                  <a:lnTo>
                    <a:pt x="11783" y="5188"/>
                  </a:lnTo>
                  <a:lnTo>
                    <a:pt x="11754" y="5090"/>
                  </a:lnTo>
                  <a:lnTo>
                    <a:pt x="11724" y="4993"/>
                  </a:lnTo>
                  <a:lnTo>
                    <a:pt x="11694" y="4897"/>
                  </a:lnTo>
                  <a:lnTo>
                    <a:pt x="11663" y="4801"/>
                  </a:lnTo>
                  <a:lnTo>
                    <a:pt x="11630" y="4706"/>
                  </a:lnTo>
                  <a:lnTo>
                    <a:pt x="11597" y="4611"/>
                  </a:lnTo>
                  <a:lnTo>
                    <a:pt x="11563" y="4517"/>
                  </a:lnTo>
                  <a:lnTo>
                    <a:pt x="11630" y="4489"/>
                  </a:lnTo>
                  <a:lnTo>
                    <a:pt x="11695" y="4461"/>
                  </a:lnTo>
                  <a:lnTo>
                    <a:pt x="11762" y="4432"/>
                  </a:lnTo>
                  <a:lnTo>
                    <a:pt x="11828" y="4403"/>
                  </a:lnTo>
                  <a:lnTo>
                    <a:pt x="11894" y="4374"/>
                  </a:lnTo>
                  <a:lnTo>
                    <a:pt x="11959" y="4343"/>
                  </a:lnTo>
                  <a:lnTo>
                    <a:pt x="12024" y="4312"/>
                  </a:lnTo>
                  <a:lnTo>
                    <a:pt x="12088" y="4281"/>
                  </a:lnTo>
                  <a:lnTo>
                    <a:pt x="12153" y="4249"/>
                  </a:lnTo>
                  <a:lnTo>
                    <a:pt x="12217" y="4216"/>
                  </a:lnTo>
                  <a:lnTo>
                    <a:pt x="12280" y="4183"/>
                  </a:lnTo>
                  <a:lnTo>
                    <a:pt x="12344" y="4150"/>
                  </a:lnTo>
                  <a:lnTo>
                    <a:pt x="12407" y="4116"/>
                  </a:lnTo>
                  <a:lnTo>
                    <a:pt x="12469" y="4081"/>
                  </a:lnTo>
                  <a:lnTo>
                    <a:pt x="12532" y="4046"/>
                  </a:lnTo>
                  <a:lnTo>
                    <a:pt x="12593" y="4011"/>
                  </a:lnTo>
                  <a:lnTo>
                    <a:pt x="12655" y="3975"/>
                  </a:lnTo>
                  <a:lnTo>
                    <a:pt x="12717" y="3939"/>
                  </a:lnTo>
                  <a:lnTo>
                    <a:pt x="12778" y="3902"/>
                  </a:lnTo>
                  <a:lnTo>
                    <a:pt x="12839" y="3865"/>
                  </a:lnTo>
                  <a:lnTo>
                    <a:pt x="12899" y="3827"/>
                  </a:lnTo>
                  <a:lnTo>
                    <a:pt x="12959" y="3789"/>
                  </a:lnTo>
                  <a:lnTo>
                    <a:pt x="13019" y="3749"/>
                  </a:lnTo>
                  <a:lnTo>
                    <a:pt x="13078" y="3710"/>
                  </a:lnTo>
                  <a:lnTo>
                    <a:pt x="13137" y="3670"/>
                  </a:lnTo>
                  <a:lnTo>
                    <a:pt x="13196" y="3630"/>
                  </a:lnTo>
                  <a:lnTo>
                    <a:pt x="13254" y="3590"/>
                  </a:lnTo>
                  <a:lnTo>
                    <a:pt x="13313" y="3549"/>
                  </a:lnTo>
                  <a:lnTo>
                    <a:pt x="13370" y="3507"/>
                  </a:lnTo>
                  <a:lnTo>
                    <a:pt x="13428" y="3466"/>
                  </a:lnTo>
                  <a:lnTo>
                    <a:pt x="13485" y="3423"/>
                  </a:lnTo>
                  <a:lnTo>
                    <a:pt x="13542" y="3381"/>
                  </a:lnTo>
                  <a:lnTo>
                    <a:pt x="13641" y="3492"/>
                  </a:lnTo>
                  <a:lnTo>
                    <a:pt x="13738" y="3605"/>
                  </a:lnTo>
                  <a:lnTo>
                    <a:pt x="13832" y="3719"/>
                  </a:lnTo>
                  <a:lnTo>
                    <a:pt x="13924" y="3837"/>
                  </a:lnTo>
                  <a:lnTo>
                    <a:pt x="14014" y="3956"/>
                  </a:lnTo>
                  <a:lnTo>
                    <a:pt x="14101" y="4076"/>
                  </a:lnTo>
                  <a:lnTo>
                    <a:pt x="14185" y="4199"/>
                  </a:lnTo>
                  <a:lnTo>
                    <a:pt x="14266" y="4324"/>
                  </a:lnTo>
                  <a:lnTo>
                    <a:pt x="14346" y="4450"/>
                  </a:lnTo>
                  <a:lnTo>
                    <a:pt x="14422" y="4578"/>
                  </a:lnTo>
                  <a:lnTo>
                    <a:pt x="14496" y="4708"/>
                  </a:lnTo>
                  <a:lnTo>
                    <a:pt x="14567" y="4839"/>
                  </a:lnTo>
                  <a:lnTo>
                    <a:pt x="14634" y="4972"/>
                  </a:lnTo>
                  <a:lnTo>
                    <a:pt x="14700" y="5106"/>
                  </a:lnTo>
                  <a:lnTo>
                    <a:pt x="14763" y="5243"/>
                  </a:lnTo>
                  <a:lnTo>
                    <a:pt x="14822" y="5380"/>
                  </a:lnTo>
                  <a:lnTo>
                    <a:pt x="14879" y="5519"/>
                  </a:lnTo>
                  <a:lnTo>
                    <a:pt x="14932" y="5660"/>
                  </a:lnTo>
                  <a:lnTo>
                    <a:pt x="14982" y="5802"/>
                  </a:lnTo>
                  <a:lnTo>
                    <a:pt x="15031" y="5945"/>
                  </a:lnTo>
                  <a:lnTo>
                    <a:pt x="15075" y="6090"/>
                  </a:lnTo>
                  <a:lnTo>
                    <a:pt x="15116" y="6236"/>
                  </a:lnTo>
                  <a:lnTo>
                    <a:pt x="15154" y="6383"/>
                  </a:lnTo>
                  <a:lnTo>
                    <a:pt x="15189" y="6532"/>
                  </a:lnTo>
                  <a:lnTo>
                    <a:pt x="15220" y="6681"/>
                  </a:lnTo>
                  <a:lnTo>
                    <a:pt x="15248" y="6832"/>
                  </a:lnTo>
                  <a:lnTo>
                    <a:pt x="15273" y="6984"/>
                  </a:lnTo>
                  <a:lnTo>
                    <a:pt x="15294" y="7137"/>
                  </a:lnTo>
                  <a:lnTo>
                    <a:pt x="15313" y="7291"/>
                  </a:lnTo>
                  <a:lnTo>
                    <a:pt x="15327" y="7446"/>
                  </a:lnTo>
                  <a:lnTo>
                    <a:pt x="15338" y="7602"/>
                  </a:lnTo>
                  <a:lnTo>
                    <a:pt x="15347" y="7759"/>
                  </a:lnTo>
                  <a:close/>
                  <a:moveTo>
                    <a:pt x="8210" y="0"/>
                  </a:moveTo>
                  <a:lnTo>
                    <a:pt x="7787" y="10"/>
                  </a:lnTo>
                  <a:lnTo>
                    <a:pt x="7370" y="41"/>
                  </a:lnTo>
                  <a:lnTo>
                    <a:pt x="6960" y="92"/>
                  </a:lnTo>
                  <a:lnTo>
                    <a:pt x="6555" y="162"/>
                  </a:lnTo>
                  <a:lnTo>
                    <a:pt x="6158" y="253"/>
                  </a:lnTo>
                  <a:lnTo>
                    <a:pt x="5768" y="361"/>
                  </a:lnTo>
                  <a:lnTo>
                    <a:pt x="5386" y="486"/>
                  </a:lnTo>
                  <a:lnTo>
                    <a:pt x="5014" y="630"/>
                  </a:lnTo>
                  <a:lnTo>
                    <a:pt x="4651" y="791"/>
                  </a:lnTo>
                  <a:lnTo>
                    <a:pt x="4297" y="967"/>
                  </a:lnTo>
                  <a:lnTo>
                    <a:pt x="3953" y="1161"/>
                  </a:lnTo>
                  <a:lnTo>
                    <a:pt x="3619" y="1369"/>
                  </a:lnTo>
                  <a:lnTo>
                    <a:pt x="3298" y="1593"/>
                  </a:lnTo>
                  <a:lnTo>
                    <a:pt x="2987" y="1831"/>
                  </a:lnTo>
                  <a:lnTo>
                    <a:pt x="2690" y="2083"/>
                  </a:lnTo>
                  <a:lnTo>
                    <a:pt x="2404" y="2348"/>
                  </a:lnTo>
                  <a:lnTo>
                    <a:pt x="2132" y="2627"/>
                  </a:lnTo>
                  <a:lnTo>
                    <a:pt x="1875" y="2918"/>
                  </a:lnTo>
                  <a:lnTo>
                    <a:pt x="1631" y="3220"/>
                  </a:lnTo>
                  <a:lnTo>
                    <a:pt x="1402" y="3535"/>
                  </a:lnTo>
                  <a:lnTo>
                    <a:pt x="1188" y="3861"/>
                  </a:lnTo>
                  <a:lnTo>
                    <a:pt x="991" y="4195"/>
                  </a:lnTo>
                  <a:lnTo>
                    <a:pt x="810" y="4541"/>
                  </a:lnTo>
                  <a:lnTo>
                    <a:pt x="645" y="4897"/>
                  </a:lnTo>
                  <a:lnTo>
                    <a:pt x="498" y="5261"/>
                  </a:lnTo>
                  <a:lnTo>
                    <a:pt x="369" y="5634"/>
                  </a:lnTo>
                  <a:lnTo>
                    <a:pt x="259" y="6014"/>
                  </a:lnTo>
                  <a:lnTo>
                    <a:pt x="167" y="6402"/>
                  </a:lnTo>
                  <a:lnTo>
                    <a:pt x="94" y="6797"/>
                  </a:lnTo>
                  <a:lnTo>
                    <a:pt x="42" y="7198"/>
                  </a:lnTo>
                  <a:lnTo>
                    <a:pt x="10" y="7605"/>
                  </a:lnTo>
                  <a:lnTo>
                    <a:pt x="0" y="8018"/>
                  </a:lnTo>
                  <a:lnTo>
                    <a:pt x="10" y="8431"/>
                  </a:lnTo>
                  <a:lnTo>
                    <a:pt x="42" y="8838"/>
                  </a:lnTo>
                  <a:lnTo>
                    <a:pt x="94" y="9239"/>
                  </a:lnTo>
                  <a:lnTo>
                    <a:pt x="167" y="9634"/>
                  </a:lnTo>
                  <a:lnTo>
                    <a:pt x="259" y="10021"/>
                  </a:lnTo>
                  <a:lnTo>
                    <a:pt x="369" y="10402"/>
                  </a:lnTo>
                  <a:lnTo>
                    <a:pt x="498" y="10774"/>
                  </a:lnTo>
                  <a:lnTo>
                    <a:pt x="645" y="11139"/>
                  </a:lnTo>
                  <a:lnTo>
                    <a:pt x="810" y="11494"/>
                  </a:lnTo>
                  <a:lnTo>
                    <a:pt x="991" y="11840"/>
                  </a:lnTo>
                  <a:lnTo>
                    <a:pt x="1188" y="12175"/>
                  </a:lnTo>
                  <a:lnTo>
                    <a:pt x="1402" y="12501"/>
                  </a:lnTo>
                  <a:lnTo>
                    <a:pt x="1631" y="12815"/>
                  </a:lnTo>
                  <a:lnTo>
                    <a:pt x="1875" y="13118"/>
                  </a:lnTo>
                  <a:lnTo>
                    <a:pt x="2132" y="13409"/>
                  </a:lnTo>
                  <a:lnTo>
                    <a:pt x="2404" y="13688"/>
                  </a:lnTo>
                  <a:lnTo>
                    <a:pt x="2690" y="13953"/>
                  </a:lnTo>
                  <a:lnTo>
                    <a:pt x="2987" y="14205"/>
                  </a:lnTo>
                  <a:lnTo>
                    <a:pt x="3298" y="14443"/>
                  </a:lnTo>
                  <a:lnTo>
                    <a:pt x="3619" y="14667"/>
                  </a:lnTo>
                  <a:lnTo>
                    <a:pt x="3953" y="14875"/>
                  </a:lnTo>
                  <a:lnTo>
                    <a:pt x="4297" y="15068"/>
                  </a:lnTo>
                  <a:lnTo>
                    <a:pt x="4651" y="15245"/>
                  </a:lnTo>
                  <a:lnTo>
                    <a:pt x="5014" y="15406"/>
                  </a:lnTo>
                  <a:lnTo>
                    <a:pt x="5386" y="15550"/>
                  </a:lnTo>
                  <a:lnTo>
                    <a:pt x="5768" y="15675"/>
                  </a:lnTo>
                  <a:lnTo>
                    <a:pt x="6158" y="15783"/>
                  </a:lnTo>
                  <a:lnTo>
                    <a:pt x="6555" y="15873"/>
                  </a:lnTo>
                  <a:lnTo>
                    <a:pt x="6960" y="15944"/>
                  </a:lnTo>
                  <a:lnTo>
                    <a:pt x="7370" y="15995"/>
                  </a:lnTo>
                  <a:lnTo>
                    <a:pt x="7787" y="16026"/>
                  </a:lnTo>
                  <a:lnTo>
                    <a:pt x="8210" y="16036"/>
                  </a:lnTo>
                  <a:lnTo>
                    <a:pt x="8632" y="16026"/>
                  </a:lnTo>
                  <a:lnTo>
                    <a:pt x="9049" y="15995"/>
                  </a:lnTo>
                  <a:lnTo>
                    <a:pt x="9459" y="15944"/>
                  </a:lnTo>
                  <a:lnTo>
                    <a:pt x="9864" y="15873"/>
                  </a:lnTo>
                  <a:lnTo>
                    <a:pt x="10261" y="15783"/>
                  </a:lnTo>
                  <a:lnTo>
                    <a:pt x="10651" y="15675"/>
                  </a:lnTo>
                  <a:lnTo>
                    <a:pt x="11033" y="15550"/>
                  </a:lnTo>
                  <a:lnTo>
                    <a:pt x="11405" y="15406"/>
                  </a:lnTo>
                  <a:lnTo>
                    <a:pt x="11768" y="15245"/>
                  </a:lnTo>
                  <a:lnTo>
                    <a:pt x="12122" y="15068"/>
                  </a:lnTo>
                  <a:lnTo>
                    <a:pt x="12466" y="14875"/>
                  </a:lnTo>
                  <a:lnTo>
                    <a:pt x="12800" y="14667"/>
                  </a:lnTo>
                  <a:lnTo>
                    <a:pt x="13122" y="14443"/>
                  </a:lnTo>
                  <a:lnTo>
                    <a:pt x="13432" y="14205"/>
                  </a:lnTo>
                  <a:lnTo>
                    <a:pt x="13729" y="13953"/>
                  </a:lnTo>
                  <a:lnTo>
                    <a:pt x="14015" y="13688"/>
                  </a:lnTo>
                  <a:lnTo>
                    <a:pt x="14287" y="13409"/>
                  </a:lnTo>
                  <a:lnTo>
                    <a:pt x="14544" y="13118"/>
                  </a:lnTo>
                  <a:lnTo>
                    <a:pt x="14788" y="12815"/>
                  </a:lnTo>
                  <a:lnTo>
                    <a:pt x="15017" y="12501"/>
                  </a:lnTo>
                  <a:lnTo>
                    <a:pt x="15231" y="12175"/>
                  </a:lnTo>
                  <a:lnTo>
                    <a:pt x="15428" y="11840"/>
                  </a:lnTo>
                  <a:lnTo>
                    <a:pt x="15609" y="11494"/>
                  </a:lnTo>
                  <a:lnTo>
                    <a:pt x="15774" y="11139"/>
                  </a:lnTo>
                  <a:lnTo>
                    <a:pt x="15921" y="10774"/>
                  </a:lnTo>
                  <a:lnTo>
                    <a:pt x="16050" y="10402"/>
                  </a:lnTo>
                  <a:lnTo>
                    <a:pt x="16160" y="10021"/>
                  </a:lnTo>
                  <a:lnTo>
                    <a:pt x="16253" y="9634"/>
                  </a:lnTo>
                  <a:lnTo>
                    <a:pt x="16325" y="9239"/>
                  </a:lnTo>
                  <a:lnTo>
                    <a:pt x="16377" y="8838"/>
                  </a:lnTo>
                  <a:lnTo>
                    <a:pt x="16409" y="8431"/>
                  </a:lnTo>
                  <a:lnTo>
                    <a:pt x="16419" y="8018"/>
                  </a:lnTo>
                  <a:lnTo>
                    <a:pt x="16409" y="7605"/>
                  </a:lnTo>
                  <a:lnTo>
                    <a:pt x="16377" y="7198"/>
                  </a:lnTo>
                  <a:lnTo>
                    <a:pt x="16325" y="6797"/>
                  </a:lnTo>
                  <a:lnTo>
                    <a:pt x="16253" y="6402"/>
                  </a:lnTo>
                  <a:lnTo>
                    <a:pt x="16160" y="6014"/>
                  </a:lnTo>
                  <a:lnTo>
                    <a:pt x="16050" y="5634"/>
                  </a:lnTo>
                  <a:lnTo>
                    <a:pt x="15921" y="5261"/>
                  </a:lnTo>
                  <a:lnTo>
                    <a:pt x="15774" y="4897"/>
                  </a:lnTo>
                  <a:lnTo>
                    <a:pt x="15609" y="4541"/>
                  </a:lnTo>
                  <a:lnTo>
                    <a:pt x="15428" y="4195"/>
                  </a:lnTo>
                  <a:lnTo>
                    <a:pt x="15231" y="3861"/>
                  </a:lnTo>
                  <a:lnTo>
                    <a:pt x="15017" y="3535"/>
                  </a:lnTo>
                  <a:lnTo>
                    <a:pt x="14788" y="3220"/>
                  </a:lnTo>
                  <a:lnTo>
                    <a:pt x="14544" y="2918"/>
                  </a:lnTo>
                  <a:lnTo>
                    <a:pt x="14287" y="2627"/>
                  </a:lnTo>
                  <a:lnTo>
                    <a:pt x="14015" y="2348"/>
                  </a:lnTo>
                  <a:lnTo>
                    <a:pt x="13729" y="2083"/>
                  </a:lnTo>
                  <a:lnTo>
                    <a:pt x="13432" y="1831"/>
                  </a:lnTo>
                  <a:lnTo>
                    <a:pt x="13122" y="1593"/>
                  </a:lnTo>
                  <a:lnTo>
                    <a:pt x="12800" y="1369"/>
                  </a:lnTo>
                  <a:lnTo>
                    <a:pt x="12466" y="1161"/>
                  </a:lnTo>
                  <a:lnTo>
                    <a:pt x="12122" y="967"/>
                  </a:lnTo>
                  <a:lnTo>
                    <a:pt x="11768" y="791"/>
                  </a:lnTo>
                  <a:lnTo>
                    <a:pt x="11405" y="630"/>
                  </a:lnTo>
                  <a:lnTo>
                    <a:pt x="11033" y="486"/>
                  </a:lnTo>
                  <a:lnTo>
                    <a:pt x="10651" y="361"/>
                  </a:lnTo>
                  <a:lnTo>
                    <a:pt x="10261" y="253"/>
                  </a:lnTo>
                  <a:lnTo>
                    <a:pt x="9864" y="162"/>
                  </a:lnTo>
                  <a:lnTo>
                    <a:pt x="9459" y="92"/>
                  </a:lnTo>
                  <a:lnTo>
                    <a:pt x="9049" y="41"/>
                  </a:lnTo>
                  <a:lnTo>
                    <a:pt x="8632" y="10"/>
                  </a:lnTo>
                  <a:lnTo>
                    <a:pt x="821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93" name="í$1íḍe">
              <a:extLst>
                <a:ext uri="{FF2B5EF4-FFF2-40B4-BE49-F238E27FC236}">
                  <a16:creationId xmlns:a16="http://schemas.microsoft.com/office/drawing/2014/main" id="{9FF962A5-1071-4DB1-98FA-D8AA1A2083E4}"/>
                </a:ext>
              </a:extLst>
            </p:cNvPr>
            <p:cNvSpPr/>
            <p:nvPr/>
          </p:nvSpPr>
          <p:spPr bwMode="auto">
            <a:xfrm>
              <a:off x="5839327" y="663455"/>
              <a:ext cx="415238" cy="402829"/>
            </a:xfrm>
            <a:custGeom>
              <a:avLst/>
              <a:gdLst>
                <a:gd name="T0" fmla="*/ 11715 w 16095"/>
                <a:gd name="T1" fmla="*/ 9432 h 15614"/>
                <a:gd name="T2" fmla="*/ 11598 w 16095"/>
                <a:gd name="T3" fmla="*/ 9669 h 15614"/>
                <a:gd name="T4" fmla="*/ 11540 w 16095"/>
                <a:gd name="T5" fmla="*/ 9924 h 15614"/>
                <a:gd name="T6" fmla="*/ 11544 w 16095"/>
                <a:gd name="T7" fmla="*/ 10189 h 15614"/>
                <a:gd name="T8" fmla="*/ 8441 w 16095"/>
                <a:gd name="T9" fmla="*/ 12438 h 15614"/>
                <a:gd name="T10" fmla="*/ 8156 w 16095"/>
                <a:gd name="T11" fmla="*/ 12375 h 15614"/>
                <a:gd name="T12" fmla="*/ 7866 w 16095"/>
                <a:gd name="T13" fmla="*/ 12384 h 15614"/>
                <a:gd name="T14" fmla="*/ 7586 w 16095"/>
                <a:gd name="T15" fmla="*/ 12464 h 15614"/>
                <a:gd name="T16" fmla="*/ 4558 w 16095"/>
                <a:gd name="T17" fmla="*/ 10123 h 15614"/>
                <a:gd name="T18" fmla="*/ 4547 w 16095"/>
                <a:gd name="T19" fmla="*/ 9859 h 15614"/>
                <a:gd name="T20" fmla="*/ 4473 w 16095"/>
                <a:gd name="T21" fmla="*/ 9607 h 15614"/>
                <a:gd name="T22" fmla="*/ 4342 w 16095"/>
                <a:gd name="T23" fmla="*/ 9376 h 15614"/>
                <a:gd name="T24" fmla="*/ 5386 w 16095"/>
                <a:gd name="T25" fmla="*/ 5551 h 15614"/>
                <a:gd name="T26" fmla="*/ 5658 w 16095"/>
                <a:gd name="T27" fmla="*/ 5467 h 15614"/>
                <a:gd name="T28" fmla="*/ 5899 w 16095"/>
                <a:gd name="T29" fmla="*/ 5323 h 15614"/>
                <a:gd name="T30" fmla="*/ 6097 w 16095"/>
                <a:gd name="T31" fmla="*/ 5126 h 15614"/>
                <a:gd name="T32" fmla="*/ 8048 w 16095"/>
                <a:gd name="T33" fmla="*/ 1134 h 15614"/>
                <a:gd name="T34" fmla="*/ 9998 w 16095"/>
                <a:gd name="T35" fmla="*/ 5126 h 15614"/>
                <a:gd name="T36" fmla="*/ 10196 w 16095"/>
                <a:gd name="T37" fmla="*/ 5323 h 15614"/>
                <a:gd name="T38" fmla="*/ 10437 w 16095"/>
                <a:gd name="T39" fmla="*/ 5467 h 15614"/>
                <a:gd name="T40" fmla="*/ 10708 w 16095"/>
                <a:gd name="T41" fmla="*/ 5551 h 15614"/>
                <a:gd name="T42" fmla="*/ 15973 w 16095"/>
                <a:gd name="T43" fmla="*/ 5675 h 15614"/>
                <a:gd name="T44" fmla="*/ 15794 w 16095"/>
                <a:gd name="T45" fmla="*/ 5421 h 15614"/>
                <a:gd name="T46" fmla="*/ 15554 w 16095"/>
                <a:gd name="T47" fmla="*/ 5223 h 15614"/>
                <a:gd name="T48" fmla="*/ 15266 w 16095"/>
                <a:gd name="T49" fmla="*/ 5094 h 15614"/>
                <a:gd name="T50" fmla="*/ 9061 w 16095"/>
                <a:gd name="T51" fmla="*/ 579 h 15614"/>
                <a:gd name="T52" fmla="*/ 8861 w 16095"/>
                <a:gd name="T53" fmla="*/ 324 h 15614"/>
                <a:gd name="T54" fmla="*/ 8601 w 16095"/>
                <a:gd name="T55" fmla="*/ 137 h 15614"/>
                <a:gd name="T56" fmla="*/ 8296 w 16095"/>
                <a:gd name="T57" fmla="*/ 26 h 15614"/>
                <a:gd name="T58" fmla="*/ 7963 w 16095"/>
                <a:gd name="T59" fmla="*/ 3 h 15614"/>
                <a:gd name="T60" fmla="*/ 7642 w 16095"/>
                <a:gd name="T61" fmla="*/ 72 h 15614"/>
                <a:gd name="T62" fmla="*/ 7357 w 16095"/>
                <a:gd name="T63" fmla="*/ 222 h 15614"/>
                <a:gd name="T64" fmla="*/ 7125 w 16095"/>
                <a:gd name="T65" fmla="*/ 444 h 15614"/>
                <a:gd name="T66" fmla="*/ 987 w 16095"/>
                <a:gd name="T67" fmla="*/ 5060 h 15614"/>
                <a:gd name="T68" fmla="*/ 680 w 16095"/>
                <a:gd name="T69" fmla="*/ 5150 h 15614"/>
                <a:gd name="T70" fmla="*/ 414 w 16095"/>
                <a:gd name="T71" fmla="*/ 5314 h 15614"/>
                <a:gd name="T72" fmla="*/ 203 w 16095"/>
                <a:gd name="T73" fmla="*/ 5541 h 15614"/>
                <a:gd name="T74" fmla="*/ 60 w 16095"/>
                <a:gd name="T75" fmla="*/ 5820 h 15614"/>
                <a:gd name="T76" fmla="*/ 1 w 16095"/>
                <a:gd name="T77" fmla="*/ 6128 h 15614"/>
                <a:gd name="T78" fmla="*/ 29 w 16095"/>
                <a:gd name="T79" fmla="*/ 6434 h 15614"/>
                <a:gd name="T80" fmla="*/ 141 w 16095"/>
                <a:gd name="T81" fmla="*/ 6721 h 15614"/>
                <a:gd name="T82" fmla="*/ 330 w 16095"/>
                <a:gd name="T83" fmla="*/ 6972 h 15614"/>
                <a:gd name="T84" fmla="*/ 2674 w 16095"/>
                <a:gd name="T85" fmla="*/ 14537 h 15614"/>
                <a:gd name="T86" fmla="*/ 2734 w 16095"/>
                <a:gd name="T87" fmla="*/ 14845 h 15614"/>
                <a:gd name="T88" fmla="*/ 2878 w 16095"/>
                <a:gd name="T89" fmla="*/ 15124 h 15614"/>
                <a:gd name="T90" fmla="*/ 3098 w 16095"/>
                <a:gd name="T91" fmla="*/ 15358 h 15614"/>
                <a:gd name="T92" fmla="*/ 3402 w 16095"/>
                <a:gd name="T93" fmla="*/ 15532 h 15614"/>
                <a:gd name="T94" fmla="*/ 3746 w 16095"/>
                <a:gd name="T95" fmla="*/ 15611 h 15614"/>
                <a:gd name="T96" fmla="*/ 4051 w 16095"/>
                <a:gd name="T97" fmla="*/ 15594 h 15614"/>
                <a:gd name="T98" fmla="*/ 4330 w 16095"/>
                <a:gd name="T99" fmla="*/ 15505 h 15614"/>
                <a:gd name="T100" fmla="*/ 11834 w 16095"/>
                <a:gd name="T101" fmla="*/ 15534 h 15614"/>
                <a:gd name="T102" fmla="*/ 12117 w 16095"/>
                <a:gd name="T103" fmla="*/ 15605 h 15614"/>
                <a:gd name="T104" fmla="*/ 12436 w 16095"/>
                <a:gd name="T105" fmla="*/ 15601 h 15614"/>
                <a:gd name="T106" fmla="*/ 12774 w 16095"/>
                <a:gd name="T107" fmla="*/ 15497 h 15614"/>
                <a:gd name="T108" fmla="*/ 13058 w 16095"/>
                <a:gd name="T109" fmla="*/ 15305 h 15614"/>
                <a:gd name="T110" fmla="*/ 13260 w 16095"/>
                <a:gd name="T111" fmla="*/ 15059 h 15614"/>
                <a:gd name="T112" fmla="*/ 13384 w 16095"/>
                <a:gd name="T113" fmla="*/ 14771 h 15614"/>
                <a:gd name="T114" fmla="*/ 13422 w 16095"/>
                <a:gd name="T115" fmla="*/ 14458 h 15614"/>
                <a:gd name="T116" fmla="*/ 15819 w 16095"/>
                <a:gd name="T117" fmla="*/ 6913 h 15614"/>
                <a:gd name="T118" fmla="*/ 15989 w 16095"/>
                <a:gd name="T119" fmla="*/ 6652 h 15614"/>
                <a:gd name="T120" fmla="*/ 16080 w 16095"/>
                <a:gd name="T121" fmla="*/ 6358 h 15614"/>
                <a:gd name="T122" fmla="*/ 16087 w 16095"/>
                <a:gd name="T123" fmla="*/ 6050 h 15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095" h="15614">
                  <a:moveTo>
                    <a:pt x="11864" y="9250"/>
                  </a:moveTo>
                  <a:lnTo>
                    <a:pt x="11840" y="9274"/>
                  </a:lnTo>
                  <a:lnTo>
                    <a:pt x="11817" y="9299"/>
                  </a:lnTo>
                  <a:lnTo>
                    <a:pt x="11796" y="9324"/>
                  </a:lnTo>
                  <a:lnTo>
                    <a:pt x="11773" y="9350"/>
                  </a:lnTo>
                  <a:lnTo>
                    <a:pt x="11753" y="9376"/>
                  </a:lnTo>
                  <a:lnTo>
                    <a:pt x="11734" y="9404"/>
                  </a:lnTo>
                  <a:lnTo>
                    <a:pt x="11715" y="9432"/>
                  </a:lnTo>
                  <a:lnTo>
                    <a:pt x="11698" y="9460"/>
                  </a:lnTo>
                  <a:lnTo>
                    <a:pt x="11681" y="9488"/>
                  </a:lnTo>
                  <a:lnTo>
                    <a:pt x="11665" y="9517"/>
                  </a:lnTo>
                  <a:lnTo>
                    <a:pt x="11650" y="9547"/>
                  </a:lnTo>
                  <a:lnTo>
                    <a:pt x="11636" y="9577"/>
                  </a:lnTo>
                  <a:lnTo>
                    <a:pt x="11623" y="9607"/>
                  </a:lnTo>
                  <a:lnTo>
                    <a:pt x="11610" y="9637"/>
                  </a:lnTo>
                  <a:lnTo>
                    <a:pt x="11598" y="9669"/>
                  </a:lnTo>
                  <a:lnTo>
                    <a:pt x="11587" y="9700"/>
                  </a:lnTo>
                  <a:lnTo>
                    <a:pt x="11578" y="9731"/>
                  </a:lnTo>
                  <a:lnTo>
                    <a:pt x="11569" y="9762"/>
                  </a:lnTo>
                  <a:lnTo>
                    <a:pt x="11561" y="9795"/>
                  </a:lnTo>
                  <a:lnTo>
                    <a:pt x="11554" y="9827"/>
                  </a:lnTo>
                  <a:lnTo>
                    <a:pt x="11549" y="9859"/>
                  </a:lnTo>
                  <a:lnTo>
                    <a:pt x="11544" y="9891"/>
                  </a:lnTo>
                  <a:lnTo>
                    <a:pt x="11540" y="9924"/>
                  </a:lnTo>
                  <a:lnTo>
                    <a:pt x="11537" y="9958"/>
                  </a:lnTo>
                  <a:lnTo>
                    <a:pt x="11535" y="9990"/>
                  </a:lnTo>
                  <a:lnTo>
                    <a:pt x="11534" y="10023"/>
                  </a:lnTo>
                  <a:lnTo>
                    <a:pt x="11534" y="10056"/>
                  </a:lnTo>
                  <a:lnTo>
                    <a:pt x="11535" y="10090"/>
                  </a:lnTo>
                  <a:lnTo>
                    <a:pt x="11537" y="10123"/>
                  </a:lnTo>
                  <a:lnTo>
                    <a:pt x="11540" y="10156"/>
                  </a:lnTo>
                  <a:lnTo>
                    <a:pt x="11544" y="10189"/>
                  </a:lnTo>
                  <a:lnTo>
                    <a:pt x="11549" y="10223"/>
                  </a:lnTo>
                  <a:lnTo>
                    <a:pt x="12260" y="14481"/>
                  </a:lnTo>
                  <a:lnTo>
                    <a:pt x="8610" y="12512"/>
                  </a:lnTo>
                  <a:lnTo>
                    <a:pt x="8577" y="12495"/>
                  </a:lnTo>
                  <a:lnTo>
                    <a:pt x="8543" y="12479"/>
                  </a:lnTo>
                  <a:lnTo>
                    <a:pt x="8509" y="12464"/>
                  </a:lnTo>
                  <a:lnTo>
                    <a:pt x="8475" y="12450"/>
                  </a:lnTo>
                  <a:lnTo>
                    <a:pt x="8441" y="12438"/>
                  </a:lnTo>
                  <a:lnTo>
                    <a:pt x="8406" y="12426"/>
                  </a:lnTo>
                  <a:lnTo>
                    <a:pt x="8370" y="12416"/>
                  </a:lnTo>
                  <a:lnTo>
                    <a:pt x="8335" y="12406"/>
                  </a:lnTo>
                  <a:lnTo>
                    <a:pt x="8300" y="12398"/>
                  </a:lnTo>
                  <a:lnTo>
                    <a:pt x="8264" y="12390"/>
                  </a:lnTo>
                  <a:lnTo>
                    <a:pt x="8229" y="12384"/>
                  </a:lnTo>
                  <a:lnTo>
                    <a:pt x="8192" y="12379"/>
                  </a:lnTo>
                  <a:lnTo>
                    <a:pt x="8156" y="12375"/>
                  </a:lnTo>
                  <a:lnTo>
                    <a:pt x="8120" y="12372"/>
                  </a:lnTo>
                  <a:lnTo>
                    <a:pt x="8084" y="12371"/>
                  </a:lnTo>
                  <a:lnTo>
                    <a:pt x="8048" y="12370"/>
                  </a:lnTo>
                  <a:lnTo>
                    <a:pt x="8011" y="12371"/>
                  </a:lnTo>
                  <a:lnTo>
                    <a:pt x="7975" y="12372"/>
                  </a:lnTo>
                  <a:lnTo>
                    <a:pt x="7939" y="12375"/>
                  </a:lnTo>
                  <a:lnTo>
                    <a:pt x="7903" y="12379"/>
                  </a:lnTo>
                  <a:lnTo>
                    <a:pt x="7866" y="12384"/>
                  </a:lnTo>
                  <a:lnTo>
                    <a:pt x="7831" y="12390"/>
                  </a:lnTo>
                  <a:lnTo>
                    <a:pt x="7795" y="12398"/>
                  </a:lnTo>
                  <a:lnTo>
                    <a:pt x="7760" y="12406"/>
                  </a:lnTo>
                  <a:lnTo>
                    <a:pt x="7725" y="12416"/>
                  </a:lnTo>
                  <a:lnTo>
                    <a:pt x="7689" y="12426"/>
                  </a:lnTo>
                  <a:lnTo>
                    <a:pt x="7655" y="12438"/>
                  </a:lnTo>
                  <a:lnTo>
                    <a:pt x="7620" y="12450"/>
                  </a:lnTo>
                  <a:lnTo>
                    <a:pt x="7586" y="12464"/>
                  </a:lnTo>
                  <a:lnTo>
                    <a:pt x="7553" y="12479"/>
                  </a:lnTo>
                  <a:lnTo>
                    <a:pt x="7518" y="12495"/>
                  </a:lnTo>
                  <a:lnTo>
                    <a:pt x="7485" y="12512"/>
                  </a:lnTo>
                  <a:lnTo>
                    <a:pt x="3834" y="14481"/>
                  </a:lnTo>
                  <a:lnTo>
                    <a:pt x="4546" y="10223"/>
                  </a:lnTo>
                  <a:lnTo>
                    <a:pt x="4551" y="10189"/>
                  </a:lnTo>
                  <a:lnTo>
                    <a:pt x="4555" y="10156"/>
                  </a:lnTo>
                  <a:lnTo>
                    <a:pt x="4558" y="10123"/>
                  </a:lnTo>
                  <a:lnTo>
                    <a:pt x="4560" y="10090"/>
                  </a:lnTo>
                  <a:lnTo>
                    <a:pt x="4561" y="10056"/>
                  </a:lnTo>
                  <a:lnTo>
                    <a:pt x="4561" y="10023"/>
                  </a:lnTo>
                  <a:lnTo>
                    <a:pt x="4560" y="9990"/>
                  </a:lnTo>
                  <a:lnTo>
                    <a:pt x="4558" y="9958"/>
                  </a:lnTo>
                  <a:lnTo>
                    <a:pt x="4555" y="9924"/>
                  </a:lnTo>
                  <a:lnTo>
                    <a:pt x="4551" y="9891"/>
                  </a:lnTo>
                  <a:lnTo>
                    <a:pt x="4547" y="9859"/>
                  </a:lnTo>
                  <a:lnTo>
                    <a:pt x="4541" y="9827"/>
                  </a:lnTo>
                  <a:lnTo>
                    <a:pt x="4534" y="9795"/>
                  </a:lnTo>
                  <a:lnTo>
                    <a:pt x="4526" y="9762"/>
                  </a:lnTo>
                  <a:lnTo>
                    <a:pt x="4518" y="9731"/>
                  </a:lnTo>
                  <a:lnTo>
                    <a:pt x="4508" y="9700"/>
                  </a:lnTo>
                  <a:lnTo>
                    <a:pt x="4497" y="9669"/>
                  </a:lnTo>
                  <a:lnTo>
                    <a:pt x="4485" y="9637"/>
                  </a:lnTo>
                  <a:lnTo>
                    <a:pt x="4473" y="9607"/>
                  </a:lnTo>
                  <a:lnTo>
                    <a:pt x="4459" y="9577"/>
                  </a:lnTo>
                  <a:lnTo>
                    <a:pt x="4445" y="9547"/>
                  </a:lnTo>
                  <a:lnTo>
                    <a:pt x="4430" y="9517"/>
                  </a:lnTo>
                  <a:lnTo>
                    <a:pt x="4414" y="9488"/>
                  </a:lnTo>
                  <a:lnTo>
                    <a:pt x="4398" y="9460"/>
                  </a:lnTo>
                  <a:lnTo>
                    <a:pt x="4380" y="9432"/>
                  </a:lnTo>
                  <a:lnTo>
                    <a:pt x="4361" y="9404"/>
                  </a:lnTo>
                  <a:lnTo>
                    <a:pt x="4342" y="9376"/>
                  </a:lnTo>
                  <a:lnTo>
                    <a:pt x="4322" y="9350"/>
                  </a:lnTo>
                  <a:lnTo>
                    <a:pt x="4300" y="9324"/>
                  </a:lnTo>
                  <a:lnTo>
                    <a:pt x="4278" y="9299"/>
                  </a:lnTo>
                  <a:lnTo>
                    <a:pt x="4255" y="9274"/>
                  </a:lnTo>
                  <a:lnTo>
                    <a:pt x="4231" y="9250"/>
                  </a:lnTo>
                  <a:lnTo>
                    <a:pt x="1163" y="6180"/>
                  </a:lnTo>
                  <a:lnTo>
                    <a:pt x="5351" y="5557"/>
                  </a:lnTo>
                  <a:lnTo>
                    <a:pt x="5386" y="5551"/>
                  </a:lnTo>
                  <a:lnTo>
                    <a:pt x="5422" y="5543"/>
                  </a:lnTo>
                  <a:lnTo>
                    <a:pt x="5456" y="5535"/>
                  </a:lnTo>
                  <a:lnTo>
                    <a:pt x="5491" y="5526"/>
                  </a:lnTo>
                  <a:lnTo>
                    <a:pt x="5526" y="5516"/>
                  </a:lnTo>
                  <a:lnTo>
                    <a:pt x="5560" y="5505"/>
                  </a:lnTo>
                  <a:lnTo>
                    <a:pt x="5593" y="5493"/>
                  </a:lnTo>
                  <a:lnTo>
                    <a:pt x="5626" y="5480"/>
                  </a:lnTo>
                  <a:lnTo>
                    <a:pt x="5658" y="5467"/>
                  </a:lnTo>
                  <a:lnTo>
                    <a:pt x="5691" y="5452"/>
                  </a:lnTo>
                  <a:lnTo>
                    <a:pt x="5722" y="5436"/>
                  </a:lnTo>
                  <a:lnTo>
                    <a:pt x="5753" y="5420"/>
                  </a:lnTo>
                  <a:lnTo>
                    <a:pt x="5783" y="5401"/>
                  </a:lnTo>
                  <a:lnTo>
                    <a:pt x="5813" y="5383"/>
                  </a:lnTo>
                  <a:lnTo>
                    <a:pt x="5842" y="5364"/>
                  </a:lnTo>
                  <a:lnTo>
                    <a:pt x="5871" y="5344"/>
                  </a:lnTo>
                  <a:lnTo>
                    <a:pt x="5899" y="5323"/>
                  </a:lnTo>
                  <a:lnTo>
                    <a:pt x="5926" y="5301"/>
                  </a:lnTo>
                  <a:lnTo>
                    <a:pt x="5952" y="5279"/>
                  </a:lnTo>
                  <a:lnTo>
                    <a:pt x="5978" y="5254"/>
                  </a:lnTo>
                  <a:lnTo>
                    <a:pt x="6003" y="5230"/>
                  </a:lnTo>
                  <a:lnTo>
                    <a:pt x="6028" y="5206"/>
                  </a:lnTo>
                  <a:lnTo>
                    <a:pt x="6052" y="5180"/>
                  </a:lnTo>
                  <a:lnTo>
                    <a:pt x="6075" y="5154"/>
                  </a:lnTo>
                  <a:lnTo>
                    <a:pt x="6097" y="5126"/>
                  </a:lnTo>
                  <a:lnTo>
                    <a:pt x="6118" y="5098"/>
                  </a:lnTo>
                  <a:lnTo>
                    <a:pt x="6138" y="5070"/>
                  </a:lnTo>
                  <a:lnTo>
                    <a:pt x="6158" y="5041"/>
                  </a:lnTo>
                  <a:lnTo>
                    <a:pt x="6176" y="5011"/>
                  </a:lnTo>
                  <a:lnTo>
                    <a:pt x="6195" y="4980"/>
                  </a:lnTo>
                  <a:lnTo>
                    <a:pt x="6212" y="4949"/>
                  </a:lnTo>
                  <a:lnTo>
                    <a:pt x="6227" y="4918"/>
                  </a:lnTo>
                  <a:lnTo>
                    <a:pt x="8048" y="1134"/>
                  </a:lnTo>
                  <a:lnTo>
                    <a:pt x="9868" y="4918"/>
                  </a:lnTo>
                  <a:lnTo>
                    <a:pt x="9884" y="4949"/>
                  </a:lnTo>
                  <a:lnTo>
                    <a:pt x="9900" y="4980"/>
                  </a:lnTo>
                  <a:lnTo>
                    <a:pt x="9919" y="5011"/>
                  </a:lnTo>
                  <a:lnTo>
                    <a:pt x="9938" y="5041"/>
                  </a:lnTo>
                  <a:lnTo>
                    <a:pt x="9957" y="5070"/>
                  </a:lnTo>
                  <a:lnTo>
                    <a:pt x="9977" y="5098"/>
                  </a:lnTo>
                  <a:lnTo>
                    <a:pt x="9998" y="5126"/>
                  </a:lnTo>
                  <a:lnTo>
                    <a:pt x="10020" y="5154"/>
                  </a:lnTo>
                  <a:lnTo>
                    <a:pt x="10043" y="5180"/>
                  </a:lnTo>
                  <a:lnTo>
                    <a:pt x="10067" y="5206"/>
                  </a:lnTo>
                  <a:lnTo>
                    <a:pt x="10092" y="5230"/>
                  </a:lnTo>
                  <a:lnTo>
                    <a:pt x="10117" y="5254"/>
                  </a:lnTo>
                  <a:lnTo>
                    <a:pt x="10143" y="5279"/>
                  </a:lnTo>
                  <a:lnTo>
                    <a:pt x="10169" y="5301"/>
                  </a:lnTo>
                  <a:lnTo>
                    <a:pt x="10196" y="5323"/>
                  </a:lnTo>
                  <a:lnTo>
                    <a:pt x="10224" y="5344"/>
                  </a:lnTo>
                  <a:lnTo>
                    <a:pt x="10254" y="5364"/>
                  </a:lnTo>
                  <a:lnTo>
                    <a:pt x="10282" y="5383"/>
                  </a:lnTo>
                  <a:lnTo>
                    <a:pt x="10312" y="5401"/>
                  </a:lnTo>
                  <a:lnTo>
                    <a:pt x="10342" y="5420"/>
                  </a:lnTo>
                  <a:lnTo>
                    <a:pt x="10373" y="5436"/>
                  </a:lnTo>
                  <a:lnTo>
                    <a:pt x="10404" y="5452"/>
                  </a:lnTo>
                  <a:lnTo>
                    <a:pt x="10437" y="5467"/>
                  </a:lnTo>
                  <a:lnTo>
                    <a:pt x="10469" y="5480"/>
                  </a:lnTo>
                  <a:lnTo>
                    <a:pt x="10502" y="5493"/>
                  </a:lnTo>
                  <a:lnTo>
                    <a:pt x="10535" y="5505"/>
                  </a:lnTo>
                  <a:lnTo>
                    <a:pt x="10569" y="5516"/>
                  </a:lnTo>
                  <a:lnTo>
                    <a:pt x="10604" y="5526"/>
                  </a:lnTo>
                  <a:lnTo>
                    <a:pt x="10638" y="5535"/>
                  </a:lnTo>
                  <a:lnTo>
                    <a:pt x="10673" y="5543"/>
                  </a:lnTo>
                  <a:lnTo>
                    <a:pt x="10708" y="5551"/>
                  </a:lnTo>
                  <a:lnTo>
                    <a:pt x="10744" y="5557"/>
                  </a:lnTo>
                  <a:lnTo>
                    <a:pt x="14933" y="6180"/>
                  </a:lnTo>
                  <a:lnTo>
                    <a:pt x="11864" y="9250"/>
                  </a:lnTo>
                  <a:close/>
                  <a:moveTo>
                    <a:pt x="16035" y="5820"/>
                  </a:moveTo>
                  <a:lnTo>
                    <a:pt x="16022" y="5783"/>
                  </a:lnTo>
                  <a:lnTo>
                    <a:pt x="16006" y="5746"/>
                  </a:lnTo>
                  <a:lnTo>
                    <a:pt x="15990" y="5711"/>
                  </a:lnTo>
                  <a:lnTo>
                    <a:pt x="15973" y="5675"/>
                  </a:lnTo>
                  <a:lnTo>
                    <a:pt x="15954" y="5640"/>
                  </a:lnTo>
                  <a:lnTo>
                    <a:pt x="15935" y="5607"/>
                  </a:lnTo>
                  <a:lnTo>
                    <a:pt x="15914" y="5574"/>
                  </a:lnTo>
                  <a:lnTo>
                    <a:pt x="15892" y="5541"/>
                  </a:lnTo>
                  <a:lnTo>
                    <a:pt x="15869" y="5509"/>
                  </a:lnTo>
                  <a:lnTo>
                    <a:pt x="15846" y="5479"/>
                  </a:lnTo>
                  <a:lnTo>
                    <a:pt x="15820" y="5449"/>
                  </a:lnTo>
                  <a:lnTo>
                    <a:pt x="15794" y="5421"/>
                  </a:lnTo>
                  <a:lnTo>
                    <a:pt x="15767" y="5392"/>
                  </a:lnTo>
                  <a:lnTo>
                    <a:pt x="15739" y="5365"/>
                  </a:lnTo>
                  <a:lnTo>
                    <a:pt x="15711" y="5339"/>
                  </a:lnTo>
                  <a:lnTo>
                    <a:pt x="15681" y="5314"/>
                  </a:lnTo>
                  <a:lnTo>
                    <a:pt x="15650" y="5290"/>
                  </a:lnTo>
                  <a:lnTo>
                    <a:pt x="15619" y="5266"/>
                  </a:lnTo>
                  <a:lnTo>
                    <a:pt x="15587" y="5244"/>
                  </a:lnTo>
                  <a:lnTo>
                    <a:pt x="15554" y="5223"/>
                  </a:lnTo>
                  <a:lnTo>
                    <a:pt x="15521" y="5203"/>
                  </a:lnTo>
                  <a:lnTo>
                    <a:pt x="15485" y="5184"/>
                  </a:lnTo>
                  <a:lnTo>
                    <a:pt x="15450" y="5166"/>
                  </a:lnTo>
                  <a:lnTo>
                    <a:pt x="15415" y="5150"/>
                  </a:lnTo>
                  <a:lnTo>
                    <a:pt x="15379" y="5133"/>
                  </a:lnTo>
                  <a:lnTo>
                    <a:pt x="15342" y="5119"/>
                  </a:lnTo>
                  <a:lnTo>
                    <a:pt x="15304" y="5106"/>
                  </a:lnTo>
                  <a:lnTo>
                    <a:pt x="15266" y="5094"/>
                  </a:lnTo>
                  <a:lnTo>
                    <a:pt x="15227" y="5084"/>
                  </a:lnTo>
                  <a:lnTo>
                    <a:pt x="15188" y="5075"/>
                  </a:lnTo>
                  <a:lnTo>
                    <a:pt x="15148" y="5067"/>
                  </a:lnTo>
                  <a:lnTo>
                    <a:pt x="15108" y="5060"/>
                  </a:lnTo>
                  <a:lnTo>
                    <a:pt x="10920" y="4436"/>
                  </a:lnTo>
                  <a:lnTo>
                    <a:pt x="9100" y="652"/>
                  </a:lnTo>
                  <a:lnTo>
                    <a:pt x="9081" y="615"/>
                  </a:lnTo>
                  <a:lnTo>
                    <a:pt x="9061" y="579"/>
                  </a:lnTo>
                  <a:lnTo>
                    <a:pt x="9040" y="544"/>
                  </a:lnTo>
                  <a:lnTo>
                    <a:pt x="9018" y="510"/>
                  </a:lnTo>
                  <a:lnTo>
                    <a:pt x="8995" y="476"/>
                  </a:lnTo>
                  <a:lnTo>
                    <a:pt x="8970" y="444"/>
                  </a:lnTo>
                  <a:lnTo>
                    <a:pt x="8945" y="413"/>
                  </a:lnTo>
                  <a:lnTo>
                    <a:pt x="8918" y="383"/>
                  </a:lnTo>
                  <a:lnTo>
                    <a:pt x="8890" y="353"/>
                  </a:lnTo>
                  <a:lnTo>
                    <a:pt x="8861" y="324"/>
                  </a:lnTo>
                  <a:lnTo>
                    <a:pt x="8832" y="297"/>
                  </a:lnTo>
                  <a:lnTo>
                    <a:pt x="8802" y="271"/>
                  </a:lnTo>
                  <a:lnTo>
                    <a:pt x="8770" y="246"/>
                  </a:lnTo>
                  <a:lnTo>
                    <a:pt x="8738" y="222"/>
                  </a:lnTo>
                  <a:lnTo>
                    <a:pt x="8704" y="198"/>
                  </a:lnTo>
                  <a:lnTo>
                    <a:pt x="8671" y="177"/>
                  </a:lnTo>
                  <a:lnTo>
                    <a:pt x="8636" y="156"/>
                  </a:lnTo>
                  <a:lnTo>
                    <a:pt x="8601" y="137"/>
                  </a:lnTo>
                  <a:lnTo>
                    <a:pt x="8565" y="119"/>
                  </a:lnTo>
                  <a:lnTo>
                    <a:pt x="8528" y="102"/>
                  </a:lnTo>
                  <a:lnTo>
                    <a:pt x="8491" y="86"/>
                  </a:lnTo>
                  <a:lnTo>
                    <a:pt x="8453" y="72"/>
                  </a:lnTo>
                  <a:lnTo>
                    <a:pt x="8415" y="57"/>
                  </a:lnTo>
                  <a:lnTo>
                    <a:pt x="8375" y="46"/>
                  </a:lnTo>
                  <a:lnTo>
                    <a:pt x="8335" y="35"/>
                  </a:lnTo>
                  <a:lnTo>
                    <a:pt x="8296" y="26"/>
                  </a:lnTo>
                  <a:lnTo>
                    <a:pt x="8255" y="18"/>
                  </a:lnTo>
                  <a:lnTo>
                    <a:pt x="8214" y="12"/>
                  </a:lnTo>
                  <a:lnTo>
                    <a:pt x="8173" y="7"/>
                  </a:lnTo>
                  <a:lnTo>
                    <a:pt x="8131" y="3"/>
                  </a:lnTo>
                  <a:lnTo>
                    <a:pt x="8090" y="1"/>
                  </a:lnTo>
                  <a:lnTo>
                    <a:pt x="8048" y="0"/>
                  </a:lnTo>
                  <a:lnTo>
                    <a:pt x="8005" y="1"/>
                  </a:lnTo>
                  <a:lnTo>
                    <a:pt x="7963" y="3"/>
                  </a:lnTo>
                  <a:lnTo>
                    <a:pt x="7922" y="7"/>
                  </a:lnTo>
                  <a:lnTo>
                    <a:pt x="7881" y="12"/>
                  </a:lnTo>
                  <a:lnTo>
                    <a:pt x="7840" y="18"/>
                  </a:lnTo>
                  <a:lnTo>
                    <a:pt x="7799" y="26"/>
                  </a:lnTo>
                  <a:lnTo>
                    <a:pt x="7760" y="35"/>
                  </a:lnTo>
                  <a:lnTo>
                    <a:pt x="7720" y="46"/>
                  </a:lnTo>
                  <a:lnTo>
                    <a:pt x="7681" y="57"/>
                  </a:lnTo>
                  <a:lnTo>
                    <a:pt x="7642" y="72"/>
                  </a:lnTo>
                  <a:lnTo>
                    <a:pt x="7605" y="86"/>
                  </a:lnTo>
                  <a:lnTo>
                    <a:pt x="7567" y="102"/>
                  </a:lnTo>
                  <a:lnTo>
                    <a:pt x="7530" y="119"/>
                  </a:lnTo>
                  <a:lnTo>
                    <a:pt x="7494" y="137"/>
                  </a:lnTo>
                  <a:lnTo>
                    <a:pt x="7459" y="156"/>
                  </a:lnTo>
                  <a:lnTo>
                    <a:pt x="7424" y="177"/>
                  </a:lnTo>
                  <a:lnTo>
                    <a:pt x="7391" y="198"/>
                  </a:lnTo>
                  <a:lnTo>
                    <a:pt x="7357" y="222"/>
                  </a:lnTo>
                  <a:lnTo>
                    <a:pt x="7325" y="246"/>
                  </a:lnTo>
                  <a:lnTo>
                    <a:pt x="7293" y="271"/>
                  </a:lnTo>
                  <a:lnTo>
                    <a:pt x="7263" y="297"/>
                  </a:lnTo>
                  <a:lnTo>
                    <a:pt x="7234" y="324"/>
                  </a:lnTo>
                  <a:lnTo>
                    <a:pt x="7205" y="353"/>
                  </a:lnTo>
                  <a:lnTo>
                    <a:pt x="7177" y="383"/>
                  </a:lnTo>
                  <a:lnTo>
                    <a:pt x="7150" y="413"/>
                  </a:lnTo>
                  <a:lnTo>
                    <a:pt x="7125" y="444"/>
                  </a:lnTo>
                  <a:lnTo>
                    <a:pt x="7100" y="476"/>
                  </a:lnTo>
                  <a:lnTo>
                    <a:pt x="7077" y="510"/>
                  </a:lnTo>
                  <a:lnTo>
                    <a:pt x="7055" y="544"/>
                  </a:lnTo>
                  <a:lnTo>
                    <a:pt x="7034" y="579"/>
                  </a:lnTo>
                  <a:lnTo>
                    <a:pt x="7013" y="615"/>
                  </a:lnTo>
                  <a:lnTo>
                    <a:pt x="6995" y="652"/>
                  </a:lnTo>
                  <a:lnTo>
                    <a:pt x="5175" y="4436"/>
                  </a:lnTo>
                  <a:lnTo>
                    <a:pt x="987" y="5060"/>
                  </a:lnTo>
                  <a:lnTo>
                    <a:pt x="947" y="5067"/>
                  </a:lnTo>
                  <a:lnTo>
                    <a:pt x="907" y="5075"/>
                  </a:lnTo>
                  <a:lnTo>
                    <a:pt x="868" y="5084"/>
                  </a:lnTo>
                  <a:lnTo>
                    <a:pt x="829" y="5094"/>
                  </a:lnTo>
                  <a:lnTo>
                    <a:pt x="791" y="5106"/>
                  </a:lnTo>
                  <a:lnTo>
                    <a:pt x="753" y="5119"/>
                  </a:lnTo>
                  <a:lnTo>
                    <a:pt x="716" y="5133"/>
                  </a:lnTo>
                  <a:lnTo>
                    <a:pt x="680" y="5150"/>
                  </a:lnTo>
                  <a:lnTo>
                    <a:pt x="644" y="5166"/>
                  </a:lnTo>
                  <a:lnTo>
                    <a:pt x="610" y="5184"/>
                  </a:lnTo>
                  <a:lnTo>
                    <a:pt x="574" y="5203"/>
                  </a:lnTo>
                  <a:lnTo>
                    <a:pt x="541" y="5223"/>
                  </a:lnTo>
                  <a:lnTo>
                    <a:pt x="508" y="5244"/>
                  </a:lnTo>
                  <a:lnTo>
                    <a:pt x="476" y="5266"/>
                  </a:lnTo>
                  <a:lnTo>
                    <a:pt x="445" y="5290"/>
                  </a:lnTo>
                  <a:lnTo>
                    <a:pt x="414" y="5314"/>
                  </a:lnTo>
                  <a:lnTo>
                    <a:pt x="384" y="5339"/>
                  </a:lnTo>
                  <a:lnTo>
                    <a:pt x="356" y="5365"/>
                  </a:lnTo>
                  <a:lnTo>
                    <a:pt x="328" y="5392"/>
                  </a:lnTo>
                  <a:lnTo>
                    <a:pt x="301" y="5421"/>
                  </a:lnTo>
                  <a:lnTo>
                    <a:pt x="275" y="5449"/>
                  </a:lnTo>
                  <a:lnTo>
                    <a:pt x="250" y="5479"/>
                  </a:lnTo>
                  <a:lnTo>
                    <a:pt x="226" y="5509"/>
                  </a:lnTo>
                  <a:lnTo>
                    <a:pt x="203" y="5541"/>
                  </a:lnTo>
                  <a:lnTo>
                    <a:pt x="181" y="5574"/>
                  </a:lnTo>
                  <a:lnTo>
                    <a:pt x="160" y="5607"/>
                  </a:lnTo>
                  <a:lnTo>
                    <a:pt x="141" y="5640"/>
                  </a:lnTo>
                  <a:lnTo>
                    <a:pt x="122" y="5675"/>
                  </a:lnTo>
                  <a:lnTo>
                    <a:pt x="105" y="5711"/>
                  </a:lnTo>
                  <a:lnTo>
                    <a:pt x="89" y="5746"/>
                  </a:lnTo>
                  <a:lnTo>
                    <a:pt x="73" y="5783"/>
                  </a:lnTo>
                  <a:lnTo>
                    <a:pt x="60" y="5820"/>
                  </a:lnTo>
                  <a:lnTo>
                    <a:pt x="48" y="5859"/>
                  </a:lnTo>
                  <a:lnTo>
                    <a:pt x="37" y="5897"/>
                  </a:lnTo>
                  <a:lnTo>
                    <a:pt x="27" y="5935"/>
                  </a:lnTo>
                  <a:lnTo>
                    <a:pt x="20" y="5974"/>
                  </a:lnTo>
                  <a:lnTo>
                    <a:pt x="13" y="6012"/>
                  </a:lnTo>
                  <a:lnTo>
                    <a:pt x="8" y="6050"/>
                  </a:lnTo>
                  <a:lnTo>
                    <a:pt x="4" y="6089"/>
                  </a:lnTo>
                  <a:lnTo>
                    <a:pt x="1" y="6128"/>
                  </a:lnTo>
                  <a:lnTo>
                    <a:pt x="0" y="6167"/>
                  </a:lnTo>
                  <a:lnTo>
                    <a:pt x="0" y="6205"/>
                  </a:lnTo>
                  <a:lnTo>
                    <a:pt x="2" y="6244"/>
                  </a:lnTo>
                  <a:lnTo>
                    <a:pt x="5" y="6282"/>
                  </a:lnTo>
                  <a:lnTo>
                    <a:pt x="9" y="6320"/>
                  </a:lnTo>
                  <a:lnTo>
                    <a:pt x="14" y="6358"/>
                  </a:lnTo>
                  <a:lnTo>
                    <a:pt x="21" y="6396"/>
                  </a:lnTo>
                  <a:lnTo>
                    <a:pt x="29" y="6434"/>
                  </a:lnTo>
                  <a:lnTo>
                    <a:pt x="39" y="6471"/>
                  </a:lnTo>
                  <a:lnTo>
                    <a:pt x="49" y="6508"/>
                  </a:lnTo>
                  <a:lnTo>
                    <a:pt x="61" y="6545"/>
                  </a:lnTo>
                  <a:lnTo>
                    <a:pt x="74" y="6580"/>
                  </a:lnTo>
                  <a:lnTo>
                    <a:pt x="90" y="6616"/>
                  </a:lnTo>
                  <a:lnTo>
                    <a:pt x="106" y="6652"/>
                  </a:lnTo>
                  <a:lnTo>
                    <a:pt x="123" y="6687"/>
                  </a:lnTo>
                  <a:lnTo>
                    <a:pt x="141" y="6721"/>
                  </a:lnTo>
                  <a:lnTo>
                    <a:pt x="160" y="6754"/>
                  </a:lnTo>
                  <a:lnTo>
                    <a:pt x="181" y="6788"/>
                  </a:lnTo>
                  <a:lnTo>
                    <a:pt x="203" y="6820"/>
                  </a:lnTo>
                  <a:lnTo>
                    <a:pt x="225" y="6852"/>
                  </a:lnTo>
                  <a:lnTo>
                    <a:pt x="250" y="6883"/>
                  </a:lnTo>
                  <a:lnTo>
                    <a:pt x="276" y="6913"/>
                  </a:lnTo>
                  <a:lnTo>
                    <a:pt x="303" y="6943"/>
                  </a:lnTo>
                  <a:lnTo>
                    <a:pt x="330" y="6972"/>
                  </a:lnTo>
                  <a:lnTo>
                    <a:pt x="3399" y="10040"/>
                  </a:lnTo>
                  <a:lnTo>
                    <a:pt x="2688" y="14297"/>
                  </a:lnTo>
                  <a:lnTo>
                    <a:pt x="2682" y="14337"/>
                  </a:lnTo>
                  <a:lnTo>
                    <a:pt x="2677" y="14377"/>
                  </a:lnTo>
                  <a:lnTo>
                    <a:pt x="2674" y="14417"/>
                  </a:lnTo>
                  <a:lnTo>
                    <a:pt x="2673" y="14458"/>
                  </a:lnTo>
                  <a:lnTo>
                    <a:pt x="2673" y="14497"/>
                  </a:lnTo>
                  <a:lnTo>
                    <a:pt x="2674" y="14537"/>
                  </a:lnTo>
                  <a:lnTo>
                    <a:pt x="2677" y="14576"/>
                  </a:lnTo>
                  <a:lnTo>
                    <a:pt x="2681" y="14616"/>
                  </a:lnTo>
                  <a:lnTo>
                    <a:pt x="2686" y="14655"/>
                  </a:lnTo>
                  <a:lnTo>
                    <a:pt x="2693" y="14694"/>
                  </a:lnTo>
                  <a:lnTo>
                    <a:pt x="2701" y="14733"/>
                  </a:lnTo>
                  <a:lnTo>
                    <a:pt x="2711" y="14771"/>
                  </a:lnTo>
                  <a:lnTo>
                    <a:pt x="2722" y="14808"/>
                  </a:lnTo>
                  <a:lnTo>
                    <a:pt x="2734" y="14845"/>
                  </a:lnTo>
                  <a:lnTo>
                    <a:pt x="2747" y="14883"/>
                  </a:lnTo>
                  <a:lnTo>
                    <a:pt x="2762" y="14919"/>
                  </a:lnTo>
                  <a:lnTo>
                    <a:pt x="2778" y="14954"/>
                  </a:lnTo>
                  <a:lnTo>
                    <a:pt x="2797" y="14989"/>
                  </a:lnTo>
                  <a:lnTo>
                    <a:pt x="2815" y="15025"/>
                  </a:lnTo>
                  <a:lnTo>
                    <a:pt x="2835" y="15059"/>
                  </a:lnTo>
                  <a:lnTo>
                    <a:pt x="2856" y="15092"/>
                  </a:lnTo>
                  <a:lnTo>
                    <a:pt x="2878" y="15124"/>
                  </a:lnTo>
                  <a:lnTo>
                    <a:pt x="2902" y="15157"/>
                  </a:lnTo>
                  <a:lnTo>
                    <a:pt x="2926" y="15188"/>
                  </a:lnTo>
                  <a:lnTo>
                    <a:pt x="2952" y="15218"/>
                  </a:lnTo>
                  <a:lnTo>
                    <a:pt x="2980" y="15248"/>
                  </a:lnTo>
                  <a:lnTo>
                    <a:pt x="3008" y="15277"/>
                  </a:lnTo>
                  <a:lnTo>
                    <a:pt x="3037" y="15305"/>
                  </a:lnTo>
                  <a:lnTo>
                    <a:pt x="3067" y="15332"/>
                  </a:lnTo>
                  <a:lnTo>
                    <a:pt x="3098" y="15358"/>
                  </a:lnTo>
                  <a:lnTo>
                    <a:pt x="3131" y="15383"/>
                  </a:lnTo>
                  <a:lnTo>
                    <a:pt x="3165" y="15407"/>
                  </a:lnTo>
                  <a:lnTo>
                    <a:pt x="3203" y="15432"/>
                  </a:lnTo>
                  <a:lnTo>
                    <a:pt x="3241" y="15455"/>
                  </a:lnTo>
                  <a:lnTo>
                    <a:pt x="3280" y="15477"/>
                  </a:lnTo>
                  <a:lnTo>
                    <a:pt x="3321" y="15497"/>
                  </a:lnTo>
                  <a:lnTo>
                    <a:pt x="3361" y="15515"/>
                  </a:lnTo>
                  <a:lnTo>
                    <a:pt x="3402" y="15532"/>
                  </a:lnTo>
                  <a:lnTo>
                    <a:pt x="3444" y="15549"/>
                  </a:lnTo>
                  <a:lnTo>
                    <a:pt x="3487" y="15562"/>
                  </a:lnTo>
                  <a:lnTo>
                    <a:pt x="3529" y="15574"/>
                  </a:lnTo>
                  <a:lnTo>
                    <a:pt x="3572" y="15585"/>
                  </a:lnTo>
                  <a:lnTo>
                    <a:pt x="3615" y="15594"/>
                  </a:lnTo>
                  <a:lnTo>
                    <a:pt x="3659" y="15601"/>
                  </a:lnTo>
                  <a:lnTo>
                    <a:pt x="3702" y="15607"/>
                  </a:lnTo>
                  <a:lnTo>
                    <a:pt x="3746" y="15611"/>
                  </a:lnTo>
                  <a:lnTo>
                    <a:pt x="3790" y="15613"/>
                  </a:lnTo>
                  <a:lnTo>
                    <a:pt x="3834" y="15614"/>
                  </a:lnTo>
                  <a:lnTo>
                    <a:pt x="3870" y="15613"/>
                  </a:lnTo>
                  <a:lnTo>
                    <a:pt x="3906" y="15612"/>
                  </a:lnTo>
                  <a:lnTo>
                    <a:pt x="3942" y="15609"/>
                  </a:lnTo>
                  <a:lnTo>
                    <a:pt x="3978" y="15605"/>
                  </a:lnTo>
                  <a:lnTo>
                    <a:pt x="4015" y="15600"/>
                  </a:lnTo>
                  <a:lnTo>
                    <a:pt x="4051" y="15594"/>
                  </a:lnTo>
                  <a:lnTo>
                    <a:pt x="4086" y="15587"/>
                  </a:lnTo>
                  <a:lnTo>
                    <a:pt x="4121" y="15579"/>
                  </a:lnTo>
                  <a:lnTo>
                    <a:pt x="4158" y="15570"/>
                  </a:lnTo>
                  <a:lnTo>
                    <a:pt x="4192" y="15559"/>
                  </a:lnTo>
                  <a:lnTo>
                    <a:pt x="4227" y="15548"/>
                  </a:lnTo>
                  <a:lnTo>
                    <a:pt x="4261" y="15534"/>
                  </a:lnTo>
                  <a:lnTo>
                    <a:pt x="4295" y="15520"/>
                  </a:lnTo>
                  <a:lnTo>
                    <a:pt x="4330" y="15505"/>
                  </a:lnTo>
                  <a:lnTo>
                    <a:pt x="4363" y="15490"/>
                  </a:lnTo>
                  <a:lnTo>
                    <a:pt x="4396" y="15473"/>
                  </a:lnTo>
                  <a:lnTo>
                    <a:pt x="8048" y="13505"/>
                  </a:lnTo>
                  <a:lnTo>
                    <a:pt x="11699" y="15473"/>
                  </a:lnTo>
                  <a:lnTo>
                    <a:pt x="11732" y="15490"/>
                  </a:lnTo>
                  <a:lnTo>
                    <a:pt x="11765" y="15505"/>
                  </a:lnTo>
                  <a:lnTo>
                    <a:pt x="11800" y="15520"/>
                  </a:lnTo>
                  <a:lnTo>
                    <a:pt x="11834" y="15534"/>
                  </a:lnTo>
                  <a:lnTo>
                    <a:pt x="11868" y="15548"/>
                  </a:lnTo>
                  <a:lnTo>
                    <a:pt x="11903" y="15559"/>
                  </a:lnTo>
                  <a:lnTo>
                    <a:pt x="11938" y="15570"/>
                  </a:lnTo>
                  <a:lnTo>
                    <a:pt x="11974" y="15579"/>
                  </a:lnTo>
                  <a:lnTo>
                    <a:pt x="12009" y="15587"/>
                  </a:lnTo>
                  <a:lnTo>
                    <a:pt x="12044" y="15594"/>
                  </a:lnTo>
                  <a:lnTo>
                    <a:pt x="12080" y="15600"/>
                  </a:lnTo>
                  <a:lnTo>
                    <a:pt x="12117" y="15605"/>
                  </a:lnTo>
                  <a:lnTo>
                    <a:pt x="12153" y="15609"/>
                  </a:lnTo>
                  <a:lnTo>
                    <a:pt x="12189" y="15612"/>
                  </a:lnTo>
                  <a:lnTo>
                    <a:pt x="12224" y="15613"/>
                  </a:lnTo>
                  <a:lnTo>
                    <a:pt x="12260" y="15614"/>
                  </a:lnTo>
                  <a:lnTo>
                    <a:pt x="12305" y="15613"/>
                  </a:lnTo>
                  <a:lnTo>
                    <a:pt x="12349" y="15611"/>
                  </a:lnTo>
                  <a:lnTo>
                    <a:pt x="12393" y="15607"/>
                  </a:lnTo>
                  <a:lnTo>
                    <a:pt x="12436" y="15601"/>
                  </a:lnTo>
                  <a:lnTo>
                    <a:pt x="12480" y="15594"/>
                  </a:lnTo>
                  <a:lnTo>
                    <a:pt x="12523" y="15585"/>
                  </a:lnTo>
                  <a:lnTo>
                    <a:pt x="12566" y="15574"/>
                  </a:lnTo>
                  <a:lnTo>
                    <a:pt x="12608" y="15562"/>
                  </a:lnTo>
                  <a:lnTo>
                    <a:pt x="12651" y="15549"/>
                  </a:lnTo>
                  <a:lnTo>
                    <a:pt x="12693" y="15532"/>
                  </a:lnTo>
                  <a:lnTo>
                    <a:pt x="12734" y="15515"/>
                  </a:lnTo>
                  <a:lnTo>
                    <a:pt x="12774" y="15497"/>
                  </a:lnTo>
                  <a:lnTo>
                    <a:pt x="12815" y="15477"/>
                  </a:lnTo>
                  <a:lnTo>
                    <a:pt x="12854" y="15455"/>
                  </a:lnTo>
                  <a:lnTo>
                    <a:pt x="12893" y="15432"/>
                  </a:lnTo>
                  <a:lnTo>
                    <a:pt x="12930" y="15407"/>
                  </a:lnTo>
                  <a:lnTo>
                    <a:pt x="12965" y="15383"/>
                  </a:lnTo>
                  <a:lnTo>
                    <a:pt x="12997" y="15358"/>
                  </a:lnTo>
                  <a:lnTo>
                    <a:pt x="13028" y="15332"/>
                  </a:lnTo>
                  <a:lnTo>
                    <a:pt x="13058" y="15305"/>
                  </a:lnTo>
                  <a:lnTo>
                    <a:pt x="13087" y="15277"/>
                  </a:lnTo>
                  <a:lnTo>
                    <a:pt x="13115" y="15248"/>
                  </a:lnTo>
                  <a:lnTo>
                    <a:pt x="13143" y="15218"/>
                  </a:lnTo>
                  <a:lnTo>
                    <a:pt x="13169" y="15188"/>
                  </a:lnTo>
                  <a:lnTo>
                    <a:pt x="13194" y="15157"/>
                  </a:lnTo>
                  <a:lnTo>
                    <a:pt x="13217" y="15124"/>
                  </a:lnTo>
                  <a:lnTo>
                    <a:pt x="13239" y="15092"/>
                  </a:lnTo>
                  <a:lnTo>
                    <a:pt x="13260" y="15059"/>
                  </a:lnTo>
                  <a:lnTo>
                    <a:pt x="13280" y="15025"/>
                  </a:lnTo>
                  <a:lnTo>
                    <a:pt x="13298" y="14989"/>
                  </a:lnTo>
                  <a:lnTo>
                    <a:pt x="13317" y="14954"/>
                  </a:lnTo>
                  <a:lnTo>
                    <a:pt x="13333" y="14919"/>
                  </a:lnTo>
                  <a:lnTo>
                    <a:pt x="13347" y="14883"/>
                  </a:lnTo>
                  <a:lnTo>
                    <a:pt x="13361" y="14845"/>
                  </a:lnTo>
                  <a:lnTo>
                    <a:pt x="13373" y="14808"/>
                  </a:lnTo>
                  <a:lnTo>
                    <a:pt x="13384" y="14771"/>
                  </a:lnTo>
                  <a:lnTo>
                    <a:pt x="13394" y="14733"/>
                  </a:lnTo>
                  <a:lnTo>
                    <a:pt x="13402" y="14694"/>
                  </a:lnTo>
                  <a:lnTo>
                    <a:pt x="13409" y="14655"/>
                  </a:lnTo>
                  <a:lnTo>
                    <a:pt x="13414" y="14616"/>
                  </a:lnTo>
                  <a:lnTo>
                    <a:pt x="13418" y="14576"/>
                  </a:lnTo>
                  <a:lnTo>
                    <a:pt x="13421" y="14537"/>
                  </a:lnTo>
                  <a:lnTo>
                    <a:pt x="13422" y="14497"/>
                  </a:lnTo>
                  <a:lnTo>
                    <a:pt x="13422" y="14458"/>
                  </a:lnTo>
                  <a:lnTo>
                    <a:pt x="13421" y="14417"/>
                  </a:lnTo>
                  <a:lnTo>
                    <a:pt x="13418" y="14377"/>
                  </a:lnTo>
                  <a:lnTo>
                    <a:pt x="13413" y="14337"/>
                  </a:lnTo>
                  <a:lnTo>
                    <a:pt x="13407" y="14297"/>
                  </a:lnTo>
                  <a:lnTo>
                    <a:pt x="12695" y="10040"/>
                  </a:lnTo>
                  <a:lnTo>
                    <a:pt x="15765" y="6972"/>
                  </a:lnTo>
                  <a:lnTo>
                    <a:pt x="15793" y="6943"/>
                  </a:lnTo>
                  <a:lnTo>
                    <a:pt x="15819" y="6913"/>
                  </a:lnTo>
                  <a:lnTo>
                    <a:pt x="15845" y="6883"/>
                  </a:lnTo>
                  <a:lnTo>
                    <a:pt x="15870" y="6852"/>
                  </a:lnTo>
                  <a:lnTo>
                    <a:pt x="15893" y="6820"/>
                  </a:lnTo>
                  <a:lnTo>
                    <a:pt x="15914" y="6788"/>
                  </a:lnTo>
                  <a:lnTo>
                    <a:pt x="15935" y="6754"/>
                  </a:lnTo>
                  <a:lnTo>
                    <a:pt x="15954" y="6721"/>
                  </a:lnTo>
                  <a:lnTo>
                    <a:pt x="15973" y="6687"/>
                  </a:lnTo>
                  <a:lnTo>
                    <a:pt x="15989" y="6652"/>
                  </a:lnTo>
                  <a:lnTo>
                    <a:pt x="16005" y="6616"/>
                  </a:lnTo>
                  <a:lnTo>
                    <a:pt x="16021" y="6580"/>
                  </a:lnTo>
                  <a:lnTo>
                    <a:pt x="16034" y="6545"/>
                  </a:lnTo>
                  <a:lnTo>
                    <a:pt x="16046" y="6508"/>
                  </a:lnTo>
                  <a:lnTo>
                    <a:pt x="16056" y="6471"/>
                  </a:lnTo>
                  <a:lnTo>
                    <a:pt x="16066" y="6434"/>
                  </a:lnTo>
                  <a:lnTo>
                    <a:pt x="16074" y="6396"/>
                  </a:lnTo>
                  <a:lnTo>
                    <a:pt x="16080" y="6358"/>
                  </a:lnTo>
                  <a:lnTo>
                    <a:pt x="16086" y="6320"/>
                  </a:lnTo>
                  <a:lnTo>
                    <a:pt x="16090" y="6282"/>
                  </a:lnTo>
                  <a:lnTo>
                    <a:pt x="16093" y="6244"/>
                  </a:lnTo>
                  <a:lnTo>
                    <a:pt x="16095" y="6205"/>
                  </a:lnTo>
                  <a:lnTo>
                    <a:pt x="16095" y="6167"/>
                  </a:lnTo>
                  <a:lnTo>
                    <a:pt x="16094" y="6128"/>
                  </a:lnTo>
                  <a:lnTo>
                    <a:pt x="16091" y="6089"/>
                  </a:lnTo>
                  <a:lnTo>
                    <a:pt x="16087" y="6050"/>
                  </a:lnTo>
                  <a:lnTo>
                    <a:pt x="16082" y="6012"/>
                  </a:lnTo>
                  <a:lnTo>
                    <a:pt x="16075" y="5974"/>
                  </a:lnTo>
                  <a:lnTo>
                    <a:pt x="16067" y="5935"/>
                  </a:lnTo>
                  <a:lnTo>
                    <a:pt x="16058" y="5897"/>
                  </a:lnTo>
                  <a:lnTo>
                    <a:pt x="16047" y="5859"/>
                  </a:lnTo>
                  <a:lnTo>
                    <a:pt x="16035" y="58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94" name="íśļïḋê">
              <a:extLst>
                <a:ext uri="{FF2B5EF4-FFF2-40B4-BE49-F238E27FC236}">
                  <a16:creationId xmlns:a16="http://schemas.microsoft.com/office/drawing/2014/main" id="{32778090-E016-45CD-90DD-2ADF4457DBA0}"/>
                </a:ext>
              </a:extLst>
            </p:cNvPr>
            <p:cNvSpPr/>
            <p:nvPr/>
          </p:nvSpPr>
          <p:spPr bwMode="auto">
            <a:xfrm>
              <a:off x="5889880" y="1111763"/>
              <a:ext cx="363600" cy="362763"/>
            </a:xfrm>
            <a:custGeom>
              <a:avLst/>
              <a:gdLst>
                <a:gd name="T0" fmla="*/ 13537 w 16094"/>
                <a:gd name="T1" fmla="*/ 6059 h 16058"/>
                <a:gd name="T2" fmla="*/ 13105 w 16094"/>
                <a:gd name="T3" fmla="*/ 4843 h 16058"/>
                <a:gd name="T4" fmla="*/ 12309 w 16094"/>
                <a:gd name="T5" fmla="*/ 3778 h 16058"/>
                <a:gd name="T6" fmla="*/ 11103 w 16094"/>
                <a:gd name="T7" fmla="*/ 2914 h 16058"/>
                <a:gd name="T8" fmla="*/ 9730 w 16094"/>
                <a:gd name="T9" fmla="*/ 2510 h 16058"/>
                <a:gd name="T10" fmla="*/ 10548 w 16094"/>
                <a:gd name="T11" fmla="*/ 1344 h 16058"/>
                <a:gd name="T12" fmla="*/ 11273 w 16094"/>
                <a:gd name="T13" fmla="*/ 1058 h 16058"/>
                <a:gd name="T14" fmla="*/ 12175 w 16094"/>
                <a:gd name="T15" fmla="*/ 1030 h 16058"/>
                <a:gd name="T16" fmla="*/ 13215 w 16094"/>
                <a:gd name="T17" fmla="*/ 1370 h 16058"/>
                <a:gd name="T18" fmla="*/ 14130 w 16094"/>
                <a:gd name="T19" fmla="*/ 2061 h 16058"/>
                <a:gd name="T20" fmla="*/ 14752 w 16094"/>
                <a:gd name="T21" fmla="*/ 2927 h 16058"/>
                <a:gd name="T22" fmla="*/ 15061 w 16094"/>
                <a:gd name="T23" fmla="*/ 3885 h 16058"/>
                <a:gd name="T24" fmla="*/ 15035 w 16094"/>
                <a:gd name="T25" fmla="*/ 4794 h 16058"/>
                <a:gd name="T26" fmla="*/ 14704 w 16094"/>
                <a:gd name="T27" fmla="*/ 5577 h 16058"/>
                <a:gd name="T28" fmla="*/ 4429 w 16094"/>
                <a:gd name="T29" fmla="*/ 13990 h 16058"/>
                <a:gd name="T30" fmla="*/ 4128 w 16094"/>
                <a:gd name="T31" fmla="*/ 13119 h 16058"/>
                <a:gd name="T32" fmla="*/ 3522 w 16094"/>
                <a:gd name="T33" fmla="*/ 12349 h 16058"/>
                <a:gd name="T34" fmla="*/ 2735 w 16094"/>
                <a:gd name="T35" fmla="*/ 11832 h 16058"/>
                <a:gd name="T36" fmla="*/ 1857 w 16094"/>
                <a:gd name="T37" fmla="*/ 11600 h 16058"/>
                <a:gd name="T38" fmla="*/ 2349 w 16094"/>
                <a:gd name="T39" fmla="*/ 9539 h 16058"/>
                <a:gd name="T40" fmla="*/ 3383 w 16094"/>
                <a:gd name="T41" fmla="*/ 9051 h 16058"/>
                <a:gd name="T42" fmla="*/ 5065 w 16094"/>
                <a:gd name="T43" fmla="*/ 9305 h 16058"/>
                <a:gd name="T44" fmla="*/ 6529 w 16094"/>
                <a:gd name="T45" fmla="*/ 10574 h 16058"/>
                <a:gd name="T46" fmla="*/ 7057 w 16094"/>
                <a:gd name="T47" fmla="*/ 12341 h 16058"/>
                <a:gd name="T48" fmla="*/ 6481 w 16094"/>
                <a:gd name="T49" fmla="*/ 13816 h 16058"/>
                <a:gd name="T50" fmla="*/ 1899 w 16094"/>
                <a:gd name="T51" fmla="*/ 15034 h 16058"/>
                <a:gd name="T52" fmla="*/ 1430 w 16094"/>
                <a:gd name="T53" fmla="*/ 14978 h 16058"/>
                <a:gd name="T54" fmla="*/ 1080 w 16094"/>
                <a:gd name="T55" fmla="*/ 14626 h 16058"/>
                <a:gd name="T56" fmla="*/ 1037 w 16094"/>
                <a:gd name="T57" fmla="*/ 14110 h 16058"/>
                <a:gd name="T58" fmla="*/ 2133 w 16094"/>
                <a:gd name="T59" fmla="*/ 12161 h 16058"/>
                <a:gd name="T60" fmla="*/ 2879 w 16094"/>
                <a:gd name="T61" fmla="*/ 12483 h 16058"/>
                <a:gd name="T62" fmla="*/ 3517 w 16094"/>
                <a:gd name="T63" fmla="*/ 13089 h 16058"/>
                <a:gd name="T64" fmla="*/ 3887 w 16094"/>
                <a:gd name="T65" fmla="*/ 13837 h 16058"/>
                <a:gd name="T66" fmla="*/ 5275 w 16094"/>
                <a:gd name="T67" fmla="*/ 8311 h 16058"/>
                <a:gd name="T68" fmla="*/ 4471 w 16094"/>
                <a:gd name="T69" fmla="*/ 8075 h 16058"/>
                <a:gd name="T70" fmla="*/ 3832 w 16094"/>
                <a:gd name="T71" fmla="*/ 8011 h 16058"/>
                <a:gd name="T72" fmla="*/ 8544 w 16094"/>
                <a:gd name="T73" fmla="*/ 3613 h 16058"/>
                <a:gd name="T74" fmla="*/ 9615 w 16094"/>
                <a:gd name="T75" fmla="*/ 3512 h 16058"/>
                <a:gd name="T76" fmla="*/ 7177 w 16094"/>
                <a:gd name="T77" fmla="*/ 9768 h 16058"/>
                <a:gd name="T78" fmla="*/ 6475 w 16094"/>
                <a:gd name="T79" fmla="*/ 9029 h 16058"/>
                <a:gd name="T80" fmla="*/ 10683 w 16094"/>
                <a:gd name="T81" fmla="*/ 3831 h 16058"/>
                <a:gd name="T82" fmla="*/ 11597 w 16094"/>
                <a:gd name="T83" fmla="*/ 4487 h 16058"/>
                <a:gd name="T84" fmla="*/ 12178 w 16094"/>
                <a:gd name="T85" fmla="*/ 5258 h 16058"/>
                <a:gd name="T86" fmla="*/ 7882 w 16094"/>
                <a:gd name="T87" fmla="*/ 11105 h 16058"/>
                <a:gd name="T88" fmla="*/ 12576 w 16094"/>
                <a:gd name="T89" fmla="*/ 6482 h 16058"/>
                <a:gd name="T90" fmla="*/ 12439 w 16094"/>
                <a:gd name="T91" fmla="*/ 7635 h 16058"/>
                <a:gd name="T92" fmla="*/ 11948 w 16094"/>
                <a:gd name="T93" fmla="*/ 8406 h 16058"/>
                <a:gd name="T94" fmla="*/ 14463 w 16094"/>
                <a:gd name="T95" fmla="*/ 1003 h 16058"/>
                <a:gd name="T96" fmla="*/ 13190 w 16094"/>
                <a:gd name="T97" fmla="*/ 260 h 16058"/>
                <a:gd name="T98" fmla="*/ 11795 w 16094"/>
                <a:gd name="T99" fmla="*/ 0 h 16058"/>
                <a:gd name="T100" fmla="*/ 10660 w 16094"/>
                <a:gd name="T101" fmla="*/ 187 h 16058"/>
                <a:gd name="T102" fmla="*/ 9684 w 16094"/>
                <a:gd name="T103" fmla="*/ 727 h 16058"/>
                <a:gd name="T104" fmla="*/ 1704 w 16094"/>
                <a:gd name="T105" fmla="*/ 8728 h 16058"/>
                <a:gd name="T106" fmla="*/ 1279 w 16094"/>
                <a:gd name="T107" fmla="*/ 9454 h 16058"/>
                <a:gd name="T108" fmla="*/ 0 w 16094"/>
                <a:gd name="T109" fmla="*/ 14302 h 16058"/>
                <a:gd name="T110" fmla="*/ 402 w 16094"/>
                <a:gd name="T111" fmla="*/ 15419 h 16058"/>
                <a:gd name="T112" fmla="*/ 1407 w 16094"/>
                <a:gd name="T113" fmla="*/ 16022 h 16058"/>
                <a:gd name="T114" fmla="*/ 2275 w 16094"/>
                <a:gd name="T115" fmla="*/ 15980 h 16058"/>
                <a:gd name="T116" fmla="*/ 7227 w 16094"/>
                <a:gd name="T117" fmla="*/ 14541 h 16058"/>
                <a:gd name="T118" fmla="*/ 15901 w 16094"/>
                <a:gd name="T119" fmla="*/ 5421 h 16058"/>
                <a:gd name="T120" fmla="*/ 15857 w 16094"/>
                <a:gd name="T121" fmla="*/ 2953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094" h="16058">
                  <a:moveTo>
                    <a:pt x="14431" y="5907"/>
                  </a:moveTo>
                  <a:lnTo>
                    <a:pt x="13584" y="6759"/>
                  </a:lnTo>
                  <a:lnTo>
                    <a:pt x="13585" y="6717"/>
                  </a:lnTo>
                  <a:lnTo>
                    <a:pt x="13586" y="6675"/>
                  </a:lnTo>
                  <a:lnTo>
                    <a:pt x="13588" y="6633"/>
                  </a:lnTo>
                  <a:lnTo>
                    <a:pt x="13590" y="6591"/>
                  </a:lnTo>
                  <a:lnTo>
                    <a:pt x="13591" y="6549"/>
                  </a:lnTo>
                  <a:lnTo>
                    <a:pt x="13591" y="6507"/>
                  </a:lnTo>
                  <a:lnTo>
                    <a:pt x="13590" y="6464"/>
                  </a:lnTo>
                  <a:lnTo>
                    <a:pt x="13587" y="6420"/>
                  </a:lnTo>
                  <a:lnTo>
                    <a:pt x="13578" y="6330"/>
                  </a:lnTo>
                  <a:lnTo>
                    <a:pt x="13566" y="6240"/>
                  </a:lnTo>
                  <a:lnTo>
                    <a:pt x="13553" y="6148"/>
                  </a:lnTo>
                  <a:lnTo>
                    <a:pt x="13537" y="6059"/>
                  </a:lnTo>
                  <a:lnTo>
                    <a:pt x="13520" y="5969"/>
                  </a:lnTo>
                  <a:lnTo>
                    <a:pt x="13500" y="5879"/>
                  </a:lnTo>
                  <a:lnTo>
                    <a:pt x="13478" y="5790"/>
                  </a:lnTo>
                  <a:lnTo>
                    <a:pt x="13453" y="5702"/>
                  </a:lnTo>
                  <a:lnTo>
                    <a:pt x="13427" y="5613"/>
                  </a:lnTo>
                  <a:lnTo>
                    <a:pt x="13400" y="5525"/>
                  </a:lnTo>
                  <a:lnTo>
                    <a:pt x="13370" y="5439"/>
                  </a:lnTo>
                  <a:lnTo>
                    <a:pt x="13338" y="5351"/>
                  </a:lnTo>
                  <a:lnTo>
                    <a:pt x="13305" y="5265"/>
                  </a:lnTo>
                  <a:lnTo>
                    <a:pt x="13268" y="5180"/>
                  </a:lnTo>
                  <a:lnTo>
                    <a:pt x="13230" y="5094"/>
                  </a:lnTo>
                  <a:lnTo>
                    <a:pt x="13191" y="5010"/>
                  </a:lnTo>
                  <a:lnTo>
                    <a:pt x="13150" y="4927"/>
                  </a:lnTo>
                  <a:lnTo>
                    <a:pt x="13105" y="4843"/>
                  </a:lnTo>
                  <a:lnTo>
                    <a:pt x="13060" y="4761"/>
                  </a:lnTo>
                  <a:lnTo>
                    <a:pt x="13014" y="4680"/>
                  </a:lnTo>
                  <a:lnTo>
                    <a:pt x="12965" y="4600"/>
                  </a:lnTo>
                  <a:lnTo>
                    <a:pt x="12913" y="4520"/>
                  </a:lnTo>
                  <a:lnTo>
                    <a:pt x="12861" y="4441"/>
                  </a:lnTo>
                  <a:lnTo>
                    <a:pt x="12807" y="4364"/>
                  </a:lnTo>
                  <a:lnTo>
                    <a:pt x="12750" y="4286"/>
                  </a:lnTo>
                  <a:lnTo>
                    <a:pt x="12692" y="4210"/>
                  </a:lnTo>
                  <a:lnTo>
                    <a:pt x="12633" y="4136"/>
                  </a:lnTo>
                  <a:lnTo>
                    <a:pt x="12571" y="4062"/>
                  </a:lnTo>
                  <a:lnTo>
                    <a:pt x="12508" y="3989"/>
                  </a:lnTo>
                  <a:lnTo>
                    <a:pt x="12443" y="3917"/>
                  </a:lnTo>
                  <a:lnTo>
                    <a:pt x="12376" y="3847"/>
                  </a:lnTo>
                  <a:lnTo>
                    <a:pt x="12309" y="3778"/>
                  </a:lnTo>
                  <a:lnTo>
                    <a:pt x="12230" y="3701"/>
                  </a:lnTo>
                  <a:lnTo>
                    <a:pt x="12152" y="3628"/>
                  </a:lnTo>
                  <a:lnTo>
                    <a:pt x="12071" y="3557"/>
                  </a:lnTo>
                  <a:lnTo>
                    <a:pt x="11989" y="3487"/>
                  </a:lnTo>
                  <a:lnTo>
                    <a:pt x="11905" y="3419"/>
                  </a:lnTo>
                  <a:lnTo>
                    <a:pt x="11821" y="3354"/>
                  </a:lnTo>
                  <a:lnTo>
                    <a:pt x="11735" y="3292"/>
                  </a:lnTo>
                  <a:lnTo>
                    <a:pt x="11648" y="3231"/>
                  </a:lnTo>
                  <a:lnTo>
                    <a:pt x="11560" y="3172"/>
                  </a:lnTo>
                  <a:lnTo>
                    <a:pt x="11471" y="3116"/>
                  </a:lnTo>
                  <a:lnTo>
                    <a:pt x="11380" y="3062"/>
                  </a:lnTo>
                  <a:lnTo>
                    <a:pt x="11289" y="3010"/>
                  </a:lnTo>
                  <a:lnTo>
                    <a:pt x="11196" y="2961"/>
                  </a:lnTo>
                  <a:lnTo>
                    <a:pt x="11103" y="2914"/>
                  </a:lnTo>
                  <a:lnTo>
                    <a:pt x="11009" y="2868"/>
                  </a:lnTo>
                  <a:lnTo>
                    <a:pt x="10913" y="2826"/>
                  </a:lnTo>
                  <a:lnTo>
                    <a:pt x="10818" y="2786"/>
                  </a:lnTo>
                  <a:lnTo>
                    <a:pt x="10721" y="2749"/>
                  </a:lnTo>
                  <a:lnTo>
                    <a:pt x="10625" y="2714"/>
                  </a:lnTo>
                  <a:lnTo>
                    <a:pt x="10527" y="2681"/>
                  </a:lnTo>
                  <a:lnTo>
                    <a:pt x="10429" y="2651"/>
                  </a:lnTo>
                  <a:lnTo>
                    <a:pt x="10330" y="2622"/>
                  </a:lnTo>
                  <a:lnTo>
                    <a:pt x="10231" y="2597"/>
                  </a:lnTo>
                  <a:lnTo>
                    <a:pt x="10132" y="2574"/>
                  </a:lnTo>
                  <a:lnTo>
                    <a:pt x="10031" y="2554"/>
                  </a:lnTo>
                  <a:lnTo>
                    <a:pt x="9932" y="2537"/>
                  </a:lnTo>
                  <a:lnTo>
                    <a:pt x="9831" y="2522"/>
                  </a:lnTo>
                  <a:lnTo>
                    <a:pt x="9730" y="2510"/>
                  </a:lnTo>
                  <a:lnTo>
                    <a:pt x="9630" y="2500"/>
                  </a:lnTo>
                  <a:lnTo>
                    <a:pt x="9529" y="2493"/>
                  </a:lnTo>
                  <a:lnTo>
                    <a:pt x="9428" y="2489"/>
                  </a:lnTo>
                  <a:lnTo>
                    <a:pt x="9327" y="2487"/>
                  </a:lnTo>
                  <a:lnTo>
                    <a:pt x="10160" y="1649"/>
                  </a:lnTo>
                  <a:lnTo>
                    <a:pt x="10199" y="1611"/>
                  </a:lnTo>
                  <a:lnTo>
                    <a:pt x="10240" y="1574"/>
                  </a:lnTo>
                  <a:lnTo>
                    <a:pt x="10282" y="1538"/>
                  </a:lnTo>
                  <a:lnTo>
                    <a:pt x="10324" y="1502"/>
                  </a:lnTo>
                  <a:lnTo>
                    <a:pt x="10367" y="1468"/>
                  </a:lnTo>
                  <a:lnTo>
                    <a:pt x="10411" y="1435"/>
                  </a:lnTo>
                  <a:lnTo>
                    <a:pt x="10456" y="1404"/>
                  </a:lnTo>
                  <a:lnTo>
                    <a:pt x="10502" y="1373"/>
                  </a:lnTo>
                  <a:lnTo>
                    <a:pt x="10548" y="1344"/>
                  </a:lnTo>
                  <a:lnTo>
                    <a:pt x="10596" y="1316"/>
                  </a:lnTo>
                  <a:lnTo>
                    <a:pt x="10644" y="1289"/>
                  </a:lnTo>
                  <a:lnTo>
                    <a:pt x="10692" y="1263"/>
                  </a:lnTo>
                  <a:lnTo>
                    <a:pt x="10742" y="1237"/>
                  </a:lnTo>
                  <a:lnTo>
                    <a:pt x="10793" y="1214"/>
                  </a:lnTo>
                  <a:lnTo>
                    <a:pt x="10843" y="1192"/>
                  </a:lnTo>
                  <a:lnTo>
                    <a:pt x="10894" y="1171"/>
                  </a:lnTo>
                  <a:lnTo>
                    <a:pt x="10947" y="1151"/>
                  </a:lnTo>
                  <a:lnTo>
                    <a:pt x="11000" y="1132"/>
                  </a:lnTo>
                  <a:lnTo>
                    <a:pt x="11053" y="1115"/>
                  </a:lnTo>
                  <a:lnTo>
                    <a:pt x="11108" y="1099"/>
                  </a:lnTo>
                  <a:lnTo>
                    <a:pt x="11162" y="1084"/>
                  </a:lnTo>
                  <a:lnTo>
                    <a:pt x="11217" y="1070"/>
                  </a:lnTo>
                  <a:lnTo>
                    <a:pt x="11273" y="1058"/>
                  </a:lnTo>
                  <a:lnTo>
                    <a:pt x="11329" y="1046"/>
                  </a:lnTo>
                  <a:lnTo>
                    <a:pt x="11386" y="1037"/>
                  </a:lnTo>
                  <a:lnTo>
                    <a:pt x="11444" y="1028"/>
                  </a:lnTo>
                  <a:lnTo>
                    <a:pt x="11501" y="1021"/>
                  </a:lnTo>
                  <a:lnTo>
                    <a:pt x="11559" y="1015"/>
                  </a:lnTo>
                  <a:lnTo>
                    <a:pt x="11618" y="1010"/>
                  </a:lnTo>
                  <a:lnTo>
                    <a:pt x="11676" y="1007"/>
                  </a:lnTo>
                  <a:lnTo>
                    <a:pt x="11735" y="1005"/>
                  </a:lnTo>
                  <a:lnTo>
                    <a:pt x="11795" y="1004"/>
                  </a:lnTo>
                  <a:lnTo>
                    <a:pt x="11871" y="1005"/>
                  </a:lnTo>
                  <a:lnTo>
                    <a:pt x="11947" y="1008"/>
                  </a:lnTo>
                  <a:lnTo>
                    <a:pt x="12023" y="1014"/>
                  </a:lnTo>
                  <a:lnTo>
                    <a:pt x="12098" y="1021"/>
                  </a:lnTo>
                  <a:lnTo>
                    <a:pt x="12175" y="1030"/>
                  </a:lnTo>
                  <a:lnTo>
                    <a:pt x="12251" y="1042"/>
                  </a:lnTo>
                  <a:lnTo>
                    <a:pt x="12327" y="1055"/>
                  </a:lnTo>
                  <a:lnTo>
                    <a:pt x="12402" y="1071"/>
                  </a:lnTo>
                  <a:lnTo>
                    <a:pt x="12478" y="1088"/>
                  </a:lnTo>
                  <a:lnTo>
                    <a:pt x="12553" y="1108"/>
                  </a:lnTo>
                  <a:lnTo>
                    <a:pt x="12629" y="1129"/>
                  </a:lnTo>
                  <a:lnTo>
                    <a:pt x="12703" y="1153"/>
                  </a:lnTo>
                  <a:lnTo>
                    <a:pt x="12777" y="1178"/>
                  </a:lnTo>
                  <a:lnTo>
                    <a:pt x="12852" y="1205"/>
                  </a:lnTo>
                  <a:lnTo>
                    <a:pt x="12925" y="1234"/>
                  </a:lnTo>
                  <a:lnTo>
                    <a:pt x="12999" y="1266"/>
                  </a:lnTo>
                  <a:lnTo>
                    <a:pt x="13071" y="1299"/>
                  </a:lnTo>
                  <a:lnTo>
                    <a:pt x="13144" y="1334"/>
                  </a:lnTo>
                  <a:lnTo>
                    <a:pt x="13215" y="1370"/>
                  </a:lnTo>
                  <a:lnTo>
                    <a:pt x="13285" y="1408"/>
                  </a:lnTo>
                  <a:lnTo>
                    <a:pt x="13356" y="1448"/>
                  </a:lnTo>
                  <a:lnTo>
                    <a:pt x="13425" y="1490"/>
                  </a:lnTo>
                  <a:lnTo>
                    <a:pt x="13495" y="1535"/>
                  </a:lnTo>
                  <a:lnTo>
                    <a:pt x="13562" y="1580"/>
                  </a:lnTo>
                  <a:lnTo>
                    <a:pt x="13629" y="1627"/>
                  </a:lnTo>
                  <a:lnTo>
                    <a:pt x="13696" y="1676"/>
                  </a:lnTo>
                  <a:lnTo>
                    <a:pt x="13761" y="1727"/>
                  </a:lnTo>
                  <a:lnTo>
                    <a:pt x="13827" y="1779"/>
                  </a:lnTo>
                  <a:lnTo>
                    <a:pt x="13890" y="1834"/>
                  </a:lnTo>
                  <a:lnTo>
                    <a:pt x="13952" y="1889"/>
                  </a:lnTo>
                  <a:lnTo>
                    <a:pt x="14014" y="1946"/>
                  </a:lnTo>
                  <a:lnTo>
                    <a:pt x="14075" y="2005"/>
                  </a:lnTo>
                  <a:lnTo>
                    <a:pt x="14130" y="2061"/>
                  </a:lnTo>
                  <a:lnTo>
                    <a:pt x="14185" y="2119"/>
                  </a:lnTo>
                  <a:lnTo>
                    <a:pt x="14237" y="2177"/>
                  </a:lnTo>
                  <a:lnTo>
                    <a:pt x="14288" y="2235"/>
                  </a:lnTo>
                  <a:lnTo>
                    <a:pt x="14338" y="2295"/>
                  </a:lnTo>
                  <a:lnTo>
                    <a:pt x="14386" y="2356"/>
                  </a:lnTo>
                  <a:lnTo>
                    <a:pt x="14433" y="2417"/>
                  </a:lnTo>
                  <a:lnTo>
                    <a:pt x="14478" y="2478"/>
                  </a:lnTo>
                  <a:lnTo>
                    <a:pt x="14522" y="2540"/>
                  </a:lnTo>
                  <a:lnTo>
                    <a:pt x="14564" y="2603"/>
                  </a:lnTo>
                  <a:lnTo>
                    <a:pt x="14605" y="2667"/>
                  </a:lnTo>
                  <a:lnTo>
                    <a:pt x="14644" y="2731"/>
                  </a:lnTo>
                  <a:lnTo>
                    <a:pt x="14682" y="2796"/>
                  </a:lnTo>
                  <a:lnTo>
                    <a:pt x="14718" y="2861"/>
                  </a:lnTo>
                  <a:lnTo>
                    <a:pt x="14752" y="2927"/>
                  </a:lnTo>
                  <a:lnTo>
                    <a:pt x="14785" y="2993"/>
                  </a:lnTo>
                  <a:lnTo>
                    <a:pt x="14816" y="3060"/>
                  </a:lnTo>
                  <a:lnTo>
                    <a:pt x="14846" y="3126"/>
                  </a:lnTo>
                  <a:lnTo>
                    <a:pt x="14874" y="3195"/>
                  </a:lnTo>
                  <a:lnTo>
                    <a:pt x="14900" y="3262"/>
                  </a:lnTo>
                  <a:lnTo>
                    <a:pt x="14925" y="3330"/>
                  </a:lnTo>
                  <a:lnTo>
                    <a:pt x="14948" y="3398"/>
                  </a:lnTo>
                  <a:lnTo>
                    <a:pt x="14969" y="3468"/>
                  </a:lnTo>
                  <a:lnTo>
                    <a:pt x="14988" y="3537"/>
                  </a:lnTo>
                  <a:lnTo>
                    <a:pt x="15007" y="3606"/>
                  </a:lnTo>
                  <a:lnTo>
                    <a:pt x="15023" y="3675"/>
                  </a:lnTo>
                  <a:lnTo>
                    <a:pt x="15038" y="3746"/>
                  </a:lnTo>
                  <a:lnTo>
                    <a:pt x="15050" y="3816"/>
                  </a:lnTo>
                  <a:lnTo>
                    <a:pt x="15061" y="3885"/>
                  </a:lnTo>
                  <a:lnTo>
                    <a:pt x="15070" y="3955"/>
                  </a:lnTo>
                  <a:lnTo>
                    <a:pt x="15078" y="4026"/>
                  </a:lnTo>
                  <a:lnTo>
                    <a:pt x="15084" y="4097"/>
                  </a:lnTo>
                  <a:lnTo>
                    <a:pt x="15087" y="4162"/>
                  </a:lnTo>
                  <a:lnTo>
                    <a:pt x="15089" y="4227"/>
                  </a:lnTo>
                  <a:lnTo>
                    <a:pt x="15089" y="4292"/>
                  </a:lnTo>
                  <a:lnTo>
                    <a:pt x="15088" y="4357"/>
                  </a:lnTo>
                  <a:lnTo>
                    <a:pt x="15085" y="4420"/>
                  </a:lnTo>
                  <a:lnTo>
                    <a:pt x="15081" y="4484"/>
                  </a:lnTo>
                  <a:lnTo>
                    <a:pt x="15075" y="4546"/>
                  </a:lnTo>
                  <a:lnTo>
                    <a:pt x="15067" y="4610"/>
                  </a:lnTo>
                  <a:lnTo>
                    <a:pt x="15058" y="4672"/>
                  </a:lnTo>
                  <a:lnTo>
                    <a:pt x="15048" y="4733"/>
                  </a:lnTo>
                  <a:lnTo>
                    <a:pt x="15035" y="4794"/>
                  </a:lnTo>
                  <a:lnTo>
                    <a:pt x="15022" y="4855"/>
                  </a:lnTo>
                  <a:lnTo>
                    <a:pt x="15006" y="4914"/>
                  </a:lnTo>
                  <a:lnTo>
                    <a:pt x="14989" y="4973"/>
                  </a:lnTo>
                  <a:lnTo>
                    <a:pt x="14970" y="5032"/>
                  </a:lnTo>
                  <a:lnTo>
                    <a:pt x="14950" y="5089"/>
                  </a:lnTo>
                  <a:lnTo>
                    <a:pt x="14929" y="5147"/>
                  </a:lnTo>
                  <a:lnTo>
                    <a:pt x="14906" y="5203"/>
                  </a:lnTo>
                  <a:lnTo>
                    <a:pt x="14882" y="5259"/>
                  </a:lnTo>
                  <a:lnTo>
                    <a:pt x="14856" y="5314"/>
                  </a:lnTo>
                  <a:lnTo>
                    <a:pt x="14829" y="5368"/>
                  </a:lnTo>
                  <a:lnTo>
                    <a:pt x="14799" y="5422"/>
                  </a:lnTo>
                  <a:lnTo>
                    <a:pt x="14769" y="5474"/>
                  </a:lnTo>
                  <a:lnTo>
                    <a:pt x="14737" y="5526"/>
                  </a:lnTo>
                  <a:lnTo>
                    <a:pt x="14704" y="5577"/>
                  </a:lnTo>
                  <a:lnTo>
                    <a:pt x="14670" y="5627"/>
                  </a:lnTo>
                  <a:lnTo>
                    <a:pt x="14633" y="5675"/>
                  </a:lnTo>
                  <a:lnTo>
                    <a:pt x="14595" y="5724"/>
                  </a:lnTo>
                  <a:lnTo>
                    <a:pt x="14557" y="5772"/>
                  </a:lnTo>
                  <a:lnTo>
                    <a:pt x="14516" y="5818"/>
                  </a:lnTo>
                  <a:lnTo>
                    <a:pt x="14474" y="5863"/>
                  </a:lnTo>
                  <a:lnTo>
                    <a:pt x="14431" y="5907"/>
                  </a:lnTo>
                  <a:close/>
                  <a:moveTo>
                    <a:pt x="4463" y="14370"/>
                  </a:moveTo>
                  <a:lnTo>
                    <a:pt x="4461" y="14307"/>
                  </a:lnTo>
                  <a:lnTo>
                    <a:pt x="4458" y="14243"/>
                  </a:lnTo>
                  <a:lnTo>
                    <a:pt x="4453" y="14180"/>
                  </a:lnTo>
                  <a:lnTo>
                    <a:pt x="4446" y="14117"/>
                  </a:lnTo>
                  <a:lnTo>
                    <a:pt x="4438" y="14053"/>
                  </a:lnTo>
                  <a:lnTo>
                    <a:pt x="4429" y="13990"/>
                  </a:lnTo>
                  <a:lnTo>
                    <a:pt x="4417" y="13926"/>
                  </a:lnTo>
                  <a:lnTo>
                    <a:pt x="4405" y="13863"/>
                  </a:lnTo>
                  <a:lnTo>
                    <a:pt x="4391" y="13800"/>
                  </a:lnTo>
                  <a:lnTo>
                    <a:pt x="4375" y="13737"/>
                  </a:lnTo>
                  <a:lnTo>
                    <a:pt x="4357" y="13673"/>
                  </a:lnTo>
                  <a:lnTo>
                    <a:pt x="4338" y="13610"/>
                  </a:lnTo>
                  <a:lnTo>
                    <a:pt x="4317" y="13548"/>
                  </a:lnTo>
                  <a:lnTo>
                    <a:pt x="4295" y="13486"/>
                  </a:lnTo>
                  <a:lnTo>
                    <a:pt x="4271" y="13423"/>
                  </a:lnTo>
                  <a:lnTo>
                    <a:pt x="4246" y="13362"/>
                  </a:lnTo>
                  <a:lnTo>
                    <a:pt x="4219" y="13300"/>
                  </a:lnTo>
                  <a:lnTo>
                    <a:pt x="4191" y="13240"/>
                  </a:lnTo>
                  <a:lnTo>
                    <a:pt x="4161" y="13179"/>
                  </a:lnTo>
                  <a:lnTo>
                    <a:pt x="4128" y="13119"/>
                  </a:lnTo>
                  <a:lnTo>
                    <a:pt x="4095" y="13059"/>
                  </a:lnTo>
                  <a:lnTo>
                    <a:pt x="4060" y="13000"/>
                  </a:lnTo>
                  <a:lnTo>
                    <a:pt x="4024" y="12942"/>
                  </a:lnTo>
                  <a:lnTo>
                    <a:pt x="3986" y="12884"/>
                  </a:lnTo>
                  <a:lnTo>
                    <a:pt x="3946" y="12826"/>
                  </a:lnTo>
                  <a:lnTo>
                    <a:pt x="3905" y="12769"/>
                  </a:lnTo>
                  <a:lnTo>
                    <a:pt x="3862" y="12714"/>
                  </a:lnTo>
                  <a:lnTo>
                    <a:pt x="3818" y="12658"/>
                  </a:lnTo>
                  <a:lnTo>
                    <a:pt x="3771" y="12604"/>
                  </a:lnTo>
                  <a:lnTo>
                    <a:pt x="3723" y="12549"/>
                  </a:lnTo>
                  <a:lnTo>
                    <a:pt x="3674" y="12497"/>
                  </a:lnTo>
                  <a:lnTo>
                    <a:pt x="3622" y="12445"/>
                  </a:lnTo>
                  <a:lnTo>
                    <a:pt x="3573" y="12396"/>
                  </a:lnTo>
                  <a:lnTo>
                    <a:pt x="3522" y="12349"/>
                  </a:lnTo>
                  <a:lnTo>
                    <a:pt x="3470" y="12303"/>
                  </a:lnTo>
                  <a:lnTo>
                    <a:pt x="3418" y="12258"/>
                  </a:lnTo>
                  <a:lnTo>
                    <a:pt x="3366" y="12215"/>
                  </a:lnTo>
                  <a:lnTo>
                    <a:pt x="3312" y="12174"/>
                  </a:lnTo>
                  <a:lnTo>
                    <a:pt x="3257" y="12133"/>
                  </a:lnTo>
                  <a:lnTo>
                    <a:pt x="3202" y="12094"/>
                  </a:lnTo>
                  <a:lnTo>
                    <a:pt x="3146" y="12057"/>
                  </a:lnTo>
                  <a:lnTo>
                    <a:pt x="3088" y="12020"/>
                  </a:lnTo>
                  <a:lnTo>
                    <a:pt x="3031" y="11985"/>
                  </a:lnTo>
                  <a:lnTo>
                    <a:pt x="2974" y="11952"/>
                  </a:lnTo>
                  <a:lnTo>
                    <a:pt x="2914" y="11920"/>
                  </a:lnTo>
                  <a:lnTo>
                    <a:pt x="2855" y="11889"/>
                  </a:lnTo>
                  <a:lnTo>
                    <a:pt x="2796" y="11860"/>
                  </a:lnTo>
                  <a:lnTo>
                    <a:pt x="2735" y="11832"/>
                  </a:lnTo>
                  <a:lnTo>
                    <a:pt x="2675" y="11806"/>
                  </a:lnTo>
                  <a:lnTo>
                    <a:pt x="2613" y="11781"/>
                  </a:lnTo>
                  <a:lnTo>
                    <a:pt x="2552" y="11757"/>
                  </a:lnTo>
                  <a:lnTo>
                    <a:pt x="2490" y="11735"/>
                  </a:lnTo>
                  <a:lnTo>
                    <a:pt x="2427" y="11715"/>
                  </a:lnTo>
                  <a:lnTo>
                    <a:pt x="2365" y="11696"/>
                  </a:lnTo>
                  <a:lnTo>
                    <a:pt x="2303" y="11679"/>
                  </a:lnTo>
                  <a:lnTo>
                    <a:pt x="2239" y="11663"/>
                  </a:lnTo>
                  <a:lnTo>
                    <a:pt x="2176" y="11648"/>
                  </a:lnTo>
                  <a:lnTo>
                    <a:pt x="2112" y="11636"/>
                  </a:lnTo>
                  <a:lnTo>
                    <a:pt x="2048" y="11625"/>
                  </a:lnTo>
                  <a:lnTo>
                    <a:pt x="1985" y="11615"/>
                  </a:lnTo>
                  <a:lnTo>
                    <a:pt x="1920" y="11607"/>
                  </a:lnTo>
                  <a:lnTo>
                    <a:pt x="1857" y="11600"/>
                  </a:lnTo>
                  <a:lnTo>
                    <a:pt x="1793" y="11595"/>
                  </a:lnTo>
                  <a:lnTo>
                    <a:pt x="1728" y="11592"/>
                  </a:lnTo>
                  <a:lnTo>
                    <a:pt x="2229" y="9781"/>
                  </a:lnTo>
                  <a:lnTo>
                    <a:pt x="2236" y="9759"/>
                  </a:lnTo>
                  <a:lnTo>
                    <a:pt x="2244" y="9736"/>
                  </a:lnTo>
                  <a:lnTo>
                    <a:pt x="2253" y="9714"/>
                  </a:lnTo>
                  <a:lnTo>
                    <a:pt x="2263" y="9692"/>
                  </a:lnTo>
                  <a:lnTo>
                    <a:pt x="2273" y="9670"/>
                  </a:lnTo>
                  <a:lnTo>
                    <a:pt x="2284" y="9648"/>
                  </a:lnTo>
                  <a:lnTo>
                    <a:pt x="2296" y="9626"/>
                  </a:lnTo>
                  <a:lnTo>
                    <a:pt x="2308" y="9604"/>
                  </a:lnTo>
                  <a:lnTo>
                    <a:pt x="2321" y="9583"/>
                  </a:lnTo>
                  <a:lnTo>
                    <a:pt x="2335" y="9561"/>
                  </a:lnTo>
                  <a:lnTo>
                    <a:pt x="2349" y="9539"/>
                  </a:lnTo>
                  <a:lnTo>
                    <a:pt x="2363" y="9518"/>
                  </a:lnTo>
                  <a:lnTo>
                    <a:pt x="2378" y="9498"/>
                  </a:lnTo>
                  <a:lnTo>
                    <a:pt x="2393" y="9478"/>
                  </a:lnTo>
                  <a:lnTo>
                    <a:pt x="2409" y="9458"/>
                  </a:lnTo>
                  <a:lnTo>
                    <a:pt x="2426" y="9438"/>
                  </a:lnTo>
                  <a:lnTo>
                    <a:pt x="2522" y="9374"/>
                  </a:lnTo>
                  <a:lnTo>
                    <a:pt x="2621" y="9314"/>
                  </a:lnTo>
                  <a:lnTo>
                    <a:pt x="2723" y="9260"/>
                  </a:lnTo>
                  <a:lnTo>
                    <a:pt x="2828" y="9211"/>
                  </a:lnTo>
                  <a:lnTo>
                    <a:pt x="2934" y="9169"/>
                  </a:lnTo>
                  <a:lnTo>
                    <a:pt x="3044" y="9131"/>
                  </a:lnTo>
                  <a:lnTo>
                    <a:pt x="3156" y="9099"/>
                  </a:lnTo>
                  <a:lnTo>
                    <a:pt x="3268" y="9072"/>
                  </a:lnTo>
                  <a:lnTo>
                    <a:pt x="3383" y="9051"/>
                  </a:lnTo>
                  <a:lnTo>
                    <a:pt x="3500" y="9034"/>
                  </a:lnTo>
                  <a:lnTo>
                    <a:pt x="3617" y="9024"/>
                  </a:lnTo>
                  <a:lnTo>
                    <a:pt x="3736" y="9018"/>
                  </a:lnTo>
                  <a:lnTo>
                    <a:pt x="3857" y="9018"/>
                  </a:lnTo>
                  <a:lnTo>
                    <a:pt x="3976" y="9023"/>
                  </a:lnTo>
                  <a:lnTo>
                    <a:pt x="4098" y="9033"/>
                  </a:lnTo>
                  <a:lnTo>
                    <a:pt x="4220" y="9049"/>
                  </a:lnTo>
                  <a:lnTo>
                    <a:pt x="4342" y="9070"/>
                  </a:lnTo>
                  <a:lnTo>
                    <a:pt x="4463" y="9096"/>
                  </a:lnTo>
                  <a:lnTo>
                    <a:pt x="4584" y="9127"/>
                  </a:lnTo>
                  <a:lnTo>
                    <a:pt x="4706" y="9164"/>
                  </a:lnTo>
                  <a:lnTo>
                    <a:pt x="4826" y="9206"/>
                  </a:lnTo>
                  <a:lnTo>
                    <a:pt x="4946" y="9252"/>
                  </a:lnTo>
                  <a:lnTo>
                    <a:pt x="5065" y="9305"/>
                  </a:lnTo>
                  <a:lnTo>
                    <a:pt x="5184" y="9363"/>
                  </a:lnTo>
                  <a:lnTo>
                    <a:pt x="5300" y="9425"/>
                  </a:lnTo>
                  <a:lnTo>
                    <a:pt x="5415" y="9493"/>
                  </a:lnTo>
                  <a:lnTo>
                    <a:pt x="5529" y="9566"/>
                  </a:lnTo>
                  <a:lnTo>
                    <a:pt x="5640" y="9644"/>
                  </a:lnTo>
                  <a:lnTo>
                    <a:pt x="5750" y="9727"/>
                  </a:lnTo>
                  <a:lnTo>
                    <a:pt x="5857" y="9815"/>
                  </a:lnTo>
                  <a:lnTo>
                    <a:pt x="5962" y="9909"/>
                  </a:lnTo>
                  <a:lnTo>
                    <a:pt x="6065" y="10007"/>
                  </a:lnTo>
                  <a:lnTo>
                    <a:pt x="6168" y="10115"/>
                  </a:lnTo>
                  <a:lnTo>
                    <a:pt x="6267" y="10226"/>
                  </a:lnTo>
                  <a:lnTo>
                    <a:pt x="6360" y="10339"/>
                  </a:lnTo>
                  <a:lnTo>
                    <a:pt x="6447" y="10456"/>
                  </a:lnTo>
                  <a:lnTo>
                    <a:pt x="6529" y="10574"/>
                  </a:lnTo>
                  <a:lnTo>
                    <a:pt x="6604" y="10695"/>
                  </a:lnTo>
                  <a:lnTo>
                    <a:pt x="6673" y="10816"/>
                  </a:lnTo>
                  <a:lnTo>
                    <a:pt x="6738" y="10941"/>
                  </a:lnTo>
                  <a:lnTo>
                    <a:pt x="6796" y="11065"/>
                  </a:lnTo>
                  <a:lnTo>
                    <a:pt x="6848" y="11191"/>
                  </a:lnTo>
                  <a:lnTo>
                    <a:pt x="6895" y="11318"/>
                  </a:lnTo>
                  <a:lnTo>
                    <a:pt x="6936" y="11446"/>
                  </a:lnTo>
                  <a:lnTo>
                    <a:pt x="6971" y="11574"/>
                  </a:lnTo>
                  <a:lnTo>
                    <a:pt x="7000" y="11702"/>
                  </a:lnTo>
                  <a:lnTo>
                    <a:pt x="7023" y="11831"/>
                  </a:lnTo>
                  <a:lnTo>
                    <a:pt x="7041" y="11959"/>
                  </a:lnTo>
                  <a:lnTo>
                    <a:pt x="7052" y="12087"/>
                  </a:lnTo>
                  <a:lnTo>
                    <a:pt x="7058" y="12214"/>
                  </a:lnTo>
                  <a:lnTo>
                    <a:pt x="7057" y="12341"/>
                  </a:lnTo>
                  <a:lnTo>
                    <a:pt x="7051" y="12466"/>
                  </a:lnTo>
                  <a:lnTo>
                    <a:pt x="7039" y="12589"/>
                  </a:lnTo>
                  <a:lnTo>
                    <a:pt x="7019" y="12712"/>
                  </a:lnTo>
                  <a:lnTo>
                    <a:pt x="6995" y="12832"/>
                  </a:lnTo>
                  <a:lnTo>
                    <a:pt x="6965" y="12952"/>
                  </a:lnTo>
                  <a:lnTo>
                    <a:pt x="6929" y="13068"/>
                  </a:lnTo>
                  <a:lnTo>
                    <a:pt x="6886" y="13183"/>
                  </a:lnTo>
                  <a:lnTo>
                    <a:pt x="6837" y="13294"/>
                  </a:lnTo>
                  <a:lnTo>
                    <a:pt x="6783" y="13402"/>
                  </a:lnTo>
                  <a:lnTo>
                    <a:pt x="6722" y="13508"/>
                  </a:lnTo>
                  <a:lnTo>
                    <a:pt x="6655" y="13610"/>
                  </a:lnTo>
                  <a:lnTo>
                    <a:pt x="6582" y="13710"/>
                  </a:lnTo>
                  <a:lnTo>
                    <a:pt x="6502" y="13805"/>
                  </a:lnTo>
                  <a:lnTo>
                    <a:pt x="6481" y="13816"/>
                  </a:lnTo>
                  <a:lnTo>
                    <a:pt x="6459" y="13827"/>
                  </a:lnTo>
                  <a:lnTo>
                    <a:pt x="6437" y="13838"/>
                  </a:lnTo>
                  <a:lnTo>
                    <a:pt x="6415" y="13848"/>
                  </a:lnTo>
                  <a:lnTo>
                    <a:pt x="6392" y="13858"/>
                  </a:lnTo>
                  <a:lnTo>
                    <a:pt x="6369" y="13867"/>
                  </a:lnTo>
                  <a:lnTo>
                    <a:pt x="6345" y="13876"/>
                  </a:lnTo>
                  <a:lnTo>
                    <a:pt x="6322" y="13884"/>
                  </a:lnTo>
                  <a:lnTo>
                    <a:pt x="4463" y="14370"/>
                  </a:lnTo>
                  <a:close/>
                  <a:moveTo>
                    <a:pt x="2096" y="14991"/>
                  </a:moveTo>
                  <a:lnTo>
                    <a:pt x="2070" y="14997"/>
                  </a:lnTo>
                  <a:lnTo>
                    <a:pt x="2036" y="15005"/>
                  </a:lnTo>
                  <a:lnTo>
                    <a:pt x="1995" y="15014"/>
                  </a:lnTo>
                  <a:lnTo>
                    <a:pt x="1949" y="15024"/>
                  </a:lnTo>
                  <a:lnTo>
                    <a:pt x="1899" y="15034"/>
                  </a:lnTo>
                  <a:lnTo>
                    <a:pt x="1849" y="15043"/>
                  </a:lnTo>
                  <a:lnTo>
                    <a:pt x="1825" y="15046"/>
                  </a:lnTo>
                  <a:lnTo>
                    <a:pt x="1801" y="15050"/>
                  </a:lnTo>
                  <a:lnTo>
                    <a:pt x="1777" y="15052"/>
                  </a:lnTo>
                  <a:lnTo>
                    <a:pt x="1755" y="15054"/>
                  </a:lnTo>
                  <a:lnTo>
                    <a:pt x="1716" y="15053"/>
                  </a:lnTo>
                  <a:lnTo>
                    <a:pt x="1679" y="15049"/>
                  </a:lnTo>
                  <a:lnTo>
                    <a:pt x="1641" y="15044"/>
                  </a:lnTo>
                  <a:lnTo>
                    <a:pt x="1604" y="15037"/>
                  </a:lnTo>
                  <a:lnTo>
                    <a:pt x="1568" y="15029"/>
                  </a:lnTo>
                  <a:lnTo>
                    <a:pt x="1532" y="15018"/>
                  </a:lnTo>
                  <a:lnTo>
                    <a:pt x="1498" y="15006"/>
                  </a:lnTo>
                  <a:lnTo>
                    <a:pt x="1464" y="14993"/>
                  </a:lnTo>
                  <a:lnTo>
                    <a:pt x="1430" y="14978"/>
                  </a:lnTo>
                  <a:lnTo>
                    <a:pt x="1398" y="14961"/>
                  </a:lnTo>
                  <a:lnTo>
                    <a:pt x="1367" y="14943"/>
                  </a:lnTo>
                  <a:lnTo>
                    <a:pt x="1336" y="14923"/>
                  </a:lnTo>
                  <a:lnTo>
                    <a:pt x="1307" y="14902"/>
                  </a:lnTo>
                  <a:lnTo>
                    <a:pt x="1279" y="14880"/>
                  </a:lnTo>
                  <a:lnTo>
                    <a:pt x="1251" y="14856"/>
                  </a:lnTo>
                  <a:lnTo>
                    <a:pt x="1225" y="14832"/>
                  </a:lnTo>
                  <a:lnTo>
                    <a:pt x="1201" y="14804"/>
                  </a:lnTo>
                  <a:lnTo>
                    <a:pt x="1177" y="14777"/>
                  </a:lnTo>
                  <a:lnTo>
                    <a:pt x="1155" y="14749"/>
                  </a:lnTo>
                  <a:lnTo>
                    <a:pt x="1134" y="14720"/>
                  </a:lnTo>
                  <a:lnTo>
                    <a:pt x="1115" y="14689"/>
                  </a:lnTo>
                  <a:lnTo>
                    <a:pt x="1096" y="14658"/>
                  </a:lnTo>
                  <a:lnTo>
                    <a:pt x="1080" y="14626"/>
                  </a:lnTo>
                  <a:lnTo>
                    <a:pt x="1065" y="14593"/>
                  </a:lnTo>
                  <a:lnTo>
                    <a:pt x="1051" y="14559"/>
                  </a:lnTo>
                  <a:lnTo>
                    <a:pt x="1040" y="14524"/>
                  </a:lnTo>
                  <a:lnTo>
                    <a:pt x="1030" y="14488"/>
                  </a:lnTo>
                  <a:lnTo>
                    <a:pt x="1021" y="14452"/>
                  </a:lnTo>
                  <a:lnTo>
                    <a:pt x="1015" y="14415"/>
                  </a:lnTo>
                  <a:lnTo>
                    <a:pt x="1010" y="14378"/>
                  </a:lnTo>
                  <a:lnTo>
                    <a:pt x="1007" y="14340"/>
                  </a:lnTo>
                  <a:lnTo>
                    <a:pt x="1006" y="14302"/>
                  </a:lnTo>
                  <a:lnTo>
                    <a:pt x="1009" y="14268"/>
                  </a:lnTo>
                  <a:lnTo>
                    <a:pt x="1015" y="14229"/>
                  </a:lnTo>
                  <a:lnTo>
                    <a:pt x="1022" y="14189"/>
                  </a:lnTo>
                  <a:lnTo>
                    <a:pt x="1029" y="14149"/>
                  </a:lnTo>
                  <a:lnTo>
                    <a:pt x="1037" y="14110"/>
                  </a:lnTo>
                  <a:lnTo>
                    <a:pt x="1045" y="14074"/>
                  </a:lnTo>
                  <a:lnTo>
                    <a:pt x="1051" y="14043"/>
                  </a:lnTo>
                  <a:lnTo>
                    <a:pt x="1056" y="14020"/>
                  </a:lnTo>
                  <a:lnTo>
                    <a:pt x="1586" y="12106"/>
                  </a:lnTo>
                  <a:lnTo>
                    <a:pt x="1641" y="12105"/>
                  </a:lnTo>
                  <a:lnTo>
                    <a:pt x="1695" y="12105"/>
                  </a:lnTo>
                  <a:lnTo>
                    <a:pt x="1749" y="12107"/>
                  </a:lnTo>
                  <a:lnTo>
                    <a:pt x="1804" y="12111"/>
                  </a:lnTo>
                  <a:lnTo>
                    <a:pt x="1858" y="12116"/>
                  </a:lnTo>
                  <a:lnTo>
                    <a:pt x="1913" y="12122"/>
                  </a:lnTo>
                  <a:lnTo>
                    <a:pt x="1968" y="12130"/>
                  </a:lnTo>
                  <a:lnTo>
                    <a:pt x="2023" y="12139"/>
                  </a:lnTo>
                  <a:lnTo>
                    <a:pt x="2077" y="12149"/>
                  </a:lnTo>
                  <a:lnTo>
                    <a:pt x="2133" y="12161"/>
                  </a:lnTo>
                  <a:lnTo>
                    <a:pt x="2187" y="12175"/>
                  </a:lnTo>
                  <a:lnTo>
                    <a:pt x="2242" y="12190"/>
                  </a:lnTo>
                  <a:lnTo>
                    <a:pt x="2297" y="12206"/>
                  </a:lnTo>
                  <a:lnTo>
                    <a:pt x="2351" y="12224"/>
                  </a:lnTo>
                  <a:lnTo>
                    <a:pt x="2405" y="12243"/>
                  </a:lnTo>
                  <a:lnTo>
                    <a:pt x="2460" y="12264"/>
                  </a:lnTo>
                  <a:lnTo>
                    <a:pt x="2513" y="12286"/>
                  </a:lnTo>
                  <a:lnTo>
                    <a:pt x="2566" y="12309"/>
                  </a:lnTo>
                  <a:lnTo>
                    <a:pt x="2619" y="12335"/>
                  </a:lnTo>
                  <a:lnTo>
                    <a:pt x="2673" y="12362"/>
                  </a:lnTo>
                  <a:lnTo>
                    <a:pt x="2725" y="12390"/>
                  </a:lnTo>
                  <a:lnTo>
                    <a:pt x="2776" y="12420"/>
                  </a:lnTo>
                  <a:lnTo>
                    <a:pt x="2829" y="12451"/>
                  </a:lnTo>
                  <a:lnTo>
                    <a:pt x="2879" y="12483"/>
                  </a:lnTo>
                  <a:lnTo>
                    <a:pt x="2930" y="12517"/>
                  </a:lnTo>
                  <a:lnTo>
                    <a:pt x="2980" y="12553"/>
                  </a:lnTo>
                  <a:lnTo>
                    <a:pt x="3029" y="12590"/>
                  </a:lnTo>
                  <a:lnTo>
                    <a:pt x="3078" y="12629"/>
                  </a:lnTo>
                  <a:lnTo>
                    <a:pt x="3126" y="12669"/>
                  </a:lnTo>
                  <a:lnTo>
                    <a:pt x="3174" y="12711"/>
                  </a:lnTo>
                  <a:lnTo>
                    <a:pt x="3220" y="12754"/>
                  </a:lnTo>
                  <a:lnTo>
                    <a:pt x="3266" y="12799"/>
                  </a:lnTo>
                  <a:lnTo>
                    <a:pt x="3312" y="12845"/>
                  </a:lnTo>
                  <a:lnTo>
                    <a:pt x="3356" y="12893"/>
                  </a:lnTo>
                  <a:lnTo>
                    <a:pt x="3398" y="12941"/>
                  </a:lnTo>
                  <a:lnTo>
                    <a:pt x="3439" y="12990"/>
                  </a:lnTo>
                  <a:lnTo>
                    <a:pt x="3479" y="13039"/>
                  </a:lnTo>
                  <a:lnTo>
                    <a:pt x="3517" y="13089"/>
                  </a:lnTo>
                  <a:lnTo>
                    <a:pt x="3553" y="13139"/>
                  </a:lnTo>
                  <a:lnTo>
                    <a:pt x="3588" y="13191"/>
                  </a:lnTo>
                  <a:lnTo>
                    <a:pt x="3621" y="13243"/>
                  </a:lnTo>
                  <a:lnTo>
                    <a:pt x="3653" y="13295"/>
                  </a:lnTo>
                  <a:lnTo>
                    <a:pt x="3683" y="13348"/>
                  </a:lnTo>
                  <a:lnTo>
                    <a:pt x="3712" y="13401"/>
                  </a:lnTo>
                  <a:lnTo>
                    <a:pt x="3739" y="13455"/>
                  </a:lnTo>
                  <a:lnTo>
                    <a:pt x="3765" y="13509"/>
                  </a:lnTo>
                  <a:lnTo>
                    <a:pt x="3788" y="13563"/>
                  </a:lnTo>
                  <a:lnTo>
                    <a:pt x="3811" y="13617"/>
                  </a:lnTo>
                  <a:lnTo>
                    <a:pt x="3833" y="13671"/>
                  </a:lnTo>
                  <a:lnTo>
                    <a:pt x="3852" y="13727"/>
                  </a:lnTo>
                  <a:lnTo>
                    <a:pt x="3870" y="13782"/>
                  </a:lnTo>
                  <a:lnTo>
                    <a:pt x="3887" y="13837"/>
                  </a:lnTo>
                  <a:lnTo>
                    <a:pt x="3902" y="13892"/>
                  </a:lnTo>
                  <a:lnTo>
                    <a:pt x="3915" y="13948"/>
                  </a:lnTo>
                  <a:lnTo>
                    <a:pt x="3927" y="14004"/>
                  </a:lnTo>
                  <a:lnTo>
                    <a:pt x="3938" y="14060"/>
                  </a:lnTo>
                  <a:lnTo>
                    <a:pt x="3946" y="14115"/>
                  </a:lnTo>
                  <a:lnTo>
                    <a:pt x="3954" y="14170"/>
                  </a:lnTo>
                  <a:lnTo>
                    <a:pt x="3960" y="14225"/>
                  </a:lnTo>
                  <a:lnTo>
                    <a:pt x="3964" y="14282"/>
                  </a:lnTo>
                  <a:lnTo>
                    <a:pt x="3967" y="14337"/>
                  </a:lnTo>
                  <a:lnTo>
                    <a:pt x="3968" y="14391"/>
                  </a:lnTo>
                  <a:lnTo>
                    <a:pt x="3968" y="14446"/>
                  </a:lnTo>
                  <a:lnTo>
                    <a:pt x="3967" y="14500"/>
                  </a:lnTo>
                  <a:lnTo>
                    <a:pt x="2096" y="14991"/>
                  </a:lnTo>
                  <a:close/>
                  <a:moveTo>
                    <a:pt x="5275" y="8311"/>
                  </a:moveTo>
                  <a:lnTo>
                    <a:pt x="5187" y="8277"/>
                  </a:lnTo>
                  <a:lnTo>
                    <a:pt x="5099" y="8245"/>
                  </a:lnTo>
                  <a:lnTo>
                    <a:pt x="5011" y="8215"/>
                  </a:lnTo>
                  <a:lnTo>
                    <a:pt x="4921" y="8186"/>
                  </a:lnTo>
                  <a:lnTo>
                    <a:pt x="4877" y="8173"/>
                  </a:lnTo>
                  <a:lnTo>
                    <a:pt x="4833" y="8159"/>
                  </a:lnTo>
                  <a:lnTo>
                    <a:pt x="4787" y="8147"/>
                  </a:lnTo>
                  <a:lnTo>
                    <a:pt x="4742" y="8135"/>
                  </a:lnTo>
                  <a:lnTo>
                    <a:pt x="4698" y="8124"/>
                  </a:lnTo>
                  <a:lnTo>
                    <a:pt x="4652" y="8113"/>
                  </a:lnTo>
                  <a:lnTo>
                    <a:pt x="4607" y="8103"/>
                  </a:lnTo>
                  <a:lnTo>
                    <a:pt x="4562" y="8093"/>
                  </a:lnTo>
                  <a:lnTo>
                    <a:pt x="4517" y="8084"/>
                  </a:lnTo>
                  <a:lnTo>
                    <a:pt x="4471" y="8075"/>
                  </a:lnTo>
                  <a:lnTo>
                    <a:pt x="4426" y="8067"/>
                  </a:lnTo>
                  <a:lnTo>
                    <a:pt x="4380" y="8059"/>
                  </a:lnTo>
                  <a:lnTo>
                    <a:pt x="4335" y="8052"/>
                  </a:lnTo>
                  <a:lnTo>
                    <a:pt x="4289" y="8045"/>
                  </a:lnTo>
                  <a:lnTo>
                    <a:pt x="4243" y="8039"/>
                  </a:lnTo>
                  <a:lnTo>
                    <a:pt x="4198" y="8034"/>
                  </a:lnTo>
                  <a:lnTo>
                    <a:pt x="4153" y="8029"/>
                  </a:lnTo>
                  <a:lnTo>
                    <a:pt x="4106" y="8025"/>
                  </a:lnTo>
                  <a:lnTo>
                    <a:pt x="4061" y="8021"/>
                  </a:lnTo>
                  <a:lnTo>
                    <a:pt x="4015" y="8018"/>
                  </a:lnTo>
                  <a:lnTo>
                    <a:pt x="3969" y="8015"/>
                  </a:lnTo>
                  <a:lnTo>
                    <a:pt x="3923" y="8013"/>
                  </a:lnTo>
                  <a:lnTo>
                    <a:pt x="3878" y="8011"/>
                  </a:lnTo>
                  <a:lnTo>
                    <a:pt x="3832" y="8011"/>
                  </a:lnTo>
                  <a:lnTo>
                    <a:pt x="7706" y="4116"/>
                  </a:lnTo>
                  <a:lnTo>
                    <a:pt x="7763" y="4063"/>
                  </a:lnTo>
                  <a:lnTo>
                    <a:pt x="7820" y="4012"/>
                  </a:lnTo>
                  <a:lnTo>
                    <a:pt x="7880" y="3964"/>
                  </a:lnTo>
                  <a:lnTo>
                    <a:pt x="7941" y="3918"/>
                  </a:lnTo>
                  <a:lnTo>
                    <a:pt x="8003" y="3875"/>
                  </a:lnTo>
                  <a:lnTo>
                    <a:pt x="8067" y="3834"/>
                  </a:lnTo>
                  <a:lnTo>
                    <a:pt x="8131" y="3796"/>
                  </a:lnTo>
                  <a:lnTo>
                    <a:pt x="8197" y="3760"/>
                  </a:lnTo>
                  <a:lnTo>
                    <a:pt x="8265" y="3725"/>
                  </a:lnTo>
                  <a:lnTo>
                    <a:pt x="8333" y="3694"/>
                  </a:lnTo>
                  <a:lnTo>
                    <a:pt x="8403" y="3665"/>
                  </a:lnTo>
                  <a:lnTo>
                    <a:pt x="8473" y="3638"/>
                  </a:lnTo>
                  <a:lnTo>
                    <a:pt x="8544" y="3613"/>
                  </a:lnTo>
                  <a:lnTo>
                    <a:pt x="8616" y="3591"/>
                  </a:lnTo>
                  <a:lnTo>
                    <a:pt x="8689" y="3571"/>
                  </a:lnTo>
                  <a:lnTo>
                    <a:pt x="8764" y="3554"/>
                  </a:lnTo>
                  <a:lnTo>
                    <a:pt x="8838" y="3539"/>
                  </a:lnTo>
                  <a:lnTo>
                    <a:pt x="8914" y="3526"/>
                  </a:lnTo>
                  <a:lnTo>
                    <a:pt x="8989" y="3515"/>
                  </a:lnTo>
                  <a:lnTo>
                    <a:pt x="9067" y="3507"/>
                  </a:lnTo>
                  <a:lnTo>
                    <a:pt x="9143" y="3501"/>
                  </a:lnTo>
                  <a:lnTo>
                    <a:pt x="9220" y="3497"/>
                  </a:lnTo>
                  <a:lnTo>
                    <a:pt x="9299" y="3496"/>
                  </a:lnTo>
                  <a:lnTo>
                    <a:pt x="9377" y="3497"/>
                  </a:lnTo>
                  <a:lnTo>
                    <a:pt x="9457" y="3500"/>
                  </a:lnTo>
                  <a:lnTo>
                    <a:pt x="9535" y="3505"/>
                  </a:lnTo>
                  <a:lnTo>
                    <a:pt x="9615" y="3512"/>
                  </a:lnTo>
                  <a:lnTo>
                    <a:pt x="9694" y="3522"/>
                  </a:lnTo>
                  <a:lnTo>
                    <a:pt x="9775" y="3534"/>
                  </a:lnTo>
                  <a:lnTo>
                    <a:pt x="9854" y="3548"/>
                  </a:lnTo>
                  <a:lnTo>
                    <a:pt x="9934" y="3565"/>
                  </a:lnTo>
                  <a:lnTo>
                    <a:pt x="10014" y="3583"/>
                  </a:lnTo>
                  <a:lnTo>
                    <a:pt x="5275" y="8311"/>
                  </a:lnTo>
                  <a:close/>
                  <a:moveTo>
                    <a:pt x="7441" y="10165"/>
                  </a:moveTo>
                  <a:lnTo>
                    <a:pt x="7406" y="10107"/>
                  </a:lnTo>
                  <a:lnTo>
                    <a:pt x="7369" y="10049"/>
                  </a:lnTo>
                  <a:lnTo>
                    <a:pt x="7332" y="9992"/>
                  </a:lnTo>
                  <a:lnTo>
                    <a:pt x="7295" y="9936"/>
                  </a:lnTo>
                  <a:lnTo>
                    <a:pt x="7257" y="9880"/>
                  </a:lnTo>
                  <a:lnTo>
                    <a:pt x="7218" y="9824"/>
                  </a:lnTo>
                  <a:lnTo>
                    <a:pt x="7177" y="9768"/>
                  </a:lnTo>
                  <a:lnTo>
                    <a:pt x="7137" y="9714"/>
                  </a:lnTo>
                  <a:lnTo>
                    <a:pt x="7096" y="9660"/>
                  </a:lnTo>
                  <a:lnTo>
                    <a:pt x="7053" y="9606"/>
                  </a:lnTo>
                  <a:lnTo>
                    <a:pt x="7009" y="9553"/>
                  </a:lnTo>
                  <a:lnTo>
                    <a:pt x="6965" y="9500"/>
                  </a:lnTo>
                  <a:lnTo>
                    <a:pt x="6919" y="9448"/>
                  </a:lnTo>
                  <a:lnTo>
                    <a:pt x="6873" y="9397"/>
                  </a:lnTo>
                  <a:lnTo>
                    <a:pt x="6824" y="9347"/>
                  </a:lnTo>
                  <a:lnTo>
                    <a:pt x="6776" y="9297"/>
                  </a:lnTo>
                  <a:lnTo>
                    <a:pt x="6718" y="9240"/>
                  </a:lnTo>
                  <a:lnTo>
                    <a:pt x="6658" y="9185"/>
                  </a:lnTo>
                  <a:lnTo>
                    <a:pt x="6598" y="9131"/>
                  </a:lnTo>
                  <a:lnTo>
                    <a:pt x="6538" y="9079"/>
                  </a:lnTo>
                  <a:lnTo>
                    <a:pt x="6475" y="9029"/>
                  </a:lnTo>
                  <a:lnTo>
                    <a:pt x="6412" y="8978"/>
                  </a:lnTo>
                  <a:lnTo>
                    <a:pt x="6348" y="8930"/>
                  </a:lnTo>
                  <a:lnTo>
                    <a:pt x="6284" y="8884"/>
                  </a:lnTo>
                  <a:lnTo>
                    <a:pt x="6220" y="8838"/>
                  </a:lnTo>
                  <a:lnTo>
                    <a:pt x="6153" y="8794"/>
                  </a:lnTo>
                  <a:lnTo>
                    <a:pt x="6087" y="8750"/>
                  </a:lnTo>
                  <a:lnTo>
                    <a:pt x="6021" y="8707"/>
                  </a:lnTo>
                  <a:lnTo>
                    <a:pt x="5953" y="8666"/>
                  </a:lnTo>
                  <a:lnTo>
                    <a:pt x="5885" y="8626"/>
                  </a:lnTo>
                  <a:lnTo>
                    <a:pt x="5816" y="8587"/>
                  </a:lnTo>
                  <a:lnTo>
                    <a:pt x="5748" y="8549"/>
                  </a:lnTo>
                  <a:lnTo>
                    <a:pt x="10542" y="3766"/>
                  </a:lnTo>
                  <a:lnTo>
                    <a:pt x="10613" y="3798"/>
                  </a:lnTo>
                  <a:lnTo>
                    <a:pt x="10683" y="3831"/>
                  </a:lnTo>
                  <a:lnTo>
                    <a:pt x="10752" y="3866"/>
                  </a:lnTo>
                  <a:lnTo>
                    <a:pt x="10821" y="3903"/>
                  </a:lnTo>
                  <a:lnTo>
                    <a:pt x="10889" y="3942"/>
                  </a:lnTo>
                  <a:lnTo>
                    <a:pt x="10958" y="3983"/>
                  </a:lnTo>
                  <a:lnTo>
                    <a:pt x="11025" y="4026"/>
                  </a:lnTo>
                  <a:lnTo>
                    <a:pt x="11091" y="4070"/>
                  </a:lnTo>
                  <a:lnTo>
                    <a:pt x="11157" y="4115"/>
                  </a:lnTo>
                  <a:lnTo>
                    <a:pt x="11222" y="4163"/>
                  </a:lnTo>
                  <a:lnTo>
                    <a:pt x="11287" y="4212"/>
                  </a:lnTo>
                  <a:lnTo>
                    <a:pt x="11351" y="4263"/>
                  </a:lnTo>
                  <a:lnTo>
                    <a:pt x="11413" y="4317"/>
                  </a:lnTo>
                  <a:lnTo>
                    <a:pt x="11476" y="4372"/>
                  </a:lnTo>
                  <a:lnTo>
                    <a:pt x="11537" y="4428"/>
                  </a:lnTo>
                  <a:lnTo>
                    <a:pt x="11597" y="4487"/>
                  </a:lnTo>
                  <a:lnTo>
                    <a:pt x="11648" y="4537"/>
                  </a:lnTo>
                  <a:lnTo>
                    <a:pt x="11696" y="4590"/>
                  </a:lnTo>
                  <a:lnTo>
                    <a:pt x="11743" y="4642"/>
                  </a:lnTo>
                  <a:lnTo>
                    <a:pt x="11790" y="4696"/>
                  </a:lnTo>
                  <a:lnTo>
                    <a:pt x="11835" y="4749"/>
                  </a:lnTo>
                  <a:lnTo>
                    <a:pt x="11878" y="4803"/>
                  </a:lnTo>
                  <a:lnTo>
                    <a:pt x="11919" y="4859"/>
                  </a:lnTo>
                  <a:lnTo>
                    <a:pt x="11961" y="4915"/>
                  </a:lnTo>
                  <a:lnTo>
                    <a:pt x="12000" y="4970"/>
                  </a:lnTo>
                  <a:lnTo>
                    <a:pt x="12038" y="5027"/>
                  </a:lnTo>
                  <a:lnTo>
                    <a:pt x="12075" y="5084"/>
                  </a:lnTo>
                  <a:lnTo>
                    <a:pt x="12110" y="5142"/>
                  </a:lnTo>
                  <a:lnTo>
                    <a:pt x="12145" y="5200"/>
                  </a:lnTo>
                  <a:lnTo>
                    <a:pt x="12178" y="5258"/>
                  </a:lnTo>
                  <a:lnTo>
                    <a:pt x="12210" y="5316"/>
                  </a:lnTo>
                  <a:lnTo>
                    <a:pt x="12241" y="5375"/>
                  </a:lnTo>
                  <a:lnTo>
                    <a:pt x="7441" y="10165"/>
                  </a:lnTo>
                  <a:close/>
                  <a:moveTo>
                    <a:pt x="8055" y="11941"/>
                  </a:moveTo>
                  <a:lnTo>
                    <a:pt x="8045" y="11856"/>
                  </a:lnTo>
                  <a:lnTo>
                    <a:pt x="8035" y="11772"/>
                  </a:lnTo>
                  <a:lnTo>
                    <a:pt x="8022" y="11687"/>
                  </a:lnTo>
                  <a:lnTo>
                    <a:pt x="8008" y="11603"/>
                  </a:lnTo>
                  <a:lnTo>
                    <a:pt x="7991" y="11519"/>
                  </a:lnTo>
                  <a:lnTo>
                    <a:pt x="7973" y="11435"/>
                  </a:lnTo>
                  <a:lnTo>
                    <a:pt x="7953" y="11352"/>
                  </a:lnTo>
                  <a:lnTo>
                    <a:pt x="7931" y="11270"/>
                  </a:lnTo>
                  <a:lnTo>
                    <a:pt x="7907" y="11187"/>
                  </a:lnTo>
                  <a:lnTo>
                    <a:pt x="7882" y="11105"/>
                  </a:lnTo>
                  <a:lnTo>
                    <a:pt x="7854" y="11024"/>
                  </a:lnTo>
                  <a:lnTo>
                    <a:pt x="7825" y="10943"/>
                  </a:lnTo>
                  <a:lnTo>
                    <a:pt x="7795" y="10861"/>
                  </a:lnTo>
                  <a:lnTo>
                    <a:pt x="7763" y="10781"/>
                  </a:lnTo>
                  <a:lnTo>
                    <a:pt x="7729" y="10702"/>
                  </a:lnTo>
                  <a:lnTo>
                    <a:pt x="7693" y="10622"/>
                  </a:lnTo>
                  <a:lnTo>
                    <a:pt x="12448" y="5878"/>
                  </a:lnTo>
                  <a:lnTo>
                    <a:pt x="12475" y="5965"/>
                  </a:lnTo>
                  <a:lnTo>
                    <a:pt x="12499" y="6051"/>
                  </a:lnTo>
                  <a:lnTo>
                    <a:pt x="12519" y="6137"/>
                  </a:lnTo>
                  <a:lnTo>
                    <a:pt x="12537" y="6223"/>
                  </a:lnTo>
                  <a:lnTo>
                    <a:pt x="12553" y="6310"/>
                  </a:lnTo>
                  <a:lnTo>
                    <a:pt x="12566" y="6396"/>
                  </a:lnTo>
                  <a:lnTo>
                    <a:pt x="12576" y="6482"/>
                  </a:lnTo>
                  <a:lnTo>
                    <a:pt x="12583" y="6568"/>
                  </a:lnTo>
                  <a:lnTo>
                    <a:pt x="12588" y="6654"/>
                  </a:lnTo>
                  <a:lnTo>
                    <a:pt x="12591" y="6739"/>
                  </a:lnTo>
                  <a:lnTo>
                    <a:pt x="12591" y="6824"/>
                  </a:lnTo>
                  <a:lnTo>
                    <a:pt x="12588" y="6908"/>
                  </a:lnTo>
                  <a:lnTo>
                    <a:pt x="12582" y="6992"/>
                  </a:lnTo>
                  <a:lnTo>
                    <a:pt x="12574" y="7075"/>
                  </a:lnTo>
                  <a:lnTo>
                    <a:pt x="12563" y="7158"/>
                  </a:lnTo>
                  <a:lnTo>
                    <a:pt x="12549" y="7239"/>
                  </a:lnTo>
                  <a:lnTo>
                    <a:pt x="12533" y="7320"/>
                  </a:lnTo>
                  <a:lnTo>
                    <a:pt x="12513" y="7400"/>
                  </a:lnTo>
                  <a:lnTo>
                    <a:pt x="12492" y="7479"/>
                  </a:lnTo>
                  <a:lnTo>
                    <a:pt x="12467" y="7557"/>
                  </a:lnTo>
                  <a:lnTo>
                    <a:pt x="12439" y="7635"/>
                  </a:lnTo>
                  <a:lnTo>
                    <a:pt x="12409" y="7710"/>
                  </a:lnTo>
                  <a:lnTo>
                    <a:pt x="12376" y="7784"/>
                  </a:lnTo>
                  <a:lnTo>
                    <a:pt x="12340" y="7857"/>
                  </a:lnTo>
                  <a:lnTo>
                    <a:pt x="12302" y="7930"/>
                  </a:lnTo>
                  <a:lnTo>
                    <a:pt x="12260" y="8000"/>
                  </a:lnTo>
                  <a:lnTo>
                    <a:pt x="12216" y="8069"/>
                  </a:lnTo>
                  <a:lnTo>
                    <a:pt x="12169" y="8136"/>
                  </a:lnTo>
                  <a:lnTo>
                    <a:pt x="12120" y="8203"/>
                  </a:lnTo>
                  <a:lnTo>
                    <a:pt x="12066" y="8267"/>
                  </a:lnTo>
                  <a:lnTo>
                    <a:pt x="12011" y="8329"/>
                  </a:lnTo>
                  <a:lnTo>
                    <a:pt x="11953" y="8389"/>
                  </a:lnTo>
                  <a:lnTo>
                    <a:pt x="11947" y="8394"/>
                  </a:lnTo>
                  <a:lnTo>
                    <a:pt x="11940" y="8400"/>
                  </a:lnTo>
                  <a:lnTo>
                    <a:pt x="11948" y="8406"/>
                  </a:lnTo>
                  <a:lnTo>
                    <a:pt x="8060" y="12314"/>
                  </a:lnTo>
                  <a:lnTo>
                    <a:pt x="8061" y="12268"/>
                  </a:lnTo>
                  <a:lnTo>
                    <a:pt x="8061" y="12222"/>
                  </a:lnTo>
                  <a:lnTo>
                    <a:pt x="8062" y="12175"/>
                  </a:lnTo>
                  <a:lnTo>
                    <a:pt x="8062" y="12129"/>
                  </a:lnTo>
                  <a:lnTo>
                    <a:pt x="8062" y="12082"/>
                  </a:lnTo>
                  <a:lnTo>
                    <a:pt x="8061" y="12035"/>
                  </a:lnTo>
                  <a:lnTo>
                    <a:pt x="8059" y="11988"/>
                  </a:lnTo>
                  <a:lnTo>
                    <a:pt x="8055" y="11941"/>
                  </a:lnTo>
                  <a:close/>
                  <a:moveTo>
                    <a:pt x="14785" y="1295"/>
                  </a:moveTo>
                  <a:lnTo>
                    <a:pt x="14707" y="1218"/>
                  </a:lnTo>
                  <a:lnTo>
                    <a:pt x="14626" y="1144"/>
                  </a:lnTo>
                  <a:lnTo>
                    <a:pt x="14546" y="1072"/>
                  </a:lnTo>
                  <a:lnTo>
                    <a:pt x="14463" y="1003"/>
                  </a:lnTo>
                  <a:lnTo>
                    <a:pt x="14379" y="934"/>
                  </a:lnTo>
                  <a:lnTo>
                    <a:pt x="14294" y="869"/>
                  </a:lnTo>
                  <a:lnTo>
                    <a:pt x="14208" y="806"/>
                  </a:lnTo>
                  <a:lnTo>
                    <a:pt x="14119" y="745"/>
                  </a:lnTo>
                  <a:lnTo>
                    <a:pt x="14031" y="685"/>
                  </a:lnTo>
                  <a:lnTo>
                    <a:pt x="13941" y="629"/>
                  </a:lnTo>
                  <a:lnTo>
                    <a:pt x="13851" y="575"/>
                  </a:lnTo>
                  <a:lnTo>
                    <a:pt x="13758" y="523"/>
                  </a:lnTo>
                  <a:lnTo>
                    <a:pt x="13666" y="473"/>
                  </a:lnTo>
                  <a:lnTo>
                    <a:pt x="13572" y="426"/>
                  </a:lnTo>
                  <a:lnTo>
                    <a:pt x="13478" y="380"/>
                  </a:lnTo>
                  <a:lnTo>
                    <a:pt x="13382" y="338"/>
                  </a:lnTo>
                  <a:lnTo>
                    <a:pt x="13286" y="298"/>
                  </a:lnTo>
                  <a:lnTo>
                    <a:pt x="13190" y="260"/>
                  </a:lnTo>
                  <a:lnTo>
                    <a:pt x="13092" y="225"/>
                  </a:lnTo>
                  <a:lnTo>
                    <a:pt x="12995" y="193"/>
                  </a:lnTo>
                  <a:lnTo>
                    <a:pt x="12896" y="162"/>
                  </a:lnTo>
                  <a:lnTo>
                    <a:pt x="12798" y="134"/>
                  </a:lnTo>
                  <a:lnTo>
                    <a:pt x="12698" y="109"/>
                  </a:lnTo>
                  <a:lnTo>
                    <a:pt x="12598" y="86"/>
                  </a:lnTo>
                  <a:lnTo>
                    <a:pt x="12499" y="66"/>
                  </a:lnTo>
                  <a:lnTo>
                    <a:pt x="12398" y="49"/>
                  </a:lnTo>
                  <a:lnTo>
                    <a:pt x="12299" y="34"/>
                  </a:lnTo>
                  <a:lnTo>
                    <a:pt x="12198" y="22"/>
                  </a:lnTo>
                  <a:lnTo>
                    <a:pt x="12097" y="12"/>
                  </a:lnTo>
                  <a:lnTo>
                    <a:pt x="11996" y="5"/>
                  </a:lnTo>
                  <a:lnTo>
                    <a:pt x="11895" y="1"/>
                  </a:lnTo>
                  <a:lnTo>
                    <a:pt x="11795" y="0"/>
                  </a:lnTo>
                  <a:lnTo>
                    <a:pt x="11710" y="1"/>
                  </a:lnTo>
                  <a:lnTo>
                    <a:pt x="11626" y="4"/>
                  </a:lnTo>
                  <a:lnTo>
                    <a:pt x="11542" y="9"/>
                  </a:lnTo>
                  <a:lnTo>
                    <a:pt x="11459" y="16"/>
                  </a:lnTo>
                  <a:lnTo>
                    <a:pt x="11376" y="24"/>
                  </a:lnTo>
                  <a:lnTo>
                    <a:pt x="11294" y="35"/>
                  </a:lnTo>
                  <a:lnTo>
                    <a:pt x="11212" y="47"/>
                  </a:lnTo>
                  <a:lnTo>
                    <a:pt x="11131" y="62"/>
                  </a:lnTo>
                  <a:lnTo>
                    <a:pt x="11051" y="78"/>
                  </a:lnTo>
                  <a:lnTo>
                    <a:pt x="10971" y="96"/>
                  </a:lnTo>
                  <a:lnTo>
                    <a:pt x="10892" y="116"/>
                  </a:lnTo>
                  <a:lnTo>
                    <a:pt x="10814" y="139"/>
                  </a:lnTo>
                  <a:lnTo>
                    <a:pt x="10736" y="162"/>
                  </a:lnTo>
                  <a:lnTo>
                    <a:pt x="10660" y="187"/>
                  </a:lnTo>
                  <a:lnTo>
                    <a:pt x="10584" y="215"/>
                  </a:lnTo>
                  <a:lnTo>
                    <a:pt x="10509" y="243"/>
                  </a:lnTo>
                  <a:lnTo>
                    <a:pt x="10435" y="274"/>
                  </a:lnTo>
                  <a:lnTo>
                    <a:pt x="10361" y="307"/>
                  </a:lnTo>
                  <a:lnTo>
                    <a:pt x="10289" y="341"/>
                  </a:lnTo>
                  <a:lnTo>
                    <a:pt x="10217" y="377"/>
                  </a:lnTo>
                  <a:lnTo>
                    <a:pt x="10147" y="416"/>
                  </a:lnTo>
                  <a:lnTo>
                    <a:pt x="10078" y="455"/>
                  </a:lnTo>
                  <a:lnTo>
                    <a:pt x="10010" y="496"/>
                  </a:lnTo>
                  <a:lnTo>
                    <a:pt x="9943" y="539"/>
                  </a:lnTo>
                  <a:lnTo>
                    <a:pt x="9876" y="583"/>
                  </a:lnTo>
                  <a:lnTo>
                    <a:pt x="9811" y="629"/>
                  </a:lnTo>
                  <a:lnTo>
                    <a:pt x="9748" y="677"/>
                  </a:lnTo>
                  <a:lnTo>
                    <a:pt x="9684" y="727"/>
                  </a:lnTo>
                  <a:lnTo>
                    <a:pt x="9623" y="778"/>
                  </a:lnTo>
                  <a:lnTo>
                    <a:pt x="9562" y="831"/>
                  </a:lnTo>
                  <a:lnTo>
                    <a:pt x="9503" y="885"/>
                  </a:lnTo>
                  <a:lnTo>
                    <a:pt x="9446" y="941"/>
                  </a:lnTo>
                  <a:lnTo>
                    <a:pt x="6997" y="3403"/>
                  </a:lnTo>
                  <a:lnTo>
                    <a:pt x="6986" y="3412"/>
                  </a:lnTo>
                  <a:lnTo>
                    <a:pt x="6974" y="3422"/>
                  </a:lnTo>
                  <a:lnTo>
                    <a:pt x="6969" y="3428"/>
                  </a:lnTo>
                  <a:lnTo>
                    <a:pt x="6964" y="3435"/>
                  </a:lnTo>
                  <a:lnTo>
                    <a:pt x="6965" y="3436"/>
                  </a:lnTo>
                  <a:lnTo>
                    <a:pt x="1769" y="8659"/>
                  </a:lnTo>
                  <a:lnTo>
                    <a:pt x="1747" y="8681"/>
                  </a:lnTo>
                  <a:lnTo>
                    <a:pt x="1725" y="8704"/>
                  </a:lnTo>
                  <a:lnTo>
                    <a:pt x="1704" y="8728"/>
                  </a:lnTo>
                  <a:lnTo>
                    <a:pt x="1683" y="8751"/>
                  </a:lnTo>
                  <a:lnTo>
                    <a:pt x="1642" y="8799"/>
                  </a:lnTo>
                  <a:lnTo>
                    <a:pt x="1602" y="8847"/>
                  </a:lnTo>
                  <a:lnTo>
                    <a:pt x="1564" y="8897"/>
                  </a:lnTo>
                  <a:lnTo>
                    <a:pt x="1528" y="8949"/>
                  </a:lnTo>
                  <a:lnTo>
                    <a:pt x="1494" y="9002"/>
                  </a:lnTo>
                  <a:lnTo>
                    <a:pt x="1461" y="9055"/>
                  </a:lnTo>
                  <a:lnTo>
                    <a:pt x="1429" y="9109"/>
                  </a:lnTo>
                  <a:lnTo>
                    <a:pt x="1400" y="9165"/>
                  </a:lnTo>
                  <a:lnTo>
                    <a:pt x="1372" y="9221"/>
                  </a:lnTo>
                  <a:lnTo>
                    <a:pt x="1347" y="9279"/>
                  </a:lnTo>
                  <a:lnTo>
                    <a:pt x="1322" y="9336"/>
                  </a:lnTo>
                  <a:lnTo>
                    <a:pt x="1300" y="9395"/>
                  </a:lnTo>
                  <a:lnTo>
                    <a:pt x="1279" y="9454"/>
                  </a:lnTo>
                  <a:lnTo>
                    <a:pt x="1260" y="9514"/>
                  </a:lnTo>
                  <a:lnTo>
                    <a:pt x="78" y="13784"/>
                  </a:lnTo>
                  <a:lnTo>
                    <a:pt x="74" y="13803"/>
                  </a:lnTo>
                  <a:lnTo>
                    <a:pt x="65" y="13846"/>
                  </a:lnTo>
                  <a:lnTo>
                    <a:pt x="53" y="13908"/>
                  </a:lnTo>
                  <a:lnTo>
                    <a:pt x="38" y="13984"/>
                  </a:lnTo>
                  <a:lnTo>
                    <a:pt x="31" y="14025"/>
                  </a:lnTo>
                  <a:lnTo>
                    <a:pt x="24" y="14066"/>
                  </a:lnTo>
                  <a:lnTo>
                    <a:pt x="18" y="14109"/>
                  </a:lnTo>
                  <a:lnTo>
                    <a:pt x="12" y="14151"/>
                  </a:lnTo>
                  <a:lnTo>
                    <a:pt x="7" y="14192"/>
                  </a:lnTo>
                  <a:lnTo>
                    <a:pt x="3" y="14231"/>
                  </a:lnTo>
                  <a:lnTo>
                    <a:pt x="1" y="14268"/>
                  </a:lnTo>
                  <a:lnTo>
                    <a:pt x="0" y="14302"/>
                  </a:lnTo>
                  <a:lnTo>
                    <a:pt x="2" y="14392"/>
                  </a:lnTo>
                  <a:lnTo>
                    <a:pt x="9" y="14481"/>
                  </a:lnTo>
                  <a:lnTo>
                    <a:pt x="20" y="14569"/>
                  </a:lnTo>
                  <a:lnTo>
                    <a:pt x="36" y="14656"/>
                  </a:lnTo>
                  <a:lnTo>
                    <a:pt x="55" y="14740"/>
                  </a:lnTo>
                  <a:lnTo>
                    <a:pt x="79" y="14824"/>
                  </a:lnTo>
                  <a:lnTo>
                    <a:pt x="107" y="14906"/>
                  </a:lnTo>
                  <a:lnTo>
                    <a:pt x="139" y="14985"/>
                  </a:lnTo>
                  <a:lnTo>
                    <a:pt x="174" y="15063"/>
                  </a:lnTo>
                  <a:lnTo>
                    <a:pt x="212" y="15139"/>
                  </a:lnTo>
                  <a:lnTo>
                    <a:pt x="256" y="15212"/>
                  </a:lnTo>
                  <a:lnTo>
                    <a:pt x="301" y="15283"/>
                  </a:lnTo>
                  <a:lnTo>
                    <a:pt x="350" y="15352"/>
                  </a:lnTo>
                  <a:lnTo>
                    <a:pt x="402" y="15419"/>
                  </a:lnTo>
                  <a:lnTo>
                    <a:pt x="458" y="15483"/>
                  </a:lnTo>
                  <a:lnTo>
                    <a:pt x="516" y="15543"/>
                  </a:lnTo>
                  <a:lnTo>
                    <a:pt x="577" y="15601"/>
                  </a:lnTo>
                  <a:lnTo>
                    <a:pt x="642" y="15657"/>
                  </a:lnTo>
                  <a:lnTo>
                    <a:pt x="708" y="15709"/>
                  </a:lnTo>
                  <a:lnTo>
                    <a:pt x="778" y="15758"/>
                  </a:lnTo>
                  <a:lnTo>
                    <a:pt x="849" y="15804"/>
                  </a:lnTo>
                  <a:lnTo>
                    <a:pt x="922" y="15846"/>
                  </a:lnTo>
                  <a:lnTo>
                    <a:pt x="999" y="15884"/>
                  </a:lnTo>
                  <a:lnTo>
                    <a:pt x="1076" y="15919"/>
                  </a:lnTo>
                  <a:lnTo>
                    <a:pt x="1157" y="15952"/>
                  </a:lnTo>
                  <a:lnTo>
                    <a:pt x="1238" y="15979"/>
                  </a:lnTo>
                  <a:lnTo>
                    <a:pt x="1323" y="16003"/>
                  </a:lnTo>
                  <a:lnTo>
                    <a:pt x="1407" y="16022"/>
                  </a:lnTo>
                  <a:lnTo>
                    <a:pt x="1495" y="16038"/>
                  </a:lnTo>
                  <a:lnTo>
                    <a:pt x="1582" y="16049"/>
                  </a:lnTo>
                  <a:lnTo>
                    <a:pt x="1672" y="16056"/>
                  </a:lnTo>
                  <a:lnTo>
                    <a:pt x="1763" y="16058"/>
                  </a:lnTo>
                  <a:lnTo>
                    <a:pt x="1801" y="16057"/>
                  </a:lnTo>
                  <a:lnTo>
                    <a:pt x="1843" y="16054"/>
                  </a:lnTo>
                  <a:lnTo>
                    <a:pt x="1887" y="16049"/>
                  </a:lnTo>
                  <a:lnTo>
                    <a:pt x="1933" y="16044"/>
                  </a:lnTo>
                  <a:lnTo>
                    <a:pt x="1981" y="16037"/>
                  </a:lnTo>
                  <a:lnTo>
                    <a:pt x="2028" y="16029"/>
                  </a:lnTo>
                  <a:lnTo>
                    <a:pt x="2075" y="16020"/>
                  </a:lnTo>
                  <a:lnTo>
                    <a:pt x="2122" y="16012"/>
                  </a:lnTo>
                  <a:lnTo>
                    <a:pt x="2205" y="15995"/>
                  </a:lnTo>
                  <a:lnTo>
                    <a:pt x="2275" y="15980"/>
                  </a:lnTo>
                  <a:lnTo>
                    <a:pt x="2324" y="15969"/>
                  </a:lnTo>
                  <a:lnTo>
                    <a:pt x="2345" y="15964"/>
                  </a:lnTo>
                  <a:lnTo>
                    <a:pt x="6609" y="14846"/>
                  </a:lnTo>
                  <a:lnTo>
                    <a:pt x="6669" y="14827"/>
                  </a:lnTo>
                  <a:lnTo>
                    <a:pt x="6729" y="14805"/>
                  </a:lnTo>
                  <a:lnTo>
                    <a:pt x="6788" y="14783"/>
                  </a:lnTo>
                  <a:lnTo>
                    <a:pt x="6845" y="14759"/>
                  </a:lnTo>
                  <a:lnTo>
                    <a:pt x="6903" y="14733"/>
                  </a:lnTo>
                  <a:lnTo>
                    <a:pt x="6960" y="14705"/>
                  </a:lnTo>
                  <a:lnTo>
                    <a:pt x="7015" y="14675"/>
                  </a:lnTo>
                  <a:lnTo>
                    <a:pt x="7070" y="14644"/>
                  </a:lnTo>
                  <a:lnTo>
                    <a:pt x="7123" y="14612"/>
                  </a:lnTo>
                  <a:lnTo>
                    <a:pt x="7175" y="14577"/>
                  </a:lnTo>
                  <a:lnTo>
                    <a:pt x="7227" y="14541"/>
                  </a:lnTo>
                  <a:lnTo>
                    <a:pt x="7277" y="14502"/>
                  </a:lnTo>
                  <a:lnTo>
                    <a:pt x="7326" y="14463"/>
                  </a:lnTo>
                  <a:lnTo>
                    <a:pt x="7375" y="14422"/>
                  </a:lnTo>
                  <a:lnTo>
                    <a:pt x="7421" y="14380"/>
                  </a:lnTo>
                  <a:lnTo>
                    <a:pt x="7466" y="14336"/>
                  </a:lnTo>
                  <a:lnTo>
                    <a:pt x="15143" y="6617"/>
                  </a:lnTo>
                  <a:lnTo>
                    <a:pt x="15270" y="6483"/>
                  </a:lnTo>
                  <a:lnTo>
                    <a:pt x="15387" y="6344"/>
                  </a:lnTo>
                  <a:lnTo>
                    <a:pt x="15495" y="6200"/>
                  </a:lnTo>
                  <a:lnTo>
                    <a:pt x="15594" y="6053"/>
                  </a:lnTo>
                  <a:lnTo>
                    <a:pt x="15685" y="5900"/>
                  </a:lnTo>
                  <a:lnTo>
                    <a:pt x="15766" y="5744"/>
                  </a:lnTo>
                  <a:lnTo>
                    <a:pt x="15837" y="5584"/>
                  </a:lnTo>
                  <a:lnTo>
                    <a:pt x="15901" y="5421"/>
                  </a:lnTo>
                  <a:lnTo>
                    <a:pt x="15955" y="5254"/>
                  </a:lnTo>
                  <a:lnTo>
                    <a:pt x="16000" y="5084"/>
                  </a:lnTo>
                  <a:lnTo>
                    <a:pt x="16037" y="4913"/>
                  </a:lnTo>
                  <a:lnTo>
                    <a:pt x="16065" y="4739"/>
                  </a:lnTo>
                  <a:lnTo>
                    <a:pt x="16083" y="4563"/>
                  </a:lnTo>
                  <a:lnTo>
                    <a:pt x="16093" y="4387"/>
                  </a:lnTo>
                  <a:lnTo>
                    <a:pt x="16094" y="4208"/>
                  </a:lnTo>
                  <a:lnTo>
                    <a:pt x="16087" y="4030"/>
                  </a:lnTo>
                  <a:lnTo>
                    <a:pt x="16070" y="3850"/>
                  </a:lnTo>
                  <a:lnTo>
                    <a:pt x="16045" y="3669"/>
                  </a:lnTo>
                  <a:lnTo>
                    <a:pt x="16011" y="3490"/>
                  </a:lnTo>
                  <a:lnTo>
                    <a:pt x="15968" y="3310"/>
                  </a:lnTo>
                  <a:lnTo>
                    <a:pt x="15917" y="3131"/>
                  </a:lnTo>
                  <a:lnTo>
                    <a:pt x="15857" y="2953"/>
                  </a:lnTo>
                  <a:lnTo>
                    <a:pt x="15788" y="2776"/>
                  </a:lnTo>
                  <a:lnTo>
                    <a:pt x="15711" y="2601"/>
                  </a:lnTo>
                  <a:lnTo>
                    <a:pt x="15625" y="2428"/>
                  </a:lnTo>
                  <a:lnTo>
                    <a:pt x="15531" y="2257"/>
                  </a:lnTo>
                  <a:lnTo>
                    <a:pt x="15428" y="2089"/>
                  </a:lnTo>
                  <a:lnTo>
                    <a:pt x="15316" y="1923"/>
                  </a:lnTo>
                  <a:lnTo>
                    <a:pt x="15196" y="1760"/>
                  </a:lnTo>
                  <a:lnTo>
                    <a:pt x="15067" y="1602"/>
                  </a:lnTo>
                  <a:lnTo>
                    <a:pt x="14930" y="1446"/>
                  </a:lnTo>
                  <a:lnTo>
                    <a:pt x="14785" y="129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95" name="ïş1ïḋè">
              <a:extLst>
                <a:ext uri="{FF2B5EF4-FFF2-40B4-BE49-F238E27FC236}">
                  <a16:creationId xmlns:a16="http://schemas.microsoft.com/office/drawing/2014/main" id="{B5ACF620-3DC8-4643-AA6A-FAEF5D3BA8F7}"/>
                </a:ext>
              </a:extLst>
            </p:cNvPr>
            <p:cNvSpPr/>
            <p:nvPr/>
          </p:nvSpPr>
          <p:spPr bwMode="auto">
            <a:xfrm>
              <a:off x="6441312" y="2900034"/>
              <a:ext cx="300105" cy="199152"/>
            </a:xfrm>
            <a:custGeom>
              <a:avLst/>
              <a:gdLst>
                <a:gd name="T0" fmla="*/ 503 w 12071"/>
                <a:gd name="T1" fmla="*/ 502 h 8033"/>
                <a:gd name="T2" fmla="*/ 11568 w 12071"/>
                <a:gd name="T3" fmla="*/ 0 h 8033"/>
                <a:gd name="T4" fmla="*/ 452 w 12071"/>
                <a:gd name="T5" fmla="*/ 5 h 8033"/>
                <a:gd name="T6" fmla="*/ 377 w 12071"/>
                <a:gd name="T7" fmla="*/ 18 h 8033"/>
                <a:gd name="T8" fmla="*/ 307 w 12071"/>
                <a:gd name="T9" fmla="*/ 41 h 8033"/>
                <a:gd name="T10" fmla="*/ 242 w 12071"/>
                <a:gd name="T11" fmla="*/ 74 h 8033"/>
                <a:gd name="T12" fmla="*/ 183 w 12071"/>
                <a:gd name="T13" fmla="*/ 116 h 8033"/>
                <a:gd name="T14" fmla="*/ 131 w 12071"/>
                <a:gd name="T15" fmla="*/ 166 h 8033"/>
                <a:gd name="T16" fmla="*/ 85 w 12071"/>
                <a:gd name="T17" fmla="*/ 222 h 8033"/>
                <a:gd name="T18" fmla="*/ 49 w 12071"/>
                <a:gd name="T19" fmla="*/ 284 h 8033"/>
                <a:gd name="T20" fmla="*/ 22 w 12071"/>
                <a:gd name="T21" fmla="*/ 353 h 8033"/>
                <a:gd name="T22" fmla="*/ 6 w 12071"/>
                <a:gd name="T23" fmla="*/ 426 h 8033"/>
                <a:gd name="T24" fmla="*/ 0 w 12071"/>
                <a:gd name="T25" fmla="*/ 502 h 8033"/>
                <a:gd name="T26" fmla="*/ 3 w 12071"/>
                <a:gd name="T27" fmla="*/ 7582 h 8033"/>
                <a:gd name="T28" fmla="*/ 16 w 12071"/>
                <a:gd name="T29" fmla="*/ 7656 h 8033"/>
                <a:gd name="T30" fmla="*/ 39 w 12071"/>
                <a:gd name="T31" fmla="*/ 7726 h 8033"/>
                <a:gd name="T32" fmla="*/ 72 w 12071"/>
                <a:gd name="T33" fmla="*/ 7792 h 8033"/>
                <a:gd name="T34" fmla="*/ 115 w 12071"/>
                <a:gd name="T35" fmla="*/ 7850 h 8033"/>
                <a:gd name="T36" fmla="*/ 165 w 12071"/>
                <a:gd name="T37" fmla="*/ 7902 h 8033"/>
                <a:gd name="T38" fmla="*/ 221 w 12071"/>
                <a:gd name="T39" fmla="*/ 7947 h 8033"/>
                <a:gd name="T40" fmla="*/ 285 w 12071"/>
                <a:gd name="T41" fmla="*/ 7983 h 8033"/>
                <a:gd name="T42" fmla="*/ 353 w 12071"/>
                <a:gd name="T43" fmla="*/ 8011 h 8033"/>
                <a:gd name="T44" fmla="*/ 426 w 12071"/>
                <a:gd name="T45" fmla="*/ 8027 h 8033"/>
                <a:gd name="T46" fmla="*/ 503 w 12071"/>
                <a:gd name="T47" fmla="*/ 8033 h 8033"/>
                <a:gd name="T48" fmla="*/ 11619 w 12071"/>
                <a:gd name="T49" fmla="*/ 8030 h 8033"/>
                <a:gd name="T50" fmla="*/ 11694 w 12071"/>
                <a:gd name="T51" fmla="*/ 8017 h 8033"/>
                <a:gd name="T52" fmla="*/ 11764 w 12071"/>
                <a:gd name="T53" fmla="*/ 7994 h 8033"/>
                <a:gd name="T54" fmla="*/ 11829 w 12071"/>
                <a:gd name="T55" fmla="*/ 7960 h 8033"/>
                <a:gd name="T56" fmla="*/ 11888 w 12071"/>
                <a:gd name="T57" fmla="*/ 7918 h 8033"/>
                <a:gd name="T58" fmla="*/ 11940 w 12071"/>
                <a:gd name="T59" fmla="*/ 7868 h 8033"/>
                <a:gd name="T60" fmla="*/ 11986 w 12071"/>
                <a:gd name="T61" fmla="*/ 7812 h 8033"/>
                <a:gd name="T62" fmla="*/ 12022 w 12071"/>
                <a:gd name="T63" fmla="*/ 7749 h 8033"/>
                <a:gd name="T64" fmla="*/ 12049 w 12071"/>
                <a:gd name="T65" fmla="*/ 7680 h 8033"/>
                <a:gd name="T66" fmla="*/ 12065 w 12071"/>
                <a:gd name="T67" fmla="*/ 7607 h 8033"/>
                <a:gd name="T68" fmla="*/ 12071 w 12071"/>
                <a:gd name="T69" fmla="*/ 7531 h 8033"/>
                <a:gd name="T70" fmla="*/ 12068 w 12071"/>
                <a:gd name="T71" fmla="*/ 451 h 8033"/>
                <a:gd name="T72" fmla="*/ 12055 w 12071"/>
                <a:gd name="T73" fmla="*/ 377 h 8033"/>
                <a:gd name="T74" fmla="*/ 12032 w 12071"/>
                <a:gd name="T75" fmla="*/ 306 h 8033"/>
                <a:gd name="T76" fmla="*/ 11999 w 12071"/>
                <a:gd name="T77" fmla="*/ 242 h 8033"/>
                <a:gd name="T78" fmla="*/ 11956 w 12071"/>
                <a:gd name="T79" fmla="*/ 183 h 8033"/>
                <a:gd name="T80" fmla="*/ 11906 w 12071"/>
                <a:gd name="T81" fmla="*/ 131 h 8033"/>
                <a:gd name="T82" fmla="*/ 11850 w 12071"/>
                <a:gd name="T83" fmla="*/ 85 h 8033"/>
                <a:gd name="T84" fmla="*/ 11786 w 12071"/>
                <a:gd name="T85" fmla="*/ 49 h 8033"/>
                <a:gd name="T86" fmla="*/ 11718 w 12071"/>
                <a:gd name="T87" fmla="*/ 22 h 8033"/>
                <a:gd name="T88" fmla="*/ 11645 w 12071"/>
                <a:gd name="T89" fmla="*/ 6 h 8033"/>
                <a:gd name="T90" fmla="*/ 11568 w 12071"/>
                <a:gd name="T91" fmla="*/ 0 h 8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071" h="8033">
                  <a:moveTo>
                    <a:pt x="11568" y="7533"/>
                  </a:moveTo>
                  <a:lnTo>
                    <a:pt x="503" y="7533"/>
                  </a:lnTo>
                  <a:lnTo>
                    <a:pt x="503" y="502"/>
                  </a:lnTo>
                  <a:lnTo>
                    <a:pt x="11568" y="502"/>
                  </a:lnTo>
                  <a:lnTo>
                    <a:pt x="11568" y="7533"/>
                  </a:lnTo>
                  <a:close/>
                  <a:moveTo>
                    <a:pt x="11568" y="0"/>
                  </a:moveTo>
                  <a:lnTo>
                    <a:pt x="503" y="2"/>
                  </a:lnTo>
                  <a:lnTo>
                    <a:pt x="477" y="3"/>
                  </a:lnTo>
                  <a:lnTo>
                    <a:pt x="452" y="5"/>
                  </a:lnTo>
                  <a:lnTo>
                    <a:pt x="426" y="8"/>
                  </a:lnTo>
                  <a:lnTo>
                    <a:pt x="401" y="12"/>
                  </a:lnTo>
                  <a:lnTo>
                    <a:pt x="377" y="18"/>
                  </a:lnTo>
                  <a:lnTo>
                    <a:pt x="353" y="24"/>
                  </a:lnTo>
                  <a:lnTo>
                    <a:pt x="330" y="32"/>
                  </a:lnTo>
                  <a:lnTo>
                    <a:pt x="307" y="41"/>
                  </a:lnTo>
                  <a:lnTo>
                    <a:pt x="285" y="51"/>
                  </a:lnTo>
                  <a:lnTo>
                    <a:pt x="263" y="62"/>
                  </a:lnTo>
                  <a:lnTo>
                    <a:pt x="242" y="74"/>
                  </a:lnTo>
                  <a:lnTo>
                    <a:pt x="221" y="87"/>
                  </a:lnTo>
                  <a:lnTo>
                    <a:pt x="202" y="102"/>
                  </a:lnTo>
                  <a:lnTo>
                    <a:pt x="183" y="116"/>
                  </a:lnTo>
                  <a:lnTo>
                    <a:pt x="165" y="132"/>
                  </a:lnTo>
                  <a:lnTo>
                    <a:pt x="147" y="148"/>
                  </a:lnTo>
                  <a:lnTo>
                    <a:pt x="131" y="166"/>
                  </a:lnTo>
                  <a:lnTo>
                    <a:pt x="115" y="184"/>
                  </a:lnTo>
                  <a:lnTo>
                    <a:pt x="99" y="202"/>
                  </a:lnTo>
                  <a:lnTo>
                    <a:pt x="85" y="222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4"/>
                  </a:lnTo>
                  <a:lnTo>
                    <a:pt x="39" y="307"/>
                  </a:lnTo>
                  <a:lnTo>
                    <a:pt x="30" y="329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1"/>
                  </a:lnTo>
                  <a:lnTo>
                    <a:pt x="1" y="476"/>
                  </a:lnTo>
                  <a:lnTo>
                    <a:pt x="0" y="502"/>
                  </a:lnTo>
                  <a:lnTo>
                    <a:pt x="0" y="7531"/>
                  </a:lnTo>
                  <a:lnTo>
                    <a:pt x="1" y="7557"/>
                  </a:lnTo>
                  <a:lnTo>
                    <a:pt x="3" y="7582"/>
                  </a:lnTo>
                  <a:lnTo>
                    <a:pt x="6" y="7607"/>
                  </a:lnTo>
                  <a:lnTo>
                    <a:pt x="10" y="7632"/>
                  </a:lnTo>
                  <a:lnTo>
                    <a:pt x="16" y="7656"/>
                  </a:lnTo>
                  <a:lnTo>
                    <a:pt x="22" y="7680"/>
                  </a:lnTo>
                  <a:lnTo>
                    <a:pt x="30" y="7703"/>
                  </a:lnTo>
                  <a:lnTo>
                    <a:pt x="39" y="7726"/>
                  </a:lnTo>
                  <a:lnTo>
                    <a:pt x="49" y="7749"/>
                  </a:lnTo>
                  <a:lnTo>
                    <a:pt x="60" y="7771"/>
                  </a:lnTo>
                  <a:lnTo>
                    <a:pt x="72" y="7792"/>
                  </a:lnTo>
                  <a:lnTo>
                    <a:pt x="85" y="7812"/>
                  </a:lnTo>
                  <a:lnTo>
                    <a:pt x="99" y="7831"/>
                  </a:lnTo>
                  <a:lnTo>
                    <a:pt x="115" y="7850"/>
                  </a:lnTo>
                  <a:lnTo>
                    <a:pt x="131" y="7868"/>
                  </a:lnTo>
                  <a:lnTo>
                    <a:pt x="147" y="7886"/>
                  </a:lnTo>
                  <a:lnTo>
                    <a:pt x="165" y="7902"/>
                  </a:lnTo>
                  <a:lnTo>
                    <a:pt x="183" y="7918"/>
                  </a:lnTo>
                  <a:lnTo>
                    <a:pt x="202" y="7933"/>
                  </a:lnTo>
                  <a:lnTo>
                    <a:pt x="221" y="7947"/>
                  </a:lnTo>
                  <a:lnTo>
                    <a:pt x="242" y="7960"/>
                  </a:lnTo>
                  <a:lnTo>
                    <a:pt x="263" y="7972"/>
                  </a:lnTo>
                  <a:lnTo>
                    <a:pt x="285" y="7983"/>
                  </a:lnTo>
                  <a:lnTo>
                    <a:pt x="307" y="7994"/>
                  </a:lnTo>
                  <a:lnTo>
                    <a:pt x="330" y="8003"/>
                  </a:lnTo>
                  <a:lnTo>
                    <a:pt x="353" y="8011"/>
                  </a:lnTo>
                  <a:lnTo>
                    <a:pt x="377" y="8017"/>
                  </a:lnTo>
                  <a:lnTo>
                    <a:pt x="401" y="8023"/>
                  </a:lnTo>
                  <a:lnTo>
                    <a:pt x="426" y="8027"/>
                  </a:lnTo>
                  <a:lnTo>
                    <a:pt x="452" y="8030"/>
                  </a:lnTo>
                  <a:lnTo>
                    <a:pt x="477" y="8032"/>
                  </a:lnTo>
                  <a:lnTo>
                    <a:pt x="503" y="8033"/>
                  </a:lnTo>
                  <a:lnTo>
                    <a:pt x="11568" y="8033"/>
                  </a:lnTo>
                  <a:lnTo>
                    <a:pt x="11594" y="8032"/>
                  </a:lnTo>
                  <a:lnTo>
                    <a:pt x="11619" y="8030"/>
                  </a:lnTo>
                  <a:lnTo>
                    <a:pt x="11645" y="8027"/>
                  </a:lnTo>
                  <a:lnTo>
                    <a:pt x="11670" y="8023"/>
                  </a:lnTo>
                  <a:lnTo>
                    <a:pt x="11694" y="8017"/>
                  </a:lnTo>
                  <a:lnTo>
                    <a:pt x="11718" y="8011"/>
                  </a:lnTo>
                  <a:lnTo>
                    <a:pt x="11741" y="8003"/>
                  </a:lnTo>
                  <a:lnTo>
                    <a:pt x="11764" y="7994"/>
                  </a:lnTo>
                  <a:lnTo>
                    <a:pt x="11786" y="7983"/>
                  </a:lnTo>
                  <a:lnTo>
                    <a:pt x="11809" y="7972"/>
                  </a:lnTo>
                  <a:lnTo>
                    <a:pt x="11829" y="7960"/>
                  </a:lnTo>
                  <a:lnTo>
                    <a:pt x="11850" y="7947"/>
                  </a:lnTo>
                  <a:lnTo>
                    <a:pt x="11869" y="7933"/>
                  </a:lnTo>
                  <a:lnTo>
                    <a:pt x="11888" y="7918"/>
                  </a:lnTo>
                  <a:lnTo>
                    <a:pt x="11906" y="7902"/>
                  </a:lnTo>
                  <a:lnTo>
                    <a:pt x="11924" y="7886"/>
                  </a:lnTo>
                  <a:lnTo>
                    <a:pt x="11940" y="7868"/>
                  </a:lnTo>
                  <a:lnTo>
                    <a:pt x="11956" y="7850"/>
                  </a:lnTo>
                  <a:lnTo>
                    <a:pt x="11972" y="7831"/>
                  </a:lnTo>
                  <a:lnTo>
                    <a:pt x="11986" y="7812"/>
                  </a:lnTo>
                  <a:lnTo>
                    <a:pt x="11999" y="7792"/>
                  </a:lnTo>
                  <a:lnTo>
                    <a:pt x="12011" y="7771"/>
                  </a:lnTo>
                  <a:lnTo>
                    <a:pt x="12022" y="7749"/>
                  </a:lnTo>
                  <a:lnTo>
                    <a:pt x="12032" y="7726"/>
                  </a:lnTo>
                  <a:lnTo>
                    <a:pt x="12041" y="7703"/>
                  </a:lnTo>
                  <a:lnTo>
                    <a:pt x="12049" y="7680"/>
                  </a:lnTo>
                  <a:lnTo>
                    <a:pt x="12055" y="7656"/>
                  </a:lnTo>
                  <a:lnTo>
                    <a:pt x="12061" y="7632"/>
                  </a:lnTo>
                  <a:lnTo>
                    <a:pt x="12065" y="7607"/>
                  </a:lnTo>
                  <a:lnTo>
                    <a:pt x="12068" y="7582"/>
                  </a:lnTo>
                  <a:lnTo>
                    <a:pt x="12070" y="7557"/>
                  </a:lnTo>
                  <a:lnTo>
                    <a:pt x="12071" y="7531"/>
                  </a:lnTo>
                  <a:lnTo>
                    <a:pt x="12071" y="502"/>
                  </a:lnTo>
                  <a:lnTo>
                    <a:pt x="12070" y="476"/>
                  </a:lnTo>
                  <a:lnTo>
                    <a:pt x="12068" y="451"/>
                  </a:lnTo>
                  <a:lnTo>
                    <a:pt x="12065" y="426"/>
                  </a:lnTo>
                  <a:lnTo>
                    <a:pt x="12061" y="401"/>
                  </a:lnTo>
                  <a:lnTo>
                    <a:pt x="12055" y="377"/>
                  </a:lnTo>
                  <a:lnTo>
                    <a:pt x="12049" y="353"/>
                  </a:lnTo>
                  <a:lnTo>
                    <a:pt x="12041" y="329"/>
                  </a:lnTo>
                  <a:lnTo>
                    <a:pt x="12032" y="306"/>
                  </a:lnTo>
                  <a:lnTo>
                    <a:pt x="12022" y="284"/>
                  </a:lnTo>
                  <a:lnTo>
                    <a:pt x="12011" y="263"/>
                  </a:lnTo>
                  <a:lnTo>
                    <a:pt x="11999" y="242"/>
                  </a:lnTo>
                  <a:lnTo>
                    <a:pt x="11986" y="221"/>
                  </a:lnTo>
                  <a:lnTo>
                    <a:pt x="11972" y="202"/>
                  </a:lnTo>
                  <a:lnTo>
                    <a:pt x="11956" y="183"/>
                  </a:lnTo>
                  <a:lnTo>
                    <a:pt x="11940" y="165"/>
                  </a:lnTo>
                  <a:lnTo>
                    <a:pt x="11924" y="147"/>
                  </a:lnTo>
                  <a:lnTo>
                    <a:pt x="11906" y="131"/>
                  </a:lnTo>
                  <a:lnTo>
                    <a:pt x="11888" y="115"/>
                  </a:lnTo>
                  <a:lnTo>
                    <a:pt x="11869" y="100"/>
                  </a:lnTo>
                  <a:lnTo>
                    <a:pt x="11850" y="85"/>
                  </a:lnTo>
                  <a:lnTo>
                    <a:pt x="11829" y="72"/>
                  </a:lnTo>
                  <a:lnTo>
                    <a:pt x="11809" y="60"/>
                  </a:lnTo>
                  <a:lnTo>
                    <a:pt x="11786" y="49"/>
                  </a:lnTo>
                  <a:lnTo>
                    <a:pt x="11764" y="39"/>
                  </a:lnTo>
                  <a:lnTo>
                    <a:pt x="11741" y="30"/>
                  </a:lnTo>
                  <a:lnTo>
                    <a:pt x="11718" y="22"/>
                  </a:lnTo>
                  <a:lnTo>
                    <a:pt x="11694" y="16"/>
                  </a:lnTo>
                  <a:lnTo>
                    <a:pt x="11670" y="10"/>
                  </a:lnTo>
                  <a:lnTo>
                    <a:pt x="11645" y="6"/>
                  </a:lnTo>
                  <a:lnTo>
                    <a:pt x="11619" y="3"/>
                  </a:lnTo>
                  <a:lnTo>
                    <a:pt x="11594" y="1"/>
                  </a:lnTo>
                  <a:lnTo>
                    <a:pt x="1156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3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96" name="îŝlîḍé">
              <a:extLst>
                <a:ext uri="{FF2B5EF4-FFF2-40B4-BE49-F238E27FC236}">
                  <a16:creationId xmlns:a16="http://schemas.microsoft.com/office/drawing/2014/main" id="{CBC8ED41-0454-4753-A332-EE83DF2B9C0E}"/>
                </a:ext>
              </a:extLst>
            </p:cNvPr>
            <p:cNvSpPr/>
            <p:nvPr/>
          </p:nvSpPr>
          <p:spPr bwMode="auto">
            <a:xfrm>
              <a:off x="6391753" y="2850475"/>
              <a:ext cx="399222" cy="373525"/>
            </a:xfrm>
            <a:custGeom>
              <a:avLst/>
              <a:gdLst>
                <a:gd name="T0" fmla="*/ 15066 w 16095"/>
                <a:gd name="T1" fmla="*/ 11696 h 15059"/>
                <a:gd name="T2" fmla="*/ 14988 w 16095"/>
                <a:gd name="T3" fmla="*/ 11847 h 15059"/>
                <a:gd name="T4" fmla="*/ 14867 w 16095"/>
                <a:gd name="T5" fmla="*/ 11963 h 15059"/>
                <a:gd name="T6" fmla="*/ 14712 w 16095"/>
                <a:gd name="T7" fmla="*/ 12033 h 15059"/>
                <a:gd name="T8" fmla="*/ 6036 w 16095"/>
                <a:gd name="T9" fmla="*/ 12049 h 15059"/>
                <a:gd name="T10" fmla="*/ 1359 w 16095"/>
                <a:gd name="T11" fmla="*/ 12027 h 15059"/>
                <a:gd name="T12" fmla="*/ 1208 w 16095"/>
                <a:gd name="T13" fmla="*/ 11949 h 15059"/>
                <a:gd name="T14" fmla="*/ 1091 w 16095"/>
                <a:gd name="T15" fmla="*/ 11828 h 15059"/>
                <a:gd name="T16" fmla="*/ 1022 w 16095"/>
                <a:gd name="T17" fmla="*/ 11672 h 15059"/>
                <a:gd name="T18" fmla="*/ 1007 w 16095"/>
                <a:gd name="T19" fmla="*/ 1480 h 15059"/>
                <a:gd name="T20" fmla="*/ 1045 w 16095"/>
                <a:gd name="T21" fmla="*/ 1310 h 15059"/>
                <a:gd name="T22" fmla="*/ 1137 w 16095"/>
                <a:gd name="T23" fmla="*/ 1169 h 15059"/>
                <a:gd name="T24" fmla="*/ 1268 w 16095"/>
                <a:gd name="T25" fmla="*/ 1064 h 15059"/>
                <a:gd name="T26" fmla="*/ 1432 w 16095"/>
                <a:gd name="T27" fmla="*/ 1010 h 15059"/>
                <a:gd name="T28" fmla="*/ 14663 w 16095"/>
                <a:gd name="T29" fmla="*/ 1010 h 15059"/>
                <a:gd name="T30" fmla="*/ 14826 w 16095"/>
                <a:gd name="T31" fmla="*/ 1064 h 15059"/>
                <a:gd name="T32" fmla="*/ 14958 w 16095"/>
                <a:gd name="T33" fmla="*/ 1169 h 15059"/>
                <a:gd name="T34" fmla="*/ 15050 w 16095"/>
                <a:gd name="T35" fmla="*/ 1310 h 15059"/>
                <a:gd name="T36" fmla="*/ 15088 w 16095"/>
                <a:gd name="T37" fmla="*/ 1480 h 15059"/>
                <a:gd name="T38" fmla="*/ 1279 w 16095"/>
                <a:gd name="T39" fmla="*/ 17 h 15059"/>
                <a:gd name="T40" fmla="*/ 790 w 16095"/>
                <a:gd name="T41" fmla="*/ 182 h 15059"/>
                <a:gd name="T42" fmla="*/ 391 w 16095"/>
                <a:gd name="T43" fmla="*/ 493 h 15059"/>
                <a:gd name="T44" fmla="*/ 119 w 16095"/>
                <a:gd name="T45" fmla="*/ 920 h 15059"/>
                <a:gd name="T46" fmla="*/ 2 w 16095"/>
                <a:gd name="T47" fmla="*/ 1429 h 15059"/>
                <a:gd name="T48" fmla="*/ 47 w 16095"/>
                <a:gd name="T49" fmla="*/ 11922 h 15059"/>
                <a:gd name="T50" fmla="*/ 257 w 16095"/>
                <a:gd name="T51" fmla="*/ 12387 h 15059"/>
                <a:gd name="T52" fmla="*/ 604 w 16095"/>
                <a:gd name="T53" fmla="*/ 12752 h 15059"/>
                <a:gd name="T54" fmla="*/ 1056 w 16095"/>
                <a:gd name="T55" fmla="*/ 12984 h 15059"/>
                <a:gd name="T56" fmla="*/ 6539 w 16095"/>
                <a:gd name="T57" fmla="*/ 13053 h 15059"/>
                <a:gd name="T58" fmla="*/ 3299 w 16095"/>
                <a:gd name="T59" fmla="*/ 14106 h 15059"/>
                <a:gd name="T60" fmla="*/ 3180 w 16095"/>
                <a:gd name="T61" fmla="*/ 14188 h 15059"/>
                <a:gd name="T62" fmla="*/ 3089 w 16095"/>
                <a:gd name="T63" fmla="*/ 14299 h 15059"/>
                <a:gd name="T64" fmla="*/ 3034 w 16095"/>
                <a:gd name="T65" fmla="*/ 14431 h 15059"/>
                <a:gd name="T66" fmla="*/ 3019 w 16095"/>
                <a:gd name="T67" fmla="*/ 14583 h 15059"/>
                <a:gd name="T68" fmla="*/ 3057 w 16095"/>
                <a:gd name="T69" fmla="*/ 14753 h 15059"/>
                <a:gd name="T70" fmla="*/ 3149 w 16095"/>
                <a:gd name="T71" fmla="*/ 14894 h 15059"/>
                <a:gd name="T72" fmla="*/ 3280 w 16095"/>
                <a:gd name="T73" fmla="*/ 14999 h 15059"/>
                <a:gd name="T74" fmla="*/ 3444 w 16095"/>
                <a:gd name="T75" fmla="*/ 15053 h 15059"/>
                <a:gd name="T76" fmla="*/ 12651 w 16095"/>
                <a:gd name="T77" fmla="*/ 15053 h 15059"/>
                <a:gd name="T78" fmla="*/ 12814 w 16095"/>
                <a:gd name="T79" fmla="*/ 14999 h 15059"/>
                <a:gd name="T80" fmla="*/ 12946 w 16095"/>
                <a:gd name="T81" fmla="*/ 14894 h 15059"/>
                <a:gd name="T82" fmla="*/ 13038 w 16095"/>
                <a:gd name="T83" fmla="*/ 14753 h 15059"/>
                <a:gd name="T84" fmla="*/ 13076 w 16095"/>
                <a:gd name="T85" fmla="*/ 14583 h 15059"/>
                <a:gd name="T86" fmla="*/ 13061 w 16095"/>
                <a:gd name="T87" fmla="*/ 14431 h 15059"/>
                <a:gd name="T88" fmla="*/ 13006 w 16095"/>
                <a:gd name="T89" fmla="*/ 14299 h 15059"/>
                <a:gd name="T90" fmla="*/ 12915 w 16095"/>
                <a:gd name="T91" fmla="*/ 14188 h 15059"/>
                <a:gd name="T92" fmla="*/ 12796 w 16095"/>
                <a:gd name="T93" fmla="*/ 14106 h 15059"/>
                <a:gd name="T94" fmla="*/ 9556 w 16095"/>
                <a:gd name="T95" fmla="*/ 13053 h 15059"/>
                <a:gd name="T96" fmla="*/ 15039 w 16095"/>
                <a:gd name="T97" fmla="*/ 12984 h 15059"/>
                <a:gd name="T98" fmla="*/ 15491 w 16095"/>
                <a:gd name="T99" fmla="*/ 12752 h 15059"/>
                <a:gd name="T100" fmla="*/ 15838 w 16095"/>
                <a:gd name="T101" fmla="*/ 12387 h 15059"/>
                <a:gd name="T102" fmla="*/ 16048 w 16095"/>
                <a:gd name="T103" fmla="*/ 11922 h 15059"/>
                <a:gd name="T104" fmla="*/ 16093 w 16095"/>
                <a:gd name="T105" fmla="*/ 1429 h 15059"/>
                <a:gd name="T106" fmla="*/ 15976 w 16095"/>
                <a:gd name="T107" fmla="*/ 920 h 15059"/>
                <a:gd name="T108" fmla="*/ 15703 w 16095"/>
                <a:gd name="T109" fmla="*/ 493 h 15059"/>
                <a:gd name="T110" fmla="*/ 15305 w 16095"/>
                <a:gd name="T111" fmla="*/ 182 h 15059"/>
                <a:gd name="T112" fmla="*/ 14815 w 16095"/>
                <a:gd name="T113" fmla="*/ 17 h 15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5059">
                  <a:moveTo>
                    <a:pt x="15089" y="11547"/>
                  </a:moveTo>
                  <a:lnTo>
                    <a:pt x="15088" y="11573"/>
                  </a:lnTo>
                  <a:lnTo>
                    <a:pt x="15086" y="11598"/>
                  </a:lnTo>
                  <a:lnTo>
                    <a:pt x="15083" y="11623"/>
                  </a:lnTo>
                  <a:lnTo>
                    <a:pt x="15079" y="11648"/>
                  </a:lnTo>
                  <a:lnTo>
                    <a:pt x="15073" y="11672"/>
                  </a:lnTo>
                  <a:lnTo>
                    <a:pt x="15066" y="11696"/>
                  </a:lnTo>
                  <a:lnTo>
                    <a:pt x="15059" y="11719"/>
                  </a:lnTo>
                  <a:lnTo>
                    <a:pt x="15050" y="11743"/>
                  </a:lnTo>
                  <a:lnTo>
                    <a:pt x="15040" y="11765"/>
                  </a:lnTo>
                  <a:lnTo>
                    <a:pt x="15029" y="11786"/>
                  </a:lnTo>
                  <a:lnTo>
                    <a:pt x="15016" y="11807"/>
                  </a:lnTo>
                  <a:lnTo>
                    <a:pt x="15003" y="11828"/>
                  </a:lnTo>
                  <a:lnTo>
                    <a:pt x="14988" y="11847"/>
                  </a:lnTo>
                  <a:lnTo>
                    <a:pt x="14974" y="11866"/>
                  </a:lnTo>
                  <a:lnTo>
                    <a:pt x="14958" y="11884"/>
                  </a:lnTo>
                  <a:lnTo>
                    <a:pt x="14941" y="11902"/>
                  </a:lnTo>
                  <a:lnTo>
                    <a:pt x="14924" y="11918"/>
                  </a:lnTo>
                  <a:lnTo>
                    <a:pt x="14906" y="11934"/>
                  </a:lnTo>
                  <a:lnTo>
                    <a:pt x="14887" y="11949"/>
                  </a:lnTo>
                  <a:lnTo>
                    <a:pt x="14867" y="11963"/>
                  </a:lnTo>
                  <a:lnTo>
                    <a:pt x="14847" y="11977"/>
                  </a:lnTo>
                  <a:lnTo>
                    <a:pt x="14826" y="11989"/>
                  </a:lnTo>
                  <a:lnTo>
                    <a:pt x="14803" y="12000"/>
                  </a:lnTo>
                  <a:lnTo>
                    <a:pt x="14781" y="12010"/>
                  </a:lnTo>
                  <a:lnTo>
                    <a:pt x="14759" y="12019"/>
                  </a:lnTo>
                  <a:lnTo>
                    <a:pt x="14735" y="12027"/>
                  </a:lnTo>
                  <a:lnTo>
                    <a:pt x="14712" y="12033"/>
                  </a:lnTo>
                  <a:lnTo>
                    <a:pt x="14687" y="12039"/>
                  </a:lnTo>
                  <a:lnTo>
                    <a:pt x="14663" y="12043"/>
                  </a:lnTo>
                  <a:lnTo>
                    <a:pt x="14637" y="12047"/>
                  </a:lnTo>
                  <a:lnTo>
                    <a:pt x="14612" y="12048"/>
                  </a:lnTo>
                  <a:lnTo>
                    <a:pt x="14586" y="12049"/>
                  </a:lnTo>
                  <a:lnTo>
                    <a:pt x="10059" y="12049"/>
                  </a:lnTo>
                  <a:lnTo>
                    <a:pt x="6036" y="12049"/>
                  </a:lnTo>
                  <a:lnTo>
                    <a:pt x="1509" y="12049"/>
                  </a:lnTo>
                  <a:lnTo>
                    <a:pt x="1483" y="12048"/>
                  </a:lnTo>
                  <a:lnTo>
                    <a:pt x="1458" y="12047"/>
                  </a:lnTo>
                  <a:lnTo>
                    <a:pt x="1432" y="12043"/>
                  </a:lnTo>
                  <a:lnTo>
                    <a:pt x="1407" y="12039"/>
                  </a:lnTo>
                  <a:lnTo>
                    <a:pt x="1383" y="12033"/>
                  </a:lnTo>
                  <a:lnTo>
                    <a:pt x="1359" y="12027"/>
                  </a:lnTo>
                  <a:lnTo>
                    <a:pt x="1336" y="12019"/>
                  </a:lnTo>
                  <a:lnTo>
                    <a:pt x="1313" y="12010"/>
                  </a:lnTo>
                  <a:lnTo>
                    <a:pt x="1291" y="12000"/>
                  </a:lnTo>
                  <a:lnTo>
                    <a:pt x="1268" y="11989"/>
                  </a:lnTo>
                  <a:lnTo>
                    <a:pt x="1248" y="11977"/>
                  </a:lnTo>
                  <a:lnTo>
                    <a:pt x="1227" y="11963"/>
                  </a:lnTo>
                  <a:lnTo>
                    <a:pt x="1208" y="11949"/>
                  </a:lnTo>
                  <a:lnTo>
                    <a:pt x="1189" y="11934"/>
                  </a:lnTo>
                  <a:lnTo>
                    <a:pt x="1171" y="11918"/>
                  </a:lnTo>
                  <a:lnTo>
                    <a:pt x="1153" y="11902"/>
                  </a:lnTo>
                  <a:lnTo>
                    <a:pt x="1137" y="11884"/>
                  </a:lnTo>
                  <a:lnTo>
                    <a:pt x="1121" y="11866"/>
                  </a:lnTo>
                  <a:lnTo>
                    <a:pt x="1106" y="11847"/>
                  </a:lnTo>
                  <a:lnTo>
                    <a:pt x="1091" y="11828"/>
                  </a:lnTo>
                  <a:lnTo>
                    <a:pt x="1078" y="11807"/>
                  </a:lnTo>
                  <a:lnTo>
                    <a:pt x="1066" y="11786"/>
                  </a:lnTo>
                  <a:lnTo>
                    <a:pt x="1055" y="11765"/>
                  </a:lnTo>
                  <a:lnTo>
                    <a:pt x="1045" y="11743"/>
                  </a:lnTo>
                  <a:lnTo>
                    <a:pt x="1036" y="11719"/>
                  </a:lnTo>
                  <a:lnTo>
                    <a:pt x="1028" y="11696"/>
                  </a:lnTo>
                  <a:lnTo>
                    <a:pt x="1022" y="11672"/>
                  </a:lnTo>
                  <a:lnTo>
                    <a:pt x="1016" y="11648"/>
                  </a:lnTo>
                  <a:lnTo>
                    <a:pt x="1012" y="11623"/>
                  </a:lnTo>
                  <a:lnTo>
                    <a:pt x="1009" y="11598"/>
                  </a:lnTo>
                  <a:lnTo>
                    <a:pt x="1007" y="11573"/>
                  </a:lnTo>
                  <a:lnTo>
                    <a:pt x="1006" y="11547"/>
                  </a:lnTo>
                  <a:lnTo>
                    <a:pt x="1006" y="1506"/>
                  </a:lnTo>
                  <a:lnTo>
                    <a:pt x="1007" y="1480"/>
                  </a:lnTo>
                  <a:lnTo>
                    <a:pt x="1009" y="1455"/>
                  </a:lnTo>
                  <a:lnTo>
                    <a:pt x="1012" y="1430"/>
                  </a:lnTo>
                  <a:lnTo>
                    <a:pt x="1016" y="1405"/>
                  </a:lnTo>
                  <a:lnTo>
                    <a:pt x="1022" y="1381"/>
                  </a:lnTo>
                  <a:lnTo>
                    <a:pt x="1028" y="1356"/>
                  </a:lnTo>
                  <a:lnTo>
                    <a:pt x="1036" y="1333"/>
                  </a:lnTo>
                  <a:lnTo>
                    <a:pt x="1045" y="1310"/>
                  </a:lnTo>
                  <a:lnTo>
                    <a:pt x="1055" y="1288"/>
                  </a:lnTo>
                  <a:lnTo>
                    <a:pt x="1066" y="1267"/>
                  </a:lnTo>
                  <a:lnTo>
                    <a:pt x="1078" y="1246"/>
                  </a:lnTo>
                  <a:lnTo>
                    <a:pt x="1091" y="1225"/>
                  </a:lnTo>
                  <a:lnTo>
                    <a:pt x="1106" y="1206"/>
                  </a:lnTo>
                  <a:lnTo>
                    <a:pt x="1121" y="1187"/>
                  </a:lnTo>
                  <a:lnTo>
                    <a:pt x="1137" y="1169"/>
                  </a:lnTo>
                  <a:lnTo>
                    <a:pt x="1153" y="1151"/>
                  </a:lnTo>
                  <a:lnTo>
                    <a:pt x="1171" y="1135"/>
                  </a:lnTo>
                  <a:lnTo>
                    <a:pt x="1189" y="1119"/>
                  </a:lnTo>
                  <a:lnTo>
                    <a:pt x="1208" y="1103"/>
                  </a:lnTo>
                  <a:lnTo>
                    <a:pt x="1227" y="1090"/>
                  </a:lnTo>
                  <a:lnTo>
                    <a:pt x="1248" y="1077"/>
                  </a:lnTo>
                  <a:lnTo>
                    <a:pt x="1268" y="1064"/>
                  </a:lnTo>
                  <a:lnTo>
                    <a:pt x="1291" y="1053"/>
                  </a:lnTo>
                  <a:lnTo>
                    <a:pt x="1313" y="1043"/>
                  </a:lnTo>
                  <a:lnTo>
                    <a:pt x="1336" y="1034"/>
                  </a:lnTo>
                  <a:lnTo>
                    <a:pt x="1359" y="1027"/>
                  </a:lnTo>
                  <a:lnTo>
                    <a:pt x="1383" y="1020"/>
                  </a:lnTo>
                  <a:lnTo>
                    <a:pt x="1407" y="1014"/>
                  </a:lnTo>
                  <a:lnTo>
                    <a:pt x="1432" y="1010"/>
                  </a:lnTo>
                  <a:lnTo>
                    <a:pt x="1458" y="1007"/>
                  </a:lnTo>
                  <a:lnTo>
                    <a:pt x="1483" y="1005"/>
                  </a:lnTo>
                  <a:lnTo>
                    <a:pt x="1509" y="1004"/>
                  </a:lnTo>
                  <a:lnTo>
                    <a:pt x="14586" y="1004"/>
                  </a:lnTo>
                  <a:lnTo>
                    <a:pt x="14612" y="1005"/>
                  </a:lnTo>
                  <a:lnTo>
                    <a:pt x="14637" y="1007"/>
                  </a:lnTo>
                  <a:lnTo>
                    <a:pt x="14663" y="1010"/>
                  </a:lnTo>
                  <a:lnTo>
                    <a:pt x="14687" y="1014"/>
                  </a:lnTo>
                  <a:lnTo>
                    <a:pt x="14712" y="1020"/>
                  </a:lnTo>
                  <a:lnTo>
                    <a:pt x="14735" y="1027"/>
                  </a:lnTo>
                  <a:lnTo>
                    <a:pt x="14759" y="1034"/>
                  </a:lnTo>
                  <a:lnTo>
                    <a:pt x="14781" y="1043"/>
                  </a:lnTo>
                  <a:lnTo>
                    <a:pt x="14803" y="1053"/>
                  </a:lnTo>
                  <a:lnTo>
                    <a:pt x="14826" y="1064"/>
                  </a:lnTo>
                  <a:lnTo>
                    <a:pt x="14847" y="1077"/>
                  </a:lnTo>
                  <a:lnTo>
                    <a:pt x="14867" y="1090"/>
                  </a:lnTo>
                  <a:lnTo>
                    <a:pt x="14887" y="1103"/>
                  </a:lnTo>
                  <a:lnTo>
                    <a:pt x="14906" y="1119"/>
                  </a:lnTo>
                  <a:lnTo>
                    <a:pt x="14924" y="1135"/>
                  </a:lnTo>
                  <a:lnTo>
                    <a:pt x="14941" y="1151"/>
                  </a:lnTo>
                  <a:lnTo>
                    <a:pt x="14958" y="1169"/>
                  </a:lnTo>
                  <a:lnTo>
                    <a:pt x="14974" y="1187"/>
                  </a:lnTo>
                  <a:lnTo>
                    <a:pt x="14988" y="1206"/>
                  </a:lnTo>
                  <a:lnTo>
                    <a:pt x="15003" y="1225"/>
                  </a:lnTo>
                  <a:lnTo>
                    <a:pt x="15016" y="1246"/>
                  </a:lnTo>
                  <a:lnTo>
                    <a:pt x="15029" y="1267"/>
                  </a:lnTo>
                  <a:lnTo>
                    <a:pt x="15040" y="1288"/>
                  </a:lnTo>
                  <a:lnTo>
                    <a:pt x="15050" y="1310"/>
                  </a:lnTo>
                  <a:lnTo>
                    <a:pt x="15059" y="1333"/>
                  </a:lnTo>
                  <a:lnTo>
                    <a:pt x="15066" y="1356"/>
                  </a:lnTo>
                  <a:lnTo>
                    <a:pt x="15073" y="1381"/>
                  </a:lnTo>
                  <a:lnTo>
                    <a:pt x="15079" y="1405"/>
                  </a:lnTo>
                  <a:lnTo>
                    <a:pt x="15083" y="1430"/>
                  </a:lnTo>
                  <a:lnTo>
                    <a:pt x="15086" y="1455"/>
                  </a:lnTo>
                  <a:lnTo>
                    <a:pt x="15088" y="1480"/>
                  </a:lnTo>
                  <a:lnTo>
                    <a:pt x="15089" y="1506"/>
                  </a:lnTo>
                  <a:lnTo>
                    <a:pt x="15089" y="11547"/>
                  </a:lnTo>
                  <a:close/>
                  <a:moveTo>
                    <a:pt x="14586" y="0"/>
                  </a:moveTo>
                  <a:lnTo>
                    <a:pt x="1509" y="0"/>
                  </a:lnTo>
                  <a:lnTo>
                    <a:pt x="1431" y="2"/>
                  </a:lnTo>
                  <a:lnTo>
                    <a:pt x="1354" y="8"/>
                  </a:lnTo>
                  <a:lnTo>
                    <a:pt x="1279" y="17"/>
                  </a:lnTo>
                  <a:lnTo>
                    <a:pt x="1204" y="30"/>
                  </a:lnTo>
                  <a:lnTo>
                    <a:pt x="1132" y="47"/>
                  </a:lnTo>
                  <a:lnTo>
                    <a:pt x="1060" y="67"/>
                  </a:lnTo>
                  <a:lnTo>
                    <a:pt x="990" y="91"/>
                  </a:lnTo>
                  <a:lnTo>
                    <a:pt x="921" y="118"/>
                  </a:lnTo>
                  <a:lnTo>
                    <a:pt x="854" y="149"/>
                  </a:lnTo>
                  <a:lnTo>
                    <a:pt x="790" y="182"/>
                  </a:lnTo>
                  <a:lnTo>
                    <a:pt x="726" y="218"/>
                  </a:lnTo>
                  <a:lnTo>
                    <a:pt x="665" y="257"/>
                  </a:lnTo>
                  <a:lnTo>
                    <a:pt x="606" y="299"/>
                  </a:lnTo>
                  <a:lnTo>
                    <a:pt x="549" y="344"/>
                  </a:lnTo>
                  <a:lnTo>
                    <a:pt x="494" y="392"/>
                  </a:lnTo>
                  <a:lnTo>
                    <a:pt x="442" y="441"/>
                  </a:lnTo>
                  <a:lnTo>
                    <a:pt x="391" y="493"/>
                  </a:lnTo>
                  <a:lnTo>
                    <a:pt x="344" y="548"/>
                  </a:lnTo>
                  <a:lnTo>
                    <a:pt x="300" y="605"/>
                  </a:lnTo>
                  <a:lnTo>
                    <a:pt x="258" y="664"/>
                  </a:lnTo>
                  <a:lnTo>
                    <a:pt x="218" y="725"/>
                  </a:lnTo>
                  <a:lnTo>
                    <a:pt x="182" y="788"/>
                  </a:lnTo>
                  <a:lnTo>
                    <a:pt x="149" y="853"/>
                  </a:lnTo>
                  <a:lnTo>
                    <a:pt x="119" y="920"/>
                  </a:lnTo>
                  <a:lnTo>
                    <a:pt x="92" y="988"/>
                  </a:lnTo>
                  <a:lnTo>
                    <a:pt x="67" y="1058"/>
                  </a:lnTo>
                  <a:lnTo>
                    <a:pt x="47" y="1130"/>
                  </a:lnTo>
                  <a:lnTo>
                    <a:pt x="30" y="1203"/>
                  </a:lnTo>
                  <a:lnTo>
                    <a:pt x="17" y="1277"/>
                  </a:lnTo>
                  <a:lnTo>
                    <a:pt x="8" y="1352"/>
                  </a:lnTo>
                  <a:lnTo>
                    <a:pt x="2" y="1429"/>
                  </a:lnTo>
                  <a:lnTo>
                    <a:pt x="0" y="1506"/>
                  </a:lnTo>
                  <a:lnTo>
                    <a:pt x="0" y="11547"/>
                  </a:lnTo>
                  <a:lnTo>
                    <a:pt x="2" y="11624"/>
                  </a:lnTo>
                  <a:lnTo>
                    <a:pt x="8" y="11700"/>
                  </a:lnTo>
                  <a:lnTo>
                    <a:pt x="17" y="11776"/>
                  </a:lnTo>
                  <a:lnTo>
                    <a:pt x="30" y="11850"/>
                  </a:lnTo>
                  <a:lnTo>
                    <a:pt x="47" y="11922"/>
                  </a:lnTo>
                  <a:lnTo>
                    <a:pt x="67" y="11994"/>
                  </a:lnTo>
                  <a:lnTo>
                    <a:pt x="92" y="12064"/>
                  </a:lnTo>
                  <a:lnTo>
                    <a:pt x="118" y="12132"/>
                  </a:lnTo>
                  <a:lnTo>
                    <a:pt x="148" y="12198"/>
                  </a:lnTo>
                  <a:lnTo>
                    <a:pt x="181" y="12264"/>
                  </a:lnTo>
                  <a:lnTo>
                    <a:pt x="217" y="12326"/>
                  </a:lnTo>
                  <a:lnTo>
                    <a:pt x="257" y="12387"/>
                  </a:lnTo>
                  <a:lnTo>
                    <a:pt x="299" y="12446"/>
                  </a:lnTo>
                  <a:lnTo>
                    <a:pt x="343" y="12504"/>
                  </a:lnTo>
                  <a:lnTo>
                    <a:pt x="390" y="12558"/>
                  </a:lnTo>
                  <a:lnTo>
                    <a:pt x="441" y="12610"/>
                  </a:lnTo>
                  <a:lnTo>
                    <a:pt x="493" y="12660"/>
                  </a:lnTo>
                  <a:lnTo>
                    <a:pt x="547" y="12707"/>
                  </a:lnTo>
                  <a:lnTo>
                    <a:pt x="604" y="12752"/>
                  </a:lnTo>
                  <a:lnTo>
                    <a:pt x="663" y="12794"/>
                  </a:lnTo>
                  <a:lnTo>
                    <a:pt x="724" y="12833"/>
                  </a:lnTo>
                  <a:lnTo>
                    <a:pt x="787" y="12869"/>
                  </a:lnTo>
                  <a:lnTo>
                    <a:pt x="852" y="12902"/>
                  </a:lnTo>
                  <a:lnTo>
                    <a:pt x="918" y="12933"/>
                  </a:lnTo>
                  <a:lnTo>
                    <a:pt x="987" y="12959"/>
                  </a:lnTo>
                  <a:lnTo>
                    <a:pt x="1056" y="12984"/>
                  </a:lnTo>
                  <a:lnTo>
                    <a:pt x="1128" y="13004"/>
                  </a:lnTo>
                  <a:lnTo>
                    <a:pt x="1201" y="13021"/>
                  </a:lnTo>
                  <a:lnTo>
                    <a:pt x="1275" y="13035"/>
                  </a:lnTo>
                  <a:lnTo>
                    <a:pt x="1350" y="13044"/>
                  </a:lnTo>
                  <a:lnTo>
                    <a:pt x="1426" y="13050"/>
                  </a:lnTo>
                  <a:lnTo>
                    <a:pt x="1504" y="13053"/>
                  </a:lnTo>
                  <a:lnTo>
                    <a:pt x="6539" y="13053"/>
                  </a:lnTo>
                  <a:lnTo>
                    <a:pt x="6539" y="13663"/>
                  </a:lnTo>
                  <a:lnTo>
                    <a:pt x="3399" y="14070"/>
                  </a:lnTo>
                  <a:lnTo>
                    <a:pt x="3378" y="14076"/>
                  </a:lnTo>
                  <a:lnTo>
                    <a:pt x="3358" y="14082"/>
                  </a:lnTo>
                  <a:lnTo>
                    <a:pt x="3338" y="14090"/>
                  </a:lnTo>
                  <a:lnTo>
                    <a:pt x="3319" y="14098"/>
                  </a:lnTo>
                  <a:lnTo>
                    <a:pt x="3299" y="14106"/>
                  </a:lnTo>
                  <a:lnTo>
                    <a:pt x="3280" y="14116"/>
                  </a:lnTo>
                  <a:lnTo>
                    <a:pt x="3262" y="14126"/>
                  </a:lnTo>
                  <a:lnTo>
                    <a:pt x="3245" y="14137"/>
                  </a:lnTo>
                  <a:lnTo>
                    <a:pt x="3228" y="14149"/>
                  </a:lnTo>
                  <a:lnTo>
                    <a:pt x="3211" y="14161"/>
                  </a:lnTo>
                  <a:lnTo>
                    <a:pt x="3196" y="14174"/>
                  </a:lnTo>
                  <a:lnTo>
                    <a:pt x="3180" y="14188"/>
                  </a:lnTo>
                  <a:lnTo>
                    <a:pt x="3166" y="14203"/>
                  </a:lnTo>
                  <a:lnTo>
                    <a:pt x="3151" y="14217"/>
                  </a:lnTo>
                  <a:lnTo>
                    <a:pt x="3138" y="14233"/>
                  </a:lnTo>
                  <a:lnTo>
                    <a:pt x="3124" y="14249"/>
                  </a:lnTo>
                  <a:lnTo>
                    <a:pt x="3112" y="14265"/>
                  </a:lnTo>
                  <a:lnTo>
                    <a:pt x="3100" y="14282"/>
                  </a:lnTo>
                  <a:lnTo>
                    <a:pt x="3089" y="14299"/>
                  </a:lnTo>
                  <a:lnTo>
                    <a:pt x="3079" y="14316"/>
                  </a:lnTo>
                  <a:lnTo>
                    <a:pt x="3070" y="14335"/>
                  </a:lnTo>
                  <a:lnTo>
                    <a:pt x="3061" y="14353"/>
                  </a:lnTo>
                  <a:lnTo>
                    <a:pt x="3053" y="14372"/>
                  </a:lnTo>
                  <a:lnTo>
                    <a:pt x="3046" y="14391"/>
                  </a:lnTo>
                  <a:lnTo>
                    <a:pt x="3039" y="14411"/>
                  </a:lnTo>
                  <a:lnTo>
                    <a:pt x="3034" y="14431"/>
                  </a:lnTo>
                  <a:lnTo>
                    <a:pt x="3029" y="14452"/>
                  </a:lnTo>
                  <a:lnTo>
                    <a:pt x="3025" y="14473"/>
                  </a:lnTo>
                  <a:lnTo>
                    <a:pt x="3022" y="14493"/>
                  </a:lnTo>
                  <a:lnTo>
                    <a:pt x="3020" y="14514"/>
                  </a:lnTo>
                  <a:lnTo>
                    <a:pt x="3018" y="14536"/>
                  </a:lnTo>
                  <a:lnTo>
                    <a:pt x="3018" y="14557"/>
                  </a:lnTo>
                  <a:lnTo>
                    <a:pt x="3019" y="14583"/>
                  </a:lnTo>
                  <a:lnTo>
                    <a:pt x="3020" y="14608"/>
                  </a:lnTo>
                  <a:lnTo>
                    <a:pt x="3024" y="14633"/>
                  </a:lnTo>
                  <a:lnTo>
                    <a:pt x="3028" y="14658"/>
                  </a:lnTo>
                  <a:lnTo>
                    <a:pt x="3034" y="14682"/>
                  </a:lnTo>
                  <a:lnTo>
                    <a:pt x="3040" y="14707"/>
                  </a:lnTo>
                  <a:lnTo>
                    <a:pt x="3048" y="14730"/>
                  </a:lnTo>
                  <a:lnTo>
                    <a:pt x="3057" y="14753"/>
                  </a:lnTo>
                  <a:lnTo>
                    <a:pt x="3067" y="14775"/>
                  </a:lnTo>
                  <a:lnTo>
                    <a:pt x="3078" y="14797"/>
                  </a:lnTo>
                  <a:lnTo>
                    <a:pt x="3090" y="14818"/>
                  </a:lnTo>
                  <a:lnTo>
                    <a:pt x="3103" y="14838"/>
                  </a:lnTo>
                  <a:lnTo>
                    <a:pt x="3117" y="14857"/>
                  </a:lnTo>
                  <a:lnTo>
                    <a:pt x="3132" y="14876"/>
                  </a:lnTo>
                  <a:lnTo>
                    <a:pt x="3149" y="14894"/>
                  </a:lnTo>
                  <a:lnTo>
                    <a:pt x="3165" y="14912"/>
                  </a:lnTo>
                  <a:lnTo>
                    <a:pt x="3183" y="14928"/>
                  </a:lnTo>
                  <a:lnTo>
                    <a:pt x="3201" y="14945"/>
                  </a:lnTo>
                  <a:lnTo>
                    <a:pt x="3220" y="14960"/>
                  </a:lnTo>
                  <a:lnTo>
                    <a:pt x="3239" y="14974"/>
                  </a:lnTo>
                  <a:lnTo>
                    <a:pt x="3260" y="14987"/>
                  </a:lnTo>
                  <a:lnTo>
                    <a:pt x="3280" y="14999"/>
                  </a:lnTo>
                  <a:lnTo>
                    <a:pt x="3302" y="15010"/>
                  </a:lnTo>
                  <a:lnTo>
                    <a:pt x="3325" y="15020"/>
                  </a:lnTo>
                  <a:lnTo>
                    <a:pt x="3348" y="15029"/>
                  </a:lnTo>
                  <a:lnTo>
                    <a:pt x="3371" y="15037"/>
                  </a:lnTo>
                  <a:lnTo>
                    <a:pt x="3395" y="15043"/>
                  </a:lnTo>
                  <a:lnTo>
                    <a:pt x="3419" y="15049"/>
                  </a:lnTo>
                  <a:lnTo>
                    <a:pt x="3444" y="15053"/>
                  </a:lnTo>
                  <a:lnTo>
                    <a:pt x="3469" y="15056"/>
                  </a:lnTo>
                  <a:lnTo>
                    <a:pt x="3495" y="15058"/>
                  </a:lnTo>
                  <a:lnTo>
                    <a:pt x="3521" y="15059"/>
                  </a:lnTo>
                  <a:lnTo>
                    <a:pt x="12574" y="15059"/>
                  </a:lnTo>
                  <a:lnTo>
                    <a:pt x="12600" y="15058"/>
                  </a:lnTo>
                  <a:lnTo>
                    <a:pt x="12626" y="15056"/>
                  </a:lnTo>
                  <a:lnTo>
                    <a:pt x="12651" y="15053"/>
                  </a:lnTo>
                  <a:lnTo>
                    <a:pt x="12676" y="15049"/>
                  </a:lnTo>
                  <a:lnTo>
                    <a:pt x="12700" y="15043"/>
                  </a:lnTo>
                  <a:lnTo>
                    <a:pt x="12724" y="15037"/>
                  </a:lnTo>
                  <a:lnTo>
                    <a:pt x="12747" y="15029"/>
                  </a:lnTo>
                  <a:lnTo>
                    <a:pt x="12770" y="15020"/>
                  </a:lnTo>
                  <a:lnTo>
                    <a:pt x="12793" y="15010"/>
                  </a:lnTo>
                  <a:lnTo>
                    <a:pt x="12814" y="14999"/>
                  </a:lnTo>
                  <a:lnTo>
                    <a:pt x="12835" y="14987"/>
                  </a:lnTo>
                  <a:lnTo>
                    <a:pt x="12856" y="14974"/>
                  </a:lnTo>
                  <a:lnTo>
                    <a:pt x="12875" y="14960"/>
                  </a:lnTo>
                  <a:lnTo>
                    <a:pt x="12894" y="14945"/>
                  </a:lnTo>
                  <a:lnTo>
                    <a:pt x="12912" y="14928"/>
                  </a:lnTo>
                  <a:lnTo>
                    <a:pt x="12930" y="14912"/>
                  </a:lnTo>
                  <a:lnTo>
                    <a:pt x="12946" y="14894"/>
                  </a:lnTo>
                  <a:lnTo>
                    <a:pt x="12963" y="14876"/>
                  </a:lnTo>
                  <a:lnTo>
                    <a:pt x="12978" y="14857"/>
                  </a:lnTo>
                  <a:lnTo>
                    <a:pt x="12992" y="14838"/>
                  </a:lnTo>
                  <a:lnTo>
                    <a:pt x="13005" y="14818"/>
                  </a:lnTo>
                  <a:lnTo>
                    <a:pt x="13017" y="14797"/>
                  </a:lnTo>
                  <a:lnTo>
                    <a:pt x="13028" y="14775"/>
                  </a:lnTo>
                  <a:lnTo>
                    <a:pt x="13038" y="14753"/>
                  </a:lnTo>
                  <a:lnTo>
                    <a:pt x="13047" y="14730"/>
                  </a:lnTo>
                  <a:lnTo>
                    <a:pt x="13055" y="14707"/>
                  </a:lnTo>
                  <a:lnTo>
                    <a:pt x="13061" y="14682"/>
                  </a:lnTo>
                  <a:lnTo>
                    <a:pt x="13067" y="14658"/>
                  </a:lnTo>
                  <a:lnTo>
                    <a:pt x="13071" y="14633"/>
                  </a:lnTo>
                  <a:lnTo>
                    <a:pt x="13074" y="14608"/>
                  </a:lnTo>
                  <a:lnTo>
                    <a:pt x="13076" y="14583"/>
                  </a:lnTo>
                  <a:lnTo>
                    <a:pt x="13077" y="14557"/>
                  </a:lnTo>
                  <a:lnTo>
                    <a:pt x="13077" y="14536"/>
                  </a:lnTo>
                  <a:lnTo>
                    <a:pt x="13075" y="14514"/>
                  </a:lnTo>
                  <a:lnTo>
                    <a:pt x="13073" y="14493"/>
                  </a:lnTo>
                  <a:lnTo>
                    <a:pt x="13070" y="14473"/>
                  </a:lnTo>
                  <a:lnTo>
                    <a:pt x="13066" y="14452"/>
                  </a:lnTo>
                  <a:lnTo>
                    <a:pt x="13061" y="14431"/>
                  </a:lnTo>
                  <a:lnTo>
                    <a:pt x="13056" y="14411"/>
                  </a:lnTo>
                  <a:lnTo>
                    <a:pt x="13049" y="14391"/>
                  </a:lnTo>
                  <a:lnTo>
                    <a:pt x="13042" y="14372"/>
                  </a:lnTo>
                  <a:lnTo>
                    <a:pt x="13034" y="14353"/>
                  </a:lnTo>
                  <a:lnTo>
                    <a:pt x="13025" y="14335"/>
                  </a:lnTo>
                  <a:lnTo>
                    <a:pt x="13016" y="14316"/>
                  </a:lnTo>
                  <a:lnTo>
                    <a:pt x="13006" y="14299"/>
                  </a:lnTo>
                  <a:lnTo>
                    <a:pt x="12995" y="14282"/>
                  </a:lnTo>
                  <a:lnTo>
                    <a:pt x="12983" y="14265"/>
                  </a:lnTo>
                  <a:lnTo>
                    <a:pt x="12971" y="14249"/>
                  </a:lnTo>
                  <a:lnTo>
                    <a:pt x="12957" y="14233"/>
                  </a:lnTo>
                  <a:lnTo>
                    <a:pt x="12944" y="14217"/>
                  </a:lnTo>
                  <a:lnTo>
                    <a:pt x="12930" y="14203"/>
                  </a:lnTo>
                  <a:lnTo>
                    <a:pt x="12915" y="14188"/>
                  </a:lnTo>
                  <a:lnTo>
                    <a:pt x="12900" y="14174"/>
                  </a:lnTo>
                  <a:lnTo>
                    <a:pt x="12884" y="14161"/>
                  </a:lnTo>
                  <a:lnTo>
                    <a:pt x="12867" y="14149"/>
                  </a:lnTo>
                  <a:lnTo>
                    <a:pt x="12850" y="14137"/>
                  </a:lnTo>
                  <a:lnTo>
                    <a:pt x="12833" y="14126"/>
                  </a:lnTo>
                  <a:lnTo>
                    <a:pt x="12815" y="14116"/>
                  </a:lnTo>
                  <a:lnTo>
                    <a:pt x="12796" y="14106"/>
                  </a:lnTo>
                  <a:lnTo>
                    <a:pt x="12776" y="14098"/>
                  </a:lnTo>
                  <a:lnTo>
                    <a:pt x="12757" y="14090"/>
                  </a:lnTo>
                  <a:lnTo>
                    <a:pt x="12737" y="14082"/>
                  </a:lnTo>
                  <a:lnTo>
                    <a:pt x="12717" y="14076"/>
                  </a:lnTo>
                  <a:lnTo>
                    <a:pt x="12696" y="14070"/>
                  </a:lnTo>
                  <a:lnTo>
                    <a:pt x="9556" y="13663"/>
                  </a:lnTo>
                  <a:lnTo>
                    <a:pt x="9556" y="13053"/>
                  </a:lnTo>
                  <a:lnTo>
                    <a:pt x="14591" y="13053"/>
                  </a:lnTo>
                  <a:lnTo>
                    <a:pt x="14669" y="13050"/>
                  </a:lnTo>
                  <a:lnTo>
                    <a:pt x="14745" y="13044"/>
                  </a:lnTo>
                  <a:lnTo>
                    <a:pt x="14820" y="13035"/>
                  </a:lnTo>
                  <a:lnTo>
                    <a:pt x="14894" y="13021"/>
                  </a:lnTo>
                  <a:lnTo>
                    <a:pt x="14967" y="13004"/>
                  </a:lnTo>
                  <a:lnTo>
                    <a:pt x="15039" y="12984"/>
                  </a:lnTo>
                  <a:lnTo>
                    <a:pt x="15108" y="12959"/>
                  </a:lnTo>
                  <a:lnTo>
                    <a:pt x="15177" y="12933"/>
                  </a:lnTo>
                  <a:lnTo>
                    <a:pt x="15243" y="12902"/>
                  </a:lnTo>
                  <a:lnTo>
                    <a:pt x="15308" y="12869"/>
                  </a:lnTo>
                  <a:lnTo>
                    <a:pt x="15371" y="12833"/>
                  </a:lnTo>
                  <a:lnTo>
                    <a:pt x="15432" y="12794"/>
                  </a:lnTo>
                  <a:lnTo>
                    <a:pt x="15491" y="12752"/>
                  </a:lnTo>
                  <a:lnTo>
                    <a:pt x="15548" y="12707"/>
                  </a:lnTo>
                  <a:lnTo>
                    <a:pt x="15602" y="12660"/>
                  </a:lnTo>
                  <a:lnTo>
                    <a:pt x="15654" y="12610"/>
                  </a:lnTo>
                  <a:lnTo>
                    <a:pt x="15705" y="12558"/>
                  </a:lnTo>
                  <a:lnTo>
                    <a:pt x="15752" y="12504"/>
                  </a:lnTo>
                  <a:lnTo>
                    <a:pt x="15796" y="12446"/>
                  </a:lnTo>
                  <a:lnTo>
                    <a:pt x="15838" y="12387"/>
                  </a:lnTo>
                  <a:lnTo>
                    <a:pt x="15878" y="12326"/>
                  </a:lnTo>
                  <a:lnTo>
                    <a:pt x="15914" y="12264"/>
                  </a:lnTo>
                  <a:lnTo>
                    <a:pt x="15947" y="12198"/>
                  </a:lnTo>
                  <a:lnTo>
                    <a:pt x="15977" y="12132"/>
                  </a:lnTo>
                  <a:lnTo>
                    <a:pt x="16003" y="12064"/>
                  </a:lnTo>
                  <a:lnTo>
                    <a:pt x="16028" y="11994"/>
                  </a:lnTo>
                  <a:lnTo>
                    <a:pt x="16048" y="11922"/>
                  </a:lnTo>
                  <a:lnTo>
                    <a:pt x="16065" y="11850"/>
                  </a:lnTo>
                  <a:lnTo>
                    <a:pt x="16078" y="11776"/>
                  </a:lnTo>
                  <a:lnTo>
                    <a:pt x="16087" y="11700"/>
                  </a:lnTo>
                  <a:lnTo>
                    <a:pt x="16093" y="11624"/>
                  </a:lnTo>
                  <a:lnTo>
                    <a:pt x="16095" y="11547"/>
                  </a:lnTo>
                  <a:lnTo>
                    <a:pt x="16095" y="1506"/>
                  </a:lnTo>
                  <a:lnTo>
                    <a:pt x="16093" y="1429"/>
                  </a:lnTo>
                  <a:lnTo>
                    <a:pt x="16087" y="1352"/>
                  </a:lnTo>
                  <a:lnTo>
                    <a:pt x="16078" y="1277"/>
                  </a:lnTo>
                  <a:lnTo>
                    <a:pt x="16064" y="1203"/>
                  </a:lnTo>
                  <a:lnTo>
                    <a:pt x="16048" y="1130"/>
                  </a:lnTo>
                  <a:lnTo>
                    <a:pt x="16028" y="1058"/>
                  </a:lnTo>
                  <a:lnTo>
                    <a:pt x="16003" y="988"/>
                  </a:lnTo>
                  <a:lnTo>
                    <a:pt x="15976" y="920"/>
                  </a:lnTo>
                  <a:lnTo>
                    <a:pt x="15946" y="853"/>
                  </a:lnTo>
                  <a:lnTo>
                    <a:pt x="15913" y="788"/>
                  </a:lnTo>
                  <a:lnTo>
                    <a:pt x="15877" y="725"/>
                  </a:lnTo>
                  <a:lnTo>
                    <a:pt x="15837" y="664"/>
                  </a:lnTo>
                  <a:lnTo>
                    <a:pt x="15795" y="605"/>
                  </a:lnTo>
                  <a:lnTo>
                    <a:pt x="15750" y="548"/>
                  </a:lnTo>
                  <a:lnTo>
                    <a:pt x="15703" y="493"/>
                  </a:lnTo>
                  <a:lnTo>
                    <a:pt x="15652" y="441"/>
                  </a:lnTo>
                  <a:lnTo>
                    <a:pt x="15600" y="392"/>
                  </a:lnTo>
                  <a:lnTo>
                    <a:pt x="15546" y="344"/>
                  </a:lnTo>
                  <a:lnTo>
                    <a:pt x="15488" y="299"/>
                  </a:lnTo>
                  <a:lnTo>
                    <a:pt x="15429" y="257"/>
                  </a:lnTo>
                  <a:lnTo>
                    <a:pt x="15369" y="218"/>
                  </a:lnTo>
                  <a:lnTo>
                    <a:pt x="15305" y="182"/>
                  </a:lnTo>
                  <a:lnTo>
                    <a:pt x="15240" y="149"/>
                  </a:lnTo>
                  <a:lnTo>
                    <a:pt x="15174" y="118"/>
                  </a:lnTo>
                  <a:lnTo>
                    <a:pt x="15105" y="91"/>
                  </a:lnTo>
                  <a:lnTo>
                    <a:pt x="15035" y="67"/>
                  </a:lnTo>
                  <a:lnTo>
                    <a:pt x="14963" y="47"/>
                  </a:lnTo>
                  <a:lnTo>
                    <a:pt x="14890" y="30"/>
                  </a:lnTo>
                  <a:lnTo>
                    <a:pt x="14815" y="17"/>
                  </a:lnTo>
                  <a:lnTo>
                    <a:pt x="14740" y="8"/>
                  </a:lnTo>
                  <a:lnTo>
                    <a:pt x="14664" y="2"/>
                  </a:lnTo>
                  <a:lnTo>
                    <a:pt x="145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97" name="îṩļîḍé">
              <a:extLst>
                <a:ext uri="{FF2B5EF4-FFF2-40B4-BE49-F238E27FC236}">
                  <a16:creationId xmlns:a16="http://schemas.microsoft.com/office/drawing/2014/main" id="{44BF3302-83D9-4588-BD39-ECEF06AAA6DE}"/>
                </a:ext>
              </a:extLst>
            </p:cNvPr>
            <p:cNvSpPr/>
            <p:nvPr/>
          </p:nvSpPr>
          <p:spPr bwMode="auto">
            <a:xfrm>
              <a:off x="9509830" y="594703"/>
              <a:ext cx="394077" cy="394076"/>
            </a:xfrm>
            <a:custGeom>
              <a:avLst/>
              <a:gdLst>
                <a:gd name="T0" fmla="*/ 12841 w 16095"/>
                <a:gd name="T1" fmla="*/ 13554 h 16095"/>
                <a:gd name="T2" fmla="*/ 11503 w 16095"/>
                <a:gd name="T3" fmla="*/ 13401 h 16095"/>
                <a:gd name="T4" fmla="*/ 10658 w 16095"/>
                <a:gd name="T5" fmla="*/ 12629 h 16095"/>
                <a:gd name="T6" fmla="*/ 10662 w 16095"/>
                <a:gd name="T7" fmla="*/ 11527 h 16095"/>
                <a:gd name="T8" fmla="*/ 11493 w 16095"/>
                <a:gd name="T9" fmla="*/ 10565 h 16095"/>
                <a:gd name="T10" fmla="*/ 12883 w 16095"/>
                <a:gd name="T11" fmla="*/ 10073 h 16095"/>
                <a:gd name="T12" fmla="*/ 14197 w 16095"/>
                <a:gd name="T13" fmla="*/ 10278 h 16095"/>
                <a:gd name="T14" fmla="*/ 14987 w 16095"/>
                <a:gd name="T15" fmla="*/ 11093 h 16095"/>
                <a:gd name="T16" fmla="*/ 14913 w 16095"/>
                <a:gd name="T17" fmla="*/ 12196 h 16095"/>
                <a:gd name="T18" fmla="*/ 14027 w 16095"/>
                <a:gd name="T19" fmla="*/ 13134 h 16095"/>
                <a:gd name="T20" fmla="*/ 3191 w 16095"/>
                <a:gd name="T21" fmla="*/ 15076 h 16095"/>
                <a:gd name="T22" fmla="*/ 1877 w 16095"/>
                <a:gd name="T23" fmla="*/ 14871 h 16095"/>
                <a:gd name="T24" fmla="*/ 1085 w 16095"/>
                <a:gd name="T25" fmla="*/ 14057 h 16095"/>
                <a:gd name="T26" fmla="*/ 1161 w 16095"/>
                <a:gd name="T27" fmla="*/ 12953 h 16095"/>
                <a:gd name="T28" fmla="*/ 2046 w 16095"/>
                <a:gd name="T29" fmla="*/ 12015 h 16095"/>
                <a:gd name="T30" fmla="*/ 3454 w 16095"/>
                <a:gd name="T31" fmla="*/ 11573 h 16095"/>
                <a:gd name="T32" fmla="*/ 4742 w 16095"/>
                <a:gd name="T33" fmla="*/ 11830 h 16095"/>
                <a:gd name="T34" fmla="*/ 5477 w 16095"/>
                <a:gd name="T35" fmla="*/ 12686 h 16095"/>
                <a:gd name="T36" fmla="*/ 5332 w 16095"/>
                <a:gd name="T37" fmla="*/ 13787 h 16095"/>
                <a:gd name="T38" fmla="*/ 4393 w 16095"/>
                <a:gd name="T39" fmla="*/ 14700 h 16095"/>
                <a:gd name="T40" fmla="*/ 15473 w 16095"/>
                <a:gd name="T41" fmla="*/ 76 h 16095"/>
                <a:gd name="T42" fmla="*/ 15002 w 16095"/>
                <a:gd name="T43" fmla="*/ 4 h 16095"/>
                <a:gd name="T44" fmla="*/ 6031 w 16095"/>
                <a:gd name="T45" fmla="*/ 1646 h 16095"/>
                <a:gd name="T46" fmla="*/ 5647 w 16095"/>
                <a:gd name="T47" fmla="*/ 2047 h 16095"/>
                <a:gd name="T48" fmla="*/ 5532 w 16095"/>
                <a:gd name="T49" fmla="*/ 4024 h 16095"/>
                <a:gd name="T50" fmla="*/ 4898 w 16095"/>
                <a:gd name="T51" fmla="*/ 10801 h 16095"/>
                <a:gd name="T52" fmla="*/ 4095 w 16095"/>
                <a:gd name="T53" fmla="*/ 10593 h 16095"/>
                <a:gd name="T54" fmla="*/ 3144 w 16095"/>
                <a:gd name="T55" fmla="*/ 10592 h 16095"/>
                <a:gd name="T56" fmla="*/ 2088 w 16095"/>
                <a:gd name="T57" fmla="*/ 10870 h 16095"/>
                <a:gd name="T58" fmla="*/ 1086 w 16095"/>
                <a:gd name="T59" fmla="*/ 11468 h 16095"/>
                <a:gd name="T60" fmla="*/ 369 w 16095"/>
                <a:gd name="T61" fmla="*/ 12304 h 16095"/>
                <a:gd name="T62" fmla="*/ 51 w 16095"/>
                <a:gd name="T63" fmla="*/ 13112 h 16095"/>
                <a:gd name="T64" fmla="*/ 17 w 16095"/>
                <a:gd name="T65" fmla="*/ 13888 h 16095"/>
                <a:gd name="T66" fmla="*/ 320 w 16095"/>
                <a:gd name="T67" fmla="*/ 14775 h 16095"/>
                <a:gd name="T68" fmla="*/ 1277 w 16095"/>
                <a:gd name="T69" fmla="*/ 15690 h 16095"/>
                <a:gd name="T70" fmla="*/ 2674 w 16095"/>
                <a:gd name="T71" fmla="*/ 16087 h 16095"/>
                <a:gd name="T72" fmla="*/ 3792 w 16095"/>
                <a:gd name="T73" fmla="*/ 15996 h 16095"/>
                <a:gd name="T74" fmla="*/ 4864 w 16095"/>
                <a:gd name="T75" fmla="*/ 15590 h 16095"/>
                <a:gd name="T76" fmla="*/ 5766 w 16095"/>
                <a:gd name="T77" fmla="*/ 14893 h 16095"/>
                <a:gd name="T78" fmla="*/ 6343 w 16095"/>
                <a:gd name="T79" fmla="*/ 14007 h 16095"/>
                <a:gd name="T80" fmla="*/ 6528 w 16095"/>
                <a:gd name="T81" fmla="*/ 13143 h 16095"/>
                <a:gd name="T82" fmla="*/ 15089 w 16095"/>
                <a:gd name="T83" fmla="*/ 9642 h 16095"/>
                <a:gd name="T84" fmla="*/ 14397 w 16095"/>
                <a:gd name="T85" fmla="*/ 9270 h 16095"/>
                <a:gd name="T86" fmla="*/ 13586 w 16095"/>
                <a:gd name="T87" fmla="*/ 9076 h 16095"/>
                <a:gd name="T88" fmla="*/ 12620 w 16095"/>
                <a:gd name="T89" fmla="*/ 9094 h 16095"/>
                <a:gd name="T90" fmla="*/ 11560 w 16095"/>
                <a:gd name="T91" fmla="*/ 9397 h 16095"/>
                <a:gd name="T92" fmla="*/ 10577 w 16095"/>
                <a:gd name="T93" fmla="*/ 10017 h 16095"/>
                <a:gd name="T94" fmla="*/ 9884 w 16095"/>
                <a:gd name="T95" fmla="*/ 10868 h 16095"/>
                <a:gd name="T96" fmla="*/ 9598 w 16095"/>
                <a:gd name="T97" fmla="*/ 11664 h 16095"/>
                <a:gd name="T98" fmla="*/ 9583 w 16095"/>
                <a:gd name="T99" fmla="*/ 12438 h 16095"/>
                <a:gd name="T100" fmla="*/ 9931 w 16095"/>
                <a:gd name="T101" fmla="*/ 13352 h 16095"/>
                <a:gd name="T102" fmla="*/ 10929 w 16095"/>
                <a:gd name="T103" fmla="*/ 14231 h 16095"/>
                <a:gd name="T104" fmla="*/ 12350 w 16095"/>
                <a:gd name="T105" fmla="*/ 14584 h 16095"/>
                <a:gd name="T106" fmla="*/ 13429 w 16095"/>
                <a:gd name="T107" fmla="*/ 14468 h 16095"/>
                <a:gd name="T108" fmla="*/ 14500 w 16095"/>
                <a:gd name="T109" fmla="*/ 14037 h 16095"/>
                <a:gd name="T110" fmla="*/ 15380 w 16095"/>
                <a:gd name="T111" fmla="*/ 13320 h 16095"/>
                <a:gd name="T112" fmla="*/ 15926 w 16095"/>
                <a:gd name="T113" fmla="*/ 12432 h 16095"/>
                <a:gd name="T114" fmla="*/ 16086 w 16095"/>
                <a:gd name="T115" fmla="*/ 11568 h 16095"/>
                <a:gd name="T116" fmla="*/ 16065 w 16095"/>
                <a:gd name="T117" fmla="*/ 761 h 16095"/>
                <a:gd name="T118" fmla="*/ 15920 w 16095"/>
                <a:gd name="T119" fmla="*/ 439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95" h="16095">
                  <a:moveTo>
                    <a:pt x="15069" y="2515"/>
                  </a:moveTo>
                  <a:lnTo>
                    <a:pt x="6518" y="4024"/>
                  </a:lnTo>
                  <a:lnTo>
                    <a:pt x="6518" y="3521"/>
                  </a:lnTo>
                  <a:lnTo>
                    <a:pt x="6518" y="2515"/>
                  </a:lnTo>
                  <a:lnTo>
                    <a:pt x="15069" y="1006"/>
                  </a:lnTo>
                  <a:lnTo>
                    <a:pt x="15069" y="2012"/>
                  </a:lnTo>
                  <a:lnTo>
                    <a:pt x="15069" y="2515"/>
                  </a:lnTo>
                  <a:close/>
                  <a:moveTo>
                    <a:pt x="13405" y="13423"/>
                  </a:moveTo>
                  <a:lnTo>
                    <a:pt x="13292" y="13458"/>
                  </a:lnTo>
                  <a:lnTo>
                    <a:pt x="13179" y="13488"/>
                  </a:lnTo>
                  <a:lnTo>
                    <a:pt x="13066" y="13515"/>
                  </a:lnTo>
                  <a:lnTo>
                    <a:pt x="12953" y="13537"/>
                  </a:lnTo>
                  <a:lnTo>
                    <a:pt x="12841" y="13554"/>
                  </a:lnTo>
                  <a:lnTo>
                    <a:pt x="12729" y="13567"/>
                  </a:lnTo>
                  <a:lnTo>
                    <a:pt x="12618" y="13576"/>
                  </a:lnTo>
                  <a:lnTo>
                    <a:pt x="12509" y="13580"/>
                  </a:lnTo>
                  <a:lnTo>
                    <a:pt x="12400" y="13580"/>
                  </a:lnTo>
                  <a:lnTo>
                    <a:pt x="12293" y="13576"/>
                  </a:lnTo>
                  <a:lnTo>
                    <a:pt x="12187" y="13568"/>
                  </a:lnTo>
                  <a:lnTo>
                    <a:pt x="12082" y="13556"/>
                  </a:lnTo>
                  <a:lnTo>
                    <a:pt x="11981" y="13540"/>
                  </a:lnTo>
                  <a:lnTo>
                    <a:pt x="11880" y="13520"/>
                  </a:lnTo>
                  <a:lnTo>
                    <a:pt x="11783" y="13495"/>
                  </a:lnTo>
                  <a:lnTo>
                    <a:pt x="11687" y="13467"/>
                  </a:lnTo>
                  <a:lnTo>
                    <a:pt x="11593" y="13436"/>
                  </a:lnTo>
                  <a:lnTo>
                    <a:pt x="11503" y="13401"/>
                  </a:lnTo>
                  <a:lnTo>
                    <a:pt x="11415" y="13362"/>
                  </a:lnTo>
                  <a:lnTo>
                    <a:pt x="11332" y="13319"/>
                  </a:lnTo>
                  <a:lnTo>
                    <a:pt x="11250" y="13273"/>
                  </a:lnTo>
                  <a:lnTo>
                    <a:pt x="11173" y="13223"/>
                  </a:lnTo>
                  <a:lnTo>
                    <a:pt x="11099" y="13171"/>
                  </a:lnTo>
                  <a:lnTo>
                    <a:pt x="11028" y="13114"/>
                  </a:lnTo>
                  <a:lnTo>
                    <a:pt x="10963" y="13054"/>
                  </a:lnTo>
                  <a:lnTo>
                    <a:pt x="10900" y="12991"/>
                  </a:lnTo>
                  <a:lnTo>
                    <a:pt x="10842" y="12925"/>
                  </a:lnTo>
                  <a:lnTo>
                    <a:pt x="10789" y="12856"/>
                  </a:lnTo>
                  <a:lnTo>
                    <a:pt x="10740" y="12783"/>
                  </a:lnTo>
                  <a:lnTo>
                    <a:pt x="10696" y="12708"/>
                  </a:lnTo>
                  <a:lnTo>
                    <a:pt x="10658" y="12629"/>
                  </a:lnTo>
                  <a:lnTo>
                    <a:pt x="10625" y="12548"/>
                  </a:lnTo>
                  <a:lnTo>
                    <a:pt x="10597" y="12464"/>
                  </a:lnTo>
                  <a:lnTo>
                    <a:pt x="10574" y="12380"/>
                  </a:lnTo>
                  <a:lnTo>
                    <a:pt x="10558" y="12295"/>
                  </a:lnTo>
                  <a:lnTo>
                    <a:pt x="10548" y="12210"/>
                  </a:lnTo>
                  <a:lnTo>
                    <a:pt x="10543" y="12124"/>
                  </a:lnTo>
                  <a:lnTo>
                    <a:pt x="10544" y="12038"/>
                  </a:lnTo>
                  <a:lnTo>
                    <a:pt x="10550" y="11952"/>
                  </a:lnTo>
                  <a:lnTo>
                    <a:pt x="10562" y="11867"/>
                  </a:lnTo>
                  <a:lnTo>
                    <a:pt x="10579" y="11781"/>
                  </a:lnTo>
                  <a:lnTo>
                    <a:pt x="10602" y="11696"/>
                  </a:lnTo>
                  <a:lnTo>
                    <a:pt x="10630" y="11611"/>
                  </a:lnTo>
                  <a:lnTo>
                    <a:pt x="10662" y="11527"/>
                  </a:lnTo>
                  <a:lnTo>
                    <a:pt x="10699" y="11444"/>
                  </a:lnTo>
                  <a:lnTo>
                    <a:pt x="10741" y="11362"/>
                  </a:lnTo>
                  <a:lnTo>
                    <a:pt x="10788" y="11281"/>
                  </a:lnTo>
                  <a:lnTo>
                    <a:pt x="10840" y="11201"/>
                  </a:lnTo>
                  <a:lnTo>
                    <a:pt x="10895" y="11122"/>
                  </a:lnTo>
                  <a:lnTo>
                    <a:pt x="10956" y="11046"/>
                  </a:lnTo>
                  <a:lnTo>
                    <a:pt x="11020" y="10971"/>
                  </a:lnTo>
                  <a:lnTo>
                    <a:pt x="11089" y="10898"/>
                  </a:lnTo>
                  <a:lnTo>
                    <a:pt x="11162" y="10827"/>
                  </a:lnTo>
                  <a:lnTo>
                    <a:pt x="11239" y="10757"/>
                  </a:lnTo>
                  <a:lnTo>
                    <a:pt x="11320" y="10691"/>
                  </a:lnTo>
                  <a:lnTo>
                    <a:pt x="11404" y="10626"/>
                  </a:lnTo>
                  <a:lnTo>
                    <a:pt x="11493" y="10565"/>
                  </a:lnTo>
                  <a:lnTo>
                    <a:pt x="11585" y="10506"/>
                  </a:lnTo>
                  <a:lnTo>
                    <a:pt x="11681" y="10449"/>
                  </a:lnTo>
                  <a:lnTo>
                    <a:pt x="11780" y="10396"/>
                  </a:lnTo>
                  <a:lnTo>
                    <a:pt x="11881" y="10347"/>
                  </a:lnTo>
                  <a:lnTo>
                    <a:pt x="11987" y="10300"/>
                  </a:lnTo>
                  <a:lnTo>
                    <a:pt x="12095" y="10257"/>
                  </a:lnTo>
                  <a:lnTo>
                    <a:pt x="12207" y="10217"/>
                  </a:lnTo>
                  <a:lnTo>
                    <a:pt x="12320" y="10182"/>
                  </a:lnTo>
                  <a:lnTo>
                    <a:pt x="12433" y="10152"/>
                  </a:lnTo>
                  <a:lnTo>
                    <a:pt x="12546" y="10125"/>
                  </a:lnTo>
                  <a:lnTo>
                    <a:pt x="12659" y="10103"/>
                  </a:lnTo>
                  <a:lnTo>
                    <a:pt x="12771" y="10086"/>
                  </a:lnTo>
                  <a:lnTo>
                    <a:pt x="12883" y="10073"/>
                  </a:lnTo>
                  <a:lnTo>
                    <a:pt x="12994" y="10065"/>
                  </a:lnTo>
                  <a:lnTo>
                    <a:pt x="13103" y="10060"/>
                  </a:lnTo>
                  <a:lnTo>
                    <a:pt x="13212" y="10060"/>
                  </a:lnTo>
                  <a:lnTo>
                    <a:pt x="13320" y="10064"/>
                  </a:lnTo>
                  <a:lnTo>
                    <a:pt x="13425" y="10072"/>
                  </a:lnTo>
                  <a:lnTo>
                    <a:pt x="13530" y="10084"/>
                  </a:lnTo>
                  <a:lnTo>
                    <a:pt x="13631" y="10100"/>
                  </a:lnTo>
                  <a:lnTo>
                    <a:pt x="13732" y="10121"/>
                  </a:lnTo>
                  <a:lnTo>
                    <a:pt x="13830" y="10145"/>
                  </a:lnTo>
                  <a:lnTo>
                    <a:pt x="13925" y="10173"/>
                  </a:lnTo>
                  <a:lnTo>
                    <a:pt x="14019" y="10204"/>
                  </a:lnTo>
                  <a:lnTo>
                    <a:pt x="14109" y="10239"/>
                  </a:lnTo>
                  <a:lnTo>
                    <a:pt x="14197" y="10278"/>
                  </a:lnTo>
                  <a:lnTo>
                    <a:pt x="14280" y="10321"/>
                  </a:lnTo>
                  <a:lnTo>
                    <a:pt x="14362" y="10367"/>
                  </a:lnTo>
                  <a:lnTo>
                    <a:pt x="14439" y="10417"/>
                  </a:lnTo>
                  <a:lnTo>
                    <a:pt x="14514" y="10469"/>
                  </a:lnTo>
                  <a:lnTo>
                    <a:pt x="14584" y="10526"/>
                  </a:lnTo>
                  <a:lnTo>
                    <a:pt x="14649" y="10586"/>
                  </a:lnTo>
                  <a:lnTo>
                    <a:pt x="14712" y="10650"/>
                  </a:lnTo>
                  <a:lnTo>
                    <a:pt x="14770" y="10715"/>
                  </a:lnTo>
                  <a:lnTo>
                    <a:pt x="14823" y="10784"/>
                  </a:lnTo>
                  <a:lnTo>
                    <a:pt x="14872" y="10857"/>
                  </a:lnTo>
                  <a:lnTo>
                    <a:pt x="14916" y="10933"/>
                  </a:lnTo>
                  <a:lnTo>
                    <a:pt x="14954" y="11012"/>
                  </a:lnTo>
                  <a:lnTo>
                    <a:pt x="14987" y="11093"/>
                  </a:lnTo>
                  <a:lnTo>
                    <a:pt x="15016" y="11177"/>
                  </a:lnTo>
                  <a:lnTo>
                    <a:pt x="15038" y="11260"/>
                  </a:lnTo>
                  <a:lnTo>
                    <a:pt x="15054" y="11346"/>
                  </a:lnTo>
                  <a:lnTo>
                    <a:pt x="15064" y="11430"/>
                  </a:lnTo>
                  <a:lnTo>
                    <a:pt x="15069" y="11516"/>
                  </a:lnTo>
                  <a:lnTo>
                    <a:pt x="15068" y="11602"/>
                  </a:lnTo>
                  <a:lnTo>
                    <a:pt x="15062" y="11688"/>
                  </a:lnTo>
                  <a:lnTo>
                    <a:pt x="15050" y="11773"/>
                  </a:lnTo>
                  <a:lnTo>
                    <a:pt x="15033" y="11860"/>
                  </a:lnTo>
                  <a:lnTo>
                    <a:pt x="15011" y="11944"/>
                  </a:lnTo>
                  <a:lnTo>
                    <a:pt x="14982" y="12029"/>
                  </a:lnTo>
                  <a:lnTo>
                    <a:pt x="14950" y="12113"/>
                  </a:lnTo>
                  <a:lnTo>
                    <a:pt x="14913" y="12196"/>
                  </a:lnTo>
                  <a:lnTo>
                    <a:pt x="14871" y="12278"/>
                  </a:lnTo>
                  <a:lnTo>
                    <a:pt x="14825" y="12360"/>
                  </a:lnTo>
                  <a:lnTo>
                    <a:pt x="14773" y="12439"/>
                  </a:lnTo>
                  <a:lnTo>
                    <a:pt x="14717" y="12518"/>
                  </a:lnTo>
                  <a:lnTo>
                    <a:pt x="14657" y="12594"/>
                  </a:lnTo>
                  <a:lnTo>
                    <a:pt x="14592" y="12670"/>
                  </a:lnTo>
                  <a:lnTo>
                    <a:pt x="14523" y="12742"/>
                  </a:lnTo>
                  <a:lnTo>
                    <a:pt x="14450" y="12813"/>
                  </a:lnTo>
                  <a:lnTo>
                    <a:pt x="14373" y="12883"/>
                  </a:lnTo>
                  <a:lnTo>
                    <a:pt x="14292" y="12949"/>
                  </a:lnTo>
                  <a:lnTo>
                    <a:pt x="14208" y="13014"/>
                  </a:lnTo>
                  <a:lnTo>
                    <a:pt x="14119" y="13075"/>
                  </a:lnTo>
                  <a:lnTo>
                    <a:pt x="14027" y="13134"/>
                  </a:lnTo>
                  <a:lnTo>
                    <a:pt x="13931" y="13191"/>
                  </a:lnTo>
                  <a:lnTo>
                    <a:pt x="13833" y="13244"/>
                  </a:lnTo>
                  <a:lnTo>
                    <a:pt x="13731" y="13293"/>
                  </a:lnTo>
                  <a:lnTo>
                    <a:pt x="13625" y="13341"/>
                  </a:lnTo>
                  <a:lnTo>
                    <a:pt x="13517" y="13383"/>
                  </a:lnTo>
                  <a:lnTo>
                    <a:pt x="13405" y="13423"/>
                  </a:lnTo>
                  <a:close/>
                  <a:moveTo>
                    <a:pt x="3867" y="14932"/>
                  </a:moveTo>
                  <a:lnTo>
                    <a:pt x="3753" y="14967"/>
                  </a:lnTo>
                  <a:lnTo>
                    <a:pt x="3640" y="14997"/>
                  </a:lnTo>
                  <a:lnTo>
                    <a:pt x="3528" y="15024"/>
                  </a:lnTo>
                  <a:lnTo>
                    <a:pt x="3415" y="15046"/>
                  </a:lnTo>
                  <a:lnTo>
                    <a:pt x="3302" y="15063"/>
                  </a:lnTo>
                  <a:lnTo>
                    <a:pt x="3191" y="15076"/>
                  </a:lnTo>
                  <a:lnTo>
                    <a:pt x="3080" y="15084"/>
                  </a:lnTo>
                  <a:lnTo>
                    <a:pt x="2971" y="15089"/>
                  </a:lnTo>
                  <a:lnTo>
                    <a:pt x="2862" y="15089"/>
                  </a:lnTo>
                  <a:lnTo>
                    <a:pt x="2754" y="15085"/>
                  </a:lnTo>
                  <a:lnTo>
                    <a:pt x="2649" y="15077"/>
                  </a:lnTo>
                  <a:lnTo>
                    <a:pt x="2544" y="15065"/>
                  </a:lnTo>
                  <a:lnTo>
                    <a:pt x="2442" y="15049"/>
                  </a:lnTo>
                  <a:lnTo>
                    <a:pt x="2342" y="15028"/>
                  </a:lnTo>
                  <a:lnTo>
                    <a:pt x="2243" y="15004"/>
                  </a:lnTo>
                  <a:lnTo>
                    <a:pt x="2148" y="14976"/>
                  </a:lnTo>
                  <a:lnTo>
                    <a:pt x="2055" y="14945"/>
                  </a:lnTo>
                  <a:lnTo>
                    <a:pt x="1965" y="14909"/>
                  </a:lnTo>
                  <a:lnTo>
                    <a:pt x="1877" y="14871"/>
                  </a:lnTo>
                  <a:lnTo>
                    <a:pt x="1793" y="14827"/>
                  </a:lnTo>
                  <a:lnTo>
                    <a:pt x="1712" y="14782"/>
                  </a:lnTo>
                  <a:lnTo>
                    <a:pt x="1635" y="14732"/>
                  </a:lnTo>
                  <a:lnTo>
                    <a:pt x="1560" y="14680"/>
                  </a:lnTo>
                  <a:lnTo>
                    <a:pt x="1490" y="14623"/>
                  </a:lnTo>
                  <a:lnTo>
                    <a:pt x="1423" y="14563"/>
                  </a:lnTo>
                  <a:lnTo>
                    <a:pt x="1362" y="14499"/>
                  </a:lnTo>
                  <a:lnTo>
                    <a:pt x="1304" y="14434"/>
                  </a:lnTo>
                  <a:lnTo>
                    <a:pt x="1250" y="14365"/>
                  </a:lnTo>
                  <a:lnTo>
                    <a:pt x="1202" y="14292"/>
                  </a:lnTo>
                  <a:lnTo>
                    <a:pt x="1158" y="14217"/>
                  </a:lnTo>
                  <a:lnTo>
                    <a:pt x="1120" y="14138"/>
                  </a:lnTo>
                  <a:lnTo>
                    <a:pt x="1085" y="14057"/>
                  </a:lnTo>
                  <a:lnTo>
                    <a:pt x="1058" y="13973"/>
                  </a:lnTo>
                  <a:lnTo>
                    <a:pt x="1036" y="13889"/>
                  </a:lnTo>
                  <a:lnTo>
                    <a:pt x="1020" y="13804"/>
                  </a:lnTo>
                  <a:lnTo>
                    <a:pt x="1009" y="13719"/>
                  </a:lnTo>
                  <a:lnTo>
                    <a:pt x="1005" y="13633"/>
                  </a:lnTo>
                  <a:lnTo>
                    <a:pt x="1006" y="13547"/>
                  </a:lnTo>
                  <a:lnTo>
                    <a:pt x="1012" y="13461"/>
                  </a:lnTo>
                  <a:lnTo>
                    <a:pt x="1024" y="13376"/>
                  </a:lnTo>
                  <a:lnTo>
                    <a:pt x="1041" y="13290"/>
                  </a:lnTo>
                  <a:lnTo>
                    <a:pt x="1063" y="13205"/>
                  </a:lnTo>
                  <a:lnTo>
                    <a:pt x="1091" y="13120"/>
                  </a:lnTo>
                  <a:lnTo>
                    <a:pt x="1124" y="13036"/>
                  </a:lnTo>
                  <a:lnTo>
                    <a:pt x="1161" y="12953"/>
                  </a:lnTo>
                  <a:lnTo>
                    <a:pt x="1203" y="12871"/>
                  </a:lnTo>
                  <a:lnTo>
                    <a:pt x="1249" y="12790"/>
                  </a:lnTo>
                  <a:lnTo>
                    <a:pt x="1302" y="12710"/>
                  </a:lnTo>
                  <a:lnTo>
                    <a:pt x="1357" y="12631"/>
                  </a:lnTo>
                  <a:lnTo>
                    <a:pt x="1417" y="12555"/>
                  </a:lnTo>
                  <a:lnTo>
                    <a:pt x="1482" y="12479"/>
                  </a:lnTo>
                  <a:lnTo>
                    <a:pt x="1551" y="12407"/>
                  </a:lnTo>
                  <a:lnTo>
                    <a:pt x="1624" y="12336"/>
                  </a:lnTo>
                  <a:lnTo>
                    <a:pt x="1701" y="12266"/>
                  </a:lnTo>
                  <a:lnTo>
                    <a:pt x="1782" y="12200"/>
                  </a:lnTo>
                  <a:lnTo>
                    <a:pt x="1866" y="12135"/>
                  </a:lnTo>
                  <a:lnTo>
                    <a:pt x="1955" y="12074"/>
                  </a:lnTo>
                  <a:lnTo>
                    <a:pt x="2046" y="12015"/>
                  </a:lnTo>
                  <a:lnTo>
                    <a:pt x="2142" y="11958"/>
                  </a:lnTo>
                  <a:lnTo>
                    <a:pt x="2241" y="11905"/>
                  </a:lnTo>
                  <a:lnTo>
                    <a:pt x="2343" y="11856"/>
                  </a:lnTo>
                  <a:lnTo>
                    <a:pt x="2448" y="11808"/>
                  </a:lnTo>
                  <a:lnTo>
                    <a:pt x="2557" y="11765"/>
                  </a:lnTo>
                  <a:lnTo>
                    <a:pt x="2668" y="11726"/>
                  </a:lnTo>
                  <a:lnTo>
                    <a:pt x="2781" y="11691"/>
                  </a:lnTo>
                  <a:lnTo>
                    <a:pt x="2894" y="11661"/>
                  </a:lnTo>
                  <a:lnTo>
                    <a:pt x="3008" y="11634"/>
                  </a:lnTo>
                  <a:lnTo>
                    <a:pt x="3120" y="11612"/>
                  </a:lnTo>
                  <a:lnTo>
                    <a:pt x="3232" y="11595"/>
                  </a:lnTo>
                  <a:lnTo>
                    <a:pt x="3344" y="11582"/>
                  </a:lnTo>
                  <a:lnTo>
                    <a:pt x="3454" y="11573"/>
                  </a:lnTo>
                  <a:lnTo>
                    <a:pt x="3565" y="11569"/>
                  </a:lnTo>
                  <a:lnTo>
                    <a:pt x="3674" y="11569"/>
                  </a:lnTo>
                  <a:lnTo>
                    <a:pt x="3780" y="11573"/>
                  </a:lnTo>
                  <a:lnTo>
                    <a:pt x="3887" y="11581"/>
                  </a:lnTo>
                  <a:lnTo>
                    <a:pt x="3991" y="11593"/>
                  </a:lnTo>
                  <a:lnTo>
                    <a:pt x="4093" y="11609"/>
                  </a:lnTo>
                  <a:lnTo>
                    <a:pt x="4194" y="11629"/>
                  </a:lnTo>
                  <a:lnTo>
                    <a:pt x="4291" y="11654"/>
                  </a:lnTo>
                  <a:lnTo>
                    <a:pt x="4387" y="11682"/>
                  </a:lnTo>
                  <a:lnTo>
                    <a:pt x="4480" y="11713"/>
                  </a:lnTo>
                  <a:lnTo>
                    <a:pt x="4570" y="11748"/>
                  </a:lnTo>
                  <a:lnTo>
                    <a:pt x="4657" y="11787"/>
                  </a:lnTo>
                  <a:lnTo>
                    <a:pt x="4742" y="11830"/>
                  </a:lnTo>
                  <a:lnTo>
                    <a:pt x="4823" y="11876"/>
                  </a:lnTo>
                  <a:lnTo>
                    <a:pt x="4901" y="11925"/>
                  </a:lnTo>
                  <a:lnTo>
                    <a:pt x="4975" y="11978"/>
                  </a:lnTo>
                  <a:lnTo>
                    <a:pt x="5045" y="12035"/>
                  </a:lnTo>
                  <a:lnTo>
                    <a:pt x="5111" y="12095"/>
                  </a:lnTo>
                  <a:lnTo>
                    <a:pt x="5174" y="12158"/>
                  </a:lnTo>
                  <a:lnTo>
                    <a:pt x="5231" y="12224"/>
                  </a:lnTo>
                  <a:lnTo>
                    <a:pt x="5284" y="12293"/>
                  </a:lnTo>
                  <a:lnTo>
                    <a:pt x="5333" y="12366"/>
                  </a:lnTo>
                  <a:lnTo>
                    <a:pt x="5377" y="12441"/>
                  </a:lnTo>
                  <a:lnTo>
                    <a:pt x="5416" y="12521"/>
                  </a:lnTo>
                  <a:lnTo>
                    <a:pt x="5449" y="12602"/>
                  </a:lnTo>
                  <a:lnTo>
                    <a:pt x="5477" y="12686"/>
                  </a:lnTo>
                  <a:lnTo>
                    <a:pt x="5499" y="12769"/>
                  </a:lnTo>
                  <a:lnTo>
                    <a:pt x="5516" y="12855"/>
                  </a:lnTo>
                  <a:lnTo>
                    <a:pt x="5526" y="12939"/>
                  </a:lnTo>
                  <a:lnTo>
                    <a:pt x="5531" y="13025"/>
                  </a:lnTo>
                  <a:lnTo>
                    <a:pt x="5530" y="13111"/>
                  </a:lnTo>
                  <a:lnTo>
                    <a:pt x="5524" y="13197"/>
                  </a:lnTo>
                  <a:lnTo>
                    <a:pt x="5512" y="13282"/>
                  </a:lnTo>
                  <a:lnTo>
                    <a:pt x="5494" y="13368"/>
                  </a:lnTo>
                  <a:lnTo>
                    <a:pt x="5472" y="13453"/>
                  </a:lnTo>
                  <a:lnTo>
                    <a:pt x="5444" y="13538"/>
                  </a:lnTo>
                  <a:lnTo>
                    <a:pt x="5412" y="13622"/>
                  </a:lnTo>
                  <a:lnTo>
                    <a:pt x="5375" y="13705"/>
                  </a:lnTo>
                  <a:lnTo>
                    <a:pt x="5332" y="13787"/>
                  </a:lnTo>
                  <a:lnTo>
                    <a:pt x="5285" y="13869"/>
                  </a:lnTo>
                  <a:lnTo>
                    <a:pt x="5234" y="13948"/>
                  </a:lnTo>
                  <a:lnTo>
                    <a:pt x="5179" y="14027"/>
                  </a:lnTo>
                  <a:lnTo>
                    <a:pt x="5118" y="14103"/>
                  </a:lnTo>
                  <a:lnTo>
                    <a:pt x="5054" y="14179"/>
                  </a:lnTo>
                  <a:lnTo>
                    <a:pt x="4984" y="14251"/>
                  </a:lnTo>
                  <a:lnTo>
                    <a:pt x="4912" y="14322"/>
                  </a:lnTo>
                  <a:lnTo>
                    <a:pt x="4835" y="14392"/>
                  </a:lnTo>
                  <a:lnTo>
                    <a:pt x="4754" y="14458"/>
                  </a:lnTo>
                  <a:lnTo>
                    <a:pt x="4670" y="14523"/>
                  </a:lnTo>
                  <a:lnTo>
                    <a:pt x="4581" y="14584"/>
                  </a:lnTo>
                  <a:lnTo>
                    <a:pt x="4488" y="14643"/>
                  </a:lnTo>
                  <a:lnTo>
                    <a:pt x="4393" y="14700"/>
                  </a:lnTo>
                  <a:lnTo>
                    <a:pt x="4294" y="14753"/>
                  </a:lnTo>
                  <a:lnTo>
                    <a:pt x="4192" y="14802"/>
                  </a:lnTo>
                  <a:lnTo>
                    <a:pt x="4087" y="14849"/>
                  </a:lnTo>
                  <a:lnTo>
                    <a:pt x="3978" y="14892"/>
                  </a:lnTo>
                  <a:lnTo>
                    <a:pt x="3867" y="14932"/>
                  </a:lnTo>
                  <a:close/>
                  <a:moveTo>
                    <a:pt x="15735" y="235"/>
                  </a:moveTo>
                  <a:lnTo>
                    <a:pt x="15701" y="208"/>
                  </a:lnTo>
                  <a:lnTo>
                    <a:pt x="15665" y="182"/>
                  </a:lnTo>
                  <a:lnTo>
                    <a:pt x="15628" y="157"/>
                  </a:lnTo>
                  <a:lnTo>
                    <a:pt x="15591" y="134"/>
                  </a:lnTo>
                  <a:lnTo>
                    <a:pt x="15552" y="113"/>
                  </a:lnTo>
                  <a:lnTo>
                    <a:pt x="15513" y="94"/>
                  </a:lnTo>
                  <a:lnTo>
                    <a:pt x="15473" y="76"/>
                  </a:lnTo>
                  <a:lnTo>
                    <a:pt x="15432" y="60"/>
                  </a:lnTo>
                  <a:lnTo>
                    <a:pt x="15391" y="46"/>
                  </a:lnTo>
                  <a:lnTo>
                    <a:pt x="15349" y="34"/>
                  </a:lnTo>
                  <a:lnTo>
                    <a:pt x="15306" y="24"/>
                  </a:lnTo>
                  <a:lnTo>
                    <a:pt x="15263" y="15"/>
                  </a:lnTo>
                  <a:lnTo>
                    <a:pt x="15220" y="9"/>
                  </a:lnTo>
                  <a:lnTo>
                    <a:pt x="15177" y="4"/>
                  </a:lnTo>
                  <a:lnTo>
                    <a:pt x="15133" y="1"/>
                  </a:lnTo>
                  <a:lnTo>
                    <a:pt x="15089" y="0"/>
                  </a:lnTo>
                  <a:lnTo>
                    <a:pt x="15067" y="0"/>
                  </a:lnTo>
                  <a:lnTo>
                    <a:pt x="15046" y="1"/>
                  </a:lnTo>
                  <a:lnTo>
                    <a:pt x="15024" y="2"/>
                  </a:lnTo>
                  <a:lnTo>
                    <a:pt x="15002" y="4"/>
                  </a:lnTo>
                  <a:lnTo>
                    <a:pt x="14979" y="6"/>
                  </a:lnTo>
                  <a:lnTo>
                    <a:pt x="14958" y="9"/>
                  </a:lnTo>
                  <a:lnTo>
                    <a:pt x="14936" y="12"/>
                  </a:lnTo>
                  <a:lnTo>
                    <a:pt x="14914" y="15"/>
                  </a:lnTo>
                  <a:lnTo>
                    <a:pt x="6363" y="1524"/>
                  </a:lnTo>
                  <a:lnTo>
                    <a:pt x="6318" y="1533"/>
                  </a:lnTo>
                  <a:lnTo>
                    <a:pt x="6274" y="1544"/>
                  </a:lnTo>
                  <a:lnTo>
                    <a:pt x="6232" y="1557"/>
                  </a:lnTo>
                  <a:lnTo>
                    <a:pt x="6190" y="1571"/>
                  </a:lnTo>
                  <a:lnTo>
                    <a:pt x="6148" y="1587"/>
                  </a:lnTo>
                  <a:lnTo>
                    <a:pt x="6108" y="1606"/>
                  </a:lnTo>
                  <a:lnTo>
                    <a:pt x="6069" y="1625"/>
                  </a:lnTo>
                  <a:lnTo>
                    <a:pt x="6031" y="1646"/>
                  </a:lnTo>
                  <a:lnTo>
                    <a:pt x="5993" y="1669"/>
                  </a:lnTo>
                  <a:lnTo>
                    <a:pt x="5957" y="1693"/>
                  </a:lnTo>
                  <a:lnTo>
                    <a:pt x="5923" y="1719"/>
                  </a:lnTo>
                  <a:lnTo>
                    <a:pt x="5889" y="1746"/>
                  </a:lnTo>
                  <a:lnTo>
                    <a:pt x="5857" y="1775"/>
                  </a:lnTo>
                  <a:lnTo>
                    <a:pt x="5825" y="1805"/>
                  </a:lnTo>
                  <a:lnTo>
                    <a:pt x="5795" y="1836"/>
                  </a:lnTo>
                  <a:lnTo>
                    <a:pt x="5767" y="1868"/>
                  </a:lnTo>
                  <a:lnTo>
                    <a:pt x="5740" y="1901"/>
                  </a:lnTo>
                  <a:lnTo>
                    <a:pt x="5715" y="1937"/>
                  </a:lnTo>
                  <a:lnTo>
                    <a:pt x="5691" y="1973"/>
                  </a:lnTo>
                  <a:lnTo>
                    <a:pt x="5668" y="2009"/>
                  </a:lnTo>
                  <a:lnTo>
                    <a:pt x="5647" y="2047"/>
                  </a:lnTo>
                  <a:lnTo>
                    <a:pt x="5628" y="2085"/>
                  </a:lnTo>
                  <a:lnTo>
                    <a:pt x="5610" y="2126"/>
                  </a:lnTo>
                  <a:lnTo>
                    <a:pt x="5594" y="2166"/>
                  </a:lnTo>
                  <a:lnTo>
                    <a:pt x="5580" y="2207"/>
                  </a:lnTo>
                  <a:lnTo>
                    <a:pt x="5568" y="2249"/>
                  </a:lnTo>
                  <a:lnTo>
                    <a:pt x="5557" y="2292"/>
                  </a:lnTo>
                  <a:lnTo>
                    <a:pt x="5548" y="2336"/>
                  </a:lnTo>
                  <a:lnTo>
                    <a:pt x="5541" y="2379"/>
                  </a:lnTo>
                  <a:lnTo>
                    <a:pt x="5536" y="2424"/>
                  </a:lnTo>
                  <a:lnTo>
                    <a:pt x="5533" y="2470"/>
                  </a:lnTo>
                  <a:lnTo>
                    <a:pt x="5532" y="2515"/>
                  </a:lnTo>
                  <a:lnTo>
                    <a:pt x="5532" y="3521"/>
                  </a:lnTo>
                  <a:lnTo>
                    <a:pt x="5532" y="4024"/>
                  </a:lnTo>
                  <a:lnTo>
                    <a:pt x="5532" y="11151"/>
                  </a:lnTo>
                  <a:lnTo>
                    <a:pt x="5483" y="11116"/>
                  </a:lnTo>
                  <a:lnTo>
                    <a:pt x="5434" y="11083"/>
                  </a:lnTo>
                  <a:lnTo>
                    <a:pt x="5385" y="11051"/>
                  </a:lnTo>
                  <a:lnTo>
                    <a:pt x="5333" y="11020"/>
                  </a:lnTo>
                  <a:lnTo>
                    <a:pt x="5282" y="10989"/>
                  </a:lnTo>
                  <a:lnTo>
                    <a:pt x="5230" y="10959"/>
                  </a:lnTo>
                  <a:lnTo>
                    <a:pt x="5177" y="10930"/>
                  </a:lnTo>
                  <a:lnTo>
                    <a:pt x="5122" y="10903"/>
                  </a:lnTo>
                  <a:lnTo>
                    <a:pt x="5067" y="10876"/>
                  </a:lnTo>
                  <a:lnTo>
                    <a:pt x="5012" y="10851"/>
                  </a:lnTo>
                  <a:lnTo>
                    <a:pt x="4955" y="10826"/>
                  </a:lnTo>
                  <a:lnTo>
                    <a:pt x="4898" y="10801"/>
                  </a:lnTo>
                  <a:lnTo>
                    <a:pt x="4841" y="10779"/>
                  </a:lnTo>
                  <a:lnTo>
                    <a:pt x="4782" y="10758"/>
                  </a:lnTo>
                  <a:lnTo>
                    <a:pt x="4723" y="10737"/>
                  </a:lnTo>
                  <a:lnTo>
                    <a:pt x="4663" y="10718"/>
                  </a:lnTo>
                  <a:lnTo>
                    <a:pt x="4602" y="10700"/>
                  </a:lnTo>
                  <a:lnTo>
                    <a:pt x="4541" y="10682"/>
                  </a:lnTo>
                  <a:lnTo>
                    <a:pt x="4479" y="10666"/>
                  </a:lnTo>
                  <a:lnTo>
                    <a:pt x="4417" y="10651"/>
                  </a:lnTo>
                  <a:lnTo>
                    <a:pt x="4354" y="10636"/>
                  </a:lnTo>
                  <a:lnTo>
                    <a:pt x="4290" y="10624"/>
                  </a:lnTo>
                  <a:lnTo>
                    <a:pt x="4226" y="10612"/>
                  </a:lnTo>
                  <a:lnTo>
                    <a:pt x="4161" y="10602"/>
                  </a:lnTo>
                  <a:lnTo>
                    <a:pt x="4095" y="10593"/>
                  </a:lnTo>
                  <a:lnTo>
                    <a:pt x="4030" y="10585"/>
                  </a:lnTo>
                  <a:lnTo>
                    <a:pt x="3963" y="10578"/>
                  </a:lnTo>
                  <a:lnTo>
                    <a:pt x="3896" y="10572"/>
                  </a:lnTo>
                  <a:lnTo>
                    <a:pt x="3829" y="10568"/>
                  </a:lnTo>
                  <a:lnTo>
                    <a:pt x="3761" y="10565"/>
                  </a:lnTo>
                  <a:lnTo>
                    <a:pt x="3693" y="10563"/>
                  </a:lnTo>
                  <a:lnTo>
                    <a:pt x="3623" y="10562"/>
                  </a:lnTo>
                  <a:lnTo>
                    <a:pt x="3544" y="10563"/>
                  </a:lnTo>
                  <a:lnTo>
                    <a:pt x="3463" y="10566"/>
                  </a:lnTo>
                  <a:lnTo>
                    <a:pt x="3384" y="10570"/>
                  </a:lnTo>
                  <a:lnTo>
                    <a:pt x="3303" y="10575"/>
                  </a:lnTo>
                  <a:lnTo>
                    <a:pt x="3223" y="10583"/>
                  </a:lnTo>
                  <a:lnTo>
                    <a:pt x="3144" y="10592"/>
                  </a:lnTo>
                  <a:lnTo>
                    <a:pt x="3063" y="10602"/>
                  </a:lnTo>
                  <a:lnTo>
                    <a:pt x="2984" y="10615"/>
                  </a:lnTo>
                  <a:lnTo>
                    <a:pt x="2904" y="10629"/>
                  </a:lnTo>
                  <a:lnTo>
                    <a:pt x="2825" y="10644"/>
                  </a:lnTo>
                  <a:lnTo>
                    <a:pt x="2745" y="10662"/>
                  </a:lnTo>
                  <a:lnTo>
                    <a:pt x="2666" y="10681"/>
                  </a:lnTo>
                  <a:lnTo>
                    <a:pt x="2587" y="10701"/>
                  </a:lnTo>
                  <a:lnTo>
                    <a:pt x="2508" y="10723"/>
                  </a:lnTo>
                  <a:lnTo>
                    <a:pt x="2429" y="10746"/>
                  </a:lnTo>
                  <a:lnTo>
                    <a:pt x="2351" y="10771"/>
                  </a:lnTo>
                  <a:lnTo>
                    <a:pt x="2262" y="10802"/>
                  </a:lnTo>
                  <a:lnTo>
                    <a:pt x="2175" y="10835"/>
                  </a:lnTo>
                  <a:lnTo>
                    <a:pt x="2088" y="10870"/>
                  </a:lnTo>
                  <a:lnTo>
                    <a:pt x="2003" y="10906"/>
                  </a:lnTo>
                  <a:lnTo>
                    <a:pt x="1918" y="10943"/>
                  </a:lnTo>
                  <a:lnTo>
                    <a:pt x="1836" y="10984"/>
                  </a:lnTo>
                  <a:lnTo>
                    <a:pt x="1754" y="11025"/>
                  </a:lnTo>
                  <a:lnTo>
                    <a:pt x="1674" y="11068"/>
                  </a:lnTo>
                  <a:lnTo>
                    <a:pt x="1595" y="11112"/>
                  </a:lnTo>
                  <a:lnTo>
                    <a:pt x="1518" y="11159"/>
                  </a:lnTo>
                  <a:lnTo>
                    <a:pt x="1443" y="11207"/>
                  </a:lnTo>
                  <a:lnTo>
                    <a:pt x="1368" y="11256"/>
                  </a:lnTo>
                  <a:lnTo>
                    <a:pt x="1295" y="11307"/>
                  </a:lnTo>
                  <a:lnTo>
                    <a:pt x="1224" y="11360"/>
                  </a:lnTo>
                  <a:lnTo>
                    <a:pt x="1154" y="11413"/>
                  </a:lnTo>
                  <a:lnTo>
                    <a:pt x="1086" y="11468"/>
                  </a:lnTo>
                  <a:lnTo>
                    <a:pt x="1020" y="11526"/>
                  </a:lnTo>
                  <a:lnTo>
                    <a:pt x="956" y="11583"/>
                  </a:lnTo>
                  <a:lnTo>
                    <a:pt x="892" y="11643"/>
                  </a:lnTo>
                  <a:lnTo>
                    <a:pt x="832" y="11704"/>
                  </a:lnTo>
                  <a:lnTo>
                    <a:pt x="773" y="11766"/>
                  </a:lnTo>
                  <a:lnTo>
                    <a:pt x="715" y="11830"/>
                  </a:lnTo>
                  <a:lnTo>
                    <a:pt x="660" y="11894"/>
                  </a:lnTo>
                  <a:lnTo>
                    <a:pt x="606" y="11959"/>
                  </a:lnTo>
                  <a:lnTo>
                    <a:pt x="554" y="12026"/>
                  </a:lnTo>
                  <a:lnTo>
                    <a:pt x="505" y="12094"/>
                  </a:lnTo>
                  <a:lnTo>
                    <a:pt x="458" y="12164"/>
                  </a:lnTo>
                  <a:lnTo>
                    <a:pt x="412" y="12233"/>
                  </a:lnTo>
                  <a:lnTo>
                    <a:pt x="369" y="12304"/>
                  </a:lnTo>
                  <a:lnTo>
                    <a:pt x="328" y="12377"/>
                  </a:lnTo>
                  <a:lnTo>
                    <a:pt x="289" y="12450"/>
                  </a:lnTo>
                  <a:lnTo>
                    <a:pt x="251" y="12524"/>
                  </a:lnTo>
                  <a:lnTo>
                    <a:pt x="225" y="12582"/>
                  </a:lnTo>
                  <a:lnTo>
                    <a:pt x="200" y="12639"/>
                  </a:lnTo>
                  <a:lnTo>
                    <a:pt x="176" y="12699"/>
                  </a:lnTo>
                  <a:lnTo>
                    <a:pt x="154" y="12757"/>
                  </a:lnTo>
                  <a:lnTo>
                    <a:pt x="133" y="12815"/>
                  </a:lnTo>
                  <a:lnTo>
                    <a:pt x="114" y="12875"/>
                  </a:lnTo>
                  <a:lnTo>
                    <a:pt x="96" y="12934"/>
                  </a:lnTo>
                  <a:lnTo>
                    <a:pt x="79" y="12994"/>
                  </a:lnTo>
                  <a:lnTo>
                    <a:pt x="65" y="13053"/>
                  </a:lnTo>
                  <a:lnTo>
                    <a:pt x="51" y="13112"/>
                  </a:lnTo>
                  <a:lnTo>
                    <a:pt x="40" y="13173"/>
                  </a:lnTo>
                  <a:lnTo>
                    <a:pt x="30" y="13232"/>
                  </a:lnTo>
                  <a:lnTo>
                    <a:pt x="21" y="13292"/>
                  </a:lnTo>
                  <a:lnTo>
                    <a:pt x="14" y="13352"/>
                  </a:lnTo>
                  <a:lnTo>
                    <a:pt x="8" y="13412"/>
                  </a:lnTo>
                  <a:lnTo>
                    <a:pt x="4" y="13471"/>
                  </a:lnTo>
                  <a:lnTo>
                    <a:pt x="1" y="13532"/>
                  </a:lnTo>
                  <a:lnTo>
                    <a:pt x="0" y="13591"/>
                  </a:lnTo>
                  <a:lnTo>
                    <a:pt x="0" y="13650"/>
                  </a:lnTo>
                  <a:lnTo>
                    <a:pt x="2" y="13711"/>
                  </a:lnTo>
                  <a:lnTo>
                    <a:pt x="6" y="13770"/>
                  </a:lnTo>
                  <a:lnTo>
                    <a:pt x="11" y="13829"/>
                  </a:lnTo>
                  <a:lnTo>
                    <a:pt x="17" y="13888"/>
                  </a:lnTo>
                  <a:lnTo>
                    <a:pt x="25" y="13947"/>
                  </a:lnTo>
                  <a:lnTo>
                    <a:pt x="35" y="14006"/>
                  </a:lnTo>
                  <a:lnTo>
                    <a:pt x="46" y="14064"/>
                  </a:lnTo>
                  <a:lnTo>
                    <a:pt x="58" y="14122"/>
                  </a:lnTo>
                  <a:lnTo>
                    <a:pt x="72" y="14180"/>
                  </a:lnTo>
                  <a:lnTo>
                    <a:pt x="89" y="14238"/>
                  </a:lnTo>
                  <a:lnTo>
                    <a:pt x="106" y="14295"/>
                  </a:lnTo>
                  <a:lnTo>
                    <a:pt x="124" y="14352"/>
                  </a:lnTo>
                  <a:lnTo>
                    <a:pt x="145" y="14408"/>
                  </a:lnTo>
                  <a:lnTo>
                    <a:pt x="182" y="14504"/>
                  </a:lnTo>
                  <a:lnTo>
                    <a:pt x="224" y="14596"/>
                  </a:lnTo>
                  <a:lnTo>
                    <a:pt x="271" y="14687"/>
                  </a:lnTo>
                  <a:lnTo>
                    <a:pt x="320" y="14775"/>
                  </a:lnTo>
                  <a:lnTo>
                    <a:pt x="373" y="14861"/>
                  </a:lnTo>
                  <a:lnTo>
                    <a:pt x="431" y="14944"/>
                  </a:lnTo>
                  <a:lnTo>
                    <a:pt x="491" y="15026"/>
                  </a:lnTo>
                  <a:lnTo>
                    <a:pt x="555" y="15104"/>
                  </a:lnTo>
                  <a:lnTo>
                    <a:pt x="624" y="15181"/>
                  </a:lnTo>
                  <a:lnTo>
                    <a:pt x="694" y="15254"/>
                  </a:lnTo>
                  <a:lnTo>
                    <a:pt x="769" y="15324"/>
                  </a:lnTo>
                  <a:lnTo>
                    <a:pt x="846" y="15392"/>
                  </a:lnTo>
                  <a:lnTo>
                    <a:pt x="926" y="15457"/>
                  </a:lnTo>
                  <a:lnTo>
                    <a:pt x="1010" y="15520"/>
                  </a:lnTo>
                  <a:lnTo>
                    <a:pt x="1096" y="15579"/>
                  </a:lnTo>
                  <a:lnTo>
                    <a:pt x="1185" y="15636"/>
                  </a:lnTo>
                  <a:lnTo>
                    <a:pt x="1277" y="15690"/>
                  </a:lnTo>
                  <a:lnTo>
                    <a:pt x="1371" y="15740"/>
                  </a:lnTo>
                  <a:lnTo>
                    <a:pt x="1469" y="15787"/>
                  </a:lnTo>
                  <a:lnTo>
                    <a:pt x="1567" y="15831"/>
                  </a:lnTo>
                  <a:lnTo>
                    <a:pt x="1669" y="15873"/>
                  </a:lnTo>
                  <a:lnTo>
                    <a:pt x="1772" y="15910"/>
                  </a:lnTo>
                  <a:lnTo>
                    <a:pt x="1879" y="15944"/>
                  </a:lnTo>
                  <a:lnTo>
                    <a:pt x="1987" y="15975"/>
                  </a:lnTo>
                  <a:lnTo>
                    <a:pt x="2097" y="16003"/>
                  </a:lnTo>
                  <a:lnTo>
                    <a:pt x="2209" y="16028"/>
                  </a:lnTo>
                  <a:lnTo>
                    <a:pt x="2323" y="16048"/>
                  </a:lnTo>
                  <a:lnTo>
                    <a:pt x="2438" y="16065"/>
                  </a:lnTo>
                  <a:lnTo>
                    <a:pt x="2555" y="16078"/>
                  </a:lnTo>
                  <a:lnTo>
                    <a:pt x="2674" y="16087"/>
                  </a:lnTo>
                  <a:lnTo>
                    <a:pt x="2793" y="16093"/>
                  </a:lnTo>
                  <a:lnTo>
                    <a:pt x="2914" y="16095"/>
                  </a:lnTo>
                  <a:lnTo>
                    <a:pt x="2995" y="16094"/>
                  </a:lnTo>
                  <a:lnTo>
                    <a:pt x="3075" y="16092"/>
                  </a:lnTo>
                  <a:lnTo>
                    <a:pt x="3155" y="16088"/>
                  </a:lnTo>
                  <a:lnTo>
                    <a:pt x="3235" y="16082"/>
                  </a:lnTo>
                  <a:lnTo>
                    <a:pt x="3315" y="16075"/>
                  </a:lnTo>
                  <a:lnTo>
                    <a:pt x="3395" y="16066"/>
                  </a:lnTo>
                  <a:lnTo>
                    <a:pt x="3475" y="16055"/>
                  </a:lnTo>
                  <a:lnTo>
                    <a:pt x="3554" y="16043"/>
                  </a:lnTo>
                  <a:lnTo>
                    <a:pt x="3633" y="16029"/>
                  </a:lnTo>
                  <a:lnTo>
                    <a:pt x="3713" y="16014"/>
                  </a:lnTo>
                  <a:lnTo>
                    <a:pt x="3792" y="15996"/>
                  </a:lnTo>
                  <a:lnTo>
                    <a:pt x="3872" y="15977"/>
                  </a:lnTo>
                  <a:lnTo>
                    <a:pt x="3950" y="15957"/>
                  </a:lnTo>
                  <a:lnTo>
                    <a:pt x="4029" y="15935"/>
                  </a:lnTo>
                  <a:lnTo>
                    <a:pt x="4107" y="15911"/>
                  </a:lnTo>
                  <a:lnTo>
                    <a:pt x="4186" y="15886"/>
                  </a:lnTo>
                  <a:lnTo>
                    <a:pt x="4275" y="15855"/>
                  </a:lnTo>
                  <a:lnTo>
                    <a:pt x="4363" y="15822"/>
                  </a:lnTo>
                  <a:lnTo>
                    <a:pt x="4449" y="15788"/>
                  </a:lnTo>
                  <a:lnTo>
                    <a:pt x="4535" y="15752"/>
                  </a:lnTo>
                  <a:lnTo>
                    <a:pt x="4619" y="15714"/>
                  </a:lnTo>
                  <a:lnTo>
                    <a:pt x="4702" y="15674"/>
                  </a:lnTo>
                  <a:lnTo>
                    <a:pt x="4783" y="15633"/>
                  </a:lnTo>
                  <a:lnTo>
                    <a:pt x="4864" y="15590"/>
                  </a:lnTo>
                  <a:lnTo>
                    <a:pt x="4942" y="15546"/>
                  </a:lnTo>
                  <a:lnTo>
                    <a:pt x="5020" y="15499"/>
                  </a:lnTo>
                  <a:lnTo>
                    <a:pt x="5096" y="15451"/>
                  </a:lnTo>
                  <a:lnTo>
                    <a:pt x="5171" y="15402"/>
                  </a:lnTo>
                  <a:lnTo>
                    <a:pt x="5243" y="15351"/>
                  </a:lnTo>
                  <a:lnTo>
                    <a:pt x="5314" y="15298"/>
                  </a:lnTo>
                  <a:lnTo>
                    <a:pt x="5384" y="15245"/>
                  </a:lnTo>
                  <a:lnTo>
                    <a:pt x="5452" y="15190"/>
                  </a:lnTo>
                  <a:lnTo>
                    <a:pt x="5519" y="15133"/>
                  </a:lnTo>
                  <a:lnTo>
                    <a:pt x="5583" y="15075"/>
                  </a:lnTo>
                  <a:lnTo>
                    <a:pt x="5645" y="15016"/>
                  </a:lnTo>
                  <a:lnTo>
                    <a:pt x="5707" y="14955"/>
                  </a:lnTo>
                  <a:lnTo>
                    <a:pt x="5766" y="14893"/>
                  </a:lnTo>
                  <a:lnTo>
                    <a:pt x="5823" y="14829"/>
                  </a:lnTo>
                  <a:lnTo>
                    <a:pt x="5879" y="14765"/>
                  </a:lnTo>
                  <a:lnTo>
                    <a:pt x="5932" y="14700"/>
                  </a:lnTo>
                  <a:lnTo>
                    <a:pt x="5983" y="14632"/>
                  </a:lnTo>
                  <a:lnTo>
                    <a:pt x="6034" y="14565"/>
                  </a:lnTo>
                  <a:lnTo>
                    <a:pt x="6081" y="14495"/>
                  </a:lnTo>
                  <a:lnTo>
                    <a:pt x="6126" y="14426"/>
                  </a:lnTo>
                  <a:lnTo>
                    <a:pt x="6169" y="14355"/>
                  </a:lnTo>
                  <a:lnTo>
                    <a:pt x="6211" y="14282"/>
                  </a:lnTo>
                  <a:lnTo>
                    <a:pt x="6250" y="14210"/>
                  </a:lnTo>
                  <a:lnTo>
                    <a:pt x="6286" y="14135"/>
                  </a:lnTo>
                  <a:lnTo>
                    <a:pt x="6316" y="14071"/>
                  </a:lnTo>
                  <a:lnTo>
                    <a:pt x="6343" y="14007"/>
                  </a:lnTo>
                  <a:lnTo>
                    <a:pt x="6369" y="13941"/>
                  </a:lnTo>
                  <a:lnTo>
                    <a:pt x="6393" y="13876"/>
                  </a:lnTo>
                  <a:lnTo>
                    <a:pt x="6414" y="13809"/>
                  </a:lnTo>
                  <a:lnTo>
                    <a:pt x="6434" y="13744"/>
                  </a:lnTo>
                  <a:lnTo>
                    <a:pt x="6452" y="13678"/>
                  </a:lnTo>
                  <a:lnTo>
                    <a:pt x="6468" y="13611"/>
                  </a:lnTo>
                  <a:lnTo>
                    <a:pt x="6482" y="13545"/>
                  </a:lnTo>
                  <a:lnTo>
                    <a:pt x="6494" y="13477"/>
                  </a:lnTo>
                  <a:lnTo>
                    <a:pt x="6504" y="13411"/>
                  </a:lnTo>
                  <a:lnTo>
                    <a:pt x="6513" y="13345"/>
                  </a:lnTo>
                  <a:lnTo>
                    <a:pt x="6519" y="13277"/>
                  </a:lnTo>
                  <a:lnTo>
                    <a:pt x="6525" y="13211"/>
                  </a:lnTo>
                  <a:lnTo>
                    <a:pt x="6528" y="13143"/>
                  </a:lnTo>
                  <a:lnTo>
                    <a:pt x="6530" y="13077"/>
                  </a:lnTo>
                  <a:lnTo>
                    <a:pt x="6538" y="13077"/>
                  </a:lnTo>
                  <a:lnTo>
                    <a:pt x="6538" y="5030"/>
                  </a:lnTo>
                  <a:lnTo>
                    <a:pt x="6560" y="5029"/>
                  </a:lnTo>
                  <a:lnTo>
                    <a:pt x="6582" y="5029"/>
                  </a:lnTo>
                  <a:lnTo>
                    <a:pt x="6603" y="5028"/>
                  </a:lnTo>
                  <a:lnTo>
                    <a:pt x="6625" y="5026"/>
                  </a:lnTo>
                  <a:lnTo>
                    <a:pt x="6647" y="5024"/>
                  </a:lnTo>
                  <a:lnTo>
                    <a:pt x="6669" y="5021"/>
                  </a:lnTo>
                  <a:lnTo>
                    <a:pt x="6691" y="5018"/>
                  </a:lnTo>
                  <a:lnTo>
                    <a:pt x="6713" y="5015"/>
                  </a:lnTo>
                  <a:lnTo>
                    <a:pt x="15089" y="3536"/>
                  </a:lnTo>
                  <a:lnTo>
                    <a:pt x="15089" y="9642"/>
                  </a:lnTo>
                  <a:lnTo>
                    <a:pt x="15041" y="9607"/>
                  </a:lnTo>
                  <a:lnTo>
                    <a:pt x="14991" y="9574"/>
                  </a:lnTo>
                  <a:lnTo>
                    <a:pt x="14941" y="9542"/>
                  </a:lnTo>
                  <a:lnTo>
                    <a:pt x="14891" y="9511"/>
                  </a:lnTo>
                  <a:lnTo>
                    <a:pt x="14840" y="9480"/>
                  </a:lnTo>
                  <a:lnTo>
                    <a:pt x="14786" y="9450"/>
                  </a:lnTo>
                  <a:lnTo>
                    <a:pt x="14733" y="9421"/>
                  </a:lnTo>
                  <a:lnTo>
                    <a:pt x="14680" y="9394"/>
                  </a:lnTo>
                  <a:lnTo>
                    <a:pt x="14624" y="9367"/>
                  </a:lnTo>
                  <a:lnTo>
                    <a:pt x="14569" y="9342"/>
                  </a:lnTo>
                  <a:lnTo>
                    <a:pt x="14513" y="9317"/>
                  </a:lnTo>
                  <a:lnTo>
                    <a:pt x="14455" y="9293"/>
                  </a:lnTo>
                  <a:lnTo>
                    <a:pt x="14397" y="9270"/>
                  </a:lnTo>
                  <a:lnTo>
                    <a:pt x="14339" y="9249"/>
                  </a:lnTo>
                  <a:lnTo>
                    <a:pt x="14279" y="9228"/>
                  </a:lnTo>
                  <a:lnTo>
                    <a:pt x="14220" y="9209"/>
                  </a:lnTo>
                  <a:lnTo>
                    <a:pt x="14160" y="9191"/>
                  </a:lnTo>
                  <a:lnTo>
                    <a:pt x="14098" y="9173"/>
                  </a:lnTo>
                  <a:lnTo>
                    <a:pt x="14036" y="9157"/>
                  </a:lnTo>
                  <a:lnTo>
                    <a:pt x="13973" y="9142"/>
                  </a:lnTo>
                  <a:lnTo>
                    <a:pt x="13910" y="9128"/>
                  </a:lnTo>
                  <a:lnTo>
                    <a:pt x="13847" y="9115"/>
                  </a:lnTo>
                  <a:lnTo>
                    <a:pt x="13782" y="9103"/>
                  </a:lnTo>
                  <a:lnTo>
                    <a:pt x="13718" y="9093"/>
                  </a:lnTo>
                  <a:lnTo>
                    <a:pt x="13653" y="9084"/>
                  </a:lnTo>
                  <a:lnTo>
                    <a:pt x="13586" y="9076"/>
                  </a:lnTo>
                  <a:lnTo>
                    <a:pt x="13520" y="9069"/>
                  </a:lnTo>
                  <a:lnTo>
                    <a:pt x="13453" y="9063"/>
                  </a:lnTo>
                  <a:lnTo>
                    <a:pt x="13385" y="9059"/>
                  </a:lnTo>
                  <a:lnTo>
                    <a:pt x="13318" y="9056"/>
                  </a:lnTo>
                  <a:lnTo>
                    <a:pt x="13249" y="9054"/>
                  </a:lnTo>
                  <a:lnTo>
                    <a:pt x="13180" y="9053"/>
                  </a:lnTo>
                  <a:lnTo>
                    <a:pt x="13100" y="9054"/>
                  </a:lnTo>
                  <a:lnTo>
                    <a:pt x="13020" y="9057"/>
                  </a:lnTo>
                  <a:lnTo>
                    <a:pt x="12940" y="9061"/>
                  </a:lnTo>
                  <a:lnTo>
                    <a:pt x="12860" y="9067"/>
                  </a:lnTo>
                  <a:lnTo>
                    <a:pt x="12780" y="9074"/>
                  </a:lnTo>
                  <a:lnTo>
                    <a:pt x="12700" y="9083"/>
                  </a:lnTo>
                  <a:lnTo>
                    <a:pt x="12620" y="9094"/>
                  </a:lnTo>
                  <a:lnTo>
                    <a:pt x="12541" y="9106"/>
                  </a:lnTo>
                  <a:lnTo>
                    <a:pt x="12462" y="9120"/>
                  </a:lnTo>
                  <a:lnTo>
                    <a:pt x="12382" y="9135"/>
                  </a:lnTo>
                  <a:lnTo>
                    <a:pt x="12303" y="9153"/>
                  </a:lnTo>
                  <a:lnTo>
                    <a:pt x="12223" y="9172"/>
                  </a:lnTo>
                  <a:lnTo>
                    <a:pt x="12144" y="9192"/>
                  </a:lnTo>
                  <a:lnTo>
                    <a:pt x="12065" y="9214"/>
                  </a:lnTo>
                  <a:lnTo>
                    <a:pt x="11987" y="9237"/>
                  </a:lnTo>
                  <a:lnTo>
                    <a:pt x="11908" y="9262"/>
                  </a:lnTo>
                  <a:lnTo>
                    <a:pt x="11820" y="9293"/>
                  </a:lnTo>
                  <a:lnTo>
                    <a:pt x="11731" y="9326"/>
                  </a:lnTo>
                  <a:lnTo>
                    <a:pt x="11645" y="9361"/>
                  </a:lnTo>
                  <a:lnTo>
                    <a:pt x="11560" y="9397"/>
                  </a:lnTo>
                  <a:lnTo>
                    <a:pt x="11476" y="9434"/>
                  </a:lnTo>
                  <a:lnTo>
                    <a:pt x="11393" y="9475"/>
                  </a:lnTo>
                  <a:lnTo>
                    <a:pt x="11312" y="9516"/>
                  </a:lnTo>
                  <a:lnTo>
                    <a:pt x="11231" y="9559"/>
                  </a:lnTo>
                  <a:lnTo>
                    <a:pt x="11153" y="9603"/>
                  </a:lnTo>
                  <a:lnTo>
                    <a:pt x="11075" y="9650"/>
                  </a:lnTo>
                  <a:lnTo>
                    <a:pt x="10999" y="9698"/>
                  </a:lnTo>
                  <a:lnTo>
                    <a:pt x="10925" y="9747"/>
                  </a:lnTo>
                  <a:lnTo>
                    <a:pt x="10852" y="9798"/>
                  </a:lnTo>
                  <a:lnTo>
                    <a:pt x="10781" y="9851"/>
                  </a:lnTo>
                  <a:lnTo>
                    <a:pt x="10711" y="9904"/>
                  </a:lnTo>
                  <a:lnTo>
                    <a:pt x="10644" y="9959"/>
                  </a:lnTo>
                  <a:lnTo>
                    <a:pt x="10577" y="10017"/>
                  </a:lnTo>
                  <a:lnTo>
                    <a:pt x="10513" y="10074"/>
                  </a:lnTo>
                  <a:lnTo>
                    <a:pt x="10450" y="10134"/>
                  </a:lnTo>
                  <a:lnTo>
                    <a:pt x="10388" y="10195"/>
                  </a:lnTo>
                  <a:lnTo>
                    <a:pt x="10330" y="10257"/>
                  </a:lnTo>
                  <a:lnTo>
                    <a:pt x="10273" y="10321"/>
                  </a:lnTo>
                  <a:lnTo>
                    <a:pt x="10216" y="10385"/>
                  </a:lnTo>
                  <a:lnTo>
                    <a:pt x="10163" y="10450"/>
                  </a:lnTo>
                  <a:lnTo>
                    <a:pt x="10112" y="10517"/>
                  </a:lnTo>
                  <a:lnTo>
                    <a:pt x="10062" y="10585"/>
                  </a:lnTo>
                  <a:lnTo>
                    <a:pt x="10014" y="10655"/>
                  </a:lnTo>
                  <a:lnTo>
                    <a:pt x="9969" y="10724"/>
                  </a:lnTo>
                  <a:lnTo>
                    <a:pt x="9926" y="10795"/>
                  </a:lnTo>
                  <a:lnTo>
                    <a:pt x="9884" y="10868"/>
                  </a:lnTo>
                  <a:lnTo>
                    <a:pt x="9846" y="10941"/>
                  </a:lnTo>
                  <a:lnTo>
                    <a:pt x="9809" y="11015"/>
                  </a:lnTo>
                  <a:lnTo>
                    <a:pt x="9782" y="11073"/>
                  </a:lnTo>
                  <a:lnTo>
                    <a:pt x="9757" y="11131"/>
                  </a:lnTo>
                  <a:lnTo>
                    <a:pt x="9733" y="11190"/>
                  </a:lnTo>
                  <a:lnTo>
                    <a:pt x="9711" y="11248"/>
                  </a:lnTo>
                  <a:lnTo>
                    <a:pt x="9690" y="11306"/>
                  </a:lnTo>
                  <a:lnTo>
                    <a:pt x="9671" y="11366"/>
                  </a:lnTo>
                  <a:lnTo>
                    <a:pt x="9653" y="11425"/>
                  </a:lnTo>
                  <a:lnTo>
                    <a:pt x="9637" y="11485"/>
                  </a:lnTo>
                  <a:lnTo>
                    <a:pt x="9622" y="11544"/>
                  </a:lnTo>
                  <a:lnTo>
                    <a:pt x="9609" y="11603"/>
                  </a:lnTo>
                  <a:lnTo>
                    <a:pt x="9598" y="11664"/>
                  </a:lnTo>
                  <a:lnTo>
                    <a:pt x="9587" y="11723"/>
                  </a:lnTo>
                  <a:lnTo>
                    <a:pt x="9579" y="11783"/>
                  </a:lnTo>
                  <a:lnTo>
                    <a:pt x="9571" y="11843"/>
                  </a:lnTo>
                  <a:lnTo>
                    <a:pt x="9565" y="11903"/>
                  </a:lnTo>
                  <a:lnTo>
                    <a:pt x="9561" y="11962"/>
                  </a:lnTo>
                  <a:lnTo>
                    <a:pt x="9558" y="12023"/>
                  </a:lnTo>
                  <a:lnTo>
                    <a:pt x="9557" y="12082"/>
                  </a:lnTo>
                  <a:lnTo>
                    <a:pt x="9558" y="12142"/>
                  </a:lnTo>
                  <a:lnTo>
                    <a:pt x="9560" y="12202"/>
                  </a:lnTo>
                  <a:lnTo>
                    <a:pt x="9563" y="12261"/>
                  </a:lnTo>
                  <a:lnTo>
                    <a:pt x="9568" y="12320"/>
                  </a:lnTo>
                  <a:lnTo>
                    <a:pt x="9575" y="12379"/>
                  </a:lnTo>
                  <a:lnTo>
                    <a:pt x="9583" y="12438"/>
                  </a:lnTo>
                  <a:lnTo>
                    <a:pt x="9593" y="12497"/>
                  </a:lnTo>
                  <a:lnTo>
                    <a:pt x="9604" y="12555"/>
                  </a:lnTo>
                  <a:lnTo>
                    <a:pt x="9616" y="12613"/>
                  </a:lnTo>
                  <a:lnTo>
                    <a:pt x="9630" y="12672"/>
                  </a:lnTo>
                  <a:lnTo>
                    <a:pt x="9646" y="12729"/>
                  </a:lnTo>
                  <a:lnTo>
                    <a:pt x="9663" y="12786"/>
                  </a:lnTo>
                  <a:lnTo>
                    <a:pt x="9682" y="12843"/>
                  </a:lnTo>
                  <a:lnTo>
                    <a:pt x="9702" y="12899"/>
                  </a:lnTo>
                  <a:lnTo>
                    <a:pt x="9739" y="12995"/>
                  </a:lnTo>
                  <a:lnTo>
                    <a:pt x="9782" y="13087"/>
                  </a:lnTo>
                  <a:lnTo>
                    <a:pt x="9828" y="13178"/>
                  </a:lnTo>
                  <a:lnTo>
                    <a:pt x="9877" y="13266"/>
                  </a:lnTo>
                  <a:lnTo>
                    <a:pt x="9931" y="13352"/>
                  </a:lnTo>
                  <a:lnTo>
                    <a:pt x="9988" y="13435"/>
                  </a:lnTo>
                  <a:lnTo>
                    <a:pt x="10049" y="13517"/>
                  </a:lnTo>
                  <a:lnTo>
                    <a:pt x="10113" y="13595"/>
                  </a:lnTo>
                  <a:lnTo>
                    <a:pt x="10181" y="13672"/>
                  </a:lnTo>
                  <a:lnTo>
                    <a:pt x="10252" y="13745"/>
                  </a:lnTo>
                  <a:lnTo>
                    <a:pt x="10326" y="13815"/>
                  </a:lnTo>
                  <a:lnTo>
                    <a:pt x="10403" y="13883"/>
                  </a:lnTo>
                  <a:lnTo>
                    <a:pt x="10484" y="13948"/>
                  </a:lnTo>
                  <a:lnTo>
                    <a:pt x="10567" y="14011"/>
                  </a:lnTo>
                  <a:lnTo>
                    <a:pt x="10654" y="14070"/>
                  </a:lnTo>
                  <a:lnTo>
                    <a:pt x="10742" y="14127"/>
                  </a:lnTo>
                  <a:lnTo>
                    <a:pt x="10834" y="14181"/>
                  </a:lnTo>
                  <a:lnTo>
                    <a:pt x="10929" y="14231"/>
                  </a:lnTo>
                  <a:lnTo>
                    <a:pt x="11025" y="14278"/>
                  </a:lnTo>
                  <a:lnTo>
                    <a:pt x="11125" y="14322"/>
                  </a:lnTo>
                  <a:lnTo>
                    <a:pt x="11226" y="14364"/>
                  </a:lnTo>
                  <a:lnTo>
                    <a:pt x="11330" y="14401"/>
                  </a:lnTo>
                  <a:lnTo>
                    <a:pt x="11435" y="14436"/>
                  </a:lnTo>
                  <a:lnTo>
                    <a:pt x="11544" y="14466"/>
                  </a:lnTo>
                  <a:lnTo>
                    <a:pt x="11654" y="14494"/>
                  </a:lnTo>
                  <a:lnTo>
                    <a:pt x="11765" y="14519"/>
                  </a:lnTo>
                  <a:lnTo>
                    <a:pt x="11879" y="14539"/>
                  </a:lnTo>
                  <a:lnTo>
                    <a:pt x="11995" y="14556"/>
                  </a:lnTo>
                  <a:lnTo>
                    <a:pt x="12111" y="14569"/>
                  </a:lnTo>
                  <a:lnTo>
                    <a:pt x="12230" y="14578"/>
                  </a:lnTo>
                  <a:lnTo>
                    <a:pt x="12350" y="14584"/>
                  </a:lnTo>
                  <a:lnTo>
                    <a:pt x="12472" y="14586"/>
                  </a:lnTo>
                  <a:lnTo>
                    <a:pt x="12551" y="14585"/>
                  </a:lnTo>
                  <a:lnTo>
                    <a:pt x="12632" y="14583"/>
                  </a:lnTo>
                  <a:lnTo>
                    <a:pt x="12712" y="14579"/>
                  </a:lnTo>
                  <a:lnTo>
                    <a:pt x="12792" y="14573"/>
                  </a:lnTo>
                  <a:lnTo>
                    <a:pt x="12872" y="14566"/>
                  </a:lnTo>
                  <a:lnTo>
                    <a:pt x="12951" y="14557"/>
                  </a:lnTo>
                  <a:lnTo>
                    <a:pt x="13032" y="14546"/>
                  </a:lnTo>
                  <a:lnTo>
                    <a:pt x="13111" y="14534"/>
                  </a:lnTo>
                  <a:lnTo>
                    <a:pt x="13191" y="14520"/>
                  </a:lnTo>
                  <a:lnTo>
                    <a:pt x="13270" y="14505"/>
                  </a:lnTo>
                  <a:lnTo>
                    <a:pt x="13350" y="14487"/>
                  </a:lnTo>
                  <a:lnTo>
                    <a:pt x="13429" y="14468"/>
                  </a:lnTo>
                  <a:lnTo>
                    <a:pt x="13508" y="14448"/>
                  </a:lnTo>
                  <a:lnTo>
                    <a:pt x="13586" y="14426"/>
                  </a:lnTo>
                  <a:lnTo>
                    <a:pt x="13665" y="14402"/>
                  </a:lnTo>
                  <a:lnTo>
                    <a:pt x="13743" y="14377"/>
                  </a:lnTo>
                  <a:lnTo>
                    <a:pt x="13832" y="14347"/>
                  </a:lnTo>
                  <a:lnTo>
                    <a:pt x="13920" y="14313"/>
                  </a:lnTo>
                  <a:lnTo>
                    <a:pt x="14007" y="14279"/>
                  </a:lnTo>
                  <a:lnTo>
                    <a:pt x="14092" y="14243"/>
                  </a:lnTo>
                  <a:lnTo>
                    <a:pt x="14177" y="14206"/>
                  </a:lnTo>
                  <a:lnTo>
                    <a:pt x="14259" y="14165"/>
                  </a:lnTo>
                  <a:lnTo>
                    <a:pt x="14341" y="14124"/>
                  </a:lnTo>
                  <a:lnTo>
                    <a:pt x="14421" y="14081"/>
                  </a:lnTo>
                  <a:lnTo>
                    <a:pt x="14500" y="14037"/>
                  </a:lnTo>
                  <a:lnTo>
                    <a:pt x="14577" y="13990"/>
                  </a:lnTo>
                  <a:lnTo>
                    <a:pt x="14652" y="13942"/>
                  </a:lnTo>
                  <a:lnTo>
                    <a:pt x="14727" y="13893"/>
                  </a:lnTo>
                  <a:lnTo>
                    <a:pt x="14800" y="13843"/>
                  </a:lnTo>
                  <a:lnTo>
                    <a:pt x="14871" y="13790"/>
                  </a:lnTo>
                  <a:lnTo>
                    <a:pt x="14941" y="13736"/>
                  </a:lnTo>
                  <a:lnTo>
                    <a:pt x="15009" y="13681"/>
                  </a:lnTo>
                  <a:lnTo>
                    <a:pt x="15075" y="13624"/>
                  </a:lnTo>
                  <a:lnTo>
                    <a:pt x="15139" y="13566"/>
                  </a:lnTo>
                  <a:lnTo>
                    <a:pt x="15203" y="13507"/>
                  </a:lnTo>
                  <a:lnTo>
                    <a:pt x="15264" y="13446"/>
                  </a:lnTo>
                  <a:lnTo>
                    <a:pt x="15322" y="13384"/>
                  </a:lnTo>
                  <a:lnTo>
                    <a:pt x="15380" y="13320"/>
                  </a:lnTo>
                  <a:lnTo>
                    <a:pt x="15436" y="13256"/>
                  </a:lnTo>
                  <a:lnTo>
                    <a:pt x="15489" y="13191"/>
                  </a:lnTo>
                  <a:lnTo>
                    <a:pt x="15541" y="13124"/>
                  </a:lnTo>
                  <a:lnTo>
                    <a:pt x="15590" y="13056"/>
                  </a:lnTo>
                  <a:lnTo>
                    <a:pt x="15638" y="12986"/>
                  </a:lnTo>
                  <a:lnTo>
                    <a:pt x="15684" y="12917"/>
                  </a:lnTo>
                  <a:lnTo>
                    <a:pt x="15727" y="12846"/>
                  </a:lnTo>
                  <a:lnTo>
                    <a:pt x="15768" y="12773"/>
                  </a:lnTo>
                  <a:lnTo>
                    <a:pt x="15806" y="12701"/>
                  </a:lnTo>
                  <a:lnTo>
                    <a:pt x="15844" y="12626"/>
                  </a:lnTo>
                  <a:lnTo>
                    <a:pt x="15873" y="12562"/>
                  </a:lnTo>
                  <a:lnTo>
                    <a:pt x="15901" y="12498"/>
                  </a:lnTo>
                  <a:lnTo>
                    <a:pt x="15926" y="12432"/>
                  </a:lnTo>
                  <a:lnTo>
                    <a:pt x="15950" y="12367"/>
                  </a:lnTo>
                  <a:lnTo>
                    <a:pt x="15971" y="12300"/>
                  </a:lnTo>
                  <a:lnTo>
                    <a:pt x="15991" y="12235"/>
                  </a:lnTo>
                  <a:lnTo>
                    <a:pt x="16008" y="12169"/>
                  </a:lnTo>
                  <a:lnTo>
                    <a:pt x="16025" y="12102"/>
                  </a:lnTo>
                  <a:lnTo>
                    <a:pt x="16039" y="12036"/>
                  </a:lnTo>
                  <a:lnTo>
                    <a:pt x="16051" y="11969"/>
                  </a:lnTo>
                  <a:lnTo>
                    <a:pt x="16062" y="11902"/>
                  </a:lnTo>
                  <a:lnTo>
                    <a:pt x="16070" y="11836"/>
                  </a:lnTo>
                  <a:lnTo>
                    <a:pt x="16077" y="11768"/>
                  </a:lnTo>
                  <a:lnTo>
                    <a:pt x="16081" y="11702"/>
                  </a:lnTo>
                  <a:lnTo>
                    <a:pt x="16085" y="11635"/>
                  </a:lnTo>
                  <a:lnTo>
                    <a:pt x="16086" y="11568"/>
                  </a:lnTo>
                  <a:lnTo>
                    <a:pt x="16095" y="11568"/>
                  </a:lnTo>
                  <a:lnTo>
                    <a:pt x="16095" y="2515"/>
                  </a:lnTo>
                  <a:lnTo>
                    <a:pt x="16095" y="2012"/>
                  </a:lnTo>
                  <a:lnTo>
                    <a:pt x="16095" y="1006"/>
                  </a:lnTo>
                  <a:lnTo>
                    <a:pt x="16095" y="978"/>
                  </a:lnTo>
                  <a:lnTo>
                    <a:pt x="16093" y="951"/>
                  </a:lnTo>
                  <a:lnTo>
                    <a:pt x="16092" y="923"/>
                  </a:lnTo>
                  <a:lnTo>
                    <a:pt x="16089" y="895"/>
                  </a:lnTo>
                  <a:lnTo>
                    <a:pt x="16085" y="868"/>
                  </a:lnTo>
                  <a:lnTo>
                    <a:pt x="16081" y="841"/>
                  </a:lnTo>
                  <a:lnTo>
                    <a:pt x="16077" y="814"/>
                  </a:lnTo>
                  <a:lnTo>
                    <a:pt x="16071" y="787"/>
                  </a:lnTo>
                  <a:lnTo>
                    <a:pt x="16065" y="761"/>
                  </a:lnTo>
                  <a:lnTo>
                    <a:pt x="16058" y="734"/>
                  </a:lnTo>
                  <a:lnTo>
                    <a:pt x="16050" y="708"/>
                  </a:lnTo>
                  <a:lnTo>
                    <a:pt x="16042" y="682"/>
                  </a:lnTo>
                  <a:lnTo>
                    <a:pt x="16032" y="657"/>
                  </a:lnTo>
                  <a:lnTo>
                    <a:pt x="16023" y="631"/>
                  </a:lnTo>
                  <a:lnTo>
                    <a:pt x="16012" y="606"/>
                  </a:lnTo>
                  <a:lnTo>
                    <a:pt x="16000" y="581"/>
                  </a:lnTo>
                  <a:lnTo>
                    <a:pt x="15988" y="556"/>
                  </a:lnTo>
                  <a:lnTo>
                    <a:pt x="15976" y="532"/>
                  </a:lnTo>
                  <a:lnTo>
                    <a:pt x="15963" y="508"/>
                  </a:lnTo>
                  <a:lnTo>
                    <a:pt x="15949" y="485"/>
                  </a:lnTo>
                  <a:lnTo>
                    <a:pt x="15935" y="462"/>
                  </a:lnTo>
                  <a:lnTo>
                    <a:pt x="15920" y="439"/>
                  </a:lnTo>
                  <a:lnTo>
                    <a:pt x="15904" y="416"/>
                  </a:lnTo>
                  <a:lnTo>
                    <a:pt x="15888" y="394"/>
                  </a:lnTo>
                  <a:lnTo>
                    <a:pt x="15871" y="373"/>
                  </a:lnTo>
                  <a:lnTo>
                    <a:pt x="15854" y="352"/>
                  </a:lnTo>
                  <a:lnTo>
                    <a:pt x="15834" y="332"/>
                  </a:lnTo>
                  <a:lnTo>
                    <a:pt x="15816" y="312"/>
                  </a:lnTo>
                  <a:lnTo>
                    <a:pt x="15797" y="292"/>
                  </a:lnTo>
                  <a:lnTo>
                    <a:pt x="15777" y="273"/>
                  </a:lnTo>
                  <a:lnTo>
                    <a:pt x="15756" y="254"/>
                  </a:lnTo>
                  <a:lnTo>
                    <a:pt x="15735" y="2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98" name="íSļîdé">
              <a:extLst>
                <a:ext uri="{FF2B5EF4-FFF2-40B4-BE49-F238E27FC236}">
                  <a16:creationId xmlns:a16="http://schemas.microsoft.com/office/drawing/2014/main" id="{66523FAA-CFE1-4E83-B2BA-0AB32E1EAA31}"/>
                </a:ext>
              </a:extLst>
            </p:cNvPr>
            <p:cNvSpPr/>
            <p:nvPr/>
          </p:nvSpPr>
          <p:spPr bwMode="auto">
            <a:xfrm>
              <a:off x="7299357" y="2508789"/>
              <a:ext cx="613338" cy="401842"/>
            </a:xfrm>
            <a:custGeom>
              <a:avLst/>
              <a:gdLst>
                <a:gd name="T0" fmla="*/ 8477 w 16095"/>
                <a:gd name="T1" fmla="*/ 6935 h 10545"/>
                <a:gd name="T2" fmla="*/ 8249 w 16095"/>
                <a:gd name="T3" fmla="*/ 7011 h 10545"/>
                <a:gd name="T4" fmla="*/ 8006 w 16095"/>
                <a:gd name="T5" fmla="*/ 7030 h 10545"/>
                <a:gd name="T6" fmla="*/ 7768 w 16095"/>
                <a:gd name="T7" fmla="*/ 6992 h 10545"/>
                <a:gd name="T8" fmla="*/ 7547 w 16095"/>
                <a:gd name="T9" fmla="*/ 6897 h 10545"/>
                <a:gd name="T10" fmla="*/ 1006 w 16095"/>
                <a:gd name="T11" fmla="*/ 2010 h 10545"/>
                <a:gd name="T12" fmla="*/ 1038 w 16095"/>
                <a:gd name="T13" fmla="*/ 1758 h 10545"/>
                <a:gd name="T14" fmla="*/ 1152 w 16095"/>
                <a:gd name="T15" fmla="*/ 1488 h 10545"/>
                <a:gd name="T16" fmla="*/ 1336 w 16095"/>
                <a:gd name="T17" fmla="*/ 1265 h 10545"/>
                <a:gd name="T18" fmla="*/ 1576 w 16095"/>
                <a:gd name="T19" fmla="*/ 1104 h 10545"/>
                <a:gd name="T20" fmla="*/ 1859 w 16095"/>
                <a:gd name="T21" fmla="*/ 1016 h 10545"/>
                <a:gd name="T22" fmla="*/ 14186 w 16095"/>
                <a:gd name="T23" fmla="*/ 1009 h 10545"/>
                <a:gd name="T24" fmla="*/ 14474 w 16095"/>
                <a:gd name="T25" fmla="*/ 1084 h 10545"/>
                <a:gd name="T26" fmla="*/ 14723 w 16095"/>
                <a:gd name="T27" fmla="*/ 1234 h 10545"/>
                <a:gd name="T28" fmla="*/ 14917 w 16095"/>
                <a:gd name="T29" fmla="*/ 1447 h 10545"/>
                <a:gd name="T30" fmla="*/ 15044 w 16095"/>
                <a:gd name="T31" fmla="*/ 1710 h 10545"/>
                <a:gd name="T32" fmla="*/ 15089 w 16095"/>
                <a:gd name="T33" fmla="*/ 2009 h 10545"/>
                <a:gd name="T34" fmla="*/ 15089 w 16095"/>
                <a:gd name="T35" fmla="*/ 8535 h 10545"/>
                <a:gd name="T36" fmla="*/ 15044 w 16095"/>
                <a:gd name="T37" fmla="*/ 8835 h 10545"/>
                <a:gd name="T38" fmla="*/ 14917 w 16095"/>
                <a:gd name="T39" fmla="*/ 9097 h 10545"/>
                <a:gd name="T40" fmla="*/ 14723 w 16095"/>
                <a:gd name="T41" fmla="*/ 9311 h 10545"/>
                <a:gd name="T42" fmla="*/ 14474 w 16095"/>
                <a:gd name="T43" fmla="*/ 9461 h 10545"/>
                <a:gd name="T44" fmla="*/ 14186 w 16095"/>
                <a:gd name="T45" fmla="*/ 9535 h 10545"/>
                <a:gd name="T46" fmla="*/ 1859 w 16095"/>
                <a:gd name="T47" fmla="*/ 9529 h 10545"/>
                <a:gd name="T48" fmla="*/ 1576 w 16095"/>
                <a:gd name="T49" fmla="*/ 9441 h 10545"/>
                <a:gd name="T50" fmla="*/ 1336 w 16095"/>
                <a:gd name="T51" fmla="*/ 9280 h 10545"/>
                <a:gd name="T52" fmla="*/ 1152 w 16095"/>
                <a:gd name="T53" fmla="*/ 9057 h 10545"/>
                <a:gd name="T54" fmla="*/ 1038 w 16095"/>
                <a:gd name="T55" fmla="*/ 8786 h 10545"/>
                <a:gd name="T56" fmla="*/ 4945 w 16095"/>
                <a:gd name="T57" fmla="*/ 5587 h 10545"/>
                <a:gd name="T58" fmla="*/ 7271 w 16095"/>
                <a:gd name="T59" fmla="*/ 7318 h 10545"/>
                <a:gd name="T60" fmla="*/ 7435 w 16095"/>
                <a:gd name="T61" fmla="*/ 7403 h 10545"/>
                <a:gd name="T62" fmla="*/ 7605 w 16095"/>
                <a:gd name="T63" fmla="*/ 7466 h 10545"/>
                <a:gd name="T64" fmla="*/ 7780 w 16095"/>
                <a:gd name="T65" fmla="*/ 7509 h 10545"/>
                <a:gd name="T66" fmla="*/ 7958 w 16095"/>
                <a:gd name="T67" fmla="*/ 7530 h 10545"/>
                <a:gd name="T68" fmla="*/ 8137 w 16095"/>
                <a:gd name="T69" fmla="*/ 7530 h 10545"/>
                <a:gd name="T70" fmla="*/ 8315 w 16095"/>
                <a:gd name="T71" fmla="*/ 7509 h 10545"/>
                <a:gd name="T72" fmla="*/ 8490 w 16095"/>
                <a:gd name="T73" fmla="*/ 7466 h 10545"/>
                <a:gd name="T74" fmla="*/ 8660 w 16095"/>
                <a:gd name="T75" fmla="*/ 7403 h 10545"/>
                <a:gd name="T76" fmla="*/ 8823 w 16095"/>
                <a:gd name="T77" fmla="*/ 7318 h 10545"/>
                <a:gd name="T78" fmla="*/ 11150 w 16095"/>
                <a:gd name="T79" fmla="*/ 5587 h 10545"/>
                <a:gd name="T80" fmla="*/ 14083 w 16095"/>
                <a:gd name="T81" fmla="*/ 0 h 10545"/>
                <a:gd name="T82" fmla="*/ 1509 w 16095"/>
                <a:gd name="T83" fmla="*/ 63 h 10545"/>
                <a:gd name="T84" fmla="*/ 969 w 16095"/>
                <a:gd name="T85" fmla="*/ 291 h 10545"/>
                <a:gd name="T86" fmla="*/ 523 w 16095"/>
                <a:gd name="T87" fmla="*/ 658 h 10545"/>
                <a:gd name="T88" fmla="*/ 198 w 16095"/>
                <a:gd name="T89" fmla="*/ 1138 h 10545"/>
                <a:gd name="T90" fmla="*/ 23 w 16095"/>
                <a:gd name="T91" fmla="*/ 1702 h 10545"/>
                <a:gd name="T92" fmla="*/ 10 w 16095"/>
                <a:gd name="T93" fmla="*/ 8741 h 10545"/>
                <a:gd name="T94" fmla="*/ 158 w 16095"/>
                <a:gd name="T95" fmla="*/ 9318 h 10545"/>
                <a:gd name="T96" fmla="*/ 460 w 16095"/>
                <a:gd name="T97" fmla="*/ 9814 h 10545"/>
                <a:gd name="T98" fmla="*/ 887 w 16095"/>
                <a:gd name="T99" fmla="*/ 10202 h 10545"/>
                <a:gd name="T100" fmla="*/ 1413 w 16095"/>
                <a:gd name="T101" fmla="*/ 10455 h 10545"/>
                <a:gd name="T102" fmla="*/ 2012 w 16095"/>
                <a:gd name="T103" fmla="*/ 10545 h 10545"/>
                <a:gd name="T104" fmla="*/ 14586 w 16095"/>
                <a:gd name="T105" fmla="*/ 10482 h 10545"/>
                <a:gd name="T106" fmla="*/ 15126 w 16095"/>
                <a:gd name="T107" fmla="*/ 10254 h 10545"/>
                <a:gd name="T108" fmla="*/ 15572 w 16095"/>
                <a:gd name="T109" fmla="*/ 9886 h 10545"/>
                <a:gd name="T110" fmla="*/ 15897 w 16095"/>
                <a:gd name="T111" fmla="*/ 9407 h 10545"/>
                <a:gd name="T112" fmla="*/ 16072 w 16095"/>
                <a:gd name="T113" fmla="*/ 8842 h 10545"/>
                <a:gd name="T114" fmla="*/ 16085 w 16095"/>
                <a:gd name="T115" fmla="*/ 1803 h 10545"/>
                <a:gd name="T116" fmla="*/ 15937 w 16095"/>
                <a:gd name="T117" fmla="*/ 1227 h 10545"/>
                <a:gd name="T118" fmla="*/ 15635 w 16095"/>
                <a:gd name="T119" fmla="*/ 731 h 10545"/>
                <a:gd name="T120" fmla="*/ 15208 w 16095"/>
                <a:gd name="T121" fmla="*/ 343 h 10545"/>
                <a:gd name="T122" fmla="*/ 14682 w 16095"/>
                <a:gd name="T123" fmla="*/ 90 h 10545"/>
                <a:gd name="T124" fmla="*/ 14083 w 16095"/>
                <a:gd name="T125" fmla="*/ 0 h 10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95" h="10545">
                  <a:moveTo>
                    <a:pt x="8651" y="6830"/>
                  </a:moveTo>
                  <a:lnTo>
                    <a:pt x="8618" y="6853"/>
                  </a:lnTo>
                  <a:lnTo>
                    <a:pt x="8584" y="6876"/>
                  </a:lnTo>
                  <a:lnTo>
                    <a:pt x="8548" y="6897"/>
                  </a:lnTo>
                  <a:lnTo>
                    <a:pt x="8513" y="6917"/>
                  </a:lnTo>
                  <a:lnTo>
                    <a:pt x="8477" y="6935"/>
                  </a:lnTo>
                  <a:lnTo>
                    <a:pt x="8441" y="6951"/>
                  </a:lnTo>
                  <a:lnTo>
                    <a:pt x="8404" y="6966"/>
                  </a:lnTo>
                  <a:lnTo>
                    <a:pt x="8365" y="6980"/>
                  </a:lnTo>
                  <a:lnTo>
                    <a:pt x="8327" y="6992"/>
                  </a:lnTo>
                  <a:lnTo>
                    <a:pt x="8288" y="7002"/>
                  </a:lnTo>
                  <a:lnTo>
                    <a:pt x="8249" y="7011"/>
                  </a:lnTo>
                  <a:lnTo>
                    <a:pt x="8209" y="7018"/>
                  </a:lnTo>
                  <a:lnTo>
                    <a:pt x="8169" y="7023"/>
                  </a:lnTo>
                  <a:lnTo>
                    <a:pt x="8129" y="7027"/>
                  </a:lnTo>
                  <a:lnTo>
                    <a:pt x="8089" y="7030"/>
                  </a:lnTo>
                  <a:lnTo>
                    <a:pt x="8048" y="7031"/>
                  </a:lnTo>
                  <a:lnTo>
                    <a:pt x="8006" y="7030"/>
                  </a:lnTo>
                  <a:lnTo>
                    <a:pt x="7966" y="7027"/>
                  </a:lnTo>
                  <a:lnTo>
                    <a:pt x="7926" y="7023"/>
                  </a:lnTo>
                  <a:lnTo>
                    <a:pt x="7886" y="7018"/>
                  </a:lnTo>
                  <a:lnTo>
                    <a:pt x="7845" y="7011"/>
                  </a:lnTo>
                  <a:lnTo>
                    <a:pt x="7806" y="7002"/>
                  </a:lnTo>
                  <a:lnTo>
                    <a:pt x="7768" y="6992"/>
                  </a:lnTo>
                  <a:lnTo>
                    <a:pt x="7730" y="6980"/>
                  </a:lnTo>
                  <a:lnTo>
                    <a:pt x="7691" y="6966"/>
                  </a:lnTo>
                  <a:lnTo>
                    <a:pt x="7654" y="6951"/>
                  </a:lnTo>
                  <a:lnTo>
                    <a:pt x="7618" y="6935"/>
                  </a:lnTo>
                  <a:lnTo>
                    <a:pt x="7582" y="6917"/>
                  </a:lnTo>
                  <a:lnTo>
                    <a:pt x="7547" y="6897"/>
                  </a:lnTo>
                  <a:lnTo>
                    <a:pt x="7511" y="6876"/>
                  </a:lnTo>
                  <a:lnTo>
                    <a:pt x="7477" y="6853"/>
                  </a:lnTo>
                  <a:lnTo>
                    <a:pt x="7444" y="6830"/>
                  </a:lnTo>
                  <a:lnTo>
                    <a:pt x="5364" y="5273"/>
                  </a:lnTo>
                  <a:lnTo>
                    <a:pt x="4945" y="4958"/>
                  </a:lnTo>
                  <a:lnTo>
                    <a:pt x="1006" y="2010"/>
                  </a:lnTo>
                  <a:lnTo>
                    <a:pt x="1006" y="2009"/>
                  </a:lnTo>
                  <a:lnTo>
                    <a:pt x="1007" y="1957"/>
                  </a:lnTo>
                  <a:lnTo>
                    <a:pt x="1011" y="1906"/>
                  </a:lnTo>
                  <a:lnTo>
                    <a:pt x="1018" y="1856"/>
                  </a:lnTo>
                  <a:lnTo>
                    <a:pt x="1026" y="1807"/>
                  </a:lnTo>
                  <a:lnTo>
                    <a:pt x="1038" y="1758"/>
                  </a:lnTo>
                  <a:lnTo>
                    <a:pt x="1051" y="1710"/>
                  </a:lnTo>
                  <a:lnTo>
                    <a:pt x="1067" y="1663"/>
                  </a:lnTo>
                  <a:lnTo>
                    <a:pt x="1085" y="1618"/>
                  </a:lnTo>
                  <a:lnTo>
                    <a:pt x="1106" y="1574"/>
                  </a:lnTo>
                  <a:lnTo>
                    <a:pt x="1128" y="1531"/>
                  </a:lnTo>
                  <a:lnTo>
                    <a:pt x="1152" y="1488"/>
                  </a:lnTo>
                  <a:lnTo>
                    <a:pt x="1178" y="1447"/>
                  </a:lnTo>
                  <a:lnTo>
                    <a:pt x="1206" y="1408"/>
                  </a:lnTo>
                  <a:lnTo>
                    <a:pt x="1236" y="1370"/>
                  </a:lnTo>
                  <a:lnTo>
                    <a:pt x="1267" y="1334"/>
                  </a:lnTo>
                  <a:lnTo>
                    <a:pt x="1301" y="1299"/>
                  </a:lnTo>
                  <a:lnTo>
                    <a:pt x="1336" y="1265"/>
                  </a:lnTo>
                  <a:lnTo>
                    <a:pt x="1372" y="1234"/>
                  </a:lnTo>
                  <a:lnTo>
                    <a:pt x="1410" y="1204"/>
                  </a:lnTo>
                  <a:lnTo>
                    <a:pt x="1450" y="1176"/>
                  </a:lnTo>
                  <a:lnTo>
                    <a:pt x="1491" y="1150"/>
                  </a:lnTo>
                  <a:lnTo>
                    <a:pt x="1533" y="1126"/>
                  </a:lnTo>
                  <a:lnTo>
                    <a:pt x="1576" y="1104"/>
                  </a:lnTo>
                  <a:lnTo>
                    <a:pt x="1621" y="1084"/>
                  </a:lnTo>
                  <a:lnTo>
                    <a:pt x="1666" y="1066"/>
                  </a:lnTo>
                  <a:lnTo>
                    <a:pt x="1713" y="1049"/>
                  </a:lnTo>
                  <a:lnTo>
                    <a:pt x="1760" y="1036"/>
                  </a:lnTo>
                  <a:lnTo>
                    <a:pt x="1810" y="1024"/>
                  </a:lnTo>
                  <a:lnTo>
                    <a:pt x="1859" y="1016"/>
                  </a:lnTo>
                  <a:lnTo>
                    <a:pt x="1909" y="1009"/>
                  </a:lnTo>
                  <a:lnTo>
                    <a:pt x="1961" y="1005"/>
                  </a:lnTo>
                  <a:lnTo>
                    <a:pt x="2012" y="1004"/>
                  </a:lnTo>
                  <a:lnTo>
                    <a:pt x="14083" y="1004"/>
                  </a:lnTo>
                  <a:lnTo>
                    <a:pt x="14134" y="1005"/>
                  </a:lnTo>
                  <a:lnTo>
                    <a:pt x="14186" y="1009"/>
                  </a:lnTo>
                  <a:lnTo>
                    <a:pt x="14236" y="1016"/>
                  </a:lnTo>
                  <a:lnTo>
                    <a:pt x="14285" y="1024"/>
                  </a:lnTo>
                  <a:lnTo>
                    <a:pt x="14335" y="1036"/>
                  </a:lnTo>
                  <a:lnTo>
                    <a:pt x="14382" y="1049"/>
                  </a:lnTo>
                  <a:lnTo>
                    <a:pt x="14428" y="1066"/>
                  </a:lnTo>
                  <a:lnTo>
                    <a:pt x="14474" y="1084"/>
                  </a:lnTo>
                  <a:lnTo>
                    <a:pt x="14519" y="1104"/>
                  </a:lnTo>
                  <a:lnTo>
                    <a:pt x="14562" y="1126"/>
                  </a:lnTo>
                  <a:lnTo>
                    <a:pt x="14604" y="1150"/>
                  </a:lnTo>
                  <a:lnTo>
                    <a:pt x="14645" y="1176"/>
                  </a:lnTo>
                  <a:lnTo>
                    <a:pt x="14685" y="1204"/>
                  </a:lnTo>
                  <a:lnTo>
                    <a:pt x="14723" y="1234"/>
                  </a:lnTo>
                  <a:lnTo>
                    <a:pt x="14759" y="1265"/>
                  </a:lnTo>
                  <a:lnTo>
                    <a:pt x="14794" y="1299"/>
                  </a:lnTo>
                  <a:lnTo>
                    <a:pt x="14828" y="1334"/>
                  </a:lnTo>
                  <a:lnTo>
                    <a:pt x="14859" y="1370"/>
                  </a:lnTo>
                  <a:lnTo>
                    <a:pt x="14889" y="1408"/>
                  </a:lnTo>
                  <a:lnTo>
                    <a:pt x="14917" y="1447"/>
                  </a:lnTo>
                  <a:lnTo>
                    <a:pt x="14943" y="1488"/>
                  </a:lnTo>
                  <a:lnTo>
                    <a:pt x="14967" y="1531"/>
                  </a:lnTo>
                  <a:lnTo>
                    <a:pt x="14989" y="1574"/>
                  </a:lnTo>
                  <a:lnTo>
                    <a:pt x="15010" y="1618"/>
                  </a:lnTo>
                  <a:lnTo>
                    <a:pt x="15028" y="1663"/>
                  </a:lnTo>
                  <a:lnTo>
                    <a:pt x="15044" y="1710"/>
                  </a:lnTo>
                  <a:lnTo>
                    <a:pt x="15058" y="1758"/>
                  </a:lnTo>
                  <a:lnTo>
                    <a:pt x="15069" y="1807"/>
                  </a:lnTo>
                  <a:lnTo>
                    <a:pt x="15078" y="1856"/>
                  </a:lnTo>
                  <a:lnTo>
                    <a:pt x="15084" y="1906"/>
                  </a:lnTo>
                  <a:lnTo>
                    <a:pt x="15088" y="1957"/>
                  </a:lnTo>
                  <a:lnTo>
                    <a:pt x="15089" y="2009"/>
                  </a:lnTo>
                  <a:lnTo>
                    <a:pt x="8651" y="6830"/>
                  </a:lnTo>
                  <a:close/>
                  <a:moveTo>
                    <a:pt x="15089" y="7908"/>
                  </a:moveTo>
                  <a:lnTo>
                    <a:pt x="11569" y="5273"/>
                  </a:lnTo>
                  <a:lnTo>
                    <a:pt x="15089" y="2636"/>
                  </a:lnTo>
                  <a:lnTo>
                    <a:pt x="15089" y="7908"/>
                  </a:lnTo>
                  <a:close/>
                  <a:moveTo>
                    <a:pt x="15089" y="8535"/>
                  </a:moveTo>
                  <a:lnTo>
                    <a:pt x="15088" y="8588"/>
                  </a:lnTo>
                  <a:lnTo>
                    <a:pt x="15084" y="8639"/>
                  </a:lnTo>
                  <a:lnTo>
                    <a:pt x="15078" y="8689"/>
                  </a:lnTo>
                  <a:lnTo>
                    <a:pt x="15069" y="8738"/>
                  </a:lnTo>
                  <a:lnTo>
                    <a:pt x="15058" y="8786"/>
                  </a:lnTo>
                  <a:lnTo>
                    <a:pt x="15044" y="8835"/>
                  </a:lnTo>
                  <a:lnTo>
                    <a:pt x="15028" y="8881"/>
                  </a:lnTo>
                  <a:lnTo>
                    <a:pt x="15010" y="8927"/>
                  </a:lnTo>
                  <a:lnTo>
                    <a:pt x="14989" y="8971"/>
                  </a:lnTo>
                  <a:lnTo>
                    <a:pt x="14967" y="9014"/>
                  </a:lnTo>
                  <a:lnTo>
                    <a:pt x="14943" y="9057"/>
                  </a:lnTo>
                  <a:lnTo>
                    <a:pt x="14917" y="9097"/>
                  </a:lnTo>
                  <a:lnTo>
                    <a:pt x="14889" y="9137"/>
                  </a:lnTo>
                  <a:lnTo>
                    <a:pt x="14859" y="9174"/>
                  </a:lnTo>
                  <a:lnTo>
                    <a:pt x="14828" y="9211"/>
                  </a:lnTo>
                  <a:lnTo>
                    <a:pt x="14794" y="9246"/>
                  </a:lnTo>
                  <a:lnTo>
                    <a:pt x="14759" y="9280"/>
                  </a:lnTo>
                  <a:lnTo>
                    <a:pt x="14723" y="9311"/>
                  </a:lnTo>
                  <a:lnTo>
                    <a:pt x="14685" y="9341"/>
                  </a:lnTo>
                  <a:lnTo>
                    <a:pt x="14645" y="9369"/>
                  </a:lnTo>
                  <a:lnTo>
                    <a:pt x="14604" y="9395"/>
                  </a:lnTo>
                  <a:lnTo>
                    <a:pt x="14562" y="9419"/>
                  </a:lnTo>
                  <a:lnTo>
                    <a:pt x="14519" y="9441"/>
                  </a:lnTo>
                  <a:lnTo>
                    <a:pt x="14474" y="9461"/>
                  </a:lnTo>
                  <a:lnTo>
                    <a:pt x="14428" y="9479"/>
                  </a:lnTo>
                  <a:lnTo>
                    <a:pt x="14382" y="9496"/>
                  </a:lnTo>
                  <a:lnTo>
                    <a:pt x="14335" y="9509"/>
                  </a:lnTo>
                  <a:lnTo>
                    <a:pt x="14285" y="9520"/>
                  </a:lnTo>
                  <a:lnTo>
                    <a:pt x="14236" y="9529"/>
                  </a:lnTo>
                  <a:lnTo>
                    <a:pt x="14186" y="9535"/>
                  </a:lnTo>
                  <a:lnTo>
                    <a:pt x="14134" y="9539"/>
                  </a:lnTo>
                  <a:lnTo>
                    <a:pt x="14083" y="9540"/>
                  </a:lnTo>
                  <a:lnTo>
                    <a:pt x="2012" y="9540"/>
                  </a:lnTo>
                  <a:lnTo>
                    <a:pt x="1961" y="9539"/>
                  </a:lnTo>
                  <a:lnTo>
                    <a:pt x="1909" y="9535"/>
                  </a:lnTo>
                  <a:lnTo>
                    <a:pt x="1859" y="9529"/>
                  </a:lnTo>
                  <a:lnTo>
                    <a:pt x="1810" y="9520"/>
                  </a:lnTo>
                  <a:lnTo>
                    <a:pt x="1760" y="9509"/>
                  </a:lnTo>
                  <a:lnTo>
                    <a:pt x="1713" y="9496"/>
                  </a:lnTo>
                  <a:lnTo>
                    <a:pt x="1666" y="9479"/>
                  </a:lnTo>
                  <a:lnTo>
                    <a:pt x="1621" y="9461"/>
                  </a:lnTo>
                  <a:lnTo>
                    <a:pt x="1576" y="9441"/>
                  </a:lnTo>
                  <a:lnTo>
                    <a:pt x="1533" y="9419"/>
                  </a:lnTo>
                  <a:lnTo>
                    <a:pt x="1491" y="9395"/>
                  </a:lnTo>
                  <a:lnTo>
                    <a:pt x="1450" y="9369"/>
                  </a:lnTo>
                  <a:lnTo>
                    <a:pt x="1410" y="9341"/>
                  </a:lnTo>
                  <a:lnTo>
                    <a:pt x="1372" y="9311"/>
                  </a:lnTo>
                  <a:lnTo>
                    <a:pt x="1336" y="9280"/>
                  </a:lnTo>
                  <a:lnTo>
                    <a:pt x="1301" y="9246"/>
                  </a:lnTo>
                  <a:lnTo>
                    <a:pt x="1267" y="9211"/>
                  </a:lnTo>
                  <a:lnTo>
                    <a:pt x="1236" y="9174"/>
                  </a:lnTo>
                  <a:lnTo>
                    <a:pt x="1206" y="9137"/>
                  </a:lnTo>
                  <a:lnTo>
                    <a:pt x="1178" y="9097"/>
                  </a:lnTo>
                  <a:lnTo>
                    <a:pt x="1152" y="9057"/>
                  </a:lnTo>
                  <a:lnTo>
                    <a:pt x="1128" y="9014"/>
                  </a:lnTo>
                  <a:lnTo>
                    <a:pt x="1106" y="8971"/>
                  </a:lnTo>
                  <a:lnTo>
                    <a:pt x="1085" y="8927"/>
                  </a:lnTo>
                  <a:lnTo>
                    <a:pt x="1067" y="8881"/>
                  </a:lnTo>
                  <a:lnTo>
                    <a:pt x="1051" y="8835"/>
                  </a:lnTo>
                  <a:lnTo>
                    <a:pt x="1038" y="8786"/>
                  </a:lnTo>
                  <a:lnTo>
                    <a:pt x="1026" y="8738"/>
                  </a:lnTo>
                  <a:lnTo>
                    <a:pt x="1018" y="8689"/>
                  </a:lnTo>
                  <a:lnTo>
                    <a:pt x="1011" y="8639"/>
                  </a:lnTo>
                  <a:lnTo>
                    <a:pt x="1007" y="8588"/>
                  </a:lnTo>
                  <a:lnTo>
                    <a:pt x="1006" y="8535"/>
                  </a:lnTo>
                  <a:lnTo>
                    <a:pt x="4945" y="5587"/>
                  </a:lnTo>
                  <a:lnTo>
                    <a:pt x="7142" y="7232"/>
                  </a:lnTo>
                  <a:lnTo>
                    <a:pt x="7167" y="7250"/>
                  </a:lnTo>
                  <a:lnTo>
                    <a:pt x="7193" y="7268"/>
                  </a:lnTo>
                  <a:lnTo>
                    <a:pt x="7219" y="7285"/>
                  </a:lnTo>
                  <a:lnTo>
                    <a:pt x="7245" y="7302"/>
                  </a:lnTo>
                  <a:lnTo>
                    <a:pt x="7271" y="7318"/>
                  </a:lnTo>
                  <a:lnTo>
                    <a:pt x="7298" y="7333"/>
                  </a:lnTo>
                  <a:lnTo>
                    <a:pt x="7325" y="7348"/>
                  </a:lnTo>
                  <a:lnTo>
                    <a:pt x="7352" y="7363"/>
                  </a:lnTo>
                  <a:lnTo>
                    <a:pt x="7380" y="7376"/>
                  </a:lnTo>
                  <a:lnTo>
                    <a:pt x="7407" y="7391"/>
                  </a:lnTo>
                  <a:lnTo>
                    <a:pt x="7435" y="7403"/>
                  </a:lnTo>
                  <a:lnTo>
                    <a:pt x="7462" y="7415"/>
                  </a:lnTo>
                  <a:lnTo>
                    <a:pt x="7490" y="7427"/>
                  </a:lnTo>
                  <a:lnTo>
                    <a:pt x="7518" y="7437"/>
                  </a:lnTo>
                  <a:lnTo>
                    <a:pt x="7548" y="7448"/>
                  </a:lnTo>
                  <a:lnTo>
                    <a:pt x="7576" y="7457"/>
                  </a:lnTo>
                  <a:lnTo>
                    <a:pt x="7605" y="7466"/>
                  </a:lnTo>
                  <a:lnTo>
                    <a:pt x="7633" y="7475"/>
                  </a:lnTo>
                  <a:lnTo>
                    <a:pt x="7662" y="7483"/>
                  </a:lnTo>
                  <a:lnTo>
                    <a:pt x="7691" y="7490"/>
                  </a:lnTo>
                  <a:lnTo>
                    <a:pt x="7721" y="7497"/>
                  </a:lnTo>
                  <a:lnTo>
                    <a:pt x="7750" y="7503"/>
                  </a:lnTo>
                  <a:lnTo>
                    <a:pt x="7780" y="7509"/>
                  </a:lnTo>
                  <a:lnTo>
                    <a:pt x="7809" y="7514"/>
                  </a:lnTo>
                  <a:lnTo>
                    <a:pt x="7839" y="7518"/>
                  </a:lnTo>
                  <a:lnTo>
                    <a:pt x="7868" y="7522"/>
                  </a:lnTo>
                  <a:lnTo>
                    <a:pt x="7899" y="7525"/>
                  </a:lnTo>
                  <a:lnTo>
                    <a:pt x="7928" y="7528"/>
                  </a:lnTo>
                  <a:lnTo>
                    <a:pt x="7958" y="7530"/>
                  </a:lnTo>
                  <a:lnTo>
                    <a:pt x="7988" y="7531"/>
                  </a:lnTo>
                  <a:lnTo>
                    <a:pt x="8017" y="7532"/>
                  </a:lnTo>
                  <a:lnTo>
                    <a:pt x="8048" y="7532"/>
                  </a:lnTo>
                  <a:lnTo>
                    <a:pt x="8078" y="7532"/>
                  </a:lnTo>
                  <a:lnTo>
                    <a:pt x="8107" y="7531"/>
                  </a:lnTo>
                  <a:lnTo>
                    <a:pt x="8137" y="7530"/>
                  </a:lnTo>
                  <a:lnTo>
                    <a:pt x="8167" y="7528"/>
                  </a:lnTo>
                  <a:lnTo>
                    <a:pt x="8196" y="7525"/>
                  </a:lnTo>
                  <a:lnTo>
                    <a:pt x="8227" y="7522"/>
                  </a:lnTo>
                  <a:lnTo>
                    <a:pt x="8256" y="7518"/>
                  </a:lnTo>
                  <a:lnTo>
                    <a:pt x="8286" y="7514"/>
                  </a:lnTo>
                  <a:lnTo>
                    <a:pt x="8315" y="7509"/>
                  </a:lnTo>
                  <a:lnTo>
                    <a:pt x="8344" y="7503"/>
                  </a:lnTo>
                  <a:lnTo>
                    <a:pt x="8374" y="7497"/>
                  </a:lnTo>
                  <a:lnTo>
                    <a:pt x="8404" y="7490"/>
                  </a:lnTo>
                  <a:lnTo>
                    <a:pt x="8433" y="7483"/>
                  </a:lnTo>
                  <a:lnTo>
                    <a:pt x="8461" y="7475"/>
                  </a:lnTo>
                  <a:lnTo>
                    <a:pt x="8490" y="7466"/>
                  </a:lnTo>
                  <a:lnTo>
                    <a:pt x="8519" y="7457"/>
                  </a:lnTo>
                  <a:lnTo>
                    <a:pt x="8547" y="7448"/>
                  </a:lnTo>
                  <a:lnTo>
                    <a:pt x="8576" y="7437"/>
                  </a:lnTo>
                  <a:lnTo>
                    <a:pt x="8605" y="7427"/>
                  </a:lnTo>
                  <a:lnTo>
                    <a:pt x="8632" y="7415"/>
                  </a:lnTo>
                  <a:lnTo>
                    <a:pt x="8660" y="7403"/>
                  </a:lnTo>
                  <a:lnTo>
                    <a:pt x="8688" y="7391"/>
                  </a:lnTo>
                  <a:lnTo>
                    <a:pt x="8715" y="7376"/>
                  </a:lnTo>
                  <a:lnTo>
                    <a:pt x="8743" y="7363"/>
                  </a:lnTo>
                  <a:lnTo>
                    <a:pt x="8770" y="7348"/>
                  </a:lnTo>
                  <a:lnTo>
                    <a:pt x="8797" y="7333"/>
                  </a:lnTo>
                  <a:lnTo>
                    <a:pt x="8823" y="7318"/>
                  </a:lnTo>
                  <a:lnTo>
                    <a:pt x="8850" y="7302"/>
                  </a:lnTo>
                  <a:lnTo>
                    <a:pt x="8876" y="7285"/>
                  </a:lnTo>
                  <a:lnTo>
                    <a:pt x="8902" y="7268"/>
                  </a:lnTo>
                  <a:lnTo>
                    <a:pt x="8928" y="7250"/>
                  </a:lnTo>
                  <a:lnTo>
                    <a:pt x="8953" y="7232"/>
                  </a:lnTo>
                  <a:lnTo>
                    <a:pt x="11150" y="5587"/>
                  </a:lnTo>
                  <a:lnTo>
                    <a:pt x="15089" y="8535"/>
                  </a:lnTo>
                  <a:close/>
                  <a:moveTo>
                    <a:pt x="1006" y="2636"/>
                  </a:moveTo>
                  <a:lnTo>
                    <a:pt x="4527" y="5273"/>
                  </a:lnTo>
                  <a:lnTo>
                    <a:pt x="1006" y="7908"/>
                  </a:lnTo>
                  <a:lnTo>
                    <a:pt x="1006" y="2636"/>
                  </a:lnTo>
                  <a:close/>
                  <a:moveTo>
                    <a:pt x="14083" y="0"/>
                  </a:moveTo>
                  <a:lnTo>
                    <a:pt x="2012" y="0"/>
                  </a:lnTo>
                  <a:lnTo>
                    <a:pt x="1908" y="3"/>
                  </a:lnTo>
                  <a:lnTo>
                    <a:pt x="1806" y="10"/>
                  </a:lnTo>
                  <a:lnTo>
                    <a:pt x="1705" y="23"/>
                  </a:lnTo>
                  <a:lnTo>
                    <a:pt x="1606" y="41"/>
                  </a:lnTo>
                  <a:lnTo>
                    <a:pt x="1509" y="63"/>
                  </a:lnTo>
                  <a:lnTo>
                    <a:pt x="1413" y="90"/>
                  </a:lnTo>
                  <a:lnTo>
                    <a:pt x="1320" y="122"/>
                  </a:lnTo>
                  <a:lnTo>
                    <a:pt x="1229" y="158"/>
                  </a:lnTo>
                  <a:lnTo>
                    <a:pt x="1140" y="198"/>
                  </a:lnTo>
                  <a:lnTo>
                    <a:pt x="1053" y="242"/>
                  </a:lnTo>
                  <a:lnTo>
                    <a:pt x="969" y="291"/>
                  </a:lnTo>
                  <a:lnTo>
                    <a:pt x="887" y="343"/>
                  </a:lnTo>
                  <a:lnTo>
                    <a:pt x="808" y="399"/>
                  </a:lnTo>
                  <a:lnTo>
                    <a:pt x="732" y="459"/>
                  </a:lnTo>
                  <a:lnTo>
                    <a:pt x="659" y="522"/>
                  </a:lnTo>
                  <a:lnTo>
                    <a:pt x="589" y="589"/>
                  </a:lnTo>
                  <a:lnTo>
                    <a:pt x="523" y="658"/>
                  </a:lnTo>
                  <a:lnTo>
                    <a:pt x="460" y="731"/>
                  </a:lnTo>
                  <a:lnTo>
                    <a:pt x="399" y="806"/>
                  </a:lnTo>
                  <a:lnTo>
                    <a:pt x="344" y="886"/>
                  </a:lnTo>
                  <a:lnTo>
                    <a:pt x="292" y="967"/>
                  </a:lnTo>
                  <a:lnTo>
                    <a:pt x="242" y="1051"/>
                  </a:lnTo>
                  <a:lnTo>
                    <a:pt x="198" y="1138"/>
                  </a:lnTo>
                  <a:lnTo>
                    <a:pt x="158" y="1227"/>
                  </a:lnTo>
                  <a:lnTo>
                    <a:pt x="122" y="1318"/>
                  </a:lnTo>
                  <a:lnTo>
                    <a:pt x="91" y="1411"/>
                  </a:lnTo>
                  <a:lnTo>
                    <a:pt x="63" y="1506"/>
                  </a:lnTo>
                  <a:lnTo>
                    <a:pt x="41" y="1604"/>
                  </a:lnTo>
                  <a:lnTo>
                    <a:pt x="23" y="1702"/>
                  </a:lnTo>
                  <a:lnTo>
                    <a:pt x="10" y="1803"/>
                  </a:lnTo>
                  <a:lnTo>
                    <a:pt x="3" y="1905"/>
                  </a:lnTo>
                  <a:lnTo>
                    <a:pt x="0" y="2009"/>
                  </a:lnTo>
                  <a:lnTo>
                    <a:pt x="0" y="8535"/>
                  </a:lnTo>
                  <a:lnTo>
                    <a:pt x="3" y="8639"/>
                  </a:lnTo>
                  <a:lnTo>
                    <a:pt x="10" y="8741"/>
                  </a:lnTo>
                  <a:lnTo>
                    <a:pt x="23" y="8842"/>
                  </a:lnTo>
                  <a:lnTo>
                    <a:pt x="41" y="8941"/>
                  </a:lnTo>
                  <a:lnTo>
                    <a:pt x="63" y="9038"/>
                  </a:lnTo>
                  <a:lnTo>
                    <a:pt x="91" y="9133"/>
                  </a:lnTo>
                  <a:lnTo>
                    <a:pt x="122" y="9226"/>
                  </a:lnTo>
                  <a:lnTo>
                    <a:pt x="158" y="9318"/>
                  </a:lnTo>
                  <a:lnTo>
                    <a:pt x="198" y="9407"/>
                  </a:lnTo>
                  <a:lnTo>
                    <a:pt x="242" y="9494"/>
                  </a:lnTo>
                  <a:lnTo>
                    <a:pt x="292" y="9578"/>
                  </a:lnTo>
                  <a:lnTo>
                    <a:pt x="344" y="9659"/>
                  </a:lnTo>
                  <a:lnTo>
                    <a:pt x="399" y="9738"/>
                  </a:lnTo>
                  <a:lnTo>
                    <a:pt x="460" y="9814"/>
                  </a:lnTo>
                  <a:lnTo>
                    <a:pt x="523" y="9886"/>
                  </a:lnTo>
                  <a:lnTo>
                    <a:pt x="589" y="9956"/>
                  </a:lnTo>
                  <a:lnTo>
                    <a:pt x="659" y="10023"/>
                  </a:lnTo>
                  <a:lnTo>
                    <a:pt x="732" y="10086"/>
                  </a:lnTo>
                  <a:lnTo>
                    <a:pt x="808" y="10145"/>
                  </a:lnTo>
                  <a:lnTo>
                    <a:pt x="887" y="10202"/>
                  </a:lnTo>
                  <a:lnTo>
                    <a:pt x="969" y="10254"/>
                  </a:lnTo>
                  <a:lnTo>
                    <a:pt x="1053" y="10303"/>
                  </a:lnTo>
                  <a:lnTo>
                    <a:pt x="1140" y="10347"/>
                  </a:lnTo>
                  <a:lnTo>
                    <a:pt x="1229" y="10387"/>
                  </a:lnTo>
                  <a:lnTo>
                    <a:pt x="1320" y="10423"/>
                  </a:lnTo>
                  <a:lnTo>
                    <a:pt x="1413" y="10455"/>
                  </a:lnTo>
                  <a:lnTo>
                    <a:pt x="1509" y="10482"/>
                  </a:lnTo>
                  <a:lnTo>
                    <a:pt x="1606" y="10504"/>
                  </a:lnTo>
                  <a:lnTo>
                    <a:pt x="1705" y="10522"/>
                  </a:lnTo>
                  <a:lnTo>
                    <a:pt x="1806" y="10535"/>
                  </a:lnTo>
                  <a:lnTo>
                    <a:pt x="1908" y="10542"/>
                  </a:lnTo>
                  <a:lnTo>
                    <a:pt x="2012" y="10545"/>
                  </a:lnTo>
                  <a:lnTo>
                    <a:pt x="14083" y="10545"/>
                  </a:lnTo>
                  <a:lnTo>
                    <a:pt x="14187" y="10542"/>
                  </a:lnTo>
                  <a:lnTo>
                    <a:pt x="14289" y="10535"/>
                  </a:lnTo>
                  <a:lnTo>
                    <a:pt x="14390" y="10522"/>
                  </a:lnTo>
                  <a:lnTo>
                    <a:pt x="14489" y="10504"/>
                  </a:lnTo>
                  <a:lnTo>
                    <a:pt x="14586" y="10482"/>
                  </a:lnTo>
                  <a:lnTo>
                    <a:pt x="14682" y="10455"/>
                  </a:lnTo>
                  <a:lnTo>
                    <a:pt x="14775" y="10423"/>
                  </a:lnTo>
                  <a:lnTo>
                    <a:pt x="14867" y="10387"/>
                  </a:lnTo>
                  <a:lnTo>
                    <a:pt x="14955" y="10347"/>
                  </a:lnTo>
                  <a:lnTo>
                    <a:pt x="15042" y="10303"/>
                  </a:lnTo>
                  <a:lnTo>
                    <a:pt x="15126" y="10254"/>
                  </a:lnTo>
                  <a:lnTo>
                    <a:pt x="15208" y="10202"/>
                  </a:lnTo>
                  <a:lnTo>
                    <a:pt x="15287" y="10145"/>
                  </a:lnTo>
                  <a:lnTo>
                    <a:pt x="15363" y="10086"/>
                  </a:lnTo>
                  <a:lnTo>
                    <a:pt x="15436" y="10023"/>
                  </a:lnTo>
                  <a:lnTo>
                    <a:pt x="15506" y="9956"/>
                  </a:lnTo>
                  <a:lnTo>
                    <a:pt x="15572" y="9886"/>
                  </a:lnTo>
                  <a:lnTo>
                    <a:pt x="15635" y="9814"/>
                  </a:lnTo>
                  <a:lnTo>
                    <a:pt x="15696" y="9738"/>
                  </a:lnTo>
                  <a:lnTo>
                    <a:pt x="15751" y="9659"/>
                  </a:lnTo>
                  <a:lnTo>
                    <a:pt x="15803" y="9578"/>
                  </a:lnTo>
                  <a:lnTo>
                    <a:pt x="15853" y="9494"/>
                  </a:lnTo>
                  <a:lnTo>
                    <a:pt x="15897" y="9407"/>
                  </a:lnTo>
                  <a:lnTo>
                    <a:pt x="15937" y="9318"/>
                  </a:lnTo>
                  <a:lnTo>
                    <a:pt x="15973" y="9226"/>
                  </a:lnTo>
                  <a:lnTo>
                    <a:pt x="16004" y="9133"/>
                  </a:lnTo>
                  <a:lnTo>
                    <a:pt x="16032" y="9038"/>
                  </a:lnTo>
                  <a:lnTo>
                    <a:pt x="16054" y="8941"/>
                  </a:lnTo>
                  <a:lnTo>
                    <a:pt x="16072" y="8842"/>
                  </a:lnTo>
                  <a:lnTo>
                    <a:pt x="16085" y="8741"/>
                  </a:lnTo>
                  <a:lnTo>
                    <a:pt x="16092" y="8639"/>
                  </a:lnTo>
                  <a:lnTo>
                    <a:pt x="16095" y="8535"/>
                  </a:lnTo>
                  <a:lnTo>
                    <a:pt x="16095" y="2009"/>
                  </a:lnTo>
                  <a:lnTo>
                    <a:pt x="16092" y="1905"/>
                  </a:lnTo>
                  <a:lnTo>
                    <a:pt x="16085" y="1803"/>
                  </a:lnTo>
                  <a:lnTo>
                    <a:pt x="16072" y="1702"/>
                  </a:lnTo>
                  <a:lnTo>
                    <a:pt x="16054" y="1604"/>
                  </a:lnTo>
                  <a:lnTo>
                    <a:pt x="16032" y="1506"/>
                  </a:lnTo>
                  <a:lnTo>
                    <a:pt x="16004" y="1411"/>
                  </a:lnTo>
                  <a:lnTo>
                    <a:pt x="15973" y="1318"/>
                  </a:lnTo>
                  <a:lnTo>
                    <a:pt x="15937" y="1227"/>
                  </a:lnTo>
                  <a:lnTo>
                    <a:pt x="15897" y="1138"/>
                  </a:lnTo>
                  <a:lnTo>
                    <a:pt x="15853" y="1051"/>
                  </a:lnTo>
                  <a:lnTo>
                    <a:pt x="15803" y="967"/>
                  </a:lnTo>
                  <a:lnTo>
                    <a:pt x="15751" y="886"/>
                  </a:lnTo>
                  <a:lnTo>
                    <a:pt x="15696" y="806"/>
                  </a:lnTo>
                  <a:lnTo>
                    <a:pt x="15635" y="731"/>
                  </a:lnTo>
                  <a:lnTo>
                    <a:pt x="15572" y="658"/>
                  </a:lnTo>
                  <a:lnTo>
                    <a:pt x="15506" y="589"/>
                  </a:lnTo>
                  <a:lnTo>
                    <a:pt x="15436" y="522"/>
                  </a:lnTo>
                  <a:lnTo>
                    <a:pt x="15363" y="459"/>
                  </a:lnTo>
                  <a:lnTo>
                    <a:pt x="15287" y="399"/>
                  </a:lnTo>
                  <a:lnTo>
                    <a:pt x="15208" y="343"/>
                  </a:lnTo>
                  <a:lnTo>
                    <a:pt x="15126" y="291"/>
                  </a:lnTo>
                  <a:lnTo>
                    <a:pt x="15042" y="242"/>
                  </a:lnTo>
                  <a:lnTo>
                    <a:pt x="14955" y="198"/>
                  </a:lnTo>
                  <a:lnTo>
                    <a:pt x="14867" y="158"/>
                  </a:lnTo>
                  <a:lnTo>
                    <a:pt x="14775" y="122"/>
                  </a:lnTo>
                  <a:lnTo>
                    <a:pt x="14682" y="90"/>
                  </a:lnTo>
                  <a:lnTo>
                    <a:pt x="14586" y="63"/>
                  </a:lnTo>
                  <a:lnTo>
                    <a:pt x="14489" y="41"/>
                  </a:lnTo>
                  <a:lnTo>
                    <a:pt x="14390" y="23"/>
                  </a:lnTo>
                  <a:lnTo>
                    <a:pt x="14289" y="10"/>
                  </a:lnTo>
                  <a:lnTo>
                    <a:pt x="14187" y="3"/>
                  </a:lnTo>
                  <a:lnTo>
                    <a:pt x="1408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299" name="isḻiḍè">
              <a:extLst>
                <a:ext uri="{FF2B5EF4-FFF2-40B4-BE49-F238E27FC236}">
                  <a16:creationId xmlns:a16="http://schemas.microsoft.com/office/drawing/2014/main" id="{4E1DA72B-853A-49DB-9F6A-E6B28C3FE84F}"/>
                </a:ext>
              </a:extLst>
            </p:cNvPr>
            <p:cNvSpPr/>
            <p:nvPr/>
          </p:nvSpPr>
          <p:spPr bwMode="auto">
            <a:xfrm>
              <a:off x="6803911" y="1970278"/>
              <a:ext cx="614748" cy="613338"/>
            </a:xfrm>
            <a:custGeom>
              <a:avLst/>
              <a:gdLst>
                <a:gd name="T0" fmla="*/ 3529 w 16132"/>
                <a:gd name="T1" fmla="*/ 12574 h 16095"/>
                <a:gd name="T2" fmla="*/ 1156 w 16132"/>
                <a:gd name="T3" fmla="*/ 9639 h 16095"/>
                <a:gd name="T4" fmla="*/ 3459 w 16132"/>
                <a:gd name="T5" fmla="*/ 6841 h 16095"/>
                <a:gd name="T6" fmla="*/ 6612 w 16132"/>
                <a:gd name="T7" fmla="*/ 4902 h 16095"/>
                <a:gd name="T8" fmla="*/ 9339 w 16132"/>
                <a:gd name="T9" fmla="*/ 2534 h 16095"/>
                <a:gd name="T10" fmla="*/ 11655 w 16132"/>
                <a:gd name="T11" fmla="*/ 2575 h 16095"/>
                <a:gd name="T12" fmla="*/ 14497 w 16132"/>
                <a:gd name="T13" fmla="*/ 5410 h 16095"/>
                <a:gd name="T14" fmla="*/ 13598 w 16132"/>
                <a:gd name="T15" fmla="*/ 8480 h 16095"/>
                <a:gd name="T16" fmla="*/ 10587 w 16132"/>
                <a:gd name="T17" fmla="*/ 10562 h 16095"/>
                <a:gd name="T18" fmla="*/ 7575 w 16132"/>
                <a:gd name="T19" fmla="*/ 12645 h 16095"/>
                <a:gd name="T20" fmla="*/ 10795 w 16132"/>
                <a:gd name="T21" fmla="*/ 295 h 16095"/>
                <a:gd name="T22" fmla="*/ 10560 w 16132"/>
                <a:gd name="T23" fmla="*/ 121 h 16095"/>
                <a:gd name="T24" fmla="*/ 10290 w 16132"/>
                <a:gd name="T25" fmla="*/ 22 h 16095"/>
                <a:gd name="T26" fmla="*/ 10002 w 16132"/>
                <a:gd name="T27" fmla="*/ 3 h 16095"/>
                <a:gd name="T28" fmla="*/ 9708 w 16132"/>
                <a:gd name="T29" fmla="*/ 71 h 16095"/>
                <a:gd name="T30" fmla="*/ 9445 w 16132"/>
                <a:gd name="T31" fmla="*/ 226 h 16095"/>
                <a:gd name="T32" fmla="*/ 9253 w 16132"/>
                <a:gd name="T33" fmla="*/ 434 h 16095"/>
                <a:gd name="T34" fmla="*/ 9129 w 16132"/>
                <a:gd name="T35" fmla="*/ 679 h 16095"/>
                <a:gd name="T36" fmla="*/ 8916 w 16132"/>
                <a:gd name="T37" fmla="*/ 1244 h 16095"/>
                <a:gd name="T38" fmla="*/ 8610 w 16132"/>
                <a:gd name="T39" fmla="*/ 1810 h 16095"/>
                <a:gd name="T40" fmla="*/ 8220 w 16132"/>
                <a:gd name="T41" fmla="*/ 2338 h 16095"/>
                <a:gd name="T42" fmla="*/ 7686 w 16132"/>
                <a:gd name="T43" fmla="*/ 2886 h 16095"/>
                <a:gd name="T44" fmla="*/ 6944 w 16132"/>
                <a:gd name="T45" fmla="*/ 3480 h 16095"/>
                <a:gd name="T46" fmla="*/ 6121 w 16132"/>
                <a:gd name="T47" fmla="*/ 4023 h 16095"/>
                <a:gd name="T48" fmla="*/ 4611 w 16132"/>
                <a:gd name="T49" fmla="*/ 4912 h 16095"/>
                <a:gd name="T50" fmla="*/ 3435 w 16132"/>
                <a:gd name="T51" fmla="*/ 5632 h 16095"/>
                <a:gd name="T52" fmla="*/ 2514 w 16132"/>
                <a:gd name="T53" fmla="*/ 6295 h 16095"/>
                <a:gd name="T54" fmla="*/ 1677 w 16132"/>
                <a:gd name="T55" fmla="*/ 7047 h 16095"/>
                <a:gd name="T56" fmla="*/ 1059 w 16132"/>
                <a:gd name="T57" fmla="*/ 7768 h 16095"/>
                <a:gd name="T58" fmla="*/ 561 w 16132"/>
                <a:gd name="T59" fmla="*/ 8540 h 16095"/>
                <a:gd name="T60" fmla="*/ 178 w 16132"/>
                <a:gd name="T61" fmla="*/ 9371 h 16095"/>
                <a:gd name="T62" fmla="*/ 8 w 16132"/>
                <a:gd name="T63" fmla="*/ 9931 h 16095"/>
                <a:gd name="T64" fmla="*/ 16 w 16132"/>
                <a:gd name="T65" fmla="*/ 10235 h 16095"/>
                <a:gd name="T66" fmla="*/ 113 w 16132"/>
                <a:gd name="T67" fmla="*/ 10522 h 16095"/>
                <a:gd name="T68" fmla="*/ 295 w 16132"/>
                <a:gd name="T69" fmla="*/ 10771 h 16095"/>
                <a:gd name="T70" fmla="*/ 5543 w 16132"/>
                <a:gd name="T71" fmla="*/ 15959 h 16095"/>
                <a:gd name="T72" fmla="*/ 5811 w 16132"/>
                <a:gd name="T73" fmla="*/ 16066 h 16095"/>
                <a:gd name="T74" fmla="*/ 6098 w 16132"/>
                <a:gd name="T75" fmla="*/ 16094 h 16095"/>
                <a:gd name="T76" fmla="*/ 6391 w 16132"/>
                <a:gd name="T77" fmla="*/ 16036 h 16095"/>
                <a:gd name="T78" fmla="*/ 6660 w 16132"/>
                <a:gd name="T79" fmla="*/ 15890 h 16095"/>
                <a:gd name="T80" fmla="*/ 6861 w 16132"/>
                <a:gd name="T81" fmla="*/ 15686 h 16095"/>
                <a:gd name="T82" fmla="*/ 6992 w 16132"/>
                <a:gd name="T83" fmla="*/ 15445 h 16095"/>
                <a:gd name="T84" fmla="*/ 7187 w 16132"/>
                <a:gd name="T85" fmla="*/ 14915 h 16095"/>
                <a:gd name="T86" fmla="*/ 7483 w 16132"/>
                <a:gd name="T87" fmla="*/ 14346 h 16095"/>
                <a:gd name="T88" fmla="*/ 7864 w 16132"/>
                <a:gd name="T89" fmla="*/ 13814 h 16095"/>
                <a:gd name="T90" fmla="*/ 8370 w 16132"/>
                <a:gd name="T91" fmla="*/ 13278 h 16095"/>
                <a:gd name="T92" fmla="*/ 9101 w 16132"/>
                <a:gd name="T93" fmla="*/ 12678 h 16095"/>
                <a:gd name="T94" fmla="*/ 9917 w 16132"/>
                <a:gd name="T95" fmla="*/ 12131 h 16095"/>
                <a:gd name="T96" fmla="*/ 11308 w 16132"/>
                <a:gd name="T97" fmla="*/ 11309 h 16095"/>
                <a:gd name="T98" fmla="*/ 12591 w 16132"/>
                <a:gd name="T99" fmla="*/ 10530 h 16095"/>
                <a:gd name="T100" fmla="*/ 13519 w 16132"/>
                <a:gd name="T101" fmla="*/ 9876 h 16095"/>
                <a:gd name="T102" fmla="*/ 14379 w 16132"/>
                <a:gd name="T103" fmla="*/ 9125 h 16095"/>
                <a:gd name="T104" fmla="*/ 15011 w 16132"/>
                <a:gd name="T105" fmla="*/ 8410 h 16095"/>
                <a:gd name="T106" fmla="*/ 15522 w 16132"/>
                <a:gd name="T107" fmla="*/ 7643 h 16095"/>
                <a:gd name="T108" fmla="*/ 15916 w 16132"/>
                <a:gd name="T109" fmla="*/ 6818 h 16095"/>
                <a:gd name="T110" fmla="*/ 16119 w 16132"/>
                <a:gd name="T111" fmla="*/ 6198 h 16095"/>
                <a:gd name="T112" fmla="*/ 16122 w 16132"/>
                <a:gd name="T113" fmla="*/ 5893 h 16095"/>
                <a:gd name="T114" fmla="*/ 16034 w 16132"/>
                <a:gd name="T115" fmla="*/ 5603 h 16095"/>
                <a:gd name="T116" fmla="*/ 15861 w 16132"/>
                <a:gd name="T117" fmla="*/ 5350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132" h="16095">
                  <a:moveTo>
                    <a:pt x="6050" y="15089"/>
                  </a:moveTo>
                  <a:lnTo>
                    <a:pt x="5736" y="14776"/>
                  </a:lnTo>
                  <a:lnTo>
                    <a:pt x="5422" y="14463"/>
                  </a:lnTo>
                  <a:lnTo>
                    <a:pt x="5108" y="14150"/>
                  </a:lnTo>
                  <a:lnTo>
                    <a:pt x="4792" y="13835"/>
                  </a:lnTo>
                  <a:lnTo>
                    <a:pt x="4477" y="13520"/>
                  </a:lnTo>
                  <a:lnTo>
                    <a:pt x="4161" y="13205"/>
                  </a:lnTo>
                  <a:lnTo>
                    <a:pt x="3844" y="12889"/>
                  </a:lnTo>
                  <a:lnTo>
                    <a:pt x="3529" y="12574"/>
                  </a:lnTo>
                  <a:lnTo>
                    <a:pt x="3213" y="12258"/>
                  </a:lnTo>
                  <a:lnTo>
                    <a:pt x="2897" y="11943"/>
                  </a:lnTo>
                  <a:lnTo>
                    <a:pt x="2581" y="11629"/>
                  </a:lnTo>
                  <a:lnTo>
                    <a:pt x="2266" y="11314"/>
                  </a:lnTo>
                  <a:lnTo>
                    <a:pt x="1950" y="10999"/>
                  </a:lnTo>
                  <a:lnTo>
                    <a:pt x="1635" y="10685"/>
                  </a:lnTo>
                  <a:lnTo>
                    <a:pt x="1322" y="10372"/>
                  </a:lnTo>
                  <a:lnTo>
                    <a:pt x="1008" y="10059"/>
                  </a:lnTo>
                  <a:lnTo>
                    <a:pt x="1156" y="9639"/>
                  </a:lnTo>
                  <a:lnTo>
                    <a:pt x="1330" y="9246"/>
                  </a:lnTo>
                  <a:lnTo>
                    <a:pt x="1529" y="8877"/>
                  </a:lnTo>
                  <a:lnTo>
                    <a:pt x="1750" y="8531"/>
                  </a:lnTo>
                  <a:lnTo>
                    <a:pt x="1993" y="8206"/>
                  </a:lnTo>
                  <a:lnTo>
                    <a:pt x="2254" y="7902"/>
                  </a:lnTo>
                  <a:lnTo>
                    <a:pt x="2534" y="7615"/>
                  </a:lnTo>
                  <a:lnTo>
                    <a:pt x="2829" y="7343"/>
                  </a:lnTo>
                  <a:lnTo>
                    <a:pt x="3138" y="7086"/>
                  </a:lnTo>
                  <a:lnTo>
                    <a:pt x="3459" y="6841"/>
                  </a:lnTo>
                  <a:lnTo>
                    <a:pt x="3791" y="6607"/>
                  </a:lnTo>
                  <a:lnTo>
                    <a:pt x="4131" y="6382"/>
                  </a:lnTo>
                  <a:lnTo>
                    <a:pt x="4479" y="6162"/>
                  </a:lnTo>
                  <a:lnTo>
                    <a:pt x="4832" y="5950"/>
                  </a:lnTo>
                  <a:lnTo>
                    <a:pt x="5187" y="5740"/>
                  </a:lnTo>
                  <a:lnTo>
                    <a:pt x="5545" y="5533"/>
                  </a:lnTo>
                  <a:lnTo>
                    <a:pt x="5903" y="5324"/>
                  </a:lnTo>
                  <a:lnTo>
                    <a:pt x="6259" y="5115"/>
                  </a:lnTo>
                  <a:lnTo>
                    <a:pt x="6612" y="4902"/>
                  </a:lnTo>
                  <a:lnTo>
                    <a:pt x="6960" y="4684"/>
                  </a:lnTo>
                  <a:lnTo>
                    <a:pt x="7300" y="4458"/>
                  </a:lnTo>
                  <a:lnTo>
                    <a:pt x="7631" y="4224"/>
                  </a:lnTo>
                  <a:lnTo>
                    <a:pt x="7953" y="3979"/>
                  </a:lnTo>
                  <a:lnTo>
                    <a:pt x="8262" y="3722"/>
                  </a:lnTo>
                  <a:lnTo>
                    <a:pt x="8557" y="3450"/>
                  </a:lnTo>
                  <a:lnTo>
                    <a:pt x="8835" y="3164"/>
                  </a:lnTo>
                  <a:lnTo>
                    <a:pt x="9097" y="2858"/>
                  </a:lnTo>
                  <a:lnTo>
                    <a:pt x="9339" y="2534"/>
                  </a:lnTo>
                  <a:lnTo>
                    <a:pt x="9561" y="2188"/>
                  </a:lnTo>
                  <a:lnTo>
                    <a:pt x="9760" y="1820"/>
                  </a:lnTo>
                  <a:lnTo>
                    <a:pt x="9934" y="1425"/>
                  </a:lnTo>
                  <a:lnTo>
                    <a:pt x="10083" y="1006"/>
                  </a:lnTo>
                  <a:lnTo>
                    <a:pt x="10396" y="1319"/>
                  </a:lnTo>
                  <a:lnTo>
                    <a:pt x="10710" y="1632"/>
                  </a:lnTo>
                  <a:lnTo>
                    <a:pt x="11024" y="1945"/>
                  </a:lnTo>
                  <a:lnTo>
                    <a:pt x="11340" y="2260"/>
                  </a:lnTo>
                  <a:lnTo>
                    <a:pt x="11655" y="2575"/>
                  </a:lnTo>
                  <a:lnTo>
                    <a:pt x="11971" y="2890"/>
                  </a:lnTo>
                  <a:lnTo>
                    <a:pt x="12288" y="3205"/>
                  </a:lnTo>
                  <a:lnTo>
                    <a:pt x="12603" y="3521"/>
                  </a:lnTo>
                  <a:lnTo>
                    <a:pt x="12920" y="3836"/>
                  </a:lnTo>
                  <a:lnTo>
                    <a:pt x="13235" y="4152"/>
                  </a:lnTo>
                  <a:lnTo>
                    <a:pt x="13551" y="4466"/>
                  </a:lnTo>
                  <a:lnTo>
                    <a:pt x="13866" y="4781"/>
                  </a:lnTo>
                  <a:lnTo>
                    <a:pt x="14182" y="5095"/>
                  </a:lnTo>
                  <a:lnTo>
                    <a:pt x="14497" y="5410"/>
                  </a:lnTo>
                  <a:lnTo>
                    <a:pt x="14810" y="5723"/>
                  </a:lnTo>
                  <a:lnTo>
                    <a:pt x="15124" y="6036"/>
                  </a:lnTo>
                  <a:lnTo>
                    <a:pt x="14977" y="6455"/>
                  </a:lnTo>
                  <a:lnTo>
                    <a:pt x="14802" y="6848"/>
                  </a:lnTo>
                  <a:lnTo>
                    <a:pt x="14603" y="7218"/>
                  </a:lnTo>
                  <a:lnTo>
                    <a:pt x="14382" y="7564"/>
                  </a:lnTo>
                  <a:lnTo>
                    <a:pt x="14139" y="7888"/>
                  </a:lnTo>
                  <a:lnTo>
                    <a:pt x="13878" y="8192"/>
                  </a:lnTo>
                  <a:lnTo>
                    <a:pt x="13598" y="8480"/>
                  </a:lnTo>
                  <a:lnTo>
                    <a:pt x="13303" y="8752"/>
                  </a:lnTo>
                  <a:lnTo>
                    <a:pt x="12994" y="9008"/>
                  </a:lnTo>
                  <a:lnTo>
                    <a:pt x="12673" y="9254"/>
                  </a:lnTo>
                  <a:lnTo>
                    <a:pt x="12341" y="9488"/>
                  </a:lnTo>
                  <a:lnTo>
                    <a:pt x="12001" y="9713"/>
                  </a:lnTo>
                  <a:lnTo>
                    <a:pt x="11653" y="9932"/>
                  </a:lnTo>
                  <a:lnTo>
                    <a:pt x="11300" y="10145"/>
                  </a:lnTo>
                  <a:lnTo>
                    <a:pt x="10945" y="10354"/>
                  </a:lnTo>
                  <a:lnTo>
                    <a:pt x="10587" y="10562"/>
                  </a:lnTo>
                  <a:lnTo>
                    <a:pt x="10229" y="10770"/>
                  </a:lnTo>
                  <a:lnTo>
                    <a:pt x="9873" y="10980"/>
                  </a:lnTo>
                  <a:lnTo>
                    <a:pt x="9520" y="11192"/>
                  </a:lnTo>
                  <a:lnTo>
                    <a:pt x="9173" y="11410"/>
                  </a:lnTo>
                  <a:lnTo>
                    <a:pt x="8832" y="11637"/>
                  </a:lnTo>
                  <a:lnTo>
                    <a:pt x="8501" y="11871"/>
                  </a:lnTo>
                  <a:lnTo>
                    <a:pt x="8179" y="12116"/>
                  </a:lnTo>
                  <a:lnTo>
                    <a:pt x="7870" y="12373"/>
                  </a:lnTo>
                  <a:lnTo>
                    <a:pt x="7575" y="12645"/>
                  </a:lnTo>
                  <a:lnTo>
                    <a:pt x="7297" y="12931"/>
                  </a:lnTo>
                  <a:lnTo>
                    <a:pt x="7035" y="13237"/>
                  </a:lnTo>
                  <a:lnTo>
                    <a:pt x="6793" y="13561"/>
                  </a:lnTo>
                  <a:lnTo>
                    <a:pt x="6571" y="13907"/>
                  </a:lnTo>
                  <a:lnTo>
                    <a:pt x="6372" y="14275"/>
                  </a:lnTo>
                  <a:lnTo>
                    <a:pt x="6198" y="14670"/>
                  </a:lnTo>
                  <a:lnTo>
                    <a:pt x="6050" y="15089"/>
                  </a:lnTo>
                  <a:close/>
                  <a:moveTo>
                    <a:pt x="15837" y="5324"/>
                  </a:moveTo>
                  <a:lnTo>
                    <a:pt x="10795" y="295"/>
                  </a:lnTo>
                  <a:lnTo>
                    <a:pt x="10772" y="272"/>
                  </a:lnTo>
                  <a:lnTo>
                    <a:pt x="10747" y="249"/>
                  </a:lnTo>
                  <a:lnTo>
                    <a:pt x="10723" y="228"/>
                  </a:lnTo>
                  <a:lnTo>
                    <a:pt x="10697" y="208"/>
                  </a:lnTo>
                  <a:lnTo>
                    <a:pt x="10670" y="189"/>
                  </a:lnTo>
                  <a:lnTo>
                    <a:pt x="10644" y="170"/>
                  </a:lnTo>
                  <a:lnTo>
                    <a:pt x="10617" y="153"/>
                  </a:lnTo>
                  <a:lnTo>
                    <a:pt x="10589" y="136"/>
                  </a:lnTo>
                  <a:lnTo>
                    <a:pt x="10560" y="121"/>
                  </a:lnTo>
                  <a:lnTo>
                    <a:pt x="10532" y="106"/>
                  </a:lnTo>
                  <a:lnTo>
                    <a:pt x="10503" y="92"/>
                  </a:lnTo>
                  <a:lnTo>
                    <a:pt x="10474" y="78"/>
                  </a:lnTo>
                  <a:lnTo>
                    <a:pt x="10444" y="66"/>
                  </a:lnTo>
                  <a:lnTo>
                    <a:pt x="10414" y="56"/>
                  </a:lnTo>
                  <a:lnTo>
                    <a:pt x="10384" y="46"/>
                  </a:lnTo>
                  <a:lnTo>
                    <a:pt x="10353" y="37"/>
                  </a:lnTo>
                  <a:lnTo>
                    <a:pt x="10321" y="29"/>
                  </a:lnTo>
                  <a:lnTo>
                    <a:pt x="10290" y="22"/>
                  </a:lnTo>
                  <a:lnTo>
                    <a:pt x="10259" y="16"/>
                  </a:lnTo>
                  <a:lnTo>
                    <a:pt x="10228" y="10"/>
                  </a:lnTo>
                  <a:lnTo>
                    <a:pt x="10195" y="6"/>
                  </a:lnTo>
                  <a:lnTo>
                    <a:pt x="10163" y="3"/>
                  </a:lnTo>
                  <a:lnTo>
                    <a:pt x="10131" y="1"/>
                  </a:lnTo>
                  <a:lnTo>
                    <a:pt x="10099" y="0"/>
                  </a:lnTo>
                  <a:lnTo>
                    <a:pt x="10066" y="0"/>
                  </a:lnTo>
                  <a:lnTo>
                    <a:pt x="10034" y="1"/>
                  </a:lnTo>
                  <a:lnTo>
                    <a:pt x="10002" y="3"/>
                  </a:lnTo>
                  <a:lnTo>
                    <a:pt x="9970" y="6"/>
                  </a:lnTo>
                  <a:lnTo>
                    <a:pt x="9937" y="11"/>
                  </a:lnTo>
                  <a:lnTo>
                    <a:pt x="9905" y="16"/>
                  </a:lnTo>
                  <a:lnTo>
                    <a:pt x="9873" y="22"/>
                  </a:lnTo>
                  <a:lnTo>
                    <a:pt x="9841" y="29"/>
                  </a:lnTo>
                  <a:lnTo>
                    <a:pt x="9806" y="38"/>
                  </a:lnTo>
                  <a:lnTo>
                    <a:pt x="9773" y="48"/>
                  </a:lnTo>
                  <a:lnTo>
                    <a:pt x="9741" y="59"/>
                  </a:lnTo>
                  <a:lnTo>
                    <a:pt x="9708" y="71"/>
                  </a:lnTo>
                  <a:lnTo>
                    <a:pt x="9676" y="84"/>
                  </a:lnTo>
                  <a:lnTo>
                    <a:pt x="9645" y="99"/>
                  </a:lnTo>
                  <a:lnTo>
                    <a:pt x="9615" y="115"/>
                  </a:lnTo>
                  <a:lnTo>
                    <a:pt x="9584" y="131"/>
                  </a:lnTo>
                  <a:lnTo>
                    <a:pt x="9555" y="148"/>
                  </a:lnTo>
                  <a:lnTo>
                    <a:pt x="9527" y="166"/>
                  </a:lnTo>
                  <a:lnTo>
                    <a:pt x="9499" y="185"/>
                  </a:lnTo>
                  <a:lnTo>
                    <a:pt x="9472" y="205"/>
                  </a:lnTo>
                  <a:lnTo>
                    <a:pt x="9445" y="226"/>
                  </a:lnTo>
                  <a:lnTo>
                    <a:pt x="9419" y="248"/>
                  </a:lnTo>
                  <a:lnTo>
                    <a:pt x="9394" y="271"/>
                  </a:lnTo>
                  <a:lnTo>
                    <a:pt x="9370" y="295"/>
                  </a:lnTo>
                  <a:lnTo>
                    <a:pt x="9348" y="316"/>
                  </a:lnTo>
                  <a:lnTo>
                    <a:pt x="9328" y="339"/>
                  </a:lnTo>
                  <a:lnTo>
                    <a:pt x="9308" y="362"/>
                  </a:lnTo>
                  <a:lnTo>
                    <a:pt x="9289" y="385"/>
                  </a:lnTo>
                  <a:lnTo>
                    <a:pt x="9271" y="409"/>
                  </a:lnTo>
                  <a:lnTo>
                    <a:pt x="9253" y="434"/>
                  </a:lnTo>
                  <a:lnTo>
                    <a:pt x="9237" y="459"/>
                  </a:lnTo>
                  <a:lnTo>
                    <a:pt x="9220" y="485"/>
                  </a:lnTo>
                  <a:lnTo>
                    <a:pt x="9204" y="511"/>
                  </a:lnTo>
                  <a:lnTo>
                    <a:pt x="9190" y="538"/>
                  </a:lnTo>
                  <a:lnTo>
                    <a:pt x="9176" y="565"/>
                  </a:lnTo>
                  <a:lnTo>
                    <a:pt x="9163" y="592"/>
                  </a:lnTo>
                  <a:lnTo>
                    <a:pt x="9151" y="621"/>
                  </a:lnTo>
                  <a:lnTo>
                    <a:pt x="9140" y="650"/>
                  </a:lnTo>
                  <a:lnTo>
                    <a:pt x="9129" y="679"/>
                  </a:lnTo>
                  <a:lnTo>
                    <a:pt x="9120" y="708"/>
                  </a:lnTo>
                  <a:lnTo>
                    <a:pt x="9097" y="777"/>
                  </a:lnTo>
                  <a:lnTo>
                    <a:pt x="9074" y="846"/>
                  </a:lnTo>
                  <a:lnTo>
                    <a:pt x="9051" y="913"/>
                  </a:lnTo>
                  <a:lnTo>
                    <a:pt x="9026" y="981"/>
                  </a:lnTo>
                  <a:lnTo>
                    <a:pt x="9000" y="1047"/>
                  </a:lnTo>
                  <a:lnTo>
                    <a:pt x="8973" y="1114"/>
                  </a:lnTo>
                  <a:lnTo>
                    <a:pt x="8945" y="1180"/>
                  </a:lnTo>
                  <a:lnTo>
                    <a:pt x="8916" y="1244"/>
                  </a:lnTo>
                  <a:lnTo>
                    <a:pt x="8887" y="1310"/>
                  </a:lnTo>
                  <a:lnTo>
                    <a:pt x="8855" y="1373"/>
                  </a:lnTo>
                  <a:lnTo>
                    <a:pt x="8823" y="1437"/>
                  </a:lnTo>
                  <a:lnTo>
                    <a:pt x="8791" y="1501"/>
                  </a:lnTo>
                  <a:lnTo>
                    <a:pt x="8757" y="1563"/>
                  </a:lnTo>
                  <a:lnTo>
                    <a:pt x="8721" y="1626"/>
                  </a:lnTo>
                  <a:lnTo>
                    <a:pt x="8686" y="1687"/>
                  </a:lnTo>
                  <a:lnTo>
                    <a:pt x="8649" y="1748"/>
                  </a:lnTo>
                  <a:lnTo>
                    <a:pt x="8610" y="1810"/>
                  </a:lnTo>
                  <a:lnTo>
                    <a:pt x="8571" y="1870"/>
                  </a:lnTo>
                  <a:lnTo>
                    <a:pt x="8532" y="1929"/>
                  </a:lnTo>
                  <a:lnTo>
                    <a:pt x="8490" y="1990"/>
                  </a:lnTo>
                  <a:lnTo>
                    <a:pt x="8448" y="2048"/>
                  </a:lnTo>
                  <a:lnTo>
                    <a:pt x="8405" y="2107"/>
                  </a:lnTo>
                  <a:lnTo>
                    <a:pt x="8360" y="2166"/>
                  </a:lnTo>
                  <a:lnTo>
                    <a:pt x="8315" y="2223"/>
                  </a:lnTo>
                  <a:lnTo>
                    <a:pt x="8268" y="2280"/>
                  </a:lnTo>
                  <a:lnTo>
                    <a:pt x="8220" y="2338"/>
                  </a:lnTo>
                  <a:lnTo>
                    <a:pt x="8172" y="2394"/>
                  </a:lnTo>
                  <a:lnTo>
                    <a:pt x="8121" y="2450"/>
                  </a:lnTo>
                  <a:lnTo>
                    <a:pt x="8071" y="2507"/>
                  </a:lnTo>
                  <a:lnTo>
                    <a:pt x="8019" y="2562"/>
                  </a:lnTo>
                  <a:lnTo>
                    <a:pt x="7966" y="2617"/>
                  </a:lnTo>
                  <a:lnTo>
                    <a:pt x="7912" y="2672"/>
                  </a:lnTo>
                  <a:lnTo>
                    <a:pt x="7838" y="2744"/>
                  </a:lnTo>
                  <a:lnTo>
                    <a:pt x="7763" y="2816"/>
                  </a:lnTo>
                  <a:lnTo>
                    <a:pt x="7686" y="2886"/>
                  </a:lnTo>
                  <a:lnTo>
                    <a:pt x="7608" y="2955"/>
                  </a:lnTo>
                  <a:lnTo>
                    <a:pt x="7530" y="3024"/>
                  </a:lnTo>
                  <a:lnTo>
                    <a:pt x="7449" y="3091"/>
                  </a:lnTo>
                  <a:lnTo>
                    <a:pt x="7367" y="3158"/>
                  </a:lnTo>
                  <a:lnTo>
                    <a:pt x="7285" y="3224"/>
                  </a:lnTo>
                  <a:lnTo>
                    <a:pt x="7201" y="3288"/>
                  </a:lnTo>
                  <a:lnTo>
                    <a:pt x="7116" y="3353"/>
                  </a:lnTo>
                  <a:lnTo>
                    <a:pt x="7031" y="3416"/>
                  </a:lnTo>
                  <a:lnTo>
                    <a:pt x="6944" y="3480"/>
                  </a:lnTo>
                  <a:lnTo>
                    <a:pt x="6856" y="3542"/>
                  </a:lnTo>
                  <a:lnTo>
                    <a:pt x="6767" y="3603"/>
                  </a:lnTo>
                  <a:lnTo>
                    <a:pt x="6678" y="3665"/>
                  </a:lnTo>
                  <a:lnTo>
                    <a:pt x="6587" y="3725"/>
                  </a:lnTo>
                  <a:lnTo>
                    <a:pt x="6495" y="3785"/>
                  </a:lnTo>
                  <a:lnTo>
                    <a:pt x="6402" y="3846"/>
                  </a:lnTo>
                  <a:lnTo>
                    <a:pt x="6310" y="3905"/>
                  </a:lnTo>
                  <a:lnTo>
                    <a:pt x="6215" y="3963"/>
                  </a:lnTo>
                  <a:lnTo>
                    <a:pt x="6121" y="4023"/>
                  </a:lnTo>
                  <a:lnTo>
                    <a:pt x="6025" y="4081"/>
                  </a:lnTo>
                  <a:lnTo>
                    <a:pt x="5930" y="4139"/>
                  </a:lnTo>
                  <a:lnTo>
                    <a:pt x="5833" y="4198"/>
                  </a:lnTo>
                  <a:lnTo>
                    <a:pt x="5637" y="4314"/>
                  </a:lnTo>
                  <a:lnTo>
                    <a:pt x="5440" y="4430"/>
                  </a:lnTo>
                  <a:lnTo>
                    <a:pt x="5241" y="4546"/>
                  </a:lnTo>
                  <a:lnTo>
                    <a:pt x="5039" y="4663"/>
                  </a:lnTo>
                  <a:lnTo>
                    <a:pt x="4825" y="4786"/>
                  </a:lnTo>
                  <a:lnTo>
                    <a:pt x="4611" y="4912"/>
                  </a:lnTo>
                  <a:lnTo>
                    <a:pt x="4395" y="5038"/>
                  </a:lnTo>
                  <a:lnTo>
                    <a:pt x="4180" y="5165"/>
                  </a:lnTo>
                  <a:lnTo>
                    <a:pt x="4073" y="5231"/>
                  </a:lnTo>
                  <a:lnTo>
                    <a:pt x="3966" y="5296"/>
                  </a:lnTo>
                  <a:lnTo>
                    <a:pt x="3860" y="5362"/>
                  </a:lnTo>
                  <a:lnTo>
                    <a:pt x="3753" y="5428"/>
                  </a:lnTo>
                  <a:lnTo>
                    <a:pt x="3647" y="5495"/>
                  </a:lnTo>
                  <a:lnTo>
                    <a:pt x="3541" y="5564"/>
                  </a:lnTo>
                  <a:lnTo>
                    <a:pt x="3435" y="5632"/>
                  </a:lnTo>
                  <a:lnTo>
                    <a:pt x="3330" y="5702"/>
                  </a:lnTo>
                  <a:lnTo>
                    <a:pt x="3226" y="5773"/>
                  </a:lnTo>
                  <a:lnTo>
                    <a:pt x="3123" y="5844"/>
                  </a:lnTo>
                  <a:lnTo>
                    <a:pt x="3020" y="5917"/>
                  </a:lnTo>
                  <a:lnTo>
                    <a:pt x="2917" y="5990"/>
                  </a:lnTo>
                  <a:lnTo>
                    <a:pt x="2815" y="6065"/>
                  </a:lnTo>
                  <a:lnTo>
                    <a:pt x="2713" y="6140"/>
                  </a:lnTo>
                  <a:lnTo>
                    <a:pt x="2613" y="6218"/>
                  </a:lnTo>
                  <a:lnTo>
                    <a:pt x="2514" y="6295"/>
                  </a:lnTo>
                  <a:lnTo>
                    <a:pt x="2415" y="6375"/>
                  </a:lnTo>
                  <a:lnTo>
                    <a:pt x="2317" y="6455"/>
                  </a:lnTo>
                  <a:lnTo>
                    <a:pt x="2220" y="6538"/>
                  </a:lnTo>
                  <a:lnTo>
                    <a:pt x="2125" y="6621"/>
                  </a:lnTo>
                  <a:lnTo>
                    <a:pt x="2031" y="6706"/>
                  </a:lnTo>
                  <a:lnTo>
                    <a:pt x="1937" y="6792"/>
                  </a:lnTo>
                  <a:lnTo>
                    <a:pt x="1844" y="6880"/>
                  </a:lnTo>
                  <a:lnTo>
                    <a:pt x="1753" y="6969"/>
                  </a:lnTo>
                  <a:lnTo>
                    <a:pt x="1677" y="7047"/>
                  </a:lnTo>
                  <a:lnTo>
                    <a:pt x="1602" y="7124"/>
                  </a:lnTo>
                  <a:lnTo>
                    <a:pt x="1529" y="7203"/>
                  </a:lnTo>
                  <a:lnTo>
                    <a:pt x="1457" y="7282"/>
                  </a:lnTo>
                  <a:lnTo>
                    <a:pt x="1387" y="7361"/>
                  </a:lnTo>
                  <a:lnTo>
                    <a:pt x="1319" y="7441"/>
                  </a:lnTo>
                  <a:lnTo>
                    <a:pt x="1251" y="7521"/>
                  </a:lnTo>
                  <a:lnTo>
                    <a:pt x="1186" y="7603"/>
                  </a:lnTo>
                  <a:lnTo>
                    <a:pt x="1121" y="7685"/>
                  </a:lnTo>
                  <a:lnTo>
                    <a:pt x="1059" y="7768"/>
                  </a:lnTo>
                  <a:lnTo>
                    <a:pt x="998" y="7850"/>
                  </a:lnTo>
                  <a:lnTo>
                    <a:pt x="938" y="7935"/>
                  </a:lnTo>
                  <a:lnTo>
                    <a:pt x="880" y="8018"/>
                  </a:lnTo>
                  <a:lnTo>
                    <a:pt x="823" y="8104"/>
                  </a:lnTo>
                  <a:lnTo>
                    <a:pt x="767" y="8189"/>
                  </a:lnTo>
                  <a:lnTo>
                    <a:pt x="714" y="8276"/>
                  </a:lnTo>
                  <a:lnTo>
                    <a:pt x="661" y="8363"/>
                  </a:lnTo>
                  <a:lnTo>
                    <a:pt x="610" y="8451"/>
                  </a:lnTo>
                  <a:lnTo>
                    <a:pt x="561" y="8540"/>
                  </a:lnTo>
                  <a:lnTo>
                    <a:pt x="513" y="8629"/>
                  </a:lnTo>
                  <a:lnTo>
                    <a:pt x="466" y="8719"/>
                  </a:lnTo>
                  <a:lnTo>
                    <a:pt x="420" y="8810"/>
                  </a:lnTo>
                  <a:lnTo>
                    <a:pt x="377" y="8902"/>
                  </a:lnTo>
                  <a:lnTo>
                    <a:pt x="335" y="8994"/>
                  </a:lnTo>
                  <a:lnTo>
                    <a:pt x="293" y="9088"/>
                  </a:lnTo>
                  <a:lnTo>
                    <a:pt x="254" y="9181"/>
                  </a:lnTo>
                  <a:lnTo>
                    <a:pt x="216" y="9276"/>
                  </a:lnTo>
                  <a:lnTo>
                    <a:pt x="178" y="9371"/>
                  </a:lnTo>
                  <a:lnTo>
                    <a:pt x="143" y="9468"/>
                  </a:lnTo>
                  <a:lnTo>
                    <a:pt x="109" y="9564"/>
                  </a:lnTo>
                  <a:lnTo>
                    <a:pt x="77" y="9663"/>
                  </a:lnTo>
                  <a:lnTo>
                    <a:pt x="45" y="9762"/>
                  </a:lnTo>
                  <a:lnTo>
                    <a:pt x="35" y="9795"/>
                  </a:lnTo>
                  <a:lnTo>
                    <a:pt x="27" y="9829"/>
                  </a:lnTo>
                  <a:lnTo>
                    <a:pt x="19" y="9863"/>
                  </a:lnTo>
                  <a:lnTo>
                    <a:pt x="13" y="9896"/>
                  </a:lnTo>
                  <a:lnTo>
                    <a:pt x="8" y="9931"/>
                  </a:lnTo>
                  <a:lnTo>
                    <a:pt x="5" y="9965"/>
                  </a:lnTo>
                  <a:lnTo>
                    <a:pt x="2" y="9999"/>
                  </a:lnTo>
                  <a:lnTo>
                    <a:pt x="0" y="10033"/>
                  </a:lnTo>
                  <a:lnTo>
                    <a:pt x="0" y="10067"/>
                  </a:lnTo>
                  <a:lnTo>
                    <a:pt x="1" y="10101"/>
                  </a:lnTo>
                  <a:lnTo>
                    <a:pt x="3" y="10135"/>
                  </a:lnTo>
                  <a:lnTo>
                    <a:pt x="6" y="10168"/>
                  </a:lnTo>
                  <a:lnTo>
                    <a:pt x="10" y="10202"/>
                  </a:lnTo>
                  <a:lnTo>
                    <a:pt x="16" y="10235"/>
                  </a:lnTo>
                  <a:lnTo>
                    <a:pt x="22" y="10269"/>
                  </a:lnTo>
                  <a:lnTo>
                    <a:pt x="29" y="10301"/>
                  </a:lnTo>
                  <a:lnTo>
                    <a:pt x="38" y="10334"/>
                  </a:lnTo>
                  <a:lnTo>
                    <a:pt x="48" y="10366"/>
                  </a:lnTo>
                  <a:lnTo>
                    <a:pt x="58" y="10398"/>
                  </a:lnTo>
                  <a:lnTo>
                    <a:pt x="71" y="10430"/>
                  </a:lnTo>
                  <a:lnTo>
                    <a:pt x="84" y="10461"/>
                  </a:lnTo>
                  <a:lnTo>
                    <a:pt x="98" y="10492"/>
                  </a:lnTo>
                  <a:lnTo>
                    <a:pt x="113" y="10522"/>
                  </a:lnTo>
                  <a:lnTo>
                    <a:pt x="129" y="10552"/>
                  </a:lnTo>
                  <a:lnTo>
                    <a:pt x="146" y="10581"/>
                  </a:lnTo>
                  <a:lnTo>
                    <a:pt x="164" y="10611"/>
                  </a:lnTo>
                  <a:lnTo>
                    <a:pt x="184" y="10639"/>
                  </a:lnTo>
                  <a:lnTo>
                    <a:pt x="204" y="10666"/>
                  </a:lnTo>
                  <a:lnTo>
                    <a:pt x="225" y="10693"/>
                  </a:lnTo>
                  <a:lnTo>
                    <a:pt x="248" y="10719"/>
                  </a:lnTo>
                  <a:lnTo>
                    <a:pt x="271" y="10745"/>
                  </a:lnTo>
                  <a:lnTo>
                    <a:pt x="295" y="10771"/>
                  </a:lnTo>
                  <a:lnTo>
                    <a:pt x="5337" y="15800"/>
                  </a:lnTo>
                  <a:lnTo>
                    <a:pt x="5360" y="15823"/>
                  </a:lnTo>
                  <a:lnTo>
                    <a:pt x="5385" y="15846"/>
                  </a:lnTo>
                  <a:lnTo>
                    <a:pt x="5409" y="15867"/>
                  </a:lnTo>
                  <a:lnTo>
                    <a:pt x="5435" y="15887"/>
                  </a:lnTo>
                  <a:lnTo>
                    <a:pt x="5462" y="15906"/>
                  </a:lnTo>
                  <a:lnTo>
                    <a:pt x="5488" y="15925"/>
                  </a:lnTo>
                  <a:lnTo>
                    <a:pt x="5515" y="15942"/>
                  </a:lnTo>
                  <a:lnTo>
                    <a:pt x="5543" y="15959"/>
                  </a:lnTo>
                  <a:lnTo>
                    <a:pt x="5572" y="15974"/>
                  </a:lnTo>
                  <a:lnTo>
                    <a:pt x="5600" y="15989"/>
                  </a:lnTo>
                  <a:lnTo>
                    <a:pt x="5629" y="16003"/>
                  </a:lnTo>
                  <a:lnTo>
                    <a:pt x="5658" y="16017"/>
                  </a:lnTo>
                  <a:lnTo>
                    <a:pt x="5688" y="16029"/>
                  </a:lnTo>
                  <a:lnTo>
                    <a:pt x="5718" y="16039"/>
                  </a:lnTo>
                  <a:lnTo>
                    <a:pt x="5749" y="16049"/>
                  </a:lnTo>
                  <a:lnTo>
                    <a:pt x="5779" y="16058"/>
                  </a:lnTo>
                  <a:lnTo>
                    <a:pt x="5811" y="16066"/>
                  </a:lnTo>
                  <a:lnTo>
                    <a:pt x="5842" y="16073"/>
                  </a:lnTo>
                  <a:lnTo>
                    <a:pt x="5873" y="16079"/>
                  </a:lnTo>
                  <a:lnTo>
                    <a:pt x="5904" y="16085"/>
                  </a:lnTo>
                  <a:lnTo>
                    <a:pt x="5937" y="16089"/>
                  </a:lnTo>
                  <a:lnTo>
                    <a:pt x="5969" y="16092"/>
                  </a:lnTo>
                  <a:lnTo>
                    <a:pt x="6001" y="16094"/>
                  </a:lnTo>
                  <a:lnTo>
                    <a:pt x="6033" y="16095"/>
                  </a:lnTo>
                  <a:lnTo>
                    <a:pt x="6066" y="16095"/>
                  </a:lnTo>
                  <a:lnTo>
                    <a:pt x="6098" y="16094"/>
                  </a:lnTo>
                  <a:lnTo>
                    <a:pt x="6130" y="16092"/>
                  </a:lnTo>
                  <a:lnTo>
                    <a:pt x="6162" y="16089"/>
                  </a:lnTo>
                  <a:lnTo>
                    <a:pt x="6195" y="16084"/>
                  </a:lnTo>
                  <a:lnTo>
                    <a:pt x="6227" y="16079"/>
                  </a:lnTo>
                  <a:lnTo>
                    <a:pt x="6259" y="16073"/>
                  </a:lnTo>
                  <a:lnTo>
                    <a:pt x="6291" y="16066"/>
                  </a:lnTo>
                  <a:lnTo>
                    <a:pt x="6326" y="16057"/>
                  </a:lnTo>
                  <a:lnTo>
                    <a:pt x="6359" y="16047"/>
                  </a:lnTo>
                  <a:lnTo>
                    <a:pt x="6391" y="16036"/>
                  </a:lnTo>
                  <a:lnTo>
                    <a:pt x="6424" y="16024"/>
                  </a:lnTo>
                  <a:lnTo>
                    <a:pt x="6456" y="16009"/>
                  </a:lnTo>
                  <a:lnTo>
                    <a:pt x="6487" y="15995"/>
                  </a:lnTo>
                  <a:lnTo>
                    <a:pt x="6517" y="15980"/>
                  </a:lnTo>
                  <a:lnTo>
                    <a:pt x="6548" y="15964"/>
                  </a:lnTo>
                  <a:lnTo>
                    <a:pt x="6577" y="15947"/>
                  </a:lnTo>
                  <a:lnTo>
                    <a:pt x="6605" y="15929"/>
                  </a:lnTo>
                  <a:lnTo>
                    <a:pt x="6633" y="15909"/>
                  </a:lnTo>
                  <a:lnTo>
                    <a:pt x="6660" y="15890"/>
                  </a:lnTo>
                  <a:lnTo>
                    <a:pt x="6687" y="15869"/>
                  </a:lnTo>
                  <a:lnTo>
                    <a:pt x="6713" y="15847"/>
                  </a:lnTo>
                  <a:lnTo>
                    <a:pt x="6738" y="15823"/>
                  </a:lnTo>
                  <a:lnTo>
                    <a:pt x="6762" y="15800"/>
                  </a:lnTo>
                  <a:lnTo>
                    <a:pt x="6784" y="15778"/>
                  </a:lnTo>
                  <a:lnTo>
                    <a:pt x="6804" y="15756"/>
                  </a:lnTo>
                  <a:lnTo>
                    <a:pt x="6824" y="15733"/>
                  </a:lnTo>
                  <a:lnTo>
                    <a:pt x="6843" y="15710"/>
                  </a:lnTo>
                  <a:lnTo>
                    <a:pt x="6861" y="15686"/>
                  </a:lnTo>
                  <a:lnTo>
                    <a:pt x="6879" y="15661"/>
                  </a:lnTo>
                  <a:lnTo>
                    <a:pt x="6895" y="15635"/>
                  </a:lnTo>
                  <a:lnTo>
                    <a:pt x="6912" y="15610"/>
                  </a:lnTo>
                  <a:lnTo>
                    <a:pt x="6928" y="15584"/>
                  </a:lnTo>
                  <a:lnTo>
                    <a:pt x="6942" y="15557"/>
                  </a:lnTo>
                  <a:lnTo>
                    <a:pt x="6956" y="15530"/>
                  </a:lnTo>
                  <a:lnTo>
                    <a:pt x="6969" y="15501"/>
                  </a:lnTo>
                  <a:lnTo>
                    <a:pt x="6981" y="15473"/>
                  </a:lnTo>
                  <a:lnTo>
                    <a:pt x="6992" y="15445"/>
                  </a:lnTo>
                  <a:lnTo>
                    <a:pt x="7003" y="15416"/>
                  </a:lnTo>
                  <a:lnTo>
                    <a:pt x="7012" y="15386"/>
                  </a:lnTo>
                  <a:lnTo>
                    <a:pt x="7035" y="15317"/>
                  </a:lnTo>
                  <a:lnTo>
                    <a:pt x="7058" y="15249"/>
                  </a:lnTo>
                  <a:lnTo>
                    <a:pt x="7081" y="15181"/>
                  </a:lnTo>
                  <a:lnTo>
                    <a:pt x="7106" y="15113"/>
                  </a:lnTo>
                  <a:lnTo>
                    <a:pt x="7132" y="15047"/>
                  </a:lnTo>
                  <a:lnTo>
                    <a:pt x="7159" y="14980"/>
                  </a:lnTo>
                  <a:lnTo>
                    <a:pt x="7187" y="14915"/>
                  </a:lnTo>
                  <a:lnTo>
                    <a:pt x="7216" y="14850"/>
                  </a:lnTo>
                  <a:lnTo>
                    <a:pt x="7245" y="14784"/>
                  </a:lnTo>
                  <a:lnTo>
                    <a:pt x="7277" y="14721"/>
                  </a:lnTo>
                  <a:lnTo>
                    <a:pt x="7309" y="14657"/>
                  </a:lnTo>
                  <a:lnTo>
                    <a:pt x="7341" y="14593"/>
                  </a:lnTo>
                  <a:lnTo>
                    <a:pt x="7375" y="14531"/>
                  </a:lnTo>
                  <a:lnTo>
                    <a:pt x="7411" y="14468"/>
                  </a:lnTo>
                  <a:lnTo>
                    <a:pt x="7446" y="14407"/>
                  </a:lnTo>
                  <a:lnTo>
                    <a:pt x="7483" y="14346"/>
                  </a:lnTo>
                  <a:lnTo>
                    <a:pt x="7522" y="14284"/>
                  </a:lnTo>
                  <a:lnTo>
                    <a:pt x="7561" y="14224"/>
                  </a:lnTo>
                  <a:lnTo>
                    <a:pt x="7601" y="14165"/>
                  </a:lnTo>
                  <a:lnTo>
                    <a:pt x="7642" y="14104"/>
                  </a:lnTo>
                  <a:lnTo>
                    <a:pt x="7684" y="14046"/>
                  </a:lnTo>
                  <a:lnTo>
                    <a:pt x="7727" y="13987"/>
                  </a:lnTo>
                  <a:lnTo>
                    <a:pt x="7773" y="13929"/>
                  </a:lnTo>
                  <a:lnTo>
                    <a:pt x="7818" y="13871"/>
                  </a:lnTo>
                  <a:lnTo>
                    <a:pt x="7864" y="13814"/>
                  </a:lnTo>
                  <a:lnTo>
                    <a:pt x="7912" y="13756"/>
                  </a:lnTo>
                  <a:lnTo>
                    <a:pt x="7961" y="13700"/>
                  </a:lnTo>
                  <a:lnTo>
                    <a:pt x="8011" y="13644"/>
                  </a:lnTo>
                  <a:lnTo>
                    <a:pt x="8062" y="13588"/>
                  </a:lnTo>
                  <a:lnTo>
                    <a:pt x="8113" y="13532"/>
                  </a:lnTo>
                  <a:lnTo>
                    <a:pt x="8167" y="13478"/>
                  </a:lnTo>
                  <a:lnTo>
                    <a:pt x="8221" y="13422"/>
                  </a:lnTo>
                  <a:lnTo>
                    <a:pt x="8295" y="13350"/>
                  </a:lnTo>
                  <a:lnTo>
                    <a:pt x="8370" y="13278"/>
                  </a:lnTo>
                  <a:lnTo>
                    <a:pt x="8446" y="13208"/>
                  </a:lnTo>
                  <a:lnTo>
                    <a:pt x="8524" y="13139"/>
                  </a:lnTo>
                  <a:lnTo>
                    <a:pt x="8603" y="13070"/>
                  </a:lnTo>
                  <a:lnTo>
                    <a:pt x="8683" y="13003"/>
                  </a:lnTo>
                  <a:lnTo>
                    <a:pt x="8765" y="12936"/>
                  </a:lnTo>
                  <a:lnTo>
                    <a:pt x="8847" y="12871"/>
                  </a:lnTo>
                  <a:lnTo>
                    <a:pt x="8931" y="12806"/>
                  </a:lnTo>
                  <a:lnTo>
                    <a:pt x="9016" y="12741"/>
                  </a:lnTo>
                  <a:lnTo>
                    <a:pt x="9101" y="12678"/>
                  </a:lnTo>
                  <a:lnTo>
                    <a:pt x="9188" y="12615"/>
                  </a:lnTo>
                  <a:lnTo>
                    <a:pt x="9277" y="12553"/>
                  </a:lnTo>
                  <a:lnTo>
                    <a:pt x="9366" y="12491"/>
                  </a:lnTo>
                  <a:lnTo>
                    <a:pt x="9455" y="12430"/>
                  </a:lnTo>
                  <a:lnTo>
                    <a:pt x="9546" y="12369"/>
                  </a:lnTo>
                  <a:lnTo>
                    <a:pt x="9638" y="12309"/>
                  </a:lnTo>
                  <a:lnTo>
                    <a:pt x="9730" y="12249"/>
                  </a:lnTo>
                  <a:lnTo>
                    <a:pt x="9823" y="12190"/>
                  </a:lnTo>
                  <a:lnTo>
                    <a:pt x="9917" y="12131"/>
                  </a:lnTo>
                  <a:lnTo>
                    <a:pt x="10012" y="12072"/>
                  </a:lnTo>
                  <a:lnTo>
                    <a:pt x="10107" y="12014"/>
                  </a:lnTo>
                  <a:lnTo>
                    <a:pt x="10203" y="11956"/>
                  </a:lnTo>
                  <a:lnTo>
                    <a:pt x="10300" y="11897"/>
                  </a:lnTo>
                  <a:lnTo>
                    <a:pt x="10495" y="11781"/>
                  </a:lnTo>
                  <a:lnTo>
                    <a:pt x="10692" y="11665"/>
                  </a:lnTo>
                  <a:lnTo>
                    <a:pt x="10892" y="11549"/>
                  </a:lnTo>
                  <a:lnTo>
                    <a:pt x="11093" y="11432"/>
                  </a:lnTo>
                  <a:lnTo>
                    <a:pt x="11308" y="11309"/>
                  </a:lnTo>
                  <a:lnTo>
                    <a:pt x="11522" y="11183"/>
                  </a:lnTo>
                  <a:lnTo>
                    <a:pt x="11737" y="11056"/>
                  </a:lnTo>
                  <a:lnTo>
                    <a:pt x="11952" y="10929"/>
                  </a:lnTo>
                  <a:lnTo>
                    <a:pt x="12059" y="10864"/>
                  </a:lnTo>
                  <a:lnTo>
                    <a:pt x="12166" y="10799"/>
                  </a:lnTo>
                  <a:lnTo>
                    <a:pt x="12272" y="10732"/>
                  </a:lnTo>
                  <a:lnTo>
                    <a:pt x="12379" y="10666"/>
                  </a:lnTo>
                  <a:lnTo>
                    <a:pt x="12485" y="10599"/>
                  </a:lnTo>
                  <a:lnTo>
                    <a:pt x="12591" y="10530"/>
                  </a:lnTo>
                  <a:lnTo>
                    <a:pt x="12697" y="10462"/>
                  </a:lnTo>
                  <a:lnTo>
                    <a:pt x="12802" y="10392"/>
                  </a:lnTo>
                  <a:lnTo>
                    <a:pt x="12906" y="10321"/>
                  </a:lnTo>
                  <a:lnTo>
                    <a:pt x="13009" y="10249"/>
                  </a:lnTo>
                  <a:lnTo>
                    <a:pt x="13113" y="10177"/>
                  </a:lnTo>
                  <a:lnTo>
                    <a:pt x="13215" y="10104"/>
                  </a:lnTo>
                  <a:lnTo>
                    <a:pt x="13317" y="10029"/>
                  </a:lnTo>
                  <a:lnTo>
                    <a:pt x="13419" y="9954"/>
                  </a:lnTo>
                  <a:lnTo>
                    <a:pt x="13519" y="9876"/>
                  </a:lnTo>
                  <a:lnTo>
                    <a:pt x="13618" y="9799"/>
                  </a:lnTo>
                  <a:lnTo>
                    <a:pt x="13717" y="9719"/>
                  </a:lnTo>
                  <a:lnTo>
                    <a:pt x="13815" y="9639"/>
                  </a:lnTo>
                  <a:lnTo>
                    <a:pt x="13912" y="9556"/>
                  </a:lnTo>
                  <a:lnTo>
                    <a:pt x="14007" y="9473"/>
                  </a:lnTo>
                  <a:lnTo>
                    <a:pt x="14101" y="9388"/>
                  </a:lnTo>
                  <a:lnTo>
                    <a:pt x="14195" y="9302"/>
                  </a:lnTo>
                  <a:lnTo>
                    <a:pt x="14288" y="9214"/>
                  </a:lnTo>
                  <a:lnTo>
                    <a:pt x="14379" y="9125"/>
                  </a:lnTo>
                  <a:lnTo>
                    <a:pt x="14455" y="9047"/>
                  </a:lnTo>
                  <a:lnTo>
                    <a:pt x="14530" y="8970"/>
                  </a:lnTo>
                  <a:lnTo>
                    <a:pt x="14602" y="8891"/>
                  </a:lnTo>
                  <a:lnTo>
                    <a:pt x="14675" y="8813"/>
                  </a:lnTo>
                  <a:lnTo>
                    <a:pt x="14745" y="8734"/>
                  </a:lnTo>
                  <a:lnTo>
                    <a:pt x="14813" y="8653"/>
                  </a:lnTo>
                  <a:lnTo>
                    <a:pt x="14881" y="8573"/>
                  </a:lnTo>
                  <a:lnTo>
                    <a:pt x="14946" y="8491"/>
                  </a:lnTo>
                  <a:lnTo>
                    <a:pt x="15011" y="8410"/>
                  </a:lnTo>
                  <a:lnTo>
                    <a:pt x="15073" y="8327"/>
                  </a:lnTo>
                  <a:lnTo>
                    <a:pt x="15134" y="8244"/>
                  </a:lnTo>
                  <a:lnTo>
                    <a:pt x="15194" y="8160"/>
                  </a:lnTo>
                  <a:lnTo>
                    <a:pt x="15252" y="8076"/>
                  </a:lnTo>
                  <a:lnTo>
                    <a:pt x="15309" y="7990"/>
                  </a:lnTo>
                  <a:lnTo>
                    <a:pt x="15365" y="7905"/>
                  </a:lnTo>
                  <a:lnTo>
                    <a:pt x="15418" y="7818"/>
                  </a:lnTo>
                  <a:lnTo>
                    <a:pt x="15471" y="7731"/>
                  </a:lnTo>
                  <a:lnTo>
                    <a:pt x="15522" y="7643"/>
                  </a:lnTo>
                  <a:lnTo>
                    <a:pt x="15571" y="7555"/>
                  </a:lnTo>
                  <a:lnTo>
                    <a:pt x="15619" y="7465"/>
                  </a:lnTo>
                  <a:lnTo>
                    <a:pt x="15666" y="7375"/>
                  </a:lnTo>
                  <a:lnTo>
                    <a:pt x="15712" y="7284"/>
                  </a:lnTo>
                  <a:lnTo>
                    <a:pt x="15755" y="7192"/>
                  </a:lnTo>
                  <a:lnTo>
                    <a:pt x="15797" y="7100"/>
                  </a:lnTo>
                  <a:lnTo>
                    <a:pt x="15839" y="7007"/>
                  </a:lnTo>
                  <a:lnTo>
                    <a:pt x="15878" y="6913"/>
                  </a:lnTo>
                  <a:lnTo>
                    <a:pt x="15916" y="6818"/>
                  </a:lnTo>
                  <a:lnTo>
                    <a:pt x="15954" y="6723"/>
                  </a:lnTo>
                  <a:lnTo>
                    <a:pt x="15989" y="6626"/>
                  </a:lnTo>
                  <a:lnTo>
                    <a:pt x="16023" y="6530"/>
                  </a:lnTo>
                  <a:lnTo>
                    <a:pt x="16055" y="6431"/>
                  </a:lnTo>
                  <a:lnTo>
                    <a:pt x="16087" y="6332"/>
                  </a:lnTo>
                  <a:lnTo>
                    <a:pt x="16097" y="6299"/>
                  </a:lnTo>
                  <a:lnTo>
                    <a:pt x="16105" y="6265"/>
                  </a:lnTo>
                  <a:lnTo>
                    <a:pt x="16113" y="6232"/>
                  </a:lnTo>
                  <a:lnTo>
                    <a:pt x="16119" y="6198"/>
                  </a:lnTo>
                  <a:lnTo>
                    <a:pt x="16124" y="6163"/>
                  </a:lnTo>
                  <a:lnTo>
                    <a:pt x="16127" y="6129"/>
                  </a:lnTo>
                  <a:lnTo>
                    <a:pt x="16130" y="6095"/>
                  </a:lnTo>
                  <a:lnTo>
                    <a:pt x="16132" y="6062"/>
                  </a:lnTo>
                  <a:lnTo>
                    <a:pt x="16132" y="6028"/>
                  </a:lnTo>
                  <a:lnTo>
                    <a:pt x="16131" y="5993"/>
                  </a:lnTo>
                  <a:lnTo>
                    <a:pt x="16129" y="5960"/>
                  </a:lnTo>
                  <a:lnTo>
                    <a:pt x="16126" y="5926"/>
                  </a:lnTo>
                  <a:lnTo>
                    <a:pt x="16122" y="5893"/>
                  </a:lnTo>
                  <a:lnTo>
                    <a:pt x="16116" y="5860"/>
                  </a:lnTo>
                  <a:lnTo>
                    <a:pt x="16110" y="5826"/>
                  </a:lnTo>
                  <a:lnTo>
                    <a:pt x="16103" y="5793"/>
                  </a:lnTo>
                  <a:lnTo>
                    <a:pt x="16094" y="5761"/>
                  </a:lnTo>
                  <a:lnTo>
                    <a:pt x="16084" y="5729"/>
                  </a:lnTo>
                  <a:lnTo>
                    <a:pt x="16074" y="5697"/>
                  </a:lnTo>
                  <a:lnTo>
                    <a:pt x="16061" y="5664"/>
                  </a:lnTo>
                  <a:lnTo>
                    <a:pt x="16048" y="5633"/>
                  </a:lnTo>
                  <a:lnTo>
                    <a:pt x="16034" y="5603"/>
                  </a:lnTo>
                  <a:lnTo>
                    <a:pt x="16019" y="5573"/>
                  </a:lnTo>
                  <a:lnTo>
                    <a:pt x="16003" y="5543"/>
                  </a:lnTo>
                  <a:lnTo>
                    <a:pt x="15986" y="5514"/>
                  </a:lnTo>
                  <a:lnTo>
                    <a:pt x="15968" y="5484"/>
                  </a:lnTo>
                  <a:lnTo>
                    <a:pt x="15948" y="5456"/>
                  </a:lnTo>
                  <a:lnTo>
                    <a:pt x="15928" y="5429"/>
                  </a:lnTo>
                  <a:lnTo>
                    <a:pt x="15907" y="5402"/>
                  </a:lnTo>
                  <a:lnTo>
                    <a:pt x="15884" y="5375"/>
                  </a:lnTo>
                  <a:lnTo>
                    <a:pt x="15861" y="5350"/>
                  </a:lnTo>
                  <a:lnTo>
                    <a:pt x="15837" y="53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00" name="íṥlîḋe">
              <a:extLst>
                <a:ext uri="{FF2B5EF4-FFF2-40B4-BE49-F238E27FC236}">
                  <a16:creationId xmlns:a16="http://schemas.microsoft.com/office/drawing/2014/main" id="{890B63B9-624E-4A6D-B3B5-C0DD237204F4}"/>
                </a:ext>
              </a:extLst>
            </p:cNvPr>
            <p:cNvSpPr/>
            <p:nvPr/>
          </p:nvSpPr>
          <p:spPr bwMode="auto">
            <a:xfrm>
              <a:off x="7028097" y="2187414"/>
              <a:ext cx="164967" cy="172017"/>
            </a:xfrm>
            <a:custGeom>
              <a:avLst/>
              <a:gdLst>
                <a:gd name="T0" fmla="*/ 3132 w 4362"/>
                <a:gd name="T1" fmla="*/ 3096 h 4518"/>
                <a:gd name="T2" fmla="*/ 2633 w 4362"/>
                <a:gd name="T3" fmla="*/ 2415 h 4518"/>
                <a:gd name="T4" fmla="*/ 3056 w 4362"/>
                <a:gd name="T5" fmla="*/ 2277 h 4518"/>
                <a:gd name="T6" fmla="*/ 3379 w 4362"/>
                <a:gd name="T7" fmla="*/ 2332 h 4518"/>
                <a:gd name="T8" fmla="*/ 3583 w 4362"/>
                <a:gd name="T9" fmla="*/ 2521 h 4518"/>
                <a:gd name="T10" fmla="*/ 3655 w 4362"/>
                <a:gd name="T11" fmla="*/ 2803 h 4518"/>
                <a:gd name="T12" fmla="*/ 1124 w 4362"/>
                <a:gd name="T13" fmla="*/ 2140 h 4518"/>
                <a:gd name="T14" fmla="*/ 801 w 4362"/>
                <a:gd name="T15" fmla="*/ 1993 h 4518"/>
                <a:gd name="T16" fmla="*/ 680 w 4362"/>
                <a:gd name="T17" fmla="*/ 1678 h 4518"/>
                <a:gd name="T18" fmla="*/ 821 w 4362"/>
                <a:gd name="T19" fmla="*/ 1269 h 4518"/>
                <a:gd name="T20" fmla="*/ 1394 w 4362"/>
                <a:gd name="T21" fmla="*/ 1652 h 4518"/>
                <a:gd name="T22" fmla="*/ 1411 w 4362"/>
                <a:gd name="T23" fmla="*/ 2093 h 4518"/>
                <a:gd name="T24" fmla="*/ 3840 w 4362"/>
                <a:gd name="T25" fmla="*/ 1684 h 4518"/>
                <a:gd name="T26" fmla="*/ 3406 w 4362"/>
                <a:gd name="T27" fmla="*/ 1499 h 4518"/>
                <a:gd name="T28" fmla="*/ 2969 w 4362"/>
                <a:gd name="T29" fmla="*/ 1472 h 4518"/>
                <a:gd name="T30" fmla="*/ 2528 w 4362"/>
                <a:gd name="T31" fmla="*/ 1573 h 4518"/>
                <a:gd name="T32" fmla="*/ 1732 w 4362"/>
                <a:gd name="T33" fmla="*/ 1516 h 4518"/>
                <a:gd name="T34" fmla="*/ 1241 w 4362"/>
                <a:gd name="T35" fmla="*/ 847 h 4518"/>
                <a:gd name="T36" fmla="*/ 1571 w 4362"/>
                <a:gd name="T37" fmla="*/ 732 h 4518"/>
                <a:gd name="T38" fmla="*/ 2116 w 4362"/>
                <a:gd name="T39" fmla="*/ 825 h 4518"/>
                <a:gd name="T40" fmla="*/ 2348 w 4362"/>
                <a:gd name="T41" fmla="*/ 801 h 4518"/>
                <a:gd name="T42" fmla="*/ 2491 w 4362"/>
                <a:gd name="T43" fmla="*/ 617 h 4518"/>
                <a:gd name="T44" fmla="*/ 2475 w 4362"/>
                <a:gd name="T45" fmla="*/ 366 h 4518"/>
                <a:gd name="T46" fmla="*/ 2240 w 4362"/>
                <a:gd name="T47" fmla="*/ 108 h 4518"/>
                <a:gd name="T48" fmla="*/ 1861 w 4362"/>
                <a:gd name="T49" fmla="*/ 2 h 4518"/>
                <a:gd name="T50" fmla="*/ 1447 w 4362"/>
                <a:gd name="T51" fmla="*/ 51 h 4518"/>
                <a:gd name="T52" fmla="*/ 1028 w 4362"/>
                <a:gd name="T53" fmla="*/ 241 h 4518"/>
                <a:gd name="T54" fmla="*/ 593 w 4362"/>
                <a:gd name="T55" fmla="*/ 342 h 4518"/>
                <a:gd name="T56" fmla="*/ 417 w 4362"/>
                <a:gd name="T57" fmla="*/ 344 h 4518"/>
                <a:gd name="T58" fmla="*/ 317 w 4362"/>
                <a:gd name="T59" fmla="*/ 504 h 4518"/>
                <a:gd name="T60" fmla="*/ 456 w 4362"/>
                <a:gd name="T61" fmla="*/ 721 h 4518"/>
                <a:gd name="T62" fmla="*/ 211 w 4362"/>
                <a:gd name="T63" fmla="*/ 1149 h 4518"/>
                <a:gd name="T64" fmla="*/ 34 w 4362"/>
                <a:gd name="T65" fmla="*/ 1621 h 4518"/>
                <a:gd name="T66" fmla="*/ 10 w 4362"/>
                <a:gd name="T67" fmla="*/ 2070 h 4518"/>
                <a:gd name="T68" fmla="*/ 158 w 4362"/>
                <a:gd name="T69" fmla="*/ 2459 h 4518"/>
                <a:gd name="T70" fmla="*/ 474 w 4362"/>
                <a:gd name="T71" fmla="*/ 2756 h 4518"/>
                <a:gd name="T72" fmla="*/ 828 w 4362"/>
                <a:gd name="T73" fmla="*/ 2905 h 4518"/>
                <a:gd name="T74" fmla="*/ 1261 w 4362"/>
                <a:gd name="T75" fmla="*/ 2929 h 4518"/>
                <a:gd name="T76" fmla="*/ 2177 w 4362"/>
                <a:gd name="T77" fmla="*/ 2653 h 4518"/>
                <a:gd name="T78" fmla="*/ 2973 w 4362"/>
                <a:gd name="T79" fmla="*/ 3437 h 4518"/>
                <a:gd name="T80" fmla="*/ 2902 w 4362"/>
                <a:gd name="T81" fmla="*/ 3773 h 4518"/>
                <a:gd name="T82" fmla="*/ 2620 w 4362"/>
                <a:gd name="T83" fmla="*/ 3814 h 4518"/>
                <a:gd name="T84" fmla="*/ 2301 w 4362"/>
                <a:gd name="T85" fmla="*/ 3676 h 4518"/>
                <a:gd name="T86" fmla="*/ 1951 w 4362"/>
                <a:gd name="T87" fmla="*/ 3525 h 4518"/>
                <a:gd name="T88" fmla="*/ 1747 w 4362"/>
                <a:gd name="T89" fmla="*/ 3591 h 4518"/>
                <a:gd name="T90" fmla="*/ 1591 w 4362"/>
                <a:gd name="T91" fmla="*/ 3790 h 4518"/>
                <a:gd name="T92" fmla="*/ 1619 w 4362"/>
                <a:gd name="T93" fmla="*/ 4034 h 4518"/>
                <a:gd name="T94" fmla="*/ 1834 w 4362"/>
                <a:gd name="T95" fmla="*/ 4277 h 4518"/>
                <a:gd name="T96" fmla="*/ 2170 w 4362"/>
                <a:gd name="T97" fmla="*/ 4454 h 4518"/>
                <a:gd name="T98" fmla="*/ 2588 w 4362"/>
                <a:gd name="T99" fmla="*/ 4518 h 4518"/>
                <a:gd name="T100" fmla="*/ 3057 w 4362"/>
                <a:gd name="T101" fmla="*/ 4420 h 4518"/>
                <a:gd name="T102" fmla="*/ 3543 w 4362"/>
                <a:gd name="T103" fmla="*/ 4094 h 4518"/>
                <a:gd name="T104" fmla="*/ 3921 w 4362"/>
                <a:gd name="T105" fmla="*/ 4346 h 4518"/>
                <a:gd name="T106" fmla="*/ 4078 w 4362"/>
                <a:gd name="T107" fmla="*/ 4315 h 4518"/>
                <a:gd name="T108" fmla="*/ 4164 w 4362"/>
                <a:gd name="T109" fmla="*/ 4161 h 4518"/>
                <a:gd name="T110" fmla="*/ 4000 w 4362"/>
                <a:gd name="T111" fmla="*/ 3928 h 4518"/>
                <a:gd name="T112" fmla="*/ 4060 w 4362"/>
                <a:gd name="T113" fmla="*/ 3466 h 4518"/>
                <a:gd name="T114" fmla="*/ 4292 w 4362"/>
                <a:gd name="T115" fmla="*/ 2963 h 4518"/>
                <a:gd name="T116" fmla="*/ 4361 w 4362"/>
                <a:gd name="T117" fmla="*/ 2501 h 4518"/>
                <a:gd name="T118" fmla="*/ 4260 w 4362"/>
                <a:gd name="T119" fmla="*/ 2107 h 4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62" h="4518">
                  <a:moveTo>
                    <a:pt x="3555" y="3147"/>
                  </a:moveTo>
                  <a:lnTo>
                    <a:pt x="3538" y="3178"/>
                  </a:lnTo>
                  <a:lnTo>
                    <a:pt x="3520" y="3209"/>
                  </a:lnTo>
                  <a:lnTo>
                    <a:pt x="3501" y="3238"/>
                  </a:lnTo>
                  <a:lnTo>
                    <a:pt x="3481" y="3266"/>
                  </a:lnTo>
                  <a:lnTo>
                    <a:pt x="3461" y="3293"/>
                  </a:lnTo>
                  <a:lnTo>
                    <a:pt x="3441" y="3319"/>
                  </a:lnTo>
                  <a:lnTo>
                    <a:pt x="3419" y="3345"/>
                  </a:lnTo>
                  <a:lnTo>
                    <a:pt x="3397" y="3371"/>
                  </a:lnTo>
                  <a:lnTo>
                    <a:pt x="3343" y="3316"/>
                  </a:lnTo>
                  <a:lnTo>
                    <a:pt x="3291" y="3262"/>
                  </a:lnTo>
                  <a:lnTo>
                    <a:pt x="3237" y="3208"/>
                  </a:lnTo>
                  <a:lnTo>
                    <a:pt x="3185" y="3151"/>
                  </a:lnTo>
                  <a:lnTo>
                    <a:pt x="3132" y="3096"/>
                  </a:lnTo>
                  <a:lnTo>
                    <a:pt x="3079" y="3040"/>
                  </a:lnTo>
                  <a:lnTo>
                    <a:pt x="3026" y="2982"/>
                  </a:lnTo>
                  <a:lnTo>
                    <a:pt x="2973" y="2925"/>
                  </a:lnTo>
                  <a:lnTo>
                    <a:pt x="2920" y="2867"/>
                  </a:lnTo>
                  <a:lnTo>
                    <a:pt x="2867" y="2808"/>
                  </a:lnTo>
                  <a:lnTo>
                    <a:pt x="2814" y="2750"/>
                  </a:lnTo>
                  <a:lnTo>
                    <a:pt x="2762" y="2690"/>
                  </a:lnTo>
                  <a:lnTo>
                    <a:pt x="2708" y="2631"/>
                  </a:lnTo>
                  <a:lnTo>
                    <a:pt x="2656" y="2572"/>
                  </a:lnTo>
                  <a:lnTo>
                    <a:pt x="2602" y="2511"/>
                  </a:lnTo>
                  <a:lnTo>
                    <a:pt x="2550" y="2452"/>
                  </a:lnTo>
                  <a:lnTo>
                    <a:pt x="2577" y="2440"/>
                  </a:lnTo>
                  <a:lnTo>
                    <a:pt x="2604" y="2427"/>
                  </a:lnTo>
                  <a:lnTo>
                    <a:pt x="2633" y="2415"/>
                  </a:lnTo>
                  <a:lnTo>
                    <a:pt x="2661" y="2403"/>
                  </a:lnTo>
                  <a:lnTo>
                    <a:pt x="2690" y="2390"/>
                  </a:lnTo>
                  <a:lnTo>
                    <a:pt x="2719" y="2377"/>
                  </a:lnTo>
                  <a:lnTo>
                    <a:pt x="2748" y="2365"/>
                  </a:lnTo>
                  <a:lnTo>
                    <a:pt x="2779" y="2351"/>
                  </a:lnTo>
                  <a:lnTo>
                    <a:pt x="2810" y="2339"/>
                  </a:lnTo>
                  <a:lnTo>
                    <a:pt x="2840" y="2328"/>
                  </a:lnTo>
                  <a:lnTo>
                    <a:pt x="2871" y="2318"/>
                  </a:lnTo>
                  <a:lnTo>
                    <a:pt x="2902" y="2308"/>
                  </a:lnTo>
                  <a:lnTo>
                    <a:pt x="2932" y="2300"/>
                  </a:lnTo>
                  <a:lnTo>
                    <a:pt x="2963" y="2293"/>
                  </a:lnTo>
                  <a:lnTo>
                    <a:pt x="2993" y="2286"/>
                  </a:lnTo>
                  <a:lnTo>
                    <a:pt x="3025" y="2281"/>
                  </a:lnTo>
                  <a:lnTo>
                    <a:pt x="3056" y="2277"/>
                  </a:lnTo>
                  <a:lnTo>
                    <a:pt x="3087" y="2274"/>
                  </a:lnTo>
                  <a:lnTo>
                    <a:pt x="3119" y="2273"/>
                  </a:lnTo>
                  <a:lnTo>
                    <a:pt x="3149" y="2274"/>
                  </a:lnTo>
                  <a:lnTo>
                    <a:pt x="3180" y="2276"/>
                  </a:lnTo>
                  <a:lnTo>
                    <a:pt x="3211" y="2280"/>
                  </a:lnTo>
                  <a:lnTo>
                    <a:pt x="3243" y="2285"/>
                  </a:lnTo>
                  <a:lnTo>
                    <a:pt x="3274" y="2292"/>
                  </a:lnTo>
                  <a:lnTo>
                    <a:pt x="3289" y="2296"/>
                  </a:lnTo>
                  <a:lnTo>
                    <a:pt x="3304" y="2300"/>
                  </a:lnTo>
                  <a:lnTo>
                    <a:pt x="3319" y="2306"/>
                  </a:lnTo>
                  <a:lnTo>
                    <a:pt x="3334" y="2311"/>
                  </a:lnTo>
                  <a:lnTo>
                    <a:pt x="3349" y="2318"/>
                  </a:lnTo>
                  <a:lnTo>
                    <a:pt x="3364" y="2325"/>
                  </a:lnTo>
                  <a:lnTo>
                    <a:pt x="3379" y="2332"/>
                  </a:lnTo>
                  <a:lnTo>
                    <a:pt x="3393" y="2340"/>
                  </a:lnTo>
                  <a:lnTo>
                    <a:pt x="3408" y="2349"/>
                  </a:lnTo>
                  <a:lnTo>
                    <a:pt x="3422" y="2359"/>
                  </a:lnTo>
                  <a:lnTo>
                    <a:pt x="3436" y="2369"/>
                  </a:lnTo>
                  <a:lnTo>
                    <a:pt x="3450" y="2379"/>
                  </a:lnTo>
                  <a:lnTo>
                    <a:pt x="3463" y="2390"/>
                  </a:lnTo>
                  <a:lnTo>
                    <a:pt x="3477" y="2401"/>
                  </a:lnTo>
                  <a:lnTo>
                    <a:pt x="3492" y="2413"/>
                  </a:lnTo>
                  <a:lnTo>
                    <a:pt x="3505" y="2426"/>
                  </a:lnTo>
                  <a:lnTo>
                    <a:pt x="3530" y="2453"/>
                  </a:lnTo>
                  <a:lnTo>
                    <a:pt x="3553" y="2480"/>
                  </a:lnTo>
                  <a:lnTo>
                    <a:pt x="3564" y="2493"/>
                  </a:lnTo>
                  <a:lnTo>
                    <a:pt x="3573" y="2507"/>
                  </a:lnTo>
                  <a:lnTo>
                    <a:pt x="3583" y="2521"/>
                  </a:lnTo>
                  <a:lnTo>
                    <a:pt x="3591" y="2535"/>
                  </a:lnTo>
                  <a:lnTo>
                    <a:pt x="3599" y="2549"/>
                  </a:lnTo>
                  <a:lnTo>
                    <a:pt x="3608" y="2563"/>
                  </a:lnTo>
                  <a:lnTo>
                    <a:pt x="3615" y="2578"/>
                  </a:lnTo>
                  <a:lnTo>
                    <a:pt x="3621" y="2592"/>
                  </a:lnTo>
                  <a:lnTo>
                    <a:pt x="3626" y="2606"/>
                  </a:lnTo>
                  <a:lnTo>
                    <a:pt x="3631" y="2621"/>
                  </a:lnTo>
                  <a:lnTo>
                    <a:pt x="3635" y="2635"/>
                  </a:lnTo>
                  <a:lnTo>
                    <a:pt x="3639" y="2650"/>
                  </a:lnTo>
                  <a:lnTo>
                    <a:pt x="3645" y="2680"/>
                  </a:lnTo>
                  <a:lnTo>
                    <a:pt x="3650" y="2711"/>
                  </a:lnTo>
                  <a:lnTo>
                    <a:pt x="3653" y="2742"/>
                  </a:lnTo>
                  <a:lnTo>
                    <a:pt x="3655" y="2772"/>
                  </a:lnTo>
                  <a:lnTo>
                    <a:pt x="3655" y="2803"/>
                  </a:lnTo>
                  <a:lnTo>
                    <a:pt x="3653" y="2833"/>
                  </a:lnTo>
                  <a:lnTo>
                    <a:pt x="3650" y="2865"/>
                  </a:lnTo>
                  <a:lnTo>
                    <a:pt x="3646" y="2896"/>
                  </a:lnTo>
                  <a:lnTo>
                    <a:pt x="3640" y="2927"/>
                  </a:lnTo>
                  <a:lnTo>
                    <a:pt x="3632" y="2958"/>
                  </a:lnTo>
                  <a:lnTo>
                    <a:pt x="3623" y="2989"/>
                  </a:lnTo>
                  <a:lnTo>
                    <a:pt x="3613" y="3021"/>
                  </a:lnTo>
                  <a:lnTo>
                    <a:pt x="3600" y="3053"/>
                  </a:lnTo>
                  <a:lnTo>
                    <a:pt x="3586" y="3084"/>
                  </a:lnTo>
                  <a:lnTo>
                    <a:pt x="3571" y="3116"/>
                  </a:lnTo>
                  <a:lnTo>
                    <a:pt x="3555" y="3147"/>
                  </a:lnTo>
                  <a:close/>
                  <a:moveTo>
                    <a:pt x="1177" y="2140"/>
                  </a:moveTo>
                  <a:lnTo>
                    <a:pt x="1150" y="2141"/>
                  </a:lnTo>
                  <a:lnTo>
                    <a:pt x="1124" y="2140"/>
                  </a:lnTo>
                  <a:lnTo>
                    <a:pt x="1099" y="2138"/>
                  </a:lnTo>
                  <a:lnTo>
                    <a:pt x="1074" y="2135"/>
                  </a:lnTo>
                  <a:lnTo>
                    <a:pt x="1049" y="2130"/>
                  </a:lnTo>
                  <a:lnTo>
                    <a:pt x="1024" y="2124"/>
                  </a:lnTo>
                  <a:lnTo>
                    <a:pt x="1000" y="2117"/>
                  </a:lnTo>
                  <a:lnTo>
                    <a:pt x="976" y="2109"/>
                  </a:lnTo>
                  <a:lnTo>
                    <a:pt x="953" y="2099"/>
                  </a:lnTo>
                  <a:lnTo>
                    <a:pt x="931" y="2088"/>
                  </a:lnTo>
                  <a:lnTo>
                    <a:pt x="907" y="2076"/>
                  </a:lnTo>
                  <a:lnTo>
                    <a:pt x="885" y="2062"/>
                  </a:lnTo>
                  <a:lnTo>
                    <a:pt x="864" y="2047"/>
                  </a:lnTo>
                  <a:lnTo>
                    <a:pt x="843" y="2031"/>
                  </a:lnTo>
                  <a:lnTo>
                    <a:pt x="822" y="2012"/>
                  </a:lnTo>
                  <a:lnTo>
                    <a:pt x="801" y="1993"/>
                  </a:lnTo>
                  <a:lnTo>
                    <a:pt x="784" y="1977"/>
                  </a:lnTo>
                  <a:lnTo>
                    <a:pt x="769" y="1959"/>
                  </a:lnTo>
                  <a:lnTo>
                    <a:pt x="755" y="1940"/>
                  </a:lnTo>
                  <a:lnTo>
                    <a:pt x="742" y="1920"/>
                  </a:lnTo>
                  <a:lnTo>
                    <a:pt x="730" y="1900"/>
                  </a:lnTo>
                  <a:lnTo>
                    <a:pt x="720" y="1878"/>
                  </a:lnTo>
                  <a:lnTo>
                    <a:pt x="711" y="1856"/>
                  </a:lnTo>
                  <a:lnTo>
                    <a:pt x="703" y="1831"/>
                  </a:lnTo>
                  <a:lnTo>
                    <a:pt x="696" y="1807"/>
                  </a:lnTo>
                  <a:lnTo>
                    <a:pt x="690" y="1783"/>
                  </a:lnTo>
                  <a:lnTo>
                    <a:pt x="686" y="1758"/>
                  </a:lnTo>
                  <a:lnTo>
                    <a:pt x="683" y="1732"/>
                  </a:lnTo>
                  <a:lnTo>
                    <a:pt x="681" y="1705"/>
                  </a:lnTo>
                  <a:lnTo>
                    <a:pt x="680" y="1678"/>
                  </a:lnTo>
                  <a:lnTo>
                    <a:pt x="681" y="1650"/>
                  </a:lnTo>
                  <a:lnTo>
                    <a:pt x="684" y="1622"/>
                  </a:lnTo>
                  <a:lnTo>
                    <a:pt x="687" y="1593"/>
                  </a:lnTo>
                  <a:lnTo>
                    <a:pt x="691" y="1564"/>
                  </a:lnTo>
                  <a:lnTo>
                    <a:pt x="698" y="1536"/>
                  </a:lnTo>
                  <a:lnTo>
                    <a:pt x="705" y="1507"/>
                  </a:lnTo>
                  <a:lnTo>
                    <a:pt x="715" y="1476"/>
                  </a:lnTo>
                  <a:lnTo>
                    <a:pt x="725" y="1447"/>
                  </a:lnTo>
                  <a:lnTo>
                    <a:pt x="738" y="1418"/>
                  </a:lnTo>
                  <a:lnTo>
                    <a:pt x="752" y="1388"/>
                  </a:lnTo>
                  <a:lnTo>
                    <a:pt x="766" y="1358"/>
                  </a:lnTo>
                  <a:lnTo>
                    <a:pt x="783" y="1328"/>
                  </a:lnTo>
                  <a:lnTo>
                    <a:pt x="802" y="1298"/>
                  </a:lnTo>
                  <a:lnTo>
                    <a:pt x="821" y="1269"/>
                  </a:lnTo>
                  <a:lnTo>
                    <a:pt x="842" y="1240"/>
                  </a:lnTo>
                  <a:lnTo>
                    <a:pt x="865" y="1210"/>
                  </a:lnTo>
                  <a:lnTo>
                    <a:pt x="889" y="1181"/>
                  </a:lnTo>
                  <a:lnTo>
                    <a:pt x="915" y="1152"/>
                  </a:lnTo>
                  <a:lnTo>
                    <a:pt x="963" y="1200"/>
                  </a:lnTo>
                  <a:lnTo>
                    <a:pt x="1011" y="1248"/>
                  </a:lnTo>
                  <a:lnTo>
                    <a:pt x="1060" y="1297"/>
                  </a:lnTo>
                  <a:lnTo>
                    <a:pt x="1107" y="1347"/>
                  </a:lnTo>
                  <a:lnTo>
                    <a:pt x="1154" y="1397"/>
                  </a:lnTo>
                  <a:lnTo>
                    <a:pt x="1203" y="1447"/>
                  </a:lnTo>
                  <a:lnTo>
                    <a:pt x="1250" y="1497"/>
                  </a:lnTo>
                  <a:lnTo>
                    <a:pt x="1299" y="1549"/>
                  </a:lnTo>
                  <a:lnTo>
                    <a:pt x="1346" y="1600"/>
                  </a:lnTo>
                  <a:lnTo>
                    <a:pt x="1394" y="1652"/>
                  </a:lnTo>
                  <a:lnTo>
                    <a:pt x="1442" y="1705"/>
                  </a:lnTo>
                  <a:lnTo>
                    <a:pt x="1490" y="1758"/>
                  </a:lnTo>
                  <a:lnTo>
                    <a:pt x="1538" y="1810"/>
                  </a:lnTo>
                  <a:lnTo>
                    <a:pt x="1586" y="1864"/>
                  </a:lnTo>
                  <a:lnTo>
                    <a:pt x="1633" y="1918"/>
                  </a:lnTo>
                  <a:lnTo>
                    <a:pt x="1682" y="1971"/>
                  </a:lnTo>
                  <a:lnTo>
                    <a:pt x="1645" y="1990"/>
                  </a:lnTo>
                  <a:lnTo>
                    <a:pt x="1610" y="2008"/>
                  </a:lnTo>
                  <a:lnTo>
                    <a:pt x="1575" y="2026"/>
                  </a:lnTo>
                  <a:lnTo>
                    <a:pt x="1541" y="2042"/>
                  </a:lnTo>
                  <a:lnTo>
                    <a:pt x="1507" y="2057"/>
                  </a:lnTo>
                  <a:lnTo>
                    <a:pt x="1474" y="2070"/>
                  </a:lnTo>
                  <a:lnTo>
                    <a:pt x="1442" y="2082"/>
                  </a:lnTo>
                  <a:lnTo>
                    <a:pt x="1411" y="2093"/>
                  </a:lnTo>
                  <a:lnTo>
                    <a:pt x="1379" y="2103"/>
                  </a:lnTo>
                  <a:lnTo>
                    <a:pt x="1348" y="2112"/>
                  </a:lnTo>
                  <a:lnTo>
                    <a:pt x="1319" y="2120"/>
                  </a:lnTo>
                  <a:lnTo>
                    <a:pt x="1289" y="2126"/>
                  </a:lnTo>
                  <a:lnTo>
                    <a:pt x="1260" y="2131"/>
                  </a:lnTo>
                  <a:lnTo>
                    <a:pt x="1232" y="2135"/>
                  </a:lnTo>
                  <a:lnTo>
                    <a:pt x="1204" y="2138"/>
                  </a:lnTo>
                  <a:lnTo>
                    <a:pt x="1177" y="2140"/>
                  </a:lnTo>
                  <a:close/>
                  <a:moveTo>
                    <a:pt x="3995" y="1799"/>
                  </a:moveTo>
                  <a:lnTo>
                    <a:pt x="3964" y="1774"/>
                  </a:lnTo>
                  <a:lnTo>
                    <a:pt x="3933" y="1750"/>
                  </a:lnTo>
                  <a:lnTo>
                    <a:pt x="3903" y="1727"/>
                  </a:lnTo>
                  <a:lnTo>
                    <a:pt x="3872" y="1705"/>
                  </a:lnTo>
                  <a:lnTo>
                    <a:pt x="3840" y="1684"/>
                  </a:lnTo>
                  <a:lnTo>
                    <a:pt x="3810" y="1663"/>
                  </a:lnTo>
                  <a:lnTo>
                    <a:pt x="3779" y="1644"/>
                  </a:lnTo>
                  <a:lnTo>
                    <a:pt x="3748" y="1626"/>
                  </a:lnTo>
                  <a:lnTo>
                    <a:pt x="3716" y="1610"/>
                  </a:lnTo>
                  <a:lnTo>
                    <a:pt x="3686" y="1594"/>
                  </a:lnTo>
                  <a:lnTo>
                    <a:pt x="3655" y="1579"/>
                  </a:lnTo>
                  <a:lnTo>
                    <a:pt x="3624" y="1566"/>
                  </a:lnTo>
                  <a:lnTo>
                    <a:pt x="3592" y="1554"/>
                  </a:lnTo>
                  <a:lnTo>
                    <a:pt x="3561" y="1542"/>
                  </a:lnTo>
                  <a:lnTo>
                    <a:pt x="3530" y="1532"/>
                  </a:lnTo>
                  <a:lnTo>
                    <a:pt x="3499" y="1523"/>
                  </a:lnTo>
                  <a:lnTo>
                    <a:pt x="3468" y="1515"/>
                  </a:lnTo>
                  <a:lnTo>
                    <a:pt x="3437" y="1507"/>
                  </a:lnTo>
                  <a:lnTo>
                    <a:pt x="3406" y="1499"/>
                  </a:lnTo>
                  <a:lnTo>
                    <a:pt x="3375" y="1493"/>
                  </a:lnTo>
                  <a:lnTo>
                    <a:pt x="3344" y="1487"/>
                  </a:lnTo>
                  <a:lnTo>
                    <a:pt x="3313" y="1482"/>
                  </a:lnTo>
                  <a:lnTo>
                    <a:pt x="3282" y="1478"/>
                  </a:lnTo>
                  <a:lnTo>
                    <a:pt x="3251" y="1474"/>
                  </a:lnTo>
                  <a:lnTo>
                    <a:pt x="3219" y="1471"/>
                  </a:lnTo>
                  <a:lnTo>
                    <a:pt x="3188" y="1469"/>
                  </a:lnTo>
                  <a:lnTo>
                    <a:pt x="3157" y="1467"/>
                  </a:lnTo>
                  <a:lnTo>
                    <a:pt x="3126" y="1466"/>
                  </a:lnTo>
                  <a:lnTo>
                    <a:pt x="3094" y="1466"/>
                  </a:lnTo>
                  <a:lnTo>
                    <a:pt x="3063" y="1466"/>
                  </a:lnTo>
                  <a:lnTo>
                    <a:pt x="3032" y="1467"/>
                  </a:lnTo>
                  <a:lnTo>
                    <a:pt x="3001" y="1469"/>
                  </a:lnTo>
                  <a:lnTo>
                    <a:pt x="2969" y="1472"/>
                  </a:lnTo>
                  <a:lnTo>
                    <a:pt x="2938" y="1475"/>
                  </a:lnTo>
                  <a:lnTo>
                    <a:pt x="2907" y="1479"/>
                  </a:lnTo>
                  <a:lnTo>
                    <a:pt x="2876" y="1483"/>
                  </a:lnTo>
                  <a:lnTo>
                    <a:pt x="2844" y="1488"/>
                  </a:lnTo>
                  <a:lnTo>
                    <a:pt x="2813" y="1494"/>
                  </a:lnTo>
                  <a:lnTo>
                    <a:pt x="2782" y="1500"/>
                  </a:lnTo>
                  <a:lnTo>
                    <a:pt x="2751" y="1508"/>
                  </a:lnTo>
                  <a:lnTo>
                    <a:pt x="2718" y="1515"/>
                  </a:lnTo>
                  <a:lnTo>
                    <a:pt x="2687" y="1523"/>
                  </a:lnTo>
                  <a:lnTo>
                    <a:pt x="2655" y="1532"/>
                  </a:lnTo>
                  <a:lnTo>
                    <a:pt x="2623" y="1541"/>
                  </a:lnTo>
                  <a:lnTo>
                    <a:pt x="2591" y="1551"/>
                  </a:lnTo>
                  <a:lnTo>
                    <a:pt x="2560" y="1562"/>
                  </a:lnTo>
                  <a:lnTo>
                    <a:pt x="2528" y="1573"/>
                  </a:lnTo>
                  <a:lnTo>
                    <a:pt x="2496" y="1585"/>
                  </a:lnTo>
                  <a:lnTo>
                    <a:pt x="2433" y="1609"/>
                  </a:lnTo>
                  <a:lnTo>
                    <a:pt x="2369" y="1635"/>
                  </a:lnTo>
                  <a:lnTo>
                    <a:pt x="2306" y="1661"/>
                  </a:lnTo>
                  <a:lnTo>
                    <a:pt x="2241" y="1688"/>
                  </a:lnTo>
                  <a:lnTo>
                    <a:pt x="2178" y="1716"/>
                  </a:lnTo>
                  <a:lnTo>
                    <a:pt x="2114" y="1744"/>
                  </a:lnTo>
                  <a:lnTo>
                    <a:pt x="2050" y="1774"/>
                  </a:lnTo>
                  <a:lnTo>
                    <a:pt x="1986" y="1804"/>
                  </a:lnTo>
                  <a:lnTo>
                    <a:pt x="1935" y="1746"/>
                  </a:lnTo>
                  <a:lnTo>
                    <a:pt x="1884" y="1689"/>
                  </a:lnTo>
                  <a:lnTo>
                    <a:pt x="1833" y="1630"/>
                  </a:lnTo>
                  <a:lnTo>
                    <a:pt x="1783" y="1573"/>
                  </a:lnTo>
                  <a:lnTo>
                    <a:pt x="1732" y="1516"/>
                  </a:lnTo>
                  <a:lnTo>
                    <a:pt x="1681" y="1458"/>
                  </a:lnTo>
                  <a:lnTo>
                    <a:pt x="1630" y="1401"/>
                  </a:lnTo>
                  <a:lnTo>
                    <a:pt x="1580" y="1344"/>
                  </a:lnTo>
                  <a:lnTo>
                    <a:pt x="1529" y="1287"/>
                  </a:lnTo>
                  <a:lnTo>
                    <a:pt x="1478" y="1231"/>
                  </a:lnTo>
                  <a:lnTo>
                    <a:pt x="1428" y="1176"/>
                  </a:lnTo>
                  <a:lnTo>
                    <a:pt x="1376" y="1120"/>
                  </a:lnTo>
                  <a:lnTo>
                    <a:pt x="1326" y="1065"/>
                  </a:lnTo>
                  <a:lnTo>
                    <a:pt x="1274" y="1011"/>
                  </a:lnTo>
                  <a:lnTo>
                    <a:pt x="1224" y="956"/>
                  </a:lnTo>
                  <a:lnTo>
                    <a:pt x="1174" y="903"/>
                  </a:lnTo>
                  <a:lnTo>
                    <a:pt x="1196" y="883"/>
                  </a:lnTo>
                  <a:lnTo>
                    <a:pt x="1219" y="864"/>
                  </a:lnTo>
                  <a:lnTo>
                    <a:pt x="1241" y="847"/>
                  </a:lnTo>
                  <a:lnTo>
                    <a:pt x="1264" y="830"/>
                  </a:lnTo>
                  <a:lnTo>
                    <a:pt x="1287" y="815"/>
                  </a:lnTo>
                  <a:lnTo>
                    <a:pt x="1309" y="801"/>
                  </a:lnTo>
                  <a:lnTo>
                    <a:pt x="1331" y="789"/>
                  </a:lnTo>
                  <a:lnTo>
                    <a:pt x="1353" y="777"/>
                  </a:lnTo>
                  <a:lnTo>
                    <a:pt x="1375" y="768"/>
                  </a:lnTo>
                  <a:lnTo>
                    <a:pt x="1397" y="759"/>
                  </a:lnTo>
                  <a:lnTo>
                    <a:pt x="1420" y="751"/>
                  </a:lnTo>
                  <a:lnTo>
                    <a:pt x="1442" y="745"/>
                  </a:lnTo>
                  <a:lnTo>
                    <a:pt x="1463" y="740"/>
                  </a:lnTo>
                  <a:lnTo>
                    <a:pt x="1485" y="737"/>
                  </a:lnTo>
                  <a:lnTo>
                    <a:pt x="1506" y="734"/>
                  </a:lnTo>
                  <a:lnTo>
                    <a:pt x="1527" y="733"/>
                  </a:lnTo>
                  <a:lnTo>
                    <a:pt x="1571" y="732"/>
                  </a:lnTo>
                  <a:lnTo>
                    <a:pt x="1613" y="732"/>
                  </a:lnTo>
                  <a:lnTo>
                    <a:pt x="1655" y="734"/>
                  </a:lnTo>
                  <a:lnTo>
                    <a:pt x="1696" y="737"/>
                  </a:lnTo>
                  <a:lnTo>
                    <a:pt x="1737" y="742"/>
                  </a:lnTo>
                  <a:lnTo>
                    <a:pt x="1778" y="749"/>
                  </a:lnTo>
                  <a:lnTo>
                    <a:pt x="1817" y="757"/>
                  </a:lnTo>
                  <a:lnTo>
                    <a:pt x="1856" y="766"/>
                  </a:lnTo>
                  <a:lnTo>
                    <a:pt x="1897" y="776"/>
                  </a:lnTo>
                  <a:lnTo>
                    <a:pt x="1935" y="785"/>
                  </a:lnTo>
                  <a:lnTo>
                    <a:pt x="1972" y="794"/>
                  </a:lnTo>
                  <a:lnTo>
                    <a:pt x="2009" y="802"/>
                  </a:lnTo>
                  <a:lnTo>
                    <a:pt x="2046" y="810"/>
                  </a:lnTo>
                  <a:lnTo>
                    <a:pt x="2081" y="818"/>
                  </a:lnTo>
                  <a:lnTo>
                    <a:pt x="2116" y="825"/>
                  </a:lnTo>
                  <a:lnTo>
                    <a:pt x="2151" y="833"/>
                  </a:lnTo>
                  <a:lnTo>
                    <a:pt x="2167" y="836"/>
                  </a:lnTo>
                  <a:lnTo>
                    <a:pt x="2184" y="838"/>
                  </a:lnTo>
                  <a:lnTo>
                    <a:pt x="2200" y="839"/>
                  </a:lnTo>
                  <a:lnTo>
                    <a:pt x="2216" y="840"/>
                  </a:lnTo>
                  <a:lnTo>
                    <a:pt x="2231" y="839"/>
                  </a:lnTo>
                  <a:lnTo>
                    <a:pt x="2247" y="837"/>
                  </a:lnTo>
                  <a:lnTo>
                    <a:pt x="2263" y="835"/>
                  </a:lnTo>
                  <a:lnTo>
                    <a:pt x="2278" y="832"/>
                  </a:lnTo>
                  <a:lnTo>
                    <a:pt x="2292" y="827"/>
                  </a:lnTo>
                  <a:lnTo>
                    <a:pt x="2307" y="822"/>
                  </a:lnTo>
                  <a:lnTo>
                    <a:pt x="2321" y="816"/>
                  </a:lnTo>
                  <a:lnTo>
                    <a:pt x="2335" y="809"/>
                  </a:lnTo>
                  <a:lnTo>
                    <a:pt x="2348" y="801"/>
                  </a:lnTo>
                  <a:lnTo>
                    <a:pt x="2362" y="792"/>
                  </a:lnTo>
                  <a:lnTo>
                    <a:pt x="2375" y="783"/>
                  </a:lnTo>
                  <a:lnTo>
                    <a:pt x="2389" y="773"/>
                  </a:lnTo>
                  <a:lnTo>
                    <a:pt x="2402" y="761"/>
                  </a:lnTo>
                  <a:lnTo>
                    <a:pt x="2414" y="748"/>
                  </a:lnTo>
                  <a:lnTo>
                    <a:pt x="2426" y="735"/>
                  </a:lnTo>
                  <a:lnTo>
                    <a:pt x="2437" y="722"/>
                  </a:lnTo>
                  <a:lnTo>
                    <a:pt x="2447" y="709"/>
                  </a:lnTo>
                  <a:lnTo>
                    <a:pt x="2456" y="695"/>
                  </a:lnTo>
                  <a:lnTo>
                    <a:pt x="2465" y="680"/>
                  </a:lnTo>
                  <a:lnTo>
                    <a:pt x="2473" y="665"/>
                  </a:lnTo>
                  <a:lnTo>
                    <a:pt x="2480" y="649"/>
                  </a:lnTo>
                  <a:lnTo>
                    <a:pt x="2486" y="633"/>
                  </a:lnTo>
                  <a:lnTo>
                    <a:pt x="2491" y="617"/>
                  </a:lnTo>
                  <a:lnTo>
                    <a:pt x="2496" y="600"/>
                  </a:lnTo>
                  <a:lnTo>
                    <a:pt x="2500" y="584"/>
                  </a:lnTo>
                  <a:lnTo>
                    <a:pt x="2503" y="566"/>
                  </a:lnTo>
                  <a:lnTo>
                    <a:pt x="2507" y="549"/>
                  </a:lnTo>
                  <a:lnTo>
                    <a:pt x="2508" y="530"/>
                  </a:lnTo>
                  <a:lnTo>
                    <a:pt x="2508" y="512"/>
                  </a:lnTo>
                  <a:lnTo>
                    <a:pt x="2508" y="494"/>
                  </a:lnTo>
                  <a:lnTo>
                    <a:pt x="2505" y="474"/>
                  </a:lnTo>
                  <a:lnTo>
                    <a:pt x="2503" y="456"/>
                  </a:lnTo>
                  <a:lnTo>
                    <a:pt x="2499" y="438"/>
                  </a:lnTo>
                  <a:lnTo>
                    <a:pt x="2495" y="420"/>
                  </a:lnTo>
                  <a:lnTo>
                    <a:pt x="2489" y="402"/>
                  </a:lnTo>
                  <a:lnTo>
                    <a:pt x="2482" y="384"/>
                  </a:lnTo>
                  <a:lnTo>
                    <a:pt x="2475" y="366"/>
                  </a:lnTo>
                  <a:lnTo>
                    <a:pt x="2466" y="348"/>
                  </a:lnTo>
                  <a:lnTo>
                    <a:pt x="2456" y="330"/>
                  </a:lnTo>
                  <a:lnTo>
                    <a:pt x="2446" y="311"/>
                  </a:lnTo>
                  <a:lnTo>
                    <a:pt x="2434" y="293"/>
                  </a:lnTo>
                  <a:lnTo>
                    <a:pt x="2421" y="276"/>
                  </a:lnTo>
                  <a:lnTo>
                    <a:pt x="2407" y="258"/>
                  </a:lnTo>
                  <a:lnTo>
                    <a:pt x="2393" y="240"/>
                  </a:lnTo>
                  <a:lnTo>
                    <a:pt x="2372" y="218"/>
                  </a:lnTo>
                  <a:lnTo>
                    <a:pt x="2351" y="197"/>
                  </a:lnTo>
                  <a:lnTo>
                    <a:pt x="2330" y="177"/>
                  </a:lnTo>
                  <a:lnTo>
                    <a:pt x="2308" y="159"/>
                  </a:lnTo>
                  <a:lnTo>
                    <a:pt x="2286" y="140"/>
                  </a:lnTo>
                  <a:lnTo>
                    <a:pt x="2264" y="123"/>
                  </a:lnTo>
                  <a:lnTo>
                    <a:pt x="2240" y="108"/>
                  </a:lnTo>
                  <a:lnTo>
                    <a:pt x="2216" y="93"/>
                  </a:lnTo>
                  <a:lnTo>
                    <a:pt x="2192" y="80"/>
                  </a:lnTo>
                  <a:lnTo>
                    <a:pt x="2167" y="68"/>
                  </a:lnTo>
                  <a:lnTo>
                    <a:pt x="2142" y="57"/>
                  </a:lnTo>
                  <a:lnTo>
                    <a:pt x="2115" y="47"/>
                  </a:lnTo>
                  <a:lnTo>
                    <a:pt x="2088" y="38"/>
                  </a:lnTo>
                  <a:lnTo>
                    <a:pt x="2061" y="30"/>
                  </a:lnTo>
                  <a:lnTo>
                    <a:pt x="2033" y="23"/>
                  </a:lnTo>
                  <a:lnTo>
                    <a:pt x="2004" y="18"/>
                  </a:lnTo>
                  <a:lnTo>
                    <a:pt x="1976" y="13"/>
                  </a:lnTo>
                  <a:lnTo>
                    <a:pt x="1947" y="9"/>
                  </a:lnTo>
                  <a:lnTo>
                    <a:pt x="1919" y="6"/>
                  </a:lnTo>
                  <a:lnTo>
                    <a:pt x="1889" y="3"/>
                  </a:lnTo>
                  <a:lnTo>
                    <a:pt x="1861" y="2"/>
                  </a:lnTo>
                  <a:lnTo>
                    <a:pt x="1832" y="0"/>
                  </a:lnTo>
                  <a:lnTo>
                    <a:pt x="1803" y="0"/>
                  </a:lnTo>
                  <a:lnTo>
                    <a:pt x="1774" y="0"/>
                  </a:lnTo>
                  <a:lnTo>
                    <a:pt x="1744" y="1"/>
                  </a:lnTo>
                  <a:lnTo>
                    <a:pt x="1715" y="3"/>
                  </a:lnTo>
                  <a:lnTo>
                    <a:pt x="1685" y="5"/>
                  </a:lnTo>
                  <a:lnTo>
                    <a:pt x="1656" y="8"/>
                  </a:lnTo>
                  <a:lnTo>
                    <a:pt x="1625" y="12"/>
                  </a:lnTo>
                  <a:lnTo>
                    <a:pt x="1596" y="17"/>
                  </a:lnTo>
                  <a:lnTo>
                    <a:pt x="1566" y="22"/>
                  </a:lnTo>
                  <a:lnTo>
                    <a:pt x="1536" y="29"/>
                  </a:lnTo>
                  <a:lnTo>
                    <a:pt x="1505" y="36"/>
                  </a:lnTo>
                  <a:lnTo>
                    <a:pt x="1476" y="43"/>
                  </a:lnTo>
                  <a:lnTo>
                    <a:pt x="1447" y="51"/>
                  </a:lnTo>
                  <a:lnTo>
                    <a:pt x="1418" y="60"/>
                  </a:lnTo>
                  <a:lnTo>
                    <a:pt x="1388" y="69"/>
                  </a:lnTo>
                  <a:lnTo>
                    <a:pt x="1359" y="79"/>
                  </a:lnTo>
                  <a:lnTo>
                    <a:pt x="1331" y="89"/>
                  </a:lnTo>
                  <a:lnTo>
                    <a:pt x="1303" y="100"/>
                  </a:lnTo>
                  <a:lnTo>
                    <a:pt x="1274" y="112"/>
                  </a:lnTo>
                  <a:lnTo>
                    <a:pt x="1246" y="124"/>
                  </a:lnTo>
                  <a:lnTo>
                    <a:pt x="1218" y="136"/>
                  </a:lnTo>
                  <a:lnTo>
                    <a:pt x="1190" y="151"/>
                  </a:lnTo>
                  <a:lnTo>
                    <a:pt x="1163" y="164"/>
                  </a:lnTo>
                  <a:lnTo>
                    <a:pt x="1135" y="179"/>
                  </a:lnTo>
                  <a:lnTo>
                    <a:pt x="1108" y="194"/>
                  </a:lnTo>
                  <a:lnTo>
                    <a:pt x="1081" y="209"/>
                  </a:lnTo>
                  <a:lnTo>
                    <a:pt x="1028" y="241"/>
                  </a:lnTo>
                  <a:lnTo>
                    <a:pt x="978" y="272"/>
                  </a:lnTo>
                  <a:lnTo>
                    <a:pt x="932" y="304"/>
                  </a:lnTo>
                  <a:lnTo>
                    <a:pt x="886" y="337"/>
                  </a:lnTo>
                  <a:lnTo>
                    <a:pt x="845" y="369"/>
                  </a:lnTo>
                  <a:lnTo>
                    <a:pt x="806" y="401"/>
                  </a:lnTo>
                  <a:lnTo>
                    <a:pt x="769" y="432"/>
                  </a:lnTo>
                  <a:lnTo>
                    <a:pt x="736" y="464"/>
                  </a:lnTo>
                  <a:lnTo>
                    <a:pt x="712" y="441"/>
                  </a:lnTo>
                  <a:lnTo>
                    <a:pt x="687" y="418"/>
                  </a:lnTo>
                  <a:lnTo>
                    <a:pt x="662" y="395"/>
                  </a:lnTo>
                  <a:lnTo>
                    <a:pt x="637" y="372"/>
                  </a:lnTo>
                  <a:lnTo>
                    <a:pt x="623" y="360"/>
                  </a:lnTo>
                  <a:lnTo>
                    <a:pt x="609" y="350"/>
                  </a:lnTo>
                  <a:lnTo>
                    <a:pt x="593" y="342"/>
                  </a:lnTo>
                  <a:lnTo>
                    <a:pt x="577" y="335"/>
                  </a:lnTo>
                  <a:lnTo>
                    <a:pt x="559" y="329"/>
                  </a:lnTo>
                  <a:lnTo>
                    <a:pt x="540" y="325"/>
                  </a:lnTo>
                  <a:lnTo>
                    <a:pt x="521" y="323"/>
                  </a:lnTo>
                  <a:lnTo>
                    <a:pt x="502" y="323"/>
                  </a:lnTo>
                  <a:lnTo>
                    <a:pt x="491" y="323"/>
                  </a:lnTo>
                  <a:lnTo>
                    <a:pt x="482" y="324"/>
                  </a:lnTo>
                  <a:lnTo>
                    <a:pt x="472" y="325"/>
                  </a:lnTo>
                  <a:lnTo>
                    <a:pt x="462" y="327"/>
                  </a:lnTo>
                  <a:lnTo>
                    <a:pt x="453" y="329"/>
                  </a:lnTo>
                  <a:lnTo>
                    <a:pt x="444" y="332"/>
                  </a:lnTo>
                  <a:lnTo>
                    <a:pt x="435" y="336"/>
                  </a:lnTo>
                  <a:lnTo>
                    <a:pt x="426" y="340"/>
                  </a:lnTo>
                  <a:lnTo>
                    <a:pt x="417" y="344"/>
                  </a:lnTo>
                  <a:lnTo>
                    <a:pt x="409" y="349"/>
                  </a:lnTo>
                  <a:lnTo>
                    <a:pt x="401" y="355"/>
                  </a:lnTo>
                  <a:lnTo>
                    <a:pt x="393" y="360"/>
                  </a:lnTo>
                  <a:lnTo>
                    <a:pt x="378" y="374"/>
                  </a:lnTo>
                  <a:lnTo>
                    <a:pt x="364" y="389"/>
                  </a:lnTo>
                  <a:lnTo>
                    <a:pt x="351" y="405"/>
                  </a:lnTo>
                  <a:lnTo>
                    <a:pt x="341" y="422"/>
                  </a:lnTo>
                  <a:lnTo>
                    <a:pt x="332" y="439"/>
                  </a:lnTo>
                  <a:lnTo>
                    <a:pt x="325" y="457"/>
                  </a:lnTo>
                  <a:lnTo>
                    <a:pt x="322" y="466"/>
                  </a:lnTo>
                  <a:lnTo>
                    <a:pt x="320" y="475"/>
                  </a:lnTo>
                  <a:lnTo>
                    <a:pt x="318" y="484"/>
                  </a:lnTo>
                  <a:lnTo>
                    <a:pt x="317" y="494"/>
                  </a:lnTo>
                  <a:lnTo>
                    <a:pt x="317" y="504"/>
                  </a:lnTo>
                  <a:lnTo>
                    <a:pt x="316" y="513"/>
                  </a:lnTo>
                  <a:lnTo>
                    <a:pt x="317" y="523"/>
                  </a:lnTo>
                  <a:lnTo>
                    <a:pt x="318" y="533"/>
                  </a:lnTo>
                  <a:lnTo>
                    <a:pt x="321" y="552"/>
                  </a:lnTo>
                  <a:lnTo>
                    <a:pt x="325" y="570"/>
                  </a:lnTo>
                  <a:lnTo>
                    <a:pt x="330" y="588"/>
                  </a:lnTo>
                  <a:lnTo>
                    <a:pt x="338" y="604"/>
                  </a:lnTo>
                  <a:lnTo>
                    <a:pt x="346" y="619"/>
                  </a:lnTo>
                  <a:lnTo>
                    <a:pt x="357" y="633"/>
                  </a:lnTo>
                  <a:lnTo>
                    <a:pt x="368" y="646"/>
                  </a:lnTo>
                  <a:lnTo>
                    <a:pt x="381" y="660"/>
                  </a:lnTo>
                  <a:lnTo>
                    <a:pt x="406" y="680"/>
                  </a:lnTo>
                  <a:lnTo>
                    <a:pt x="431" y="700"/>
                  </a:lnTo>
                  <a:lnTo>
                    <a:pt x="456" y="721"/>
                  </a:lnTo>
                  <a:lnTo>
                    <a:pt x="480" y="743"/>
                  </a:lnTo>
                  <a:lnTo>
                    <a:pt x="456" y="772"/>
                  </a:lnTo>
                  <a:lnTo>
                    <a:pt x="433" y="801"/>
                  </a:lnTo>
                  <a:lnTo>
                    <a:pt x="410" y="832"/>
                  </a:lnTo>
                  <a:lnTo>
                    <a:pt x="387" y="862"/>
                  </a:lnTo>
                  <a:lnTo>
                    <a:pt x="366" y="893"/>
                  </a:lnTo>
                  <a:lnTo>
                    <a:pt x="345" y="924"/>
                  </a:lnTo>
                  <a:lnTo>
                    <a:pt x="324" y="955"/>
                  </a:lnTo>
                  <a:lnTo>
                    <a:pt x="303" y="986"/>
                  </a:lnTo>
                  <a:lnTo>
                    <a:pt x="284" y="1019"/>
                  </a:lnTo>
                  <a:lnTo>
                    <a:pt x="265" y="1051"/>
                  </a:lnTo>
                  <a:lnTo>
                    <a:pt x="246" y="1084"/>
                  </a:lnTo>
                  <a:lnTo>
                    <a:pt x="228" y="1116"/>
                  </a:lnTo>
                  <a:lnTo>
                    <a:pt x="211" y="1149"/>
                  </a:lnTo>
                  <a:lnTo>
                    <a:pt x="194" y="1183"/>
                  </a:lnTo>
                  <a:lnTo>
                    <a:pt x="177" y="1217"/>
                  </a:lnTo>
                  <a:lnTo>
                    <a:pt x="161" y="1251"/>
                  </a:lnTo>
                  <a:lnTo>
                    <a:pt x="146" y="1284"/>
                  </a:lnTo>
                  <a:lnTo>
                    <a:pt x="131" y="1318"/>
                  </a:lnTo>
                  <a:lnTo>
                    <a:pt x="117" y="1353"/>
                  </a:lnTo>
                  <a:lnTo>
                    <a:pt x="104" y="1387"/>
                  </a:lnTo>
                  <a:lnTo>
                    <a:pt x="92" y="1420"/>
                  </a:lnTo>
                  <a:lnTo>
                    <a:pt x="81" y="1454"/>
                  </a:lnTo>
                  <a:lnTo>
                    <a:pt x="70" y="1487"/>
                  </a:lnTo>
                  <a:lnTo>
                    <a:pt x="59" y="1521"/>
                  </a:lnTo>
                  <a:lnTo>
                    <a:pt x="50" y="1555"/>
                  </a:lnTo>
                  <a:lnTo>
                    <a:pt x="42" y="1588"/>
                  </a:lnTo>
                  <a:lnTo>
                    <a:pt x="34" y="1621"/>
                  </a:lnTo>
                  <a:lnTo>
                    <a:pt x="27" y="1654"/>
                  </a:lnTo>
                  <a:lnTo>
                    <a:pt x="21" y="1688"/>
                  </a:lnTo>
                  <a:lnTo>
                    <a:pt x="16" y="1721"/>
                  </a:lnTo>
                  <a:lnTo>
                    <a:pt x="11" y="1754"/>
                  </a:lnTo>
                  <a:lnTo>
                    <a:pt x="8" y="1787"/>
                  </a:lnTo>
                  <a:lnTo>
                    <a:pt x="4" y="1819"/>
                  </a:lnTo>
                  <a:lnTo>
                    <a:pt x="2" y="1852"/>
                  </a:lnTo>
                  <a:lnTo>
                    <a:pt x="1" y="1884"/>
                  </a:lnTo>
                  <a:lnTo>
                    <a:pt x="0" y="1916"/>
                  </a:lnTo>
                  <a:lnTo>
                    <a:pt x="0" y="1947"/>
                  </a:lnTo>
                  <a:lnTo>
                    <a:pt x="1" y="1978"/>
                  </a:lnTo>
                  <a:lnTo>
                    <a:pt x="4" y="2009"/>
                  </a:lnTo>
                  <a:lnTo>
                    <a:pt x="6" y="2040"/>
                  </a:lnTo>
                  <a:lnTo>
                    <a:pt x="10" y="2070"/>
                  </a:lnTo>
                  <a:lnTo>
                    <a:pt x="15" y="2100"/>
                  </a:lnTo>
                  <a:lnTo>
                    <a:pt x="20" y="2129"/>
                  </a:lnTo>
                  <a:lnTo>
                    <a:pt x="26" y="2158"/>
                  </a:lnTo>
                  <a:lnTo>
                    <a:pt x="34" y="2188"/>
                  </a:lnTo>
                  <a:lnTo>
                    <a:pt x="42" y="2217"/>
                  </a:lnTo>
                  <a:lnTo>
                    <a:pt x="50" y="2245"/>
                  </a:lnTo>
                  <a:lnTo>
                    <a:pt x="60" y="2273"/>
                  </a:lnTo>
                  <a:lnTo>
                    <a:pt x="72" y="2301"/>
                  </a:lnTo>
                  <a:lnTo>
                    <a:pt x="83" y="2328"/>
                  </a:lnTo>
                  <a:lnTo>
                    <a:pt x="96" y="2356"/>
                  </a:lnTo>
                  <a:lnTo>
                    <a:pt x="110" y="2382"/>
                  </a:lnTo>
                  <a:lnTo>
                    <a:pt x="125" y="2408"/>
                  </a:lnTo>
                  <a:lnTo>
                    <a:pt x="141" y="2433"/>
                  </a:lnTo>
                  <a:lnTo>
                    <a:pt x="158" y="2459"/>
                  </a:lnTo>
                  <a:lnTo>
                    <a:pt x="176" y="2483"/>
                  </a:lnTo>
                  <a:lnTo>
                    <a:pt x="196" y="2508"/>
                  </a:lnTo>
                  <a:lnTo>
                    <a:pt x="216" y="2533"/>
                  </a:lnTo>
                  <a:lnTo>
                    <a:pt x="237" y="2556"/>
                  </a:lnTo>
                  <a:lnTo>
                    <a:pt x="259" y="2580"/>
                  </a:lnTo>
                  <a:lnTo>
                    <a:pt x="282" y="2603"/>
                  </a:lnTo>
                  <a:lnTo>
                    <a:pt x="308" y="2626"/>
                  </a:lnTo>
                  <a:lnTo>
                    <a:pt x="333" y="2649"/>
                  </a:lnTo>
                  <a:lnTo>
                    <a:pt x="360" y="2672"/>
                  </a:lnTo>
                  <a:lnTo>
                    <a:pt x="382" y="2690"/>
                  </a:lnTo>
                  <a:lnTo>
                    <a:pt x="405" y="2708"/>
                  </a:lnTo>
                  <a:lnTo>
                    <a:pt x="427" y="2724"/>
                  </a:lnTo>
                  <a:lnTo>
                    <a:pt x="451" y="2740"/>
                  </a:lnTo>
                  <a:lnTo>
                    <a:pt x="474" y="2756"/>
                  </a:lnTo>
                  <a:lnTo>
                    <a:pt x="498" y="2771"/>
                  </a:lnTo>
                  <a:lnTo>
                    <a:pt x="522" y="2785"/>
                  </a:lnTo>
                  <a:lnTo>
                    <a:pt x="545" y="2798"/>
                  </a:lnTo>
                  <a:lnTo>
                    <a:pt x="571" y="2811"/>
                  </a:lnTo>
                  <a:lnTo>
                    <a:pt x="595" y="2823"/>
                  </a:lnTo>
                  <a:lnTo>
                    <a:pt x="620" y="2834"/>
                  </a:lnTo>
                  <a:lnTo>
                    <a:pt x="645" y="2845"/>
                  </a:lnTo>
                  <a:lnTo>
                    <a:pt x="670" y="2856"/>
                  </a:lnTo>
                  <a:lnTo>
                    <a:pt x="696" y="2866"/>
                  </a:lnTo>
                  <a:lnTo>
                    <a:pt x="722" y="2875"/>
                  </a:lnTo>
                  <a:lnTo>
                    <a:pt x="748" y="2883"/>
                  </a:lnTo>
                  <a:lnTo>
                    <a:pt x="774" y="2891"/>
                  </a:lnTo>
                  <a:lnTo>
                    <a:pt x="802" y="2898"/>
                  </a:lnTo>
                  <a:lnTo>
                    <a:pt x="828" y="2905"/>
                  </a:lnTo>
                  <a:lnTo>
                    <a:pt x="855" y="2910"/>
                  </a:lnTo>
                  <a:lnTo>
                    <a:pt x="882" y="2916"/>
                  </a:lnTo>
                  <a:lnTo>
                    <a:pt x="910" y="2920"/>
                  </a:lnTo>
                  <a:lnTo>
                    <a:pt x="938" y="2924"/>
                  </a:lnTo>
                  <a:lnTo>
                    <a:pt x="966" y="2928"/>
                  </a:lnTo>
                  <a:lnTo>
                    <a:pt x="995" y="2931"/>
                  </a:lnTo>
                  <a:lnTo>
                    <a:pt x="1023" y="2933"/>
                  </a:lnTo>
                  <a:lnTo>
                    <a:pt x="1053" y="2934"/>
                  </a:lnTo>
                  <a:lnTo>
                    <a:pt x="1082" y="2935"/>
                  </a:lnTo>
                  <a:lnTo>
                    <a:pt x="1111" y="2936"/>
                  </a:lnTo>
                  <a:lnTo>
                    <a:pt x="1140" y="2935"/>
                  </a:lnTo>
                  <a:lnTo>
                    <a:pt x="1171" y="2935"/>
                  </a:lnTo>
                  <a:lnTo>
                    <a:pt x="1201" y="2933"/>
                  </a:lnTo>
                  <a:lnTo>
                    <a:pt x="1261" y="2929"/>
                  </a:lnTo>
                  <a:lnTo>
                    <a:pt x="1323" y="2922"/>
                  </a:lnTo>
                  <a:lnTo>
                    <a:pt x="1385" y="2914"/>
                  </a:lnTo>
                  <a:lnTo>
                    <a:pt x="1448" y="2904"/>
                  </a:lnTo>
                  <a:lnTo>
                    <a:pt x="1511" y="2892"/>
                  </a:lnTo>
                  <a:lnTo>
                    <a:pt x="1575" y="2878"/>
                  </a:lnTo>
                  <a:lnTo>
                    <a:pt x="1639" y="2862"/>
                  </a:lnTo>
                  <a:lnTo>
                    <a:pt x="1705" y="2842"/>
                  </a:lnTo>
                  <a:lnTo>
                    <a:pt x="1770" y="2822"/>
                  </a:lnTo>
                  <a:lnTo>
                    <a:pt x="1836" y="2800"/>
                  </a:lnTo>
                  <a:lnTo>
                    <a:pt x="1904" y="2775"/>
                  </a:lnTo>
                  <a:lnTo>
                    <a:pt x="1971" y="2748"/>
                  </a:lnTo>
                  <a:lnTo>
                    <a:pt x="2039" y="2719"/>
                  </a:lnTo>
                  <a:lnTo>
                    <a:pt x="2107" y="2687"/>
                  </a:lnTo>
                  <a:lnTo>
                    <a:pt x="2177" y="2653"/>
                  </a:lnTo>
                  <a:lnTo>
                    <a:pt x="2246" y="2617"/>
                  </a:lnTo>
                  <a:lnTo>
                    <a:pt x="2302" y="2681"/>
                  </a:lnTo>
                  <a:lnTo>
                    <a:pt x="2358" y="2745"/>
                  </a:lnTo>
                  <a:lnTo>
                    <a:pt x="2414" y="2809"/>
                  </a:lnTo>
                  <a:lnTo>
                    <a:pt x="2470" y="2874"/>
                  </a:lnTo>
                  <a:lnTo>
                    <a:pt x="2526" y="2937"/>
                  </a:lnTo>
                  <a:lnTo>
                    <a:pt x="2582" y="3000"/>
                  </a:lnTo>
                  <a:lnTo>
                    <a:pt x="2638" y="3064"/>
                  </a:lnTo>
                  <a:lnTo>
                    <a:pt x="2693" y="3127"/>
                  </a:lnTo>
                  <a:lnTo>
                    <a:pt x="2749" y="3189"/>
                  </a:lnTo>
                  <a:lnTo>
                    <a:pt x="2805" y="3252"/>
                  </a:lnTo>
                  <a:lnTo>
                    <a:pt x="2861" y="3314"/>
                  </a:lnTo>
                  <a:lnTo>
                    <a:pt x="2917" y="3376"/>
                  </a:lnTo>
                  <a:lnTo>
                    <a:pt x="2973" y="3437"/>
                  </a:lnTo>
                  <a:lnTo>
                    <a:pt x="3029" y="3497"/>
                  </a:lnTo>
                  <a:lnTo>
                    <a:pt x="3085" y="3558"/>
                  </a:lnTo>
                  <a:lnTo>
                    <a:pt x="3141" y="3617"/>
                  </a:lnTo>
                  <a:lnTo>
                    <a:pt x="3118" y="3636"/>
                  </a:lnTo>
                  <a:lnTo>
                    <a:pt x="3094" y="3655"/>
                  </a:lnTo>
                  <a:lnTo>
                    <a:pt x="3071" y="3672"/>
                  </a:lnTo>
                  <a:lnTo>
                    <a:pt x="3049" y="3688"/>
                  </a:lnTo>
                  <a:lnTo>
                    <a:pt x="3027" y="3703"/>
                  </a:lnTo>
                  <a:lnTo>
                    <a:pt x="3006" y="3718"/>
                  </a:lnTo>
                  <a:lnTo>
                    <a:pt x="2984" y="3731"/>
                  </a:lnTo>
                  <a:lnTo>
                    <a:pt x="2963" y="3743"/>
                  </a:lnTo>
                  <a:lnTo>
                    <a:pt x="2942" y="3754"/>
                  </a:lnTo>
                  <a:lnTo>
                    <a:pt x="2922" y="3764"/>
                  </a:lnTo>
                  <a:lnTo>
                    <a:pt x="2902" y="3773"/>
                  </a:lnTo>
                  <a:lnTo>
                    <a:pt x="2883" y="3781"/>
                  </a:lnTo>
                  <a:lnTo>
                    <a:pt x="2863" y="3788"/>
                  </a:lnTo>
                  <a:lnTo>
                    <a:pt x="2844" y="3794"/>
                  </a:lnTo>
                  <a:lnTo>
                    <a:pt x="2825" y="3799"/>
                  </a:lnTo>
                  <a:lnTo>
                    <a:pt x="2807" y="3804"/>
                  </a:lnTo>
                  <a:lnTo>
                    <a:pt x="2771" y="3810"/>
                  </a:lnTo>
                  <a:lnTo>
                    <a:pt x="2735" y="3815"/>
                  </a:lnTo>
                  <a:lnTo>
                    <a:pt x="2718" y="3816"/>
                  </a:lnTo>
                  <a:lnTo>
                    <a:pt x="2701" y="3817"/>
                  </a:lnTo>
                  <a:lnTo>
                    <a:pt x="2685" y="3818"/>
                  </a:lnTo>
                  <a:lnTo>
                    <a:pt x="2668" y="3818"/>
                  </a:lnTo>
                  <a:lnTo>
                    <a:pt x="2652" y="3817"/>
                  </a:lnTo>
                  <a:lnTo>
                    <a:pt x="2636" y="3816"/>
                  </a:lnTo>
                  <a:lnTo>
                    <a:pt x="2620" y="3814"/>
                  </a:lnTo>
                  <a:lnTo>
                    <a:pt x="2604" y="3812"/>
                  </a:lnTo>
                  <a:lnTo>
                    <a:pt x="2589" y="3809"/>
                  </a:lnTo>
                  <a:lnTo>
                    <a:pt x="2574" y="3806"/>
                  </a:lnTo>
                  <a:lnTo>
                    <a:pt x="2559" y="3803"/>
                  </a:lnTo>
                  <a:lnTo>
                    <a:pt x="2544" y="3799"/>
                  </a:lnTo>
                  <a:lnTo>
                    <a:pt x="2515" y="3789"/>
                  </a:lnTo>
                  <a:lnTo>
                    <a:pt x="2486" y="3778"/>
                  </a:lnTo>
                  <a:lnTo>
                    <a:pt x="2458" y="3767"/>
                  </a:lnTo>
                  <a:lnTo>
                    <a:pt x="2430" y="3754"/>
                  </a:lnTo>
                  <a:lnTo>
                    <a:pt x="2403" y="3740"/>
                  </a:lnTo>
                  <a:lnTo>
                    <a:pt x="2376" y="3726"/>
                  </a:lnTo>
                  <a:lnTo>
                    <a:pt x="2351" y="3710"/>
                  </a:lnTo>
                  <a:lnTo>
                    <a:pt x="2325" y="3693"/>
                  </a:lnTo>
                  <a:lnTo>
                    <a:pt x="2301" y="3676"/>
                  </a:lnTo>
                  <a:lnTo>
                    <a:pt x="2276" y="3660"/>
                  </a:lnTo>
                  <a:lnTo>
                    <a:pt x="2250" y="3644"/>
                  </a:lnTo>
                  <a:lnTo>
                    <a:pt x="2225" y="3629"/>
                  </a:lnTo>
                  <a:lnTo>
                    <a:pt x="2201" y="3615"/>
                  </a:lnTo>
                  <a:lnTo>
                    <a:pt x="2176" y="3601"/>
                  </a:lnTo>
                  <a:lnTo>
                    <a:pt x="2152" y="3588"/>
                  </a:lnTo>
                  <a:lnTo>
                    <a:pt x="2126" y="3576"/>
                  </a:lnTo>
                  <a:lnTo>
                    <a:pt x="2102" y="3565"/>
                  </a:lnTo>
                  <a:lnTo>
                    <a:pt x="2077" y="3555"/>
                  </a:lnTo>
                  <a:lnTo>
                    <a:pt x="2053" y="3546"/>
                  </a:lnTo>
                  <a:lnTo>
                    <a:pt x="2028" y="3539"/>
                  </a:lnTo>
                  <a:lnTo>
                    <a:pt x="2002" y="3532"/>
                  </a:lnTo>
                  <a:lnTo>
                    <a:pt x="1977" y="3528"/>
                  </a:lnTo>
                  <a:lnTo>
                    <a:pt x="1951" y="3525"/>
                  </a:lnTo>
                  <a:lnTo>
                    <a:pt x="1926" y="3524"/>
                  </a:lnTo>
                  <a:lnTo>
                    <a:pt x="1913" y="3524"/>
                  </a:lnTo>
                  <a:lnTo>
                    <a:pt x="1900" y="3525"/>
                  </a:lnTo>
                  <a:lnTo>
                    <a:pt x="1886" y="3527"/>
                  </a:lnTo>
                  <a:lnTo>
                    <a:pt x="1873" y="3530"/>
                  </a:lnTo>
                  <a:lnTo>
                    <a:pt x="1859" y="3533"/>
                  </a:lnTo>
                  <a:lnTo>
                    <a:pt x="1846" y="3537"/>
                  </a:lnTo>
                  <a:lnTo>
                    <a:pt x="1832" y="3543"/>
                  </a:lnTo>
                  <a:lnTo>
                    <a:pt x="1819" y="3549"/>
                  </a:lnTo>
                  <a:lnTo>
                    <a:pt x="1805" y="3556"/>
                  </a:lnTo>
                  <a:lnTo>
                    <a:pt x="1791" y="3563"/>
                  </a:lnTo>
                  <a:lnTo>
                    <a:pt x="1777" y="3572"/>
                  </a:lnTo>
                  <a:lnTo>
                    <a:pt x="1762" y="3581"/>
                  </a:lnTo>
                  <a:lnTo>
                    <a:pt x="1747" y="3591"/>
                  </a:lnTo>
                  <a:lnTo>
                    <a:pt x="1733" y="3601"/>
                  </a:lnTo>
                  <a:lnTo>
                    <a:pt x="1718" y="3613"/>
                  </a:lnTo>
                  <a:lnTo>
                    <a:pt x="1703" y="3625"/>
                  </a:lnTo>
                  <a:lnTo>
                    <a:pt x="1688" y="3639"/>
                  </a:lnTo>
                  <a:lnTo>
                    <a:pt x="1674" y="3653"/>
                  </a:lnTo>
                  <a:lnTo>
                    <a:pt x="1661" y="3667"/>
                  </a:lnTo>
                  <a:lnTo>
                    <a:pt x="1648" y="3681"/>
                  </a:lnTo>
                  <a:lnTo>
                    <a:pt x="1637" y="3696"/>
                  </a:lnTo>
                  <a:lnTo>
                    <a:pt x="1627" y="3712"/>
                  </a:lnTo>
                  <a:lnTo>
                    <a:pt x="1618" y="3727"/>
                  </a:lnTo>
                  <a:lnTo>
                    <a:pt x="1610" y="3742"/>
                  </a:lnTo>
                  <a:lnTo>
                    <a:pt x="1603" y="3758"/>
                  </a:lnTo>
                  <a:lnTo>
                    <a:pt x="1596" y="3774"/>
                  </a:lnTo>
                  <a:lnTo>
                    <a:pt x="1591" y="3790"/>
                  </a:lnTo>
                  <a:lnTo>
                    <a:pt x="1587" y="3806"/>
                  </a:lnTo>
                  <a:lnTo>
                    <a:pt x="1583" y="3823"/>
                  </a:lnTo>
                  <a:lnTo>
                    <a:pt x="1581" y="3840"/>
                  </a:lnTo>
                  <a:lnTo>
                    <a:pt x="1580" y="3857"/>
                  </a:lnTo>
                  <a:lnTo>
                    <a:pt x="1579" y="3875"/>
                  </a:lnTo>
                  <a:lnTo>
                    <a:pt x="1580" y="3893"/>
                  </a:lnTo>
                  <a:lnTo>
                    <a:pt x="1581" y="3911"/>
                  </a:lnTo>
                  <a:lnTo>
                    <a:pt x="1584" y="3928"/>
                  </a:lnTo>
                  <a:lnTo>
                    <a:pt x="1587" y="3946"/>
                  </a:lnTo>
                  <a:lnTo>
                    <a:pt x="1592" y="3963"/>
                  </a:lnTo>
                  <a:lnTo>
                    <a:pt x="1597" y="3981"/>
                  </a:lnTo>
                  <a:lnTo>
                    <a:pt x="1604" y="3998"/>
                  </a:lnTo>
                  <a:lnTo>
                    <a:pt x="1611" y="4016"/>
                  </a:lnTo>
                  <a:lnTo>
                    <a:pt x="1619" y="4034"/>
                  </a:lnTo>
                  <a:lnTo>
                    <a:pt x="1629" y="4053"/>
                  </a:lnTo>
                  <a:lnTo>
                    <a:pt x="1639" y="4071"/>
                  </a:lnTo>
                  <a:lnTo>
                    <a:pt x="1652" y="4088"/>
                  </a:lnTo>
                  <a:lnTo>
                    <a:pt x="1664" y="4106"/>
                  </a:lnTo>
                  <a:lnTo>
                    <a:pt x="1677" y="4124"/>
                  </a:lnTo>
                  <a:lnTo>
                    <a:pt x="1692" y="4142"/>
                  </a:lnTo>
                  <a:lnTo>
                    <a:pt x="1707" y="4160"/>
                  </a:lnTo>
                  <a:lnTo>
                    <a:pt x="1723" y="4178"/>
                  </a:lnTo>
                  <a:lnTo>
                    <a:pt x="1740" y="4195"/>
                  </a:lnTo>
                  <a:lnTo>
                    <a:pt x="1757" y="4212"/>
                  </a:lnTo>
                  <a:lnTo>
                    <a:pt x="1776" y="4230"/>
                  </a:lnTo>
                  <a:lnTo>
                    <a:pt x="1795" y="4246"/>
                  </a:lnTo>
                  <a:lnTo>
                    <a:pt x="1814" y="4262"/>
                  </a:lnTo>
                  <a:lnTo>
                    <a:pt x="1834" y="4277"/>
                  </a:lnTo>
                  <a:lnTo>
                    <a:pt x="1854" y="4293"/>
                  </a:lnTo>
                  <a:lnTo>
                    <a:pt x="1875" y="4307"/>
                  </a:lnTo>
                  <a:lnTo>
                    <a:pt x="1898" y="4322"/>
                  </a:lnTo>
                  <a:lnTo>
                    <a:pt x="1920" y="4336"/>
                  </a:lnTo>
                  <a:lnTo>
                    <a:pt x="1942" y="4349"/>
                  </a:lnTo>
                  <a:lnTo>
                    <a:pt x="1965" y="4363"/>
                  </a:lnTo>
                  <a:lnTo>
                    <a:pt x="1989" y="4375"/>
                  </a:lnTo>
                  <a:lnTo>
                    <a:pt x="2013" y="4389"/>
                  </a:lnTo>
                  <a:lnTo>
                    <a:pt x="2039" y="4401"/>
                  </a:lnTo>
                  <a:lnTo>
                    <a:pt x="2064" y="4413"/>
                  </a:lnTo>
                  <a:lnTo>
                    <a:pt x="2090" y="4424"/>
                  </a:lnTo>
                  <a:lnTo>
                    <a:pt x="2116" y="4434"/>
                  </a:lnTo>
                  <a:lnTo>
                    <a:pt x="2144" y="4444"/>
                  </a:lnTo>
                  <a:lnTo>
                    <a:pt x="2170" y="4454"/>
                  </a:lnTo>
                  <a:lnTo>
                    <a:pt x="2198" y="4462"/>
                  </a:lnTo>
                  <a:lnTo>
                    <a:pt x="2225" y="4471"/>
                  </a:lnTo>
                  <a:lnTo>
                    <a:pt x="2253" y="4478"/>
                  </a:lnTo>
                  <a:lnTo>
                    <a:pt x="2283" y="4485"/>
                  </a:lnTo>
                  <a:lnTo>
                    <a:pt x="2311" y="4491"/>
                  </a:lnTo>
                  <a:lnTo>
                    <a:pt x="2340" y="4497"/>
                  </a:lnTo>
                  <a:lnTo>
                    <a:pt x="2370" y="4502"/>
                  </a:lnTo>
                  <a:lnTo>
                    <a:pt x="2401" y="4506"/>
                  </a:lnTo>
                  <a:lnTo>
                    <a:pt x="2431" y="4510"/>
                  </a:lnTo>
                  <a:lnTo>
                    <a:pt x="2462" y="4513"/>
                  </a:lnTo>
                  <a:lnTo>
                    <a:pt x="2493" y="4516"/>
                  </a:lnTo>
                  <a:lnTo>
                    <a:pt x="2525" y="4517"/>
                  </a:lnTo>
                  <a:lnTo>
                    <a:pt x="2556" y="4518"/>
                  </a:lnTo>
                  <a:lnTo>
                    <a:pt x="2588" y="4518"/>
                  </a:lnTo>
                  <a:lnTo>
                    <a:pt x="2620" y="4517"/>
                  </a:lnTo>
                  <a:lnTo>
                    <a:pt x="2653" y="4515"/>
                  </a:lnTo>
                  <a:lnTo>
                    <a:pt x="2685" y="4513"/>
                  </a:lnTo>
                  <a:lnTo>
                    <a:pt x="2717" y="4509"/>
                  </a:lnTo>
                  <a:lnTo>
                    <a:pt x="2751" y="4504"/>
                  </a:lnTo>
                  <a:lnTo>
                    <a:pt x="2784" y="4499"/>
                  </a:lnTo>
                  <a:lnTo>
                    <a:pt x="2817" y="4492"/>
                  </a:lnTo>
                  <a:lnTo>
                    <a:pt x="2850" y="4485"/>
                  </a:lnTo>
                  <a:lnTo>
                    <a:pt x="2885" y="4477"/>
                  </a:lnTo>
                  <a:lnTo>
                    <a:pt x="2919" y="4467"/>
                  </a:lnTo>
                  <a:lnTo>
                    <a:pt x="2953" y="4457"/>
                  </a:lnTo>
                  <a:lnTo>
                    <a:pt x="2987" y="4446"/>
                  </a:lnTo>
                  <a:lnTo>
                    <a:pt x="3023" y="4434"/>
                  </a:lnTo>
                  <a:lnTo>
                    <a:pt x="3057" y="4420"/>
                  </a:lnTo>
                  <a:lnTo>
                    <a:pt x="3092" y="4406"/>
                  </a:lnTo>
                  <a:lnTo>
                    <a:pt x="3128" y="4390"/>
                  </a:lnTo>
                  <a:lnTo>
                    <a:pt x="3162" y="4372"/>
                  </a:lnTo>
                  <a:lnTo>
                    <a:pt x="3197" y="4353"/>
                  </a:lnTo>
                  <a:lnTo>
                    <a:pt x="3231" y="4333"/>
                  </a:lnTo>
                  <a:lnTo>
                    <a:pt x="3267" y="4312"/>
                  </a:lnTo>
                  <a:lnTo>
                    <a:pt x="3301" y="4290"/>
                  </a:lnTo>
                  <a:lnTo>
                    <a:pt x="3336" y="4266"/>
                  </a:lnTo>
                  <a:lnTo>
                    <a:pt x="3371" y="4241"/>
                  </a:lnTo>
                  <a:lnTo>
                    <a:pt x="3405" y="4213"/>
                  </a:lnTo>
                  <a:lnTo>
                    <a:pt x="3440" y="4185"/>
                  </a:lnTo>
                  <a:lnTo>
                    <a:pt x="3474" y="4156"/>
                  </a:lnTo>
                  <a:lnTo>
                    <a:pt x="3509" y="4126"/>
                  </a:lnTo>
                  <a:lnTo>
                    <a:pt x="3543" y="4094"/>
                  </a:lnTo>
                  <a:lnTo>
                    <a:pt x="3576" y="4060"/>
                  </a:lnTo>
                  <a:lnTo>
                    <a:pt x="3610" y="4092"/>
                  </a:lnTo>
                  <a:lnTo>
                    <a:pt x="3643" y="4123"/>
                  </a:lnTo>
                  <a:lnTo>
                    <a:pt x="3676" y="4154"/>
                  </a:lnTo>
                  <a:lnTo>
                    <a:pt x="3709" y="4185"/>
                  </a:lnTo>
                  <a:lnTo>
                    <a:pt x="3743" y="4215"/>
                  </a:lnTo>
                  <a:lnTo>
                    <a:pt x="3776" y="4246"/>
                  </a:lnTo>
                  <a:lnTo>
                    <a:pt x="3808" y="4276"/>
                  </a:lnTo>
                  <a:lnTo>
                    <a:pt x="3841" y="4306"/>
                  </a:lnTo>
                  <a:lnTo>
                    <a:pt x="3856" y="4317"/>
                  </a:lnTo>
                  <a:lnTo>
                    <a:pt x="3872" y="4326"/>
                  </a:lnTo>
                  <a:lnTo>
                    <a:pt x="3887" y="4335"/>
                  </a:lnTo>
                  <a:lnTo>
                    <a:pt x="3904" y="4341"/>
                  </a:lnTo>
                  <a:lnTo>
                    <a:pt x="3921" y="4346"/>
                  </a:lnTo>
                  <a:lnTo>
                    <a:pt x="3940" y="4349"/>
                  </a:lnTo>
                  <a:lnTo>
                    <a:pt x="3959" y="4350"/>
                  </a:lnTo>
                  <a:lnTo>
                    <a:pt x="3980" y="4350"/>
                  </a:lnTo>
                  <a:lnTo>
                    <a:pt x="3990" y="4349"/>
                  </a:lnTo>
                  <a:lnTo>
                    <a:pt x="3999" y="4348"/>
                  </a:lnTo>
                  <a:lnTo>
                    <a:pt x="4009" y="4346"/>
                  </a:lnTo>
                  <a:lnTo>
                    <a:pt x="4018" y="4344"/>
                  </a:lnTo>
                  <a:lnTo>
                    <a:pt x="4027" y="4341"/>
                  </a:lnTo>
                  <a:lnTo>
                    <a:pt x="4036" y="4338"/>
                  </a:lnTo>
                  <a:lnTo>
                    <a:pt x="4045" y="4334"/>
                  </a:lnTo>
                  <a:lnTo>
                    <a:pt x="4053" y="4330"/>
                  </a:lnTo>
                  <a:lnTo>
                    <a:pt x="4062" y="4325"/>
                  </a:lnTo>
                  <a:lnTo>
                    <a:pt x="4070" y="4320"/>
                  </a:lnTo>
                  <a:lnTo>
                    <a:pt x="4078" y="4315"/>
                  </a:lnTo>
                  <a:lnTo>
                    <a:pt x="4086" y="4308"/>
                  </a:lnTo>
                  <a:lnTo>
                    <a:pt x="4102" y="4295"/>
                  </a:lnTo>
                  <a:lnTo>
                    <a:pt x="4116" y="4279"/>
                  </a:lnTo>
                  <a:lnTo>
                    <a:pt x="4129" y="4262"/>
                  </a:lnTo>
                  <a:lnTo>
                    <a:pt x="4140" y="4245"/>
                  </a:lnTo>
                  <a:lnTo>
                    <a:pt x="4144" y="4236"/>
                  </a:lnTo>
                  <a:lnTo>
                    <a:pt x="4148" y="4227"/>
                  </a:lnTo>
                  <a:lnTo>
                    <a:pt x="4152" y="4218"/>
                  </a:lnTo>
                  <a:lnTo>
                    <a:pt x="4155" y="4207"/>
                  </a:lnTo>
                  <a:lnTo>
                    <a:pt x="4158" y="4198"/>
                  </a:lnTo>
                  <a:lnTo>
                    <a:pt x="4160" y="4189"/>
                  </a:lnTo>
                  <a:lnTo>
                    <a:pt x="4162" y="4180"/>
                  </a:lnTo>
                  <a:lnTo>
                    <a:pt x="4163" y="4170"/>
                  </a:lnTo>
                  <a:lnTo>
                    <a:pt x="4164" y="4161"/>
                  </a:lnTo>
                  <a:lnTo>
                    <a:pt x="4164" y="4151"/>
                  </a:lnTo>
                  <a:lnTo>
                    <a:pt x="4163" y="4141"/>
                  </a:lnTo>
                  <a:lnTo>
                    <a:pt x="4163" y="4131"/>
                  </a:lnTo>
                  <a:lnTo>
                    <a:pt x="4160" y="4112"/>
                  </a:lnTo>
                  <a:lnTo>
                    <a:pt x="4156" y="4094"/>
                  </a:lnTo>
                  <a:lnTo>
                    <a:pt x="4150" y="4078"/>
                  </a:lnTo>
                  <a:lnTo>
                    <a:pt x="4143" y="4062"/>
                  </a:lnTo>
                  <a:lnTo>
                    <a:pt x="4134" y="4046"/>
                  </a:lnTo>
                  <a:lnTo>
                    <a:pt x="4124" y="4032"/>
                  </a:lnTo>
                  <a:lnTo>
                    <a:pt x="4113" y="4020"/>
                  </a:lnTo>
                  <a:lnTo>
                    <a:pt x="4100" y="4009"/>
                  </a:lnTo>
                  <a:lnTo>
                    <a:pt x="4066" y="3982"/>
                  </a:lnTo>
                  <a:lnTo>
                    <a:pt x="4033" y="3955"/>
                  </a:lnTo>
                  <a:lnTo>
                    <a:pt x="4000" y="3928"/>
                  </a:lnTo>
                  <a:lnTo>
                    <a:pt x="3966" y="3900"/>
                  </a:lnTo>
                  <a:lnTo>
                    <a:pt x="3933" y="3871"/>
                  </a:lnTo>
                  <a:lnTo>
                    <a:pt x="3900" y="3843"/>
                  </a:lnTo>
                  <a:lnTo>
                    <a:pt x="3867" y="3814"/>
                  </a:lnTo>
                  <a:lnTo>
                    <a:pt x="3833" y="3785"/>
                  </a:lnTo>
                  <a:lnTo>
                    <a:pt x="3862" y="3751"/>
                  </a:lnTo>
                  <a:lnTo>
                    <a:pt x="3889" y="3716"/>
                  </a:lnTo>
                  <a:lnTo>
                    <a:pt x="3915" y="3680"/>
                  </a:lnTo>
                  <a:lnTo>
                    <a:pt x="3941" y="3645"/>
                  </a:lnTo>
                  <a:lnTo>
                    <a:pt x="3966" y="3609"/>
                  </a:lnTo>
                  <a:lnTo>
                    <a:pt x="3991" y="3574"/>
                  </a:lnTo>
                  <a:lnTo>
                    <a:pt x="4015" y="3537"/>
                  </a:lnTo>
                  <a:lnTo>
                    <a:pt x="4037" y="3502"/>
                  </a:lnTo>
                  <a:lnTo>
                    <a:pt x="4060" y="3466"/>
                  </a:lnTo>
                  <a:lnTo>
                    <a:pt x="4081" y="3430"/>
                  </a:lnTo>
                  <a:lnTo>
                    <a:pt x="4103" y="3394"/>
                  </a:lnTo>
                  <a:lnTo>
                    <a:pt x="4122" y="3357"/>
                  </a:lnTo>
                  <a:lnTo>
                    <a:pt x="4142" y="3321"/>
                  </a:lnTo>
                  <a:lnTo>
                    <a:pt x="4160" y="3285"/>
                  </a:lnTo>
                  <a:lnTo>
                    <a:pt x="4178" y="3250"/>
                  </a:lnTo>
                  <a:lnTo>
                    <a:pt x="4195" y="3214"/>
                  </a:lnTo>
                  <a:lnTo>
                    <a:pt x="4211" y="3177"/>
                  </a:lnTo>
                  <a:lnTo>
                    <a:pt x="4228" y="3141"/>
                  </a:lnTo>
                  <a:lnTo>
                    <a:pt x="4242" y="3105"/>
                  </a:lnTo>
                  <a:lnTo>
                    <a:pt x="4256" y="3070"/>
                  </a:lnTo>
                  <a:lnTo>
                    <a:pt x="4269" y="3034"/>
                  </a:lnTo>
                  <a:lnTo>
                    <a:pt x="4281" y="2998"/>
                  </a:lnTo>
                  <a:lnTo>
                    <a:pt x="4292" y="2963"/>
                  </a:lnTo>
                  <a:lnTo>
                    <a:pt x="4302" y="2929"/>
                  </a:lnTo>
                  <a:lnTo>
                    <a:pt x="4312" y="2895"/>
                  </a:lnTo>
                  <a:lnTo>
                    <a:pt x="4320" y="2859"/>
                  </a:lnTo>
                  <a:lnTo>
                    <a:pt x="4328" y="2826"/>
                  </a:lnTo>
                  <a:lnTo>
                    <a:pt x="4335" y="2792"/>
                  </a:lnTo>
                  <a:lnTo>
                    <a:pt x="4342" y="2759"/>
                  </a:lnTo>
                  <a:lnTo>
                    <a:pt x="4348" y="2726"/>
                  </a:lnTo>
                  <a:lnTo>
                    <a:pt x="4352" y="2693"/>
                  </a:lnTo>
                  <a:lnTo>
                    <a:pt x="4356" y="2660"/>
                  </a:lnTo>
                  <a:lnTo>
                    <a:pt x="4359" y="2627"/>
                  </a:lnTo>
                  <a:lnTo>
                    <a:pt x="4361" y="2596"/>
                  </a:lnTo>
                  <a:lnTo>
                    <a:pt x="4362" y="2564"/>
                  </a:lnTo>
                  <a:lnTo>
                    <a:pt x="4362" y="2533"/>
                  </a:lnTo>
                  <a:lnTo>
                    <a:pt x="4361" y="2501"/>
                  </a:lnTo>
                  <a:lnTo>
                    <a:pt x="4360" y="2471"/>
                  </a:lnTo>
                  <a:lnTo>
                    <a:pt x="4357" y="2441"/>
                  </a:lnTo>
                  <a:lnTo>
                    <a:pt x="4354" y="2412"/>
                  </a:lnTo>
                  <a:lnTo>
                    <a:pt x="4350" y="2382"/>
                  </a:lnTo>
                  <a:lnTo>
                    <a:pt x="4345" y="2354"/>
                  </a:lnTo>
                  <a:lnTo>
                    <a:pt x="4338" y="2324"/>
                  </a:lnTo>
                  <a:lnTo>
                    <a:pt x="4331" y="2296"/>
                  </a:lnTo>
                  <a:lnTo>
                    <a:pt x="4323" y="2268"/>
                  </a:lnTo>
                  <a:lnTo>
                    <a:pt x="4315" y="2241"/>
                  </a:lnTo>
                  <a:lnTo>
                    <a:pt x="4306" y="2214"/>
                  </a:lnTo>
                  <a:lnTo>
                    <a:pt x="4296" y="2187"/>
                  </a:lnTo>
                  <a:lnTo>
                    <a:pt x="4285" y="2159"/>
                  </a:lnTo>
                  <a:lnTo>
                    <a:pt x="4273" y="2133"/>
                  </a:lnTo>
                  <a:lnTo>
                    <a:pt x="4260" y="2107"/>
                  </a:lnTo>
                  <a:lnTo>
                    <a:pt x="4245" y="2082"/>
                  </a:lnTo>
                  <a:lnTo>
                    <a:pt x="4230" y="2057"/>
                  </a:lnTo>
                  <a:lnTo>
                    <a:pt x="4213" y="2032"/>
                  </a:lnTo>
                  <a:lnTo>
                    <a:pt x="4196" y="2007"/>
                  </a:lnTo>
                  <a:lnTo>
                    <a:pt x="4178" y="1983"/>
                  </a:lnTo>
                  <a:lnTo>
                    <a:pt x="4159" y="1960"/>
                  </a:lnTo>
                  <a:lnTo>
                    <a:pt x="4139" y="1936"/>
                  </a:lnTo>
                  <a:lnTo>
                    <a:pt x="4118" y="1913"/>
                  </a:lnTo>
                  <a:lnTo>
                    <a:pt x="4095" y="1890"/>
                  </a:lnTo>
                  <a:lnTo>
                    <a:pt x="4071" y="1867"/>
                  </a:lnTo>
                  <a:lnTo>
                    <a:pt x="4047" y="1845"/>
                  </a:lnTo>
                  <a:lnTo>
                    <a:pt x="4022" y="1821"/>
                  </a:lnTo>
                  <a:lnTo>
                    <a:pt x="3995" y="17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01" name="ïS1ïdê">
              <a:extLst>
                <a:ext uri="{FF2B5EF4-FFF2-40B4-BE49-F238E27FC236}">
                  <a16:creationId xmlns:a16="http://schemas.microsoft.com/office/drawing/2014/main" id="{11285A33-1C60-43F5-B13D-962CDA03397D}"/>
                </a:ext>
              </a:extLst>
            </p:cNvPr>
            <p:cNvSpPr/>
            <p:nvPr/>
          </p:nvSpPr>
          <p:spPr bwMode="auto">
            <a:xfrm>
              <a:off x="7009767" y="2393269"/>
              <a:ext cx="93058" cy="97288"/>
            </a:xfrm>
            <a:custGeom>
              <a:avLst/>
              <a:gdLst>
                <a:gd name="T0" fmla="*/ 1968 w 2440"/>
                <a:gd name="T1" fmla="*/ 101 h 2551"/>
                <a:gd name="T2" fmla="*/ 1793 w 2440"/>
                <a:gd name="T3" fmla="*/ 240 h 2551"/>
                <a:gd name="T4" fmla="*/ 1619 w 2440"/>
                <a:gd name="T5" fmla="*/ 382 h 2551"/>
                <a:gd name="T6" fmla="*/ 1449 w 2440"/>
                <a:gd name="T7" fmla="*/ 528 h 2551"/>
                <a:gd name="T8" fmla="*/ 1283 w 2440"/>
                <a:gd name="T9" fmla="*/ 680 h 2551"/>
                <a:gd name="T10" fmla="*/ 1120 w 2440"/>
                <a:gd name="T11" fmla="*/ 836 h 2551"/>
                <a:gd name="T12" fmla="*/ 969 w 2440"/>
                <a:gd name="T13" fmla="*/ 992 h 2551"/>
                <a:gd name="T14" fmla="*/ 824 w 2440"/>
                <a:gd name="T15" fmla="*/ 1150 h 2551"/>
                <a:gd name="T16" fmla="*/ 684 w 2440"/>
                <a:gd name="T17" fmla="*/ 1310 h 2551"/>
                <a:gd name="T18" fmla="*/ 551 w 2440"/>
                <a:gd name="T19" fmla="*/ 1472 h 2551"/>
                <a:gd name="T20" fmla="*/ 425 w 2440"/>
                <a:gd name="T21" fmla="*/ 1636 h 2551"/>
                <a:gd name="T22" fmla="*/ 40 w 2440"/>
                <a:gd name="T23" fmla="*/ 2162 h 2551"/>
                <a:gd name="T24" fmla="*/ 12 w 2440"/>
                <a:gd name="T25" fmla="*/ 2221 h 2551"/>
                <a:gd name="T26" fmla="*/ 0 w 2440"/>
                <a:gd name="T27" fmla="*/ 2282 h 2551"/>
                <a:gd name="T28" fmla="*/ 4 w 2440"/>
                <a:gd name="T29" fmla="*/ 2345 h 2551"/>
                <a:gd name="T30" fmla="*/ 23 w 2440"/>
                <a:gd name="T31" fmla="*/ 2406 h 2551"/>
                <a:gd name="T32" fmla="*/ 59 w 2440"/>
                <a:gd name="T33" fmla="*/ 2461 h 2551"/>
                <a:gd name="T34" fmla="*/ 93 w 2440"/>
                <a:gd name="T35" fmla="*/ 2494 h 2551"/>
                <a:gd name="T36" fmla="*/ 123 w 2440"/>
                <a:gd name="T37" fmla="*/ 2516 h 2551"/>
                <a:gd name="T38" fmla="*/ 156 w 2440"/>
                <a:gd name="T39" fmla="*/ 2532 h 2551"/>
                <a:gd name="T40" fmla="*/ 192 w 2440"/>
                <a:gd name="T41" fmla="*/ 2544 h 2551"/>
                <a:gd name="T42" fmla="*/ 228 w 2440"/>
                <a:gd name="T43" fmla="*/ 2550 h 2551"/>
                <a:gd name="T44" fmla="*/ 264 w 2440"/>
                <a:gd name="T45" fmla="*/ 2551 h 2551"/>
                <a:gd name="T46" fmla="*/ 301 w 2440"/>
                <a:gd name="T47" fmla="*/ 2547 h 2551"/>
                <a:gd name="T48" fmla="*/ 336 w 2440"/>
                <a:gd name="T49" fmla="*/ 2536 h 2551"/>
                <a:gd name="T50" fmla="*/ 370 w 2440"/>
                <a:gd name="T51" fmla="*/ 2522 h 2551"/>
                <a:gd name="T52" fmla="*/ 402 w 2440"/>
                <a:gd name="T53" fmla="*/ 2502 h 2551"/>
                <a:gd name="T54" fmla="*/ 432 w 2440"/>
                <a:gd name="T55" fmla="*/ 2477 h 2551"/>
                <a:gd name="T56" fmla="*/ 461 w 2440"/>
                <a:gd name="T57" fmla="*/ 2440 h 2551"/>
                <a:gd name="T58" fmla="*/ 829 w 2440"/>
                <a:gd name="T59" fmla="*/ 1936 h 2551"/>
                <a:gd name="T60" fmla="*/ 946 w 2440"/>
                <a:gd name="T61" fmla="*/ 1784 h 2551"/>
                <a:gd name="T62" fmla="*/ 1070 w 2440"/>
                <a:gd name="T63" fmla="*/ 1633 h 2551"/>
                <a:gd name="T64" fmla="*/ 1200 w 2440"/>
                <a:gd name="T65" fmla="*/ 1484 h 2551"/>
                <a:gd name="T66" fmla="*/ 1336 w 2440"/>
                <a:gd name="T67" fmla="*/ 1337 h 2551"/>
                <a:gd name="T68" fmla="*/ 1477 w 2440"/>
                <a:gd name="T69" fmla="*/ 1193 h 2551"/>
                <a:gd name="T70" fmla="*/ 1634 w 2440"/>
                <a:gd name="T71" fmla="*/ 1040 h 2551"/>
                <a:gd name="T72" fmla="*/ 1791 w 2440"/>
                <a:gd name="T73" fmla="*/ 898 h 2551"/>
                <a:gd name="T74" fmla="*/ 1948 w 2440"/>
                <a:gd name="T75" fmla="*/ 762 h 2551"/>
                <a:gd name="T76" fmla="*/ 2111 w 2440"/>
                <a:gd name="T77" fmla="*/ 629 h 2551"/>
                <a:gd name="T78" fmla="*/ 2282 w 2440"/>
                <a:gd name="T79" fmla="*/ 495 h 2551"/>
                <a:gd name="T80" fmla="*/ 2353 w 2440"/>
                <a:gd name="T81" fmla="*/ 440 h 2551"/>
                <a:gd name="T82" fmla="*/ 2383 w 2440"/>
                <a:gd name="T83" fmla="*/ 410 h 2551"/>
                <a:gd name="T84" fmla="*/ 2405 w 2440"/>
                <a:gd name="T85" fmla="*/ 379 h 2551"/>
                <a:gd name="T86" fmla="*/ 2421 w 2440"/>
                <a:gd name="T87" fmla="*/ 346 h 2551"/>
                <a:gd name="T88" fmla="*/ 2433 w 2440"/>
                <a:gd name="T89" fmla="*/ 311 h 2551"/>
                <a:gd name="T90" fmla="*/ 2439 w 2440"/>
                <a:gd name="T91" fmla="*/ 275 h 2551"/>
                <a:gd name="T92" fmla="*/ 2439 w 2440"/>
                <a:gd name="T93" fmla="*/ 239 h 2551"/>
                <a:gd name="T94" fmla="*/ 2435 w 2440"/>
                <a:gd name="T95" fmla="*/ 203 h 2551"/>
                <a:gd name="T96" fmla="*/ 2426 w 2440"/>
                <a:gd name="T97" fmla="*/ 168 h 2551"/>
                <a:gd name="T98" fmla="*/ 2411 w 2440"/>
                <a:gd name="T99" fmla="*/ 133 h 2551"/>
                <a:gd name="T100" fmla="*/ 2391 w 2440"/>
                <a:gd name="T101" fmla="*/ 101 h 2551"/>
                <a:gd name="T102" fmla="*/ 2365 w 2440"/>
                <a:gd name="T103" fmla="*/ 72 h 2551"/>
                <a:gd name="T104" fmla="*/ 2338 w 2440"/>
                <a:gd name="T105" fmla="*/ 49 h 2551"/>
                <a:gd name="T106" fmla="*/ 2309 w 2440"/>
                <a:gd name="T107" fmla="*/ 30 h 2551"/>
                <a:gd name="T108" fmla="*/ 2277 w 2440"/>
                <a:gd name="T109" fmla="*/ 16 h 2551"/>
                <a:gd name="T110" fmla="*/ 2244 w 2440"/>
                <a:gd name="T111" fmla="*/ 6 h 2551"/>
                <a:gd name="T112" fmla="*/ 2211 w 2440"/>
                <a:gd name="T113" fmla="*/ 1 h 2551"/>
                <a:gd name="T114" fmla="*/ 2154 w 2440"/>
                <a:gd name="T115" fmla="*/ 2 h 2551"/>
                <a:gd name="T116" fmla="*/ 2120 w 2440"/>
                <a:gd name="T117" fmla="*/ 9 h 2551"/>
                <a:gd name="T118" fmla="*/ 2088 w 2440"/>
                <a:gd name="T119" fmla="*/ 20 h 2551"/>
                <a:gd name="T120" fmla="*/ 2057 w 2440"/>
                <a:gd name="T121" fmla="*/ 36 h 2551"/>
                <a:gd name="T122" fmla="*/ 2029 w 2440"/>
                <a:gd name="T123" fmla="*/ 56 h 2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440" h="2551">
                  <a:moveTo>
                    <a:pt x="2029" y="56"/>
                  </a:moveTo>
                  <a:lnTo>
                    <a:pt x="2028" y="56"/>
                  </a:lnTo>
                  <a:lnTo>
                    <a:pt x="1968" y="101"/>
                  </a:lnTo>
                  <a:lnTo>
                    <a:pt x="1910" y="147"/>
                  </a:lnTo>
                  <a:lnTo>
                    <a:pt x="1851" y="193"/>
                  </a:lnTo>
                  <a:lnTo>
                    <a:pt x="1793" y="240"/>
                  </a:lnTo>
                  <a:lnTo>
                    <a:pt x="1734" y="286"/>
                  </a:lnTo>
                  <a:lnTo>
                    <a:pt x="1677" y="333"/>
                  </a:lnTo>
                  <a:lnTo>
                    <a:pt x="1619" y="382"/>
                  </a:lnTo>
                  <a:lnTo>
                    <a:pt x="1562" y="430"/>
                  </a:lnTo>
                  <a:lnTo>
                    <a:pt x="1505" y="478"/>
                  </a:lnTo>
                  <a:lnTo>
                    <a:pt x="1449" y="528"/>
                  </a:lnTo>
                  <a:lnTo>
                    <a:pt x="1394" y="578"/>
                  </a:lnTo>
                  <a:lnTo>
                    <a:pt x="1337" y="628"/>
                  </a:lnTo>
                  <a:lnTo>
                    <a:pt x="1283" y="680"/>
                  </a:lnTo>
                  <a:lnTo>
                    <a:pt x="1228" y="732"/>
                  </a:lnTo>
                  <a:lnTo>
                    <a:pt x="1174" y="784"/>
                  </a:lnTo>
                  <a:lnTo>
                    <a:pt x="1120" y="836"/>
                  </a:lnTo>
                  <a:lnTo>
                    <a:pt x="1069" y="889"/>
                  </a:lnTo>
                  <a:lnTo>
                    <a:pt x="1018" y="940"/>
                  </a:lnTo>
                  <a:lnTo>
                    <a:pt x="969" y="992"/>
                  </a:lnTo>
                  <a:lnTo>
                    <a:pt x="920" y="1045"/>
                  </a:lnTo>
                  <a:lnTo>
                    <a:pt x="871" y="1097"/>
                  </a:lnTo>
                  <a:lnTo>
                    <a:pt x="824" y="1150"/>
                  </a:lnTo>
                  <a:lnTo>
                    <a:pt x="776" y="1203"/>
                  </a:lnTo>
                  <a:lnTo>
                    <a:pt x="730" y="1257"/>
                  </a:lnTo>
                  <a:lnTo>
                    <a:pt x="684" y="1310"/>
                  </a:lnTo>
                  <a:lnTo>
                    <a:pt x="639" y="1364"/>
                  </a:lnTo>
                  <a:lnTo>
                    <a:pt x="594" y="1418"/>
                  </a:lnTo>
                  <a:lnTo>
                    <a:pt x="551" y="1472"/>
                  </a:lnTo>
                  <a:lnTo>
                    <a:pt x="508" y="1527"/>
                  </a:lnTo>
                  <a:lnTo>
                    <a:pt x="466" y="1582"/>
                  </a:lnTo>
                  <a:lnTo>
                    <a:pt x="425" y="1636"/>
                  </a:lnTo>
                  <a:lnTo>
                    <a:pt x="383" y="1692"/>
                  </a:lnTo>
                  <a:lnTo>
                    <a:pt x="39" y="2161"/>
                  </a:lnTo>
                  <a:lnTo>
                    <a:pt x="40" y="2162"/>
                  </a:lnTo>
                  <a:lnTo>
                    <a:pt x="29" y="2180"/>
                  </a:lnTo>
                  <a:lnTo>
                    <a:pt x="20" y="2201"/>
                  </a:lnTo>
                  <a:lnTo>
                    <a:pt x="12" y="2221"/>
                  </a:lnTo>
                  <a:lnTo>
                    <a:pt x="6" y="2241"/>
                  </a:lnTo>
                  <a:lnTo>
                    <a:pt x="2" y="2262"/>
                  </a:lnTo>
                  <a:lnTo>
                    <a:pt x="0" y="2282"/>
                  </a:lnTo>
                  <a:lnTo>
                    <a:pt x="0" y="2303"/>
                  </a:lnTo>
                  <a:lnTo>
                    <a:pt x="1" y="2324"/>
                  </a:lnTo>
                  <a:lnTo>
                    <a:pt x="4" y="2345"/>
                  </a:lnTo>
                  <a:lnTo>
                    <a:pt x="8" y="2365"/>
                  </a:lnTo>
                  <a:lnTo>
                    <a:pt x="15" y="2387"/>
                  </a:lnTo>
                  <a:lnTo>
                    <a:pt x="23" y="2406"/>
                  </a:lnTo>
                  <a:lnTo>
                    <a:pt x="33" y="2425"/>
                  </a:lnTo>
                  <a:lnTo>
                    <a:pt x="44" y="2443"/>
                  </a:lnTo>
                  <a:lnTo>
                    <a:pt x="59" y="2461"/>
                  </a:lnTo>
                  <a:lnTo>
                    <a:pt x="74" y="2477"/>
                  </a:lnTo>
                  <a:lnTo>
                    <a:pt x="83" y="2486"/>
                  </a:lnTo>
                  <a:lnTo>
                    <a:pt x="93" y="2494"/>
                  </a:lnTo>
                  <a:lnTo>
                    <a:pt x="103" y="2502"/>
                  </a:lnTo>
                  <a:lnTo>
                    <a:pt x="113" y="2509"/>
                  </a:lnTo>
                  <a:lnTo>
                    <a:pt x="123" y="2516"/>
                  </a:lnTo>
                  <a:lnTo>
                    <a:pt x="134" y="2522"/>
                  </a:lnTo>
                  <a:lnTo>
                    <a:pt x="145" y="2527"/>
                  </a:lnTo>
                  <a:lnTo>
                    <a:pt x="156" y="2532"/>
                  </a:lnTo>
                  <a:lnTo>
                    <a:pt x="168" y="2536"/>
                  </a:lnTo>
                  <a:lnTo>
                    <a:pt x="180" y="2541"/>
                  </a:lnTo>
                  <a:lnTo>
                    <a:pt x="192" y="2544"/>
                  </a:lnTo>
                  <a:lnTo>
                    <a:pt x="204" y="2547"/>
                  </a:lnTo>
                  <a:lnTo>
                    <a:pt x="216" y="2549"/>
                  </a:lnTo>
                  <a:lnTo>
                    <a:pt x="228" y="2550"/>
                  </a:lnTo>
                  <a:lnTo>
                    <a:pt x="240" y="2551"/>
                  </a:lnTo>
                  <a:lnTo>
                    <a:pt x="252" y="2551"/>
                  </a:lnTo>
                  <a:lnTo>
                    <a:pt x="264" y="2551"/>
                  </a:lnTo>
                  <a:lnTo>
                    <a:pt x="276" y="2550"/>
                  </a:lnTo>
                  <a:lnTo>
                    <a:pt x="288" y="2549"/>
                  </a:lnTo>
                  <a:lnTo>
                    <a:pt x="301" y="2547"/>
                  </a:lnTo>
                  <a:lnTo>
                    <a:pt x="313" y="2544"/>
                  </a:lnTo>
                  <a:lnTo>
                    <a:pt x="324" y="2541"/>
                  </a:lnTo>
                  <a:lnTo>
                    <a:pt x="336" y="2536"/>
                  </a:lnTo>
                  <a:lnTo>
                    <a:pt x="347" y="2532"/>
                  </a:lnTo>
                  <a:lnTo>
                    <a:pt x="359" y="2527"/>
                  </a:lnTo>
                  <a:lnTo>
                    <a:pt x="370" y="2522"/>
                  </a:lnTo>
                  <a:lnTo>
                    <a:pt x="381" y="2516"/>
                  </a:lnTo>
                  <a:lnTo>
                    <a:pt x="391" y="2509"/>
                  </a:lnTo>
                  <a:lnTo>
                    <a:pt x="402" y="2502"/>
                  </a:lnTo>
                  <a:lnTo>
                    <a:pt x="412" y="2494"/>
                  </a:lnTo>
                  <a:lnTo>
                    <a:pt x="422" y="2486"/>
                  </a:lnTo>
                  <a:lnTo>
                    <a:pt x="432" y="2477"/>
                  </a:lnTo>
                  <a:lnTo>
                    <a:pt x="442" y="2465"/>
                  </a:lnTo>
                  <a:lnTo>
                    <a:pt x="452" y="2453"/>
                  </a:lnTo>
                  <a:lnTo>
                    <a:pt x="461" y="2440"/>
                  </a:lnTo>
                  <a:lnTo>
                    <a:pt x="469" y="2427"/>
                  </a:lnTo>
                  <a:lnTo>
                    <a:pt x="791" y="1987"/>
                  </a:lnTo>
                  <a:lnTo>
                    <a:pt x="829" y="1936"/>
                  </a:lnTo>
                  <a:lnTo>
                    <a:pt x="867" y="1886"/>
                  </a:lnTo>
                  <a:lnTo>
                    <a:pt x="907" y="1834"/>
                  </a:lnTo>
                  <a:lnTo>
                    <a:pt x="946" y="1784"/>
                  </a:lnTo>
                  <a:lnTo>
                    <a:pt x="987" y="1734"/>
                  </a:lnTo>
                  <a:lnTo>
                    <a:pt x="1029" y="1683"/>
                  </a:lnTo>
                  <a:lnTo>
                    <a:pt x="1070" y="1633"/>
                  </a:lnTo>
                  <a:lnTo>
                    <a:pt x="1113" y="1583"/>
                  </a:lnTo>
                  <a:lnTo>
                    <a:pt x="1157" y="1534"/>
                  </a:lnTo>
                  <a:lnTo>
                    <a:pt x="1200" y="1484"/>
                  </a:lnTo>
                  <a:lnTo>
                    <a:pt x="1244" y="1435"/>
                  </a:lnTo>
                  <a:lnTo>
                    <a:pt x="1290" y="1386"/>
                  </a:lnTo>
                  <a:lnTo>
                    <a:pt x="1336" y="1337"/>
                  </a:lnTo>
                  <a:lnTo>
                    <a:pt x="1382" y="1288"/>
                  </a:lnTo>
                  <a:lnTo>
                    <a:pt x="1429" y="1241"/>
                  </a:lnTo>
                  <a:lnTo>
                    <a:pt x="1477" y="1193"/>
                  </a:lnTo>
                  <a:lnTo>
                    <a:pt x="1530" y="1140"/>
                  </a:lnTo>
                  <a:lnTo>
                    <a:pt x="1582" y="1090"/>
                  </a:lnTo>
                  <a:lnTo>
                    <a:pt x="1634" y="1040"/>
                  </a:lnTo>
                  <a:lnTo>
                    <a:pt x="1686" y="991"/>
                  </a:lnTo>
                  <a:lnTo>
                    <a:pt x="1738" y="944"/>
                  </a:lnTo>
                  <a:lnTo>
                    <a:pt x="1791" y="898"/>
                  </a:lnTo>
                  <a:lnTo>
                    <a:pt x="1842" y="852"/>
                  </a:lnTo>
                  <a:lnTo>
                    <a:pt x="1896" y="806"/>
                  </a:lnTo>
                  <a:lnTo>
                    <a:pt x="1948" y="762"/>
                  </a:lnTo>
                  <a:lnTo>
                    <a:pt x="2001" y="718"/>
                  </a:lnTo>
                  <a:lnTo>
                    <a:pt x="2056" y="673"/>
                  </a:lnTo>
                  <a:lnTo>
                    <a:pt x="2111" y="629"/>
                  </a:lnTo>
                  <a:lnTo>
                    <a:pt x="2167" y="585"/>
                  </a:lnTo>
                  <a:lnTo>
                    <a:pt x="2223" y="541"/>
                  </a:lnTo>
                  <a:lnTo>
                    <a:pt x="2282" y="495"/>
                  </a:lnTo>
                  <a:lnTo>
                    <a:pt x="2341" y="450"/>
                  </a:lnTo>
                  <a:lnTo>
                    <a:pt x="2340" y="449"/>
                  </a:lnTo>
                  <a:lnTo>
                    <a:pt x="2353" y="440"/>
                  </a:lnTo>
                  <a:lnTo>
                    <a:pt x="2365" y="429"/>
                  </a:lnTo>
                  <a:lnTo>
                    <a:pt x="2375" y="419"/>
                  </a:lnTo>
                  <a:lnTo>
                    <a:pt x="2383" y="410"/>
                  </a:lnTo>
                  <a:lnTo>
                    <a:pt x="2391" y="400"/>
                  </a:lnTo>
                  <a:lnTo>
                    <a:pt x="2398" y="390"/>
                  </a:lnTo>
                  <a:lnTo>
                    <a:pt x="2405" y="379"/>
                  </a:lnTo>
                  <a:lnTo>
                    <a:pt x="2411" y="368"/>
                  </a:lnTo>
                  <a:lnTo>
                    <a:pt x="2416" y="357"/>
                  </a:lnTo>
                  <a:lnTo>
                    <a:pt x="2421" y="346"/>
                  </a:lnTo>
                  <a:lnTo>
                    <a:pt x="2426" y="334"/>
                  </a:lnTo>
                  <a:lnTo>
                    <a:pt x="2429" y="322"/>
                  </a:lnTo>
                  <a:lnTo>
                    <a:pt x="2433" y="311"/>
                  </a:lnTo>
                  <a:lnTo>
                    <a:pt x="2435" y="299"/>
                  </a:lnTo>
                  <a:lnTo>
                    <a:pt x="2437" y="287"/>
                  </a:lnTo>
                  <a:lnTo>
                    <a:pt x="2439" y="275"/>
                  </a:lnTo>
                  <a:lnTo>
                    <a:pt x="2439" y="263"/>
                  </a:lnTo>
                  <a:lnTo>
                    <a:pt x="2440" y="251"/>
                  </a:lnTo>
                  <a:lnTo>
                    <a:pt x="2439" y="239"/>
                  </a:lnTo>
                  <a:lnTo>
                    <a:pt x="2439" y="227"/>
                  </a:lnTo>
                  <a:lnTo>
                    <a:pt x="2437" y="215"/>
                  </a:lnTo>
                  <a:lnTo>
                    <a:pt x="2435" y="203"/>
                  </a:lnTo>
                  <a:lnTo>
                    <a:pt x="2433" y="191"/>
                  </a:lnTo>
                  <a:lnTo>
                    <a:pt x="2429" y="179"/>
                  </a:lnTo>
                  <a:lnTo>
                    <a:pt x="2426" y="168"/>
                  </a:lnTo>
                  <a:lnTo>
                    <a:pt x="2421" y="155"/>
                  </a:lnTo>
                  <a:lnTo>
                    <a:pt x="2416" y="144"/>
                  </a:lnTo>
                  <a:lnTo>
                    <a:pt x="2411" y="133"/>
                  </a:lnTo>
                  <a:lnTo>
                    <a:pt x="2405" y="122"/>
                  </a:lnTo>
                  <a:lnTo>
                    <a:pt x="2398" y="112"/>
                  </a:lnTo>
                  <a:lnTo>
                    <a:pt x="2391" y="101"/>
                  </a:lnTo>
                  <a:lnTo>
                    <a:pt x="2383" y="91"/>
                  </a:lnTo>
                  <a:lnTo>
                    <a:pt x="2375" y="82"/>
                  </a:lnTo>
                  <a:lnTo>
                    <a:pt x="2365" y="72"/>
                  </a:lnTo>
                  <a:lnTo>
                    <a:pt x="2356" y="64"/>
                  </a:lnTo>
                  <a:lnTo>
                    <a:pt x="2347" y="56"/>
                  </a:lnTo>
                  <a:lnTo>
                    <a:pt x="2338" y="49"/>
                  </a:lnTo>
                  <a:lnTo>
                    <a:pt x="2329" y="42"/>
                  </a:lnTo>
                  <a:lnTo>
                    <a:pt x="2319" y="36"/>
                  </a:lnTo>
                  <a:lnTo>
                    <a:pt x="2309" y="30"/>
                  </a:lnTo>
                  <a:lnTo>
                    <a:pt x="2298" y="25"/>
                  </a:lnTo>
                  <a:lnTo>
                    <a:pt x="2288" y="20"/>
                  </a:lnTo>
                  <a:lnTo>
                    <a:pt x="2277" y="16"/>
                  </a:lnTo>
                  <a:lnTo>
                    <a:pt x="2267" y="12"/>
                  </a:lnTo>
                  <a:lnTo>
                    <a:pt x="2256" y="9"/>
                  </a:lnTo>
                  <a:lnTo>
                    <a:pt x="2244" y="6"/>
                  </a:lnTo>
                  <a:lnTo>
                    <a:pt x="2233" y="4"/>
                  </a:lnTo>
                  <a:lnTo>
                    <a:pt x="2222" y="2"/>
                  </a:lnTo>
                  <a:lnTo>
                    <a:pt x="2211" y="1"/>
                  </a:lnTo>
                  <a:lnTo>
                    <a:pt x="2199" y="0"/>
                  </a:lnTo>
                  <a:lnTo>
                    <a:pt x="2177" y="0"/>
                  </a:lnTo>
                  <a:lnTo>
                    <a:pt x="2154" y="2"/>
                  </a:lnTo>
                  <a:lnTo>
                    <a:pt x="2143" y="4"/>
                  </a:lnTo>
                  <a:lnTo>
                    <a:pt x="2132" y="6"/>
                  </a:lnTo>
                  <a:lnTo>
                    <a:pt x="2120" y="9"/>
                  </a:lnTo>
                  <a:lnTo>
                    <a:pt x="2109" y="12"/>
                  </a:lnTo>
                  <a:lnTo>
                    <a:pt x="2099" y="16"/>
                  </a:lnTo>
                  <a:lnTo>
                    <a:pt x="2088" y="20"/>
                  </a:lnTo>
                  <a:lnTo>
                    <a:pt x="2078" y="25"/>
                  </a:lnTo>
                  <a:lnTo>
                    <a:pt x="2067" y="30"/>
                  </a:lnTo>
                  <a:lnTo>
                    <a:pt x="2057" y="36"/>
                  </a:lnTo>
                  <a:lnTo>
                    <a:pt x="2048" y="42"/>
                  </a:lnTo>
                  <a:lnTo>
                    <a:pt x="2038" y="49"/>
                  </a:lnTo>
                  <a:lnTo>
                    <a:pt x="2029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02" name="îṧḷîḓê">
              <a:extLst>
                <a:ext uri="{FF2B5EF4-FFF2-40B4-BE49-F238E27FC236}">
                  <a16:creationId xmlns:a16="http://schemas.microsoft.com/office/drawing/2014/main" id="{E6C40850-9D4B-44A6-A629-2FFE9EE51951}"/>
                </a:ext>
              </a:extLst>
            </p:cNvPr>
            <p:cNvSpPr/>
            <p:nvPr/>
          </p:nvSpPr>
          <p:spPr bwMode="auto">
            <a:xfrm>
              <a:off x="7119745" y="2064747"/>
              <a:ext cx="94469" cy="98698"/>
            </a:xfrm>
            <a:custGeom>
              <a:avLst/>
              <a:gdLst>
                <a:gd name="T0" fmla="*/ 830 w 2478"/>
                <a:gd name="T1" fmla="*/ 1534 h 2592"/>
                <a:gd name="T2" fmla="*/ 622 w 2478"/>
                <a:gd name="T3" fmla="*/ 1720 h 2592"/>
                <a:gd name="T4" fmla="*/ 408 w 2478"/>
                <a:gd name="T5" fmla="*/ 1899 h 2592"/>
                <a:gd name="T6" fmla="*/ 189 w 2478"/>
                <a:gd name="T7" fmla="*/ 2072 h 2592"/>
                <a:gd name="T8" fmla="*/ 89 w 2478"/>
                <a:gd name="T9" fmla="*/ 2144 h 2592"/>
                <a:gd name="T10" fmla="*/ 49 w 2478"/>
                <a:gd name="T11" fmla="*/ 2187 h 2592"/>
                <a:gd name="T12" fmla="*/ 24 w 2478"/>
                <a:gd name="T13" fmla="*/ 2230 h 2592"/>
                <a:gd name="T14" fmla="*/ 7 w 2478"/>
                <a:gd name="T15" fmla="*/ 2277 h 2592"/>
                <a:gd name="T16" fmla="*/ 1 w 2478"/>
                <a:gd name="T17" fmla="*/ 2325 h 2592"/>
                <a:gd name="T18" fmla="*/ 3 w 2478"/>
                <a:gd name="T19" fmla="*/ 2374 h 2592"/>
                <a:gd name="T20" fmla="*/ 14 w 2478"/>
                <a:gd name="T21" fmla="*/ 2421 h 2592"/>
                <a:gd name="T22" fmla="*/ 35 w 2478"/>
                <a:gd name="T23" fmla="*/ 2466 h 2592"/>
                <a:gd name="T24" fmla="*/ 65 w 2478"/>
                <a:gd name="T25" fmla="*/ 2508 h 2592"/>
                <a:gd name="T26" fmla="*/ 104 w 2478"/>
                <a:gd name="T27" fmla="*/ 2542 h 2592"/>
                <a:gd name="T28" fmla="*/ 145 w 2478"/>
                <a:gd name="T29" fmla="*/ 2567 h 2592"/>
                <a:gd name="T30" fmla="*/ 190 w 2478"/>
                <a:gd name="T31" fmla="*/ 2584 h 2592"/>
                <a:gd name="T32" fmla="*/ 238 w 2478"/>
                <a:gd name="T33" fmla="*/ 2591 h 2592"/>
                <a:gd name="T34" fmla="*/ 285 w 2478"/>
                <a:gd name="T35" fmla="*/ 2590 h 2592"/>
                <a:gd name="T36" fmla="*/ 333 w 2478"/>
                <a:gd name="T37" fmla="*/ 2579 h 2592"/>
                <a:gd name="T38" fmla="*/ 377 w 2478"/>
                <a:gd name="T39" fmla="*/ 2560 h 2592"/>
                <a:gd name="T40" fmla="*/ 418 w 2478"/>
                <a:gd name="T41" fmla="*/ 2533 h 2592"/>
                <a:gd name="T42" fmla="*/ 547 w 2478"/>
                <a:gd name="T43" fmla="*/ 2434 h 2592"/>
                <a:gd name="T44" fmla="*/ 780 w 2478"/>
                <a:gd name="T45" fmla="*/ 2246 h 2592"/>
                <a:gd name="T46" fmla="*/ 1007 w 2478"/>
                <a:gd name="T47" fmla="*/ 2052 h 2592"/>
                <a:gd name="T48" fmla="*/ 1228 w 2478"/>
                <a:gd name="T49" fmla="*/ 1849 h 2592"/>
                <a:gd name="T50" fmla="*/ 1438 w 2478"/>
                <a:gd name="T51" fmla="*/ 1640 h 2592"/>
                <a:gd name="T52" fmla="*/ 1632 w 2478"/>
                <a:gd name="T53" fmla="*/ 1431 h 2592"/>
                <a:gd name="T54" fmla="*/ 1817 w 2478"/>
                <a:gd name="T55" fmla="*/ 1217 h 2592"/>
                <a:gd name="T56" fmla="*/ 1990 w 2478"/>
                <a:gd name="T57" fmla="*/ 1000 h 2592"/>
                <a:gd name="T58" fmla="*/ 2417 w 2478"/>
                <a:gd name="T59" fmla="*/ 417 h 2592"/>
                <a:gd name="T60" fmla="*/ 2444 w 2478"/>
                <a:gd name="T61" fmla="*/ 378 h 2592"/>
                <a:gd name="T62" fmla="*/ 2464 w 2478"/>
                <a:gd name="T63" fmla="*/ 335 h 2592"/>
                <a:gd name="T64" fmla="*/ 2475 w 2478"/>
                <a:gd name="T65" fmla="*/ 289 h 2592"/>
                <a:gd name="T66" fmla="*/ 2478 w 2478"/>
                <a:gd name="T67" fmla="*/ 243 h 2592"/>
                <a:gd name="T68" fmla="*/ 2472 w 2478"/>
                <a:gd name="T69" fmla="*/ 198 h 2592"/>
                <a:gd name="T70" fmla="*/ 2458 w 2478"/>
                <a:gd name="T71" fmla="*/ 154 h 2592"/>
                <a:gd name="T72" fmla="*/ 2435 w 2478"/>
                <a:gd name="T73" fmla="*/ 111 h 2592"/>
                <a:gd name="T74" fmla="*/ 2403 w 2478"/>
                <a:gd name="T75" fmla="*/ 74 h 2592"/>
                <a:gd name="T76" fmla="*/ 2363 w 2478"/>
                <a:gd name="T77" fmla="*/ 41 h 2592"/>
                <a:gd name="T78" fmla="*/ 2320 w 2478"/>
                <a:gd name="T79" fmla="*/ 18 h 2592"/>
                <a:gd name="T80" fmla="*/ 2272 w 2478"/>
                <a:gd name="T81" fmla="*/ 4 h 2592"/>
                <a:gd name="T82" fmla="*/ 2224 w 2478"/>
                <a:gd name="T83" fmla="*/ 0 h 2592"/>
                <a:gd name="T84" fmla="*/ 2176 w 2478"/>
                <a:gd name="T85" fmla="*/ 4 h 2592"/>
                <a:gd name="T86" fmla="*/ 2128 w 2478"/>
                <a:gd name="T87" fmla="*/ 18 h 2592"/>
                <a:gd name="T88" fmla="*/ 2084 w 2478"/>
                <a:gd name="T89" fmla="*/ 41 h 2592"/>
                <a:gd name="T90" fmla="*/ 2044 w 2478"/>
                <a:gd name="T91" fmla="*/ 74 h 2592"/>
                <a:gd name="T92" fmla="*/ 2000 w 2478"/>
                <a:gd name="T93" fmla="*/ 136 h 2592"/>
                <a:gd name="T94" fmla="*/ 1549 w 2478"/>
                <a:gd name="T95" fmla="*/ 746 h 2592"/>
                <a:gd name="T96" fmla="*/ 1386 w 2478"/>
                <a:gd name="T97" fmla="*/ 948 h 2592"/>
                <a:gd name="T98" fmla="*/ 1212 w 2478"/>
                <a:gd name="T99" fmla="*/ 1146 h 2592"/>
                <a:gd name="T100" fmla="*/ 1027 w 2478"/>
                <a:gd name="T101" fmla="*/ 1341 h 2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478" h="2592">
                  <a:moveTo>
                    <a:pt x="980" y="1388"/>
                  </a:moveTo>
                  <a:lnTo>
                    <a:pt x="929" y="1437"/>
                  </a:lnTo>
                  <a:lnTo>
                    <a:pt x="880" y="1485"/>
                  </a:lnTo>
                  <a:lnTo>
                    <a:pt x="830" y="1534"/>
                  </a:lnTo>
                  <a:lnTo>
                    <a:pt x="778" y="1581"/>
                  </a:lnTo>
                  <a:lnTo>
                    <a:pt x="727" y="1627"/>
                  </a:lnTo>
                  <a:lnTo>
                    <a:pt x="674" y="1674"/>
                  </a:lnTo>
                  <a:lnTo>
                    <a:pt x="622" y="1720"/>
                  </a:lnTo>
                  <a:lnTo>
                    <a:pt x="569" y="1765"/>
                  </a:lnTo>
                  <a:lnTo>
                    <a:pt x="516" y="1810"/>
                  </a:lnTo>
                  <a:lnTo>
                    <a:pt x="463" y="1855"/>
                  </a:lnTo>
                  <a:lnTo>
                    <a:pt x="408" y="1899"/>
                  </a:lnTo>
                  <a:lnTo>
                    <a:pt x="354" y="1942"/>
                  </a:lnTo>
                  <a:lnTo>
                    <a:pt x="299" y="1985"/>
                  </a:lnTo>
                  <a:lnTo>
                    <a:pt x="245" y="2029"/>
                  </a:lnTo>
                  <a:lnTo>
                    <a:pt x="189" y="2072"/>
                  </a:lnTo>
                  <a:lnTo>
                    <a:pt x="134" y="2114"/>
                  </a:lnTo>
                  <a:lnTo>
                    <a:pt x="119" y="2123"/>
                  </a:lnTo>
                  <a:lnTo>
                    <a:pt x="103" y="2133"/>
                  </a:lnTo>
                  <a:lnTo>
                    <a:pt x="89" y="2144"/>
                  </a:lnTo>
                  <a:lnTo>
                    <a:pt x="74" y="2157"/>
                  </a:lnTo>
                  <a:lnTo>
                    <a:pt x="65" y="2166"/>
                  </a:lnTo>
                  <a:lnTo>
                    <a:pt x="57" y="2177"/>
                  </a:lnTo>
                  <a:lnTo>
                    <a:pt x="49" y="2187"/>
                  </a:lnTo>
                  <a:lnTo>
                    <a:pt x="42" y="2198"/>
                  </a:lnTo>
                  <a:lnTo>
                    <a:pt x="35" y="2208"/>
                  </a:lnTo>
                  <a:lnTo>
                    <a:pt x="29" y="2219"/>
                  </a:lnTo>
                  <a:lnTo>
                    <a:pt x="24" y="2230"/>
                  </a:lnTo>
                  <a:lnTo>
                    <a:pt x="19" y="2242"/>
                  </a:lnTo>
                  <a:lnTo>
                    <a:pt x="14" y="2253"/>
                  </a:lnTo>
                  <a:lnTo>
                    <a:pt x="11" y="2265"/>
                  </a:lnTo>
                  <a:lnTo>
                    <a:pt x="7" y="2277"/>
                  </a:lnTo>
                  <a:lnTo>
                    <a:pt x="5" y="2288"/>
                  </a:lnTo>
                  <a:lnTo>
                    <a:pt x="3" y="2300"/>
                  </a:lnTo>
                  <a:lnTo>
                    <a:pt x="1" y="2313"/>
                  </a:lnTo>
                  <a:lnTo>
                    <a:pt x="1" y="2325"/>
                  </a:lnTo>
                  <a:lnTo>
                    <a:pt x="0" y="2338"/>
                  </a:lnTo>
                  <a:lnTo>
                    <a:pt x="1" y="2350"/>
                  </a:lnTo>
                  <a:lnTo>
                    <a:pt x="1" y="2362"/>
                  </a:lnTo>
                  <a:lnTo>
                    <a:pt x="3" y="2374"/>
                  </a:lnTo>
                  <a:lnTo>
                    <a:pt x="5" y="2386"/>
                  </a:lnTo>
                  <a:lnTo>
                    <a:pt x="7" y="2398"/>
                  </a:lnTo>
                  <a:lnTo>
                    <a:pt x="11" y="2410"/>
                  </a:lnTo>
                  <a:lnTo>
                    <a:pt x="14" y="2421"/>
                  </a:lnTo>
                  <a:lnTo>
                    <a:pt x="19" y="2433"/>
                  </a:lnTo>
                  <a:lnTo>
                    <a:pt x="24" y="2444"/>
                  </a:lnTo>
                  <a:lnTo>
                    <a:pt x="29" y="2455"/>
                  </a:lnTo>
                  <a:lnTo>
                    <a:pt x="35" y="2466"/>
                  </a:lnTo>
                  <a:lnTo>
                    <a:pt x="42" y="2477"/>
                  </a:lnTo>
                  <a:lnTo>
                    <a:pt x="49" y="2487"/>
                  </a:lnTo>
                  <a:lnTo>
                    <a:pt x="57" y="2497"/>
                  </a:lnTo>
                  <a:lnTo>
                    <a:pt x="65" y="2508"/>
                  </a:lnTo>
                  <a:lnTo>
                    <a:pt x="74" y="2517"/>
                  </a:lnTo>
                  <a:lnTo>
                    <a:pt x="83" y="2526"/>
                  </a:lnTo>
                  <a:lnTo>
                    <a:pt x="94" y="2534"/>
                  </a:lnTo>
                  <a:lnTo>
                    <a:pt x="104" y="2542"/>
                  </a:lnTo>
                  <a:lnTo>
                    <a:pt x="114" y="2549"/>
                  </a:lnTo>
                  <a:lnTo>
                    <a:pt x="124" y="2556"/>
                  </a:lnTo>
                  <a:lnTo>
                    <a:pt x="135" y="2562"/>
                  </a:lnTo>
                  <a:lnTo>
                    <a:pt x="145" y="2567"/>
                  </a:lnTo>
                  <a:lnTo>
                    <a:pt x="156" y="2572"/>
                  </a:lnTo>
                  <a:lnTo>
                    <a:pt x="168" y="2577"/>
                  </a:lnTo>
                  <a:lnTo>
                    <a:pt x="179" y="2580"/>
                  </a:lnTo>
                  <a:lnTo>
                    <a:pt x="190" y="2584"/>
                  </a:lnTo>
                  <a:lnTo>
                    <a:pt x="202" y="2586"/>
                  </a:lnTo>
                  <a:lnTo>
                    <a:pt x="215" y="2588"/>
                  </a:lnTo>
                  <a:lnTo>
                    <a:pt x="226" y="2590"/>
                  </a:lnTo>
                  <a:lnTo>
                    <a:pt x="238" y="2591"/>
                  </a:lnTo>
                  <a:lnTo>
                    <a:pt x="250" y="2592"/>
                  </a:lnTo>
                  <a:lnTo>
                    <a:pt x="262" y="2591"/>
                  </a:lnTo>
                  <a:lnTo>
                    <a:pt x="274" y="2591"/>
                  </a:lnTo>
                  <a:lnTo>
                    <a:pt x="285" y="2590"/>
                  </a:lnTo>
                  <a:lnTo>
                    <a:pt x="297" y="2588"/>
                  </a:lnTo>
                  <a:lnTo>
                    <a:pt x="309" y="2586"/>
                  </a:lnTo>
                  <a:lnTo>
                    <a:pt x="320" y="2583"/>
                  </a:lnTo>
                  <a:lnTo>
                    <a:pt x="333" y="2579"/>
                  </a:lnTo>
                  <a:lnTo>
                    <a:pt x="344" y="2576"/>
                  </a:lnTo>
                  <a:lnTo>
                    <a:pt x="355" y="2571"/>
                  </a:lnTo>
                  <a:lnTo>
                    <a:pt x="366" y="2566"/>
                  </a:lnTo>
                  <a:lnTo>
                    <a:pt x="377" y="2560"/>
                  </a:lnTo>
                  <a:lnTo>
                    <a:pt x="388" y="2554"/>
                  </a:lnTo>
                  <a:lnTo>
                    <a:pt x="398" y="2548"/>
                  </a:lnTo>
                  <a:lnTo>
                    <a:pt x="408" y="2540"/>
                  </a:lnTo>
                  <a:lnTo>
                    <a:pt x="418" y="2533"/>
                  </a:lnTo>
                  <a:lnTo>
                    <a:pt x="427" y="2524"/>
                  </a:lnTo>
                  <a:lnTo>
                    <a:pt x="429" y="2525"/>
                  </a:lnTo>
                  <a:lnTo>
                    <a:pt x="488" y="2479"/>
                  </a:lnTo>
                  <a:lnTo>
                    <a:pt x="547" y="2434"/>
                  </a:lnTo>
                  <a:lnTo>
                    <a:pt x="606" y="2388"/>
                  </a:lnTo>
                  <a:lnTo>
                    <a:pt x="664" y="2341"/>
                  </a:lnTo>
                  <a:lnTo>
                    <a:pt x="722" y="2293"/>
                  </a:lnTo>
                  <a:lnTo>
                    <a:pt x="780" y="2246"/>
                  </a:lnTo>
                  <a:lnTo>
                    <a:pt x="837" y="2199"/>
                  </a:lnTo>
                  <a:lnTo>
                    <a:pt x="894" y="2150"/>
                  </a:lnTo>
                  <a:lnTo>
                    <a:pt x="951" y="2101"/>
                  </a:lnTo>
                  <a:lnTo>
                    <a:pt x="1007" y="2052"/>
                  </a:lnTo>
                  <a:lnTo>
                    <a:pt x="1063" y="2003"/>
                  </a:lnTo>
                  <a:lnTo>
                    <a:pt x="1119" y="1951"/>
                  </a:lnTo>
                  <a:lnTo>
                    <a:pt x="1173" y="1901"/>
                  </a:lnTo>
                  <a:lnTo>
                    <a:pt x="1228" y="1849"/>
                  </a:lnTo>
                  <a:lnTo>
                    <a:pt x="1282" y="1796"/>
                  </a:lnTo>
                  <a:lnTo>
                    <a:pt x="1336" y="1744"/>
                  </a:lnTo>
                  <a:lnTo>
                    <a:pt x="1387" y="1693"/>
                  </a:lnTo>
                  <a:lnTo>
                    <a:pt x="1438" y="1640"/>
                  </a:lnTo>
                  <a:lnTo>
                    <a:pt x="1487" y="1589"/>
                  </a:lnTo>
                  <a:lnTo>
                    <a:pt x="1536" y="1537"/>
                  </a:lnTo>
                  <a:lnTo>
                    <a:pt x="1585" y="1483"/>
                  </a:lnTo>
                  <a:lnTo>
                    <a:pt x="1632" y="1431"/>
                  </a:lnTo>
                  <a:lnTo>
                    <a:pt x="1680" y="1378"/>
                  </a:lnTo>
                  <a:lnTo>
                    <a:pt x="1726" y="1325"/>
                  </a:lnTo>
                  <a:lnTo>
                    <a:pt x="1772" y="1271"/>
                  </a:lnTo>
                  <a:lnTo>
                    <a:pt x="1817" y="1217"/>
                  </a:lnTo>
                  <a:lnTo>
                    <a:pt x="1861" y="1164"/>
                  </a:lnTo>
                  <a:lnTo>
                    <a:pt x="1905" y="1109"/>
                  </a:lnTo>
                  <a:lnTo>
                    <a:pt x="1948" y="1055"/>
                  </a:lnTo>
                  <a:lnTo>
                    <a:pt x="1990" y="1000"/>
                  </a:lnTo>
                  <a:lnTo>
                    <a:pt x="2031" y="945"/>
                  </a:lnTo>
                  <a:lnTo>
                    <a:pt x="2073" y="890"/>
                  </a:lnTo>
                  <a:lnTo>
                    <a:pt x="2418" y="418"/>
                  </a:lnTo>
                  <a:lnTo>
                    <a:pt x="2417" y="417"/>
                  </a:lnTo>
                  <a:lnTo>
                    <a:pt x="2424" y="408"/>
                  </a:lnTo>
                  <a:lnTo>
                    <a:pt x="2432" y="398"/>
                  </a:lnTo>
                  <a:lnTo>
                    <a:pt x="2438" y="388"/>
                  </a:lnTo>
                  <a:lnTo>
                    <a:pt x="2444" y="378"/>
                  </a:lnTo>
                  <a:lnTo>
                    <a:pt x="2450" y="367"/>
                  </a:lnTo>
                  <a:lnTo>
                    <a:pt x="2455" y="357"/>
                  </a:lnTo>
                  <a:lnTo>
                    <a:pt x="2460" y="346"/>
                  </a:lnTo>
                  <a:lnTo>
                    <a:pt x="2464" y="335"/>
                  </a:lnTo>
                  <a:lnTo>
                    <a:pt x="2467" y="324"/>
                  </a:lnTo>
                  <a:lnTo>
                    <a:pt x="2470" y="313"/>
                  </a:lnTo>
                  <a:lnTo>
                    <a:pt x="2473" y="301"/>
                  </a:lnTo>
                  <a:lnTo>
                    <a:pt x="2475" y="289"/>
                  </a:lnTo>
                  <a:lnTo>
                    <a:pt x="2476" y="278"/>
                  </a:lnTo>
                  <a:lnTo>
                    <a:pt x="2477" y="266"/>
                  </a:lnTo>
                  <a:lnTo>
                    <a:pt x="2478" y="255"/>
                  </a:lnTo>
                  <a:lnTo>
                    <a:pt x="2478" y="243"/>
                  </a:lnTo>
                  <a:lnTo>
                    <a:pt x="2477" y="232"/>
                  </a:lnTo>
                  <a:lnTo>
                    <a:pt x="2476" y="220"/>
                  </a:lnTo>
                  <a:lnTo>
                    <a:pt x="2474" y="209"/>
                  </a:lnTo>
                  <a:lnTo>
                    <a:pt x="2472" y="198"/>
                  </a:lnTo>
                  <a:lnTo>
                    <a:pt x="2469" y="186"/>
                  </a:lnTo>
                  <a:lnTo>
                    <a:pt x="2466" y="175"/>
                  </a:lnTo>
                  <a:lnTo>
                    <a:pt x="2462" y="164"/>
                  </a:lnTo>
                  <a:lnTo>
                    <a:pt x="2458" y="154"/>
                  </a:lnTo>
                  <a:lnTo>
                    <a:pt x="2453" y="143"/>
                  </a:lnTo>
                  <a:lnTo>
                    <a:pt x="2447" y="132"/>
                  </a:lnTo>
                  <a:lnTo>
                    <a:pt x="2441" y="121"/>
                  </a:lnTo>
                  <a:lnTo>
                    <a:pt x="2435" y="111"/>
                  </a:lnTo>
                  <a:lnTo>
                    <a:pt x="2428" y="101"/>
                  </a:lnTo>
                  <a:lnTo>
                    <a:pt x="2420" y="92"/>
                  </a:lnTo>
                  <a:lnTo>
                    <a:pt x="2412" y="83"/>
                  </a:lnTo>
                  <a:lnTo>
                    <a:pt x="2403" y="74"/>
                  </a:lnTo>
                  <a:lnTo>
                    <a:pt x="2393" y="65"/>
                  </a:lnTo>
                  <a:lnTo>
                    <a:pt x="2384" y="56"/>
                  </a:lnTo>
                  <a:lnTo>
                    <a:pt x="2374" y="49"/>
                  </a:lnTo>
                  <a:lnTo>
                    <a:pt x="2363" y="41"/>
                  </a:lnTo>
                  <a:lnTo>
                    <a:pt x="2353" y="35"/>
                  </a:lnTo>
                  <a:lnTo>
                    <a:pt x="2342" y="29"/>
                  </a:lnTo>
                  <a:lnTo>
                    <a:pt x="2331" y="23"/>
                  </a:lnTo>
                  <a:lnTo>
                    <a:pt x="2320" y="18"/>
                  </a:lnTo>
                  <a:lnTo>
                    <a:pt x="2308" y="14"/>
                  </a:lnTo>
                  <a:lnTo>
                    <a:pt x="2297" y="10"/>
                  </a:lnTo>
                  <a:lnTo>
                    <a:pt x="2284" y="7"/>
                  </a:lnTo>
                  <a:lnTo>
                    <a:pt x="2272" y="4"/>
                  </a:lnTo>
                  <a:lnTo>
                    <a:pt x="2260" y="2"/>
                  </a:lnTo>
                  <a:lnTo>
                    <a:pt x="2248" y="1"/>
                  </a:lnTo>
                  <a:lnTo>
                    <a:pt x="2236" y="0"/>
                  </a:lnTo>
                  <a:lnTo>
                    <a:pt x="2224" y="0"/>
                  </a:lnTo>
                  <a:lnTo>
                    <a:pt x="2212" y="0"/>
                  </a:lnTo>
                  <a:lnTo>
                    <a:pt x="2200" y="1"/>
                  </a:lnTo>
                  <a:lnTo>
                    <a:pt x="2188" y="2"/>
                  </a:lnTo>
                  <a:lnTo>
                    <a:pt x="2176" y="4"/>
                  </a:lnTo>
                  <a:lnTo>
                    <a:pt x="2163" y="7"/>
                  </a:lnTo>
                  <a:lnTo>
                    <a:pt x="2151" y="10"/>
                  </a:lnTo>
                  <a:lnTo>
                    <a:pt x="2139" y="14"/>
                  </a:lnTo>
                  <a:lnTo>
                    <a:pt x="2128" y="18"/>
                  </a:lnTo>
                  <a:lnTo>
                    <a:pt x="2117" y="23"/>
                  </a:lnTo>
                  <a:lnTo>
                    <a:pt x="2105" y="29"/>
                  </a:lnTo>
                  <a:lnTo>
                    <a:pt x="2095" y="35"/>
                  </a:lnTo>
                  <a:lnTo>
                    <a:pt x="2084" y="41"/>
                  </a:lnTo>
                  <a:lnTo>
                    <a:pt x="2074" y="49"/>
                  </a:lnTo>
                  <a:lnTo>
                    <a:pt x="2063" y="56"/>
                  </a:lnTo>
                  <a:lnTo>
                    <a:pt x="2054" y="65"/>
                  </a:lnTo>
                  <a:lnTo>
                    <a:pt x="2044" y="74"/>
                  </a:lnTo>
                  <a:lnTo>
                    <a:pt x="2031" y="88"/>
                  </a:lnTo>
                  <a:lnTo>
                    <a:pt x="2019" y="103"/>
                  </a:lnTo>
                  <a:lnTo>
                    <a:pt x="2009" y="119"/>
                  </a:lnTo>
                  <a:lnTo>
                    <a:pt x="2000" y="136"/>
                  </a:lnTo>
                  <a:lnTo>
                    <a:pt x="1664" y="593"/>
                  </a:lnTo>
                  <a:lnTo>
                    <a:pt x="1627" y="645"/>
                  </a:lnTo>
                  <a:lnTo>
                    <a:pt x="1589" y="696"/>
                  </a:lnTo>
                  <a:lnTo>
                    <a:pt x="1549" y="746"/>
                  </a:lnTo>
                  <a:lnTo>
                    <a:pt x="1509" y="797"/>
                  </a:lnTo>
                  <a:lnTo>
                    <a:pt x="1469" y="848"/>
                  </a:lnTo>
                  <a:lnTo>
                    <a:pt x="1427" y="898"/>
                  </a:lnTo>
                  <a:lnTo>
                    <a:pt x="1386" y="948"/>
                  </a:lnTo>
                  <a:lnTo>
                    <a:pt x="1343" y="998"/>
                  </a:lnTo>
                  <a:lnTo>
                    <a:pt x="1299" y="1048"/>
                  </a:lnTo>
                  <a:lnTo>
                    <a:pt x="1256" y="1097"/>
                  </a:lnTo>
                  <a:lnTo>
                    <a:pt x="1212" y="1146"/>
                  </a:lnTo>
                  <a:lnTo>
                    <a:pt x="1166" y="1195"/>
                  </a:lnTo>
                  <a:lnTo>
                    <a:pt x="1120" y="1244"/>
                  </a:lnTo>
                  <a:lnTo>
                    <a:pt x="1074" y="1292"/>
                  </a:lnTo>
                  <a:lnTo>
                    <a:pt x="1027" y="1341"/>
                  </a:lnTo>
                  <a:lnTo>
                    <a:pt x="980" y="13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03" name="îŝḻïḑe">
              <a:extLst>
                <a:ext uri="{FF2B5EF4-FFF2-40B4-BE49-F238E27FC236}">
                  <a16:creationId xmlns:a16="http://schemas.microsoft.com/office/drawing/2014/main" id="{C11A4DFA-0C04-49CF-8517-0892F1B2D042}"/>
                </a:ext>
              </a:extLst>
            </p:cNvPr>
            <p:cNvSpPr/>
            <p:nvPr/>
          </p:nvSpPr>
          <p:spPr bwMode="auto">
            <a:xfrm>
              <a:off x="5577284" y="3491653"/>
              <a:ext cx="268740" cy="268739"/>
            </a:xfrm>
            <a:custGeom>
              <a:avLst/>
              <a:gdLst>
                <a:gd name="T0" fmla="*/ 8330 w 16095"/>
                <a:gd name="T1" fmla="*/ 13155 h 16095"/>
                <a:gd name="T2" fmla="*/ 8153 w 16095"/>
                <a:gd name="T3" fmla="*/ 13120 h 16095"/>
                <a:gd name="T4" fmla="*/ 5125 w 16095"/>
                <a:gd name="T5" fmla="*/ 12104 h 16095"/>
                <a:gd name="T6" fmla="*/ 5125 w 16095"/>
                <a:gd name="T7" fmla="*/ 12104 h 16095"/>
                <a:gd name="T8" fmla="*/ 4694 w 16095"/>
                <a:gd name="T9" fmla="*/ 11707 h 16095"/>
                <a:gd name="T10" fmla="*/ 1577 w 16095"/>
                <a:gd name="T11" fmla="*/ 10451 h 16095"/>
                <a:gd name="T12" fmla="*/ 15800 w 16095"/>
                <a:gd name="T13" fmla="*/ 45 h 16095"/>
                <a:gd name="T14" fmla="*/ 15716 w 16095"/>
                <a:gd name="T15" fmla="*/ 15 h 16095"/>
                <a:gd name="T16" fmla="*/ 15627 w 16095"/>
                <a:gd name="T17" fmla="*/ 1 h 16095"/>
                <a:gd name="T18" fmla="*/ 15537 w 16095"/>
                <a:gd name="T19" fmla="*/ 3 h 16095"/>
                <a:gd name="T20" fmla="*/ 15448 w 16095"/>
                <a:gd name="T21" fmla="*/ 21 h 16095"/>
                <a:gd name="T22" fmla="*/ 15362 w 16095"/>
                <a:gd name="T23" fmla="*/ 55 h 16095"/>
                <a:gd name="T24" fmla="*/ 210 w 16095"/>
                <a:gd name="T25" fmla="*/ 10154 h 16095"/>
                <a:gd name="T26" fmla="*/ 145 w 16095"/>
                <a:gd name="T27" fmla="*/ 10209 h 16095"/>
                <a:gd name="T28" fmla="*/ 91 w 16095"/>
                <a:gd name="T29" fmla="*/ 10275 h 16095"/>
                <a:gd name="T30" fmla="*/ 48 w 16095"/>
                <a:gd name="T31" fmla="*/ 10348 h 16095"/>
                <a:gd name="T32" fmla="*/ 18 w 16095"/>
                <a:gd name="T33" fmla="*/ 10428 h 16095"/>
                <a:gd name="T34" fmla="*/ 3 w 16095"/>
                <a:gd name="T35" fmla="*/ 10511 h 16095"/>
                <a:gd name="T36" fmla="*/ 1 w 16095"/>
                <a:gd name="T37" fmla="*/ 10597 h 16095"/>
                <a:gd name="T38" fmla="*/ 15 w 16095"/>
                <a:gd name="T39" fmla="*/ 10682 h 16095"/>
                <a:gd name="T40" fmla="*/ 42 w 16095"/>
                <a:gd name="T41" fmla="*/ 10764 h 16095"/>
                <a:gd name="T42" fmla="*/ 82 w 16095"/>
                <a:gd name="T43" fmla="*/ 10838 h 16095"/>
                <a:gd name="T44" fmla="*/ 134 w 16095"/>
                <a:gd name="T45" fmla="*/ 10904 h 16095"/>
                <a:gd name="T46" fmla="*/ 197 w 16095"/>
                <a:gd name="T47" fmla="*/ 10961 h 16095"/>
                <a:gd name="T48" fmla="*/ 269 w 16095"/>
                <a:gd name="T49" fmla="*/ 11007 h 16095"/>
                <a:gd name="T50" fmla="*/ 6102 w 16095"/>
                <a:gd name="T51" fmla="*/ 15842 h 16095"/>
                <a:gd name="T52" fmla="*/ 6148 w 16095"/>
                <a:gd name="T53" fmla="*/ 15910 h 16095"/>
                <a:gd name="T54" fmla="*/ 6206 w 16095"/>
                <a:gd name="T55" fmla="*/ 15968 h 16095"/>
                <a:gd name="T56" fmla="*/ 6270 w 16095"/>
                <a:gd name="T57" fmla="*/ 16018 h 16095"/>
                <a:gd name="T58" fmla="*/ 6341 w 16095"/>
                <a:gd name="T59" fmla="*/ 16055 h 16095"/>
                <a:gd name="T60" fmla="*/ 6419 w 16095"/>
                <a:gd name="T61" fmla="*/ 16081 h 16095"/>
                <a:gd name="T62" fmla="*/ 6499 w 16095"/>
                <a:gd name="T63" fmla="*/ 16093 h 16095"/>
                <a:gd name="T64" fmla="*/ 6572 w 16095"/>
                <a:gd name="T65" fmla="*/ 16094 h 16095"/>
                <a:gd name="T66" fmla="*/ 6652 w 16095"/>
                <a:gd name="T67" fmla="*/ 16082 h 16095"/>
                <a:gd name="T68" fmla="*/ 6729 w 16095"/>
                <a:gd name="T69" fmla="*/ 16058 h 16095"/>
                <a:gd name="T70" fmla="*/ 6800 w 16095"/>
                <a:gd name="T71" fmla="*/ 16022 h 16095"/>
                <a:gd name="T72" fmla="*/ 6866 w 16095"/>
                <a:gd name="T73" fmla="*/ 15974 h 16095"/>
                <a:gd name="T74" fmla="*/ 6922 w 16095"/>
                <a:gd name="T75" fmla="*/ 15917 h 16095"/>
                <a:gd name="T76" fmla="*/ 6970 w 16095"/>
                <a:gd name="T77" fmla="*/ 15851 h 16095"/>
                <a:gd name="T78" fmla="*/ 12958 w 16095"/>
                <a:gd name="T79" fmla="*/ 16081 h 16095"/>
                <a:gd name="T80" fmla="*/ 13077 w 16095"/>
                <a:gd name="T81" fmla="*/ 16095 h 16095"/>
                <a:gd name="T82" fmla="*/ 13157 w 16095"/>
                <a:gd name="T83" fmla="*/ 16089 h 16095"/>
                <a:gd name="T84" fmla="*/ 13234 w 16095"/>
                <a:gd name="T85" fmla="*/ 16070 h 16095"/>
                <a:gd name="T86" fmla="*/ 13309 w 16095"/>
                <a:gd name="T87" fmla="*/ 16038 h 16095"/>
                <a:gd name="T88" fmla="*/ 13415 w 16095"/>
                <a:gd name="T89" fmla="*/ 15964 h 16095"/>
                <a:gd name="T90" fmla="*/ 13504 w 16095"/>
                <a:gd name="T91" fmla="*/ 15858 h 16095"/>
                <a:gd name="T92" fmla="*/ 13561 w 16095"/>
                <a:gd name="T93" fmla="*/ 15730 h 16095"/>
                <a:gd name="T94" fmla="*/ 16093 w 16095"/>
                <a:gd name="T95" fmla="*/ 548 h 16095"/>
                <a:gd name="T96" fmla="*/ 16093 w 16095"/>
                <a:gd name="T97" fmla="*/ 457 h 16095"/>
                <a:gd name="T98" fmla="*/ 16076 w 16095"/>
                <a:gd name="T99" fmla="*/ 367 h 16095"/>
                <a:gd name="T100" fmla="*/ 16045 w 16095"/>
                <a:gd name="T101" fmla="*/ 284 h 16095"/>
                <a:gd name="T102" fmla="*/ 15997 w 16095"/>
                <a:gd name="T103" fmla="*/ 206 h 16095"/>
                <a:gd name="T104" fmla="*/ 15938 w 16095"/>
                <a:gd name="T105" fmla="*/ 138 h 16095"/>
                <a:gd name="T106" fmla="*/ 15865 w 16095"/>
                <a:gd name="T107" fmla="*/ 80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6095" h="16095">
                  <a:moveTo>
                    <a:pt x="12684" y="14892"/>
                  </a:moveTo>
                  <a:lnTo>
                    <a:pt x="8388" y="13174"/>
                  </a:lnTo>
                  <a:lnTo>
                    <a:pt x="8368" y="13167"/>
                  </a:lnTo>
                  <a:lnTo>
                    <a:pt x="8349" y="13161"/>
                  </a:lnTo>
                  <a:lnTo>
                    <a:pt x="8330" y="13155"/>
                  </a:lnTo>
                  <a:lnTo>
                    <a:pt x="8310" y="13149"/>
                  </a:lnTo>
                  <a:lnTo>
                    <a:pt x="8271" y="13140"/>
                  </a:lnTo>
                  <a:lnTo>
                    <a:pt x="8232" y="13132"/>
                  </a:lnTo>
                  <a:lnTo>
                    <a:pt x="8192" y="13125"/>
                  </a:lnTo>
                  <a:lnTo>
                    <a:pt x="8153" y="13120"/>
                  </a:lnTo>
                  <a:lnTo>
                    <a:pt x="8114" y="13117"/>
                  </a:lnTo>
                  <a:lnTo>
                    <a:pt x="8074" y="13114"/>
                  </a:lnTo>
                  <a:lnTo>
                    <a:pt x="14689" y="2860"/>
                  </a:lnTo>
                  <a:lnTo>
                    <a:pt x="12684" y="14892"/>
                  </a:lnTo>
                  <a:close/>
                  <a:moveTo>
                    <a:pt x="5125" y="12104"/>
                  </a:moveTo>
                  <a:lnTo>
                    <a:pt x="5123" y="12102"/>
                  </a:lnTo>
                  <a:lnTo>
                    <a:pt x="5121" y="12099"/>
                  </a:lnTo>
                  <a:lnTo>
                    <a:pt x="14648" y="1902"/>
                  </a:lnTo>
                  <a:lnTo>
                    <a:pt x="6527" y="14558"/>
                  </a:lnTo>
                  <a:lnTo>
                    <a:pt x="5125" y="12104"/>
                  </a:lnTo>
                  <a:close/>
                  <a:moveTo>
                    <a:pt x="1577" y="10451"/>
                  </a:moveTo>
                  <a:lnTo>
                    <a:pt x="13234" y="2679"/>
                  </a:lnTo>
                  <a:lnTo>
                    <a:pt x="4759" y="11751"/>
                  </a:lnTo>
                  <a:lnTo>
                    <a:pt x="4726" y="11729"/>
                  </a:lnTo>
                  <a:lnTo>
                    <a:pt x="4694" y="11707"/>
                  </a:lnTo>
                  <a:lnTo>
                    <a:pt x="4678" y="11697"/>
                  </a:lnTo>
                  <a:lnTo>
                    <a:pt x="4661" y="11687"/>
                  </a:lnTo>
                  <a:lnTo>
                    <a:pt x="4643" y="11677"/>
                  </a:lnTo>
                  <a:lnTo>
                    <a:pt x="4625" y="11669"/>
                  </a:lnTo>
                  <a:lnTo>
                    <a:pt x="1577" y="10451"/>
                  </a:lnTo>
                  <a:close/>
                  <a:moveTo>
                    <a:pt x="15865" y="80"/>
                  </a:moveTo>
                  <a:lnTo>
                    <a:pt x="15850" y="70"/>
                  </a:lnTo>
                  <a:lnTo>
                    <a:pt x="15833" y="61"/>
                  </a:lnTo>
                  <a:lnTo>
                    <a:pt x="15817" y="53"/>
                  </a:lnTo>
                  <a:lnTo>
                    <a:pt x="15800" y="45"/>
                  </a:lnTo>
                  <a:lnTo>
                    <a:pt x="15784" y="38"/>
                  </a:lnTo>
                  <a:lnTo>
                    <a:pt x="15767" y="31"/>
                  </a:lnTo>
                  <a:lnTo>
                    <a:pt x="15750" y="25"/>
                  </a:lnTo>
                  <a:lnTo>
                    <a:pt x="15733" y="20"/>
                  </a:lnTo>
                  <a:lnTo>
                    <a:pt x="15716" y="15"/>
                  </a:lnTo>
                  <a:lnTo>
                    <a:pt x="15698" y="11"/>
                  </a:lnTo>
                  <a:lnTo>
                    <a:pt x="15681" y="8"/>
                  </a:lnTo>
                  <a:lnTo>
                    <a:pt x="15662" y="5"/>
                  </a:lnTo>
                  <a:lnTo>
                    <a:pt x="15645" y="3"/>
                  </a:lnTo>
                  <a:lnTo>
                    <a:pt x="15627" y="1"/>
                  </a:lnTo>
                  <a:lnTo>
                    <a:pt x="15609" y="0"/>
                  </a:lnTo>
                  <a:lnTo>
                    <a:pt x="15592" y="0"/>
                  </a:lnTo>
                  <a:lnTo>
                    <a:pt x="15574" y="0"/>
                  </a:lnTo>
                  <a:lnTo>
                    <a:pt x="15556" y="1"/>
                  </a:lnTo>
                  <a:lnTo>
                    <a:pt x="15537" y="3"/>
                  </a:lnTo>
                  <a:lnTo>
                    <a:pt x="15520" y="5"/>
                  </a:lnTo>
                  <a:lnTo>
                    <a:pt x="15501" y="8"/>
                  </a:lnTo>
                  <a:lnTo>
                    <a:pt x="15483" y="12"/>
                  </a:lnTo>
                  <a:lnTo>
                    <a:pt x="15465" y="16"/>
                  </a:lnTo>
                  <a:lnTo>
                    <a:pt x="15448" y="21"/>
                  </a:lnTo>
                  <a:lnTo>
                    <a:pt x="15430" y="26"/>
                  </a:lnTo>
                  <a:lnTo>
                    <a:pt x="15413" y="32"/>
                  </a:lnTo>
                  <a:lnTo>
                    <a:pt x="15396" y="39"/>
                  </a:lnTo>
                  <a:lnTo>
                    <a:pt x="15379" y="47"/>
                  </a:lnTo>
                  <a:lnTo>
                    <a:pt x="15362" y="55"/>
                  </a:lnTo>
                  <a:lnTo>
                    <a:pt x="15346" y="64"/>
                  </a:lnTo>
                  <a:lnTo>
                    <a:pt x="15329" y="74"/>
                  </a:lnTo>
                  <a:lnTo>
                    <a:pt x="15313" y="84"/>
                  </a:lnTo>
                  <a:lnTo>
                    <a:pt x="224" y="10144"/>
                  </a:lnTo>
                  <a:lnTo>
                    <a:pt x="210" y="10154"/>
                  </a:lnTo>
                  <a:lnTo>
                    <a:pt x="196" y="10164"/>
                  </a:lnTo>
                  <a:lnTo>
                    <a:pt x="182" y="10175"/>
                  </a:lnTo>
                  <a:lnTo>
                    <a:pt x="169" y="10186"/>
                  </a:lnTo>
                  <a:lnTo>
                    <a:pt x="157" y="10197"/>
                  </a:lnTo>
                  <a:lnTo>
                    <a:pt x="145" y="10209"/>
                  </a:lnTo>
                  <a:lnTo>
                    <a:pt x="133" y="10222"/>
                  </a:lnTo>
                  <a:lnTo>
                    <a:pt x="122" y="10234"/>
                  </a:lnTo>
                  <a:lnTo>
                    <a:pt x="111" y="10247"/>
                  </a:lnTo>
                  <a:lnTo>
                    <a:pt x="100" y="10262"/>
                  </a:lnTo>
                  <a:lnTo>
                    <a:pt x="91" y="10275"/>
                  </a:lnTo>
                  <a:lnTo>
                    <a:pt x="80" y="10289"/>
                  </a:lnTo>
                  <a:lnTo>
                    <a:pt x="71" y="10304"/>
                  </a:lnTo>
                  <a:lnTo>
                    <a:pt x="63" y="10318"/>
                  </a:lnTo>
                  <a:lnTo>
                    <a:pt x="55" y="10333"/>
                  </a:lnTo>
                  <a:lnTo>
                    <a:pt x="48" y="10348"/>
                  </a:lnTo>
                  <a:lnTo>
                    <a:pt x="41" y="10363"/>
                  </a:lnTo>
                  <a:lnTo>
                    <a:pt x="34" y="10379"/>
                  </a:lnTo>
                  <a:lnTo>
                    <a:pt x="29" y="10395"/>
                  </a:lnTo>
                  <a:lnTo>
                    <a:pt x="23" y="10411"/>
                  </a:lnTo>
                  <a:lnTo>
                    <a:pt x="18" y="10428"/>
                  </a:lnTo>
                  <a:lnTo>
                    <a:pt x="14" y="10444"/>
                  </a:lnTo>
                  <a:lnTo>
                    <a:pt x="10" y="10460"/>
                  </a:lnTo>
                  <a:lnTo>
                    <a:pt x="7" y="10477"/>
                  </a:lnTo>
                  <a:lnTo>
                    <a:pt x="5" y="10494"/>
                  </a:lnTo>
                  <a:lnTo>
                    <a:pt x="3" y="10511"/>
                  </a:lnTo>
                  <a:lnTo>
                    <a:pt x="1" y="10528"/>
                  </a:lnTo>
                  <a:lnTo>
                    <a:pt x="0" y="10545"/>
                  </a:lnTo>
                  <a:lnTo>
                    <a:pt x="0" y="10562"/>
                  </a:lnTo>
                  <a:lnTo>
                    <a:pt x="0" y="10579"/>
                  </a:lnTo>
                  <a:lnTo>
                    <a:pt x="1" y="10597"/>
                  </a:lnTo>
                  <a:lnTo>
                    <a:pt x="3" y="10614"/>
                  </a:lnTo>
                  <a:lnTo>
                    <a:pt x="5" y="10632"/>
                  </a:lnTo>
                  <a:lnTo>
                    <a:pt x="8" y="10649"/>
                  </a:lnTo>
                  <a:lnTo>
                    <a:pt x="11" y="10666"/>
                  </a:lnTo>
                  <a:lnTo>
                    <a:pt x="15" y="10682"/>
                  </a:lnTo>
                  <a:lnTo>
                    <a:pt x="19" y="10699"/>
                  </a:lnTo>
                  <a:lnTo>
                    <a:pt x="24" y="10715"/>
                  </a:lnTo>
                  <a:lnTo>
                    <a:pt x="29" y="10731"/>
                  </a:lnTo>
                  <a:lnTo>
                    <a:pt x="35" y="10747"/>
                  </a:lnTo>
                  <a:lnTo>
                    <a:pt x="42" y="10764"/>
                  </a:lnTo>
                  <a:lnTo>
                    <a:pt x="49" y="10779"/>
                  </a:lnTo>
                  <a:lnTo>
                    <a:pt x="56" y="10794"/>
                  </a:lnTo>
                  <a:lnTo>
                    <a:pt x="64" y="10809"/>
                  </a:lnTo>
                  <a:lnTo>
                    <a:pt x="73" y="10824"/>
                  </a:lnTo>
                  <a:lnTo>
                    <a:pt x="82" y="10838"/>
                  </a:lnTo>
                  <a:lnTo>
                    <a:pt x="92" y="10852"/>
                  </a:lnTo>
                  <a:lnTo>
                    <a:pt x="102" y="10865"/>
                  </a:lnTo>
                  <a:lnTo>
                    <a:pt x="112" y="10878"/>
                  </a:lnTo>
                  <a:lnTo>
                    <a:pt x="123" y="10891"/>
                  </a:lnTo>
                  <a:lnTo>
                    <a:pt x="134" y="10904"/>
                  </a:lnTo>
                  <a:lnTo>
                    <a:pt x="146" y="10916"/>
                  </a:lnTo>
                  <a:lnTo>
                    <a:pt x="158" y="10929"/>
                  </a:lnTo>
                  <a:lnTo>
                    <a:pt x="171" y="10940"/>
                  </a:lnTo>
                  <a:lnTo>
                    <a:pt x="183" y="10951"/>
                  </a:lnTo>
                  <a:lnTo>
                    <a:pt x="197" y="10961"/>
                  </a:lnTo>
                  <a:lnTo>
                    <a:pt x="210" y="10972"/>
                  </a:lnTo>
                  <a:lnTo>
                    <a:pt x="224" y="10981"/>
                  </a:lnTo>
                  <a:lnTo>
                    <a:pt x="239" y="10990"/>
                  </a:lnTo>
                  <a:lnTo>
                    <a:pt x="253" y="10999"/>
                  </a:lnTo>
                  <a:lnTo>
                    <a:pt x="269" y="11007"/>
                  </a:lnTo>
                  <a:lnTo>
                    <a:pt x="285" y="11015"/>
                  </a:lnTo>
                  <a:lnTo>
                    <a:pt x="300" y="11022"/>
                  </a:lnTo>
                  <a:lnTo>
                    <a:pt x="316" y="11029"/>
                  </a:lnTo>
                  <a:lnTo>
                    <a:pt x="4251" y="12603"/>
                  </a:lnTo>
                  <a:lnTo>
                    <a:pt x="6102" y="15842"/>
                  </a:lnTo>
                  <a:lnTo>
                    <a:pt x="6110" y="15856"/>
                  </a:lnTo>
                  <a:lnTo>
                    <a:pt x="6119" y="15870"/>
                  </a:lnTo>
                  <a:lnTo>
                    <a:pt x="6128" y="15884"/>
                  </a:lnTo>
                  <a:lnTo>
                    <a:pt x="6138" y="15897"/>
                  </a:lnTo>
                  <a:lnTo>
                    <a:pt x="6148" y="15910"/>
                  </a:lnTo>
                  <a:lnTo>
                    <a:pt x="6159" y="15922"/>
                  </a:lnTo>
                  <a:lnTo>
                    <a:pt x="6170" y="15934"/>
                  </a:lnTo>
                  <a:lnTo>
                    <a:pt x="6181" y="15946"/>
                  </a:lnTo>
                  <a:lnTo>
                    <a:pt x="6194" y="15957"/>
                  </a:lnTo>
                  <a:lnTo>
                    <a:pt x="6206" y="15968"/>
                  </a:lnTo>
                  <a:lnTo>
                    <a:pt x="6218" y="15979"/>
                  </a:lnTo>
                  <a:lnTo>
                    <a:pt x="6230" y="15989"/>
                  </a:lnTo>
                  <a:lnTo>
                    <a:pt x="6243" y="15999"/>
                  </a:lnTo>
                  <a:lnTo>
                    <a:pt x="6257" y="16008"/>
                  </a:lnTo>
                  <a:lnTo>
                    <a:pt x="6270" y="16018"/>
                  </a:lnTo>
                  <a:lnTo>
                    <a:pt x="6284" y="16026"/>
                  </a:lnTo>
                  <a:lnTo>
                    <a:pt x="6298" y="16034"/>
                  </a:lnTo>
                  <a:lnTo>
                    <a:pt x="6312" y="16041"/>
                  </a:lnTo>
                  <a:lnTo>
                    <a:pt x="6326" y="16048"/>
                  </a:lnTo>
                  <a:lnTo>
                    <a:pt x="6341" y="16055"/>
                  </a:lnTo>
                  <a:lnTo>
                    <a:pt x="6357" y="16061"/>
                  </a:lnTo>
                  <a:lnTo>
                    <a:pt x="6372" y="16067"/>
                  </a:lnTo>
                  <a:lnTo>
                    <a:pt x="6388" y="16072"/>
                  </a:lnTo>
                  <a:lnTo>
                    <a:pt x="6403" y="16076"/>
                  </a:lnTo>
                  <a:lnTo>
                    <a:pt x="6419" y="16081"/>
                  </a:lnTo>
                  <a:lnTo>
                    <a:pt x="6435" y="16084"/>
                  </a:lnTo>
                  <a:lnTo>
                    <a:pt x="6451" y="16087"/>
                  </a:lnTo>
                  <a:lnTo>
                    <a:pt x="6467" y="16090"/>
                  </a:lnTo>
                  <a:lnTo>
                    <a:pt x="6483" y="16092"/>
                  </a:lnTo>
                  <a:lnTo>
                    <a:pt x="6499" y="16093"/>
                  </a:lnTo>
                  <a:lnTo>
                    <a:pt x="6516" y="16094"/>
                  </a:lnTo>
                  <a:lnTo>
                    <a:pt x="6533" y="16095"/>
                  </a:lnTo>
                  <a:lnTo>
                    <a:pt x="6539" y="16095"/>
                  </a:lnTo>
                  <a:lnTo>
                    <a:pt x="6555" y="16095"/>
                  </a:lnTo>
                  <a:lnTo>
                    <a:pt x="6572" y="16094"/>
                  </a:lnTo>
                  <a:lnTo>
                    <a:pt x="6588" y="16093"/>
                  </a:lnTo>
                  <a:lnTo>
                    <a:pt x="6604" y="16091"/>
                  </a:lnTo>
                  <a:lnTo>
                    <a:pt x="6620" y="16088"/>
                  </a:lnTo>
                  <a:lnTo>
                    <a:pt x="6636" y="16085"/>
                  </a:lnTo>
                  <a:lnTo>
                    <a:pt x="6652" y="16082"/>
                  </a:lnTo>
                  <a:lnTo>
                    <a:pt x="6667" y="16078"/>
                  </a:lnTo>
                  <a:lnTo>
                    <a:pt x="6683" y="16074"/>
                  </a:lnTo>
                  <a:lnTo>
                    <a:pt x="6699" y="16069"/>
                  </a:lnTo>
                  <a:lnTo>
                    <a:pt x="6714" y="16063"/>
                  </a:lnTo>
                  <a:lnTo>
                    <a:pt x="6729" y="16058"/>
                  </a:lnTo>
                  <a:lnTo>
                    <a:pt x="6743" y="16051"/>
                  </a:lnTo>
                  <a:lnTo>
                    <a:pt x="6758" y="16045"/>
                  </a:lnTo>
                  <a:lnTo>
                    <a:pt x="6772" y="16037"/>
                  </a:lnTo>
                  <a:lnTo>
                    <a:pt x="6786" y="16030"/>
                  </a:lnTo>
                  <a:lnTo>
                    <a:pt x="6800" y="16022"/>
                  </a:lnTo>
                  <a:lnTo>
                    <a:pt x="6813" y="16013"/>
                  </a:lnTo>
                  <a:lnTo>
                    <a:pt x="6827" y="16003"/>
                  </a:lnTo>
                  <a:lnTo>
                    <a:pt x="6840" y="15994"/>
                  </a:lnTo>
                  <a:lnTo>
                    <a:pt x="6852" y="15984"/>
                  </a:lnTo>
                  <a:lnTo>
                    <a:pt x="6866" y="15974"/>
                  </a:lnTo>
                  <a:lnTo>
                    <a:pt x="6878" y="15963"/>
                  </a:lnTo>
                  <a:lnTo>
                    <a:pt x="6889" y="15952"/>
                  </a:lnTo>
                  <a:lnTo>
                    <a:pt x="6901" y="15941"/>
                  </a:lnTo>
                  <a:lnTo>
                    <a:pt x="6912" y="15929"/>
                  </a:lnTo>
                  <a:lnTo>
                    <a:pt x="6922" y="15917"/>
                  </a:lnTo>
                  <a:lnTo>
                    <a:pt x="6933" y="15904"/>
                  </a:lnTo>
                  <a:lnTo>
                    <a:pt x="6943" y="15891"/>
                  </a:lnTo>
                  <a:lnTo>
                    <a:pt x="6952" y="15878"/>
                  </a:lnTo>
                  <a:lnTo>
                    <a:pt x="6961" y="15864"/>
                  </a:lnTo>
                  <a:lnTo>
                    <a:pt x="6970" y="15851"/>
                  </a:lnTo>
                  <a:lnTo>
                    <a:pt x="8014" y="14108"/>
                  </a:lnTo>
                  <a:lnTo>
                    <a:pt x="12890" y="16059"/>
                  </a:lnTo>
                  <a:lnTo>
                    <a:pt x="12913" y="16067"/>
                  </a:lnTo>
                  <a:lnTo>
                    <a:pt x="12936" y="16074"/>
                  </a:lnTo>
                  <a:lnTo>
                    <a:pt x="12958" y="16081"/>
                  </a:lnTo>
                  <a:lnTo>
                    <a:pt x="12983" y="16086"/>
                  </a:lnTo>
                  <a:lnTo>
                    <a:pt x="13006" y="16090"/>
                  </a:lnTo>
                  <a:lnTo>
                    <a:pt x="13030" y="16093"/>
                  </a:lnTo>
                  <a:lnTo>
                    <a:pt x="13053" y="16094"/>
                  </a:lnTo>
                  <a:lnTo>
                    <a:pt x="13077" y="16095"/>
                  </a:lnTo>
                  <a:lnTo>
                    <a:pt x="13093" y="16095"/>
                  </a:lnTo>
                  <a:lnTo>
                    <a:pt x="13109" y="16094"/>
                  </a:lnTo>
                  <a:lnTo>
                    <a:pt x="13124" y="16093"/>
                  </a:lnTo>
                  <a:lnTo>
                    <a:pt x="13141" y="16091"/>
                  </a:lnTo>
                  <a:lnTo>
                    <a:pt x="13157" y="16089"/>
                  </a:lnTo>
                  <a:lnTo>
                    <a:pt x="13173" y="16086"/>
                  </a:lnTo>
                  <a:lnTo>
                    <a:pt x="13188" y="16083"/>
                  </a:lnTo>
                  <a:lnTo>
                    <a:pt x="13204" y="16079"/>
                  </a:lnTo>
                  <a:lnTo>
                    <a:pt x="13219" y="16075"/>
                  </a:lnTo>
                  <a:lnTo>
                    <a:pt x="13234" y="16070"/>
                  </a:lnTo>
                  <a:lnTo>
                    <a:pt x="13250" y="16064"/>
                  </a:lnTo>
                  <a:lnTo>
                    <a:pt x="13265" y="16059"/>
                  </a:lnTo>
                  <a:lnTo>
                    <a:pt x="13279" y="16052"/>
                  </a:lnTo>
                  <a:lnTo>
                    <a:pt x="13294" y="16046"/>
                  </a:lnTo>
                  <a:lnTo>
                    <a:pt x="13309" y="16038"/>
                  </a:lnTo>
                  <a:lnTo>
                    <a:pt x="13324" y="16031"/>
                  </a:lnTo>
                  <a:lnTo>
                    <a:pt x="13348" y="16016"/>
                  </a:lnTo>
                  <a:lnTo>
                    <a:pt x="13371" y="15999"/>
                  </a:lnTo>
                  <a:lnTo>
                    <a:pt x="13394" y="15982"/>
                  </a:lnTo>
                  <a:lnTo>
                    <a:pt x="13415" y="15964"/>
                  </a:lnTo>
                  <a:lnTo>
                    <a:pt x="13435" y="15945"/>
                  </a:lnTo>
                  <a:lnTo>
                    <a:pt x="13454" y="15924"/>
                  </a:lnTo>
                  <a:lnTo>
                    <a:pt x="13473" y="15903"/>
                  </a:lnTo>
                  <a:lnTo>
                    <a:pt x="13489" y="15881"/>
                  </a:lnTo>
                  <a:lnTo>
                    <a:pt x="13504" y="15858"/>
                  </a:lnTo>
                  <a:lnTo>
                    <a:pt x="13518" y="15833"/>
                  </a:lnTo>
                  <a:lnTo>
                    <a:pt x="13531" y="15808"/>
                  </a:lnTo>
                  <a:lnTo>
                    <a:pt x="13542" y="15783"/>
                  </a:lnTo>
                  <a:lnTo>
                    <a:pt x="13552" y="15757"/>
                  </a:lnTo>
                  <a:lnTo>
                    <a:pt x="13561" y="15730"/>
                  </a:lnTo>
                  <a:lnTo>
                    <a:pt x="13568" y="15703"/>
                  </a:lnTo>
                  <a:lnTo>
                    <a:pt x="13573" y="15675"/>
                  </a:lnTo>
                  <a:lnTo>
                    <a:pt x="16088" y="585"/>
                  </a:lnTo>
                  <a:lnTo>
                    <a:pt x="16091" y="567"/>
                  </a:lnTo>
                  <a:lnTo>
                    <a:pt x="16093" y="548"/>
                  </a:lnTo>
                  <a:lnTo>
                    <a:pt x="16094" y="530"/>
                  </a:lnTo>
                  <a:lnTo>
                    <a:pt x="16095" y="512"/>
                  </a:lnTo>
                  <a:lnTo>
                    <a:pt x="16095" y="493"/>
                  </a:lnTo>
                  <a:lnTo>
                    <a:pt x="16094" y="475"/>
                  </a:lnTo>
                  <a:lnTo>
                    <a:pt x="16093" y="457"/>
                  </a:lnTo>
                  <a:lnTo>
                    <a:pt x="16091" y="439"/>
                  </a:lnTo>
                  <a:lnTo>
                    <a:pt x="16088" y="420"/>
                  </a:lnTo>
                  <a:lnTo>
                    <a:pt x="16085" y="402"/>
                  </a:lnTo>
                  <a:lnTo>
                    <a:pt x="16081" y="385"/>
                  </a:lnTo>
                  <a:lnTo>
                    <a:pt x="16076" y="367"/>
                  </a:lnTo>
                  <a:lnTo>
                    <a:pt x="16071" y="350"/>
                  </a:lnTo>
                  <a:lnTo>
                    <a:pt x="16066" y="333"/>
                  </a:lnTo>
                  <a:lnTo>
                    <a:pt x="16059" y="317"/>
                  </a:lnTo>
                  <a:lnTo>
                    <a:pt x="16052" y="300"/>
                  </a:lnTo>
                  <a:lnTo>
                    <a:pt x="16045" y="284"/>
                  </a:lnTo>
                  <a:lnTo>
                    <a:pt x="16037" y="268"/>
                  </a:lnTo>
                  <a:lnTo>
                    <a:pt x="16028" y="251"/>
                  </a:lnTo>
                  <a:lnTo>
                    <a:pt x="16019" y="236"/>
                  </a:lnTo>
                  <a:lnTo>
                    <a:pt x="16008" y="221"/>
                  </a:lnTo>
                  <a:lnTo>
                    <a:pt x="15997" y="206"/>
                  </a:lnTo>
                  <a:lnTo>
                    <a:pt x="15987" y="192"/>
                  </a:lnTo>
                  <a:lnTo>
                    <a:pt x="15975" y="178"/>
                  </a:lnTo>
                  <a:lnTo>
                    <a:pt x="15963" y="164"/>
                  </a:lnTo>
                  <a:lnTo>
                    <a:pt x="15951" y="151"/>
                  </a:lnTo>
                  <a:lnTo>
                    <a:pt x="15938" y="138"/>
                  </a:lnTo>
                  <a:lnTo>
                    <a:pt x="15924" y="126"/>
                  </a:lnTo>
                  <a:lnTo>
                    <a:pt x="15910" y="114"/>
                  </a:lnTo>
                  <a:lnTo>
                    <a:pt x="15896" y="102"/>
                  </a:lnTo>
                  <a:lnTo>
                    <a:pt x="15881" y="92"/>
                  </a:lnTo>
                  <a:lnTo>
                    <a:pt x="15865" y="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7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04" name="íśḷîḓe">
              <a:extLst>
                <a:ext uri="{FF2B5EF4-FFF2-40B4-BE49-F238E27FC236}">
                  <a16:creationId xmlns:a16="http://schemas.microsoft.com/office/drawing/2014/main" id="{547172FF-96FC-4C82-88FC-D1D559C41E5D}"/>
                </a:ext>
              </a:extLst>
            </p:cNvPr>
            <p:cNvSpPr/>
            <p:nvPr/>
          </p:nvSpPr>
          <p:spPr bwMode="auto">
            <a:xfrm>
              <a:off x="6806691" y="2613095"/>
              <a:ext cx="455767" cy="398140"/>
            </a:xfrm>
            <a:custGeom>
              <a:avLst/>
              <a:gdLst>
                <a:gd name="T0" fmla="*/ 1006 w 16095"/>
                <a:gd name="T1" fmla="*/ 3013 h 14060"/>
                <a:gd name="T2" fmla="*/ 5802 w 16095"/>
                <a:gd name="T3" fmla="*/ 1392 h 14060"/>
                <a:gd name="T4" fmla="*/ 6204 w 16095"/>
                <a:gd name="T5" fmla="*/ 1861 h 14060"/>
                <a:gd name="T6" fmla="*/ 6751 w 16095"/>
                <a:gd name="T7" fmla="*/ 2221 h 14060"/>
                <a:gd name="T8" fmla="*/ 7413 w 16095"/>
                <a:gd name="T9" fmla="*/ 2445 h 14060"/>
                <a:gd name="T10" fmla="*/ 8157 w 16095"/>
                <a:gd name="T11" fmla="*/ 2509 h 14060"/>
                <a:gd name="T12" fmla="*/ 8881 w 16095"/>
                <a:gd name="T13" fmla="*/ 2397 h 14060"/>
                <a:gd name="T14" fmla="*/ 9513 w 16095"/>
                <a:gd name="T15" fmla="*/ 2131 h 14060"/>
                <a:gd name="T16" fmla="*/ 10022 w 16095"/>
                <a:gd name="T17" fmla="*/ 1737 h 14060"/>
                <a:gd name="T18" fmla="*/ 10376 w 16095"/>
                <a:gd name="T19" fmla="*/ 1241 h 14060"/>
                <a:gd name="T20" fmla="*/ 9936 w 16095"/>
                <a:gd name="T21" fmla="*/ 1004 h 14060"/>
                <a:gd name="T22" fmla="*/ 9691 w 16095"/>
                <a:gd name="T23" fmla="*/ 1361 h 14060"/>
                <a:gd name="T24" fmla="*/ 9334 w 16095"/>
                <a:gd name="T25" fmla="*/ 1655 h 14060"/>
                <a:gd name="T26" fmla="*/ 8886 w 16095"/>
                <a:gd name="T27" fmla="*/ 1870 h 14060"/>
                <a:gd name="T28" fmla="*/ 8368 w 16095"/>
                <a:gd name="T29" fmla="*/ 1989 h 14060"/>
                <a:gd name="T30" fmla="*/ 7806 w 16095"/>
                <a:gd name="T31" fmla="*/ 1998 h 14060"/>
                <a:gd name="T32" fmla="*/ 7279 w 16095"/>
                <a:gd name="T33" fmla="*/ 1893 h 14060"/>
                <a:gd name="T34" fmla="*/ 6819 w 16095"/>
                <a:gd name="T35" fmla="*/ 1691 h 14060"/>
                <a:gd name="T36" fmla="*/ 6449 w 16095"/>
                <a:gd name="T37" fmla="*/ 1407 h 14060"/>
                <a:gd name="T38" fmla="*/ 6187 w 16095"/>
                <a:gd name="T39" fmla="*/ 1059 h 14060"/>
                <a:gd name="T40" fmla="*/ 13098 w 16095"/>
                <a:gd name="T41" fmla="*/ 147 h 14060"/>
                <a:gd name="T42" fmla="*/ 12827 w 16095"/>
                <a:gd name="T43" fmla="*/ 32 h 14060"/>
                <a:gd name="T44" fmla="*/ 3521 w 16095"/>
                <a:gd name="T45" fmla="*/ 0 h 14060"/>
                <a:gd name="T46" fmla="*/ 3228 w 16095"/>
                <a:gd name="T47" fmla="*/ 43 h 14060"/>
                <a:gd name="T48" fmla="*/ 2960 w 16095"/>
                <a:gd name="T49" fmla="*/ 170 h 14060"/>
                <a:gd name="T50" fmla="*/ 264 w 16095"/>
                <a:gd name="T51" fmla="*/ 2335 h 14060"/>
                <a:gd name="T52" fmla="*/ 112 w 16095"/>
                <a:gd name="T53" fmla="*/ 2554 h 14060"/>
                <a:gd name="T54" fmla="*/ 22 w 16095"/>
                <a:gd name="T55" fmla="*/ 2802 h 14060"/>
                <a:gd name="T56" fmla="*/ 1 w 16095"/>
                <a:gd name="T57" fmla="*/ 3065 h 14060"/>
                <a:gd name="T58" fmla="*/ 52 w 16095"/>
                <a:gd name="T59" fmla="*/ 3331 h 14060"/>
                <a:gd name="T60" fmla="*/ 1127 w 16095"/>
                <a:gd name="T61" fmla="*/ 6504 h 14060"/>
                <a:gd name="T62" fmla="*/ 1239 w 16095"/>
                <a:gd name="T63" fmla="*/ 6669 h 14060"/>
                <a:gd name="T64" fmla="*/ 1382 w 16095"/>
                <a:gd name="T65" fmla="*/ 6809 h 14060"/>
                <a:gd name="T66" fmla="*/ 1551 w 16095"/>
                <a:gd name="T67" fmla="*/ 6919 h 14060"/>
                <a:gd name="T68" fmla="*/ 1766 w 16095"/>
                <a:gd name="T69" fmla="*/ 7000 h 14060"/>
                <a:gd name="T70" fmla="*/ 2045 w 16095"/>
                <a:gd name="T71" fmla="*/ 7029 h 14060"/>
                <a:gd name="T72" fmla="*/ 2271 w 16095"/>
                <a:gd name="T73" fmla="*/ 6996 h 14060"/>
                <a:gd name="T74" fmla="*/ 2486 w 16095"/>
                <a:gd name="T75" fmla="*/ 6911 h 14060"/>
                <a:gd name="T76" fmla="*/ 2546 w 16095"/>
                <a:gd name="T77" fmla="*/ 13307 h 14060"/>
                <a:gd name="T78" fmla="*/ 2687 w 16095"/>
                <a:gd name="T79" fmla="*/ 13617 h 14060"/>
                <a:gd name="T80" fmla="*/ 2919 w 16095"/>
                <a:gd name="T81" fmla="*/ 13860 h 14060"/>
                <a:gd name="T82" fmla="*/ 3222 w 16095"/>
                <a:gd name="T83" fmla="*/ 14015 h 14060"/>
                <a:gd name="T84" fmla="*/ 12574 w 16095"/>
                <a:gd name="T85" fmla="*/ 14060 h 14060"/>
                <a:gd name="T86" fmla="*/ 12920 w 16095"/>
                <a:gd name="T87" fmla="*/ 13999 h 14060"/>
                <a:gd name="T88" fmla="*/ 13214 w 16095"/>
                <a:gd name="T89" fmla="*/ 13831 h 14060"/>
                <a:gd name="T90" fmla="*/ 13434 w 16095"/>
                <a:gd name="T91" fmla="*/ 13576 h 14060"/>
                <a:gd name="T92" fmla="*/ 13560 w 16095"/>
                <a:gd name="T93" fmla="*/ 13258 h 14060"/>
                <a:gd name="T94" fmla="*/ 13639 w 16095"/>
                <a:gd name="T95" fmla="*/ 6927 h 14060"/>
                <a:gd name="T96" fmla="*/ 13856 w 16095"/>
                <a:gd name="T97" fmla="*/ 7004 h 14060"/>
                <a:gd name="T98" fmla="*/ 14083 w 16095"/>
                <a:gd name="T99" fmla="*/ 7030 h 14060"/>
                <a:gd name="T100" fmla="*/ 14370 w 16095"/>
                <a:gd name="T101" fmla="*/ 6989 h 14060"/>
                <a:gd name="T102" fmla="*/ 14569 w 16095"/>
                <a:gd name="T103" fmla="*/ 6905 h 14060"/>
                <a:gd name="T104" fmla="*/ 14735 w 16095"/>
                <a:gd name="T105" fmla="*/ 6791 h 14060"/>
                <a:gd name="T106" fmla="*/ 14874 w 16095"/>
                <a:gd name="T107" fmla="*/ 6647 h 14060"/>
                <a:gd name="T108" fmla="*/ 14981 w 16095"/>
                <a:gd name="T109" fmla="*/ 6478 h 14060"/>
                <a:gd name="T110" fmla="*/ 16055 w 16095"/>
                <a:gd name="T111" fmla="*/ 3293 h 14060"/>
                <a:gd name="T112" fmla="*/ 16095 w 16095"/>
                <a:gd name="T113" fmla="*/ 3027 h 14060"/>
                <a:gd name="T114" fmla="*/ 16064 w 16095"/>
                <a:gd name="T115" fmla="*/ 2765 h 14060"/>
                <a:gd name="T116" fmla="*/ 15966 w 16095"/>
                <a:gd name="T117" fmla="*/ 2521 h 14060"/>
                <a:gd name="T118" fmla="*/ 15805 w 16095"/>
                <a:gd name="T119" fmla="*/ 2307 h 14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95" h="14060">
                  <a:moveTo>
                    <a:pt x="14083" y="6026"/>
                  </a:moveTo>
                  <a:lnTo>
                    <a:pt x="12574" y="5021"/>
                  </a:lnTo>
                  <a:lnTo>
                    <a:pt x="12574" y="13056"/>
                  </a:lnTo>
                  <a:lnTo>
                    <a:pt x="3521" y="13056"/>
                  </a:lnTo>
                  <a:lnTo>
                    <a:pt x="3521" y="5021"/>
                  </a:lnTo>
                  <a:lnTo>
                    <a:pt x="2012" y="6026"/>
                  </a:lnTo>
                  <a:lnTo>
                    <a:pt x="1006" y="3013"/>
                  </a:lnTo>
                  <a:lnTo>
                    <a:pt x="3521" y="1004"/>
                  </a:lnTo>
                  <a:lnTo>
                    <a:pt x="5622" y="1004"/>
                  </a:lnTo>
                  <a:lnTo>
                    <a:pt x="5650" y="1085"/>
                  </a:lnTo>
                  <a:lnTo>
                    <a:pt x="5683" y="1164"/>
                  </a:lnTo>
                  <a:lnTo>
                    <a:pt x="5719" y="1241"/>
                  </a:lnTo>
                  <a:lnTo>
                    <a:pt x="5758" y="1318"/>
                  </a:lnTo>
                  <a:lnTo>
                    <a:pt x="5802" y="1392"/>
                  </a:lnTo>
                  <a:lnTo>
                    <a:pt x="5850" y="1464"/>
                  </a:lnTo>
                  <a:lnTo>
                    <a:pt x="5900" y="1536"/>
                  </a:lnTo>
                  <a:lnTo>
                    <a:pt x="5954" y="1605"/>
                  </a:lnTo>
                  <a:lnTo>
                    <a:pt x="6011" y="1672"/>
                  </a:lnTo>
                  <a:lnTo>
                    <a:pt x="6073" y="1737"/>
                  </a:lnTo>
                  <a:lnTo>
                    <a:pt x="6136" y="1800"/>
                  </a:lnTo>
                  <a:lnTo>
                    <a:pt x="6204" y="1861"/>
                  </a:lnTo>
                  <a:lnTo>
                    <a:pt x="6274" y="1920"/>
                  </a:lnTo>
                  <a:lnTo>
                    <a:pt x="6346" y="1976"/>
                  </a:lnTo>
                  <a:lnTo>
                    <a:pt x="6422" y="2031"/>
                  </a:lnTo>
                  <a:lnTo>
                    <a:pt x="6500" y="2082"/>
                  </a:lnTo>
                  <a:lnTo>
                    <a:pt x="6582" y="2131"/>
                  </a:lnTo>
                  <a:lnTo>
                    <a:pt x="6665" y="2177"/>
                  </a:lnTo>
                  <a:lnTo>
                    <a:pt x="6751" y="2221"/>
                  </a:lnTo>
                  <a:lnTo>
                    <a:pt x="6839" y="2262"/>
                  </a:lnTo>
                  <a:lnTo>
                    <a:pt x="6930" y="2300"/>
                  </a:lnTo>
                  <a:lnTo>
                    <a:pt x="7022" y="2336"/>
                  </a:lnTo>
                  <a:lnTo>
                    <a:pt x="7117" y="2368"/>
                  </a:lnTo>
                  <a:lnTo>
                    <a:pt x="7215" y="2397"/>
                  </a:lnTo>
                  <a:lnTo>
                    <a:pt x="7313" y="2423"/>
                  </a:lnTo>
                  <a:lnTo>
                    <a:pt x="7413" y="2445"/>
                  </a:lnTo>
                  <a:lnTo>
                    <a:pt x="7515" y="2466"/>
                  </a:lnTo>
                  <a:lnTo>
                    <a:pt x="7619" y="2482"/>
                  </a:lnTo>
                  <a:lnTo>
                    <a:pt x="7724" y="2495"/>
                  </a:lnTo>
                  <a:lnTo>
                    <a:pt x="7830" y="2504"/>
                  </a:lnTo>
                  <a:lnTo>
                    <a:pt x="7939" y="2509"/>
                  </a:lnTo>
                  <a:lnTo>
                    <a:pt x="8048" y="2511"/>
                  </a:lnTo>
                  <a:lnTo>
                    <a:pt x="8157" y="2509"/>
                  </a:lnTo>
                  <a:lnTo>
                    <a:pt x="8265" y="2504"/>
                  </a:lnTo>
                  <a:lnTo>
                    <a:pt x="8371" y="2495"/>
                  </a:lnTo>
                  <a:lnTo>
                    <a:pt x="8476" y="2482"/>
                  </a:lnTo>
                  <a:lnTo>
                    <a:pt x="8580" y="2466"/>
                  </a:lnTo>
                  <a:lnTo>
                    <a:pt x="8682" y="2445"/>
                  </a:lnTo>
                  <a:lnTo>
                    <a:pt x="8783" y="2423"/>
                  </a:lnTo>
                  <a:lnTo>
                    <a:pt x="8881" y="2397"/>
                  </a:lnTo>
                  <a:lnTo>
                    <a:pt x="8978" y="2368"/>
                  </a:lnTo>
                  <a:lnTo>
                    <a:pt x="9073" y="2336"/>
                  </a:lnTo>
                  <a:lnTo>
                    <a:pt x="9165" y="2300"/>
                  </a:lnTo>
                  <a:lnTo>
                    <a:pt x="9256" y="2262"/>
                  </a:lnTo>
                  <a:lnTo>
                    <a:pt x="9344" y="2221"/>
                  </a:lnTo>
                  <a:lnTo>
                    <a:pt x="9430" y="2177"/>
                  </a:lnTo>
                  <a:lnTo>
                    <a:pt x="9513" y="2131"/>
                  </a:lnTo>
                  <a:lnTo>
                    <a:pt x="9595" y="2082"/>
                  </a:lnTo>
                  <a:lnTo>
                    <a:pt x="9673" y="2031"/>
                  </a:lnTo>
                  <a:lnTo>
                    <a:pt x="9749" y="1976"/>
                  </a:lnTo>
                  <a:lnTo>
                    <a:pt x="9821" y="1920"/>
                  </a:lnTo>
                  <a:lnTo>
                    <a:pt x="9891" y="1861"/>
                  </a:lnTo>
                  <a:lnTo>
                    <a:pt x="9959" y="1800"/>
                  </a:lnTo>
                  <a:lnTo>
                    <a:pt x="10022" y="1737"/>
                  </a:lnTo>
                  <a:lnTo>
                    <a:pt x="10084" y="1672"/>
                  </a:lnTo>
                  <a:lnTo>
                    <a:pt x="10141" y="1605"/>
                  </a:lnTo>
                  <a:lnTo>
                    <a:pt x="10195" y="1536"/>
                  </a:lnTo>
                  <a:lnTo>
                    <a:pt x="10245" y="1464"/>
                  </a:lnTo>
                  <a:lnTo>
                    <a:pt x="10293" y="1392"/>
                  </a:lnTo>
                  <a:lnTo>
                    <a:pt x="10337" y="1318"/>
                  </a:lnTo>
                  <a:lnTo>
                    <a:pt x="10376" y="1241"/>
                  </a:lnTo>
                  <a:lnTo>
                    <a:pt x="10412" y="1164"/>
                  </a:lnTo>
                  <a:lnTo>
                    <a:pt x="10445" y="1085"/>
                  </a:lnTo>
                  <a:lnTo>
                    <a:pt x="10473" y="1004"/>
                  </a:lnTo>
                  <a:lnTo>
                    <a:pt x="12574" y="1004"/>
                  </a:lnTo>
                  <a:lnTo>
                    <a:pt x="15089" y="3013"/>
                  </a:lnTo>
                  <a:lnTo>
                    <a:pt x="14083" y="6026"/>
                  </a:lnTo>
                  <a:close/>
                  <a:moveTo>
                    <a:pt x="9936" y="1004"/>
                  </a:moveTo>
                  <a:lnTo>
                    <a:pt x="9908" y="1059"/>
                  </a:lnTo>
                  <a:lnTo>
                    <a:pt x="9878" y="1112"/>
                  </a:lnTo>
                  <a:lnTo>
                    <a:pt x="9846" y="1164"/>
                  </a:lnTo>
                  <a:lnTo>
                    <a:pt x="9811" y="1215"/>
                  </a:lnTo>
                  <a:lnTo>
                    <a:pt x="9773" y="1264"/>
                  </a:lnTo>
                  <a:lnTo>
                    <a:pt x="9733" y="1314"/>
                  </a:lnTo>
                  <a:lnTo>
                    <a:pt x="9691" y="1361"/>
                  </a:lnTo>
                  <a:lnTo>
                    <a:pt x="9646" y="1407"/>
                  </a:lnTo>
                  <a:lnTo>
                    <a:pt x="9600" y="1452"/>
                  </a:lnTo>
                  <a:lnTo>
                    <a:pt x="9550" y="1495"/>
                  </a:lnTo>
                  <a:lnTo>
                    <a:pt x="9500" y="1538"/>
                  </a:lnTo>
                  <a:lnTo>
                    <a:pt x="9447" y="1579"/>
                  </a:lnTo>
                  <a:lnTo>
                    <a:pt x="9391" y="1617"/>
                  </a:lnTo>
                  <a:lnTo>
                    <a:pt x="9334" y="1655"/>
                  </a:lnTo>
                  <a:lnTo>
                    <a:pt x="9276" y="1691"/>
                  </a:lnTo>
                  <a:lnTo>
                    <a:pt x="9215" y="1725"/>
                  </a:lnTo>
                  <a:lnTo>
                    <a:pt x="9152" y="1758"/>
                  </a:lnTo>
                  <a:lnTo>
                    <a:pt x="9089" y="1789"/>
                  </a:lnTo>
                  <a:lnTo>
                    <a:pt x="9022" y="1818"/>
                  </a:lnTo>
                  <a:lnTo>
                    <a:pt x="8956" y="1845"/>
                  </a:lnTo>
                  <a:lnTo>
                    <a:pt x="8886" y="1870"/>
                  </a:lnTo>
                  <a:lnTo>
                    <a:pt x="8816" y="1893"/>
                  </a:lnTo>
                  <a:lnTo>
                    <a:pt x="8745" y="1914"/>
                  </a:lnTo>
                  <a:lnTo>
                    <a:pt x="8672" y="1933"/>
                  </a:lnTo>
                  <a:lnTo>
                    <a:pt x="8598" y="1951"/>
                  </a:lnTo>
                  <a:lnTo>
                    <a:pt x="8522" y="1965"/>
                  </a:lnTo>
                  <a:lnTo>
                    <a:pt x="8446" y="1978"/>
                  </a:lnTo>
                  <a:lnTo>
                    <a:pt x="8368" y="1989"/>
                  </a:lnTo>
                  <a:lnTo>
                    <a:pt x="8289" y="1998"/>
                  </a:lnTo>
                  <a:lnTo>
                    <a:pt x="8209" y="2004"/>
                  </a:lnTo>
                  <a:lnTo>
                    <a:pt x="8129" y="2008"/>
                  </a:lnTo>
                  <a:lnTo>
                    <a:pt x="8048" y="2009"/>
                  </a:lnTo>
                  <a:lnTo>
                    <a:pt x="7966" y="2008"/>
                  </a:lnTo>
                  <a:lnTo>
                    <a:pt x="7886" y="2004"/>
                  </a:lnTo>
                  <a:lnTo>
                    <a:pt x="7806" y="1998"/>
                  </a:lnTo>
                  <a:lnTo>
                    <a:pt x="7727" y="1989"/>
                  </a:lnTo>
                  <a:lnTo>
                    <a:pt x="7649" y="1978"/>
                  </a:lnTo>
                  <a:lnTo>
                    <a:pt x="7573" y="1965"/>
                  </a:lnTo>
                  <a:lnTo>
                    <a:pt x="7497" y="1951"/>
                  </a:lnTo>
                  <a:lnTo>
                    <a:pt x="7423" y="1933"/>
                  </a:lnTo>
                  <a:lnTo>
                    <a:pt x="7350" y="1914"/>
                  </a:lnTo>
                  <a:lnTo>
                    <a:pt x="7279" y="1893"/>
                  </a:lnTo>
                  <a:lnTo>
                    <a:pt x="7209" y="1870"/>
                  </a:lnTo>
                  <a:lnTo>
                    <a:pt x="7139" y="1845"/>
                  </a:lnTo>
                  <a:lnTo>
                    <a:pt x="7073" y="1818"/>
                  </a:lnTo>
                  <a:lnTo>
                    <a:pt x="7006" y="1789"/>
                  </a:lnTo>
                  <a:lnTo>
                    <a:pt x="6943" y="1758"/>
                  </a:lnTo>
                  <a:lnTo>
                    <a:pt x="6881" y="1725"/>
                  </a:lnTo>
                  <a:lnTo>
                    <a:pt x="6819" y="1691"/>
                  </a:lnTo>
                  <a:lnTo>
                    <a:pt x="6761" y="1655"/>
                  </a:lnTo>
                  <a:lnTo>
                    <a:pt x="6704" y="1617"/>
                  </a:lnTo>
                  <a:lnTo>
                    <a:pt x="6648" y="1579"/>
                  </a:lnTo>
                  <a:lnTo>
                    <a:pt x="6596" y="1538"/>
                  </a:lnTo>
                  <a:lnTo>
                    <a:pt x="6545" y="1495"/>
                  </a:lnTo>
                  <a:lnTo>
                    <a:pt x="6495" y="1452"/>
                  </a:lnTo>
                  <a:lnTo>
                    <a:pt x="6449" y="1407"/>
                  </a:lnTo>
                  <a:lnTo>
                    <a:pt x="6404" y="1361"/>
                  </a:lnTo>
                  <a:lnTo>
                    <a:pt x="6362" y="1314"/>
                  </a:lnTo>
                  <a:lnTo>
                    <a:pt x="6322" y="1264"/>
                  </a:lnTo>
                  <a:lnTo>
                    <a:pt x="6284" y="1215"/>
                  </a:lnTo>
                  <a:lnTo>
                    <a:pt x="6249" y="1164"/>
                  </a:lnTo>
                  <a:lnTo>
                    <a:pt x="6217" y="1112"/>
                  </a:lnTo>
                  <a:lnTo>
                    <a:pt x="6187" y="1059"/>
                  </a:lnTo>
                  <a:lnTo>
                    <a:pt x="6159" y="1004"/>
                  </a:lnTo>
                  <a:lnTo>
                    <a:pt x="9936" y="1004"/>
                  </a:lnTo>
                  <a:close/>
                  <a:moveTo>
                    <a:pt x="15718" y="2229"/>
                  </a:moveTo>
                  <a:lnTo>
                    <a:pt x="13203" y="220"/>
                  </a:lnTo>
                  <a:lnTo>
                    <a:pt x="13169" y="194"/>
                  </a:lnTo>
                  <a:lnTo>
                    <a:pt x="13135" y="170"/>
                  </a:lnTo>
                  <a:lnTo>
                    <a:pt x="13098" y="147"/>
                  </a:lnTo>
                  <a:lnTo>
                    <a:pt x="13061" y="126"/>
                  </a:lnTo>
                  <a:lnTo>
                    <a:pt x="13024" y="105"/>
                  </a:lnTo>
                  <a:lnTo>
                    <a:pt x="12986" y="87"/>
                  </a:lnTo>
                  <a:lnTo>
                    <a:pt x="12946" y="71"/>
                  </a:lnTo>
                  <a:lnTo>
                    <a:pt x="12907" y="56"/>
                  </a:lnTo>
                  <a:lnTo>
                    <a:pt x="12867" y="43"/>
                  </a:lnTo>
                  <a:lnTo>
                    <a:pt x="12827" y="32"/>
                  </a:lnTo>
                  <a:lnTo>
                    <a:pt x="12785" y="22"/>
                  </a:lnTo>
                  <a:lnTo>
                    <a:pt x="12743" y="14"/>
                  </a:lnTo>
                  <a:lnTo>
                    <a:pt x="12702" y="8"/>
                  </a:lnTo>
                  <a:lnTo>
                    <a:pt x="12660" y="4"/>
                  </a:lnTo>
                  <a:lnTo>
                    <a:pt x="12616" y="1"/>
                  </a:lnTo>
                  <a:lnTo>
                    <a:pt x="12574" y="0"/>
                  </a:lnTo>
                  <a:lnTo>
                    <a:pt x="3521" y="0"/>
                  </a:lnTo>
                  <a:lnTo>
                    <a:pt x="3479" y="1"/>
                  </a:lnTo>
                  <a:lnTo>
                    <a:pt x="3435" y="4"/>
                  </a:lnTo>
                  <a:lnTo>
                    <a:pt x="3393" y="8"/>
                  </a:lnTo>
                  <a:lnTo>
                    <a:pt x="3352" y="14"/>
                  </a:lnTo>
                  <a:lnTo>
                    <a:pt x="3310" y="22"/>
                  </a:lnTo>
                  <a:lnTo>
                    <a:pt x="3268" y="32"/>
                  </a:lnTo>
                  <a:lnTo>
                    <a:pt x="3228" y="43"/>
                  </a:lnTo>
                  <a:lnTo>
                    <a:pt x="3188" y="56"/>
                  </a:lnTo>
                  <a:lnTo>
                    <a:pt x="3149" y="71"/>
                  </a:lnTo>
                  <a:lnTo>
                    <a:pt x="3109" y="87"/>
                  </a:lnTo>
                  <a:lnTo>
                    <a:pt x="3071" y="105"/>
                  </a:lnTo>
                  <a:lnTo>
                    <a:pt x="3034" y="126"/>
                  </a:lnTo>
                  <a:lnTo>
                    <a:pt x="2997" y="147"/>
                  </a:lnTo>
                  <a:lnTo>
                    <a:pt x="2960" y="170"/>
                  </a:lnTo>
                  <a:lnTo>
                    <a:pt x="2926" y="194"/>
                  </a:lnTo>
                  <a:lnTo>
                    <a:pt x="2892" y="220"/>
                  </a:lnTo>
                  <a:lnTo>
                    <a:pt x="377" y="2229"/>
                  </a:lnTo>
                  <a:lnTo>
                    <a:pt x="347" y="2254"/>
                  </a:lnTo>
                  <a:lnTo>
                    <a:pt x="318" y="2280"/>
                  </a:lnTo>
                  <a:lnTo>
                    <a:pt x="290" y="2307"/>
                  </a:lnTo>
                  <a:lnTo>
                    <a:pt x="264" y="2335"/>
                  </a:lnTo>
                  <a:lnTo>
                    <a:pt x="237" y="2364"/>
                  </a:lnTo>
                  <a:lnTo>
                    <a:pt x="213" y="2393"/>
                  </a:lnTo>
                  <a:lnTo>
                    <a:pt x="191" y="2424"/>
                  </a:lnTo>
                  <a:lnTo>
                    <a:pt x="169" y="2455"/>
                  </a:lnTo>
                  <a:lnTo>
                    <a:pt x="148" y="2488"/>
                  </a:lnTo>
                  <a:lnTo>
                    <a:pt x="129" y="2521"/>
                  </a:lnTo>
                  <a:lnTo>
                    <a:pt x="112" y="2554"/>
                  </a:lnTo>
                  <a:lnTo>
                    <a:pt x="95" y="2588"/>
                  </a:lnTo>
                  <a:lnTo>
                    <a:pt x="79" y="2622"/>
                  </a:lnTo>
                  <a:lnTo>
                    <a:pt x="65" y="2657"/>
                  </a:lnTo>
                  <a:lnTo>
                    <a:pt x="52" y="2692"/>
                  </a:lnTo>
                  <a:lnTo>
                    <a:pt x="41" y="2729"/>
                  </a:lnTo>
                  <a:lnTo>
                    <a:pt x="31" y="2765"/>
                  </a:lnTo>
                  <a:lnTo>
                    <a:pt x="22" y="2802"/>
                  </a:lnTo>
                  <a:lnTo>
                    <a:pt x="15" y="2839"/>
                  </a:lnTo>
                  <a:lnTo>
                    <a:pt x="9" y="2876"/>
                  </a:lnTo>
                  <a:lnTo>
                    <a:pt x="5" y="2913"/>
                  </a:lnTo>
                  <a:lnTo>
                    <a:pt x="2" y="2952"/>
                  </a:lnTo>
                  <a:lnTo>
                    <a:pt x="0" y="2989"/>
                  </a:lnTo>
                  <a:lnTo>
                    <a:pt x="0" y="3027"/>
                  </a:lnTo>
                  <a:lnTo>
                    <a:pt x="1" y="3065"/>
                  </a:lnTo>
                  <a:lnTo>
                    <a:pt x="4" y="3103"/>
                  </a:lnTo>
                  <a:lnTo>
                    <a:pt x="8" y="3141"/>
                  </a:lnTo>
                  <a:lnTo>
                    <a:pt x="14" y="3180"/>
                  </a:lnTo>
                  <a:lnTo>
                    <a:pt x="21" y="3218"/>
                  </a:lnTo>
                  <a:lnTo>
                    <a:pt x="30" y="3256"/>
                  </a:lnTo>
                  <a:lnTo>
                    <a:pt x="40" y="3293"/>
                  </a:lnTo>
                  <a:lnTo>
                    <a:pt x="52" y="3331"/>
                  </a:lnTo>
                  <a:lnTo>
                    <a:pt x="1057" y="6344"/>
                  </a:lnTo>
                  <a:lnTo>
                    <a:pt x="1067" y="6371"/>
                  </a:lnTo>
                  <a:lnTo>
                    <a:pt x="1078" y="6398"/>
                  </a:lnTo>
                  <a:lnTo>
                    <a:pt x="1089" y="6425"/>
                  </a:lnTo>
                  <a:lnTo>
                    <a:pt x="1100" y="6452"/>
                  </a:lnTo>
                  <a:lnTo>
                    <a:pt x="1114" y="6478"/>
                  </a:lnTo>
                  <a:lnTo>
                    <a:pt x="1127" y="6504"/>
                  </a:lnTo>
                  <a:lnTo>
                    <a:pt x="1141" y="6529"/>
                  </a:lnTo>
                  <a:lnTo>
                    <a:pt x="1156" y="6553"/>
                  </a:lnTo>
                  <a:lnTo>
                    <a:pt x="1171" y="6577"/>
                  </a:lnTo>
                  <a:lnTo>
                    <a:pt x="1187" y="6601"/>
                  </a:lnTo>
                  <a:lnTo>
                    <a:pt x="1204" y="6624"/>
                  </a:lnTo>
                  <a:lnTo>
                    <a:pt x="1221" y="6647"/>
                  </a:lnTo>
                  <a:lnTo>
                    <a:pt x="1239" y="6669"/>
                  </a:lnTo>
                  <a:lnTo>
                    <a:pt x="1258" y="6692"/>
                  </a:lnTo>
                  <a:lnTo>
                    <a:pt x="1278" y="6713"/>
                  </a:lnTo>
                  <a:lnTo>
                    <a:pt x="1298" y="6733"/>
                  </a:lnTo>
                  <a:lnTo>
                    <a:pt x="1318" y="6753"/>
                  </a:lnTo>
                  <a:lnTo>
                    <a:pt x="1339" y="6772"/>
                  </a:lnTo>
                  <a:lnTo>
                    <a:pt x="1360" y="6791"/>
                  </a:lnTo>
                  <a:lnTo>
                    <a:pt x="1382" y="6809"/>
                  </a:lnTo>
                  <a:lnTo>
                    <a:pt x="1405" y="6827"/>
                  </a:lnTo>
                  <a:lnTo>
                    <a:pt x="1428" y="6844"/>
                  </a:lnTo>
                  <a:lnTo>
                    <a:pt x="1452" y="6860"/>
                  </a:lnTo>
                  <a:lnTo>
                    <a:pt x="1476" y="6875"/>
                  </a:lnTo>
                  <a:lnTo>
                    <a:pt x="1501" y="6890"/>
                  </a:lnTo>
                  <a:lnTo>
                    <a:pt x="1526" y="6905"/>
                  </a:lnTo>
                  <a:lnTo>
                    <a:pt x="1551" y="6919"/>
                  </a:lnTo>
                  <a:lnTo>
                    <a:pt x="1577" y="6932"/>
                  </a:lnTo>
                  <a:lnTo>
                    <a:pt x="1603" y="6944"/>
                  </a:lnTo>
                  <a:lnTo>
                    <a:pt x="1631" y="6956"/>
                  </a:lnTo>
                  <a:lnTo>
                    <a:pt x="1658" y="6966"/>
                  </a:lnTo>
                  <a:lnTo>
                    <a:pt x="1686" y="6976"/>
                  </a:lnTo>
                  <a:lnTo>
                    <a:pt x="1725" y="6989"/>
                  </a:lnTo>
                  <a:lnTo>
                    <a:pt x="1766" y="7000"/>
                  </a:lnTo>
                  <a:lnTo>
                    <a:pt x="1807" y="7009"/>
                  </a:lnTo>
                  <a:lnTo>
                    <a:pt x="1848" y="7016"/>
                  </a:lnTo>
                  <a:lnTo>
                    <a:pt x="1888" y="7022"/>
                  </a:lnTo>
                  <a:lnTo>
                    <a:pt x="1929" y="7027"/>
                  </a:lnTo>
                  <a:lnTo>
                    <a:pt x="1971" y="7029"/>
                  </a:lnTo>
                  <a:lnTo>
                    <a:pt x="2012" y="7030"/>
                  </a:lnTo>
                  <a:lnTo>
                    <a:pt x="2045" y="7029"/>
                  </a:lnTo>
                  <a:lnTo>
                    <a:pt x="2077" y="7028"/>
                  </a:lnTo>
                  <a:lnTo>
                    <a:pt x="2110" y="7025"/>
                  </a:lnTo>
                  <a:lnTo>
                    <a:pt x="2143" y="7021"/>
                  </a:lnTo>
                  <a:lnTo>
                    <a:pt x="2175" y="7017"/>
                  </a:lnTo>
                  <a:lnTo>
                    <a:pt x="2207" y="7011"/>
                  </a:lnTo>
                  <a:lnTo>
                    <a:pt x="2239" y="7004"/>
                  </a:lnTo>
                  <a:lnTo>
                    <a:pt x="2271" y="6996"/>
                  </a:lnTo>
                  <a:lnTo>
                    <a:pt x="2303" y="6987"/>
                  </a:lnTo>
                  <a:lnTo>
                    <a:pt x="2334" y="6977"/>
                  </a:lnTo>
                  <a:lnTo>
                    <a:pt x="2365" y="6966"/>
                  </a:lnTo>
                  <a:lnTo>
                    <a:pt x="2396" y="6954"/>
                  </a:lnTo>
                  <a:lnTo>
                    <a:pt x="2426" y="6941"/>
                  </a:lnTo>
                  <a:lnTo>
                    <a:pt x="2456" y="6927"/>
                  </a:lnTo>
                  <a:lnTo>
                    <a:pt x="2486" y="6911"/>
                  </a:lnTo>
                  <a:lnTo>
                    <a:pt x="2515" y="6895"/>
                  </a:lnTo>
                  <a:lnTo>
                    <a:pt x="2515" y="13056"/>
                  </a:lnTo>
                  <a:lnTo>
                    <a:pt x="2516" y="13107"/>
                  </a:lnTo>
                  <a:lnTo>
                    <a:pt x="2520" y="13158"/>
                  </a:lnTo>
                  <a:lnTo>
                    <a:pt x="2526" y="13208"/>
                  </a:lnTo>
                  <a:lnTo>
                    <a:pt x="2535" y="13258"/>
                  </a:lnTo>
                  <a:lnTo>
                    <a:pt x="2546" y="13307"/>
                  </a:lnTo>
                  <a:lnTo>
                    <a:pt x="2560" y="13354"/>
                  </a:lnTo>
                  <a:lnTo>
                    <a:pt x="2576" y="13401"/>
                  </a:lnTo>
                  <a:lnTo>
                    <a:pt x="2594" y="13446"/>
                  </a:lnTo>
                  <a:lnTo>
                    <a:pt x="2614" y="13491"/>
                  </a:lnTo>
                  <a:lnTo>
                    <a:pt x="2637" y="13535"/>
                  </a:lnTo>
                  <a:lnTo>
                    <a:pt x="2661" y="13576"/>
                  </a:lnTo>
                  <a:lnTo>
                    <a:pt x="2687" y="13617"/>
                  </a:lnTo>
                  <a:lnTo>
                    <a:pt x="2715" y="13656"/>
                  </a:lnTo>
                  <a:lnTo>
                    <a:pt x="2744" y="13694"/>
                  </a:lnTo>
                  <a:lnTo>
                    <a:pt x="2776" y="13731"/>
                  </a:lnTo>
                  <a:lnTo>
                    <a:pt x="2810" y="13766"/>
                  </a:lnTo>
                  <a:lnTo>
                    <a:pt x="2845" y="13799"/>
                  </a:lnTo>
                  <a:lnTo>
                    <a:pt x="2881" y="13831"/>
                  </a:lnTo>
                  <a:lnTo>
                    <a:pt x="2919" y="13860"/>
                  </a:lnTo>
                  <a:lnTo>
                    <a:pt x="2958" y="13888"/>
                  </a:lnTo>
                  <a:lnTo>
                    <a:pt x="3000" y="13914"/>
                  </a:lnTo>
                  <a:lnTo>
                    <a:pt x="3041" y="13938"/>
                  </a:lnTo>
                  <a:lnTo>
                    <a:pt x="3085" y="13961"/>
                  </a:lnTo>
                  <a:lnTo>
                    <a:pt x="3129" y="13981"/>
                  </a:lnTo>
                  <a:lnTo>
                    <a:pt x="3175" y="13999"/>
                  </a:lnTo>
                  <a:lnTo>
                    <a:pt x="3222" y="14015"/>
                  </a:lnTo>
                  <a:lnTo>
                    <a:pt x="3269" y="14028"/>
                  </a:lnTo>
                  <a:lnTo>
                    <a:pt x="3319" y="14040"/>
                  </a:lnTo>
                  <a:lnTo>
                    <a:pt x="3368" y="14048"/>
                  </a:lnTo>
                  <a:lnTo>
                    <a:pt x="3418" y="14055"/>
                  </a:lnTo>
                  <a:lnTo>
                    <a:pt x="3469" y="14059"/>
                  </a:lnTo>
                  <a:lnTo>
                    <a:pt x="3521" y="14060"/>
                  </a:lnTo>
                  <a:lnTo>
                    <a:pt x="12574" y="14060"/>
                  </a:lnTo>
                  <a:lnTo>
                    <a:pt x="12626" y="14059"/>
                  </a:lnTo>
                  <a:lnTo>
                    <a:pt x="12677" y="14055"/>
                  </a:lnTo>
                  <a:lnTo>
                    <a:pt x="12727" y="14048"/>
                  </a:lnTo>
                  <a:lnTo>
                    <a:pt x="12776" y="14040"/>
                  </a:lnTo>
                  <a:lnTo>
                    <a:pt x="12826" y="14028"/>
                  </a:lnTo>
                  <a:lnTo>
                    <a:pt x="12873" y="14015"/>
                  </a:lnTo>
                  <a:lnTo>
                    <a:pt x="12920" y="13999"/>
                  </a:lnTo>
                  <a:lnTo>
                    <a:pt x="12966" y="13981"/>
                  </a:lnTo>
                  <a:lnTo>
                    <a:pt x="13010" y="13961"/>
                  </a:lnTo>
                  <a:lnTo>
                    <a:pt x="13054" y="13938"/>
                  </a:lnTo>
                  <a:lnTo>
                    <a:pt x="13095" y="13914"/>
                  </a:lnTo>
                  <a:lnTo>
                    <a:pt x="13137" y="13888"/>
                  </a:lnTo>
                  <a:lnTo>
                    <a:pt x="13176" y="13860"/>
                  </a:lnTo>
                  <a:lnTo>
                    <a:pt x="13214" y="13831"/>
                  </a:lnTo>
                  <a:lnTo>
                    <a:pt x="13250" y="13799"/>
                  </a:lnTo>
                  <a:lnTo>
                    <a:pt x="13285" y="13766"/>
                  </a:lnTo>
                  <a:lnTo>
                    <a:pt x="13319" y="13731"/>
                  </a:lnTo>
                  <a:lnTo>
                    <a:pt x="13351" y="13694"/>
                  </a:lnTo>
                  <a:lnTo>
                    <a:pt x="13380" y="13656"/>
                  </a:lnTo>
                  <a:lnTo>
                    <a:pt x="13408" y="13617"/>
                  </a:lnTo>
                  <a:lnTo>
                    <a:pt x="13434" y="13576"/>
                  </a:lnTo>
                  <a:lnTo>
                    <a:pt x="13458" y="13535"/>
                  </a:lnTo>
                  <a:lnTo>
                    <a:pt x="13481" y="13491"/>
                  </a:lnTo>
                  <a:lnTo>
                    <a:pt x="13501" y="13446"/>
                  </a:lnTo>
                  <a:lnTo>
                    <a:pt x="13519" y="13401"/>
                  </a:lnTo>
                  <a:lnTo>
                    <a:pt x="13535" y="13354"/>
                  </a:lnTo>
                  <a:lnTo>
                    <a:pt x="13548" y="13307"/>
                  </a:lnTo>
                  <a:lnTo>
                    <a:pt x="13560" y="13258"/>
                  </a:lnTo>
                  <a:lnTo>
                    <a:pt x="13568" y="13208"/>
                  </a:lnTo>
                  <a:lnTo>
                    <a:pt x="13575" y="13158"/>
                  </a:lnTo>
                  <a:lnTo>
                    <a:pt x="13579" y="13107"/>
                  </a:lnTo>
                  <a:lnTo>
                    <a:pt x="13580" y="13056"/>
                  </a:lnTo>
                  <a:lnTo>
                    <a:pt x="13580" y="6895"/>
                  </a:lnTo>
                  <a:lnTo>
                    <a:pt x="13609" y="6911"/>
                  </a:lnTo>
                  <a:lnTo>
                    <a:pt x="13639" y="6927"/>
                  </a:lnTo>
                  <a:lnTo>
                    <a:pt x="13669" y="6941"/>
                  </a:lnTo>
                  <a:lnTo>
                    <a:pt x="13699" y="6954"/>
                  </a:lnTo>
                  <a:lnTo>
                    <a:pt x="13730" y="6966"/>
                  </a:lnTo>
                  <a:lnTo>
                    <a:pt x="13761" y="6977"/>
                  </a:lnTo>
                  <a:lnTo>
                    <a:pt x="13792" y="6987"/>
                  </a:lnTo>
                  <a:lnTo>
                    <a:pt x="13824" y="6996"/>
                  </a:lnTo>
                  <a:lnTo>
                    <a:pt x="13856" y="7004"/>
                  </a:lnTo>
                  <a:lnTo>
                    <a:pt x="13888" y="7011"/>
                  </a:lnTo>
                  <a:lnTo>
                    <a:pt x="13920" y="7017"/>
                  </a:lnTo>
                  <a:lnTo>
                    <a:pt x="13952" y="7021"/>
                  </a:lnTo>
                  <a:lnTo>
                    <a:pt x="13985" y="7025"/>
                  </a:lnTo>
                  <a:lnTo>
                    <a:pt x="14018" y="7028"/>
                  </a:lnTo>
                  <a:lnTo>
                    <a:pt x="14050" y="7029"/>
                  </a:lnTo>
                  <a:lnTo>
                    <a:pt x="14083" y="7030"/>
                  </a:lnTo>
                  <a:lnTo>
                    <a:pt x="14124" y="7029"/>
                  </a:lnTo>
                  <a:lnTo>
                    <a:pt x="14166" y="7027"/>
                  </a:lnTo>
                  <a:lnTo>
                    <a:pt x="14207" y="7022"/>
                  </a:lnTo>
                  <a:lnTo>
                    <a:pt x="14247" y="7016"/>
                  </a:lnTo>
                  <a:lnTo>
                    <a:pt x="14288" y="7009"/>
                  </a:lnTo>
                  <a:lnTo>
                    <a:pt x="14329" y="7000"/>
                  </a:lnTo>
                  <a:lnTo>
                    <a:pt x="14370" y="6989"/>
                  </a:lnTo>
                  <a:lnTo>
                    <a:pt x="14410" y="6976"/>
                  </a:lnTo>
                  <a:lnTo>
                    <a:pt x="14437" y="6966"/>
                  </a:lnTo>
                  <a:lnTo>
                    <a:pt x="14464" y="6956"/>
                  </a:lnTo>
                  <a:lnTo>
                    <a:pt x="14492" y="6944"/>
                  </a:lnTo>
                  <a:lnTo>
                    <a:pt x="14518" y="6932"/>
                  </a:lnTo>
                  <a:lnTo>
                    <a:pt x="14544" y="6919"/>
                  </a:lnTo>
                  <a:lnTo>
                    <a:pt x="14569" y="6905"/>
                  </a:lnTo>
                  <a:lnTo>
                    <a:pt x="14594" y="6890"/>
                  </a:lnTo>
                  <a:lnTo>
                    <a:pt x="14619" y="6875"/>
                  </a:lnTo>
                  <a:lnTo>
                    <a:pt x="14643" y="6860"/>
                  </a:lnTo>
                  <a:lnTo>
                    <a:pt x="14667" y="6844"/>
                  </a:lnTo>
                  <a:lnTo>
                    <a:pt x="14690" y="6827"/>
                  </a:lnTo>
                  <a:lnTo>
                    <a:pt x="14713" y="6809"/>
                  </a:lnTo>
                  <a:lnTo>
                    <a:pt x="14735" y="6791"/>
                  </a:lnTo>
                  <a:lnTo>
                    <a:pt x="14756" y="6772"/>
                  </a:lnTo>
                  <a:lnTo>
                    <a:pt x="14777" y="6753"/>
                  </a:lnTo>
                  <a:lnTo>
                    <a:pt x="14797" y="6733"/>
                  </a:lnTo>
                  <a:lnTo>
                    <a:pt x="14817" y="6713"/>
                  </a:lnTo>
                  <a:lnTo>
                    <a:pt x="14837" y="6692"/>
                  </a:lnTo>
                  <a:lnTo>
                    <a:pt x="14856" y="6669"/>
                  </a:lnTo>
                  <a:lnTo>
                    <a:pt x="14874" y="6647"/>
                  </a:lnTo>
                  <a:lnTo>
                    <a:pt x="14891" y="6624"/>
                  </a:lnTo>
                  <a:lnTo>
                    <a:pt x="14908" y="6601"/>
                  </a:lnTo>
                  <a:lnTo>
                    <a:pt x="14924" y="6577"/>
                  </a:lnTo>
                  <a:lnTo>
                    <a:pt x="14939" y="6553"/>
                  </a:lnTo>
                  <a:lnTo>
                    <a:pt x="14954" y="6529"/>
                  </a:lnTo>
                  <a:lnTo>
                    <a:pt x="14968" y="6504"/>
                  </a:lnTo>
                  <a:lnTo>
                    <a:pt x="14981" y="6478"/>
                  </a:lnTo>
                  <a:lnTo>
                    <a:pt x="14995" y="6452"/>
                  </a:lnTo>
                  <a:lnTo>
                    <a:pt x="15006" y="6425"/>
                  </a:lnTo>
                  <a:lnTo>
                    <a:pt x="15017" y="6398"/>
                  </a:lnTo>
                  <a:lnTo>
                    <a:pt x="15028" y="6371"/>
                  </a:lnTo>
                  <a:lnTo>
                    <a:pt x="15038" y="6344"/>
                  </a:lnTo>
                  <a:lnTo>
                    <a:pt x="16044" y="3331"/>
                  </a:lnTo>
                  <a:lnTo>
                    <a:pt x="16055" y="3293"/>
                  </a:lnTo>
                  <a:lnTo>
                    <a:pt x="16065" y="3256"/>
                  </a:lnTo>
                  <a:lnTo>
                    <a:pt x="16074" y="3218"/>
                  </a:lnTo>
                  <a:lnTo>
                    <a:pt x="16081" y="3180"/>
                  </a:lnTo>
                  <a:lnTo>
                    <a:pt x="16087" y="3141"/>
                  </a:lnTo>
                  <a:lnTo>
                    <a:pt x="16091" y="3103"/>
                  </a:lnTo>
                  <a:lnTo>
                    <a:pt x="16094" y="3065"/>
                  </a:lnTo>
                  <a:lnTo>
                    <a:pt x="16095" y="3027"/>
                  </a:lnTo>
                  <a:lnTo>
                    <a:pt x="16095" y="2989"/>
                  </a:lnTo>
                  <a:lnTo>
                    <a:pt x="16093" y="2952"/>
                  </a:lnTo>
                  <a:lnTo>
                    <a:pt x="16090" y="2913"/>
                  </a:lnTo>
                  <a:lnTo>
                    <a:pt x="16086" y="2876"/>
                  </a:lnTo>
                  <a:lnTo>
                    <a:pt x="16080" y="2839"/>
                  </a:lnTo>
                  <a:lnTo>
                    <a:pt x="16073" y="2802"/>
                  </a:lnTo>
                  <a:lnTo>
                    <a:pt x="16064" y="2765"/>
                  </a:lnTo>
                  <a:lnTo>
                    <a:pt x="16054" y="2729"/>
                  </a:lnTo>
                  <a:lnTo>
                    <a:pt x="16043" y="2692"/>
                  </a:lnTo>
                  <a:lnTo>
                    <a:pt x="16030" y="2657"/>
                  </a:lnTo>
                  <a:lnTo>
                    <a:pt x="16016" y="2622"/>
                  </a:lnTo>
                  <a:lnTo>
                    <a:pt x="16000" y="2588"/>
                  </a:lnTo>
                  <a:lnTo>
                    <a:pt x="15983" y="2554"/>
                  </a:lnTo>
                  <a:lnTo>
                    <a:pt x="15966" y="2521"/>
                  </a:lnTo>
                  <a:lnTo>
                    <a:pt x="15947" y="2488"/>
                  </a:lnTo>
                  <a:lnTo>
                    <a:pt x="15926" y="2455"/>
                  </a:lnTo>
                  <a:lnTo>
                    <a:pt x="15904" y="2424"/>
                  </a:lnTo>
                  <a:lnTo>
                    <a:pt x="15882" y="2393"/>
                  </a:lnTo>
                  <a:lnTo>
                    <a:pt x="15858" y="2364"/>
                  </a:lnTo>
                  <a:lnTo>
                    <a:pt x="15831" y="2335"/>
                  </a:lnTo>
                  <a:lnTo>
                    <a:pt x="15805" y="2307"/>
                  </a:lnTo>
                  <a:lnTo>
                    <a:pt x="15777" y="2280"/>
                  </a:lnTo>
                  <a:lnTo>
                    <a:pt x="15748" y="2254"/>
                  </a:lnTo>
                  <a:lnTo>
                    <a:pt x="15718" y="222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05" name="íśliḍê">
              <a:extLst>
                <a:ext uri="{FF2B5EF4-FFF2-40B4-BE49-F238E27FC236}">
                  <a16:creationId xmlns:a16="http://schemas.microsoft.com/office/drawing/2014/main" id="{698BE461-04A1-40C2-8D3B-A7A7FB80ABD6}"/>
                </a:ext>
              </a:extLst>
            </p:cNvPr>
            <p:cNvSpPr/>
            <p:nvPr/>
          </p:nvSpPr>
          <p:spPr bwMode="auto">
            <a:xfrm>
              <a:off x="8308470" y="1612170"/>
              <a:ext cx="403593" cy="404523"/>
            </a:xfrm>
            <a:custGeom>
              <a:avLst/>
              <a:gdLst>
                <a:gd name="T0" fmla="*/ 15014 w 16058"/>
                <a:gd name="T1" fmla="*/ 14913 h 16095"/>
                <a:gd name="T2" fmla="*/ 14893 w 16058"/>
                <a:gd name="T3" fmla="*/ 15041 h 16095"/>
                <a:gd name="T4" fmla="*/ 14719 w 16058"/>
                <a:gd name="T5" fmla="*/ 15089 h 16095"/>
                <a:gd name="T6" fmla="*/ 1179 w 16058"/>
                <a:gd name="T7" fmla="*/ 15049 h 16095"/>
                <a:gd name="T8" fmla="*/ 1052 w 16058"/>
                <a:gd name="T9" fmla="*/ 14927 h 16095"/>
                <a:gd name="T10" fmla="*/ 1004 w 16058"/>
                <a:gd name="T11" fmla="*/ 14754 h 16095"/>
                <a:gd name="T12" fmla="*/ 1044 w 16058"/>
                <a:gd name="T13" fmla="*/ 2690 h 16095"/>
                <a:gd name="T14" fmla="*/ 1165 w 16058"/>
                <a:gd name="T15" fmla="*/ 2563 h 16095"/>
                <a:gd name="T16" fmla="*/ 1338 w 16058"/>
                <a:gd name="T17" fmla="*/ 2515 h 16095"/>
                <a:gd name="T18" fmla="*/ 3562 w 16058"/>
                <a:gd name="T19" fmla="*/ 3739 h 16095"/>
                <a:gd name="T20" fmla="*/ 3733 w 16058"/>
                <a:gd name="T21" fmla="*/ 3938 h 16095"/>
                <a:gd name="T22" fmla="*/ 3988 w 16058"/>
                <a:gd name="T23" fmla="*/ 4023 h 16095"/>
                <a:gd name="T24" fmla="*/ 4253 w 16058"/>
                <a:gd name="T25" fmla="*/ 3963 h 16095"/>
                <a:gd name="T26" fmla="*/ 4444 w 16058"/>
                <a:gd name="T27" fmla="*/ 3781 h 16095"/>
                <a:gd name="T28" fmla="*/ 4516 w 16058"/>
                <a:gd name="T29" fmla="*/ 3521 h 16095"/>
                <a:gd name="T30" fmla="*/ 7566 w 16058"/>
                <a:gd name="T31" fmla="*/ 3717 h 16095"/>
                <a:gd name="T32" fmla="*/ 7729 w 16058"/>
                <a:gd name="T33" fmla="*/ 3924 h 16095"/>
                <a:gd name="T34" fmla="*/ 7978 w 16058"/>
                <a:gd name="T35" fmla="*/ 4021 h 16095"/>
                <a:gd name="T36" fmla="*/ 8247 w 16058"/>
                <a:gd name="T37" fmla="*/ 3974 h 16095"/>
                <a:gd name="T38" fmla="*/ 8446 w 16058"/>
                <a:gd name="T39" fmla="*/ 3802 h 16095"/>
                <a:gd name="T40" fmla="*/ 8530 w 16058"/>
                <a:gd name="T41" fmla="*/ 3547 h 16095"/>
                <a:gd name="T42" fmla="*/ 11572 w 16058"/>
                <a:gd name="T43" fmla="*/ 3694 h 16095"/>
                <a:gd name="T44" fmla="*/ 11724 w 16058"/>
                <a:gd name="T45" fmla="*/ 3909 h 16095"/>
                <a:gd name="T46" fmla="*/ 11967 w 16058"/>
                <a:gd name="T47" fmla="*/ 4018 h 16095"/>
                <a:gd name="T48" fmla="*/ 12238 w 16058"/>
                <a:gd name="T49" fmla="*/ 3985 h 16095"/>
                <a:gd name="T50" fmla="*/ 12446 w 16058"/>
                <a:gd name="T51" fmla="*/ 3822 h 16095"/>
                <a:gd name="T52" fmla="*/ 12542 w 16058"/>
                <a:gd name="T53" fmla="*/ 3572 h 16095"/>
                <a:gd name="T54" fmla="*/ 14835 w 16058"/>
                <a:gd name="T55" fmla="*/ 2535 h 16095"/>
                <a:gd name="T56" fmla="*/ 14978 w 16058"/>
                <a:gd name="T57" fmla="*/ 2637 h 16095"/>
                <a:gd name="T58" fmla="*/ 15050 w 16058"/>
                <a:gd name="T59" fmla="*/ 2799 h 16095"/>
                <a:gd name="T60" fmla="*/ 12535 w 16058"/>
                <a:gd name="T61" fmla="*/ 401 h 16095"/>
                <a:gd name="T62" fmla="*/ 12415 w 16058"/>
                <a:gd name="T63" fmla="*/ 165 h 16095"/>
                <a:gd name="T64" fmla="*/ 12193 w 16058"/>
                <a:gd name="T65" fmla="*/ 22 h 16095"/>
                <a:gd name="T66" fmla="*/ 11918 w 16058"/>
                <a:gd name="T67" fmla="*/ 16 h 16095"/>
                <a:gd name="T68" fmla="*/ 11688 w 16058"/>
                <a:gd name="T69" fmla="*/ 147 h 16095"/>
                <a:gd name="T70" fmla="*/ 11558 w 16058"/>
                <a:gd name="T71" fmla="*/ 377 h 16095"/>
                <a:gd name="T72" fmla="*/ 8525 w 16058"/>
                <a:gd name="T73" fmla="*/ 427 h 16095"/>
                <a:gd name="T74" fmla="*/ 8416 w 16058"/>
                <a:gd name="T75" fmla="*/ 183 h 16095"/>
                <a:gd name="T76" fmla="*/ 8202 w 16058"/>
                <a:gd name="T77" fmla="*/ 30 h 16095"/>
                <a:gd name="T78" fmla="*/ 7928 w 16058"/>
                <a:gd name="T79" fmla="*/ 10 h 16095"/>
                <a:gd name="T80" fmla="*/ 7692 w 16058"/>
                <a:gd name="T81" fmla="*/ 131 h 16095"/>
                <a:gd name="T82" fmla="*/ 7549 w 16058"/>
                <a:gd name="T83" fmla="*/ 353 h 16095"/>
                <a:gd name="T84" fmla="*/ 4513 w 16058"/>
                <a:gd name="T85" fmla="*/ 452 h 16095"/>
                <a:gd name="T86" fmla="*/ 4417 w 16058"/>
                <a:gd name="T87" fmla="*/ 202 h 16095"/>
                <a:gd name="T88" fmla="*/ 4210 w 16058"/>
                <a:gd name="T89" fmla="*/ 39 h 16095"/>
                <a:gd name="T90" fmla="*/ 3938 w 16058"/>
                <a:gd name="T91" fmla="*/ 6 h 16095"/>
                <a:gd name="T92" fmla="*/ 3695 w 16058"/>
                <a:gd name="T93" fmla="*/ 115 h 16095"/>
                <a:gd name="T94" fmla="*/ 3543 w 16058"/>
                <a:gd name="T95" fmla="*/ 330 h 16095"/>
                <a:gd name="T96" fmla="*/ 1201 w 16058"/>
                <a:gd name="T97" fmla="*/ 1516 h 16095"/>
                <a:gd name="T98" fmla="*/ 538 w 16058"/>
                <a:gd name="T99" fmla="*/ 1775 h 16095"/>
                <a:gd name="T100" fmla="*/ 105 w 16058"/>
                <a:gd name="T101" fmla="*/ 2328 h 16095"/>
                <a:gd name="T102" fmla="*/ 7 w 16058"/>
                <a:gd name="T103" fmla="*/ 14891 h 16095"/>
                <a:gd name="T104" fmla="*/ 266 w 16058"/>
                <a:gd name="T105" fmla="*/ 15556 h 16095"/>
                <a:gd name="T106" fmla="*/ 817 w 16058"/>
                <a:gd name="T107" fmla="*/ 15989 h 16095"/>
                <a:gd name="T108" fmla="*/ 14857 w 16058"/>
                <a:gd name="T109" fmla="*/ 16088 h 16095"/>
                <a:gd name="T110" fmla="*/ 15520 w 16058"/>
                <a:gd name="T111" fmla="*/ 15828 h 16095"/>
                <a:gd name="T112" fmla="*/ 15953 w 16058"/>
                <a:gd name="T113" fmla="*/ 15276 h 16095"/>
                <a:gd name="T114" fmla="*/ 16051 w 16058"/>
                <a:gd name="T115" fmla="*/ 2713 h 16095"/>
                <a:gd name="T116" fmla="*/ 15792 w 16058"/>
                <a:gd name="T117" fmla="*/ 2047 h 16095"/>
                <a:gd name="T118" fmla="*/ 15241 w 16058"/>
                <a:gd name="T119" fmla="*/ 1615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58" h="16095">
                  <a:moveTo>
                    <a:pt x="15054" y="14754"/>
                  </a:moveTo>
                  <a:lnTo>
                    <a:pt x="15053" y="14771"/>
                  </a:lnTo>
                  <a:lnTo>
                    <a:pt x="15052" y="14788"/>
                  </a:lnTo>
                  <a:lnTo>
                    <a:pt x="15050" y="14804"/>
                  </a:lnTo>
                  <a:lnTo>
                    <a:pt x="15047" y="14821"/>
                  </a:lnTo>
                  <a:lnTo>
                    <a:pt x="15043" y="14838"/>
                  </a:lnTo>
                  <a:lnTo>
                    <a:pt x="15039" y="14854"/>
                  </a:lnTo>
                  <a:lnTo>
                    <a:pt x="15034" y="14869"/>
                  </a:lnTo>
                  <a:lnTo>
                    <a:pt x="15028" y="14884"/>
                  </a:lnTo>
                  <a:lnTo>
                    <a:pt x="15021" y="14899"/>
                  </a:lnTo>
                  <a:lnTo>
                    <a:pt x="15014" y="14913"/>
                  </a:lnTo>
                  <a:lnTo>
                    <a:pt x="15006" y="14927"/>
                  </a:lnTo>
                  <a:lnTo>
                    <a:pt x="14997" y="14941"/>
                  </a:lnTo>
                  <a:lnTo>
                    <a:pt x="14988" y="14954"/>
                  </a:lnTo>
                  <a:lnTo>
                    <a:pt x="14978" y="14967"/>
                  </a:lnTo>
                  <a:lnTo>
                    <a:pt x="14967" y="14979"/>
                  </a:lnTo>
                  <a:lnTo>
                    <a:pt x="14956" y="14990"/>
                  </a:lnTo>
                  <a:lnTo>
                    <a:pt x="14945" y="15002"/>
                  </a:lnTo>
                  <a:lnTo>
                    <a:pt x="14932" y="15013"/>
                  </a:lnTo>
                  <a:lnTo>
                    <a:pt x="14920" y="15023"/>
                  </a:lnTo>
                  <a:lnTo>
                    <a:pt x="14907" y="15032"/>
                  </a:lnTo>
                  <a:lnTo>
                    <a:pt x="14893" y="15041"/>
                  </a:lnTo>
                  <a:lnTo>
                    <a:pt x="14879" y="15049"/>
                  </a:lnTo>
                  <a:lnTo>
                    <a:pt x="14865" y="15056"/>
                  </a:lnTo>
                  <a:lnTo>
                    <a:pt x="14850" y="15063"/>
                  </a:lnTo>
                  <a:lnTo>
                    <a:pt x="14835" y="15069"/>
                  </a:lnTo>
                  <a:lnTo>
                    <a:pt x="14820" y="15074"/>
                  </a:lnTo>
                  <a:lnTo>
                    <a:pt x="14803" y="15079"/>
                  </a:lnTo>
                  <a:lnTo>
                    <a:pt x="14787" y="15082"/>
                  </a:lnTo>
                  <a:lnTo>
                    <a:pt x="14770" y="15085"/>
                  </a:lnTo>
                  <a:lnTo>
                    <a:pt x="14754" y="15087"/>
                  </a:lnTo>
                  <a:lnTo>
                    <a:pt x="14737" y="15089"/>
                  </a:lnTo>
                  <a:lnTo>
                    <a:pt x="14719" y="15089"/>
                  </a:lnTo>
                  <a:lnTo>
                    <a:pt x="1338" y="15089"/>
                  </a:lnTo>
                  <a:lnTo>
                    <a:pt x="1321" y="15089"/>
                  </a:lnTo>
                  <a:lnTo>
                    <a:pt x="1304" y="15087"/>
                  </a:lnTo>
                  <a:lnTo>
                    <a:pt x="1288" y="15085"/>
                  </a:lnTo>
                  <a:lnTo>
                    <a:pt x="1271" y="15082"/>
                  </a:lnTo>
                  <a:lnTo>
                    <a:pt x="1255" y="15079"/>
                  </a:lnTo>
                  <a:lnTo>
                    <a:pt x="1238" y="15074"/>
                  </a:lnTo>
                  <a:lnTo>
                    <a:pt x="1223" y="15069"/>
                  </a:lnTo>
                  <a:lnTo>
                    <a:pt x="1208" y="15063"/>
                  </a:lnTo>
                  <a:lnTo>
                    <a:pt x="1193" y="15056"/>
                  </a:lnTo>
                  <a:lnTo>
                    <a:pt x="1179" y="15049"/>
                  </a:lnTo>
                  <a:lnTo>
                    <a:pt x="1165" y="15041"/>
                  </a:lnTo>
                  <a:lnTo>
                    <a:pt x="1151" y="15032"/>
                  </a:lnTo>
                  <a:lnTo>
                    <a:pt x="1138" y="15023"/>
                  </a:lnTo>
                  <a:lnTo>
                    <a:pt x="1125" y="15013"/>
                  </a:lnTo>
                  <a:lnTo>
                    <a:pt x="1113" y="15002"/>
                  </a:lnTo>
                  <a:lnTo>
                    <a:pt x="1102" y="14990"/>
                  </a:lnTo>
                  <a:lnTo>
                    <a:pt x="1091" y="14979"/>
                  </a:lnTo>
                  <a:lnTo>
                    <a:pt x="1080" y="14967"/>
                  </a:lnTo>
                  <a:lnTo>
                    <a:pt x="1070" y="14954"/>
                  </a:lnTo>
                  <a:lnTo>
                    <a:pt x="1061" y="14941"/>
                  </a:lnTo>
                  <a:lnTo>
                    <a:pt x="1052" y="14927"/>
                  </a:lnTo>
                  <a:lnTo>
                    <a:pt x="1044" y="14913"/>
                  </a:lnTo>
                  <a:lnTo>
                    <a:pt x="1037" y="14899"/>
                  </a:lnTo>
                  <a:lnTo>
                    <a:pt x="1030" y="14884"/>
                  </a:lnTo>
                  <a:lnTo>
                    <a:pt x="1024" y="14869"/>
                  </a:lnTo>
                  <a:lnTo>
                    <a:pt x="1019" y="14854"/>
                  </a:lnTo>
                  <a:lnTo>
                    <a:pt x="1014" y="14838"/>
                  </a:lnTo>
                  <a:lnTo>
                    <a:pt x="1011" y="14821"/>
                  </a:lnTo>
                  <a:lnTo>
                    <a:pt x="1008" y="14804"/>
                  </a:lnTo>
                  <a:lnTo>
                    <a:pt x="1006" y="14788"/>
                  </a:lnTo>
                  <a:lnTo>
                    <a:pt x="1004" y="14771"/>
                  </a:lnTo>
                  <a:lnTo>
                    <a:pt x="1004" y="14754"/>
                  </a:lnTo>
                  <a:lnTo>
                    <a:pt x="1004" y="2850"/>
                  </a:lnTo>
                  <a:lnTo>
                    <a:pt x="1004" y="2833"/>
                  </a:lnTo>
                  <a:lnTo>
                    <a:pt x="1006" y="2816"/>
                  </a:lnTo>
                  <a:lnTo>
                    <a:pt x="1008" y="2799"/>
                  </a:lnTo>
                  <a:lnTo>
                    <a:pt x="1011" y="2782"/>
                  </a:lnTo>
                  <a:lnTo>
                    <a:pt x="1014" y="2766"/>
                  </a:lnTo>
                  <a:lnTo>
                    <a:pt x="1019" y="2750"/>
                  </a:lnTo>
                  <a:lnTo>
                    <a:pt x="1024" y="2735"/>
                  </a:lnTo>
                  <a:lnTo>
                    <a:pt x="1030" y="2720"/>
                  </a:lnTo>
                  <a:lnTo>
                    <a:pt x="1037" y="2705"/>
                  </a:lnTo>
                  <a:lnTo>
                    <a:pt x="1044" y="2690"/>
                  </a:lnTo>
                  <a:lnTo>
                    <a:pt x="1052" y="2676"/>
                  </a:lnTo>
                  <a:lnTo>
                    <a:pt x="1061" y="2663"/>
                  </a:lnTo>
                  <a:lnTo>
                    <a:pt x="1070" y="2650"/>
                  </a:lnTo>
                  <a:lnTo>
                    <a:pt x="1080" y="2637"/>
                  </a:lnTo>
                  <a:lnTo>
                    <a:pt x="1091" y="2624"/>
                  </a:lnTo>
                  <a:lnTo>
                    <a:pt x="1102" y="2613"/>
                  </a:lnTo>
                  <a:lnTo>
                    <a:pt x="1113" y="2602"/>
                  </a:lnTo>
                  <a:lnTo>
                    <a:pt x="1125" y="2591"/>
                  </a:lnTo>
                  <a:lnTo>
                    <a:pt x="1138" y="2581"/>
                  </a:lnTo>
                  <a:lnTo>
                    <a:pt x="1151" y="2572"/>
                  </a:lnTo>
                  <a:lnTo>
                    <a:pt x="1165" y="2563"/>
                  </a:lnTo>
                  <a:lnTo>
                    <a:pt x="1179" y="2555"/>
                  </a:lnTo>
                  <a:lnTo>
                    <a:pt x="1193" y="2548"/>
                  </a:lnTo>
                  <a:lnTo>
                    <a:pt x="1208" y="2541"/>
                  </a:lnTo>
                  <a:lnTo>
                    <a:pt x="1223" y="2535"/>
                  </a:lnTo>
                  <a:lnTo>
                    <a:pt x="1238" y="2530"/>
                  </a:lnTo>
                  <a:lnTo>
                    <a:pt x="1255" y="2525"/>
                  </a:lnTo>
                  <a:lnTo>
                    <a:pt x="1271" y="2522"/>
                  </a:lnTo>
                  <a:lnTo>
                    <a:pt x="1288" y="2519"/>
                  </a:lnTo>
                  <a:lnTo>
                    <a:pt x="1304" y="2517"/>
                  </a:lnTo>
                  <a:lnTo>
                    <a:pt x="1321" y="2515"/>
                  </a:lnTo>
                  <a:lnTo>
                    <a:pt x="1338" y="2515"/>
                  </a:lnTo>
                  <a:lnTo>
                    <a:pt x="3513" y="2515"/>
                  </a:lnTo>
                  <a:lnTo>
                    <a:pt x="3513" y="3521"/>
                  </a:lnTo>
                  <a:lnTo>
                    <a:pt x="3514" y="3547"/>
                  </a:lnTo>
                  <a:lnTo>
                    <a:pt x="3515" y="3572"/>
                  </a:lnTo>
                  <a:lnTo>
                    <a:pt x="3519" y="3597"/>
                  </a:lnTo>
                  <a:lnTo>
                    <a:pt x="3523" y="3622"/>
                  </a:lnTo>
                  <a:lnTo>
                    <a:pt x="3529" y="3647"/>
                  </a:lnTo>
                  <a:lnTo>
                    <a:pt x="3535" y="3671"/>
                  </a:lnTo>
                  <a:lnTo>
                    <a:pt x="3543" y="3694"/>
                  </a:lnTo>
                  <a:lnTo>
                    <a:pt x="3552" y="3717"/>
                  </a:lnTo>
                  <a:lnTo>
                    <a:pt x="3562" y="3739"/>
                  </a:lnTo>
                  <a:lnTo>
                    <a:pt x="3573" y="3760"/>
                  </a:lnTo>
                  <a:lnTo>
                    <a:pt x="3585" y="3781"/>
                  </a:lnTo>
                  <a:lnTo>
                    <a:pt x="3598" y="3802"/>
                  </a:lnTo>
                  <a:lnTo>
                    <a:pt x="3612" y="3822"/>
                  </a:lnTo>
                  <a:lnTo>
                    <a:pt x="3627" y="3841"/>
                  </a:lnTo>
                  <a:lnTo>
                    <a:pt x="3643" y="3859"/>
                  </a:lnTo>
                  <a:lnTo>
                    <a:pt x="3659" y="3877"/>
                  </a:lnTo>
                  <a:lnTo>
                    <a:pt x="3677" y="3893"/>
                  </a:lnTo>
                  <a:lnTo>
                    <a:pt x="3695" y="3909"/>
                  </a:lnTo>
                  <a:lnTo>
                    <a:pt x="3714" y="3924"/>
                  </a:lnTo>
                  <a:lnTo>
                    <a:pt x="3733" y="3938"/>
                  </a:lnTo>
                  <a:lnTo>
                    <a:pt x="3755" y="3951"/>
                  </a:lnTo>
                  <a:lnTo>
                    <a:pt x="3776" y="3963"/>
                  </a:lnTo>
                  <a:lnTo>
                    <a:pt x="3797" y="3974"/>
                  </a:lnTo>
                  <a:lnTo>
                    <a:pt x="3819" y="3985"/>
                  </a:lnTo>
                  <a:lnTo>
                    <a:pt x="3842" y="3994"/>
                  </a:lnTo>
                  <a:lnTo>
                    <a:pt x="3865" y="4002"/>
                  </a:lnTo>
                  <a:lnTo>
                    <a:pt x="3889" y="4008"/>
                  </a:lnTo>
                  <a:lnTo>
                    <a:pt x="3913" y="4014"/>
                  </a:lnTo>
                  <a:lnTo>
                    <a:pt x="3938" y="4018"/>
                  </a:lnTo>
                  <a:lnTo>
                    <a:pt x="3963" y="4021"/>
                  </a:lnTo>
                  <a:lnTo>
                    <a:pt x="3988" y="4023"/>
                  </a:lnTo>
                  <a:lnTo>
                    <a:pt x="4015" y="4024"/>
                  </a:lnTo>
                  <a:lnTo>
                    <a:pt x="4041" y="4023"/>
                  </a:lnTo>
                  <a:lnTo>
                    <a:pt x="4066" y="4021"/>
                  </a:lnTo>
                  <a:lnTo>
                    <a:pt x="4091" y="4018"/>
                  </a:lnTo>
                  <a:lnTo>
                    <a:pt x="4116" y="4014"/>
                  </a:lnTo>
                  <a:lnTo>
                    <a:pt x="4140" y="4008"/>
                  </a:lnTo>
                  <a:lnTo>
                    <a:pt x="4164" y="4002"/>
                  </a:lnTo>
                  <a:lnTo>
                    <a:pt x="4187" y="3994"/>
                  </a:lnTo>
                  <a:lnTo>
                    <a:pt x="4210" y="3985"/>
                  </a:lnTo>
                  <a:lnTo>
                    <a:pt x="4232" y="3974"/>
                  </a:lnTo>
                  <a:lnTo>
                    <a:pt x="4253" y="3963"/>
                  </a:lnTo>
                  <a:lnTo>
                    <a:pt x="4274" y="3951"/>
                  </a:lnTo>
                  <a:lnTo>
                    <a:pt x="4295" y="3938"/>
                  </a:lnTo>
                  <a:lnTo>
                    <a:pt x="4315" y="3924"/>
                  </a:lnTo>
                  <a:lnTo>
                    <a:pt x="4334" y="3909"/>
                  </a:lnTo>
                  <a:lnTo>
                    <a:pt x="4352" y="3893"/>
                  </a:lnTo>
                  <a:lnTo>
                    <a:pt x="4369" y="3877"/>
                  </a:lnTo>
                  <a:lnTo>
                    <a:pt x="4386" y="3859"/>
                  </a:lnTo>
                  <a:lnTo>
                    <a:pt x="4402" y="3841"/>
                  </a:lnTo>
                  <a:lnTo>
                    <a:pt x="4417" y="3822"/>
                  </a:lnTo>
                  <a:lnTo>
                    <a:pt x="4431" y="3802"/>
                  </a:lnTo>
                  <a:lnTo>
                    <a:pt x="4444" y="3781"/>
                  </a:lnTo>
                  <a:lnTo>
                    <a:pt x="4456" y="3760"/>
                  </a:lnTo>
                  <a:lnTo>
                    <a:pt x="4467" y="3739"/>
                  </a:lnTo>
                  <a:lnTo>
                    <a:pt x="4477" y="3717"/>
                  </a:lnTo>
                  <a:lnTo>
                    <a:pt x="4486" y="3694"/>
                  </a:lnTo>
                  <a:lnTo>
                    <a:pt x="4493" y="3671"/>
                  </a:lnTo>
                  <a:lnTo>
                    <a:pt x="4500" y="3647"/>
                  </a:lnTo>
                  <a:lnTo>
                    <a:pt x="4506" y="3622"/>
                  </a:lnTo>
                  <a:lnTo>
                    <a:pt x="4510" y="3597"/>
                  </a:lnTo>
                  <a:lnTo>
                    <a:pt x="4513" y="3572"/>
                  </a:lnTo>
                  <a:lnTo>
                    <a:pt x="4515" y="3547"/>
                  </a:lnTo>
                  <a:lnTo>
                    <a:pt x="4516" y="3521"/>
                  </a:lnTo>
                  <a:lnTo>
                    <a:pt x="4516" y="2515"/>
                  </a:lnTo>
                  <a:lnTo>
                    <a:pt x="7527" y="2515"/>
                  </a:lnTo>
                  <a:lnTo>
                    <a:pt x="7527" y="3521"/>
                  </a:lnTo>
                  <a:lnTo>
                    <a:pt x="7528" y="3547"/>
                  </a:lnTo>
                  <a:lnTo>
                    <a:pt x="7529" y="3572"/>
                  </a:lnTo>
                  <a:lnTo>
                    <a:pt x="7533" y="3597"/>
                  </a:lnTo>
                  <a:lnTo>
                    <a:pt x="7537" y="3622"/>
                  </a:lnTo>
                  <a:lnTo>
                    <a:pt x="7543" y="3647"/>
                  </a:lnTo>
                  <a:lnTo>
                    <a:pt x="7549" y="3671"/>
                  </a:lnTo>
                  <a:lnTo>
                    <a:pt x="7557" y="3694"/>
                  </a:lnTo>
                  <a:lnTo>
                    <a:pt x="7566" y="3717"/>
                  </a:lnTo>
                  <a:lnTo>
                    <a:pt x="7576" y="3739"/>
                  </a:lnTo>
                  <a:lnTo>
                    <a:pt x="7587" y="3760"/>
                  </a:lnTo>
                  <a:lnTo>
                    <a:pt x="7599" y="3781"/>
                  </a:lnTo>
                  <a:lnTo>
                    <a:pt x="7612" y="3802"/>
                  </a:lnTo>
                  <a:lnTo>
                    <a:pt x="7627" y="3822"/>
                  </a:lnTo>
                  <a:lnTo>
                    <a:pt x="7642" y="3841"/>
                  </a:lnTo>
                  <a:lnTo>
                    <a:pt x="7658" y="3859"/>
                  </a:lnTo>
                  <a:lnTo>
                    <a:pt x="7674" y="3877"/>
                  </a:lnTo>
                  <a:lnTo>
                    <a:pt x="7692" y="3893"/>
                  </a:lnTo>
                  <a:lnTo>
                    <a:pt x="7710" y="3909"/>
                  </a:lnTo>
                  <a:lnTo>
                    <a:pt x="7729" y="3924"/>
                  </a:lnTo>
                  <a:lnTo>
                    <a:pt x="7748" y="3938"/>
                  </a:lnTo>
                  <a:lnTo>
                    <a:pt x="7769" y="3951"/>
                  </a:lnTo>
                  <a:lnTo>
                    <a:pt x="7790" y="3963"/>
                  </a:lnTo>
                  <a:lnTo>
                    <a:pt x="7811" y="3974"/>
                  </a:lnTo>
                  <a:lnTo>
                    <a:pt x="7833" y="3985"/>
                  </a:lnTo>
                  <a:lnTo>
                    <a:pt x="7856" y="3994"/>
                  </a:lnTo>
                  <a:lnTo>
                    <a:pt x="7879" y="4002"/>
                  </a:lnTo>
                  <a:lnTo>
                    <a:pt x="7904" y="4008"/>
                  </a:lnTo>
                  <a:lnTo>
                    <a:pt x="7928" y="4014"/>
                  </a:lnTo>
                  <a:lnTo>
                    <a:pt x="7953" y="4018"/>
                  </a:lnTo>
                  <a:lnTo>
                    <a:pt x="7978" y="4021"/>
                  </a:lnTo>
                  <a:lnTo>
                    <a:pt x="8003" y="4023"/>
                  </a:lnTo>
                  <a:lnTo>
                    <a:pt x="8029" y="4024"/>
                  </a:lnTo>
                  <a:lnTo>
                    <a:pt x="8055" y="4023"/>
                  </a:lnTo>
                  <a:lnTo>
                    <a:pt x="8080" y="4021"/>
                  </a:lnTo>
                  <a:lnTo>
                    <a:pt x="8105" y="4018"/>
                  </a:lnTo>
                  <a:lnTo>
                    <a:pt x="8130" y="4014"/>
                  </a:lnTo>
                  <a:lnTo>
                    <a:pt x="8154" y="4008"/>
                  </a:lnTo>
                  <a:lnTo>
                    <a:pt x="8179" y="4002"/>
                  </a:lnTo>
                  <a:lnTo>
                    <a:pt x="8202" y="3994"/>
                  </a:lnTo>
                  <a:lnTo>
                    <a:pt x="8224" y="3985"/>
                  </a:lnTo>
                  <a:lnTo>
                    <a:pt x="8247" y="3974"/>
                  </a:lnTo>
                  <a:lnTo>
                    <a:pt x="8268" y="3963"/>
                  </a:lnTo>
                  <a:lnTo>
                    <a:pt x="8289" y="3951"/>
                  </a:lnTo>
                  <a:lnTo>
                    <a:pt x="8309" y="3938"/>
                  </a:lnTo>
                  <a:lnTo>
                    <a:pt x="8329" y="3924"/>
                  </a:lnTo>
                  <a:lnTo>
                    <a:pt x="8348" y="3909"/>
                  </a:lnTo>
                  <a:lnTo>
                    <a:pt x="8366" y="3893"/>
                  </a:lnTo>
                  <a:lnTo>
                    <a:pt x="8383" y="3877"/>
                  </a:lnTo>
                  <a:lnTo>
                    <a:pt x="8400" y="3859"/>
                  </a:lnTo>
                  <a:lnTo>
                    <a:pt x="8416" y="3841"/>
                  </a:lnTo>
                  <a:lnTo>
                    <a:pt x="8431" y="3822"/>
                  </a:lnTo>
                  <a:lnTo>
                    <a:pt x="8446" y="3802"/>
                  </a:lnTo>
                  <a:lnTo>
                    <a:pt x="8459" y="3781"/>
                  </a:lnTo>
                  <a:lnTo>
                    <a:pt x="8471" y="3760"/>
                  </a:lnTo>
                  <a:lnTo>
                    <a:pt x="8482" y="3739"/>
                  </a:lnTo>
                  <a:lnTo>
                    <a:pt x="8492" y="3717"/>
                  </a:lnTo>
                  <a:lnTo>
                    <a:pt x="8501" y="3694"/>
                  </a:lnTo>
                  <a:lnTo>
                    <a:pt x="8508" y="3671"/>
                  </a:lnTo>
                  <a:lnTo>
                    <a:pt x="8515" y="3647"/>
                  </a:lnTo>
                  <a:lnTo>
                    <a:pt x="8521" y="3622"/>
                  </a:lnTo>
                  <a:lnTo>
                    <a:pt x="8525" y="3597"/>
                  </a:lnTo>
                  <a:lnTo>
                    <a:pt x="8528" y="3572"/>
                  </a:lnTo>
                  <a:lnTo>
                    <a:pt x="8530" y="3547"/>
                  </a:lnTo>
                  <a:lnTo>
                    <a:pt x="8531" y="3521"/>
                  </a:lnTo>
                  <a:lnTo>
                    <a:pt x="8531" y="2515"/>
                  </a:lnTo>
                  <a:lnTo>
                    <a:pt x="11542" y="2515"/>
                  </a:lnTo>
                  <a:lnTo>
                    <a:pt x="11542" y="3521"/>
                  </a:lnTo>
                  <a:lnTo>
                    <a:pt x="11543" y="3547"/>
                  </a:lnTo>
                  <a:lnTo>
                    <a:pt x="11545" y="3572"/>
                  </a:lnTo>
                  <a:lnTo>
                    <a:pt x="11548" y="3597"/>
                  </a:lnTo>
                  <a:lnTo>
                    <a:pt x="11552" y="3622"/>
                  </a:lnTo>
                  <a:lnTo>
                    <a:pt x="11558" y="3647"/>
                  </a:lnTo>
                  <a:lnTo>
                    <a:pt x="11564" y="3671"/>
                  </a:lnTo>
                  <a:lnTo>
                    <a:pt x="11572" y="3694"/>
                  </a:lnTo>
                  <a:lnTo>
                    <a:pt x="11581" y="3717"/>
                  </a:lnTo>
                  <a:lnTo>
                    <a:pt x="11591" y="3739"/>
                  </a:lnTo>
                  <a:lnTo>
                    <a:pt x="11602" y="3760"/>
                  </a:lnTo>
                  <a:lnTo>
                    <a:pt x="11614" y="3781"/>
                  </a:lnTo>
                  <a:lnTo>
                    <a:pt x="11627" y="3802"/>
                  </a:lnTo>
                  <a:lnTo>
                    <a:pt x="11641" y="3822"/>
                  </a:lnTo>
                  <a:lnTo>
                    <a:pt x="11656" y="3841"/>
                  </a:lnTo>
                  <a:lnTo>
                    <a:pt x="11672" y="3859"/>
                  </a:lnTo>
                  <a:lnTo>
                    <a:pt x="11688" y="3877"/>
                  </a:lnTo>
                  <a:lnTo>
                    <a:pt x="11706" y="3893"/>
                  </a:lnTo>
                  <a:lnTo>
                    <a:pt x="11724" y="3909"/>
                  </a:lnTo>
                  <a:lnTo>
                    <a:pt x="11743" y="3924"/>
                  </a:lnTo>
                  <a:lnTo>
                    <a:pt x="11762" y="3938"/>
                  </a:lnTo>
                  <a:lnTo>
                    <a:pt x="11784" y="3951"/>
                  </a:lnTo>
                  <a:lnTo>
                    <a:pt x="11805" y="3963"/>
                  </a:lnTo>
                  <a:lnTo>
                    <a:pt x="11826" y="3974"/>
                  </a:lnTo>
                  <a:lnTo>
                    <a:pt x="11848" y="3985"/>
                  </a:lnTo>
                  <a:lnTo>
                    <a:pt x="11871" y="3994"/>
                  </a:lnTo>
                  <a:lnTo>
                    <a:pt x="11894" y="4002"/>
                  </a:lnTo>
                  <a:lnTo>
                    <a:pt x="11918" y="4008"/>
                  </a:lnTo>
                  <a:lnTo>
                    <a:pt x="11942" y="4014"/>
                  </a:lnTo>
                  <a:lnTo>
                    <a:pt x="11967" y="4018"/>
                  </a:lnTo>
                  <a:lnTo>
                    <a:pt x="11992" y="4021"/>
                  </a:lnTo>
                  <a:lnTo>
                    <a:pt x="12017" y="4023"/>
                  </a:lnTo>
                  <a:lnTo>
                    <a:pt x="12044" y="4024"/>
                  </a:lnTo>
                  <a:lnTo>
                    <a:pt x="12070" y="4023"/>
                  </a:lnTo>
                  <a:lnTo>
                    <a:pt x="12095" y="4021"/>
                  </a:lnTo>
                  <a:lnTo>
                    <a:pt x="12120" y="4018"/>
                  </a:lnTo>
                  <a:lnTo>
                    <a:pt x="12145" y="4014"/>
                  </a:lnTo>
                  <a:lnTo>
                    <a:pt x="12169" y="4008"/>
                  </a:lnTo>
                  <a:lnTo>
                    <a:pt x="12193" y="4002"/>
                  </a:lnTo>
                  <a:lnTo>
                    <a:pt x="12216" y="3994"/>
                  </a:lnTo>
                  <a:lnTo>
                    <a:pt x="12238" y="3985"/>
                  </a:lnTo>
                  <a:lnTo>
                    <a:pt x="12261" y="3974"/>
                  </a:lnTo>
                  <a:lnTo>
                    <a:pt x="12282" y="3963"/>
                  </a:lnTo>
                  <a:lnTo>
                    <a:pt x="12303" y="3951"/>
                  </a:lnTo>
                  <a:lnTo>
                    <a:pt x="12324" y="3938"/>
                  </a:lnTo>
                  <a:lnTo>
                    <a:pt x="12344" y="3924"/>
                  </a:lnTo>
                  <a:lnTo>
                    <a:pt x="12363" y="3909"/>
                  </a:lnTo>
                  <a:lnTo>
                    <a:pt x="12381" y="3893"/>
                  </a:lnTo>
                  <a:lnTo>
                    <a:pt x="12398" y="3877"/>
                  </a:lnTo>
                  <a:lnTo>
                    <a:pt x="12415" y="3859"/>
                  </a:lnTo>
                  <a:lnTo>
                    <a:pt x="12431" y="3841"/>
                  </a:lnTo>
                  <a:lnTo>
                    <a:pt x="12446" y="3822"/>
                  </a:lnTo>
                  <a:lnTo>
                    <a:pt x="12460" y="3802"/>
                  </a:lnTo>
                  <a:lnTo>
                    <a:pt x="12473" y="3781"/>
                  </a:lnTo>
                  <a:lnTo>
                    <a:pt x="12485" y="3760"/>
                  </a:lnTo>
                  <a:lnTo>
                    <a:pt x="12496" y="3739"/>
                  </a:lnTo>
                  <a:lnTo>
                    <a:pt x="12506" y="3717"/>
                  </a:lnTo>
                  <a:lnTo>
                    <a:pt x="12515" y="3694"/>
                  </a:lnTo>
                  <a:lnTo>
                    <a:pt x="12522" y="3671"/>
                  </a:lnTo>
                  <a:lnTo>
                    <a:pt x="12529" y="3647"/>
                  </a:lnTo>
                  <a:lnTo>
                    <a:pt x="12535" y="3622"/>
                  </a:lnTo>
                  <a:lnTo>
                    <a:pt x="12539" y="3597"/>
                  </a:lnTo>
                  <a:lnTo>
                    <a:pt x="12542" y="3572"/>
                  </a:lnTo>
                  <a:lnTo>
                    <a:pt x="12544" y="3547"/>
                  </a:lnTo>
                  <a:lnTo>
                    <a:pt x="12545" y="3521"/>
                  </a:lnTo>
                  <a:lnTo>
                    <a:pt x="12545" y="2515"/>
                  </a:lnTo>
                  <a:lnTo>
                    <a:pt x="14719" y="2515"/>
                  </a:lnTo>
                  <a:lnTo>
                    <a:pt x="14737" y="2515"/>
                  </a:lnTo>
                  <a:lnTo>
                    <a:pt x="14754" y="2517"/>
                  </a:lnTo>
                  <a:lnTo>
                    <a:pt x="14770" y="2519"/>
                  </a:lnTo>
                  <a:lnTo>
                    <a:pt x="14787" y="2522"/>
                  </a:lnTo>
                  <a:lnTo>
                    <a:pt x="14803" y="2525"/>
                  </a:lnTo>
                  <a:lnTo>
                    <a:pt x="14820" y="2530"/>
                  </a:lnTo>
                  <a:lnTo>
                    <a:pt x="14835" y="2535"/>
                  </a:lnTo>
                  <a:lnTo>
                    <a:pt x="14850" y="2541"/>
                  </a:lnTo>
                  <a:lnTo>
                    <a:pt x="14865" y="2548"/>
                  </a:lnTo>
                  <a:lnTo>
                    <a:pt x="14879" y="2555"/>
                  </a:lnTo>
                  <a:lnTo>
                    <a:pt x="14893" y="2563"/>
                  </a:lnTo>
                  <a:lnTo>
                    <a:pt x="14907" y="2572"/>
                  </a:lnTo>
                  <a:lnTo>
                    <a:pt x="14920" y="2581"/>
                  </a:lnTo>
                  <a:lnTo>
                    <a:pt x="14932" y="2591"/>
                  </a:lnTo>
                  <a:lnTo>
                    <a:pt x="14945" y="2602"/>
                  </a:lnTo>
                  <a:lnTo>
                    <a:pt x="14956" y="2613"/>
                  </a:lnTo>
                  <a:lnTo>
                    <a:pt x="14967" y="2624"/>
                  </a:lnTo>
                  <a:lnTo>
                    <a:pt x="14978" y="2637"/>
                  </a:lnTo>
                  <a:lnTo>
                    <a:pt x="14988" y="2650"/>
                  </a:lnTo>
                  <a:lnTo>
                    <a:pt x="14997" y="2663"/>
                  </a:lnTo>
                  <a:lnTo>
                    <a:pt x="15006" y="2676"/>
                  </a:lnTo>
                  <a:lnTo>
                    <a:pt x="15014" y="2690"/>
                  </a:lnTo>
                  <a:lnTo>
                    <a:pt x="15021" y="2705"/>
                  </a:lnTo>
                  <a:lnTo>
                    <a:pt x="15028" y="2720"/>
                  </a:lnTo>
                  <a:lnTo>
                    <a:pt x="15034" y="2735"/>
                  </a:lnTo>
                  <a:lnTo>
                    <a:pt x="15039" y="2750"/>
                  </a:lnTo>
                  <a:lnTo>
                    <a:pt x="15043" y="2766"/>
                  </a:lnTo>
                  <a:lnTo>
                    <a:pt x="15047" y="2782"/>
                  </a:lnTo>
                  <a:lnTo>
                    <a:pt x="15050" y="2799"/>
                  </a:lnTo>
                  <a:lnTo>
                    <a:pt x="15052" y="2816"/>
                  </a:lnTo>
                  <a:lnTo>
                    <a:pt x="15053" y="2833"/>
                  </a:lnTo>
                  <a:lnTo>
                    <a:pt x="15054" y="2850"/>
                  </a:lnTo>
                  <a:lnTo>
                    <a:pt x="15054" y="14754"/>
                  </a:lnTo>
                  <a:close/>
                  <a:moveTo>
                    <a:pt x="14719" y="1509"/>
                  </a:moveTo>
                  <a:lnTo>
                    <a:pt x="12545" y="1509"/>
                  </a:lnTo>
                  <a:lnTo>
                    <a:pt x="12545" y="503"/>
                  </a:lnTo>
                  <a:lnTo>
                    <a:pt x="12544" y="477"/>
                  </a:lnTo>
                  <a:lnTo>
                    <a:pt x="12542" y="452"/>
                  </a:lnTo>
                  <a:lnTo>
                    <a:pt x="12539" y="427"/>
                  </a:lnTo>
                  <a:lnTo>
                    <a:pt x="12535" y="401"/>
                  </a:lnTo>
                  <a:lnTo>
                    <a:pt x="12529" y="377"/>
                  </a:lnTo>
                  <a:lnTo>
                    <a:pt x="12522" y="353"/>
                  </a:lnTo>
                  <a:lnTo>
                    <a:pt x="12515" y="330"/>
                  </a:lnTo>
                  <a:lnTo>
                    <a:pt x="12506" y="307"/>
                  </a:lnTo>
                  <a:lnTo>
                    <a:pt x="12496" y="285"/>
                  </a:lnTo>
                  <a:lnTo>
                    <a:pt x="12485" y="264"/>
                  </a:lnTo>
                  <a:lnTo>
                    <a:pt x="12473" y="242"/>
                  </a:lnTo>
                  <a:lnTo>
                    <a:pt x="12460" y="221"/>
                  </a:lnTo>
                  <a:lnTo>
                    <a:pt x="12446" y="202"/>
                  </a:lnTo>
                  <a:lnTo>
                    <a:pt x="12431" y="183"/>
                  </a:lnTo>
                  <a:lnTo>
                    <a:pt x="12415" y="165"/>
                  </a:lnTo>
                  <a:lnTo>
                    <a:pt x="12398" y="147"/>
                  </a:lnTo>
                  <a:lnTo>
                    <a:pt x="12381" y="131"/>
                  </a:lnTo>
                  <a:lnTo>
                    <a:pt x="12363" y="115"/>
                  </a:lnTo>
                  <a:lnTo>
                    <a:pt x="12344" y="100"/>
                  </a:lnTo>
                  <a:lnTo>
                    <a:pt x="12324" y="86"/>
                  </a:lnTo>
                  <a:lnTo>
                    <a:pt x="12303" y="72"/>
                  </a:lnTo>
                  <a:lnTo>
                    <a:pt x="12282" y="60"/>
                  </a:lnTo>
                  <a:lnTo>
                    <a:pt x="12261" y="49"/>
                  </a:lnTo>
                  <a:lnTo>
                    <a:pt x="12238" y="39"/>
                  </a:lnTo>
                  <a:lnTo>
                    <a:pt x="12216" y="30"/>
                  </a:lnTo>
                  <a:lnTo>
                    <a:pt x="12193" y="22"/>
                  </a:lnTo>
                  <a:lnTo>
                    <a:pt x="12169" y="16"/>
                  </a:lnTo>
                  <a:lnTo>
                    <a:pt x="12145" y="10"/>
                  </a:lnTo>
                  <a:lnTo>
                    <a:pt x="12120" y="6"/>
                  </a:lnTo>
                  <a:lnTo>
                    <a:pt x="12095" y="3"/>
                  </a:lnTo>
                  <a:lnTo>
                    <a:pt x="12070" y="1"/>
                  </a:lnTo>
                  <a:lnTo>
                    <a:pt x="12044" y="0"/>
                  </a:lnTo>
                  <a:lnTo>
                    <a:pt x="12017" y="1"/>
                  </a:lnTo>
                  <a:lnTo>
                    <a:pt x="11992" y="3"/>
                  </a:lnTo>
                  <a:lnTo>
                    <a:pt x="11967" y="6"/>
                  </a:lnTo>
                  <a:lnTo>
                    <a:pt x="11942" y="10"/>
                  </a:lnTo>
                  <a:lnTo>
                    <a:pt x="11918" y="16"/>
                  </a:lnTo>
                  <a:lnTo>
                    <a:pt x="11894" y="22"/>
                  </a:lnTo>
                  <a:lnTo>
                    <a:pt x="11871" y="30"/>
                  </a:lnTo>
                  <a:lnTo>
                    <a:pt x="11848" y="39"/>
                  </a:lnTo>
                  <a:lnTo>
                    <a:pt x="11826" y="49"/>
                  </a:lnTo>
                  <a:lnTo>
                    <a:pt x="11805" y="60"/>
                  </a:lnTo>
                  <a:lnTo>
                    <a:pt x="11784" y="72"/>
                  </a:lnTo>
                  <a:lnTo>
                    <a:pt x="11762" y="86"/>
                  </a:lnTo>
                  <a:lnTo>
                    <a:pt x="11743" y="100"/>
                  </a:lnTo>
                  <a:lnTo>
                    <a:pt x="11724" y="115"/>
                  </a:lnTo>
                  <a:lnTo>
                    <a:pt x="11706" y="131"/>
                  </a:lnTo>
                  <a:lnTo>
                    <a:pt x="11688" y="147"/>
                  </a:lnTo>
                  <a:lnTo>
                    <a:pt x="11672" y="165"/>
                  </a:lnTo>
                  <a:lnTo>
                    <a:pt x="11656" y="183"/>
                  </a:lnTo>
                  <a:lnTo>
                    <a:pt x="11641" y="202"/>
                  </a:lnTo>
                  <a:lnTo>
                    <a:pt x="11627" y="221"/>
                  </a:lnTo>
                  <a:lnTo>
                    <a:pt x="11614" y="242"/>
                  </a:lnTo>
                  <a:lnTo>
                    <a:pt x="11602" y="264"/>
                  </a:lnTo>
                  <a:lnTo>
                    <a:pt x="11591" y="285"/>
                  </a:lnTo>
                  <a:lnTo>
                    <a:pt x="11581" y="307"/>
                  </a:lnTo>
                  <a:lnTo>
                    <a:pt x="11572" y="330"/>
                  </a:lnTo>
                  <a:lnTo>
                    <a:pt x="11564" y="353"/>
                  </a:lnTo>
                  <a:lnTo>
                    <a:pt x="11558" y="377"/>
                  </a:lnTo>
                  <a:lnTo>
                    <a:pt x="11552" y="401"/>
                  </a:lnTo>
                  <a:lnTo>
                    <a:pt x="11548" y="427"/>
                  </a:lnTo>
                  <a:lnTo>
                    <a:pt x="11545" y="452"/>
                  </a:lnTo>
                  <a:lnTo>
                    <a:pt x="11543" y="477"/>
                  </a:lnTo>
                  <a:lnTo>
                    <a:pt x="11542" y="503"/>
                  </a:lnTo>
                  <a:lnTo>
                    <a:pt x="11542" y="1509"/>
                  </a:lnTo>
                  <a:lnTo>
                    <a:pt x="8531" y="1509"/>
                  </a:lnTo>
                  <a:lnTo>
                    <a:pt x="8531" y="503"/>
                  </a:lnTo>
                  <a:lnTo>
                    <a:pt x="8530" y="477"/>
                  </a:lnTo>
                  <a:lnTo>
                    <a:pt x="8528" y="452"/>
                  </a:lnTo>
                  <a:lnTo>
                    <a:pt x="8525" y="427"/>
                  </a:lnTo>
                  <a:lnTo>
                    <a:pt x="8521" y="401"/>
                  </a:lnTo>
                  <a:lnTo>
                    <a:pt x="8515" y="377"/>
                  </a:lnTo>
                  <a:lnTo>
                    <a:pt x="8508" y="353"/>
                  </a:lnTo>
                  <a:lnTo>
                    <a:pt x="8501" y="330"/>
                  </a:lnTo>
                  <a:lnTo>
                    <a:pt x="8492" y="307"/>
                  </a:lnTo>
                  <a:lnTo>
                    <a:pt x="8482" y="285"/>
                  </a:lnTo>
                  <a:lnTo>
                    <a:pt x="8471" y="264"/>
                  </a:lnTo>
                  <a:lnTo>
                    <a:pt x="8459" y="242"/>
                  </a:lnTo>
                  <a:lnTo>
                    <a:pt x="8446" y="221"/>
                  </a:lnTo>
                  <a:lnTo>
                    <a:pt x="8431" y="202"/>
                  </a:lnTo>
                  <a:lnTo>
                    <a:pt x="8416" y="183"/>
                  </a:lnTo>
                  <a:lnTo>
                    <a:pt x="8400" y="165"/>
                  </a:lnTo>
                  <a:lnTo>
                    <a:pt x="8383" y="147"/>
                  </a:lnTo>
                  <a:lnTo>
                    <a:pt x="8366" y="131"/>
                  </a:lnTo>
                  <a:lnTo>
                    <a:pt x="8348" y="115"/>
                  </a:lnTo>
                  <a:lnTo>
                    <a:pt x="8329" y="100"/>
                  </a:lnTo>
                  <a:lnTo>
                    <a:pt x="8309" y="86"/>
                  </a:lnTo>
                  <a:lnTo>
                    <a:pt x="8289" y="72"/>
                  </a:lnTo>
                  <a:lnTo>
                    <a:pt x="8268" y="60"/>
                  </a:lnTo>
                  <a:lnTo>
                    <a:pt x="8247" y="49"/>
                  </a:lnTo>
                  <a:lnTo>
                    <a:pt x="8224" y="39"/>
                  </a:lnTo>
                  <a:lnTo>
                    <a:pt x="8202" y="30"/>
                  </a:lnTo>
                  <a:lnTo>
                    <a:pt x="8179" y="22"/>
                  </a:lnTo>
                  <a:lnTo>
                    <a:pt x="8154" y="16"/>
                  </a:lnTo>
                  <a:lnTo>
                    <a:pt x="8130" y="10"/>
                  </a:lnTo>
                  <a:lnTo>
                    <a:pt x="8105" y="6"/>
                  </a:lnTo>
                  <a:lnTo>
                    <a:pt x="8080" y="3"/>
                  </a:lnTo>
                  <a:lnTo>
                    <a:pt x="8055" y="1"/>
                  </a:lnTo>
                  <a:lnTo>
                    <a:pt x="8029" y="0"/>
                  </a:lnTo>
                  <a:lnTo>
                    <a:pt x="8003" y="1"/>
                  </a:lnTo>
                  <a:lnTo>
                    <a:pt x="7978" y="3"/>
                  </a:lnTo>
                  <a:lnTo>
                    <a:pt x="7953" y="6"/>
                  </a:lnTo>
                  <a:lnTo>
                    <a:pt x="7928" y="10"/>
                  </a:lnTo>
                  <a:lnTo>
                    <a:pt x="7904" y="16"/>
                  </a:lnTo>
                  <a:lnTo>
                    <a:pt x="7879" y="22"/>
                  </a:lnTo>
                  <a:lnTo>
                    <a:pt x="7856" y="30"/>
                  </a:lnTo>
                  <a:lnTo>
                    <a:pt x="7833" y="39"/>
                  </a:lnTo>
                  <a:lnTo>
                    <a:pt x="7811" y="49"/>
                  </a:lnTo>
                  <a:lnTo>
                    <a:pt x="7790" y="60"/>
                  </a:lnTo>
                  <a:lnTo>
                    <a:pt x="7769" y="72"/>
                  </a:lnTo>
                  <a:lnTo>
                    <a:pt x="7748" y="86"/>
                  </a:lnTo>
                  <a:lnTo>
                    <a:pt x="7729" y="100"/>
                  </a:lnTo>
                  <a:lnTo>
                    <a:pt x="7710" y="115"/>
                  </a:lnTo>
                  <a:lnTo>
                    <a:pt x="7692" y="131"/>
                  </a:lnTo>
                  <a:lnTo>
                    <a:pt x="7674" y="147"/>
                  </a:lnTo>
                  <a:lnTo>
                    <a:pt x="7658" y="165"/>
                  </a:lnTo>
                  <a:lnTo>
                    <a:pt x="7642" y="183"/>
                  </a:lnTo>
                  <a:lnTo>
                    <a:pt x="7627" y="202"/>
                  </a:lnTo>
                  <a:lnTo>
                    <a:pt x="7612" y="221"/>
                  </a:lnTo>
                  <a:lnTo>
                    <a:pt x="7599" y="242"/>
                  </a:lnTo>
                  <a:lnTo>
                    <a:pt x="7587" y="264"/>
                  </a:lnTo>
                  <a:lnTo>
                    <a:pt x="7576" y="285"/>
                  </a:lnTo>
                  <a:lnTo>
                    <a:pt x="7566" y="307"/>
                  </a:lnTo>
                  <a:lnTo>
                    <a:pt x="7557" y="330"/>
                  </a:lnTo>
                  <a:lnTo>
                    <a:pt x="7549" y="353"/>
                  </a:lnTo>
                  <a:lnTo>
                    <a:pt x="7543" y="377"/>
                  </a:lnTo>
                  <a:lnTo>
                    <a:pt x="7537" y="401"/>
                  </a:lnTo>
                  <a:lnTo>
                    <a:pt x="7533" y="427"/>
                  </a:lnTo>
                  <a:lnTo>
                    <a:pt x="7529" y="452"/>
                  </a:lnTo>
                  <a:lnTo>
                    <a:pt x="7528" y="477"/>
                  </a:lnTo>
                  <a:lnTo>
                    <a:pt x="7527" y="503"/>
                  </a:lnTo>
                  <a:lnTo>
                    <a:pt x="7527" y="1509"/>
                  </a:lnTo>
                  <a:lnTo>
                    <a:pt x="4516" y="1509"/>
                  </a:lnTo>
                  <a:lnTo>
                    <a:pt x="4516" y="503"/>
                  </a:lnTo>
                  <a:lnTo>
                    <a:pt x="4515" y="477"/>
                  </a:lnTo>
                  <a:lnTo>
                    <a:pt x="4513" y="452"/>
                  </a:lnTo>
                  <a:lnTo>
                    <a:pt x="4510" y="427"/>
                  </a:lnTo>
                  <a:lnTo>
                    <a:pt x="4506" y="401"/>
                  </a:lnTo>
                  <a:lnTo>
                    <a:pt x="4500" y="377"/>
                  </a:lnTo>
                  <a:lnTo>
                    <a:pt x="4493" y="353"/>
                  </a:lnTo>
                  <a:lnTo>
                    <a:pt x="4486" y="330"/>
                  </a:lnTo>
                  <a:lnTo>
                    <a:pt x="4477" y="307"/>
                  </a:lnTo>
                  <a:lnTo>
                    <a:pt x="4467" y="285"/>
                  </a:lnTo>
                  <a:lnTo>
                    <a:pt x="4456" y="264"/>
                  </a:lnTo>
                  <a:lnTo>
                    <a:pt x="4444" y="242"/>
                  </a:lnTo>
                  <a:lnTo>
                    <a:pt x="4431" y="221"/>
                  </a:lnTo>
                  <a:lnTo>
                    <a:pt x="4417" y="202"/>
                  </a:lnTo>
                  <a:lnTo>
                    <a:pt x="4402" y="183"/>
                  </a:lnTo>
                  <a:lnTo>
                    <a:pt x="4386" y="165"/>
                  </a:lnTo>
                  <a:lnTo>
                    <a:pt x="4369" y="147"/>
                  </a:lnTo>
                  <a:lnTo>
                    <a:pt x="4352" y="131"/>
                  </a:lnTo>
                  <a:lnTo>
                    <a:pt x="4334" y="115"/>
                  </a:lnTo>
                  <a:lnTo>
                    <a:pt x="4315" y="100"/>
                  </a:lnTo>
                  <a:lnTo>
                    <a:pt x="4295" y="86"/>
                  </a:lnTo>
                  <a:lnTo>
                    <a:pt x="4274" y="72"/>
                  </a:lnTo>
                  <a:lnTo>
                    <a:pt x="4253" y="60"/>
                  </a:lnTo>
                  <a:lnTo>
                    <a:pt x="4232" y="49"/>
                  </a:lnTo>
                  <a:lnTo>
                    <a:pt x="4210" y="39"/>
                  </a:lnTo>
                  <a:lnTo>
                    <a:pt x="4187" y="30"/>
                  </a:lnTo>
                  <a:lnTo>
                    <a:pt x="4164" y="22"/>
                  </a:lnTo>
                  <a:lnTo>
                    <a:pt x="4140" y="16"/>
                  </a:lnTo>
                  <a:lnTo>
                    <a:pt x="4116" y="10"/>
                  </a:lnTo>
                  <a:lnTo>
                    <a:pt x="4091" y="6"/>
                  </a:lnTo>
                  <a:lnTo>
                    <a:pt x="4066" y="3"/>
                  </a:lnTo>
                  <a:lnTo>
                    <a:pt x="4041" y="1"/>
                  </a:lnTo>
                  <a:lnTo>
                    <a:pt x="4015" y="0"/>
                  </a:lnTo>
                  <a:lnTo>
                    <a:pt x="3988" y="1"/>
                  </a:lnTo>
                  <a:lnTo>
                    <a:pt x="3963" y="3"/>
                  </a:lnTo>
                  <a:lnTo>
                    <a:pt x="3938" y="6"/>
                  </a:lnTo>
                  <a:lnTo>
                    <a:pt x="3913" y="10"/>
                  </a:lnTo>
                  <a:lnTo>
                    <a:pt x="3889" y="16"/>
                  </a:lnTo>
                  <a:lnTo>
                    <a:pt x="3865" y="22"/>
                  </a:lnTo>
                  <a:lnTo>
                    <a:pt x="3842" y="30"/>
                  </a:lnTo>
                  <a:lnTo>
                    <a:pt x="3819" y="39"/>
                  </a:lnTo>
                  <a:lnTo>
                    <a:pt x="3797" y="49"/>
                  </a:lnTo>
                  <a:lnTo>
                    <a:pt x="3776" y="60"/>
                  </a:lnTo>
                  <a:lnTo>
                    <a:pt x="3755" y="72"/>
                  </a:lnTo>
                  <a:lnTo>
                    <a:pt x="3733" y="86"/>
                  </a:lnTo>
                  <a:lnTo>
                    <a:pt x="3714" y="100"/>
                  </a:lnTo>
                  <a:lnTo>
                    <a:pt x="3695" y="115"/>
                  </a:lnTo>
                  <a:lnTo>
                    <a:pt x="3677" y="131"/>
                  </a:lnTo>
                  <a:lnTo>
                    <a:pt x="3659" y="147"/>
                  </a:lnTo>
                  <a:lnTo>
                    <a:pt x="3643" y="165"/>
                  </a:lnTo>
                  <a:lnTo>
                    <a:pt x="3627" y="183"/>
                  </a:lnTo>
                  <a:lnTo>
                    <a:pt x="3612" y="202"/>
                  </a:lnTo>
                  <a:lnTo>
                    <a:pt x="3598" y="221"/>
                  </a:lnTo>
                  <a:lnTo>
                    <a:pt x="3585" y="242"/>
                  </a:lnTo>
                  <a:lnTo>
                    <a:pt x="3573" y="264"/>
                  </a:lnTo>
                  <a:lnTo>
                    <a:pt x="3562" y="285"/>
                  </a:lnTo>
                  <a:lnTo>
                    <a:pt x="3552" y="307"/>
                  </a:lnTo>
                  <a:lnTo>
                    <a:pt x="3543" y="330"/>
                  </a:lnTo>
                  <a:lnTo>
                    <a:pt x="3535" y="353"/>
                  </a:lnTo>
                  <a:lnTo>
                    <a:pt x="3529" y="377"/>
                  </a:lnTo>
                  <a:lnTo>
                    <a:pt x="3523" y="401"/>
                  </a:lnTo>
                  <a:lnTo>
                    <a:pt x="3519" y="427"/>
                  </a:lnTo>
                  <a:lnTo>
                    <a:pt x="3515" y="452"/>
                  </a:lnTo>
                  <a:lnTo>
                    <a:pt x="3514" y="477"/>
                  </a:lnTo>
                  <a:lnTo>
                    <a:pt x="3513" y="503"/>
                  </a:lnTo>
                  <a:lnTo>
                    <a:pt x="3513" y="1509"/>
                  </a:lnTo>
                  <a:lnTo>
                    <a:pt x="1338" y="1509"/>
                  </a:lnTo>
                  <a:lnTo>
                    <a:pt x="1270" y="1511"/>
                  </a:lnTo>
                  <a:lnTo>
                    <a:pt x="1201" y="1516"/>
                  </a:lnTo>
                  <a:lnTo>
                    <a:pt x="1134" y="1524"/>
                  </a:lnTo>
                  <a:lnTo>
                    <a:pt x="1069" y="1536"/>
                  </a:lnTo>
                  <a:lnTo>
                    <a:pt x="1004" y="1551"/>
                  </a:lnTo>
                  <a:lnTo>
                    <a:pt x="940" y="1569"/>
                  </a:lnTo>
                  <a:lnTo>
                    <a:pt x="878" y="1590"/>
                  </a:lnTo>
                  <a:lnTo>
                    <a:pt x="817" y="1615"/>
                  </a:lnTo>
                  <a:lnTo>
                    <a:pt x="758" y="1641"/>
                  </a:lnTo>
                  <a:lnTo>
                    <a:pt x="701" y="1671"/>
                  </a:lnTo>
                  <a:lnTo>
                    <a:pt x="644" y="1703"/>
                  </a:lnTo>
                  <a:lnTo>
                    <a:pt x="590" y="1738"/>
                  </a:lnTo>
                  <a:lnTo>
                    <a:pt x="538" y="1775"/>
                  </a:lnTo>
                  <a:lnTo>
                    <a:pt x="487" y="1815"/>
                  </a:lnTo>
                  <a:lnTo>
                    <a:pt x="439" y="1857"/>
                  </a:lnTo>
                  <a:lnTo>
                    <a:pt x="391" y="1901"/>
                  </a:lnTo>
                  <a:lnTo>
                    <a:pt x="347" y="1949"/>
                  </a:lnTo>
                  <a:lnTo>
                    <a:pt x="305" y="1997"/>
                  </a:lnTo>
                  <a:lnTo>
                    <a:pt x="266" y="2047"/>
                  </a:lnTo>
                  <a:lnTo>
                    <a:pt x="229" y="2100"/>
                  </a:lnTo>
                  <a:lnTo>
                    <a:pt x="194" y="2155"/>
                  </a:lnTo>
                  <a:lnTo>
                    <a:pt x="162" y="2210"/>
                  </a:lnTo>
                  <a:lnTo>
                    <a:pt x="131" y="2268"/>
                  </a:lnTo>
                  <a:lnTo>
                    <a:pt x="105" y="2328"/>
                  </a:lnTo>
                  <a:lnTo>
                    <a:pt x="81" y="2389"/>
                  </a:lnTo>
                  <a:lnTo>
                    <a:pt x="60" y="2450"/>
                  </a:lnTo>
                  <a:lnTo>
                    <a:pt x="42" y="2515"/>
                  </a:lnTo>
                  <a:lnTo>
                    <a:pt x="27" y="2579"/>
                  </a:lnTo>
                  <a:lnTo>
                    <a:pt x="15" y="2646"/>
                  </a:lnTo>
                  <a:lnTo>
                    <a:pt x="7" y="2713"/>
                  </a:lnTo>
                  <a:lnTo>
                    <a:pt x="2" y="2780"/>
                  </a:lnTo>
                  <a:lnTo>
                    <a:pt x="0" y="2850"/>
                  </a:lnTo>
                  <a:lnTo>
                    <a:pt x="0" y="14754"/>
                  </a:lnTo>
                  <a:lnTo>
                    <a:pt x="2" y="14822"/>
                  </a:lnTo>
                  <a:lnTo>
                    <a:pt x="7" y="14891"/>
                  </a:lnTo>
                  <a:lnTo>
                    <a:pt x="15" y="14958"/>
                  </a:lnTo>
                  <a:lnTo>
                    <a:pt x="27" y="15024"/>
                  </a:lnTo>
                  <a:lnTo>
                    <a:pt x="42" y="15089"/>
                  </a:lnTo>
                  <a:lnTo>
                    <a:pt x="60" y="15152"/>
                  </a:lnTo>
                  <a:lnTo>
                    <a:pt x="81" y="15215"/>
                  </a:lnTo>
                  <a:lnTo>
                    <a:pt x="105" y="15276"/>
                  </a:lnTo>
                  <a:lnTo>
                    <a:pt x="131" y="15336"/>
                  </a:lnTo>
                  <a:lnTo>
                    <a:pt x="162" y="15393"/>
                  </a:lnTo>
                  <a:lnTo>
                    <a:pt x="194" y="15449"/>
                  </a:lnTo>
                  <a:lnTo>
                    <a:pt x="229" y="15504"/>
                  </a:lnTo>
                  <a:lnTo>
                    <a:pt x="266" y="15556"/>
                  </a:lnTo>
                  <a:lnTo>
                    <a:pt x="305" y="15607"/>
                  </a:lnTo>
                  <a:lnTo>
                    <a:pt x="347" y="15655"/>
                  </a:lnTo>
                  <a:lnTo>
                    <a:pt x="391" y="15702"/>
                  </a:lnTo>
                  <a:lnTo>
                    <a:pt x="439" y="15747"/>
                  </a:lnTo>
                  <a:lnTo>
                    <a:pt x="487" y="15789"/>
                  </a:lnTo>
                  <a:lnTo>
                    <a:pt x="538" y="15828"/>
                  </a:lnTo>
                  <a:lnTo>
                    <a:pt x="590" y="15866"/>
                  </a:lnTo>
                  <a:lnTo>
                    <a:pt x="644" y="15901"/>
                  </a:lnTo>
                  <a:lnTo>
                    <a:pt x="701" y="15933"/>
                  </a:lnTo>
                  <a:lnTo>
                    <a:pt x="758" y="15963"/>
                  </a:lnTo>
                  <a:lnTo>
                    <a:pt x="817" y="15989"/>
                  </a:lnTo>
                  <a:lnTo>
                    <a:pt x="878" y="16014"/>
                  </a:lnTo>
                  <a:lnTo>
                    <a:pt x="940" y="16035"/>
                  </a:lnTo>
                  <a:lnTo>
                    <a:pt x="1004" y="16053"/>
                  </a:lnTo>
                  <a:lnTo>
                    <a:pt x="1069" y="16068"/>
                  </a:lnTo>
                  <a:lnTo>
                    <a:pt x="1134" y="16080"/>
                  </a:lnTo>
                  <a:lnTo>
                    <a:pt x="1201" y="16088"/>
                  </a:lnTo>
                  <a:lnTo>
                    <a:pt x="1270" y="16093"/>
                  </a:lnTo>
                  <a:lnTo>
                    <a:pt x="1338" y="16095"/>
                  </a:lnTo>
                  <a:lnTo>
                    <a:pt x="14719" y="16095"/>
                  </a:lnTo>
                  <a:lnTo>
                    <a:pt x="14788" y="16093"/>
                  </a:lnTo>
                  <a:lnTo>
                    <a:pt x="14857" y="16088"/>
                  </a:lnTo>
                  <a:lnTo>
                    <a:pt x="14924" y="16080"/>
                  </a:lnTo>
                  <a:lnTo>
                    <a:pt x="14989" y="16068"/>
                  </a:lnTo>
                  <a:lnTo>
                    <a:pt x="15054" y="16053"/>
                  </a:lnTo>
                  <a:lnTo>
                    <a:pt x="15118" y="16035"/>
                  </a:lnTo>
                  <a:lnTo>
                    <a:pt x="15180" y="16014"/>
                  </a:lnTo>
                  <a:lnTo>
                    <a:pt x="15241" y="15989"/>
                  </a:lnTo>
                  <a:lnTo>
                    <a:pt x="15300" y="15963"/>
                  </a:lnTo>
                  <a:lnTo>
                    <a:pt x="15357" y="15933"/>
                  </a:lnTo>
                  <a:lnTo>
                    <a:pt x="15414" y="15901"/>
                  </a:lnTo>
                  <a:lnTo>
                    <a:pt x="15468" y="15866"/>
                  </a:lnTo>
                  <a:lnTo>
                    <a:pt x="15520" y="15828"/>
                  </a:lnTo>
                  <a:lnTo>
                    <a:pt x="15571" y="15789"/>
                  </a:lnTo>
                  <a:lnTo>
                    <a:pt x="15619" y="15747"/>
                  </a:lnTo>
                  <a:lnTo>
                    <a:pt x="15666" y="15702"/>
                  </a:lnTo>
                  <a:lnTo>
                    <a:pt x="15711" y="15655"/>
                  </a:lnTo>
                  <a:lnTo>
                    <a:pt x="15752" y="15607"/>
                  </a:lnTo>
                  <a:lnTo>
                    <a:pt x="15792" y="15556"/>
                  </a:lnTo>
                  <a:lnTo>
                    <a:pt x="15829" y="15504"/>
                  </a:lnTo>
                  <a:lnTo>
                    <a:pt x="15864" y="15449"/>
                  </a:lnTo>
                  <a:lnTo>
                    <a:pt x="15896" y="15393"/>
                  </a:lnTo>
                  <a:lnTo>
                    <a:pt x="15926" y="15336"/>
                  </a:lnTo>
                  <a:lnTo>
                    <a:pt x="15953" y="15276"/>
                  </a:lnTo>
                  <a:lnTo>
                    <a:pt x="15977" y="15215"/>
                  </a:lnTo>
                  <a:lnTo>
                    <a:pt x="15998" y="15152"/>
                  </a:lnTo>
                  <a:lnTo>
                    <a:pt x="16016" y="15089"/>
                  </a:lnTo>
                  <a:lnTo>
                    <a:pt x="16031" y="15024"/>
                  </a:lnTo>
                  <a:lnTo>
                    <a:pt x="16043" y="14958"/>
                  </a:lnTo>
                  <a:lnTo>
                    <a:pt x="16051" y="14891"/>
                  </a:lnTo>
                  <a:lnTo>
                    <a:pt x="16056" y="14822"/>
                  </a:lnTo>
                  <a:lnTo>
                    <a:pt x="16058" y="14754"/>
                  </a:lnTo>
                  <a:lnTo>
                    <a:pt x="16058" y="2850"/>
                  </a:lnTo>
                  <a:lnTo>
                    <a:pt x="16056" y="2780"/>
                  </a:lnTo>
                  <a:lnTo>
                    <a:pt x="16051" y="2713"/>
                  </a:lnTo>
                  <a:lnTo>
                    <a:pt x="16043" y="2646"/>
                  </a:lnTo>
                  <a:lnTo>
                    <a:pt x="16031" y="2579"/>
                  </a:lnTo>
                  <a:lnTo>
                    <a:pt x="16016" y="2515"/>
                  </a:lnTo>
                  <a:lnTo>
                    <a:pt x="15998" y="2450"/>
                  </a:lnTo>
                  <a:lnTo>
                    <a:pt x="15977" y="2389"/>
                  </a:lnTo>
                  <a:lnTo>
                    <a:pt x="15953" y="2328"/>
                  </a:lnTo>
                  <a:lnTo>
                    <a:pt x="15926" y="2268"/>
                  </a:lnTo>
                  <a:lnTo>
                    <a:pt x="15896" y="2210"/>
                  </a:lnTo>
                  <a:lnTo>
                    <a:pt x="15864" y="2155"/>
                  </a:lnTo>
                  <a:lnTo>
                    <a:pt x="15829" y="2100"/>
                  </a:lnTo>
                  <a:lnTo>
                    <a:pt x="15792" y="2047"/>
                  </a:lnTo>
                  <a:lnTo>
                    <a:pt x="15752" y="1997"/>
                  </a:lnTo>
                  <a:lnTo>
                    <a:pt x="15711" y="1949"/>
                  </a:lnTo>
                  <a:lnTo>
                    <a:pt x="15666" y="1901"/>
                  </a:lnTo>
                  <a:lnTo>
                    <a:pt x="15619" y="1857"/>
                  </a:lnTo>
                  <a:lnTo>
                    <a:pt x="15571" y="1815"/>
                  </a:lnTo>
                  <a:lnTo>
                    <a:pt x="15520" y="1775"/>
                  </a:lnTo>
                  <a:lnTo>
                    <a:pt x="15468" y="1738"/>
                  </a:lnTo>
                  <a:lnTo>
                    <a:pt x="15414" y="1703"/>
                  </a:lnTo>
                  <a:lnTo>
                    <a:pt x="15357" y="1671"/>
                  </a:lnTo>
                  <a:lnTo>
                    <a:pt x="15300" y="1641"/>
                  </a:lnTo>
                  <a:lnTo>
                    <a:pt x="15241" y="1615"/>
                  </a:lnTo>
                  <a:lnTo>
                    <a:pt x="15180" y="1590"/>
                  </a:lnTo>
                  <a:lnTo>
                    <a:pt x="15118" y="1569"/>
                  </a:lnTo>
                  <a:lnTo>
                    <a:pt x="15054" y="1551"/>
                  </a:lnTo>
                  <a:lnTo>
                    <a:pt x="14989" y="1536"/>
                  </a:lnTo>
                  <a:lnTo>
                    <a:pt x="14924" y="1524"/>
                  </a:lnTo>
                  <a:lnTo>
                    <a:pt x="14857" y="1516"/>
                  </a:lnTo>
                  <a:lnTo>
                    <a:pt x="14788" y="1511"/>
                  </a:lnTo>
                  <a:lnTo>
                    <a:pt x="14719" y="15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06" name="íşlíḓè">
              <a:extLst>
                <a:ext uri="{FF2B5EF4-FFF2-40B4-BE49-F238E27FC236}">
                  <a16:creationId xmlns:a16="http://schemas.microsoft.com/office/drawing/2014/main" id="{6957A080-4C62-44E5-AF0B-9A9F63522196}"/>
                </a:ext>
              </a:extLst>
            </p:cNvPr>
            <p:cNvSpPr/>
            <p:nvPr/>
          </p:nvSpPr>
          <p:spPr bwMode="auto">
            <a:xfrm>
              <a:off x="8396814" y="1763750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07" name="îṡ1îdè">
              <a:extLst>
                <a:ext uri="{FF2B5EF4-FFF2-40B4-BE49-F238E27FC236}">
                  <a16:creationId xmlns:a16="http://schemas.microsoft.com/office/drawing/2014/main" id="{66939D9B-8648-4942-BCF0-3E97B9693752}"/>
                </a:ext>
              </a:extLst>
            </p:cNvPr>
            <p:cNvSpPr/>
            <p:nvPr/>
          </p:nvSpPr>
          <p:spPr bwMode="auto">
            <a:xfrm>
              <a:off x="8396814" y="1826986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08" name="îṥľiḑê">
              <a:extLst>
                <a:ext uri="{FF2B5EF4-FFF2-40B4-BE49-F238E27FC236}">
                  <a16:creationId xmlns:a16="http://schemas.microsoft.com/office/drawing/2014/main" id="{20F1E7AD-C905-4A58-B03A-C563116B76A1}"/>
                </a:ext>
              </a:extLst>
            </p:cNvPr>
            <p:cNvSpPr/>
            <p:nvPr/>
          </p:nvSpPr>
          <p:spPr bwMode="auto">
            <a:xfrm>
              <a:off x="8396814" y="1890221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09" name="íṡḻïḍê">
              <a:extLst>
                <a:ext uri="{FF2B5EF4-FFF2-40B4-BE49-F238E27FC236}">
                  <a16:creationId xmlns:a16="http://schemas.microsoft.com/office/drawing/2014/main" id="{7BE9546B-9B4C-4950-8695-5E9676FBEA14}"/>
                </a:ext>
              </a:extLst>
            </p:cNvPr>
            <p:cNvSpPr/>
            <p:nvPr/>
          </p:nvSpPr>
          <p:spPr bwMode="auto">
            <a:xfrm>
              <a:off x="8485158" y="1890221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10" name="íślïḑé">
              <a:extLst>
                <a:ext uri="{FF2B5EF4-FFF2-40B4-BE49-F238E27FC236}">
                  <a16:creationId xmlns:a16="http://schemas.microsoft.com/office/drawing/2014/main" id="{F9ACC4B9-DB47-49B2-97CD-7991F5813F8A}"/>
                </a:ext>
              </a:extLst>
            </p:cNvPr>
            <p:cNvSpPr/>
            <p:nvPr/>
          </p:nvSpPr>
          <p:spPr bwMode="auto">
            <a:xfrm>
              <a:off x="8485158" y="1826986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11" name="îṥľïdé">
              <a:extLst>
                <a:ext uri="{FF2B5EF4-FFF2-40B4-BE49-F238E27FC236}">
                  <a16:creationId xmlns:a16="http://schemas.microsoft.com/office/drawing/2014/main" id="{A1FDDD45-F870-4EEF-BB57-6E0EA1FE60B6}"/>
                </a:ext>
              </a:extLst>
            </p:cNvPr>
            <p:cNvSpPr/>
            <p:nvPr/>
          </p:nvSpPr>
          <p:spPr bwMode="auto">
            <a:xfrm>
              <a:off x="8485158" y="1763750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12" name="î$ḻîḍè">
              <a:extLst>
                <a:ext uri="{FF2B5EF4-FFF2-40B4-BE49-F238E27FC236}">
                  <a16:creationId xmlns:a16="http://schemas.microsoft.com/office/drawing/2014/main" id="{E7F93D95-C9A9-4CFB-9B78-22D0B37023B8}"/>
                </a:ext>
              </a:extLst>
            </p:cNvPr>
            <p:cNvSpPr/>
            <p:nvPr/>
          </p:nvSpPr>
          <p:spPr bwMode="auto">
            <a:xfrm>
              <a:off x="8573503" y="1890221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13" name="iŝlíďè">
              <a:extLst>
                <a:ext uri="{FF2B5EF4-FFF2-40B4-BE49-F238E27FC236}">
                  <a16:creationId xmlns:a16="http://schemas.microsoft.com/office/drawing/2014/main" id="{292979D9-9158-4F51-85B9-275B4937420D}"/>
                </a:ext>
              </a:extLst>
            </p:cNvPr>
            <p:cNvSpPr/>
            <p:nvPr/>
          </p:nvSpPr>
          <p:spPr bwMode="auto">
            <a:xfrm>
              <a:off x="8573503" y="1826986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14" name="îśḷîḓê">
              <a:extLst>
                <a:ext uri="{FF2B5EF4-FFF2-40B4-BE49-F238E27FC236}">
                  <a16:creationId xmlns:a16="http://schemas.microsoft.com/office/drawing/2014/main" id="{57288FDC-FA47-444F-838A-AE7BA14E9704}"/>
                </a:ext>
              </a:extLst>
            </p:cNvPr>
            <p:cNvSpPr/>
            <p:nvPr/>
          </p:nvSpPr>
          <p:spPr bwMode="auto">
            <a:xfrm>
              <a:off x="8573503" y="1763750"/>
              <a:ext cx="50217" cy="3812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15" name="ïṩļídè">
              <a:extLst>
                <a:ext uri="{FF2B5EF4-FFF2-40B4-BE49-F238E27FC236}">
                  <a16:creationId xmlns:a16="http://schemas.microsoft.com/office/drawing/2014/main" id="{0DD52044-CAB8-4110-ABB0-ED0AE45004AE}"/>
                </a:ext>
              </a:extLst>
            </p:cNvPr>
            <p:cNvSpPr/>
            <p:nvPr/>
          </p:nvSpPr>
          <p:spPr bwMode="auto">
            <a:xfrm>
              <a:off x="5963640" y="3000545"/>
              <a:ext cx="402604" cy="401679"/>
            </a:xfrm>
            <a:custGeom>
              <a:avLst/>
              <a:gdLst>
                <a:gd name="T0" fmla="*/ 15050 w 16095"/>
                <a:gd name="T1" fmla="*/ 7221 h 16058"/>
                <a:gd name="T2" fmla="*/ 14924 w 16095"/>
                <a:gd name="T3" fmla="*/ 7397 h 16058"/>
                <a:gd name="T4" fmla="*/ 14736 w 16095"/>
                <a:gd name="T5" fmla="*/ 7505 h 16058"/>
                <a:gd name="T6" fmla="*/ 13077 w 16095"/>
                <a:gd name="T7" fmla="*/ 4015 h 16058"/>
                <a:gd name="T8" fmla="*/ 13328 w 16095"/>
                <a:gd name="T9" fmla="*/ 4081 h 16058"/>
                <a:gd name="T10" fmla="*/ 15001 w 16095"/>
                <a:gd name="T11" fmla="*/ 6239 h 16058"/>
                <a:gd name="T12" fmla="*/ 15074 w 16095"/>
                <a:gd name="T13" fmla="*/ 6403 h 16058"/>
                <a:gd name="T14" fmla="*/ 10562 w 16095"/>
                <a:gd name="T15" fmla="*/ 15054 h 16058"/>
                <a:gd name="T16" fmla="*/ 10523 w 16095"/>
                <a:gd name="T17" fmla="*/ 9841 h 16058"/>
                <a:gd name="T18" fmla="*/ 10397 w 16095"/>
                <a:gd name="T19" fmla="*/ 9665 h 16058"/>
                <a:gd name="T20" fmla="*/ 10209 w 16095"/>
                <a:gd name="T21" fmla="*/ 9557 h 16058"/>
                <a:gd name="T22" fmla="*/ 6236 w 16095"/>
                <a:gd name="T23" fmla="*/ 9537 h 16058"/>
                <a:gd name="T24" fmla="*/ 6027 w 16095"/>
                <a:gd name="T25" fmla="*/ 9607 h 16058"/>
                <a:gd name="T26" fmla="*/ 5870 w 16095"/>
                <a:gd name="T27" fmla="*/ 9755 h 16058"/>
                <a:gd name="T28" fmla="*/ 5790 w 16095"/>
                <a:gd name="T29" fmla="*/ 9960 h 16058"/>
                <a:gd name="T30" fmla="*/ 10059 w 16095"/>
                <a:gd name="T31" fmla="*/ 15054 h 16058"/>
                <a:gd name="T32" fmla="*/ 1010 w 16095"/>
                <a:gd name="T33" fmla="*/ 6462 h 16058"/>
                <a:gd name="T34" fmla="*/ 1063 w 16095"/>
                <a:gd name="T35" fmla="*/ 6291 h 16058"/>
                <a:gd name="T36" fmla="*/ 2696 w 16095"/>
                <a:gd name="T37" fmla="*/ 4131 h 16058"/>
                <a:gd name="T38" fmla="*/ 2930 w 16095"/>
                <a:gd name="T39" fmla="*/ 4023 h 16058"/>
                <a:gd name="T40" fmla="*/ 1432 w 16095"/>
                <a:gd name="T41" fmla="*/ 7521 h 16058"/>
                <a:gd name="T42" fmla="*/ 1227 w 16095"/>
                <a:gd name="T43" fmla="*/ 7442 h 16058"/>
                <a:gd name="T44" fmla="*/ 1078 w 16095"/>
                <a:gd name="T45" fmla="*/ 7285 h 16058"/>
                <a:gd name="T46" fmla="*/ 1009 w 16095"/>
                <a:gd name="T47" fmla="*/ 7077 h 16058"/>
                <a:gd name="T48" fmla="*/ 9439 w 16095"/>
                <a:gd name="T49" fmla="*/ 4015 h 16058"/>
                <a:gd name="T50" fmla="*/ 5127 w 16095"/>
                <a:gd name="T51" fmla="*/ 7527 h 16058"/>
                <a:gd name="T52" fmla="*/ 13077 w 16095"/>
                <a:gd name="T53" fmla="*/ 1004 h 16058"/>
                <a:gd name="T54" fmla="*/ 14110 w 16095"/>
                <a:gd name="T55" fmla="*/ 3426 h 16058"/>
                <a:gd name="T56" fmla="*/ 14022 w 16095"/>
                <a:gd name="T57" fmla="*/ 658 h 16058"/>
                <a:gd name="T58" fmla="*/ 13788 w 16095"/>
                <a:gd name="T59" fmla="*/ 294 h 16058"/>
                <a:gd name="T60" fmla="*/ 13423 w 16095"/>
                <a:gd name="T61" fmla="*/ 61 h 16058"/>
                <a:gd name="T62" fmla="*/ 2967 w 16095"/>
                <a:gd name="T63" fmla="*/ 1 h 16058"/>
                <a:gd name="T64" fmla="*/ 2538 w 16095"/>
                <a:gd name="T65" fmla="*/ 121 h 16058"/>
                <a:gd name="T66" fmla="*/ 2212 w 16095"/>
                <a:gd name="T67" fmla="*/ 403 h 16058"/>
                <a:gd name="T68" fmla="*/ 2032 w 16095"/>
                <a:gd name="T69" fmla="*/ 802 h 16058"/>
                <a:gd name="T70" fmla="*/ 1906 w 16095"/>
                <a:gd name="T71" fmla="*/ 3503 h 16058"/>
                <a:gd name="T72" fmla="*/ 233 w 16095"/>
                <a:gd name="T73" fmla="*/ 5720 h 16058"/>
                <a:gd name="T74" fmla="*/ 110 w 16095"/>
                <a:gd name="T75" fmla="*/ 5962 h 16058"/>
                <a:gd name="T76" fmla="*/ 31 w 16095"/>
                <a:gd name="T77" fmla="*/ 6222 h 16058"/>
                <a:gd name="T78" fmla="*/ 0 w 16095"/>
                <a:gd name="T79" fmla="*/ 6493 h 16058"/>
                <a:gd name="T80" fmla="*/ 92 w 16095"/>
                <a:gd name="T81" fmla="*/ 7542 h 16058"/>
                <a:gd name="T82" fmla="*/ 443 w 16095"/>
                <a:gd name="T83" fmla="*/ 8089 h 16058"/>
                <a:gd name="T84" fmla="*/ 991 w 16095"/>
                <a:gd name="T85" fmla="*/ 8439 h 16058"/>
                <a:gd name="T86" fmla="*/ 1510 w 16095"/>
                <a:gd name="T87" fmla="*/ 15106 h 16058"/>
                <a:gd name="T88" fmla="*/ 1631 w 16095"/>
                <a:gd name="T89" fmla="*/ 15533 h 16058"/>
                <a:gd name="T90" fmla="*/ 1913 w 16095"/>
                <a:gd name="T91" fmla="*/ 15858 h 16058"/>
                <a:gd name="T92" fmla="*/ 2312 w 16095"/>
                <a:gd name="T93" fmla="*/ 16038 h 16058"/>
                <a:gd name="T94" fmla="*/ 13782 w 16095"/>
                <a:gd name="T95" fmla="*/ 16038 h 16058"/>
                <a:gd name="T96" fmla="*/ 14182 w 16095"/>
                <a:gd name="T97" fmla="*/ 15858 h 16058"/>
                <a:gd name="T98" fmla="*/ 14464 w 16095"/>
                <a:gd name="T99" fmla="*/ 15533 h 16058"/>
                <a:gd name="T100" fmla="*/ 14585 w 16095"/>
                <a:gd name="T101" fmla="*/ 15106 h 16058"/>
                <a:gd name="T102" fmla="*/ 15104 w 16095"/>
                <a:gd name="T103" fmla="*/ 8439 h 16058"/>
                <a:gd name="T104" fmla="*/ 15652 w 16095"/>
                <a:gd name="T105" fmla="*/ 8089 h 16058"/>
                <a:gd name="T106" fmla="*/ 16003 w 16095"/>
                <a:gd name="T107" fmla="*/ 7542 h 16058"/>
                <a:gd name="T108" fmla="*/ 16095 w 16095"/>
                <a:gd name="T109" fmla="*/ 6493 h 16058"/>
                <a:gd name="T110" fmla="*/ 16064 w 16095"/>
                <a:gd name="T111" fmla="*/ 6222 h 16058"/>
                <a:gd name="T112" fmla="*/ 15985 w 16095"/>
                <a:gd name="T113" fmla="*/ 5963 h 16058"/>
                <a:gd name="T114" fmla="*/ 15862 w 16095"/>
                <a:gd name="T115" fmla="*/ 5720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095" h="16058">
                  <a:moveTo>
                    <a:pt x="15089" y="7025"/>
                  </a:moveTo>
                  <a:lnTo>
                    <a:pt x="15088" y="7051"/>
                  </a:lnTo>
                  <a:lnTo>
                    <a:pt x="15086" y="7077"/>
                  </a:lnTo>
                  <a:lnTo>
                    <a:pt x="15083" y="7102"/>
                  </a:lnTo>
                  <a:lnTo>
                    <a:pt x="15079" y="7127"/>
                  </a:lnTo>
                  <a:lnTo>
                    <a:pt x="15073" y="7151"/>
                  </a:lnTo>
                  <a:lnTo>
                    <a:pt x="15066" y="7175"/>
                  </a:lnTo>
                  <a:lnTo>
                    <a:pt x="15059" y="7198"/>
                  </a:lnTo>
                  <a:lnTo>
                    <a:pt x="15050" y="7221"/>
                  </a:lnTo>
                  <a:lnTo>
                    <a:pt x="15040" y="7243"/>
                  </a:lnTo>
                  <a:lnTo>
                    <a:pt x="15029" y="7264"/>
                  </a:lnTo>
                  <a:lnTo>
                    <a:pt x="15017" y="7285"/>
                  </a:lnTo>
                  <a:lnTo>
                    <a:pt x="15004" y="7306"/>
                  </a:lnTo>
                  <a:lnTo>
                    <a:pt x="14989" y="7325"/>
                  </a:lnTo>
                  <a:lnTo>
                    <a:pt x="14974" y="7345"/>
                  </a:lnTo>
                  <a:lnTo>
                    <a:pt x="14958" y="7363"/>
                  </a:lnTo>
                  <a:lnTo>
                    <a:pt x="14942" y="7381"/>
                  </a:lnTo>
                  <a:lnTo>
                    <a:pt x="14924" y="7397"/>
                  </a:lnTo>
                  <a:lnTo>
                    <a:pt x="14906" y="7413"/>
                  </a:lnTo>
                  <a:lnTo>
                    <a:pt x="14887" y="7428"/>
                  </a:lnTo>
                  <a:lnTo>
                    <a:pt x="14867" y="7442"/>
                  </a:lnTo>
                  <a:lnTo>
                    <a:pt x="14847" y="7455"/>
                  </a:lnTo>
                  <a:lnTo>
                    <a:pt x="14826" y="7467"/>
                  </a:lnTo>
                  <a:lnTo>
                    <a:pt x="14804" y="7478"/>
                  </a:lnTo>
                  <a:lnTo>
                    <a:pt x="14782" y="7488"/>
                  </a:lnTo>
                  <a:lnTo>
                    <a:pt x="14759" y="7497"/>
                  </a:lnTo>
                  <a:lnTo>
                    <a:pt x="14736" y="7505"/>
                  </a:lnTo>
                  <a:lnTo>
                    <a:pt x="14712" y="7511"/>
                  </a:lnTo>
                  <a:lnTo>
                    <a:pt x="14688" y="7517"/>
                  </a:lnTo>
                  <a:lnTo>
                    <a:pt x="14663" y="7521"/>
                  </a:lnTo>
                  <a:lnTo>
                    <a:pt x="14637" y="7524"/>
                  </a:lnTo>
                  <a:lnTo>
                    <a:pt x="14612" y="7526"/>
                  </a:lnTo>
                  <a:lnTo>
                    <a:pt x="14586" y="7527"/>
                  </a:lnTo>
                  <a:lnTo>
                    <a:pt x="13654" y="7527"/>
                  </a:lnTo>
                  <a:lnTo>
                    <a:pt x="11642" y="4015"/>
                  </a:lnTo>
                  <a:lnTo>
                    <a:pt x="13077" y="4015"/>
                  </a:lnTo>
                  <a:lnTo>
                    <a:pt x="13106" y="4016"/>
                  </a:lnTo>
                  <a:lnTo>
                    <a:pt x="13137" y="4018"/>
                  </a:lnTo>
                  <a:lnTo>
                    <a:pt x="13165" y="4023"/>
                  </a:lnTo>
                  <a:lnTo>
                    <a:pt x="13194" y="4029"/>
                  </a:lnTo>
                  <a:lnTo>
                    <a:pt x="13222" y="4036"/>
                  </a:lnTo>
                  <a:lnTo>
                    <a:pt x="13249" y="4045"/>
                  </a:lnTo>
                  <a:lnTo>
                    <a:pt x="13276" y="4056"/>
                  </a:lnTo>
                  <a:lnTo>
                    <a:pt x="13303" y="4068"/>
                  </a:lnTo>
                  <a:lnTo>
                    <a:pt x="13328" y="4081"/>
                  </a:lnTo>
                  <a:lnTo>
                    <a:pt x="13352" y="4096"/>
                  </a:lnTo>
                  <a:lnTo>
                    <a:pt x="13376" y="4113"/>
                  </a:lnTo>
                  <a:lnTo>
                    <a:pt x="13399" y="4131"/>
                  </a:lnTo>
                  <a:lnTo>
                    <a:pt x="13420" y="4150"/>
                  </a:lnTo>
                  <a:lnTo>
                    <a:pt x="13441" y="4170"/>
                  </a:lnTo>
                  <a:lnTo>
                    <a:pt x="13461" y="4192"/>
                  </a:lnTo>
                  <a:lnTo>
                    <a:pt x="13480" y="4215"/>
                  </a:lnTo>
                  <a:lnTo>
                    <a:pt x="14988" y="6222"/>
                  </a:lnTo>
                  <a:lnTo>
                    <a:pt x="15001" y="6239"/>
                  </a:lnTo>
                  <a:lnTo>
                    <a:pt x="15012" y="6256"/>
                  </a:lnTo>
                  <a:lnTo>
                    <a:pt x="15022" y="6274"/>
                  </a:lnTo>
                  <a:lnTo>
                    <a:pt x="15032" y="6291"/>
                  </a:lnTo>
                  <a:lnTo>
                    <a:pt x="15041" y="6309"/>
                  </a:lnTo>
                  <a:lnTo>
                    <a:pt x="15049" y="6327"/>
                  </a:lnTo>
                  <a:lnTo>
                    <a:pt x="15057" y="6346"/>
                  </a:lnTo>
                  <a:lnTo>
                    <a:pt x="15063" y="6365"/>
                  </a:lnTo>
                  <a:lnTo>
                    <a:pt x="15069" y="6384"/>
                  </a:lnTo>
                  <a:lnTo>
                    <a:pt x="15074" y="6403"/>
                  </a:lnTo>
                  <a:lnTo>
                    <a:pt x="15079" y="6423"/>
                  </a:lnTo>
                  <a:lnTo>
                    <a:pt x="15082" y="6443"/>
                  </a:lnTo>
                  <a:lnTo>
                    <a:pt x="15085" y="6462"/>
                  </a:lnTo>
                  <a:lnTo>
                    <a:pt x="15087" y="6483"/>
                  </a:lnTo>
                  <a:lnTo>
                    <a:pt x="15089" y="6503"/>
                  </a:lnTo>
                  <a:lnTo>
                    <a:pt x="15089" y="6524"/>
                  </a:lnTo>
                  <a:lnTo>
                    <a:pt x="15089" y="7025"/>
                  </a:lnTo>
                  <a:close/>
                  <a:moveTo>
                    <a:pt x="13580" y="15054"/>
                  </a:moveTo>
                  <a:lnTo>
                    <a:pt x="10562" y="15054"/>
                  </a:lnTo>
                  <a:lnTo>
                    <a:pt x="10562" y="10036"/>
                  </a:lnTo>
                  <a:lnTo>
                    <a:pt x="10561" y="10010"/>
                  </a:lnTo>
                  <a:lnTo>
                    <a:pt x="10559" y="9985"/>
                  </a:lnTo>
                  <a:lnTo>
                    <a:pt x="10556" y="9960"/>
                  </a:lnTo>
                  <a:lnTo>
                    <a:pt x="10552" y="9935"/>
                  </a:lnTo>
                  <a:lnTo>
                    <a:pt x="10546" y="9911"/>
                  </a:lnTo>
                  <a:lnTo>
                    <a:pt x="10539" y="9887"/>
                  </a:lnTo>
                  <a:lnTo>
                    <a:pt x="10532" y="9864"/>
                  </a:lnTo>
                  <a:lnTo>
                    <a:pt x="10523" y="9841"/>
                  </a:lnTo>
                  <a:lnTo>
                    <a:pt x="10513" y="9818"/>
                  </a:lnTo>
                  <a:lnTo>
                    <a:pt x="10502" y="9797"/>
                  </a:lnTo>
                  <a:lnTo>
                    <a:pt x="10490" y="9776"/>
                  </a:lnTo>
                  <a:lnTo>
                    <a:pt x="10477" y="9755"/>
                  </a:lnTo>
                  <a:lnTo>
                    <a:pt x="10463" y="9736"/>
                  </a:lnTo>
                  <a:lnTo>
                    <a:pt x="10448" y="9717"/>
                  </a:lnTo>
                  <a:lnTo>
                    <a:pt x="10432" y="9699"/>
                  </a:lnTo>
                  <a:lnTo>
                    <a:pt x="10415" y="9681"/>
                  </a:lnTo>
                  <a:lnTo>
                    <a:pt x="10397" y="9665"/>
                  </a:lnTo>
                  <a:lnTo>
                    <a:pt x="10379" y="9649"/>
                  </a:lnTo>
                  <a:lnTo>
                    <a:pt x="10360" y="9634"/>
                  </a:lnTo>
                  <a:lnTo>
                    <a:pt x="10340" y="9620"/>
                  </a:lnTo>
                  <a:lnTo>
                    <a:pt x="10320" y="9607"/>
                  </a:lnTo>
                  <a:lnTo>
                    <a:pt x="10299" y="9595"/>
                  </a:lnTo>
                  <a:lnTo>
                    <a:pt x="10278" y="9584"/>
                  </a:lnTo>
                  <a:lnTo>
                    <a:pt x="10256" y="9574"/>
                  </a:lnTo>
                  <a:lnTo>
                    <a:pt x="10232" y="9565"/>
                  </a:lnTo>
                  <a:lnTo>
                    <a:pt x="10209" y="9557"/>
                  </a:lnTo>
                  <a:lnTo>
                    <a:pt x="10185" y="9550"/>
                  </a:lnTo>
                  <a:lnTo>
                    <a:pt x="10161" y="9544"/>
                  </a:lnTo>
                  <a:lnTo>
                    <a:pt x="10136" y="9540"/>
                  </a:lnTo>
                  <a:lnTo>
                    <a:pt x="10111" y="9537"/>
                  </a:lnTo>
                  <a:lnTo>
                    <a:pt x="10086" y="9535"/>
                  </a:lnTo>
                  <a:lnTo>
                    <a:pt x="10059" y="9534"/>
                  </a:lnTo>
                  <a:lnTo>
                    <a:pt x="6287" y="9534"/>
                  </a:lnTo>
                  <a:lnTo>
                    <a:pt x="6261" y="9535"/>
                  </a:lnTo>
                  <a:lnTo>
                    <a:pt x="6236" y="9537"/>
                  </a:lnTo>
                  <a:lnTo>
                    <a:pt x="6211" y="9540"/>
                  </a:lnTo>
                  <a:lnTo>
                    <a:pt x="6186" y="9544"/>
                  </a:lnTo>
                  <a:lnTo>
                    <a:pt x="6161" y="9550"/>
                  </a:lnTo>
                  <a:lnTo>
                    <a:pt x="6137" y="9557"/>
                  </a:lnTo>
                  <a:lnTo>
                    <a:pt x="6114" y="9565"/>
                  </a:lnTo>
                  <a:lnTo>
                    <a:pt x="6091" y="9574"/>
                  </a:lnTo>
                  <a:lnTo>
                    <a:pt x="6069" y="9584"/>
                  </a:lnTo>
                  <a:lnTo>
                    <a:pt x="6048" y="9595"/>
                  </a:lnTo>
                  <a:lnTo>
                    <a:pt x="6027" y="9607"/>
                  </a:lnTo>
                  <a:lnTo>
                    <a:pt x="6005" y="9620"/>
                  </a:lnTo>
                  <a:lnTo>
                    <a:pt x="5986" y="9634"/>
                  </a:lnTo>
                  <a:lnTo>
                    <a:pt x="5967" y="9649"/>
                  </a:lnTo>
                  <a:lnTo>
                    <a:pt x="5949" y="9665"/>
                  </a:lnTo>
                  <a:lnTo>
                    <a:pt x="5931" y="9681"/>
                  </a:lnTo>
                  <a:lnTo>
                    <a:pt x="5915" y="9699"/>
                  </a:lnTo>
                  <a:lnTo>
                    <a:pt x="5899" y="9717"/>
                  </a:lnTo>
                  <a:lnTo>
                    <a:pt x="5884" y="9736"/>
                  </a:lnTo>
                  <a:lnTo>
                    <a:pt x="5870" y="9755"/>
                  </a:lnTo>
                  <a:lnTo>
                    <a:pt x="5857" y="9776"/>
                  </a:lnTo>
                  <a:lnTo>
                    <a:pt x="5844" y="9797"/>
                  </a:lnTo>
                  <a:lnTo>
                    <a:pt x="5833" y="9818"/>
                  </a:lnTo>
                  <a:lnTo>
                    <a:pt x="5823" y="9841"/>
                  </a:lnTo>
                  <a:lnTo>
                    <a:pt x="5814" y="9864"/>
                  </a:lnTo>
                  <a:lnTo>
                    <a:pt x="5806" y="9887"/>
                  </a:lnTo>
                  <a:lnTo>
                    <a:pt x="5800" y="9911"/>
                  </a:lnTo>
                  <a:lnTo>
                    <a:pt x="5794" y="9935"/>
                  </a:lnTo>
                  <a:lnTo>
                    <a:pt x="5790" y="9960"/>
                  </a:lnTo>
                  <a:lnTo>
                    <a:pt x="5787" y="9985"/>
                  </a:lnTo>
                  <a:lnTo>
                    <a:pt x="5785" y="10010"/>
                  </a:lnTo>
                  <a:lnTo>
                    <a:pt x="5784" y="10036"/>
                  </a:lnTo>
                  <a:lnTo>
                    <a:pt x="5784" y="15054"/>
                  </a:lnTo>
                  <a:lnTo>
                    <a:pt x="2515" y="15054"/>
                  </a:lnTo>
                  <a:lnTo>
                    <a:pt x="2515" y="8531"/>
                  </a:lnTo>
                  <a:lnTo>
                    <a:pt x="13580" y="8531"/>
                  </a:lnTo>
                  <a:lnTo>
                    <a:pt x="13580" y="15054"/>
                  </a:lnTo>
                  <a:close/>
                  <a:moveTo>
                    <a:pt x="10059" y="15054"/>
                  </a:moveTo>
                  <a:lnTo>
                    <a:pt x="6287" y="15054"/>
                  </a:lnTo>
                  <a:lnTo>
                    <a:pt x="6287" y="10036"/>
                  </a:lnTo>
                  <a:lnTo>
                    <a:pt x="10059" y="10036"/>
                  </a:lnTo>
                  <a:lnTo>
                    <a:pt x="10059" y="15054"/>
                  </a:lnTo>
                  <a:close/>
                  <a:moveTo>
                    <a:pt x="1006" y="7025"/>
                  </a:moveTo>
                  <a:lnTo>
                    <a:pt x="1006" y="6524"/>
                  </a:lnTo>
                  <a:lnTo>
                    <a:pt x="1006" y="6503"/>
                  </a:lnTo>
                  <a:lnTo>
                    <a:pt x="1008" y="6483"/>
                  </a:lnTo>
                  <a:lnTo>
                    <a:pt x="1010" y="6462"/>
                  </a:lnTo>
                  <a:lnTo>
                    <a:pt x="1012" y="6443"/>
                  </a:lnTo>
                  <a:lnTo>
                    <a:pt x="1016" y="6423"/>
                  </a:lnTo>
                  <a:lnTo>
                    <a:pt x="1020" y="6403"/>
                  </a:lnTo>
                  <a:lnTo>
                    <a:pt x="1026" y="6384"/>
                  </a:lnTo>
                  <a:lnTo>
                    <a:pt x="1032" y="6365"/>
                  </a:lnTo>
                  <a:lnTo>
                    <a:pt x="1038" y="6346"/>
                  </a:lnTo>
                  <a:lnTo>
                    <a:pt x="1046" y="6327"/>
                  </a:lnTo>
                  <a:lnTo>
                    <a:pt x="1054" y="6309"/>
                  </a:lnTo>
                  <a:lnTo>
                    <a:pt x="1063" y="6291"/>
                  </a:lnTo>
                  <a:lnTo>
                    <a:pt x="1073" y="6274"/>
                  </a:lnTo>
                  <a:lnTo>
                    <a:pt x="1083" y="6256"/>
                  </a:lnTo>
                  <a:lnTo>
                    <a:pt x="1094" y="6239"/>
                  </a:lnTo>
                  <a:lnTo>
                    <a:pt x="1107" y="6222"/>
                  </a:lnTo>
                  <a:lnTo>
                    <a:pt x="2615" y="4215"/>
                  </a:lnTo>
                  <a:lnTo>
                    <a:pt x="2634" y="4192"/>
                  </a:lnTo>
                  <a:lnTo>
                    <a:pt x="2654" y="4170"/>
                  </a:lnTo>
                  <a:lnTo>
                    <a:pt x="2674" y="4150"/>
                  </a:lnTo>
                  <a:lnTo>
                    <a:pt x="2696" y="4131"/>
                  </a:lnTo>
                  <a:lnTo>
                    <a:pt x="2719" y="4113"/>
                  </a:lnTo>
                  <a:lnTo>
                    <a:pt x="2743" y="4096"/>
                  </a:lnTo>
                  <a:lnTo>
                    <a:pt x="2767" y="4081"/>
                  </a:lnTo>
                  <a:lnTo>
                    <a:pt x="2792" y="4068"/>
                  </a:lnTo>
                  <a:lnTo>
                    <a:pt x="2819" y="4056"/>
                  </a:lnTo>
                  <a:lnTo>
                    <a:pt x="2846" y="4045"/>
                  </a:lnTo>
                  <a:lnTo>
                    <a:pt x="2873" y="4036"/>
                  </a:lnTo>
                  <a:lnTo>
                    <a:pt x="2901" y="4029"/>
                  </a:lnTo>
                  <a:lnTo>
                    <a:pt x="2930" y="4023"/>
                  </a:lnTo>
                  <a:lnTo>
                    <a:pt x="2958" y="4018"/>
                  </a:lnTo>
                  <a:lnTo>
                    <a:pt x="2989" y="4016"/>
                  </a:lnTo>
                  <a:lnTo>
                    <a:pt x="3018" y="4015"/>
                  </a:lnTo>
                  <a:lnTo>
                    <a:pt x="4452" y="4015"/>
                  </a:lnTo>
                  <a:lnTo>
                    <a:pt x="2440" y="7527"/>
                  </a:lnTo>
                  <a:lnTo>
                    <a:pt x="1509" y="7527"/>
                  </a:lnTo>
                  <a:lnTo>
                    <a:pt x="1483" y="7526"/>
                  </a:lnTo>
                  <a:lnTo>
                    <a:pt x="1458" y="7524"/>
                  </a:lnTo>
                  <a:lnTo>
                    <a:pt x="1432" y="7521"/>
                  </a:lnTo>
                  <a:lnTo>
                    <a:pt x="1407" y="7517"/>
                  </a:lnTo>
                  <a:lnTo>
                    <a:pt x="1383" y="7511"/>
                  </a:lnTo>
                  <a:lnTo>
                    <a:pt x="1359" y="7505"/>
                  </a:lnTo>
                  <a:lnTo>
                    <a:pt x="1336" y="7497"/>
                  </a:lnTo>
                  <a:lnTo>
                    <a:pt x="1313" y="7488"/>
                  </a:lnTo>
                  <a:lnTo>
                    <a:pt x="1291" y="7478"/>
                  </a:lnTo>
                  <a:lnTo>
                    <a:pt x="1269" y="7467"/>
                  </a:lnTo>
                  <a:lnTo>
                    <a:pt x="1248" y="7455"/>
                  </a:lnTo>
                  <a:lnTo>
                    <a:pt x="1227" y="7442"/>
                  </a:lnTo>
                  <a:lnTo>
                    <a:pt x="1208" y="7428"/>
                  </a:lnTo>
                  <a:lnTo>
                    <a:pt x="1189" y="7413"/>
                  </a:lnTo>
                  <a:lnTo>
                    <a:pt x="1171" y="7397"/>
                  </a:lnTo>
                  <a:lnTo>
                    <a:pt x="1153" y="7381"/>
                  </a:lnTo>
                  <a:lnTo>
                    <a:pt x="1137" y="7363"/>
                  </a:lnTo>
                  <a:lnTo>
                    <a:pt x="1121" y="7345"/>
                  </a:lnTo>
                  <a:lnTo>
                    <a:pt x="1106" y="7325"/>
                  </a:lnTo>
                  <a:lnTo>
                    <a:pt x="1091" y="7306"/>
                  </a:lnTo>
                  <a:lnTo>
                    <a:pt x="1078" y="7285"/>
                  </a:lnTo>
                  <a:lnTo>
                    <a:pt x="1066" y="7264"/>
                  </a:lnTo>
                  <a:lnTo>
                    <a:pt x="1055" y="7243"/>
                  </a:lnTo>
                  <a:lnTo>
                    <a:pt x="1045" y="7221"/>
                  </a:lnTo>
                  <a:lnTo>
                    <a:pt x="1036" y="7198"/>
                  </a:lnTo>
                  <a:lnTo>
                    <a:pt x="1028" y="7175"/>
                  </a:lnTo>
                  <a:lnTo>
                    <a:pt x="1022" y="7151"/>
                  </a:lnTo>
                  <a:lnTo>
                    <a:pt x="1016" y="7127"/>
                  </a:lnTo>
                  <a:lnTo>
                    <a:pt x="1012" y="7102"/>
                  </a:lnTo>
                  <a:lnTo>
                    <a:pt x="1009" y="7077"/>
                  </a:lnTo>
                  <a:lnTo>
                    <a:pt x="1007" y="7051"/>
                  </a:lnTo>
                  <a:lnTo>
                    <a:pt x="1006" y="7025"/>
                  </a:lnTo>
                  <a:close/>
                  <a:moveTo>
                    <a:pt x="9962" y="4015"/>
                  </a:moveTo>
                  <a:lnTo>
                    <a:pt x="11062" y="4015"/>
                  </a:lnTo>
                  <a:lnTo>
                    <a:pt x="13074" y="7527"/>
                  </a:lnTo>
                  <a:lnTo>
                    <a:pt x="10968" y="7527"/>
                  </a:lnTo>
                  <a:lnTo>
                    <a:pt x="9962" y="4015"/>
                  </a:lnTo>
                  <a:close/>
                  <a:moveTo>
                    <a:pt x="8299" y="4015"/>
                  </a:moveTo>
                  <a:lnTo>
                    <a:pt x="9439" y="4015"/>
                  </a:lnTo>
                  <a:lnTo>
                    <a:pt x="10444" y="7527"/>
                  </a:lnTo>
                  <a:lnTo>
                    <a:pt x="8299" y="7527"/>
                  </a:lnTo>
                  <a:lnTo>
                    <a:pt x="8299" y="4015"/>
                  </a:lnTo>
                  <a:close/>
                  <a:moveTo>
                    <a:pt x="6656" y="4015"/>
                  </a:moveTo>
                  <a:lnTo>
                    <a:pt x="7796" y="4015"/>
                  </a:lnTo>
                  <a:lnTo>
                    <a:pt x="7796" y="7527"/>
                  </a:lnTo>
                  <a:lnTo>
                    <a:pt x="5650" y="7527"/>
                  </a:lnTo>
                  <a:lnTo>
                    <a:pt x="6656" y="4015"/>
                  </a:lnTo>
                  <a:close/>
                  <a:moveTo>
                    <a:pt x="5127" y="7527"/>
                  </a:moveTo>
                  <a:lnTo>
                    <a:pt x="3020" y="7527"/>
                  </a:lnTo>
                  <a:lnTo>
                    <a:pt x="5032" y="4015"/>
                  </a:lnTo>
                  <a:lnTo>
                    <a:pt x="6132" y="4015"/>
                  </a:lnTo>
                  <a:lnTo>
                    <a:pt x="5127" y="7527"/>
                  </a:lnTo>
                  <a:close/>
                  <a:moveTo>
                    <a:pt x="13077" y="1004"/>
                  </a:moveTo>
                  <a:lnTo>
                    <a:pt x="13077" y="3011"/>
                  </a:lnTo>
                  <a:lnTo>
                    <a:pt x="3018" y="3011"/>
                  </a:lnTo>
                  <a:lnTo>
                    <a:pt x="3018" y="1004"/>
                  </a:lnTo>
                  <a:lnTo>
                    <a:pt x="13077" y="1004"/>
                  </a:lnTo>
                  <a:close/>
                  <a:moveTo>
                    <a:pt x="15793" y="5620"/>
                  </a:moveTo>
                  <a:lnTo>
                    <a:pt x="14284" y="3614"/>
                  </a:lnTo>
                  <a:lnTo>
                    <a:pt x="14262" y="3585"/>
                  </a:lnTo>
                  <a:lnTo>
                    <a:pt x="14239" y="3557"/>
                  </a:lnTo>
                  <a:lnTo>
                    <a:pt x="14214" y="3530"/>
                  </a:lnTo>
                  <a:lnTo>
                    <a:pt x="14189" y="3503"/>
                  </a:lnTo>
                  <a:lnTo>
                    <a:pt x="14164" y="3477"/>
                  </a:lnTo>
                  <a:lnTo>
                    <a:pt x="14137" y="3451"/>
                  </a:lnTo>
                  <a:lnTo>
                    <a:pt x="14110" y="3426"/>
                  </a:lnTo>
                  <a:lnTo>
                    <a:pt x="14083" y="3401"/>
                  </a:lnTo>
                  <a:lnTo>
                    <a:pt x="14083" y="1004"/>
                  </a:lnTo>
                  <a:lnTo>
                    <a:pt x="14082" y="952"/>
                  </a:lnTo>
                  <a:lnTo>
                    <a:pt x="14078" y="901"/>
                  </a:lnTo>
                  <a:lnTo>
                    <a:pt x="14072" y="851"/>
                  </a:lnTo>
                  <a:lnTo>
                    <a:pt x="14063" y="802"/>
                  </a:lnTo>
                  <a:lnTo>
                    <a:pt x="14052" y="753"/>
                  </a:lnTo>
                  <a:lnTo>
                    <a:pt x="14038" y="706"/>
                  </a:lnTo>
                  <a:lnTo>
                    <a:pt x="14022" y="658"/>
                  </a:lnTo>
                  <a:lnTo>
                    <a:pt x="14004" y="613"/>
                  </a:lnTo>
                  <a:lnTo>
                    <a:pt x="13984" y="569"/>
                  </a:lnTo>
                  <a:lnTo>
                    <a:pt x="13961" y="526"/>
                  </a:lnTo>
                  <a:lnTo>
                    <a:pt x="13937" y="484"/>
                  </a:lnTo>
                  <a:lnTo>
                    <a:pt x="13911" y="443"/>
                  </a:lnTo>
                  <a:lnTo>
                    <a:pt x="13883" y="403"/>
                  </a:lnTo>
                  <a:lnTo>
                    <a:pt x="13854" y="365"/>
                  </a:lnTo>
                  <a:lnTo>
                    <a:pt x="13822" y="329"/>
                  </a:lnTo>
                  <a:lnTo>
                    <a:pt x="13788" y="294"/>
                  </a:lnTo>
                  <a:lnTo>
                    <a:pt x="13753" y="261"/>
                  </a:lnTo>
                  <a:lnTo>
                    <a:pt x="13717" y="229"/>
                  </a:lnTo>
                  <a:lnTo>
                    <a:pt x="13679" y="200"/>
                  </a:lnTo>
                  <a:lnTo>
                    <a:pt x="13640" y="172"/>
                  </a:lnTo>
                  <a:lnTo>
                    <a:pt x="13598" y="146"/>
                  </a:lnTo>
                  <a:lnTo>
                    <a:pt x="13557" y="121"/>
                  </a:lnTo>
                  <a:lnTo>
                    <a:pt x="13513" y="99"/>
                  </a:lnTo>
                  <a:lnTo>
                    <a:pt x="13468" y="79"/>
                  </a:lnTo>
                  <a:lnTo>
                    <a:pt x="13423" y="61"/>
                  </a:lnTo>
                  <a:lnTo>
                    <a:pt x="13376" y="45"/>
                  </a:lnTo>
                  <a:lnTo>
                    <a:pt x="13329" y="32"/>
                  </a:lnTo>
                  <a:lnTo>
                    <a:pt x="13279" y="20"/>
                  </a:lnTo>
                  <a:lnTo>
                    <a:pt x="13230" y="12"/>
                  </a:lnTo>
                  <a:lnTo>
                    <a:pt x="13180" y="5"/>
                  </a:lnTo>
                  <a:lnTo>
                    <a:pt x="13128" y="1"/>
                  </a:lnTo>
                  <a:lnTo>
                    <a:pt x="13077" y="0"/>
                  </a:lnTo>
                  <a:lnTo>
                    <a:pt x="3018" y="0"/>
                  </a:lnTo>
                  <a:lnTo>
                    <a:pt x="2967" y="1"/>
                  </a:lnTo>
                  <a:lnTo>
                    <a:pt x="2915" y="5"/>
                  </a:lnTo>
                  <a:lnTo>
                    <a:pt x="2865" y="12"/>
                  </a:lnTo>
                  <a:lnTo>
                    <a:pt x="2815" y="20"/>
                  </a:lnTo>
                  <a:lnTo>
                    <a:pt x="2766" y="32"/>
                  </a:lnTo>
                  <a:lnTo>
                    <a:pt x="2718" y="45"/>
                  </a:lnTo>
                  <a:lnTo>
                    <a:pt x="2672" y="61"/>
                  </a:lnTo>
                  <a:lnTo>
                    <a:pt x="2627" y="79"/>
                  </a:lnTo>
                  <a:lnTo>
                    <a:pt x="2581" y="99"/>
                  </a:lnTo>
                  <a:lnTo>
                    <a:pt x="2538" y="121"/>
                  </a:lnTo>
                  <a:lnTo>
                    <a:pt x="2496" y="146"/>
                  </a:lnTo>
                  <a:lnTo>
                    <a:pt x="2455" y="172"/>
                  </a:lnTo>
                  <a:lnTo>
                    <a:pt x="2416" y="200"/>
                  </a:lnTo>
                  <a:lnTo>
                    <a:pt x="2378" y="229"/>
                  </a:lnTo>
                  <a:lnTo>
                    <a:pt x="2341" y="261"/>
                  </a:lnTo>
                  <a:lnTo>
                    <a:pt x="2307" y="294"/>
                  </a:lnTo>
                  <a:lnTo>
                    <a:pt x="2273" y="329"/>
                  </a:lnTo>
                  <a:lnTo>
                    <a:pt x="2241" y="365"/>
                  </a:lnTo>
                  <a:lnTo>
                    <a:pt x="2212" y="403"/>
                  </a:lnTo>
                  <a:lnTo>
                    <a:pt x="2184" y="443"/>
                  </a:lnTo>
                  <a:lnTo>
                    <a:pt x="2158" y="484"/>
                  </a:lnTo>
                  <a:lnTo>
                    <a:pt x="2134" y="526"/>
                  </a:lnTo>
                  <a:lnTo>
                    <a:pt x="2111" y="569"/>
                  </a:lnTo>
                  <a:lnTo>
                    <a:pt x="2091" y="613"/>
                  </a:lnTo>
                  <a:lnTo>
                    <a:pt x="2073" y="658"/>
                  </a:lnTo>
                  <a:lnTo>
                    <a:pt x="2057" y="706"/>
                  </a:lnTo>
                  <a:lnTo>
                    <a:pt x="2043" y="753"/>
                  </a:lnTo>
                  <a:lnTo>
                    <a:pt x="2032" y="802"/>
                  </a:lnTo>
                  <a:lnTo>
                    <a:pt x="2023" y="851"/>
                  </a:lnTo>
                  <a:lnTo>
                    <a:pt x="2017" y="901"/>
                  </a:lnTo>
                  <a:lnTo>
                    <a:pt x="2013" y="952"/>
                  </a:lnTo>
                  <a:lnTo>
                    <a:pt x="2012" y="1004"/>
                  </a:lnTo>
                  <a:lnTo>
                    <a:pt x="2012" y="3402"/>
                  </a:lnTo>
                  <a:lnTo>
                    <a:pt x="1985" y="3426"/>
                  </a:lnTo>
                  <a:lnTo>
                    <a:pt x="1959" y="3451"/>
                  </a:lnTo>
                  <a:lnTo>
                    <a:pt x="1931" y="3477"/>
                  </a:lnTo>
                  <a:lnTo>
                    <a:pt x="1906" y="3503"/>
                  </a:lnTo>
                  <a:lnTo>
                    <a:pt x="1881" y="3529"/>
                  </a:lnTo>
                  <a:lnTo>
                    <a:pt x="1857" y="3556"/>
                  </a:lnTo>
                  <a:lnTo>
                    <a:pt x="1833" y="3584"/>
                  </a:lnTo>
                  <a:lnTo>
                    <a:pt x="1811" y="3613"/>
                  </a:lnTo>
                  <a:lnTo>
                    <a:pt x="303" y="5619"/>
                  </a:lnTo>
                  <a:lnTo>
                    <a:pt x="285" y="5644"/>
                  </a:lnTo>
                  <a:lnTo>
                    <a:pt x="268" y="5669"/>
                  </a:lnTo>
                  <a:lnTo>
                    <a:pt x="250" y="5695"/>
                  </a:lnTo>
                  <a:lnTo>
                    <a:pt x="233" y="5720"/>
                  </a:lnTo>
                  <a:lnTo>
                    <a:pt x="217" y="5746"/>
                  </a:lnTo>
                  <a:lnTo>
                    <a:pt x="202" y="5772"/>
                  </a:lnTo>
                  <a:lnTo>
                    <a:pt x="187" y="5798"/>
                  </a:lnTo>
                  <a:lnTo>
                    <a:pt x="173" y="5825"/>
                  </a:lnTo>
                  <a:lnTo>
                    <a:pt x="159" y="5851"/>
                  </a:lnTo>
                  <a:lnTo>
                    <a:pt x="146" y="5879"/>
                  </a:lnTo>
                  <a:lnTo>
                    <a:pt x="133" y="5906"/>
                  </a:lnTo>
                  <a:lnTo>
                    <a:pt x="121" y="5934"/>
                  </a:lnTo>
                  <a:lnTo>
                    <a:pt x="110" y="5962"/>
                  </a:lnTo>
                  <a:lnTo>
                    <a:pt x="99" y="5991"/>
                  </a:lnTo>
                  <a:lnTo>
                    <a:pt x="88" y="6019"/>
                  </a:lnTo>
                  <a:lnTo>
                    <a:pt x="78" y="6047"/>
                  </a:lnTo>
                  <a:lnTo>
                    <a:pt x="68" y="6076"/>
                  </a:lnTo>
                  <a:lnTo>
                    <a:pt x="60" y="6105"/>
                  </a:lnTo>
                  <a:lnTo>
                    <a:pt x="51" y="6134"/>
                  </a:lnTo>
                  <a:lnTo>
                    <a:pt x="44" y="6163"/>
                  </a:lnTo>
                  <a:lnTo>
                    <a:pt x="37" y="6193"/>
                  </a:lnTo>
                  <a:lnTo>
                    <a:pt x="31" y="6222"/>
                  </a:lnTo>
                  <a:lnTo>
                    <a:pt x="25" y="6253"/>
                  </a:lnTo>
                  <a:lnTo>
                    <a:pt x="20" y="6282"/>
                  </a:lnTo>
                  <a:lnTo>
                    <a:pt x="15" y="6312"/>
                  </a:lnTo>
                  <a:lnTo>
                    <a:pt x="11" y="6342"/>
                  </a:lnTo>
                  <a:lnTo>
                    <a:pt x="8" y="6372"/>
                  </a:lnTo>
                  <a:lnTo>
                    <a:pt x="5" y="6402"/>
                  </a:lnTo>
                  <a:lnTo>
                    <a:pt x="3" y="6432"/>
                  </a:lnTo>
                  <a:lnTo>
                    <a:pt x="1" y="6463"/>
                  </a:lnTo>
                  <a:lnTo>
                    <a:pt x="0" y="6493"/>
                  </a:lnTo>
                  <a:lnTo>
                    <a:pt x="0" y="6524"/>
                  </a:lnTo>
                  <a:lnTo>
                    <a:pt x="0" y="7025"/>
                  </a:lnTo>
                  <a:lnTo>
                    <a:pt x="2" y="7103"/>
                  </a:lnTo>
                  <a:lnTo>
                    <a:pt x="8" y="7179"/>
                  </a:lnTo>
                  <a:lnTo>
                    <a:pt x="17" y="7254"/>
                  </a:lnTo>
                  <a:lnTo>
                    <a:pt x="31" y="7328"/>
                  </a:lnTo>
                  <a:lnTo>
                    <a:pt x="47" y="7401"/>
                  </a:lnTo>
                  <a:lnTo>
                    <a:pt x="68" y="7473"/>
                  </a:lnTo>
                  <a:lnTo>
                    <a:pt x="92" y="7542"/>
                  </a:lnTo>
                  <a:lnTo>
                    <a:pt x="119" y="7610"/>
                  </a:lnTo>
                  <a:lnTo>
                    <a:pt x="149" y="7678"/>
                  </a:lnTo>
                  <a:lnTo>
                    <a:pt x="182" y="7742"/>
                  </a:lnTo>
                  <a:lnTo>
                    <a:pt x="218" y="7805"/>
                  </a:lnTo>
                  <a:lnTo>
                    <a:pt x="259" y="7866"/>
                  </a:lnTo>
                  <a:lnTo>
                    <a:pt x="300" y="7926"/>
                  </a:lnTo>
                  <a:lnTo>
                    <a:pt x="345" y="7983"/>
                  </a:lnTo>
                  <a:lnTo>
                    <a:pt x="392" y="8037"/>
                  </a:lnTo>
                  <a:lnTo>
                    <a:pt x="443" y="8089"/>
                  </a:lnTo>
                  <a:lnTo>
                    <a:pt x="495" y="8139"/>
                  </a:lnTo>
                  <a:lnTo>
                    <a:pt x="549" y="8187"/>
                  </a:lnTo>
                  <a:lnTo>
                    <a:pt x="607" y="8232"/>
                  </a:lnTo>
                  <a:lnTo>
                    <a:pt x="666" y="8273"/>
                  </a:lnTo>
                  <a:lnTo>
                    <a:pt x="727" y="8313"/>
                  </a:lnTo>
                  <a:lnTo>
                    <a:pt x="791" y="8349"/>
                  </a:lnTo>
                  <a:lnTo>
                    <a:pt x="855" y="8382"/>
                  </a:lnTo>
                  <a:lnTo>
                    <a:pt x="922" y="8412"/>
                  </a:lnTo>
                  <a:lnTo>
                    <a:pt x="991" y="8439"/>
                  </a:lnTo>
                  <a:lnTo>
                    <a:pt x="1060" y="8464"/>
                  </a:lnTo>
                  <a:lnTo>
                    <a:pt x="1133" y="8484"/>
                  </a:lnTo>
                  <a:lnTo>
                    <a:pt x="1205" y="8501"/>
                  </a:lnTo>
                  <a:lnTo>
                    <a:pt x="1280" y="8514"/>
                  </a:lnTo>
                  <a:lnTo>
                    <a:pt x="1355" y="8523"/>
                  </a:lnTo>
                  <a:lnTo>
                    <a:pt x="1431" y="8529"/>
                  </a:lnTo>
                  <a:lnTo>
                    <a:pt x="1509" y="8531"/>
                  </a:lnTo>
                  <a:lnTo>
                    <a:pt x="1509" y="15054"/>
                  </a:lnTo>
                  <a:lnTo>
                    <a:pt x="1510" y="15106"/>
                  </a:lnTo>
                  <a:lnTo>
                    <a:pt x="1514" y="15157"/>
                  </a:lnTo>
                  <a:lnTo>
                    <a:pt x="1520" y="15207"/>
                  </a:lnTo>
                  <a:lnTo>
                    <a:pt x="1529" y="15257"/>
                  </a:lnTo>
                  <a:lnTo>
                    <a:pt x="1540" y="15305"/>
                  </a:lnTo>
                  <a:lnTo>
                    <a:pt x="1554" y="15352"/>
                  </a:lnTo>
                  <a:lnTo>
                    <a:pt x="1570" y="15400"/>
                  </a:lnTo>
                  <a:lnTo>
                    <a:pt x="1588" y="15445"/>
                  </a:lnTo>
                  <a:lnTo>
                    <a:pt x="1608" y="15489"/>
                  </a:lnTo>
                  <a:lnTo>
                    <a:pt x="1631" y="15533"/>
                  </a:lnTo>
                  <a:lnTo>
                    <a:pt x="1655" y="15574"/>
                  </a:lnTo>
                  <a:lnTo>
                    <a:pt x="1681" y="15615"/>
                  </a:lnTo>
                  <a:lnTo>
                    <a:pt x="1709" y="15655"/>
                  </a:lnTo>
                  <a:lnTo>
                    <a:pt x="1738" y="15693"/>
                  </a:lnTo>
                  <a:lnTo>
                    <a:pt x="1770" y="15729"/>
                  </a:lnTo>
                  <a:lnTo>
                    <a:pt x="1804" y="15764"/>
                  </a:lnTo>
                  <a:lnTo>
                    <a:pt x="1839" y="15797"/>
                  </a:lnTo>
                  <a:lnTo>
                    <a:pt x="1875" y="15829"/>
                  </a:lnTo>
                  <a:lnTo>
                    <a:pt x="1913" y="15858"/>
                  </a:lnTo>
                  <a:lnTo>
                    <a:pt x="1953" y="15886"/>
                  </a:lnTo>
                  <a:lnTo>
                    <a:pt x="1993" y="15912"/>
                  </a:lnTo>
                  <a:lnTo>
                    <a:pt x="2035" y="15937"/>
                  </a:lnTo>
                  <a:lnTo>
                    <a:pt x="2078" y="15959"/>
                  </a:lnTo>
                  <a:lnTo>
                    <a:pt x="2124" y="15979"/>
                  </a:lnTo>
                  <a:lnTo>
                    <a:pt x="2169" y="15997"/>
                  </a:lnTo>
                  <a:lnTo>
                    <a:pt x="2216" y="16013"/>
                  </a:lnTo>
                  <a:lnTo>
                    <a:pt x="2263" y="16026"/>
                  </a:lnTo>
                  <a:lnTo>
                    <a:pt x="2312" y="16038"/>
                  </a:lnTo>
                  <a:lnTo>
                    <a:pt x="2362" y="16046"/>
                  </a:lnTo>
                  <a:lnTo>
                    <a:pt x="2412" y="16053"/>
                  </a:lnTo>
                  <a:lnTo>
                    <a:pt x="2464" y="16057"/>
                  </a:lnTo>
                  <a:lnTo>
                    <a:pt x="2515" y="16058"/>
                  </a:lnTo>
                  <a:lnTo>
                    <a:pt x="13580" y="16058"/>
                  </a:lnTo>
                  <a:lnTo>
                    <a:pt x="13632" y="16057"/>
                  </a:lnTo>
                  <a:lnTo>
                    <a:pt x="13683" y="16053"/>
                  </a:lnTo>
                  <a:lnTo>
                    <a:pt x="13733" y="16046"/>
                  </a:lnTo>
                  <a:lnTo>
                    <a:pt x="13782" y="16038"/>
                  </a:lnTo>
                  <a:lnTo>
                    <a:pt x="13832" y="16026"/>
                  </a:lnTo>
                  <a:lnTo>
                    <a:pt x="13879" y="16013"/>
                  </a:lnTo>
                  <a:lnTo>
                    <a:pt x="13926" y="15997"/>
                  </a:lnTo>
                  <a:lnTo>
                    <a:pt x="13971" y="15979"/>
                  </a:lnTo>
                  <a:lnTo>
                    <a:pt x="14016" y="15959"/>
                  </a:lnTo>
                  <a:lnTo>
                    <a:pt x="14060" y="15937"/>
                  </a:lnTo>
                  <a:lnTo>
                    <a:pt x="14101" y="15912"/>
                  </a:lnTo>
                  <a:lnTo>
                    <a:pt x="14142" y="15886"/>
                  </a:lnTo>
                  <a:lnTo>
                    <a:pt x="14182" y="15858"/>
                  </a:lnTo>
                  <a:lnTo>
                    <a:pt x="14220" y="15829"/>
                  </a:lnTo>
                  <a:lnTo>
                    <a:pt x="14256" y="15797"/>
                  </a:lnTo>
                  <a:lnTo>
                    <a:pt x="14291" y="15764"/>
                  </a:lnTo>
                  <a:lnTo>
                    <a:pt x="14325" y="15729"/>
                  </a:lnTo>
                  <a:lnTo>
                    <a:pt x="14356" y="15693"/>
                  </a:lnTo>
                  <a:lnTo>
                    <a:pt x="14386" y="15655"/>
                  </a:lnTo>
                  <a:lnTo>
                    <a:pt x="14414" y="15615"/>
                  </a:lnTo>
                  <a:lnTo>
                    <a:pt x="14440" y="15574"/>
                  </a:lnTo>
                  <a:lnTo>
                    <a:pt x="14464" y="15533"/>
                  </a:lnTo>
                  <a:lnTo>
                    <a:pt x="14487" y="15489"/>
                  </a:lnTo>
                  <a:lnTo>
                    <a:pt x="14507" y="15445"/>
                  </a:lnTo>
                  <a:lnTo>
                    <a:pt x="14525" y="15400"/>
                  </a:lnTo>
                  <a:lnTo>
                    <a:pt x="14541" y="15352"/>
                  </a:lnTo>
                  <a:lnTo>
                    <a:pt x="14554" y="15305"/>
                  </a:lnTo>
                  <a:lnTo>
                    <a:pt x="14566" y="15257"/>
                  </a:lnTo>
                  <a:lnTo>
                    <a:pt x="14574" y="15207"/>
                  </a:lnTo>
                  <a:lnTo>
                    <a:pt x="14581" y="15157"/>
                  </a:lnTo>
                  <a:lnTo>
                    <a:pt x="14585" y="15106"/>
                  </a:lnTo>
                  <a:lnTo>
                    <a:pt x="14586" y="15054"/>
                  </a:lnTo>
                  <a:lnTo>
                    <a:pt x="14586" y="8531"/>
                  </a:lnTo>
                  <a:lnTo>
                    <a:pt x="14664" y="8529"/>
                  </a:lnTo>
                  <a:lnTo>
                    <a:pt x="14740" y="8523"/>
                  </a:lnTo>
                  <a:lnTo>
                    <a:pt x="14815" y="8514"/>
                  </a:lnTo>
                  <a:lnTo>
                    <a:pt x="14890" y="8501"/>
                  </a:lnTo>
                  <a:lnTo>
                    <a:pt x="14962" y="8484"/>
                  </a:lnTo>
                  <a:lnTo>
                    <a:pt x="15034" y="8464"/>
                  </a:lnTo>
                  <a:lnTo>
                    <a:pt x="15104" y="8439"/>
                  </a:lnTo>
                  <a:lnTo>
                    <a:pt x="15173" y="8412"/>
                  </a:lnTo>
                  <a:lnTo>
                    <a:pt x="15240" y="8382"/>
                  </a:lnTo>
                  <a:lnTo>
                    <a:pt x="15304" y="8349"/>
                  </a:lnTo>
                  <a:lnTo>
                    <a:pt x="15368" y="8313"/>
                  </a:lnTo>
                  <a:lnTo>
                    <a:pt x="15429" y="8273"/>
                  </a:lnTo>
                  <a:lnTo>
                    <a:pt x="15488" y="8232"/>
                  </a:lnTo>
                  <a:lnTo>
                    <a:pt x="15545" y="8187"/>
                  </a:lnTo>
                  <a:lnTo>
                    <a:pt x="15600" y="8139"/>
                  </a:lnTo>
                  <a:lnTo>
                    <a:pt x="15652" y="8089"/>
                  </a:lnTo>
                  <a:lnTo>
                    <a:pt x="15703" y="8037"/>
                  </a:lnTo>
                  <a:lnTo>
                    <a:pt x="15750" y="7983"/>
                  </a:lnTo>
                  <a:lnTo>
                    <a:pt x="15795" y="7926"/>
                  </a:lnTo>
                  <a:lnTo>
                    <a:pt x="15836" y="7866"/>
                  </a:lnTo>
                  <a:lnTo>
                    <a:pt x="15876" y="7805"/>
                  </a:lnTo>
                  <a:lnTo>
                    <a:pt x="15913" y="7742"/>
                  </a:lnTo>
                  <a:lnTo>
                    <a:pt x="15946" y="7678"/>
                  </a:lnTo>
                  <a:lnTo>
                    <a:pt x="15976" y="7610"/>
                  </a:lnTo>
                  <a:lnTo>
                    <a:pt x="16003" y="7542"/>
                  </a:lnTo>
                  <a:lnTo>
                    <a:pt x="16027" y="7473"/>
                  </a:lnTo>
                  <a:lnTo>
                    <a:pt x="16048" y="7401"/>
                  </a:lnTo>
                  <a:lnTo>
                    <a:pt x="16064" y="7328"/>
                  </a:lnTo>
                  <a:lnTo>
                    <a:pt x="16078" y="7254"/>
                  </a:lnTo>
                  <a:lnTo>
                    <a:pt x="16087" y="7179"/>
                  </a:lnTo>
                  <a:lnTo>
                    <a:pt x="16093" y="7103"/>
                  </a:lnTo>
                  <a:lnTo>
                    <a:pt x="16095" y="7025"/>
                  </a:lnTo>
                  <a:lnTo>
                    <a:pt x="16095" y="6524"/>
                  </a:lnTo>
                  <a:lnTo>
                    <a:pt x="16095" y="6493"/>
                  </a:lnTo>
                  <a:lnTo>
                    <a:pt x="16094" y="6463"/>
                  </a:lnTo>
                  <a:lnTo>
                    <a:pt x="16092" y="6432"/>
                  </a:lnTo>
                  <a:lnTo>
                    <a:pt x="16090" y="6402"/>
                  </a:lnTo>
                  <a:lnTo>
                    <a:pt x="16087" y="6372"/>
                  </a:lnTo>
                  <a:lnTo>
                    <a:pt x="16084" y="6342"/>
                  </a:lnTo>
                  <a:lnTo>
                    <a:pt x="16080" y="6312"/>
                  </a:lnTo>
                  <a:lnTo>
                    <a:pt x="16075" y="6282"/>
                  </a:lnTo>
                  <a:lnTo>
                    <a:pt x="16070" y="6253"/>
                  </a:lnTo>
                  <a:lnTo>
                    <a:pt x="16064" y="6222"/>
                  </a:lnTo>
                  <a:lnTo>
                    <a:pt x="16058" y="6193"/>
                  </a:lnTo>
                  <a:lnTo>
                    <a:pt x="16051" y="6163"/>
                  </a:lnTo>
                  <a:lnTo>
                    <a:pt x="16044" y="6134"/>
                  </a:lnTo>
                  <a:lnTo>
                    <a:pt x="16035" y="6105"/>
                  </a:lnTo>
                  <a:lnTo>
                    <a:pt x="16027" y="6076"/>
                  </a:lnTo>
                  <a:lnTo>
                    <a:pt x="16018" y="6047"/>
                  </a:lnTo>
                  <a:lnTo>
                    <a:pt x="16007" y="6019"/>
                  </a:lnTo>
                  <a:lnTo>
                    <a:pt x="15996" y="5991"/>
                  </a:lnTo>
                  <a:lnTo>
                    <a:pt x="15985" y="5963"/>
                  </a:lnTo>
                  <a:lnTo>
                    <a:pt x="15974" y="5934"/>
                  </a:lnTo>
                  <a:lnTo>
                    <a:pt x="15962" y="5906"/>
                  </a:lnTo>
                  <a:lnTo>
                    <a:pt x="15949" y="5879"/>
                  </a:lnTo>
                  <a:lnTo>
                    <a:pt x="15936" y="5852"/>
                  </a:lnTo>
                  <a:lnTo>
                    <a:pt x="15922" y="5825"/>
                  </a:lnTo>
                  <a:lnTo>
                    <a:pt x="15908" y="5798"/>
                  </a:lnTo>
                  <a:lnTo>
                    <a:pt x="15893" y="5772"/>
                  </a:lnTo>
                  <a:lnTo>
                    <a:pt x="15878" y="5746"/>
                  </a:lnTo>
                  <a:lnTo>
                    <a:pt x="15862" y="5720"/>
                  </a:lnTo>
                  <a:lnTo>
                    <a:pt x="15846" y="5695"/>
                  </a:lnTo>
                  <a:lnTo>
                    <a:pt x="15828" y="5669"/>
                  </a:lnTo>
                  <a:lnTo>
                    <a:pt x="15811" y="5644"/>
                  </a:lnTo>
                  <a:lnTo>
                    <a:pt x="15793" y="56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16" name="iṥḷíďè">
              <a:extLst>
                <a:ext uri="{FF2B5EF4-FFF2-40B4-BE49-F238E27FC236}">
                  <a16:creationId xmlns:a16="http://schemas.microsoft.com/office/drawing/2014/main" id="{55CB1C51-7CF4-4816-BDA0-983D7F0C20D3}"/>
                </a:ext>
              </a:extLst>
            </p:cNvPr>
            <p:cNvSpPr/>
            <p:nvPr/>
          </p:nvSpPr>
          <p:spPr bwMode="auto">
            <a:xfrm>
              <a:off x="5974904" y="3444551"/>
              <a:ext cx="261690" cy="237026"/>
            </a:xfrm>
            <a:custGeom>
              <a:avLst/>
              <a:gdLst>
                <a:gd name="T0" fmla="*/ 13271 w 16095"/>
                <a:gd name="T1" fmla="*/ 332 h 14578"/>
                <a:gd name="T2" fmla="*/ 11351 w 16095"/>
                <a:gd name="T3" fmla="*/ 5 h 14578"/>
                <a:gd name="T4" fmla="*/ 9463 w 16095"/>
                <a:gd name="T5" fmla="*/ 518 h 14578"/>
                <a:gd name="T6" fmla="*/ 789 w 16095"/>
                <a:gd name="T7" fmla="*/ 8840 h 14578"/>
                <a:gd name="T8" fmla="*/ 101 w 16095"/>
                <a:gd name="T9" fmla="*/ 10223 h 14578"/>
                <a:gd name="T10" fmla="*/ 64 w 16095"/>
                <a:gd name="T11" fmla="*/ 11733 h 14578"/>
                <a:gd name="T12" fmla="*/ 680 w 16095"/>
                <a:gd name="T13" fmla="*/ 13142 h 14578"/>
                <a:gd name="T14" fmla="*/ 1881 w 16095"/>
                <a:gd name="T15" fmla="*/ 14176 h 14578"/>
                <a:gd name="T16" fmla="*/ 3350 w 16095"/>
                <a:gd name="T17" fmla="*/ 14574 h 14578"/>
                <a:gd name="T18" fmla="*/ 4844 w 16095"/>
                <a:gd name="T19" fmla="*/ 14321 h 14578"/>
                <a:gd name="T20" fmla="*/ 13346 w 16095"/>
                <a:gd name="T21" fmla="*/ 6301 h 14578"/>
                <a:gd name="T22" fmla="*/ 13942 w 16095"/>
                <a:gd name="T23" fmla="*/ 5355 h 14578"/>
                <a:gd name="T24" fmla="*/ 14071 w 16095"/>
                <a:gd name="T25" fmla="*/ 4284 h 14578"/>
                <a:gd name="T26" fmla="*/ 13735 w 16095"/>
                <a:gd name="T27" fmla="*/ 3247 h 14578"/>
                <a:gd name="T28" fmla="*/ 12951 w 16095"/>
                <a:gd name="T29" fmla="*/ 2425 h 14578"/>
                <a:gd name="T30" fmla="*/ 11928 w 16095"/>
                <a:gd name="T31" fmla="*/ 2037 h 14578"/>
                <a:gd name="T32" fmla="*/ 10852 w 16095"/>
                <a:gd name="T33" fmla="*/ 2115 h 14578"/>
                <a:gd name="T34" fmla="*/ 9884 w 16095"/>
                <a:gd name="T35" fmla="*/ 2658 h 14578"/>
                <a:gd name="T36" fmla="*/ 4173 w 16095"/>
                <a:gd name="T37" fmla="*/ 8404 h 14578"/>
                <a:gd name="T38" fmla="*/ 4125 w 16095"/>
                <a:gd name="T39" fmla="*/ 8617 h 14578"/>
                <a:gd name="T40" fmla="*/ 4173 w 16095"/>
                <a:gd name="T41" fmla="*/ 8828 h 14578"/>
                <a:gd name="T42" fmla="*/ 4311 w 16095"/>
                <a:gd name="T43" fmla="*/ 9007 h 14578"/>
                <a:gd name="T44" fmla="*/ 4509 w 16095"/>
                <a:gd name="T45" fmla="*/ 9105 h 14578"/>
                <a:gd name="T46" fmla="*/ 4725 w 16095"/>
                <a:gd name="T47" fmla="*/ 9110 h 14578"/>
                <a:gd name="T48" fmla="*/ 4926 w 16095"/>
                <a:gd name="T49" fmla="*/ 9022 h 14578"/>
                <a:gd name="T50" fmla="*/ 10802 w 16095"/>
                <a:gd name="T51" fmla="*/ 3226 h 14578"/>
                <a:gd name="T52" fmla="*/ 11423 w 16095"/>
                <a:gd name="T53" fmla="*/ 3024 h 14578"/>
                <a:gd name="T54" fmla="*/ 12067 w 16095"/>
                <a:gd name="T55" fmla="*/ 3101 h 14578"/>
                <a:gd name="T56" fmla="*/ 12635 w 16095"/>
                <a:gd name="T57" fmla="*/ 3458 h 14578"/>
                <a:gd name="T58" fmla="*/ 12992 w 16095"/>
                <a:gd name="T59" fmla="*/ 4025 h 14578"/>
                <a:gd name="T60" fmla="*/ 13069 w 16095"/>
                <a:gd name="T61" fmla="*/ 4669 h 14578"/>
                <a:gd name="T62" fmla="*/ 12868 w 16095"/>
                <a:gd name="T63" fmla="*/ 5291 h 14578"/>
                <a:gd name="T64" fmla="*/ 5006 w 16095"/>
                <a:gd name="T65" fmla="*/ 13088 h 14578"/>
                <a:gd name="T66" fmla="*/ 3999 w 16095"/>
                <a:gd name="T67" fmla="*/ 13528 h 14578"/>
                <a:gd name="T68" fmla="*/ 2920 w 16095"/>
                <a:gd name="T69" fmla="*/ 13502 h 14578"/>
                <a:gd name="T70" fmla="*/ 1931 w 16095"/>
                <a:gd name="T71" fmla="*/ 13011 h 14578"/>
                <a:gd name="T72" fmla="*/ 1237 w 16095"/>
                <a:gd name="T73" fmla="*/ 12119 h 14578"/>
                <a:gd name="T74" fmla="*/ 1004 w 16095"/>
                <a:gd name="T75" fmla="*/ 11060 h 14578"/>
                <a:gd name="T76" fmla="*/ 1237 w 16095"/>
                <a:gd name="T77" fmla="*/ 10003 h 14578"/>
                <a:gd name="T78" fmla="*/ 9139 w 16095"/>
                <a:gd name="T79" fmla="*/ 1982 h 14578"/>
                <a:gd name="T80" fmla="*/ 10495 w 16095"/>
                <a:gd name="T81" fmla="*/ 1221 h 14578"/>
                <a:gd name="T82" fmla="*/ 12003 w 16095"/>
                <a:gd name="T83" fmla="*/ 1113 h 14578"/>
                <a:gd name="T84" fmla="*/ 13433 w 16095"/>
                <a:gd name="T85" fmla="*/ 1657 h 14578"/>
                <a:gd name="T86" fmla="*/ 14530 w 16095"/>
                <a:gd name="T87" fmla="*/ 2808 h 14578"/>
                <a:gd name="T88" fmla="*/ 15002 w 16095"/>
                <a:gd name="T89" fmla="*/ 4258 h 14578"/>
                <a:gd name="T90" fmla="*/ 14820 w 16095"/>
                <a:gd name="T91" fmla="*/ 5759 h 14578"/>
                <a:gd name="T92" fmla="*/ 13987 w 16095"/>
                <a:gd name="T93" fmla="*/ 7083 h 14578"/>
                <a:gd name="T94" fmla="*/ 8431 w 16095"/>
                <a:gd name="T95" fmla="*/ 12692 h 14578"/>
                <a:gd name="T96" fmla="*/ 8395 w 16095"/>
                <a:gd name="T97" fmla="*/ 12905 h 14578"/>
                <a:gd name="T98" fmla="*/ 8451 w 16095"/>
                <a:gd name="T99" fmla="*/ 13115 h 14578"/>
                <a:gd name="T100" fmla="*/ 8600 w 16095"/>
                <a:gd name="T101" fmla="*/ 13286 h 14578"/>
                <a:gd name="T102" fmla="*/ 8801 w 16095"/>
                <a:gd name="T103" fmla="*/ 13375 h 14578"/>
                <a:gd name="T104" fmla="*/ 9017 w 16095"/>
                <a:gd name="T105" fmla="*/ 13370 h 14578"/>
                <a:gd name="T106" fmla="*/ 9214 w 16095"/>
                <a:gd name="T107" fmla="*/ 13271 h 14578"/>
                <a:gd name="T108" fmla="*/ 15577 w 16095"/>
                <a:gd name="T109" fmla="*/ 6628 h 14578"/>
                <a:gd name="T110" fmla="*/ 16090 w 16095"/>
                <a:gd name="T111" fmla="*/ 4742 h 14578"/>
                <a:gd name="T112" fmla="*/ 15763 w 16095"/>
                <a:gd name="T113" fmla="*/ 2822 h 14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4578">
                  <a:moveTo>
                    <a:pt x="14768" y="1326"/>
                  </a:moveTo>
                  <a:lnTo>
                    <a:pt x="14600" y="1165"/>
                  </a:lnTo>
                  <a:lnTo>
                    <a:pt x="14425" y="1015"/>
                  </a:lnTo>
                  <a:lnTo>
                    <a:pt x="14244" y="875"/>
                  </a:lnTo>
                  <a:lnTo>
                    <a:pt x="14059" y="746"/>
                  </a:lnTo>
                  <a:lnTo>
                    <a:pt x="13868" y="626"/>
                  </a:lnTo>
                  <a:lnTo>
                    <a:pt x="13673" y="518"/>
                  </a:lnTo>
                  <a:lnTo>
                    <a:pt x="13474" y="419"/>
                  </a:lnTo>
                  <a:lnTo>
                    <a:pt x="13271" y="332"/>
                  </a:lnTo>
                  <a:lnTo>
                    <a:pt x="13065" y="253"/>
                  </a:lnTo>
                  <a:lnTo>
                    <a:pt x="12857" y="187"/>
                  </a:lnTo>
                  <a:lnTo>
                    <a:pt x="12646" y="130"/>
                  </a:lnTo>
                  <a:lnTo>
                    <a:pt x="12432" y="83"/>
                  </a:lnTo>
                  <a:lnTo>
                    <a:pt x="12218" y="46"/>
                  </a:lnTo>
                  <a:lnTo>
                    <a:pt x="12002" y="21"/>
                  </a:lnTo>
                  <a:lnTo>
                    <a:pt x="11786" y="5"/>
                  </a:lnTo>
                  <a:lnTo>
                    <a:pt x="11568" y="0"/>
                  </a:lnTo>
                  <a:lnTo>
                    <a:pt x="11351" y="5"/>
                  </a:lnTo>
                  <a:lnTo>
                    <a:pt x="11134" y="21"/>
                  </a:lnTo>
                  <a:lnTo>
                    <a:pt x="10918" y="46"/>
                  </a:lnTo>
                  <a:lnTo>
                    <a:pt x="10703" y="83"/>
                  </a:lnTo>
                  <a:lnTo>
                    <a:pt x="10490" y="130"/>
                  </a:lnTo>
                  <a:lnTo>
                    <a:pt x="10280" y="187"/>
                  </a:lnTo>
                  <a:lnTo>
                    <a:pt x="10070" y="253"/>
                  </a:lnTo>
                  <a:lnTo>
                    <a:pt x="9864" y="332"/>
                  </a:lnTo>
                  <a:lnTo>
                    <a:pt x="9662" y="419"/>
                  </a:lnTo>
                  <a:lnTo>
                    <a:pt x="9463" y="518"/>
                  </a:lnTo>
                  <a:lnTo>
                    <a:pt x="9268" y="626"/>
                  </a:lnTo>
                  <a:lnTo>
                    <a:pt x="9078" y="746"/>
                  </a:lnTo>
                  <a:lnTo>
                    <a:pt x="8891" y="875"/>
                  </a:lnTo>
                  <a:lnTo>
                    <a:pt x="8711" y="1015"/>
                  </a:lnTo>
                  <a:lnTo>
                    <a:pt x="8536" y="1165"/>
                  </a:lnTo>
                  <a:lnTo>
                    <a:pt x="8367" y="1326"/>
                  </a:lnTo>
                  <a:lnTo>
                    <a:pt x="1029" y="8572"/>
                  </a:lnTo>
                  <a:lnTo>
                    <a:pt x="904" y="8704"/>
                  </a:lnTo>
                  <a:lnTo>
                    <a:pt x="789" y="8840"/>
                  </a:lnTo>
                  <a:lnTo>
                    <a:pt x="680" y="8979"/>
                  </a:lnTo>
                  <a:lnTo>
                    <a:pt x="579" y="9124"/>
                  </a:lnTo>
                  <a:lnTo>
                    <a:pt x="487" y="9272"/>
                  </a:lnTo>
                  <a:lnTo>
                    <a:pt x="402" y="9424"/>
                  </a:lnTo>
                  <a:lnTo>
                    <a:pt x="326" y="9579"/>
                  </a:lnTo>
                  <a:lnTo>
                    <a:pt x="258" y="9736"/>
                  </a:lnTo>
                  <a:lnTo>
                    <a:pt x="197" y="9896"/>
                  </a:lnTo>
                  <a:lnTo>
                    <a:pt x="145" y="10058"/>
                  </a:lnTo>
                  <a:lnTo>
                    <a:pt x="101" y="10223"/>
                  </a:lnTo>
                  <a:lnTo>
                    <a:pt x="64" y="10388"/>
                  </a:lnTo>
                  <a:lnTo>
                    <a:pt x="36" y="10556"/>
                  </a:lnTo>
                  <a:lnTo>
                    <a:pt x="16" y="10724"/>
                  </a:lnTo>
                  <a:lnTo>
                    <a:pt x="4" y="10892"/>
                  </a:lnTo>
                  <a:lnTo>
                    <a:pt x="0" y="11060"/>
                  </a:lnTo>
                  <a:lnTo>
                    <a:pt x="4" y="11229"/>
                  </a:lnTo>
                  <a:lnTo>
                    <a:pt x="16" y="11398"/>
                  </a:lnTo>
                  <a:lnTo>
                    <a:pt x="36" y="11566"/>
                  </a:lnTo>
                  <a:lnTo>
                    <a:pt x="64" y="11733"/>
                  </a:lnTo>
                  <a:lnTo>
                    <a:pt x="101" y="11899"/>
                  </a:lnTo>
                  <a:lnTo>
                    <a:pt x="145" y="12064"/>
                  </a:lnTo>
                  <a:lnTo>
                    <a:pt x="197" y="12226"/>
                  </a:lnTo>
                  <a:lnTo>
                    <a:pt x="258" y="12385"/>
                  </a:lnTo>
                  <a:lnTo>
                    <a:pt x="326" y="12543"/>
                  </a:lnTo>
                  <a:lnTo>
                    <a:pt x="402" y="12698"/>
                  </a:lnTo>
                  <a:lnTo>
                    <a:pt x="487" y="12850"/>
                  </a:lnTo>
                  <a:lnTo>
                    <a:pt x="579" y="12998"/>
                  </a:lnTo>
                  <a:lnTo>
                    <a:pt x="680" y="13142"/>
                  </a:lnTo>
                  <a:lnTo>
                    <a:pt x="789" y="13282"/>
                  </a:lnTo>
                  <a:lnTo>
                    <a:pt x="904" y="13418"/>
                  </a:lnTo>
                  <a:lnTo>
                    <a:pt x="1029" y="13550"/>
                  </a:lnTo>
                  <a:lnTo>
                    <a:pt x="1161" y="13673"/>
                  </a:lnTo>
                  <a:lnTo>
                    <a:pt x="1297" y="13790"/>
                  </a:lnTo>
                  <a:lnTo>
                    <a:pt x="1436" y="13898"/>
                  </a:lnTo>
                  <a:lnTo>
                    <a:pt x="1581" y="13999"/>
                  </a:lnTo>
                  <a:lnTo>
                    <a:pt x="1729" y="14091"/>
                  </a:lnTo>
                  <a:lnTo>
                    <a:pt x="1881" y="14176"/>
                  </a:lnTo>
                  <a:lnTo>
                    <a:pt x="2036" y="14252"/>
                  </a:lnTo>
                  <a:lnTo>
                    <a:pt x="2193" y="14321"/>
                  </a:lnTo>
                  <a:lnTo>
                    <a:pt x="2354" y="14381"/>
                  </a:lnTo>
                  <a:lnTo>
                    <a:pt x="2516" y="14433"/>
                  </a:lnTo>
                  <a:lnTo>
                    <a:pt x="2680" y="14477"/>
                  </a:lnTo>
                  <a:lnTo>
                    <a:pt x="2846" y="14514"/>
                  </a:lnTo>
                  <a:lnTo>
                    <a:pt x="3013" y="14542"/>
                  </a:lnTo>
                  <a:lnTo>
                    <a:pt x="3181" y="14562"/>
                  </a:lnTo>
                  <a:lnTo>
                    <a:pt x="3350" y="14574"/>
                  </a:lnTo>
                  <a:lnTo>
                    <a:pt x="3519" y="14578"/>
                  </a:lnTo>
                  <a:lnTo>
                    <a:pt x="3688" y="14574"/>
                  </a:lnTo>
                  <a:lnTo>
                    <a:pt x="3857" y="14562"/>
                  </a:lnTo>
                  <a:lnTo>
                    <a:pt x="4025" y="14542"/>
                  </a:lnTo>
                  <a:lnTo>
                    <a:pt x="4192" y="14514"/>
                  </a:lnTo>
                  <a:lnTo>
                    <a:pt x="4358" y="14477"/>
                  </a:lnTo>
                  <a:lnTo>
                    <a:pt x="4522" y="14433"/>
                  </a:lnTo>
                  <a:lnTo>
                    <a:pt x="4684" y="14381"/>
                  </a:lnTo>
                  <a:lnTo>
                    <a:pt x="4844" y="14321"/>
                  </a:lnTo>
                  <a:lnTo>
                    <a:pt x="5002" y="14252"/>
                  </a:lnTo>
                  <a:lnTo>
                    <a:pt x="5156" y="14176"/>
                  </a:lnTo>
                  <a:lnTo>
                    <a:pt x="5308" y="14091"/>
                  </a:lnTo>
                  <a:lnTo>
                    <a:pt x="5456" y="13999"/>
                  </a:lnTo>
                  <a:lnTo>
                    <a:pt x="5601" y="13898"/>
                  </a:lnTo>
                  <a:lnTo>
                    <a:pt x="5741" y="13790"/>
                  </a:lnTo>
                  <a:lnTo>
                    <a:pt x="5877" y="13673"/>
                  </a:lnTo>
                  <a:lnTo>
                    <a:pt x="6007" y="13550"/>
                  </a:lnTo>
                  <a:lnTo>
                    <a:pt x="13346" y="6301"/>
                  </a:lnTo>
                  <a:lnTo>
                    <a:pt x="13435" y="6208"/>
                  </a:lnTo>
                  <a:lnTo>
                    <a:pt x="13519" y="6110"/>
                  </a:lnTo>
                  <a:lnTo>
                    <a:pt x="13596" y="6011"/>
                  </a:lnTo>
                  <a:lnTo>
                    <a:pt x="13669" y="5907"/>
                  </a:lnTo>
                  <a:lnTo>
                    <a:pt x="13735" y="5802"/>
                  </a:lnTo>
                  <a:lnTo>
                    <a:pt x="13795" y="5693"/>
                  </a:lnTo>
                  <a:lnTo>
                    <a:pt x="13850" y="5582"/>
                  </a:lnTo>
                  <a:lnTo>
                    <a:pt x="13899" y="5470"/>
                  </a:lnTo>
                  <a:lnTo>
                    <a:pt x="13942" y="5355"/>
                  </a:lnTo>
                  <a:lnTo>
                    <a:pt x="13980" y="5240"/>
                  </a:lnTo>
                  <a:lnTo>
                    <a:pt x="14011" y="5123"/>
                  </a:lnTo>
                  <a:lnTo>
                    <a:pt x="14037" y="5004"/>
                  </a:lnTo>
                  <a:lnTo>
                    <a:pt x="14057" y="4885"/>
                  </a:lnTo>
                  <a:lnTo>
                    <a:pt x="14071" y="4765"/>
                  </a:lnTo>
                  <a:lnTo>
                    <a:pt x="14080" y="4645"/>
                  </a:lnTo>
                  <a:lnTo>
                    <a:pt x="14083" y="4524"/>
                  </a:lnTo>
                  <a:lnTo>
                    <a:pt x="14080" y="4404"/>
                  </a:lnTo>
                  <a:lnTo>
                    <a:pt x="14071" y="4284"/>
                  </a:lnTo>
                  <a:lnTo>
                    <a:pt x="14057" y="4164"/>
                  </a:lnTo>
                  <a:lnTo>
                    <a:pt x="14037" y="4044"/>
                  </a:lnTo>
                  <a:lnTo>
                    <a:pt x="14011" y="3926"/>
                  </a:lnTo>
                  <a:lnTo>
                    <a:pt x="13980" y="3809"/>
                  </a:lnTo>
                  <a:lnTo>
                    <a:pt x="13942" y="3693"/>
                  </a:lnTo>
                  <a:lnTo>
                    <a:pt x="13899" y="3579"/>
                  </a:lnTo>
                  <a:lnTo>
                    <a:pt x="13850" y="3466"/>
                  </a:lnTo>
                  <a:lnTo>
                    <a:pt x="13795" y="3356"/>
                  </a:lnTo>
                  <a:lnTo>
                    <a:pt x="13735" y="3247"/>
                  </a:lnTo>
                  <a:lnTo>
                    <a:pt x="13669" y="3142"/>
                  </a:lnTo>
                  <a:lnTo>
                    <a:pt x="13596" y="3038"/>
                  </a:lnTo>
                  <a:lnTo>
                    <a:pt x="13519" y="2939"/>
                  </a:lnTo>
                  <a:lnTo>
                    <a:pt x="13435" y="2841"/>
                  </a:lnTo>
                  <a:lnTo>
                    <a:pt x="13346" y="2748"/>
                  </a:lnTo>
                  <a:lnTo>
                    <a:pt x="13252" y="2658"/>
                  </a:lnTo>
                  <a:lnTo>
                    <a:pt x="13156" y="2575"/>
                  </a:lnTo>
                  <a:lnTo>
                    <a:pt x="13055" y="2497"/>
                  </a:lnTo>
                  <a:lnTo>
                    <a:pt x="12951" y="2425"/>
                  </a:lnTo>
                  <a:lnTo>
                    <a:pt x="12846" y="2359"/>
                  </a:lnTo>
                  <a:lnTo>
                    <a:pt x="12737" y="2299"/>
                  </a:lnTo>
                  <a:lnTo>
                    <a:pt x="12627" y="2244"/>
                  </a:lnTo>
                  <a:lnTo>
                    <a:pt x="12514" y="2196"/>
                  </a:lnTo>
                  <a:lnTo>
                    <a:pt x="12400" y="2152"/>
                  </a:lnTo>
                  <a:lnTo>
                    <a:pt x="12284" y="2115"/>
                  </a:lnTo>
                  <a:lnTo>
                    <a:pt x="12167" y="2083"/>
                  </a:lnTo>
                  <a:lnTo>
                    <a:pt x="12048" y="2057"/>
                  </a:lnTo>
                  <a:lnTo>
                    <a:pt x="11928" y="2037"/>
                  </a:lnTo>
                  <a:lnTo>
                    <a:pt x="11809" y="2023"/>
                  </a:lnTo>
                  <a:lnTo>
                    <a:pt x="11689" y="2015"/>
                  </a:lnTo>
                  <a:lnTo>
                    <a:pt x="11568" y="2012"/>
                  </a:lnTo>
                  <a:lnTo>
                    <a:pt x="11448" y="2015"/>
                  </a:lnTo>
                  <a:lnTo>
                    <a:pt x="11327" y="2023"/>
                  </a:lnTo>
                  <a:lnTo>
                    <a:pt x="11207" y="2037"/>
                  </a:lnTo>
                  <a:lnTo>
                    <a:pt x="11087" y="2057"/>
                  </a:lnTo>
                  <a:lnTo>
                    <a:pt x="10969" y="2083"/>
                  </a:lnTo>
                  <a:lnTo>
                    <a:pt x="10852" y="2115"/>
                  </a:lnTo>
                  <a:lnTo>
                    <a:pt x="10736" y="2152"/>
                  </a:lnTo>
                  <a:lnTo>
                    <a:pt x="10622" y="2196"/>
                  </a:lnTo>
                  <a:lnTo>
                    <a:pt x="10509" y="2244"/>
                  </a:lnTo>
                  <a:lnTo>
                    <a:pt x="10398" y="2299"/>
                  </a:lnTo>
                  <a:lnTo>
                    <a:pt x="10291" y="2359"/>
                  </a:lnTo>
                  <a:lnTo>
                    <a:pt x="10184" y="2425"/>
                  </a:lnTo>
                  <a:lnTo>
                    <a:pt x="10082" y="2497"/>
                  </a:lnTo>
                  <a:lnTo>
                    <a:pt x="9981" y="2575"/>
                  </a:lnTo>
                  <a:lnTo>
                    <a:pt x="9884" y="2658"/>
                  </a:lnTo>
                  <a:lnTo>
                    <a:pt x="9790" y="2748"/>
                  </a:lnTo>
                  <a:lnTo>
                    <a:pt x="4273" y="8261"/>
                  </a:lnTo>
                  <a:lnTo>
                    <a:pt x="4255" y="8279"/>
                  </a:lnTo>
                  <a:lnTo>
                    <a:pt x="4239" y="8299"/>
                  </a:lnTo>
                  <a:lnTo>
                    <a:pt x="4223" y="8319"/>
                  </a:lnTo>
                  <a:lnTo>
                    <a:pt x="4209" y="8339"/>
                  </a:lnTo>
                  <a:lnTo>
                    <a:pt x="4196" y="8361"/>
                  </a:lnTo>
                  <a:lnTo>
                    <a:pt x="4184" y="8382"/>
                  </a:lnTo>
                  <a:lnTo>
                    <a:pt x="4173" y="8404"/>
                  </a:lnTo>
                  <a:lnTo>
                    <a:pt x="4163" y="8427"/>
                  </a:lnTo>
                  <a:lnTo>
                    <a:pt x="4154" y="8450"/>
                  </a:lnTo>
                  <a:lnTo>
                    <a:pt x="4146" y="8473"/>
                  </a:lnTo>
                  <a:lnTo>
                    <a:pt x="4140" y="8497"/>
                  </a:lnTo>
                  <a:lnTo>
                    <a:pt x="4134" y="8520"/>
                  </a:lnTo>
                  <a:lnTo>
                    <a:pt x="4130" y="8544"/>
                  </a:lnTo>
                  <a:lnTo>
                    <a:pt x="4128" y="8568"/>
                  </a:lnTo>
                  <a:lnTo>
                    <a:pt x="4126" y="8592"/>
                  </a:lnTo>
                  <a:lnTo>
                    <a:pt x="4125" y="8617"/>
                  </a:lnTo>
                  <a:lnTo>
                    <a:pt x="4126" y="8640"/>
                  </a:lnTo>
                  <a:lnTo>
                    <a:pt x="4128" y="8664"/>
                  </a:lnTo>
                  <a:lnTo>
                    <a:pt x="4130" y="8688"/>
                  </a:lnTo>
                  <a:lnTo>
                    <a:pt x="4134" y="8712"/>
                  </a:lnTo>
                  <a:lnTo>
                    <a:pt x="4140" y="8736"/>
                  </a:lnTo>
                  <a:lnTo>
                    <a:pt x="4146" y="8759"/>
                  </a:lnTo>
                  <a:lnTo>
                    <a:pt x="4154" y="8782"/>
                  </a:lnTo>
                  <a:lnTo>
                    <a:pt x="4163" y="8806"/>
                  </a:lnTo>
                  <a:lnTo>
                    <a:pt x="4173" y="8828"/>
                  </a:lnTo>
                  <a:lnTo>
                    <a:pt x="4184" y="8850"/>
                  </a:lnTo>
                  <a:lnTo>
                    <a:pt x="4196" y="8872"/>
                  </a:lnTo>
                  <a:lnTo>
                    <a:pt x="4209" y="8893"/>
                  </a:lnTo>
                  <a:lnTo>
                    <a:pt x="4223" y="8913"/>
                  </a:lnTo>
                  <a:lnTo>
                    <a:pt x="4239" y="8933"/>
                  </a:lnTo>
                  <a:lnTo>
                    <a:pt x="4255" y="8953"/>
                  </a:lnTo>
                  <a:lnTo>
                    <a:pt x="4273" y="8971"/>
                  </a:lnTo>
                  <a:lnTo>
                    <a:pt x="4292" y="8989"/>
                  </a:lnTo>
                  <a:lnTo>
                    <a:pt x="4311" y="9007"/>
                  </a:lnTo>
                  <a:lnTo>
                    <a:pt x="4332" y="9022"/>
                  </a:lnTo>
                  <a:lnTo>
                    <a:pt x="4352" y="9036"/>
                  </a:lnTo>
                  <a:lnTo>
                    <a:pt x="4373" y="9050"/>
                  </a:lnTo>
                  <a:lnTo>
                    <a:pt x="4395" y="9062"/>
                  </a:lnTo>
                  <a:lnTo>
                    <a:pt x="4417" y="9073"/>
                  </a:lnTo>
                  <a:lnTo>
                    <a:pt x="4439" y="9082"/>
                  </a:lnTo>
                  <a:lnTo>
                    <a:pt x="4462" y="9091"/>
                  </a:lnTo>
                  <a:lnTo>
                    <a:pt x="4485" y="9098"/>
                  </a:lnTo>
                  <a:lnTo>
                    <a:pt x="4509" y="9105"/>
                  </a:lnTo>
                  <a:lnTo>
                    <a:pt x="4533" y="9110"/>
                  </a:lnTo>
                  <a:lnTo>
                    <a:pt x="4557" y="9114"/>
                  </a:lnTo>
                  <a:lnTo>
                    <a:pt x="4580" y="9117"/>
                  </a:lnTo>
                  <a:lnTo>
                    <a:pt x="4604" y="9118"/>
                  </a:lnTo>
                  <a:lnTo>
                    <a:pt x="4628" y="9119"/>
                  </a:lnTo>
                  <a:lnTo>
                    <a:pt x="4652" y="9118"/>
                  </a:lnTo>
                  <a:lnTo>
                    <a:pt x="4677" y="9117"/>
                  </a:lnTo>
                  <a:lnTo>
                    <a:pt x="4701" y="9114"/>
                  </a:lnTo>
                  <a:lnTo>
                    <a:pt x="4725" y="9110"/>
                  </a:lnTo>
                  <a:lnTo>
                    <a:pt x="4748" y="9105"/>
                  </a:lnTo>
                  <a:lnTo>
                    <a:pt x="4772" y="9098"/>
                  </a:lnTo>
                  <a:lnTo>
                    <a:pt x="4795" y="9091"/>
                  </a:lnTo>
                  <a:lnTo>
                    <a:pt x="4817" y="9082"/>
                  </a:lnTo>
                  <a:lnTo>
                    <a:pt x="4841" y="9073"/>
                  </a:lnTo>
                  <a:lnTo>
                    <a:pt x="4863" y="9062"/>
                  </a:lnTo>
                  <a:lnTo>
                    <a:pt x="4884" y="9050"/>
                  </a:lnTo>
                  <a:lnTo>
                    <a:pt x="4905" y="9036"/>
                  </a:lnTo>
                  <a:lnTo>
                    <a:pt x="4926" y="9022"/>
                  </a:lnTo>
                  <a:lnTo>
                    <a:pt x="4946" y="9007"/>
                  </a:lnTo>
                  <a:lnTo>
                    <a:pt x="4965" y="8989"/>
                  </a:lnTo>
                  <a:lnTo>
                    <a:pt x="4984" y="8971"/>
                  </a:lnTo>
                  <a:lnTo>
                    <a:pt x="10501" y="3458"/>
                  </a:lnTo>
                  <a:lnTo>
                    <a:pt x="10557" y="3405"/>
                  </a:lnTo>
                  <a:lnTo>
                    <a:pt x="10616" y="3355"/>
                  </a:lnTo>
                  <a:lnTo>
                    <a:pt x="10676" y="3308"/>
                  </a:lnTo>
                  <a:lnTo>
                    <a:pt x="10738" y="3265"/>
                  </a:lnTo>
                  <a:lnTo>
                    <a:pt x="10802" y="3226"/>
                  </a:lnTo>
                  <a:lnTo>
                    <a:pt x="10866" y="3190"/>
                  </a:lnTo>
                  <a:lnTo>
                    <a:pt x="10933" y="3157"/>
                  </a:lnTo>
                  <a:lnTo>
                    <a:pt x="11000" y="3128"/>
                  </a:lnTo>
                  <a:lnTo>
                    <a:pt x="11069" y="3101"/>
                  </a:lnTo>
                  <a:lnTo>
                    <a:pt x="11139" y="3079"/>
                  </a:lnTo>
                  <a:lnTo>
                    <a:pt x="11209" y="3060"/>
                  </a:lnTo>
                  <a:lnTo>
                    <a:pt x="11280" y="3045"/>
                  </a:lnTo>
                  <a:lnTo>
                    <a:pt x="11352" y="3033"/>
                  </a:lnTo>
                  <a:lnTo>
                    <a:pt x="11423" y="3024"/>
                  </a:lnTo>
                  <a:lnTo>
                    <a:pt x="11496" y="3019"/>
                  </a:lnTo>
                  <a:lnTo>
                    <a:pt x="11568" y="3017"/>
                  </a:lnTo>
                  <a:lnTo>
                    <a:pt x="11641" y="3019"/>
                  </a:lnTo>
                  <a:lnTo>
                    <a:pt x="11713" y="3024"/>
                  </a:lnTo>
                  <a:lnTo>
                    <a:pt x="11785" y="3033"/>
                  </a:lnTo>
                  <a:lnTo>
                    <a:pt x="11857" y="3045"/>
                  </a:lnTo>
                  <a:lnTo>
                    <a:pt x="11927" y="3060"/>
                  </a:lnTo>
                  <a:lnTo>
                    <a:pt x="11998" y="3079"/>
                  </a:lnTo>
                  <a:lnTo>
                    <a:pt x="12067" y="3101"/>
                  </a:lnTo>
                  <a:lnTo>
                    <a:pt x="12137" y="3128"/>
                  </a:lnTo>
                  <a:lnTo>
                    <a:pt x="12204" y="3157"/>
                  </a:lnTo>
                  <a:lnTo>
                    <a:pt x="12270" y="3190"/>
                  </a:lnTo>
                  <a:lnTo>
                    <a:pt x="12335" y="3226"/>
                  </a:lnTo>
                  <a:lnTo>
                    <a:pt x="12398" y="3265"/>
                  </a:lnTo>
                  <a:lnTo>
                    <a:pt x="12461" y="3308"/>
                  </a:lnTo>
                  <a:lnTo>
                    <a:pt x="12521" y="3355"/>
                  </a:lnTo>
                  <a:lnTo>
                    <a:pt x="12579" y="3405"/>
                  </a:lnTo>
                  <a:lnTo>
                    <a:pt x="12635" y="3458"/>
                  </a:lnTo>
                  <a:lnTo>
                    <a:pt x="12689" y="3515"/>
                  </a:lnTo>
                  <a:lnTo>
                    <a:pt x="12738" y="3572"/>
                  </a:lnTo>
                  <a:lnTo>
                    <a:pt x="12785" y="3632"/>
                  </a:lnTo>
                  <a:lnTo>
                    <a:pt x="12828" y="3695"/>
                  </a:lnTo>
                  <a:lnTo>
                    <a:pt x="12868" y="3758"/>
                  </a:lnTo>
                  <a:lnTo>
                    <a:pt x="12904" y="3823"/>
                  </a:lnTo>
                  <a:lnTo>
                    <a:pt x="12936" y="3890"/>
                  </a:lnTo>
                  <a:lnTo>
                    <a:pt x="12967" y="3957"/>
                  </a:lnTo>
                  <a:lnTo>
                    <a:pt x="12992" y="4025"/>
                  </a:lnTo>
                  <a:lnTo>
                    <a:pt x="13015" y="4095"/>
                  </a:lnTo>
                  <a:lnTo>
                    <a:pt x="13033" y="4165"/>
                  </a:lnTo>
                  <a:lnTo>
                    <a:pt x="13049" y="4236"/>
                  </a:lnTo>
                  <a:lnTo>
                    <a:pt x="13061" y="4308"/>
                  </a:lnTo>
                  <a:lnTo>
                    <a:pt x="13069" y="4380"/>
                  </a:lnTo>
                  <a:lnTo>
                    <a:pt x="13075" y="4452"/>
                  </a:lnTo>
                  <a:lnTo>
                    <a:pt x="13076" y="4524"/>
                  </a:lnTo>
                  <a:lnTo>
                    <a:pt x="13075" y="4596"/>
                  </a:lnTo>
                  <a:lnTo>
                    <a:pt x="13069" y="4669"/>
                  </a:lnTo>
                  <a:lnTo>
                    <a:pt x="13061" y="4741"/>
                  </a:lnTo>
                  <a:lnTo>
                    <a:pt x="13049" y="4812"/>
                  </a:lnTo>
                  <a:lnTo>
                    <a:pt x="13033" y="4884"/>
                  </a:lnTo>
                  <a:lnTo>
                    <a:pt x="13015" y="4954"/>
                  </a:lnTo>
                  <a:lnTo>
                    <a:pt x="12992" y="5024"/>
                  </a:lnTo>
                  <a:lnTo>
                    <a:pt x="12967" y="5092"/>
                  </a:lnTo>
                  <a:lnTo>
                    <a:pt x="12936" y="5159"/>
                  </a:lnTo>
                  <a:lnTo>
                    <a:pt x="12904" y="5226"/>
                  </a:lnTo>
                  <a:lnTo>
                    <a:pt x="12868" y="5291"/>
                  </a:lnTo>
                  <a:lnTo>
                    <a:pt x="12828" y="5354"/>
                  </a:lnTo>
                  <a:lnTo>
                    <a:pt x="12785" y="5417"/>
                  </a:lnTo>
                  <a:lnTo>
                    <a:pt x="12738" y="5476"/>
                  </a:lnTo>
                  <a:lnTo>
                    <a:pt x="12689" y="5534"/>
                  </a:lnTo>
                  <a:lnTo>
                    <a:pt x="12635" y="5591"/>
                  </a:lnTo>
                  <a:lnTo>
                    <a:pt x="5297" y="12838"/>
                  </a:lnTo>
                  <a:lnTo>
                    <a:pt x="5203" y="12927"/>
                  </a:lnTo>
                  <a:lnTo>
                    <a:pt x="5106" y="13011"/>
                  </a:lnTo>
                  <a:lnTo>
                    <a:pt x="5006" y="13088"/>
                  </a:lnTo>
                  <a:lnTo>
                    <a:pt x="4902" y="13160"/>
                  </a:lnTo>
                  <a:lnTo>
                    <a:pt x="4796" y="13226"/>
                  </a:lnTo>
                  <a:lnTo>
                    <a:pt x="4688" y="13286"/>
                  </a:lnTo>
                  <a:lnTo>
                    <a:pt x="4577" y="13341"/>
                  </a:lnTo>
                  <a:lnTo>
                    <a:pt x="4465" y="13390"/>
                  </a:lnTo>
                  <a:lnTo>
                    <a:pt x="4351" y="13433"/>
                  </a:lnTo>
                  <a:lnTo>
                    <a:pt x="4235" y="13470"/>
                  </a:lnTo>
                  <a:lnTo>
                    <a:pt x="4117" y="13502"/>
                  </a:lnTo>
                  <a:lnTo>
                    <a:pt x="3999" y="13528"/>
                  </a:lnTo>
                  <a:lnTo>
                    <a:pt x="3880" y="13549"/>
                  </a:lnTo>
                  <a:lnTo>
                    <a:pt x="3760" y="13563"/>
                  </a:lnTo>
                  <a:lnTo>
                    <a:pt x="3639" y="13571"/>
                  </a:lnTo>
                  <a:lnTo>
                    <a:pt x="3519" y="13574"/>
                  </a:lnTo>
                  <a:lnTo>
                    <a:pt x="3398" y="13571"/>
                  </a:lnTo>
                  <a:lnTo>
                    <a:pt x="3277" y="13563"/>
                  </a:lnTo>
                  <a:lnTo>
                    <a:pt x="3158" y="13549"/>
                  </a:lnTo>
                  <a:lnTo>
                    <a:pt x="3039" y="13528"/>
                  </a:lnTo>
                  <a:lnTo>
                    <a:pt x="2920" y="13502"/>
                  </a:lnTo>
                  <a:lnTo>
                    <a:pt x="2803" y="13470"/>
                  </a:lnTo>
                  <a:lnTo>
                    <a:pt x="2687" y="13433"/>
                  </a:lnTo>
                  <a:lnTo>
                    <a:pt x="2572" y="13390"/>
                  </a:lnTo>
                  <a:lnTo>
                    <a:pt x="2460" y="13341"/>
                  </a:lnTo>
                  <a:lnTo>
                    <a:pt x="2350" y="13286"/>
                  </a:lnTo>
                  <a:lnTo>
                    <a:pt x="2241" y="13226"/>
                  </a:lnTo>
                  <a:lnTo>
                    <a:pt x="2136" y="13160"/>
                  </a:lnTo>
                  <a:lnTo>
                    <a:pt x="2032" y="13088"/>
                  </a:lnTo>
                  <a:lnTo>
                    <a:pt x="1931" y="13011"/>
                  </a:lnTo>
                  <a:lnTo>
                    <a:pt x="1835" y="12927"/>
                  </a:lnTo>
                  <a:lnTo>
                    <a:pt x="1740" y="12838"/>
                  </a:lnTo>
                  <a:lnTo>
                    <a:pt x="1652" y="12744"/>
                  </a:lnTo>
                  <a:lnTo>
                    <a:pt x="1568" y="12647"/>
                  </a:lnTo>
                  <a:lnTo>
                    <a:pt x="1491" y="12546"/>
                  </a:lnTo>
                  <a:lnTo>
                    <a:pt x="1418" y="12444"/>
                  </a:lnTo>
                  <a:lnTo>
                    <a:pt x="1352" y="12338"/>
                  </a:lnTo>
                  <a:lnTo>
                    <a:pt x="1292" y="12230"/>
                  </a:lnTo>
                  <a:lnTo>
                    <a:pt x="1237" y="12119"/>
                  </a:lnTo>
                  <a:lnTo>
                    <a:pt x="1188" y="12006"/>
                  </a:lnTo>
                  <a:lnTo>
                    <a:pt x="1145" y="11892"/>
                  </a:lnTo>
                  <a:lnTo>
                    <a:pt x="1108" y="11776"/>
                  </a:lnTo>
                  <a:lnTo>
                    <a:pt x="1076" y="11660"/>
                  </a:lnTo>
                  <a:lnTo>
                    <a:pt x="1050" y="11541"/>
                  </a:lnTo>
                  <a:lnTo>
                    <a:pt x="1030" y="11421"/>
                  </a:lnTo>
                  <a:lnTo>
                    <a:pt x="1016" y="11302"/>
                  </a:lnTo>
                  <a:lnTo>
                    <a:pt x="1007" y="11181"/>
                  </a:lnTo>
                  <a:lnTo>
                    <a:pt x="1004" y="11060"/>
                  </a:lnTo>
                  <a:lnTo>
                    <a:pt x="1007" y="10940"/>
                  </a:lnTo>
                  <a:lnTo>
                    <a:pt x="1016" y="10820"/>
                  </a:lnTo>
                  <a:lnTo>
                    <a:pt x="1030" y="10701"/>
                  </a:lnTo>
                  <a:lnTo>
                    <a:pt x="1050" y="10581"/>
                  </a:lnTo>
                  <a:lnTo>
                    <a:pt x="1076" y="10462"/>
                  </a:lnTo>
                  <a:lnTo>
                    <a:pt x="1108" y="10346"/>
                  </a:lnTo>
                  <a:lnTo>
                    <a:pt x="1145" y="10229"/>
                  </a:lnTo>
                  <a:lnTo>
                    <a:pt x="1188" y="10115"/>
                  </a:lnTo>
                  <a:lnTo>
                    <a:pt x="1237" y="10003"/>
                  </a:lnTo>
                  <a:lnTo>
                    <a:pt x="1292" y="9892"/>
                  </a:lnTo>
                  <a:lnTo>
                    <a:pt x="1352" y="9784"/>
                  </a:lnTo>
                  <a:lnTo>
                    <a:pt x="1418" y="9678"/>
                  </a:lnTo>
                  <a:lnTo>
                    <a:pt x="1491" y="9575"/>
                  </a:lnTo>
                  <a:lnTo>
                    <a:pt x="1568" y="9475"/>
                  </a:lnTo>
                  <a:lnTo>
                    <a:pt x="1652" y="9378"/>
                  </a:lnTo>
                  <a:lnTo>
                    <a:pt x="1740" y="9284"/>
                  </a:lnTo>
                  <a:lnTo>
                    <a:pt x="9007" y="2108"/>
                  </a:lnTo>
                  <a:lnTo>
                    <a:pt x="9139" y="1982"/>
                  </a:lnTo>
                  <a:lnTo>
                    <a:pt x="9275" y="1866"/>
                  </a:lnTo>
                  <a:lnTo>
                    <a:pt x="9415" y="1757"/>
                  </a:lnTo>
                  <a:lnTo>
                    <a:pt x="9559" y="1657"/>
                  </a:lnTo>
                  <a:lnTo>
                    <a:pt x="9707" y="1564"/>
                  </a:lnTo>
                  <a:lnTo>
                    <a:pt x="9859" y="1480"/>
                  </a:lnTo>
                  <a:lnTo>
                    <a:pt x="10014" y="1402"/>
                  </a:lnTo>
                  <a:lnTo>
                    <a:pt x="10172" y="1334"/>
                  </a:lnTo>
                  <a:lnTo>
                    <a:pt x="10332" y="1274"/>
                  </a:lnTo>
                  <a:lnTo>
                    <a:pt x="10495" y="1221"/>
                  </a:lnTo>
                  <a:lnTo>
                    <a:pt x="10659" y="1177"/>
                  </a:lnTo>
                  <a:lnTo>
                    <a:pt x="10825" y="1141"/>
                  </a:lnTo>
                  <a:lnTo>
                    <a:pt x="10992" y="1113"/>
                  </a:lnTo>
                  <a:lnTo>
                    <a:pt x="11160" y="1093"/>
                  </a:lnTo>
                  <a:lnTo>
                    <a:pt x="11328" y="1081"/>
                  </a:lnTo>
                  <a:lnTo>
                    <a:pt x="11497" y="1077"/>
                  </a:lnTo>
                  <a:lnTo>
                    <a:pt x="11666" y="1081"/>
                  </a:lnTo>
                  <a:lnTo>
                    <a:pt x="11835" y="1093"/>
                  </a:lnTo>
                  <a:lnTo>
                    <a:pt x="12003" y="1113"/>
                  </a:lnTo>
                  <a:lnTo>
                    <a:pt x="12170" y="1141"/>
                  </a:lnTo>
                  <a:lnTo>
                    <a:pt x="12335" y="1177"/>
                  </a:lnTo>
                  <a:lnTo>
                    <a:pt x="12500" y="1221"/>
                  </a:lnTo>
                  <a:lnTo>
                    <a:pt x="12662" y="1274"/>
                  </a:lnTo>
                  <a:lnTo>
                    <a:pt x="12822" y="1334"/>
                  </a:lnTo>
                  <a:lnTo>
                    <a:pt x="12980" y="1402"/>
                  </a:lnTo>
                  <a:lnTo>
                    <a:pt x="13135" y="1480"/>
                  </a:lnTo>
                  <a:lnTo>
                    <a:pt x="13285" y="1564"/>
                  </a:lnTo>
                  <a:lnTo>
                    <a:pt x="13433" y="1657"/>
                  </a:lnTo>
                  <a:lnTo>
                    <a:pt x="13578" y="1757"/>
                  </a:lnTo>
                  <a:lnTo>
                    <a:pt x="13718" y="1866"/>
                  </a:lnTo>
                  <a:lnTo>
                    <a:pt x="13855" y="1982"/>
                  </a:lnTo>
                  <a:lnTo>
                    <a:pt x="13986" y="2108"/>
                  </a:lnTo>
                  <a:lnTo>
                    <a:pt x="14110" y="2239"/>
                  </a:lnTo>
                  <a:lnTo>
                    <a:pt x="14228" y="2376"/>
                  </a:lnTo>
                  <a:lnTo>
                    <a:pt x="14337" y="2515"/>
                  </a:lnTo>
                  <a:lnTo>
                    <a:pt x="14437" y="2660"/>
                  </a:lnTo>
                  <a:lnTo>
                    <a:pt x="14530" y="2808"/>
                  </a:lnTo>
                  <a:lnTo>
                    <a:pt x="14614" y="2960"/>
                  </a:lnTo>
                  <a:lnTo>
                    <a:pt x="14692" y="3114"/>
                  </a:lnTo>
                  <a:lnTo>
                    <a:pt x="14760" y="3272"/>
                  </a:lnTo>
                  <a:lnTo>
                    <a:pt x="14820" y="3432"/>
                  </a:lnTo>
                  <a:lnTo>
                    <a:pt x="14873" y="3594"/>
                  </a:lnTo>
                  <a:lnTo>
                    <a:pt x="14917" y="3758"/>
                  </a:lnTo>
                  <a:lnTo>
                    <a:pt x="14953" y="3924"/>
                  </a:lnTo>
                  <a:lnTo>
                    <a:pt x="14981" y="4091"/>
                  </a:lnTo>
                  <a:lnTo>
                    <a:pt x="15002" y="4258"/>
                  </a:lnTo>
                  <a:lnTo>
                    <a:pt x="15014" y="4427"/>
                  </a:lnTo>
                  <a:lnTo>
                    <a:pt x="15018" y="4596"/>
                  </a:lnTo>
                  <a:lnTo>
                    <a:pt x="15014" y="4765"/>
                  </a:lnTo>
                  <a:lnTo>
                    <a:pt x="15002" y="4933"/>
                  </a:lnTo>
                  <a:lnTo>
                    <a:pt x="14981" y="5101"/>
                  </a:lnTo>
                  <a:lnTo>
                    <a:pt x="14953" y="5268"/>
                  </a:lnTo>
                  <a:lnTo>
                    <a:pt x="14917" y="5434"/>
                  </a:lnTo>
                  <a:lnTo>
                    <a:pt x="14873" y="5598"/>
                  </a:lnTo>
                  <a:lnTo>
                    <a:pt x="14820" y="5759"/>
                  </a:lnTo>
                  <a:lnTo>
                    <a:pt x="14760" y="5919"/>
                  </a:lnTo>
                  <a:lnTo>
                    <a:pt x="14692" y="6077"/>
                  </a:lnTo>
                  <a:lnTo>
                    <a:pt x="14615" y="6232"/>
                  </a:lnTo>
                  <a:lnTo>
                    <a:pt x="14531" y="6384"/>
                  </a:lnTo>
                  <a:lnTo>
                    <a:pt x="14438" y="6531"/>
                  </a:lnTo>
                  <a:lnTo>
                    <a:pt x="14338" y="6676"/>
                  </a:lnTo>
                  <a:lnTo>
                    <a:pt x="14228" y="6816"/>
                  </a:lnTo>
                  <a:lnTo>
                    <a:pt x="14111" y="6953"/>
                  </a:lnTo>
                  <a:lnTo>
                    <a:pt x="13987" y="7083"/>
                  </a:lnTo>
                  <a:lnTo>
                    <a:pt x="8541" y="12525"/>
                  </a:lnTo>
                  <a:lnTo>
                    <a:pt x="8523" y="12544"/>
                  </a:lnTo>
                  <a:lnTo>
                    <a:pt x="8507" y="12563"/>
                  </a:lnTo>
                  <a:lnTo>
                    <a:pt x="8491" y="12583"/>
                  </a:lnTo>
                  <a:lnTo>
                    <a:pt x="8477" y="12605"/>
                  </a:lnTo>
                  <a:lnTo>
                    <a:pt x="8464" y="12626"/>
                  </a:lnTo>
                  <a:lnTo>
                    <a:pt x="8451" y="12648"/>
                  </a:lnTo>
                  <a:lnTo>
                    <a:pt x="8441" y="12670"/>
                  </a:lnTo>
                  <a:lnTo>
                    <a:pt x="8431" y="12692"/>
                  </a:lnTo>
                  <a:lnTo>
                    <a:pt x="8422" y="12715"/>
                  </a:lnTo>
                  <a:lnTo>
                    <a:pt x="8415" y="12738"/>
                  </a:lnTo>
                  <a:lnTo>
                    <a:pt x="8408" y="12761"/>
                  </a:lnTo>
                  <a:lnTo>
                    <a:pt x="8403" y="12786"/>
                  </a:lnTo>
                  <a:lnTo>
                    <a:pt x="8399" y="12810"/>
                  </a:lnTo>
                  <a:lnTo>
                    <a:pt x="8396" y="12833"/>
                  </a:lnTo>
                  <a:lnTo>
                    <a:pt x="8395" y="12857"/>
                  </a:lnTo>
                  <a:lnTo>
                    <a:pt x="8394" y="12881"/>
                  </a:lnTo>
                  <a:lnTo>
                    <a:pt x="8395" y="12905"/>
                  </a:lnTo>
                  <a:lnTo>
                    <a:pt x="8396" y="12929"/>
                  </a:lnTo>
                  <a:lnTo>
                    <a:pt x="8399" y="12953"/>
                  </a:lnTo>
                  <a:lnTo>
                    <a:pt x="8403" y="12978"/>
                  </a:lnTo>
                  <a:lnTo>
                    <a:pt x="8408" y="13001"/>
                  </a:lnTo>
                  <a:lnTo>
                    <a:pt x="8415" y="13025"/>
                  </a:lnTo>
                  <a:lnTo>
                    <a:pt x="8422" y="13048"/>
                  </a:lnTo>
                  <a:lnTo>
                    <a:pt x="8431" y="13070"/>
                  </a:lnTo>
                  <a:lnTo>
                    <a:pt x="8441" y="13093"/>
                  </a:lnTo>
                  <a:lnTo>
                    <a:pt x="8451" y="13115"/>
                  </a:lnTo>
                  <a:lnTo>
                    <a:pt x="8464" y="13136"/>
                  </a:lnTo>
                  <a:lnTo>
                    <a:pt x="8477" y="13157"/>
                  </a:lnTo>
                  <a:lnTo>
                    <a:pt x="8491" y="13179"/>
                  </a:lnTo>
                  <a:lnTo>
                    <a:pt x="8507" y="13199"/>
                  </a:lnTo>
                  <a:lnTo>
                    <a:pt x="8523" y="13218"/>
                  </a:lnTo>
                  <a:lnTo>
                    <a:pt x="8541" y="13237"/>
                  </a:lnTo>
                  <a:lnTo>
                    <a:pt x="8561" y="13254"/>
                  </a:lnTo>
                  <a:lnTo>
                    <a:pt x="8580" y="13271"/>
                  </a:lnTo>
                  <a:lnTo>
                    <a:pt x="8600" y="13286"/>
                  </a:lnTo>
                  <a:lnTo>
                    <a:pt x="8621" y="13301"/>
                  </a:lnTo>
                  <a:lnTo>
                    <a:pt x="8642" y="13314"/>
                  </a:lnTo>
                  <a:lnTo>
                    <a:pt x="8663" y="13326"/>
                  </a:lnTo>
                  <a:lnTo>
                    <a:pt x="8685" y="13337"/>
                  </a:lnTo>
                  <a:lnTo>
                    <a:pt x="8708" y="13348"/>
                  </a:lnTo>
                  <a:lnTo>
                    <a:pt x="8731" y="13356"/>
                  </a:lnTo>
                  <a:lnTo>
                    <a:pt x="8754" y="13364"/>
                  </a:lnTo>
                  <a:lnTo>
                    <a:pt x="8778" y="13370"/>
                  </a:lnTo>
                  <a:lnTo>
                    <a:pt x="8801" y="13375"/>
                  </a:lnTo>
                  <a:lnTo>
                    <a:pt x="8825" y="13379"/>
                  </a:lnTo>
                  <a:lnTo>
                    <a:pt x="8849" y="13382"/>
                  </a:lnTo>
                  <a:lnTo>
                    <a:pt x="8873" y="13384"/>
                  </a:lnTo>
                  <a:lnTo>
                    <a:pt x="8898" y="13385"/>
                  </a:lnTo>
                  <a:lnTo>
                    <a:pt x="8922" y="13384"/>
                  </a:lnTo>
                  <a:lnTo>
                    <a:pt x="8946" y="13382"/>
                  </a:lnTo>
                  <a:lnTo>
                    <a:pt x="8969" y="13379"/>
                  </a:lnTo>
                  <a:lnTo>
                    <a:pt x="8993" y="13375"/>
                  </a:lnTo>
                  <a:lnTo>
                    <a:pt x="9017" y="13370"/>
                  </a:lnTo>
                  <a:lnTo>
                    <a:pt x="9040" y="13364"/>
                  </a:lnTo>
                  <a:lnTo>
                    <a:pt x="9063" y="13356"/>
                  </a:lnTo>
                  <a:lnTo>
                    <a:pt x="9087" y="13348"/>
                  </a:lnTo>
                  <a:lnTo>
                    <a:pt x="9109" y="13337"/>
                  </a:lnTo>
                  <a:lnTo>
                    <a:pt x="9131" y="13326"/>
                  </a:lnTo>
                  <a:lnTo>
                    <a:pt x="9153" y="13314"/>
                  </a:lnTo>
                  <a:lnTo>
                    <a:pt x="9174" y="13301"/>
                  </a:lnTo>
                  <a:lnTo>
                    <a:pt x="9194" y="13286"/>
                  </a:lnTo>
                  <a:lnTo>
                    <a:pt x="9214" y="13271"/>
                  </a:lnTo>
                  <a:lnTo>
                    <a:pt x="9234" y="13254"/>
                  </a:lnTo>
                  <a:lnTo>
                    <a:pt x="9253" y="13237"/>
                  </a:lnTo>
                  <a:lnTo>
                    <a:pt x="14768" y="7724"/>
                  </a:lnTo>
                  <a:lnTo>
                    <a:pt x="14929" y="7555"/>
                  </a:lnTo>
                  <a:lnTo>
                    <a:pt x="15080" y="7380"/>
                  </a:lnTo>
                  <a:lnTo>
                    <a:pt x="15220" y="7200"/>
                  </a:lnTo>
                  <a:lnTo>
                    <a:pt x="15349" y="7014"/>
                  </a:lnTo>
                  <a:lnTo>
                    <a:pt x="15468" y="6823"/>
                  </a:lnTo>
                  <a:lnTo>
                    <a:pt x="15577" y="6628"/>
                  </a:lnTo>
                  <a:lnTo>
                    <a:pt x="15676" y="6430"/>
                  </a:lnTo>
                  <a:lnTo>
                    <a:pt x="15763" y="6227"/>
                  </a:lnTo>
                  <a:lnTo>
                    <a:pt x="15842" y="6021"/>
                  </a:lnTo>
                  <a:lnTo>
                    <a:pt x="15909" y="5813"/>
                  </a:lnTo>
                  <a:lnTo>
                    <a:pt x="15965" y="5602"/>
                  </a:lnTo>
                  <a:lnTo>
                    <a:pt x="16013" y="5388"/>
                  </a:lnTo>
                  <a:lnTo>
                    <a:pt x="16049" y="5174"/>
                  </a:lnTo>
                  <a:lnTo>
                    <a:pt x="16074" y="4958"/>
                  </a:lnTo>
                  <a:lnTo>
                    <a:pt x="16090" y="4742"/>
                  </a:lnTo>
                  <a:lnTo>
                    <a:pt x="16095" y="4525"/>
                  </a:lnTo>
                  <a:lnTo>
                    <a:pt x="16090" y="4308"/>
                  </a:lnTo>
                  <a:lnTo>
                    <a:pt x="16074" y="4091"/>
                  </a:lnTo>
                  <a:lnTo>
                    <a:pt x="16049" y="3875"/>
                  </a:lnTo>
                  <a:lnTo>
                    <a:pt x="16013" y="3660"/>
                  </a:lnTo>
                  <a:lnTo>
                    <a:pt x="15965" y="3447"/>
                  </a:lnTo>
                  <a:lnTo>
                    <a:pt x="15909" y="3236"/>
                  </a:lnTo>
                  <a:lnTo>
                    <a:pt x="15842" y="3028"/>
                  </a:lnTo>
                  <a:lnTo>
                    <a:pt x="15763" y="2822"/>
                  </a:lnTo>
                  <a:lnTo>
                    <a:pt x="15676" y="2620"/>
                  </a:lnTo>
                  <a:lnTo>
                    <a:pt x="15577" y="2421"/>
                  </a:lnTo>
                  <a:lnTo>
                    <a:pt x="15468" y="2226"/>
                  </a:lnTo>
                  <a:lnTo>
                    <a:pt x="15349" y="2036"/>
                  </a:lnTo>
                  <a:lnTo>
                    <a:pt x="15220" y="1850"/>
                  </a:lnTo>
                  <a:lnTo>
                    <a:pt x="15080" y="1669"/>
                  </a:lnTo>
                  <a:lnTo>
                    <a:pt x="14929" y="1495"/>
                  </a:lnTo>
                  <a:lnTo>
                    <a:pt x="14768" y="13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17" name="ïŝľïḑè">
              <a:extLst>
                <a:ext uri="{FF2B5EF4-FFF2-40B4-BE49-F238E27FC236}">
                  <a16:creationId xmlns:a16="http://schemas.microsoft.com/office/drawing/2014/main" id="{E94699C8-4BE4-4967-8037-7193DB72347F}"/>
                </a:ext>
              </a:extLst>
            </p:cNvPr>
            <p:cNvSpPr/>
            <p:nvPr/>
          </p:nvSpPr>
          <p:spPr bwMode="auto">
            <a:xfrm>
              <a:off x="6324939" y="3313911"/>
              <a:ext cx="366358" cy="366358"/>
            </a:xfrm>
            <a:custGeom>
              <a:avLst/>
              <a:gdLst>
                <a:gd name="T0" fmla="*/ 4167 w 16092"/>
                <a:gd name="T1" fmla="*/ 13921 h 16091"/>
                <a:gd name="T2" fmla="*/ 2857 w 16092"/>
                <a:gd name="T3" fmla="*/ 12802 h 16091"/>
                <a:gd name="T4" fmla="*/ 1872 w 16092"/>
                <a:gd name="T5" fmla="*/ 11423 h 16091"/>
                <a:gd name="T6" fmla="*/ 1245 w 16092"/>
                <a:gd name="T7" fmla="*/ 9857 h 16091"/>
                <a:gd name="T8" fmla="*/ 1007 w 16092"/>
                <a:gd name="T9" fmla="*/ 8176 h 16091"/>
                <a:gd name="T10" fmla="*/ 1188 w 16092"/>
                <a:gd name="T11" fmla="*/ 6453 h 16091"/>
                <a:gd name="T12" fmla="*/ 1812 w 16092"/>
                <a:gd name="T13" fmla="*/ 4775 h 16091"/>
                <a:gd name="T14" fmla="*/ 2807 w 16092"/>
                <a:gd name="T15" fmla="*/ 3343 h 16091"/>
                <a:gd name="T16" fmla="*/ 4090 w 16092"/>
                <a:gd name="T17" fmla="*/ 2225 h 16091"/>
                <a:gd name="T18" fmla="*/ 5590 w 16092"/>
                <a:gd name="T19" fmla="*/ 1452 h 16091"/>
                <a:gd name="T20" fmla="*/ 7234 w 16092"/>
                <a:gd name="T21" fmla="*/ 1054 h 16091"/>
                <a:gd name="T22" fmla="*/ 8949 w 16092"/>
                <a:gd name="T23" fmla="*/ 1063 h 16091"/>
                <a:gd name="T24" fmla="*/ 10662 w 16092"/>
                <a:gd name="T25" fmla="*/ 1511 h 16091"/>
                <a:gd name="T26" fmla="*/ 12211 w 16092"/>
                <a:gd name="T27" fmla="*/ 2370 h 16091"/>
                <a:gd name="T28" fmla="*/ 13458 w 16092"/>
                <a:gd name="T29" fmla="*/ 3547 h 16091"/>
                <a:gd name="T30" fmla="*/ 14374 w 16092"/>
                <a:gd name="T31" fmla="*/ 4968 h 16091"/>
                <a:gd name="T32" fmla="*/ 14925 w 16092"/>
                <a:gd name="T33" fmla="*/ 6564 h 16091"/>
                <a:gd name="T34" fmla="*/ 15082 w 16092"/>
                <a:gd name="T35" fmla="*/ 8259 h 16091"/>
                <a:gd name="T36" fmla="*/ 14814 w 16092"/>
                <a:gd name="T37" fmla="*/ 9982 h 16091"/>
                <a:gd name="T38" fmla="*/ 14107 w 16092"/>
                <a:gd name="T39" fmla="*/ 11626 h 16091"/>
                <a:gd name="T40" fmla="*/ 13049 w 16092"/>
                <a:gd name="T41" fmla="*/ 12998 h 16091"/>
                <a:gd name="T42" fmla="*/ 11716 w 16092"/>
                <a:gd name="T43" fmla="*/ 14049 h 16091"/>
                <a:gd name="T44" fmla="*/ 10181 w 16092"/>
                <a:gd name="T45" fmla="*/ 14750 h 16091"/>
                <a:gd name="T46" fmla="*/ 8518 w 16092"/>
                <a:gd name="T47" fmla="*/ 15069 h 16091"/>
                <a:gd name="T48" fmla="*/ 6797 w 16092"/>
                <a:gd name="T49" fmla="*/ 14974 h 16091"/>
                <a:gd name="T50" fmla="*/ 11036 w 16092"/>
                <a:gd name="T51" fmla="*/ 576 h 16091"/>
                <a:gd name="T52" fmla="*/ 9076 w 16092"/>
                <a:gd name="T53" fmla="*/ 64 h 16091"/>
                <a:gd name="T54" fmla="*/ 7115 w 16092"/>
                <a:gd name="T55" fmla="*/ 52 h 16091"/>
                <a:gd name="T56" fmla="*/ 5238 w 16092"/>
                <a:gd name="T57" fmla="*/ 506 h 16091"/>
                <a:gd name="T58" fmla="*/ 3525 w 16092"/>
                <a:gd name="T59" fmla="*/ 1390 h 16091"/>
                <a:gd name="T60" fmla="*/ 2058 w 16092"/>
                <a:gd name="T61" fmla="*/ 2669 h 16091"/>
                <a:gd name="T62" fmla="*/ 921 w 16092"/>
                <a:gd name="T63" fmla="*/ 4306 h 16091"/>
                <a:gd name="T64" fmla="*/ 207 w 16092"/>
                <a:gd name="T65" fmla="*/ 6227 h 16091"/>
                <a:gd name="T66" fmla="*/ 0 w 16092"/>
                <a:gd name="T67" fmla="*/ 8197 h 16091"/>
                <a:gd name="T68" fmla="*/ 272 w 16092"/>
                <a:gd name="T69" fmla="*/ 10118 h 16091"/>
                <a:gd name="T70" fmla="*/ 987 w 16092"/>
                <a:gd name="T71" fmla="*/ 11906 h 16091"/>
                <a:gd name="T72" fmla="*/ 2111 w 16092"/>
                <a:gd name="T73" fmla="*/ 13482 h 16091"/>
                <a:gd name="T74" fmla="*/ 3610 w 16092"/>
                <a:gd name="T75" fmla="*/ 14760 h 16091"/>
                <a:gd name="T76" fmla="*/ 5443 w 16092"/>
                <a:gd name="T77" fmla="*/ 15658 h 16091"/>
                <a:gd name="T78" fmla="*/ 7410 w 16092"/>
                <a:gd name="T79" fmla="*/ 16068 h 16091"/>
                <a:gd name="T80" fmla="*/ 9360 w 16092"/>
                <a:gd name="T81" fmla="*/ 15984 h 16091"/>
                <a:gd name="T82" fmla="*/ 11211 w 16092"/>
                <a:gd name="T83" fmla="*/ 15441 h 16091"/>
                <a:gd name="T84" fmla="*/ 12882 w 16092"/>
                <a:gd name="T85" fmla="*/ 14476 h 16091"/>
                <a:gd name="T86" fmla="*/ 14289 w 16092"/>
                <a:gd name="T87" fmla="*/ 13122 h 16091"/>
                <a:gd name="T88" fmla="*/ 15351 w 16092"/>
                <a:gd name="T89" fmla="*/ 11416 h 16091"/>
                <a:gd name="T90" fmla="*/ 15965 w 16092"/>
                <a:gd name="T91" fmla="*/ 9470 h 16091"/>
                <a:gd name="T92" fmla="*/ 16075 w 16092"/>
                <a:gd name="T93" fmla="*/ 7503 h 16091"/>
                <a:gd name="T94" fmla="*/ 15711 w 16092"/>
                <a:gd name="T95" fmla="*/ 5602 h 16091"/>
                <a:gd name="T96" fmla="*/ 14911 w 16092"/>
                <a:gd name="T97" fmla="*/ 3850 h 16091"/>
                <a:gd name="T98" fmla="*/ 13708 w 16092"/>
                <a:gd name="T99" fmla="*/ 2328 h 16091"/>
                <a:gd name="T100" fmla="*/ 12139 w 16092"/>
                <a:gd name="T101" fmla="*/ 1119 h 16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092" h="16091">
                  <a:moveTo>
                    <a:pt x="5429" y="14581"/>
                  </a:moveTo>
                  <a:lnTo>
                    <a:pt x="5096" y="14438"/>
                  </a:lnTo>
                  <a:lnTo>
                    <a:pt x="4775" y="14279"/>
                  </a:lnTo>
                  <a:lnTo>
                    <a:pt x="4465" y="14107"/>
                  </a:lnTo>
                  <a:lnTo>
                    <a:pt x="4167" y="13921"/>
                  </a:lnTo>
                  <a:lnTo>
                    <a:pt x="3880" y="13721"/>
                  </a:lnTo>
                  <a:lnTo>
                    <a:pt x="3605" y="13509"/>
                  </a:lnTo>
                  <a:lnTo>
                    <a:pt x="3343" y="13284"/>
                  </a:lnTo>
                  <a:lnTo>
                    <a:pt x="3093" y="13049"/>
                  </a:lnTo>
                  <a:lnTo>
                    <a:pt x="2857" y="12802"/>
                  </a:lnTo>
                  <a:lnTo>
                    <a:pt x="2633" y="12544"/>
                  </a:lnTo>
                  <a:lnTo>
                    <a:pt x="2422" y="12277"/>
                  </a:lnTo>
                  <a:lnTo>
                    <a:pt x="2225" y="12001"/>
                  </a:lnTo>
                  <a:lnTo>
                    <a:pt x="2042" y="11716"/>
                  </a:lnTo>
                  <a:lnTo>
                    <a:pt x="1872" y="11423"/>
                  </a:lnTo>
                  <a:lnTo>
                    <a:pt x="1717" y="11123"/>
                  </a:lnTo>
                  <a:lnTo>
                    <a:pt x="1577" y="10815"/>
                  </a:lnTo>
                  <a:lnTo>
                    <a:pt x="1452" y="10501"/>
                  </a:lnTo>
                  <a:lnTo>
                    <a:pt x="1341" y="10182"/>
                  </a:lnTo>
                  <a:lnTo>
                    <a:pt x="1245" y="9857"/>
                  </a:lnTo>
                  <a:lnTo>
                    <a:pt x="1166" y="9527"/>
                  </a:lnTo>
                  <a:lnTo>
                    <a:pt x="1102" y="9194"/>
                  </a:lnTo>
                  <a:lnTo>
                    <a:pt x="1054" y="8857"/>
                  </a:lnTo>
                  <a:lnTo>
                    <a:pt x="1022" y="8518"/>
                  </a:lnTo>
                  <a:lnTo>
                    <a:pt x="1007" y="8176"/>
                  </a:lnTo>
                  <a:lnTo>
                    <a:pt x="1009" y="7832"/>
                  </a:lnTo>
                  <a:lnTo>
                    <a:pt x="1027" y="7488"/>
                  </a:lnTo>
                  <a:lnTo>
                    <a:pt x="1063" y="7143"/>
                  </a:lnTo>
                  <a:lnTo>
                    <a:pt x="1117" y="6797"/>
                  </a:lnTo>
                  <a:lnTo>
                    <a:pt x="1188" y="6453"/>
                  </a:lnTo>
                  <a:lnTo>
                    <a:pt x="1277" y="6109"/>
                  </a:lnTo>
                  <a:lnTo>
                    <a:pt x="1384" y="5768"/>
                  </a:lnTo>
                  <a:lnTo>
                    <a:pt x="1510" y="5429"/>
                  </a:lnTo>
                  <a:lnTo>
                    <a:pt x="1654" y="5096"/>
                  </a:lnTo>
                  <a:lnTo>
                    <a:pt x="1812" y="4775"/>
                  </a:lnTo>
                  <a:lnTo>
                    <a:pt x="1984" y="4465"/>
                  </a:lnTo>
                  <a:lnTo>
                    <a:pt x="2170" y="4167"/>
                  </a:lnTo>
                  <a:lnTo>
                    <a:pt x="2370" y="3880"/>
                  </a:lnTo>
                  <a:lnTo>
                    <a:pt x="2582" y="3605"/>
                  </a:lnTo>
                  <a:lnTo>
                    <a:pt x="2807" y="3343"/>
                  </a:lnTo>
                  <a:lnTo>
                    <a:pt x="3042" y="3093"/>
                  </a:lnTo>
                  <a:lnTo>
                    <a:pt x="3289" y="2857"/>
                  </a:lnTo>
                  <a:lnTo>
                    <a:pt x="3547" y="2633"/>
                  </a:lnTo>
                  <a:lnTo>
                    <a:pt x="3814" y="2422"/>
                  </a:lnTo>
                  <a:lnTo>
                    <a:pt x="4090" y="2225"/>
                  </a:lnTo>
                  <a:lnTo>
                    <a:pt x="4375" y="2042"/>
                  </a:lnTo>
                  <a:lnTo>
                    <a:pt x="4669" y="1873"/>
                  </a:lnTo>
                  <a:lnTo>
                    <a:pt x="4968" y="1718"/>
                  </a:lnTo>
                  <a:lnTo>
                    <a:pt x="5276" y="1577"/>
                  </a:lnTo>
                  <a:lnTo>
                    <a:pt x="5590" y="1452"/>
                  </a:lnTo>
                  <a:lnTo>
                    <a:pt x="5910" y="1341"/>
                  </a:lnTo>
                  <a:lnTo>
                    <a:pt x="6234" y="1245"/>
                  </a:lnTo>
                  <a:lnTo>
                    <a:pt x="6564" y="1166"/>
                  </a:lnTo>
                  <a:lnTo>
                    <a:pt x="6897" y="1103"/>
                  </a:lnTo>
                  <a:lnTo>
                    <a:pt x="7234" y="1054"/>
                  </a:lnTo>
                  <a:lnTo>
                    <a:pt x="7573" y="1022"/>
                  </a:lnTo>
                  <a:lnTo>
                    <a:pt x="7915" y="1007"/>
                  </a:lnTo>
                  <a:lnTo>
                    <a:pt x="8259" y="1009"/>
                  </a:lnTo>
                  <a:lnTo>
                    <a:pt x="8603" y="1028"/>
                  </a:lnTo>
                  <a:lnTo>
                    <a:pt x="8949" y="1063"/>
                  </a:lnTo>
                  <a:lnTo>
                    <a:pt x="9294" y="1117"/>
                  </a:lnTo>
                  <a:lnTo>
                    <a:pt x="9638" y="1188"/>
                  </a:lnTo>
                  <a:lnTo>
                    <a:pt x="9982" y="1278"/>
                  </a:lnTo>
                  <a:lnTo>
                    <a:pt x="10323" y="1385"/>
                  </a:lnTo>
                  <a:lnTo>
                    <a:pt x="10662" y="1511"/>
                  </a:lnTo>
                  <a:lnTo>
                    <a:pt x="10995" y="1654"/>
                  </a:lnTo>
                  <a:lnTo>
                    <a:pt x="11316" y="1812"/>
                  </a:lnTo>
                  <a:lnTo>
                    <a:pt x="11626" y="1984"/>
                  </a:lnTo>
                  <a:lnTo>
                    <a:pt x="11924" y="2171"/>
                  </a:lnTo>
                  <a:lnTo>
                    <a:pt x="12211" y="2370"/>
                  </a:lnTo>
                  <a:lnTo>
                    <a:pt x="12486" y="2582"/>
                  </a:lnTo>
                  <a:lnTo>
                    <a:pt x="12748" y="2807"/>
                  </a:lnTo>
                  <a:lnTo>
                    <a:pt x="12998" y="3043"/>
                  </a:lnTo>
                  <a:lnTo>
                    <a:pt x="13234" y="3289"/>
                  </a:lnTo>
                  <a:lnTo>
                    <a:pt x="13458" y="3547"/>
                  </a:lnTo>
                  <a:lnTo>
                    <a:pt x="13669" y="3814"/>
                  </a:lnTo>
                  <a:lnTo>
                    <a:pt x="13866" y="4090"/>
                  </a:lnTo>
                  <a:lnTo>
                    <a:pt x="14049" y="4375"/>
                  </a:lnTo>
                  <a:lnTo>
                    <a:pt x="14219" y="4669"/>
                  </a:lnTo>
                  <a:lnTo>
                    <a:pt x="14374" y="4968"/>
                  </a:lnTo>
                  <a:lnTo>
                    <a:pt x="14514" y="5276"/>
                  </a:lnTo>
                  <a:lnTo>
                    <a:pt x="14639" y="5590"/>
                  </a:lnTo>
                  <a:lnTo>
                    <a:pt x="14750" y="5910"/>
                  </a:lnTo>
                  <a:lnTo>
                    <a:pt x="14846" y="6234"/>
                  </a:lnTo>
                  <a:lnTo>
                    <a:pt x="14925" y="6564"/>
                  </a:lnTo>
                  <a:lnTo>
                    <a:pt x="14989" y="6897"/>
                  </a:lnTo>
                  <a:lnTo>
                    <a:pt x="15037" y="7234"/>
                  </a:lnTo>
                  <a:lnTo>
                    <a:pt x="15069" y="7573"/>
                  </a:lnTo>
                  <a:lnTo>
                    <a:pt x="15084" y="7915"/>
                  </a:lnTo>
                  <a:lnTo>
                    <a:pt x="15082" y="8259"/>
                  </a:lnTo>
                  <a:lnTo>
                    <a:pt x="15064" y="8603"/>
                  </a:lnTo>
                  <a:lnTo>
                    <a:pt x="15028" y="8949"/>
                  </a:lnTo>
                  <a:lnTo>
                    <a:pt x="14974" y="9294"/>
                  </a:lnTo>
                  <a:lnTo>
                    <a:pt x="14903" y="9638"/>
                  </a:lnTo>
                  <a:lnTo>
                    <a:pt x="14814" y="9982"/>
                  </a:lnTo>
                  <a:lnTo>
                    <a:pt x="14707" y="10323"/>
                  </a:lnTo>
                  <a:lnTo>
                    <a:pt x="14581" y="10662"/>
                  </a:lnTo>
                  <a:lnTo>
                    <a:pt x="14437" y="10995"/>
                  </a:lnTo>
                  <a:lnTo>
                    <a:pt x="14279" y="11316"/>
                  </a:lnTo>
                  <a:lnTo>
                    <a:pt x="14107" y="11626"/>
                  </a:lnTo>
                  <a:lnTo>
                    <a:pt x="13921" y="11924"/>
                  </a:lnTo>
                  <a:lnTo>
                    <a:pt x="13721" y="12211"/>
                  </a:lnTo>
                  <a:lnTo>
                    <a:pt x="13509" y="12486"/>
                  </a:lnTo>
                  <a:lnTo>
                    <a:pt x="13284" y="12748"/>
                  </a:lnTo>
                  <a:lnTo>
                    <a:pt x="13049" y="12998"/>
                  </a:lnTo>
                  <a:lnTo>
                    <a:pt x="12802" y="13235"/>
                  </a:lnTo>
                  <a:lnTo>
                    <a:pt x="12544" y="13458"/>
                  </a:lnTo>
                  <a:lnTo>
                    <a:pt x="12277" y="13669"/>
                  </a:lnTo>
                  <a:lnTo>
                    <a:pt x="12001" y="13866"/>
                  </a:lnTo>
                  <a:lnTo>
                    <a:pt x="11716" y="14049"/>
                  </a:lnTo>
                  <a:lnTo>
                    <a:pt x="11422" y="14219"/>
                  </a:lnTo>
                  <a:lnTo>
                    <a:pt x="11123" y="14374"/>
                  </a:lnTo>
                  <a:lnTo>
                    <a:pt x="10815" y="14514"/>
                  </a:lnTo>
                  <a:lnTo>
                    <a:pt x="10501" y="14639"/>
                  </a:lnTo>
                  <a:lnTo>
                    <a:pt x="10181" y="14750"/>
                  </a:lnTo>
                  <a:lnTo>
                    <a:pt x="9857" y="14846"/>
                  </a:lnTo>
                  <a:lnTo>
                    <a:pt x="9527" y="14925"/>
                  </a:lnTo>
                  <a:lnTo>
                    <a:pt x="9194" y="14989"/>
                  </a:lnTo>
                  <a:lnTo>
                    <a:pt x="8857" y="15037"/>
                  </a:lnTo>
                  <a:lnTo>
                    <a:pt x="8518" y="15069"/>
                  </a:lnTo>
                  <a:lnTo>
                    <a:pt x="8176" y="15084"/>
                  </a:lnTo>
                  <a:lnTo>
                    <a:pt x="7832" y="15082"/>
                  </a:lnTo>
                  <a:lnTo>
                    <a:pt x="7487" y="15064"/>
                  </a:lnTo>
                  <a:lnTo>
                    <a:pt x="7142" y="15028"/>
                  </a:lnTo>
                  <a:lnTo>
                    <a:pt x="6797" y="14974"/>
                  </a:lnTo>
                  <a:lnTo>
                    <a:pt x="6453" y="14903"/>
                  </a:lnTo>
                  <a:lnTo>
                    <a:pt x="6109" y="14814"/>
                  </a:lnTo>
                  <a:lnTo>
                    <a:pt x="5768" y="14707"/>
                  </a:lnTo>
                  <a:lnTo>
                    <a:pt x="5429" y="14581"/>
                  </a:lnTo>
                  <a:close/>
                  <a:moveTo>
                    <a:pt x="11036" y="576"/>
                  </a:moveTo>
                  <a:lnTo>
                    <a:pt x="10648" y="433"/>
                  </a:lnTo>
                  <a:lnTo>
                    <a:pt x="10258" y="310"/>
                  </a:lnTo>
                  <a:lnTo>
                    <a:pt x="9864" y="207"/>
                  </a:lnTo>
                  <a:lnTo>
                    <a:pt x="9470" y="126"/>
                  </a:lnTo>
                  <a:lnTo>
                    <a:pt x="9076" y="64"/>
                  </a:lnTo>
                  <a:lnTo>
                    <a:pt x="8681" y="23"/>
                  </a:lnTo>
                  <a:lnTo>
                    <a:pt x="8287" y="2"/>
                  </a:lnTo>
                  <a:lnTo>
                    <a:pt x="7895" y="0"/>
                  </a:lnTo>
                  <a:lnTo>
                    <a:pt x="7503" y="17"/>
                  </a:lnTo>
                  <a:lnTo>
                    <a:pt x="7115" y="52"/>
                  </a:lnTo>
                  <a:lnTo>
                    <a:pt x="6731" y="108"/>
                  </a:lnTo>
                  <a:lnTo>
                    <a:pt x="6349" y="180"/>
                  </a:lnTo>
                  <a:lnTo>
                    <a:pt x="5973" y="272"/>
                  </a:lnTo>
                  <a:lnTo>
                    <a:pt x="5603" y="380"/>
                  </a:lnTo>
                  <a:lnTo>
                    <a:pt x="5238" y="506"/>
                  </a:lnTo>
                  <a:lnTo>
                    <a:pt x="4880" y="650"/>
                  </a:lnTo>
                  <a:lnTo>
                    <a:pt x="4529" y="810"/>
                  </a:lnTo>
                  <a:lnTo>
                    <a:pt x="4185" y="987"/>
                  </a:lnTo>
                  <a:lnTo>
                    <a:pt x="3851" y="1180"/>
                  </a:lnTo>
                  <a:lnTo>
                    <a:pt x="3525" y="1390"/>
                  </a:lnTo>
                  <a:lnTo>
                    <a:pt x="3209" y="1616"/>
                  </a:lnTo>
                  <a:lnTo>
                    <a:pt x="2904" y="1856"/>
                  </a:lnTo>
                  <a:lnTo>
                    <a:pt x="2610" y="2111"/>
                  </a:lnTo>
                  <a:lnTo>
                    <a:pt x="2328" y="2383"/>
                  </a:lnTo>
                  <a:lnTo>
                    <a:pt x="2058" y="2669"/>
                  </a:lnTo>
                  <a:lnTo>
                    <a:pt x="1803" y="2969"/>
                  </a:lnTo>
                  <a:lnTo>
                    <a:pt x="1559" y="3282"/>
                  </a:lnTo>
                  <a:lnTo>
                    <a:pt x="1332" y="3610"/>
                  </a:lnTo>
                  <a:lnTo>
                    <a:pt x="1119" y="3951"/>
                  </a:lnTo>
                  <a:lnTo>
                    <a:pt x="921" y="4306"/>
                  </a:lnTo>
                  <a:lnTo>
                    <a:pt x="740" y="4675"/>
                  </a:lnTo>
                  <a:lnTo>
                    <a:pt x="577" y="5055"/>
                  </a:lnTo>
                  <a:lnTo>
                    <a:pt x="433" y="5443"/>
                  </a:lnTo>
                  <a:lnTo>
                    <a:pt x="310" y="5833"/>
                  </a:lnTo>
                  <a:lnTo>
                    <a:pt x="207" y="6227"/>
                  </a:lnTo>
                  <a:lnTo>
                    <a:pt x="126" y="6621"/>
                  </a:lnTo>
                  <a:lnTo>
                    <a:pt x="64" y="7015"/>
                  </a:lnTo>
                  <a:lnTo>
                    <a:pt x="23" y="7411"/>
                  </a:lnTo>
                  <a:lnTo>
                    <a:pt x="2" y="7804"/>
                  </a:lnTo>
                  <a:lnTo>
                    <a:pt x="0" y="8197"/>
                  </a:lnTo>
                  <a:lnTo>
                    <a:pt x="17" y="8588"/>
                  </a:lnTo>
                  <a:lnTo>
                    <a:pt x="52" y="8976"/>
                  </a:lnTo>
                  <a:lnTo>
                    <a:pt x="108" y="9360"/>
                  </a:lnTo>
                  <a:lnTo>
                    <a:pt x="180" y="9742"/>
                  </a:lnTo>
                  <a:lnTo>
                    <a:pt x="272" y="10118"/>
                  </a:lnTo>
                  <a:lnTo>
                    <a:pt x="380" y="10489"/>
                  </a:lnTo>
                  <a:lnTo>
                    <a:pt x="506" y="10854"/>
                  </a:lnTo>
                  <a:lnTo>
                    <a:pt x="650" y="11212"/>
                  </a:lnTo>
                  <a:lnTo>
                    <a:pt x="810" y="11563"/>
                  </a:lnTo>
                  <a:lnTo>
                    <a:pt x="987" y="11906"/>
                  </a:lnTo>
                  <a:lnTo>
                    <a:pt x="1180" y="12241"/>
                  </a:lnTo>
                  <a:lnTo>
                    <a:pt x="1389" y="12566"/>
                  </a:lnTo>
                  <a:lnTo>
                    <a:pt x="1615" y="12882"/>
                  </a:lnTo>
                  <a:lnTo>
                    <a:pt x="1856" y="13188"/>
                  </a:lnTo>
                  <a:lnTo>
                    <a:pt x="2111" y="13482"/>
                  </a:lnTo>
                  <a:lnTo>
                    <a:pt x="2383" y="13763"/>
                  </a:lnTo>
                  <a:lnTo>
                    <a:pt x="2669" y="14033"/>
                  </a:lnTo>
                  <a:lnTo>
                    <a:pt x="2969" y="14289"/>
                  </a:lnTo>
                  <a:lnTo>
                    <a:pt x="3282" y="14532"/>
                  </a:lnTo>
                  <a:lnTo>
                    <a:pt x="3610" y="14760"/>
                  </a:lnTo>
                  <a:lnTo>
                    <a:pt x="3951" y="14972"/>
                  </a:lnTo>
                  <a:lnTo>
                    <a:pt x="4306" y="15170"/>
                  </a:lnTo>
                  <a:lnTo>
                    <a:pt x="4675" y="15351"/>
                  </a:lnTo>
                  <a:lnTo>
                    <a:pt x="5055" y="15514"/>
                  </a:lnTo>
                  <a:lnTo>
                    <a:pt x="5443" y="15658"/>
                  </a:lnTo>
                  <a:lnTo>
                    <a:pt x="5833" y="15781"/>
                  </a:lnTo>
                  <a:lnTo>
                    <a:pt x="6227" y="15884"/>
                  </a:lnTo>
                  <a:lnTo>
                    <a:pt x="6621" y="15965"/>
                  </a:lnTo>
                  <a:lnTo>
                    <a:pt x="7015" y="16027"/>
                  </a:lnTo>
                  <a:lnTo>
                    <a:pt x="7410" y="16068"/>
                  </a:lnTo>
                  <a:lnTo>
                    <a:pt x="7804" y="16089"/>
                  </a:lnTo>
                  <a:lnTo>
                    <a:pt x="8196" y="16091"/>
                  </a:lnTo>
                  <a:lnTo>
                    <a:pt x="8588" y="16074"/>
                  </a:lnTo>
                  <a:lnTo>
                    <a:pt x="8976" y="16039"/>
                  </a:lnTo>
                  <a:lnTo>
                    <a:pt x="9360" y="15984"/>
                  </a:lnTo>
                  <a:lnTo>
                    <a:pt x="9742" y="15911"/>
                  </a:lnTo>
                  <a:lnTo>
                    <a:pt x="10118" y="15820"/>
                  </a:lnTo>
                  <a:lnTo>
                    <a:pt x="10488" y="15711"/>
                  </a:lnTo>
                  <a:lnTo>
                    <a:pt x="10853" y="15585"/>
                  </a:lnTo>
                  <a:lnTo>
                    <a:pt x="11211" y="15441"/>
                  </a:lnTo>
                  <a:lnTo>
                    <a:pt x="11563" y="15281"/>
                  </a:lnTo>
                  <a:lnTo>
                    <a:pt x="11906" y="15104"/>
                  </a:lnTo>
                  <a:lnTo>
                    <a:pt x="12241" y="14911"/>
                  </a:lnTo>
                  <a:lnTo>
                    <a:pt x="12566" y="14702"/>
                  </a:lnTo>
                  <a:lnTo>
                    <a:pt x="12882" y="14476"/>
                  </a:lnTo>
                  <a:lnTo>
                    <a:pt x="13187" y="14235"/>
                  </a:lnTo>
                  <a:lnTo>
                    <a:pt x="13481" y="13980"/>
                  </a:lnTo>
                  <a:lnTo>
                    <a:pt x="13763" y="13708"/>
                  </a:lnTo>
                  <a:lnTo>
                    <a:pt x="14033" y="13423"/>
                  </a:lnTo>
                  <a:lnTo>
                    <a:pt x="14289" y="13122"/>
                  </a:lnTo>
                  <a:lnTo>
                    <a:pt x="14532" y="12809"/>
                  </a:lnTo>
                  <a:lnTo>
                    <a:pt x="14760" y="12481"/>
                  </a:lnTo>
                  <a:lnTo>
                    <a:pt x="14972" y="12140"/>
                  </a:lnTo>
                  <a:lnTo>
                    <a:pt x="15170" y="11785"/>
                  </a:lnTo>
                  <a:lnTo>
                    <a:pt x="15351" y="11416"/>
                  </a:lnTo>
                  <a:lnTo>
                    <a:pt x="15515" y="11036"/>
                  </a:lnTo>
                  <a:lnTo>
                    <a:pt x="15658" y="10648"/>
                  </a:lnTo>
                  <a:lnTo>
                    <a:pt x="15781" y="10258"/>
                  </a:lnTo>
                  <a:lnTo>
                    <a:pt x="15884" y="9864"/>
                  </a:lnTo>
                  <a:lnTo>
                    <a:pt x="15965" y="9470"/>
                  </a:lnTo>
                  <a:lnTo>
                    <a:pt x="16027" y="9076"/>
                  </a:lnTo>
                  <a:lnTo>
                    <a:pt x="16068" y="8680"/>
                  </a:lnTo>
                  <a:lnTo>
                    <a:pt x="16089" y="8287"/>
                  </a:lnTo>
                  <a:lnTo>
                    <a:pt x="16092" y="7894"/>
                  </a:lnTo>
                  <a:lnTo>
                    <a:pt x="16075" y="7503"/>
                  </a:lnTo>
                  <a:lnTo>
                    <a:pt x="16039" y="7115"/>
                  </a:lnTo>
                  <a:lnTo>
                    <a:pt x="15984" y="6731"/>
                  </a:lnTo>
                  <a:lnTo>
                    <a:pt x="15911" y="6349"/>
                  </a:lnTo>
                  <a:lnTo>
                    <a:pt x="15820" y="5973"/>
                  </a:lnTo>
                  <a:lnTo>
                    <a:pt x="15711" y="5602"/>
                  </a:lnTo>
                  <a:lnTo>
                    <a:pt x="15585" y="5238"/>
                  </a:lnTo>
                  <a:lnTo>
                    <a:pt x="15441" y="4879"/>
                  </a:lnTo>
                  <a:lnTo>
                    <a:pt x="15281" y="4528"/>
                  </a:lnTo>
                  <a:lnTo>
                    <a:pt x="15104" y="4185"/>
                  </a:lnTo>
                  <a:lnTo>
                    <a:pt x="14911" y="3850"/>
                  </a:lnTo>
                  <a:lnTo>
                    <a:pt x="14701" y="3525"/>
                  </a:lnTo>
                  <a:lnTo>
                    <a:pt x="14476" y="3209"/>
                  </a:lnTo>
                  <a:lnTo>
                    <a:pt x="14235" y="2904"/>
                  </a:lnTo>
                  <a:lnTo>
                    <a:pt x="13980" y="2610"/>
                  </a:lnTo>
                  <a:lnTo>
                    <a:pt x="13708" y="2328"/>
                  </a:lnTo>
                  <a:lnTo>
                    <a:pt x="13422" y="2058"/>
                  </a:lnTo>
                  <a:lnTo>
                    <a:pt x="13122" y="1802"/>
                  </a:lnTo>
                  <a:lnTo>
                    <a:pt x="12809" y="1559"/>
                  </a:lnTo>
                  <a:lnTo>
                    <a:pt x="12481" y="1331"/>
                  </a:lnTo>
                  <a:lnTo>
                    <a:pt x="12139" y="1119"/>
                  </a:lnTo>
                  <a:lnTo>
                    <a:pt x="11785" y="921"/>
                  </a:lnTo>
                  <a:lnTo>
                    <a:pt x="11416" y="740"/>
                  </a:lnTo>
                  <a:lnTo>
                    <a:pt x="11036" y="5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18" name="ïŝḻîḓé">
              <a:extLst>
                <a:ext uri="{FF2B5EF4-FFF2-40B4-BE49-F238E27FC236}">
                  <a16:creationId xmlns:a16="http://schemas.microsoft.com/office/drawing/2014/main" id="{49C45E0A-E45F-4E9C-923A-F5AEAF0645CA}"/>
                </a:ext>
              </a:extLst>
            </p:cNvPr>
            <p:cNvSpPr/>
            <p:nvPr/>
          </p:nvSpPr>
          <p:spPr bwMode="auto">
            <a:xfrm>
              <a:off x="6484958" y="3473930"/>
              <a:ext cx="46321" cy="46321"/>
            </a:xfrm>
            <a:custGeom>
              <a:avLst/>
              <a:gdLst>
                <a:gd name="T0" fmla="*/ 728 w 2011"/>
                <a:gd name="T1" fmla="*/ 1425 h 2011"/>
                <a:gd name="T2" fmla="*/ 634 w 2011"/>
                <a:gd name="T3" fmla="*/ 1346 h 2011"/>
                <a:gd name="T4" fmla="*/ 565 w 2011"/>
                <a:gd name="T5" fmla="*/ 1247 h 2011"/>
                <a:gd name="T6" fmla="*/ 520 w 2011"/>
                <a:gd name="T7" fmla="*/ 1135 h 2011"/>
                <a:gd name="T8" fmla="*/ 503 w 2011"/>
                <a:gd name="T9" fmla="*/ 1015 h 2011"/>
                <a:gd name="T10" fmla="*/ 516 w 2011"/>
                <a:gd name="T11" fmla="*/ 892 h 2011"/>
                <a:gd name="T12" fmla="*/ 560 w 2011"/>
                <a:gd name="T13" fmla="*/ 771 h 2011"/>
                <a:gd name="T14" fmla="*/ 631 w 2011"/>
                <a:gd name="T15" fmla="*/ 670 h 2011"/>
                <a:gd name="T16" fmla="*/ 723 w 2011"/>
                <a:gd name="T17" fmla="*/ 590 h 2011"/>
                <a:gd name="T18" fmla="*/ 830 w 2011"/>
                <a:gd name="T19" fmla="*/ 535 h 2011"/>
                <a:gd name="T20" fmla="*/ 947 w 2011"/>
                <a:gd name="T21" fmla="*/ 507 h 2011"/>
                <a:gd name="T22" fmla="*/ 1070 w 2011"/>
                <a:gd name="T23" fmla="*/ 507 h 2011"/>
                <a:gd name="T24" fmla="*/ 1193 w 2011"/>
                <a:gd name="T25" fmla="*/ 539 h 2011"/>
                <a:gd name="T26" fmla="*/ 1303 w 2011"/>
                <a:gd name="T27" fmla="*/ 600 h 2011"/>
                <a:gd name="T28" fmla="*/ 1392 w 2011"/>
                <a:gd name="T29" fmla="*/ 685 h 2011"/>
                <a:gd name="T30" fmla="*/ 1457 w 2011"/>
                <a:gd name="T31" fmla="*/ 786 h 2011"/>
                <a:gd name="T32" fmla="*/ 1496 w 2011"/>
                <a:gd name="T33" fmla="*/ 900 h 2011"/>
                <a:gd name="T34" fmla="*/ 1507 w 2011"/>
                <a:gd name="T35" fmla="*/ 1021 h 2011"/>
                <a:gd name="T36" fmla="*/ 1488 w 2011"/>
                <a:gd name="T37" fmla="*/ 1143 h 2011"/>
                <a:gd name="T38" fmla="*/ 1438 w 2011"/>
                <a:gd name="T39" fmla="*/ 1261 h 2011"/>
                <a:gd name="T40" fmla="*/ 1363 w 2011"/>
                <a:gd name="T41" fmla="*/ 1360 h 2011"/>
                <a:gd name="T42" fmla="*/ 1267 w 2011"/>
                <a:gd name="T43" fmla="*/ 1434 h 2011"/>
                <a:gd name="T44" fmla="*/ 1158 w 2011"/>
                <a:gd name="T45" fmla="*/ 1484 h 2011"/>
                <a:gd name="T46" fmla="*/ 1039 w 2011"/>
                <a:gd name="T47" fmla="*/ 1507 h 2011"/>
                <a:gd name="T48" fmla="*/ 916 w 2011"/>
                <a:gd name="T49" fmla="*/ 1500 h 2011"/>
                <a:gd name="T50" fmla="*/ 1380 w 2011"/>
                <a:gd name="T51" fmla="*/ 72 h 2011"/>
                <a:gd name="T52" fmla="*/ 1134 w 2011"/>
                <a:gd name="T53" fmla="*/ 8 h 2011"/>
                <a:gd name="T54" fmla="*/ 890 w 2011"/>
                <a:gd name="T55" fmla="*/ 7 h 2011"/>
                <a:gd name="T56" fmla="*/ 654 w 2011"/>
                <a:gd name="T57" fmla="*/ 63 h 2011"/>
                <a:gd name="T58" fmla="*/ 440 w 2011"/>
                <a:gd name="T59" fmla="*/ 174 h 2011"/>
                <a:gd name="T60" fmla="*/ 257 w 2011"/>
                <a:gd name="T61" fmla="*/ 334 h 2011"/>
                <a:gd name="T62" fmla="*/ 115 w 2011"/>
                <a:gd name="T63" fmla="*/ 538 h 2011"/>
                <a:gd name="T64" fmla="*/ 26 w 2011"/>
                <a:gd name="T65" fmla="*/ 778 h 2011"/>
                <a:gd name="T66" fmla="*/ 0 w 2011"/>
                <a:gd name="T67" fmla="*/ 1025 h 2011"/>
                <a:gd name="T68" fmla="*/ 34 w 2011"/>
                <a:gd name="T69" fmla="*/ 1265 h 2011"/>
                <a:gd name="T70" fmla="*/ 123 w 2011"/>
                <a:gd name="T71" fmla="*/ 1488 h 2011"/>
                <a:gd name="T72" fmla="*/ 264 w 2011"/>
                <a:gd name="T73" fmla="*/ 1686 h 2011"/>
                <a:gd name="T74" fmla="*/ 451 w 2011"/>
                <a:gd name="T75" fmla="*/ 1844 h 2011"/>
                <a:gd name="T76" fmla="*/ 680 w 2011"/>
                <a:gd name="T77" fmla="*/ 1957 h 2011"/>
                <a:gd name="T78" fmla="*/ 926 w 2011"/>
                <a:gd name="T79" fmla="*/ 2008 h 2011"/>
                <a:gd name="T80" fmla="*/ 1169 w 2011"/>
                <a:gd name="T81" fmla="*/ 1997 h 2011"/>
                <a:gd name="T82" fmla="*/ 1401 w 2011"/>
                <a:gd name="T83" fmla="*/ 1930 h 2011"/>
                <a:gd name="T84" fmla="*/ 1610 w 2011"/>
                <a:gd name="T85" fmla="*/ 1809 h 2011"/>
                <a:gd name="T86" fmla="*/ 1786 w 2011"/>
                <a:gd name="T87" fmla="*/ 1640 h 2011"/>
                <a:gd name="T88" fmla="*/ 1919 w 2011"/>
                <a:gd name="T89" fmla="*/ 1427 h 2011"/>
                <a:gd name="T90" fmla="*/ 1995 w 2011"/>
                <a:gd name="T91" fmla="*/ 1184 h 2011"/>
                <a:gd name="T92" fmla="*/ 2009 w 2011"/>
                <a:gd name="T93" fmla="*/ 938 h 2011"/>
                <a:gd name="T94" fmla="*/ 1964 w 2011"/>
                <a:gd name="T95" fmla="*/ 701 h 2011"/>
                <a:gd name="T96" fmla="*/ 1864 w 2011"/>
                <a:gd name="T97" fmla="*/ 481 h 2011"/>
                <a:gd name="T98" fmla="*/ 1714 w 2011"/>
                <a:gd name="T99" fmla="*/ 291 h 2011"/>
                <a:gd name="T100" fmla="*/ 1518 w 2011"/>
                <a:gd name="T101" fmla="*/ 139 h 20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011" h="2011">
                  <a:moveTo>
                    <a:pt x="818" y="1472"/>
                  </a:moveTo>
                  <a:lnTo>
                    <a:pt x="794" y="1462"/>
                  </a:lnTo>
                  <a:lnTo>
                    <a:pt x="772" y="1451"/>
                  </a:lnTo>
                  <a:lnTo>
                    <a:pt x="750" y="1438"/>
                  </a:lnTo>
                  <a:lnTo>
                    <a:pt x="728" y="1425"/>
                  </a:lnTo>
                  <a:lnTo>
                    <a:pt x="708" y="1411"/>
                  </a:lnTo>
                  <a:lnTo>
                    <a:pt x="689" y="1396"/>
                  </a:lnTo>
                  <a:lnTo>
                    <a:pt x="670" y="1380"/>
                  </a:lnTo>
                  <a:lnTo>
                    <a:pt x="651" y="1363"/>
                  </a:lnTo>
                  <a:lnTo>
                    <a:pt x="634" y="1346"/>
                  </a:lnTo>
                  <a:lnTo>
                    <a:pt x="619" y="1326"/>
                  </a:lnTo>
                  <a:lnTo>
                    <a:pt x="604" y="1307"/>
                  </a:lnTo>
                  <a:lnTo>
                    <a:pt x="590" y="1288"/>
                  </a:lnTo>
                  <a:lnTo>
                    <a:pt x="577" y="1268"/>
                  </a:lnTo>
                  <a:lnTo>
                    <a:pt x="565" y="1247"/>
                  </a:lnTo>
                  <a:lnTo>
                    <a:pt x="554" y="1225"/>
                  </a:lnTo>
                  <a:lnTo>
                    <a:pt x="544" y="1204"/>
                  </a:lnTo>
                  <a:lnTo>
                    <a:pt x="535" y="1181"/>
                  </a:lnTo>
                  <a:lnTo>
                    <a:pt x="527" y="1158"/>
                  </a:lnTo>
                  <a:lnTo>
                    <a:pt x="520" y="1135"/>
                  </a:lnTo>
                  <a:lnTo>
                    <a:pt x="514" y="1111"/>
                  </a:lnTo>
                  <a:lnTo>
                    <a:pt x="510" y="1087"/>
                  </a:lnTo>
                  <a:lnTo>
                    <a:pt x="507" y="1064"/>
                  </a:lnTo>
                  <a:lnTo>
                    <a:pt x="504" y="1039"/>
                  </a:lnTo>
                  <a:lnTo>
                    <a:pt x="503" y="1015"/>
                  </a:lnTo>
                  <a:lnTo>
                    <a:pt x="503" y="990"/>
                  </a:lnTo>
                  <a:lnTo>
                    <a:pt x="505" y="965"/>
                  </a:lnTo>
                  <a:lnTo>
                    <a:pt x="507" y="941"/>
                  </a:lnTo>
                  <a:lnTo>
                    <a:pt x="511" y="916"/>
                  </a:lnTo>
                  <a:lnTo>
                    <a:pt x="516" y="892"/>
                  </a:lnTo>
                  <a:lnTo>
                    <a:pt x="522" y="867"/>
                  </a:lnTo>
                  <a:lnTo>
                    <a:pt x="530" y="843"/>
                  </a:lnTo>
                  <a:lnTo>
                    <a:pt x="539" y="818"/>
                  </a:lnTo>
                  <a:lnTo>
                    <a:pt x="549" y="794"/>
                  </a:lnTo>
                  <a:lnTo>
                    <a:pt x="560" y="771"/>
                  </a:lnTo>
                  <a:lnTo>
                    <a:pt x="572" y="749"/>
                  </a:lnTo>
                  <a:lnTo>
                    <a:pt x="586" y="728"/>
                  </a:lnTo>
                  <a:lnTo>
                    <a:pt x="600" y="708"/>
                  </a:lnTo>
                  <a:lnTo>
                    <a:pt x="615" y="689"/>
                  </a:lnTo>
                  <a:lnTo>
                    <a:pt x="631" y="670"/>
                  </a:lnTo>
                  <a:lnTo>
                    <a:pt x="648" y="651"/>
                  </a:lnTo>
                  <a:lnTo>
                    <a:pt x="665" y="634"/>
                  </a:lnTo>
                  <a:lnTo>
                    <a:pt x="685" y="619"/>
                  </a:lnTo>
                  <a:lnTo>
                    <a:pt x="703" y="604"/>
                  </a:lnTo>
                  <a:lnTo>
                    <a:pt x="723" y="590"/>
                  </a:lnTo>
                  <a:lnTo>
                    <a:pt x="743" y="577"/>
                  </a:lnTo>
                  <a:lnTo>
                    <a:pt x="764" y="565"/>
                  </a:lnTo>
                  <a:lnTo>
                    <a:pt x="786" y="554"/>
                  </a:lnTo>
                  <a:lnTo>
                    <a:pt x="807" y="544"/>
                  </a:lnTo>
                  <a:lnTo>
                    <a:pt x="830" y="535"/>
                  </a:lnTo>
                  <a:lnTo>
                    <a:pt x="853" y="527"/>
                  </a:lnTo>
                  <a:lnTo>
                    <a:pt x="876" y="520"/>
                  </a:lnTo>
                  <a:lnTo>
                    <a:pt x="900" y="515"/>
                  </a:lnTo>
                  <a:lnTo>
                    <a:pt x="923" y="510"/>
                  </a:lnTo>
                  <a:lnTo>
                    <a:pt x="947" y="507"/>
                  </a:lnTo>
                  <a:lnTo>
                    <a:pt x="972" y="504"/>
                  </a:lnTo>
                  <a:lnTo>
                    <a:pt x="996" y="503"/>
                  </a:lnTo>
                  <a:lnTo>
                    <a:pt x="1021" y="503"/>
                  </a:lnTo>
                  <a:lnTo>
                    <a:pt x="1046" y="505"/>
                  </a:lnTo>
                  <a:lnTo>
                    <a:pt x="1070" y="507"/>
                  </a:lnTo>
                  <a:lnTo>
                    <a:pt x="1095" y="511"/>
                  </a:lnTo>
                  <a:lnTo>
                    <a:pt x="1119" y="516"/>
                  </a:lnTo>
                  <a:lnTo>
                    <a:pt x="1144" y="522"/>
                  </a:lnTo>
                  <a:lnTo>
                    <a:pt x="1168" y="530"/>
                  </a:lnTo>
                  <a:lnTo>
                    <a:pt x="1193" y="539"/>
                  </a:lnTo>
                  <a:lnTo>
                    <a:pt x="1217" y="549"/>
                  </a:lnTo>
                  <a:lnTo>
                    <a:pt x="1239" y="560"/>
                  </a:lnTo>
                  <a:lnTo>
                    <a:pt x="1261" y="573"/>
                  </a:lnTo>
                  <a:lnTo>
                    <a:pt x="1282" y="586"/>
                  </a:lnTo>
                  <a:lnTo>
                    <a:pt x="1303" y="600"/>
                  </a:lnTo>
                  <a:lnTo>
                    <a:pt x="1322" y="615"/>
                  </a:lnTo>
                  <a:lnTo>
                    <a:pt x="1341" y="631"/>
                  </a:lnTo>
                  <a:lnTo>
                    <a:pt x="1360" y="648"/>
                  </a:lnTo>
                  <a:lnTo>
                    <a:pt x="1376" y="665"/>
                  </a:lnTo>
                  <a:lnTo>
                    <a:pt x="1392" y="685"/>
                  </a:lnTo>
                  <a:lnTo>
                    <a:pt x="1407" y="704"/>
                  </a:lnTo>
                  <a:lnTo>
                    <a:pt x="1421" y="723"/>
                  </a:lnTo>
                  <a:lnTo>
                    <a:pt x="1434" y="743"/>
                  </a:lnTo>
                  <a:lnTo>
                    <a:pt x="1446" y="764"/>
                  </a:lnTo>
                  <a:lnTo>
                    <a:pt x="1457" y="786"/>
                  </a:lnTo>
                  <a:lnTo>
                    <a:pt x="1467" y="807"/>
                  </a:lnTo>
                  <a:lnTo>
                    <a:pt x="1476" y="830"/>
                  </a:lnTo>
                  <a:lnTo>
                    <a:pt x="1484" y="853"/>
                  </a:lnTo>
                  <a:lnTo>
                    <a:pt x="1491" y="876"/>
                  </a:lnTo>
                  <a:lnTo>
                    <a:pt x="1496" y="900"/>
                  </a:lnTo>
                  <a:lnTo>
                    <a:pt x="1501" y="923"/>
                  </a:lnTo>
                  <a:lnTo>
                    <a:pt x="1504" y="947"/>
                  </a:lnTo>
                  <a:lnTo>
                    <a:pt x="1506" y="971"/>
                  </a:lnTo>
                  <a:lnTo>
                    <a:pt x="1508" y="996"/>
                  </a:lnTo>
                  <a:lnTo>
                    <a:pt x="1507" y="1021"/>
                  </a:lnTo>
                  <a:lnTo>
                    <a:pt x="1506" y="1046"/>
                  </a:lnTo>
                  <a:lnTo>
                    <a:pt x="1504" y="1070"/>
                  </a:lnTo>
                  <a:lnTo>
                    <a:pt x="1500" y="1095"/>
                  </a:lnTo>
                  <a:lnTo>
                    <a:pt x="1495" y="1119"/>
                  </a:lnTo>
                  <a:lnTo>
                    <a:pt x="1488" y="1143"/>
                  </a:lnTo>
                  <a:lnTo>
                    <a:pt x="1481" y="1168"/>
                  </a:lnTo>
                  <a:lnTo>
                    <a:pt x="1472" y="1193"/>
                  </a:lnTo>
                  <a:lnTo>
                    <a:pt x="1462" y="1216"/>
                  </a:lnTo>
                  <a:lnTo>
                    <a:pt x="1451" y="1239"/>
                  </a:lnTo>
                  <a:lnTo>
                    <a:pt x="1438" y="1261"/>
                  </a:lnTo>
                  <a:lnTo>
                    <a:pt x="1425" y="1282"/>
                  </a:lnTo>
                  <a:lnTo>
                    <a:pt x="1411" y="1303"/>
                  </a:lnTo>
                  <a:lnTo>
                    <a:pt x="1396" y="1322"/>
                  </a:lnTo>
                  <a:lnTo>
                    <a:pt x="1380" y="1341"/>
                  </a:lnTo>
                  <a:lnTo>
                    <a:pt x="1363" y="1360"/>
                  </a:lnTo>
                  <a:lnTo>
                    <a:pt x="1346" y="1376"/>
                  </a:lnTo>
                  <a:lnTo>
                    <a:pt x="1326" y="1392"/>
                  </a:lnTo>
                  <a:lnTo>
                    <a:pt x="1307" y="1407"/>
                  </a:lnTo>
                  <a:lnTo>
                    <a:pt x="1288" y="1421"/>
                  </a:lnTo>
                  <a:lnTo>
                    <a:pt x="1267" y="1434"/>
                  </a:lnTo>
                  <a:lnTo>
                    <a:pt x="1247" y="1446"/>
                  </a:lnTo>
                  <a:lnTo>
                    <a:pt x="1225" y="1457"/>
                  </a:lnTo>
                  <a:lnTo>
                    <a:pt x="1204" y="1467"/>
                  </a:lnTo>
                  <a:lnTo>
                    <a:pt x="1181" y="1476"/>
                  </a:lnTo>
                  <a:lnTo>
                    <a:pt x="1158" y="1484"/>
                  </a:lnTo>
                  <a:lnTo>
                    <a:pt x="1134" y="1491"/>
                  </a:lnTo>
                  <a:lnTo>
                    <a:pt x="1111" y="1496"/>
                  </a:lnTo>
                  <a:lnTo>
                    <a:pt x="1087" y="1501"/>
                  </a:lnTo>
                  <a:lnTo>
                    <a:pt x="1063" y="1504"/>
                  </a:lnTo>
                  <a:lnTo>
                    <a:pt x="1039" y="1507"/>
                  </a:lnTo>
                  <a:lnTo>
                    <a:pt x="1015" y="1508"/>
                  </a:lnTo>
                  <a:lnTo>
                    <a:pt x="990" y="1508"/>
                  </a:lnTo>
                  <a:lnTo>
                    <a:pt x="965" y="1506"/>
                  </a:lnTo>
                  <a:lnTo>
                    <a:pt x="941" y="1504"/>
                  </a:lnTo>
                  <a:lnTo>
                    <a:pt x="916" y="1500"/>
                  </a:lnTo>
                  <a:lnTo>
                    <a:pt x="892" y="1495"/>
                  </a:lnTo>
                  <a:lnTo>
                    <a:pt x="867" y="1489"/>
                  </a:lnTo>
                  <a:lnTo>
                    <a:pt x="843" y="1481"/>
                  </a:lnTo>
                  <a:lnTo>
                    <a:pt x="818" y="1472"/>
                  </a:lnTo>
                  <a:close/>
                  <a:moveTo>
                    <a:pt x="1380" y="72"/>
                  </a:moveTo>
                  <a:lnTo>
                    <a:pt x="1331" y="54"/>
                  </a:lnTo>
                  <a:lnTo>
                    <a:pt x="1282" y="39"/>
                  </a:lnTo>
                  <a:lnTo>
                    <a:pt x="1233" y="26"/>
                  </a:lnTo>
                  <a:lnTo>
                    <a:pt x="1184" y="16"/>
                  </a:lnTo>
                  <a:lnTo>
                    <a:pt x="1134" y="8"/>
                  </a:lnTo>
                  <a:lnTo>
                    <a:pt x="1085" y="3"/>
                  </a:lnTo>
                  <a:lnTo>
                    <a:pt x="1036" y="1"/>
                  </a:lnTo>
                  <a:lnTo>
                    <a:pt x="987" y="0"/>
                  </a:lnTo>
                  <a:lnTo>
                    <a:pt x="938" y="2"/>
                  </a:lnTo>
                  <a:lnTo>
                    <a:pt x="890" y="7"/>
                  </a:lnTo>
                  <a:lnTo>
                    <a:pt x="842" y="14"/>
                  </a:lnTo>
                  <a:lnTo>
                    <a:pt x="794" y="23"/>
                  </a:lnTo>
                  <a:lnTo>
                    <a:pt x="747" y="34"/>
                  </a:lnTo>
                  <a:lnTo>
                    <a:pt x="701" y="48"/>
                  </a:lnTo>
                  <a:lnTo>
                    <a:pt x="654" y="63"/>
                  </a:lnTo>
                  <a:lnTo>
                    <a:pt x="610" y="81"/>
                  </a:lnTo>
                  <a:lnTo>
                    <a:pt x="566" y="101"/>
                  </a:lnTo>
                  <a:lnTo>
                    <a:pt x="524" y="123"/>
                  </a:lnTo>
                  <a:lnTo>
                    <a:pt x="481" y="147"/>
                  </a:lnTo>
                  <a:lnTo>
                    <a:pt x="440" y="174"/>
                  </a:lnTo>
                  <a:lnTo>
                    <a:pt x="401" y="202"/>
                  </a:lnTo>
                  <a:lnTo>
                    <a:pt x="363" y="232"/>
                  </a:lnTo>
                  <a:lnTo>
                    <a:pt x="326" y="264"/>
                  </a:lnTo>
                  <a:lnTo>
                    <a:pt x="291" y="297"/>
                  </a:lnTo>
                  <a:lnTo>
                    <a:pt x="257" y="334"/>
                  </a:lnTo>
                  <a:lnTo>
                    <a:pt x="225" y="371"/>
                  </a:lnTo>
                  <a:lnTo>
                    <a:pt x="195" y="410"/>
                  </a:lnTo>
                  <a:lnTo>
                    <a:pt x="167" y="451"/>
                  </a:lnTo>
                  <a:lnTo>
                    <a:pt x="139" y="493"/>
                  </a:lnTo>
                  <a:lnTo>
                    <a:pt x="115" y="538"/>
                  </a:lnTo>
                  <a:lnTo>
                    <a:pt x="93" y="584"/>
                  </a:lnTo>
                  <a:lnTo>
                    <a:pt x="72" y="631"/>
                  </a:lnTo>
                  <a:lnTo>
                    <a:pt x="54" y="681"/>
                  </a:lnTo>
                  <a:lnTo>
                    <a:pt x="39" y="729"/>
                  </a:lnTo>
                  <a:lnTo>
                    <a:pt x="26" y="778"/>
                  </a:lnTo>
                  <a:lnTo>
                    <a:pt x="16" y="827"/>
                  </a:lnTo>
                  <a:lnTo>
                    <a:pt x="8" y="877"/>
                  </a:lnTo>
                  <a:lnTo>
                    <a:pt x="3" y="926"/>
                  </a:lnTo>
                  <a:lnTo>
                    <a:pt x="1" y="975"/>
                  </a:lnTo>
                  <a:lnTo>
                    <a:pt x="0" y="1025"/>
                  </a:lnTo>
                  <a:lnTo>
                    <a:pt x="3" y="1074"/>
                  </a:lnTo>
                  <a:lnTo>
                    <a:pt x="7" y="1122"/>
                  </a:lnTo>
                  <a:lnTo>
                    <a:pt x="14" y="1170"/>
                  </a:lnTo>
                  <a:lnTo>
                    <a:pt x="23" y="1218"/>
                  </a:lnTo>
                  <a:lnTo>
                    <a:pt x="34" y="1265"/>
                  </a:lnTo>
                  <a:lnTo>
                    <a:pt x="48" y="1311"/>
                  </a:lnTo>
                  <a:lnTo>
                    <a:pt x="63" y="1357"/>
                  </a:lnTo>
                  <a:lnTo>
                    <a:pt x="81" y="1402"/>
                  </a:lnTo>
                  <a:lnTo>
                    <a:pt x="101" y="1445"/>
                  </a:lnTo>
                  <a:lnTo>
                    <a:pt x="123" y="1488"/>
                  </a:lnTo>
                  <a:lnTo>
                    <a:pt x="147" y="1531"/>
                  </a:lnTo>
                  <a:lnTo>
                    <a:pt x="174" y="1571"/>
                  </a:lnTo>
                  <a:lnTo>
                    <a:pt x="202" y="1610"/>
                  </a:lnTo>
                  <a:lnTo>
                    <a:pt x="232" y="1648"/>
                  </a:lnTo>
                  <a:lnTo>
                    <a:pt x="264" y="1686"/>
                  </a:lnTo>
                  <a:lnTo>
                    <a:pt x="297" y="1721"/>
                  </a:lnTo>
                  <a:lnTo>
                    <a:pt x="334" y="1754"/>
                  </a:lnTo>
                  <a:lnTo>
                    <a:pt x="371" y="1786"/>
                  </a:lnTo>
                  <a:lnTo>
                    <a:pt x="410" y="1816"/>
                  </a:lnTo>
                  <a:lnTo>
                    <a:pt x="451" y="1844"/>
                  </a:lnTo>
                  <a:lnTo>
                    <a:pt x="493" y="1872"/>
                  </a:lnTo>
                  <a:lnTo>
                    <a:pt x="538" y="1896"/>
                  </a:lnTo>
                  <a:lnTo>
                    <a:pt x="584" y="1919"/>
                  </a:lnTo>
                  <a:lnTo>
                    <a:pt x="631" y="1939"/>
                  </a:lnTo>
                  <a:lnTo>
                    <a:pt x="680" y="1957"/>
                  </a:lnTo>
                  <a:lnTo>
                    <a:pt x="729" y="1972"/>
                  </a:lnTo>
                  <a:lnTo>
                    <a:pt x="778" y="1985"/>
                  </a:lnTo>
                  <a:lnTo>
                    <a:pt x="827" y="1995"/>
                  </a:lnTo>
                  <a:lnTo>
                    <a:pt x="877" y="2003"/>
                  </a:lnTo>
                  <a:lnTo>
                    <a:pt x="926" y="2008"/>
                  </a:lnTo>
                  <a:lnTo>
                    <a:pt x="975" y="2011"/>
                  </a:lnTo>
                  <a:lnTo>
                    <a:pt x="1025" y="2011"/>
                  </a:lnTo>
                  <a:lnTo>
                    <a:pt x="1073" y="2009"/>
                  </a:lnTo>
                  <a:lnTo>
                    <a:pt x="1122" y="2004"/>
                  </a:lnTo>
                  <a:lnTo>
                    <a:pt x="1169" y="1997"/>
                  </a:lnTo>
                  <a:lnTo>
                    <a:pt x="1218" y="1988"/>
                  </a:lnTo>
                  <a:lnTo>
                    <a:pt x="1264" y="1977"/>
                  </a:lnTo>
                  <a:lnTo>
                    <a:pt x="1311" y="1964"/>
                  </a:lnTo>
                  <a:lnTo>
                    <a:pt x="1357" y="1948"/>
                  </a:lnTo>
                  <a:lnTo>
                    <a:pt x="1401" y="1930"/>
                  </a:lnTo>
                  <a:lnTo>
                    <a:pt x="1445" y="1910"/>
                  </a:lnTo>
                  <a:lnTo>
                    <a:pt x="1488" y="1888"/>
                  </a:lnTo>
                  <a:lnTo>
                    <a:pt x="1530" y="1864"/>
                  </a:lnTo>
                  <a:lnTo>
                    <a:pt x="1571" y="1837"/>
                  </a:lnTo>
                  <a:lnTo>
                    <a:pt x="1610" y="1809"/>
                  </a:lnTo>
                  <a:lnTo>
                    <a:pt x="1648" y="1779"/>
                  </a:lnTo>
                  <a:lnTo>
                    <a:pt x="1685" y="1747"/>
                  </a:lnTo>
                  <a:lnTo>
                    <a:pt x="1721" y="1714"/>
                  </a:lnTo>
                  <a:lnTo>
                    <a:pt x="1754" y="1677"/>
                  </a:lnTo>
                  <a:lnTo>
                    <a:pt x="1786" y="1640"/>
                  </a:lnTo>
                  <a:lnTo>
                    <a:pt x="1816" y="1601"/>
                  </a:lnTo>
                  <a:lnTo>
                    <a:pt x="1844" y="1560"/>
                  </a:lnTo>
                  <a:lnTo>
                    <a:pt x="1872" y="1518"/>
                  </a:lnTo>
                  <a:lnTo>
                    <a:pt x="1896" y="1473"/>
                  </a:lnTo>
                  <a:lnTo>
                    <a:pt x="1919" y="1427"/>
                  </a:lnTo>
                  <a:lnTo>
                    <a:pt x="1939" y="1380"/>
                  </a:lnTo>
                  <a:lnTo>
                    <a:pt x="1957" y="1330"/>
                  </a:lnTo>
                  <a:lnTo>
                    <a:pt x="1972" y="1282"/>
                  </a:lnTo>
                  <a:lnTo>
                    <a:pt x="1985" y="1233"/>
                  </a:lnTo>
                  <a:lnTo>
                    <a:pt x="1995" y="1184"/>
                  </a:lnTo>
                  <a:lnTo>
                    <a:pt x="2003" y="1134"/>
                  </a:lnTo>
                  <a:lnTo>
                    <a:pt x="2008" y="1085"/>
                  </a:lnTo>
                  <a:lnTo>
                    <a:pt x="2011" y="1036"/>
                  </a:lnTo>
                  <a:lnTo>
                    <a:pt x="2011" y="986"/>
                  </a:lnTo>
                  <a:lnTo>
                    <a:pt x="2009" y="938"/>
                  </a:lnTo>
                  <a:lnTo>
                    <a:pt x="2004" y="890"/>
                  </a:lnTo>
                  <a:lnTo>
                    <a:pt x="1998" y="842"/>
                  </a:lnTo>
                  <a:lnTo>
                    <a:pt x="1988" y="794"/>
                  </a:lnTo>
                  <a:lnTo>
                    <a:pt x="1977" y="747"/>
                  </a:lnTo>
                  <a:lnTo>
                    <a:pt x="1964" y="701"/>
                  </a:lnTo>
                  <a:lnTo>
                    <a:pt x="1948" y="654"/>
                  </a:lnTo>
                  <a:lnTo>
                    <a:pt x="1930" y="610"/>
                  </a:lnTo>
                  <a:lnTo>
                    <a:pt x="1910" y="566"/>
                  </a:lnTo>
                  <a:lnTo>
                    <a:pt x="1888" y="523"/>
                  </a:lnTo>
                  <a:lnTo>
                    <a:pt x="1864" y="481"/>
                  </a:lnTo>
                  <a:lnTo>
                    <a:pt x="1837" y="441"/>
                  </a:lnTo>
                  <a:lnTo>
                    <a:pt x="1809" y="401"/>
                  </a:lnTo>
                  <a:lnTo>
                    <a:pt x="1780" y="363"/>
                  </a:lnTo>
                  <a:lnTo>
                    <a:pt x="1748" y="326"/>
                  </a:lnTo>
                  <a:lnTo>
                    <a:pt x="1714" y="291"/>
                  </a:lnTo>
                  <a:lnTo>
                    <a:pt x="1678" y="257"/>
                  </a:lnTo>
                  <a:lnTo>
                    <a:pt x="1640" y="225"/>
                  </a:lnTo>
                  <a:lnTo>
                    <a:pt x="1601" y="195"/>
                  </a:lnTo>
                  <a:lnTo>
                    <a:pt x="1561" y="167"/>
                  </a:lnTo>
                  <a:lnTo>
                    <a:pt x="1518" y="139"/>
                  </a:lnTo>
                  <a:lnTo>
                    <a:pt x="1473" y="115"/>
                  </a:lnTo>
                  <a:lnTo>
                    <a:pt x="1427" y="92"/>
                  </a:lnTo>
                  <a:lnTo>
                    <a:pt x="1380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19" name="îşľïḋè">
              <a:extLst>
                <a:ext uri="{FF2B5EF4-FFF2-40B4-BE49-F238E27FC236}">
                  <a16:creationId xmlns:a16="http://schemas.microsoft.com/office/drawing/2014/main" id="{E2C93590-05E4-4054-ACAC-33801945BC8A}"/>
                </a:ext>
              </a:extLst>
            </p:cNvPr>
            <p:cNvSpPr/>
            <p:nvPr/>
          </p:nvSpPr>
          <p:spPr bwMode="auto">
            <a:xfrm>
              <a:off x="6439479" y="3428451"/>
              <a:ext cx="137279" cy="137279"/>
            </a:xfrm>
            <a:custGeom>
              <a:avLst/>
              <a:gdLst>
                <a:gd name="T0" fmla="*/ 1909 w 6034"/>
                <a:gd name="T1" fmla="*/ 4695 h 6033"/>
                <a:gd name="T2" fmla="*/ 1534 w 6034"/>
                <a:gd name="T3" fmla="*/ 4376 h 6033"/>
                <a:gd name="T4" fmla="*/ 1253 w 6034"/>
                <a:gd name="T5" fmla="*/ 3981 h 6033"/>
                <a:gd name="T6" fmla="*/ 1074 w 6034"/>
                <a:gd name="T7" fmla="*/ 3534 h 6033"/>
                <a:gd name="T8" fmla="*/ 1006 w 6034"/>
                <a:gd name="T9" fmla="*/ 3054 h 6033"/>
                <a:gd name="T10" fmla="*/ 1057 w 6034"/>
                <a:gd name="T11" fmla="*/ 2561 h 6033"/>
                <a:gd name="T12" fmla="*/ 1235 w 6034"/>
                <a:gd name="T13" fmla="*/ 2082 h 6033"/>
                <a:gd name="T14" fmla="*/ 1520 w 6034"/>
                <a:gd name="T15" fmla="*/ 1673 h 6033"/>
                <a:gd name="T16" fmla="*/ 1886 w 6034"/>
                <a:gd name="T17" fmla="*/ 1354 h 6033"/>
                <a:gd name="T18" fmla="*/ 2314 w 6034"/>
                <a:gd name="T19" fmla="*/ 1132 h 6033"/>
                <a:gd name="T20" fmla="*/ 2784 w 6034"/>
                <a:gd name="T21" fmla="*/ 1019 h 6033"/>
                <a:gd name="T22" fmla="*/ 3274 w 6034"/>
                <a:gd name="T23" fmla="*/ 1022 h 6033"/>
                <a:gd name="T24" fmla="*/ 3764 w 6034"/>
                <a:gd name="T25" fmla="*/ 1148 h 6033"/>
                <a:gd name="T26" fmla="*/ 4207 w 6034"/>
                <a:gd name="T27" fmla="*/ 1395 h 6033"/>
                <a:gd name="T28" fmla="*/ 4563 w 6034"/>
                <a:gd name="T29" fmla="*/ 1731 h 6033"/>
                <a:gd name="T30" fmla="*/ 4824 w 6034"/>
                <a:gd name="T31" fmla="*/ 2137 h 6033"/>
                <a:gd name="T32" fmla="*/ 4982 w 6034"/>
                <a:gd name="T33" fmla="*/ 2593 h 6033"/>
                <a:gd name="T34" fmla="*/ 5027 w 6034"/>
                <a:gd name="T35" fmla="*/ 3078 h 6033"/>
                <a:gd name="T36" fmla="*/ 4951 w 6034"/>
                <a:gd name="T37" fmla="*/ 3570 h 6033"/>
                <a:gd name="T38" fmla="*/ 4749 w 6034"/>
                <a:gd name="T39" fmla="*/ 4040 h 6033"/>
                <a:gd name="T40" fmla="*/ 4446 w 6034"/>
                <a:gd name="T41" fmla="*/ 4431 h 6033"/>
                <a:gd name="T42" fmla="*/ 4066 w 6034"/>
                <a:gd name="T43" fmla="*/ 4732 h 6033"/>
                <a:gd name="T44" fmla="*/ 3627 w 6034"/>
                <a:gd name="T45" fmla="*/ 4932 h 6033"/>
                <a:gd name="T46" fmla="*/ 3151 w 6034"/>
                <a:gd name="T47" fmla="*/ 5023 h 6033"/>
                <a:gd name="T48" fmla="*/ 2660 w 6034"/>
                <a:gd name="T49" fmla="*/ 4996 h 6033"/>
                <a:gd name="T50" fmla="*/ 4138 w 6034"/>
                <a:gd name="T51" fmla="*/ 216 h 6033"/>
                <a:gd name="T52" fmla="*/ 3403 w 6034"/>
                <a:gd name="T53" fmla="*/ 24 h 6033"/>
                <a:gd name="T54" fmla="*/ 2667 w 6034"/>
                <a:gd name="T55" fmla="*/ 19 h 6033"/>
                <a:gd name="T56" fmla="*/ 1963 w 6034"/>
                <a:gd name="T57" fmla="*/ 190 h 6033"/>
                <a:gd name="T58" fmla="*/ 1321 w 6034"/>
                <a:gd name="T59" fmla="*/ 521 h 6033"/>
                <a:gd name="T60" fmla="*/ 771 w 6034"/>
                <a:gd name="T61" fmla="*/ 1001 h 6033"/>
                <a:gd name="T62" fmla="*/ 346 w 6034"/>
                <a:gd name="T63" fmla="*/ 1614 h 6033"/>
                <a:gd name="T64" fmla="*/ 78 w 6034"/>
                <a:gd name="T65" fmla="*/ 2334 h 6033"/>
                <a:gd name="T66" fmla="*/ 0 w 6034"/>
                <a:gd name="T67" fmla="*/ 3073 h 6033"/>
                <a:gd name="T68" fmla="*/ 101 w 6034"/>
                <a:gd name="T69" fmla="*/ 3793 h 6033"/>
                <a:gd name="T70" fmla="*/ 370 w 6034"/>
                <a:gd name="T71" fmla="*/ 4464 h 6033"/>
                <a:gd name="T72" fmla="*/ 791 w 6034"/>
                <a:gd name="T73" fmla="*/ 5055 h 6033"/>
                <a:gd name="T74" fmla="*/ 1354 w 6034"/>
                <a:gd name="T75" fmla="*/ 5534 h 6033"/>
                <a:gd name="T76" fmla="*/ 2041 w 6034"/>
                <a:gd name="T77" fmla="*/ 5870 h 6033"/>
                <a:gd name="T78" fmla="*/ 2778 w 6034"/>
                <a:gd name="T79" fmla="*/ 6024 h 6033"/>
                <a:gd name="T80" fmla="*/ 3509 w 6034"/>
                <a:gd name="T81" fmla="*/ 5993 h 6033"/>
                <a:gd name="T82" fmla="*/ 4205 w 6034"/>
                <a:gd name="T83" fmla="*/ 5790 h 6033"/>
                <a:gd name="T84" fmla="*/ 4830 w 6034"/>
                <a:gd name="T85" fmla="*/ 5428 h 6033"/>
                <a:gd name="T86" fmla="*/ 5358 w 6034"/>
                <a:gd name="T87" fmla="*/ 4921 h 6033"/>
                <a:gd name="T88" fmla="*/ 5757 w 6034"/>
                <a:gd name="T89" fmla="*/ 4281 h 6033"/>
                <a:gd name="T90" fmla="*/ 5987 w 6034"/>
                <a:gd name="T91" fmla="*/ 3551 h 6033"/>
                <a:gd name="T92" fmla="*/ 6027 w 6034"/>
                <a:gd name="T93" fmla="*/ 2813 h 6033"/>
                <a:gd name="T94" fmla="*/ 5891 w 6034"/>
                <a:gd name="T95" fmla="*/ 2100 h 6033"/>
                <a:gd name="T96" fmla="*/ 5591 w 6034"/>
                <a:gd name="T97" fmla="*/ 1443 h 6033"/>
                <a:gd name="T98" fmla="*/ 5140 w 6034"/>
                <a:gd name="T99" fmla="*/ 873 h 6033"/>
                <a:gd name="T100" fmla="*/ 4552 w 6034"/>
                <a:gd name="T101" fmla="*/ 419 h 6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34" h="6033">
                  <a:moveTo>
                    <a:pt x="2269" y="4884"/>
                  </a:moveTo>
                  <a:lnTo>
                    <a:pt x="2175" y="4842"/>
                  </a:lnTo>
                  <a:lnTo>
                    <a:pt x="2082" y="4797"/>
                  </a:lnTo>
                  <a:lnTo>
                    <a:pt x="1993" y="4749"/>
                  </a:lnTo>
                  <a:lnTo>
                    <a:pt x="1909" y="4695"/>
                  </a:lnTo>
                  <a:lnTo>
                    <a:pt x="1826" y="4638"/>
                  </a:lnTo>
                  <a:lnTo>
                    <a:pt x="1748" y="4578"/>
                  </a:lnTo>
                  <a:lnTo>
                    <a:pt x="1674" y="4513"/>
                  </a:lnTo>
                  <a:lnTo>
                    <a:pt x="1602" y="4446"/>
                  </a:lnTo>
                  <a:lnTo>
                    <a:pt x="1534" y="4376"/>
                  </a:lnTo>
                  <a:lnTo>
                    <a:pt x="1470" y="4302"/>
                  </a:lnTo>
                  <a:lnTo>
                    <a:pt x="1410" y="4226"/>
                  </a:lnTo>
                  <a:lnTo>
                    <a:pt x="1354" y="4146"/>
                  </a:lnTo>
                  <a:lnTo>
                    <a:pt x="1301" y="4065"/>
                  </a:lnTo>
                  <a:lnTo>
                    <a:pt x="1253" y="3981"/>
                  </a:lnTo>
                  <a:lnTo>
                    <a:pt x="1209" y="3896"/>
                  </a:lnTo>
                  <a:lnTo>
                    <a:pt x="1169" y="3807"/>
                  </a:lnTo>
                  <a:lnTo>
                    <a:pt x="1132" y="3718"/>
                  </a:lnTo>
                  <a:lnTo>
                    <a:pt x="1101" y="3627"/>
                  </a:lnTo>
                  <a:lnTo>
                    <a:pt x="1074" y="3534"/>
                  </a:lnTo>
                  <a:lnTo>
                    <a:pt x="1051" y="3440"/>
                  </a:lnTo>
                  <a:lnTo>
                    <a:pt x="1033" y="3344"/>
                  </a:lnTo>
                  <a:lnTo>
                    <a:pt x="1019" y="3248"/>
                  </a:lnTo>
                  <a:lnTo>
                    <a:pt x="1010" y="3151"/>
                  </a:lnTo>
                  <a:lnTo>
                    <a:pt x="1006" y="3054"/>
                  </a:lnTo>
                  <a:lnTo>
                    <a:pt x="1007" y="2955"/>
                  </a:lnTo>
                  <a:lnTo>
                    <a:pt x="1012" y="2857"/>
                  </a:lnTo>
                  <a:lnTo>
                    <a:pt x="1022" y="2758"/>
                  </a:lnTo>
                  <a:lnTo>
                    <a:pt x="1037" y="2659"/>
                  </a:lnTo>
                  <a:lnTo>
                    <a:pt x="1057" y="2561"/>
                  </a:lnTo>
                  <a:lnTo>
                    <a:pt x="1083" y="2463"/>
                  </a:lnTo>
                  <a:lnTo>
                    <a:pt x="1113" y="2366"/>
                  </a:lnTo>
                  <a:lnTo>
                    <a:pt x="1149" y="2269"/>
                  </a:lnTo>
                  <a:lnTo>
                    <a:pt x="1190" y="2174"/>
                  </a:lnTo>
                  <a:lnTo>
                    <a:pt x="1235" y="2082"/>
                  </a:lnTo>
                  <a:lnTo>
                    <a:pt x="1284" y="1993"/>
                  </a:lnTo>
                  <a:lnTo>
                    <a:pt x="1338" y="1908"/>
                  </a:lnTo>
                  <a:lnTo>
                    <a:pt x="1395" y="1826"/>
                  </a:lnTo>
                  <a:lnTo>
                    <a:pt x="1455" y="1748"/>
                  </a:lnTo>
                  <a:lnTo>
                    <a:pt x="1520" y="1673"/>
                  </a:lnTo>
                  <a:lnTo>
                    <a:pt x="1587" y="1601"/>
                  </a:lnTo>
                  <a:lnTo>
                    <a:pt x="1657" y="1534"/>
                  </a:lnTo>
                  <a:lnTo>
                    <a:pt x="1731" y="1470"/>
                  </a:lnTo>
                  <a:lnTo>
                    <a:pt x="1807" y="1410"/>
                  </a:lnTo>
                  <a:lnTo>
                    <a:pt x="1886" y="1354"/>
                  </a:lnTo>
                  <a:lnTo>
                    <a:pt x="1967" y="1301"/>
                  </a:lnTo>
                  <a:lnTo>
                    <a:pt x="2052" y="1253"/>
                  </a:lnTo>
                  <a:lnTo>
                    <a:pt x="2137" y="1209"/>
                  </a:lnTo>
                  <a:lnTo>
                    <a:pt x="2225" y="1169"/>
                  </a:lnTo>
                  <a:lnTo>
                    <a:pt x="2314" y="1132"/>
                  </a:lnTo>
                  <a:lnTo>
                    <a:pt x="2406" y="1101"/>
                  </a:lnTo>
                  <a:lnTo>
                    <a:pt x="2498" y="1074"/>
                  </a:lnTo>
                  <a:lnTo>
                    <a:pt x="2593" y="1051"/>
                  </a:lnTo>
                  <a:lnTo>
                    <a:pt x="2689" y="1033"/>
                  </a:lnTo>
                  <a:lnTo>
                    <a:pt x="2784" y="1019"/>
                  </a:lnTo>
                  <a:lnTo>
                    <a:pt x="2882" y="1010"/>
                  </a:lnTo>
                  <a:lnTo>
                    <a:pt x="2979" y="1006"/>
                  </a:lnTo>
                  <a:lnTo>
                    <a:pt x="3077" y="1006"/>
                  </a:lnTo>
                  <a:lnTo>
                    <a:pt x="3175" y="1011"/>
                  </a:lnTo>
                  <a:lnTo>
                    <a:pt x="3274" y="1022"/>
                  </a:lnTo>
                  <a:lnTo>
                    <a:pt x="3373" y="1037"/>
                  </a:lnTo>
                  <a:lnTo>
                    <a:pt x="3471" y="1057"/>
                  </a:lnTo>
                  <a:lnTo>
                    <a:pt x="3570" y="1082"/>
                  </a:lnTo>
                  <a:lnTo>
                    <a:pt x="3667" y="1113"/>
                  </a:lnTo>
                  <a:lnTo>
                    <a:pt x="3764" y="1148"/>
                  </a:lnTo>
                  <a:lnTo>
                    <a:pt x="3859" y="1190"/>
                  </a:lnTo>
                  <a:lnTo>
                    <a:pt x="3951" y="1235"/>
                  </a:lnTo>
                  <a:lnTo>
                    <a:pt x="4040" y="1284"/>
                  </a:lnTo>
                  <a:lnTo>
                    <a:pt x="4125" y="1338"/>
                  </a:lnTo>
                  <a:lnTo>
                    <a:pt x="4207" y="1395"/>
                  </a:lnTo>
                  <a:lnTo>
                    <a:pt x="4285" y="1455"/>
                  </a:lnTo>
                  <a:lnTo>
                    <a:pt x="4360" y="1520"/>
                  </a:lnTo>
                  <a:lnTo>
                    <a:pt x="4432" y="1587"/>
                  </a:lnTo>
                  <a:lnTo>
                    <a:pt x="4499" y="1657"/>
                  </a:lnTo>
                  <a:lnTo>
                    <a:pt x="4563" y="1731"/>
                  </a:lnTo>
                  <a:lnTo>
                    <a:pt x="4623" y="1807"/>
                  </a:lnTo>
                  <a:lnTo>
                    <a:pt x="4679" y="1887"/>
                  </a:lnTo>
                  <a:lnTo>
                    <a:pt x="4732" y="1968"/>
                  </a:lnTo>
                  <a:lnTo>
                    <a:pt x="4780" y="2052"/>
                  </a:lnTo>
                  <a:lnTo>
                    <a:pt x="4824" y="2137"/>
                  </a:lnTo>
                  <a:lnTo>
                    <a:pt x="4864" y="2226"/>
                  </a:lnTo>
                  <a:lnTo>
                    <a:pt x="4901" y="2315"/>
                  </a:lnTo>
                  <a:lnTo>
                    <a:pt x="4932" y="2407"/>
                  </a:lnTo>
                  <a:lnTo>
                    <a:pt x="4960" y="2499"/>
                  </a:lnTo>
                  <a:lnTo>
                    <a:pt x="4982" y="2593"/>
                  </a:lnTo>
                  <a:lnTo>
                    <a:pt x="5000" y="2689"/>
                  </a:lnTo>
                  <a:lnTo>
                    <a:pt x="5014" y="2785"/>
                  </a:lnTo>
                  <a:lnTo>
                    <a:pt x="5023" y="2882"/>
                  </a:lnTo>
                  <a:lnTo>
                    <a:pt x="5027" y="2979"/>
                  </a:lnTo>
                  <a:lnTo>
                    <a:pt x="5027" y="3078"/>
                  </a:lnTo>
                  <a:lnTo>
                    <a:pt x="5021" y="3176"/>
                  </a:lnTo>
                  <a:lnTo>
                    <a:pt x="5011" y="3275"/>
                  </a:lnTo>
                  <a:lnTo>
                    <a:pt x="4996" y="3374"/>
                  </a:lnTo>
                  <a:lnTo>
                    <a:pt x="4976" y="3472"/>
                  </a:lnTo>
                  <a:lnTo>
                    <a:pt x="4951" y="3570"/>
                  </a:lnTo>
                  <a:lnTo>
                    <a:pt x="4920" y="3667"/>
                  </a:lnTo>
                  <a:lnTo>
                    <a:pt x="4884" y="3764"/>
                  </a:lnTo>
                  <a:lnTo>
                    <a:pt x="4843" y="3859"/>
                  </a:lnTo>
                  <a:lnTo>
                    <a:pt x="4798" y="3951"/>
                  </a:lnTo>
                  <a:lnTo>
                    <a:pt x="4749" y="4040"/>
                  </a:lnTo>
                  <a:lnTo>
                    <a:pt x="4695" y="4125"/>
                  </a:lnTo>
                  <a:lnTo>
                    <a:pt x="4638" y="4207"/>
                  </a:lnTo>
                  <a:lnTo>
                    <a:pt x="4578" y="4285"/>
                  </a:lnTo>
                  <a:lnTo>
                    <a:pt x="4513" y="4359"/>
                  </a:lnTo>
                  <a:lnTo>
                    <a:pt x="4446" y="4431"/>
                  </a:lnTo>
                  <a:lnTo>
                    <a:pt x="4376" y="4499"/>
                  </a:lnTo>
                  <a:lnTo>
                    <a:pt x="4302" y="4563"/>
                  </a:lnTo>
                  <a:lnTo>
                    <a:pt x="4226" y="4623"/>
                  </a:lnTo>
                  <a:lnTo>
                    <a:pt x="4147" y="4679"/>
                  </a:lnTo>
                  <a:lnTo>
                    <a:pt x="4066" y="4732"/>
                  </a:lnTo>
                  <a:lnTo>
                    <a:pt x="3981" y="4780"/>
                  </a:lnTo>
                  <a:lnTo>
                    <a:pt x="3896" y="4824"/>
                  </a:lnTo>
                  <a:lnTo>
                    <a:pt x="3808" y="4864"/>
                  </a:lnTo>
                  <a:lnTo>
                    <a:pt x="3719" y="4901"/>
                  </a:lnTo>
                  <a:lnTo>
                    <a:pt x="3627" y="4932"/>
                  </a:lnTo>
                  <a:lnTo>
                    <a:pt x="3535" y="4959"/>
                  </a:lnTo>
                  <a:lnTo>
                    <a:pt x="3440" y="4982"/>
                  </a:lnTo>
                  <a:lnTo>
                    <a:pt x="3344" y="5000"/>
                  </a:lnTo>
                  <a:lnTo>
                    <a:pt x="3249" y="5014"/>
                  </a:lnTo>
                  <a:lnTo>
                    <a:pt x="3151" y="5023"/>
                  </a:lnTo>
                  <a:lnTo>
                    <a:pt x="3054" y="5027"/>
                  </a:lnTo>
                  <a:lnTo>
                    <a:pt x="2956" y="5027"/>
                  </a:lnTo>
                  <a:lnTo>
                    <a:pt x="2858" y="5021"/>
                  </a:lnTo>
                  <a:lnTo>
                    <a:pt x="2759" y="5011"/>
                  </a:lnTo>
                  <a:lnTo>
                    <a:pt x="2660" y="4996"/>
                  </a:lnTo>
                  <a:lnTo>
                    <a:pt x="2562" y="4976"/>
                  </a:lnTo>
                  <a:lnTo>
                    <a:pt x="2463" y="4950"/>
                  </a:lnTo>
                  <a:lnTo>
                    <a:pt x="2366" y="4920"/>
                  </a:lnTo>
                  <a:lnTo>
                    <a:pt x="2269" y="4884"/>
                  </a:lnTo>
                  <a:close/>
                  <a:moveTo>
                    <a:pt x="4138" y="216"/>
                  </a:moveTo>
                  <a:lnTo>
                    <a:pt x="3992" y="162"/>
                  </a:lnTo>
                  <a:lnTo>
                    <a:pt x="3846" y="115"/>
                  </a:lnTo>
                  <a:lnTo>
                    <a:pt x="3699" y="77"/>
                  </a:lnTo>
                  <a:lnTo>
                    <a:pt x="3551" y="47"/>
                  </a:lnTo>
                  <a:lnTo>
                    <a:pt x="3403" y="24"/>
                  </a:lnTo>
                  <a:lnTo>
                    <a:pt x="3255" y="9"/>
                  </a:lnTo>
                  <a:lnTo>
                    <a:pt x="3107" y="1"/>
                  </a:lnTo>
                  <a:lnTo>
                    <a:pt x="2960" y="0"/>
                  </a:lnTo>
                  <a:lnTo>
                    <a:pt x="2813" y="6"/>
                  </a:lnTo>
                  <a:lnTo>
                    <a:pt x="2667" y="19"/>
                  </a:lnTo>
                  <a:lnTo>
                    <a:pt x="2524" y="40"/>
                  </a:lnTo>
                  <a:lnTo>
                    <a:pt x="2381" y="67"/>
                  </a:lnTo>
                  <a:lnTo>
                    <a:pt x="2240" y="101"/>
                  </a:lnTo>
                  <a:lnTo>
                    <a:pt x="2100" y="142"/>
                  </a:lnTo>
                  <a:lnTo>
                    <a:pt x="1963" y="190"/>
                  </a:lnTo>
                  <a:lnTo>
                    <a:pt x="1829" y="243"/>
                  </a:lnTo>
                  <a:lnTo>
                    <a:pt x="1698" y="303"/>
                  </a:lnTo>
                  <a:lnTo>
                    <a:pt x="1569" y="370"/>
                  </a:lnTo>
                  <a:lnTo>
                    <a:pt x="1443" y="442"/>
                  </a:lnTo>
                  <a:lnTo>
                    <a:pt x="1321" y="521"/>
                  </a:lnTo>
                  <a:lnTo>
                    <a:pt x="1203" y="605"/>
                  </a:lnTo>
                  <a:lnTo>
                    <a:pt x="1088" y="696"/>
                  </a:lnTo>
                  <a:lnTo>
                    <a:pt x="978" y="791"/>
                  </a:lnTo>
                  <a:lnTo>
                    <a:pt x="873" y="893"/>
                  </a:lnTo>
                  <a:lnTo>
                    <a:pt x="771" y="1001"/>
                  </a:lnTo>
                  <a:lnTo>
                    <a:pt x="676" y="1112"/>
                  </a:lnTo>
                  <a:lnTo>
                    <a:pt x="584" y="1231"/>
                  </a:lnTo>
                  <a:lnTo>
                    <a:pt x="499" y="1354"/>
                  </a:lnTo>
                  <a:lnTo>
                    <a:pt x="419" y="1481"/>
                  </a:lnTo>
                  <a:lnTo>
                    <a:pt x="346" y="1614"/>
                  </a:lnTo>
                  <a:lnTo>
                    <a:pt x="277" y="1752"/>
                  </a:lnTo>
                  <a:lnTo>
                    <a:pt x="216" y="1895"/>
                  </a:lnTo>
                  <a:lnTo>
                    <a:pt x="162" y="2041"/>
                  </a:lnTo>
                  <a:lnTo>
                    <a:pt x="116" y="2188"/>
                  </a:lnTo>
                  <a:lnTo>
                    <a:pt x="78" y="2334"/>
                  </a:lnTo>
                  <a:lnTo>
                    <a:pt x="47" y="2482"/>
                  </a:lnTo>
                  <a:lnTo>
                    <a:pt x="24" y="2630"/>
                  </a:lnTo>
                  <a:lnTo>
                    <a:pt x="9" y="2778"/>
                  </a:lnTo>
                  <a:lnTo>
                    <a:pt x="1" y="2926"/>
                  </a:lnTo>
                  <a:lnTo>
                    <a:pt x="0" y="3073"/>
                  </a:lnTo>
                  <a:lnTo>
                    <a:pt x="6" y="3220"/>
                  </a:lnTo>
                  <a:lnTo>
                    <a:pt x="20" y="3366"/>
                  </a:lnTo>
                  <a:lnTo>
                    <a:pt x="40" y="3509"/>
                  </a:lnTo>
                  <a:lnTo>
                    <a:pt x="67" y="3652"/>
                  </a:lnTo>
                  <a:lnTo>
                    <a:pt x="101" y="3793"/>
                  </a:lnTo>
                  <a:lnTo>
                    <a:pt x="143" y="3933"/>
                  </a:lnTo>
                  <a:lnTo>
                    <a:pt x="190" y="4070"/>
                  </a:lnTo>
                  <a:lnTo>
                    <a:pt x="243" y="4204"/>
                  </a:lnTo>
                  <a:lnTo>
                    <a:pt x="303" y="4335"/>
                  </a:lnTo>
                  <a:lnTo>
                    <a:pt x="370" y="4464"/>
                  </a:lnTo>
                  <a:lnTo>
                    <a:pt x="442" y="4590"/>
                  </a:lnTo>
                  <a:lnTo>
                    <a:pt x="521" y="4712"/>
                  </a:lnTo>
                  <a:lnTo>
                    <a:pt x="605" y="4830"/>
                  </a:lnTo>
                  <a:lnTo>
                    <a:pt x="696" y="4945"/>
                  </a:lnTo>
                  <a:lnTo>
                    <a:pt x="791" y="5055"/>
                  </a:lnTo>
                  <a:lnTo>
                    <a:pt x="893" y="5160"/>
                  </a:lnTo>
                  <a:lnTo>
                    <a:pt x="1001" y="5262"/>
                  </a:lnTo>
                  <a:lnTo>
                    <a:pt x="1113" y="5357"/>
                  </a:lnTo>
                  <a:lnTo>
                    <a:pt x="1231" y="5449"/>
                  </a:lnTo>
                  <a:lnTo>
                    <a:pt x="1354" y="5534"/>
                  </a:lnTo>
                  <a:lnTo>
                    <a:pt x="1481" y="5614"/>
                  </a:lnTo>
                  <a:lnTo>
                    <a:pt x="1614" y="5687"/>
                  </a:lnTo>
                  <a:lnTo>
                    <a:pt x="1752" y="5756"/>
                  </a:lnTo>
                  <a:lnTo>
                    <a:pt x="1895" y="5817"/>
                  </a:lnTo>
                  <a:lnTo>
                    <a:pt x="2041" y="5870"/>
                  </a:lnTo>
                  <a:lnTo>
                    <a:pt x="2188" y="5917"/>
                  </a:lnTo>
                  <a:lnTo>
                    <a:pt x="2334" y="5955"/>
                  </a:lnTo>
                  <a:lnTo>
                    <a:pt x="2482" y="5986"/>
                  </a:lnTo>
                  <a:lnTo>
                    <a:pt x="2630" y="6009"/>
                  </a:lnTo>
                  <a:lnTo>
                    <a:pt x="2778" y="6024"/>
                  </a:lnTo>
                  <a:lnTo>
                    <a:pt x="2926" y="6032"/>
                  </a:lnTo>
                  <a:lnTo>
                    <a:pt x="3074" y="6033"/>
                  </a:lnTo>
                  <a:lnTo>
                    <a:pt x="3220" y="6027"/>
                  </a:lnTo>
                  <a:lnTo>
                    <a:pt x="3366" y="6013"/>
                  </a:lnTo>
                  <a:lnTo>
                    <a:pt x="3509" y="5993"/>
                  </a:lnTo>
                  <a:lnTo>
                    <a:pt x="3652" y="5966"/>
                  </a:lnTo>
                  <a:lnTo>
                    <a:pt x="3794" y="5932"/>
                  </a:lnTo>
                  <a:lnTo>
                    <a:pt x="3933" y="5891"/>
                  </a:lnTo>
                  <a:lnTo>
                    <a:pt x="4070" y="5843"/>
                  </a:lnTo>
                  <a:lnTo>
                    <a:pt x="4205" y="5790"/>
                  </a:lnTo>
                  <a:lnTo>
                    <a:pt x="4336" y="5730"/>
                  </a:lnTo>
                  <a:lnTo>
                    <a:pt x="4465" y="5663"/>
                  </a:lnTo>
                  <a:lnTo>
                    <a:pt x="4590" y="5591"/>
                  </a:lnTo>
                  <a:lnTo>
                    <a:pt x="4713" y="5512"/>
                  </a:lnTo>
                  <a:lnTo>
                    <a:pt x="4830" y="5428"/>
                  </a:lnTo>
                  <a:lnTo>
                    <a:pt x="4945" y="5338"/>
                  </a:lnTo>
                  <a:lnTo>
                    <a:pt x="5056" y="5242"/>
                  </a:lnTo>
                  <a:lnTo>
                    <a:pt x="5161" y="5140"/>
                  </a:lnTo>
                  <a:lnTo>
                    <a:pt x="5262" y="5033"/>
                  </a:lnTo>
                  <a:lnTo>
                    <a:pt x="5358" y="4921"/>
                  </a:lnTo>
                  <a:lnTo>
                    <a:pt x="5449" y="4803"/>
                  </a:lnTo>
                  <a:lnTo>
                    <a:pt x="5534" y="4680"/>
                  </a:lnTo>
                  <a:lnTo>
                    <a:pt x="5615" y="4552"/>
                  </a:lnTo>
                  <a:lnTo>
                    <a:pt x="5688" y="4419"/>
                  </a:lnTo>
                  <a:lnTo>
                    <a:pt x="5757" y="4281"/>
                  </a:lnTo>
                  <a:lnTo>
                    <a:pt x="5818" y="4138"/>
                  </a:lnTo>
                  <a:lnTo>
                    <a:pt x="5871" y="3992"/>
                  </a:lnTo>
                  <a:lnTo>
                    <a:pt x="5918" y="3846"/>
                  </a:lnTo>
                  <a:lnTo>
                    <a:pt x="5956" y="3699"/>
                  </a:lnTo>
                  <a:lnTo>
                    <a:pt x="5987" y="3551"/>
                  </a:lnTo>
                  <a:lnTo>
                    <a:pt x="6009" y="3403"/>
                  </a:lnTo>
                  <a:lnTo>
                    <a:pt x="6025" y="3255"/>
                  </a:lnTo>
                  <a:lnTo>
                    <a:pt x="6033" y="3107"/>
                  </a:lnTo>
                  <a:lnTo>
                    <a:pt x="6034" y="2960"/>
                  </a:lnTo>
                  <a:lnTo>
                    <a:pt x="6027" y="2813"/>
                  </a:lnTo>
                  <a:lnTo>
                    <a:pt x="6014" y="2667"/>
                  </a:lnTo>
                  <a:lnTo>
                    <a:pt x="5993" y="2524"/>
                  </a:lnTo>
                  <a:lnTo>
                    <a:pt x="5966" y="2381"/>
                  </a:lnTo>
                  <a:lnTo>
                    <a:pt x="5932" y="2240"/>
                  </a:lnTo>
                  <a:lnTo>
                    <a:pt x="5891" y="2100"/>
                  </a:lnTo>
                  <a:lnTo>
                    <a:pt x="5844" y="1963"/>
                  </a:lnTo>
                  <a:lnTo>
                    <a:pt x="5790" y="1829"/>
                  </a:lnTo>
                  <a:lnTo>
                    <a:pt x="5730" y="1698"/>
                  </a:lnTo>
                  <a:lnTo>
                    <a:pt x="5663" y="1569"/>
                  </a:lnTo>
                  <a:lnTo>
                    <a:pt x="5591" y="1443"/>
                  </a:lnTo>
                  <a:lnTo>
                    <a:pt x="5512" y="1321"/>
                  </a:lnTo>
                  <a:lnTo>
                    <a:pt x="5428" y="1203"/>
                  </a:lnTo>
                  <a:lnTo>
                    <a:pt x="5338" y="1088"/>
                  </a:lnTo>
                  <a:lnTo>
                    <a:pt x="5242" y="978"/>
                  </a:lnTo>
                  <a:lnTo>
                    <a:pt x="5140" y="873"/>
                  </a:lnTo>
                  <a:lnTo>
                    <a:pt x="5033" y="771"/>
                  </a:lnTo>
                  <a:lnTo>
                    <a:pt x="4921" y="676"/>
                  </a:lnTo>
                  <a:lnTo>
                    <a:pt x="4803" y="584"/>
                  </a:lnTo>
                  <a:lnTo>
                    <a:pt x="4679" y="499"/>
                  </a:lnTo>
                  <a:lnTo>
                    <a:pt x="4552" y="419"/>
                  </a:lnTo>
                  <a:lnTo>
                    <a:pt x="4419" y="345"/>
                  </a:lnTo>
                  <a:lnTo>
                    <a:pt x="4281" y="277"/>
                  </a:lnTo>
                  <a:lnTo>
                    <a:pt x="4138" y="2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20" name="isḷídé">
              <a:extLst>
                <a:ext uri="{FF2B5EF4-FFF2-40B4-BE49-F238E27FC236}">
                  <a16:creationId xmlns:a16="http://schemas.microsoft.com/office/drawing/2014/main" id="{7114935D-77BC-4A23-8B53-735C86438702}"/>
                </a:ext>
              </a:extLst>
            </p:cNvPr>
            <p:cNvSpPr/>
            <p:nvPr/>
          </p:nvSpPr>
          <p:spPr bwMode="auto">
            <a:xfrm>
              <a:off x="6536332" y="3523619"/>
              <a:ext cx="57270" cy="58112"/>
            </a:xfrm>
            <a:custGeom>
              <a:avLst/>
              <a:gdLst>
                <a:gd name="T0" fmla="*/ 2514 w 2520"/>
                <a:gd name="T1" fmla="*/ 308 h 2567"/>
                <a:gd name="T2" fmla="*/ 2520 w 2520"/>
                <a:gd name="T3" fmla="*/ 259 h 2567"/>
                <a:gd name="T4" fmla="*/ 2517 w 2520"/>
                <a:gd name="T5" fmla="*/ 211 h 2567"/>
                <a:gd name="T6" fmla="*/ 2505 w 2520"/>
                <a:gd name="T7" fmla="*/ 163 h 2567"/>
                <a:gd name="T8" fmla="*/ 2483 w 2520"/>
                <a:gd name="T9" fmla="*/ 120 h 2567"/>
                <a:gd name="T10" fmla="*/ 2454 w 2520"/>
                <a:gd name="T11" fmla="*/ 82 h 2567"/>
                <a:gd name="T12" fmla="*/ 2417 w 2520"/>
                <a:gd name="T13" fmla="*/ 49 h 2567"/>
                <a:gd name="T14" fmla="*/ 2374 w 2520"/>
                <a:gd name="T15" fmla="*/ 23 h 2567"/>
                <a:gd name="T16" fmla="*/ 2326 w 2520"/>
                <a:gd name="T17" fmla="*/ 6 h 2567"/>
                <a:gd name="T18" fmla="*/ 2276 w 2520"/>
                <a:gd name="T19" fmla="*/ 0 h 2567"/>
                <a:gd name="T20" fmla="*/ 2227 w 2520"/>
                <a:gd name="T21" fmla="*/ 3 h 2567"/>
                <a:gd name="T22" fmla="*/ 2181 w 2520"/>
                <a:gd name="T23" fmla="*/ 15 h 2567"/>
                <a:gd name="T24" fmla="*/ 2137 w 2520"/>
                <a:gd name="T25" fmla="*/ 37 h 2567"/>
                <a:gd name="T26" fmla="*/ 2098 w 2520"/>
                <a:gd name="T27" fmla="*/ 66 h 2567"/>
                <a:gd name="T28" fmla="*/ 2066 w 2520"/>
                <a:gd name="T29" fmla="*/ 103 h 2567"/>
                <a:gd name="T30" fmla="*/ 2041 w 2520"/>
                <a:gd name="T31" fmla="*/ 146 h 2567"/>
                <a:gd name="T32" fmla="*/ 1963 w 2520"/>
                <a:gd name="T33" fmla="*/ 324 h 2567"/>
                <a:gd name="T34" fmla="*/ 1797 w 2520"/>
                <a:gd name="T35" fmla="*/ 640 h 2567"/>
                <a:gd name="T36" fmla="*/ 1605 w 2520"/>
                <a:gd name="T37" fmla="*/ 934 h 2567"/>
                <a:gd name="T38" fmla="*/ 1387 w 2520"/>
                <a:gd name="T39" fmla="*/ 1202 h 2567"/>
                <a:gd name="T40" fmla="*/ 1146 w 2520"/>
                <a:gd name="T41" fmla="*/ 1446 h 2567"/>
                <a:gd name="T42" fmla="*/ 883 w 2520"/>
                <a:gd name="T43" fmla="*/ 1663 h 2567"/>
                <a:gd name="T44" fmla="*/ 602 w 2520"/>
                <a:gd name="T45" fmla="*/ 1853 h 2567"/>
                <a:gd name="T46" fmla="*/ 306 w 2520"/>
                <a:gd name="T47" fmla="*/ 2015 h 2567"/>
                <a:gd name="T48" fmla="*/ 130 w 2520"/>
                <a:gd name="T49" fmla="*/ 2097 h 2567"/>
                <a:gd name="T50" fmla="*/ 88 w 2520"/>
                <a:gd name="T51" fmla="*/ 2125 h 2567"/>
                <a:gd name="T52" fmla="*/ 54 w 2520"/>
                <a:gd name="T53" fmla="*/ 2160 h 2567"/>
                <a:gd name="T54" fmla="*/ 28 w 2520"/>
                <a:gd name="T55" fmla="*/ 2201 h 2567"/>
                <a:gd name="T56" fmla="*/ 10 w 2520"/>
                <a:gd name="T57" fmla="*/ 2246 h 2567"/>
                <a:gd name="T58" fmla="*/ 1 w 2520"/>
                <a:gd name="T59" fmla="*/ 2293 h 2567"/>
                <a:gd name="T60" fmla="*/ 2 w 2520"/>
                <a:gd name="T61" fmla="*/ 2342 h 2567"/>
                <a:gd name="T62" fmla="*/ 12 w 2520"/>
                <a:gd name="T63" fmla="*/ 2390 h 2567"/>
                <a:gd name="T64" fmla="*/ 32 w 2520"/>
                <a:gd name="T65" fmla="*/ 2438 h 2567"/>
                <a:gd name="T66" fmla="*/ 60 w 2520"/>
                <a:gd name="T67" fmla="*/ 2479 h 2567"/>
                <a:gd name="T68" fmla="*/ 95 w 2520"/>
                <a:gd name="T69" fmla="*/ 2513 h 2567"/>
                <a:gd name="T70" fmla="*/ 137 w 2520"/>
                <a:gd name="T71" fmla="*/ 2539 h 2567"/>
                <a:gd name="T72" fmla="*/ 181 w 2520"/>
                <a:gd name="T73" fmla="*/ 2557 h 2567"/>
                <a:gd name="T74" fmla="*/ 228 w 2520"/>
                <a:gd name="T75" fmla="*/ 2566 h 2567"/>
                <a:gd name="T76" fmla="*/ 277 w 2520"/>
                <a:gd name="T77" fmla="*/ 2566 h 2567"/>
                <a:gd name="T78" fmla="*/ 327 w 2520"/>
                <a:gd name="T79" fmla="*/ 2556 h 2567"/>
                <a:gd name="T80" fmla="*/ 362 w 2520"/>
                <a:gd name="T81" fmla="*/ 2540 h 2567"/>
                <a:gd name="T82" fmla="*/ 707 w 2520"/>
                <a:gd name="T83" fmla="*/ 2371 h 2567"/>
                <a:gd name="T84" fmla="*/ 1036 w 2520"/>
                <a:gd name="T85" fmla="*/ 2169 h 2567"/>
                <a:gd name="T86" fmla="*/ 1344 w 2520"/>
                <a:gd name="T87" fmla="*/ 1937 h 2567"/>
                <a:gd name="T88" fmla="*/ 1630 w 2520"/>
                <a:gd name="T89" fmla="*/ 1674 h 2567"/>
                <a:gd name="T90" fmla="*/ 1892 w 2520"/>
                <a:gd name="T91" fmla="*/ 1382 h 2567"/>
                <a:gd name="T92" fmla="*/ 2126 w 2520"/>
                <a:gd name="T93" fmla="*/ 1063 h 2567"/>
                <a:gd name="T94" fmla="*/ 2331 w 2520"/>
                <a:gd name="T95" fmla="*/ 717 h 2567"/>
                <a:gd name="T96" fmla="*/ 2502 w 2520"/>
                <a:gd name="T97" fmla="*/ 344 h 2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20" h="2567">
                  <a:moveTo>
                    <a:pt x="2502" y="344"/>
                  </a:moveTo>
                  <a:lnTo>
                    <a:pt x="2507" y="332"/>
                  </a:lnTo>
                  <a:lnTo>
                    <a:pt x="2511" y="320"/>
                  </a:lnTo>
                  <a:lnTo>
                    <a:pt x="2514" y="308"/>
                  </a:lnTo>
                  <a:lnTo>
                    <a:pt x="2516" y="296"/>
                  </a:lnTo>
                  <a:lnTo>
                    <a:pt x="2518" y="284"/>
                  </a:lnTo>
                  <a:lnTo>
                    <a:pt x="2520" y="271"/>
                  </a:lnTo>
                  <a:lnTo>
                    <a:pt x="2520" y="259"/>
                  </a:lnTo>
                  <a:lnTo>
                    <a:pt x="2520" y="247"/>
                  </a:lnTo>
                  <a:lnTo>
                    <a:pt x="2520" y="235"/>
                  </a:lnTo>
                  <a:lnTo>
                    <a:pt x="2519" y="223"/>
                  </a:lnTo>
                  <a:lnTo>
                    <a:pt x="2517" y="211"/>
                  </a:lnTo>
                  <a:lnTo>
                    <a:pt x="2515" y="198"/>
                  </a:lnTo>
                  <a:lnTo>
                    <a:pt x="2512" y="186"/>
                  </a:lnTo>
                  <a:lnTo>
                    <a:pt x="2509" y="175"/>
                  </a:lnTo>
                  <a:lnTo>
                    <a:pt x="2505" y="163"/>
                  </a:lnTo>
                  <a:lnTo>
                    <a:pt x="2500" y="152"/>
                  </a:lnTo>
                  <a:lnTo>
                    <a:pt x="2494" y="141"/>
                  </a:lnTo>
                  <a:lnTo>
                    <a:pt x="2489" y="131"/>
                  </a:lnTo>
                  <a:lnTo>
                    <a:pt x="2483" y="120"/>
                  </a:lnTo>
                  <a:lnTo>
                    <a:pt x="2476" y="110"/>
                  </a:lnTo>
                  <a:lnTo>
                    <a:pt x="2469" y="100"/>
                  </a:lnTo>
                  <a:lnTo>
                    <a:pt x="2462" y="91"/>
                  </a:lnTo>
                  <a:lnTo>
                    <a:pt x="2454" y="82"/>
                  </a:lnTo>
                  <a:lnTo>
                    <a:pt x="2445" y="73"/>
                  </a:lnTo>
                  <a:lnTo>
                    <a:pt x="2437" y="65"/>
                  </a:lnTo>
                  <a:lnTo>
                    <a:pt x="2427" y="57"/>
                  </a:lnTo>
                  <a:lnTo>
                    <a:pt x="2417" y="49"/>
                  </a:lnTo>
                  <a:lnTo>
                    <a:pt x="2407" y="42"/>
                  </a:lnTo>
                  <a:lnTo>
                    <a:pt x="2397" y="36"/>
                  </a:lnTo>
                  <a:lnTo>
                    <a:pt x="2386" y="29"/>
                  </a:lnTo>
                  <a:lnTo>
                    <a:pt x="2374" y="23"/>
                  </a:lnTo>
                  <a:lnTo>
                    <a:pt x="2362" y="18"/>
                  </a:lnTo>
                  <a:lnTo>
                    <a:pt x="2350" y="13"/>
                  </a:lnTo>
                  <a:lnTo>
                    <a:pt x="2338" y="9"/>
                  </a:lnTo>
                  <a:lnTo>
                    <a:pt x="2326" y="6"/>
                  </a:lnTo>
                  <a:lnTo>
                    <a:pt x="2313" y="4"/>
                  </a:lnTo>
                  <a:lnTo>
                    <a:pt x="2300" y="2"/>
                  </a:lnTo>
                  <a:lnTo>
                    <a:pt x="2288" y="0"/>
                  </a:lnTo>
                  <a:lnTo>
                    <a:pt x="2276" y="0"/>
                  </a:lnTo>
                  <a:lnTo>
                    <a:pt x="2264" y="0"/>
                  </a:lnTo>
                  <a:lnTo>
                    <a:pt x="2251" y="0"/>
                  </a:lnTo>
                  <a:lnTo>
                    <a:pt x="2239" y="1"/>
                  </a:lnTo>
                  <a:lnTo>
                    <a:pt x="2227" y="3"/>
                  </a:lnTo>
                  <a:lnTo>
                    <a:pt x="2216" y="5"/>
                  </a:lnTo>
                  <a:lnTo>
                    <a:pt x="2204" y="8"/>
                  </a:lnTo>
                  <a:lnTo>
                    <a:pt x="2192" y="11"/>
                  </a:lnTo>
                  <a:lnTo>
                    <a:pt x="2181" y="15"/>
                  </a:lnTo>
                  <a:lnTo>
                    <a:pt x="2170" y="20"/>
                  </a:lnTo>
                  <a:lnTo>
                    <a:pt x="2159" y="25"/>
                  </a:lnTo>
                  <a:lnTo>
                    <a:pt x="2147" y="30"/>
                  </a:lnTo>
                  <a:lnTo>
                    <a:pt x="2137" y="37"/>
                  </a:lnTo>
                  <a:lnTo>
                    <a:pt x="2127" y="44"/>
                  </a:lnTo>
                  <a:lnTo>
                    <a:pt x="2117" y="51"/>
                  </a:lnTo>
                  <a:lnTo>
                    <a:pt x="2108" y="58"/>
                  </a:lnTo>
                  <a:lnTo>
                    <a:pt x="2098" y="66"/>
                  </a:lnTo>
                  <a:lnTo>
                    <a:pt x="2090" y="75"/>
                  </a:lnTo>
                  <a:lnTo>
                    <a:pt x="2081" y="83"/>
                  </a:lnTo>
                  <a:lnTo>
                    <a:pt x="2073" y="93"/>
                  </a:lnTo>
                  <a:lnTo>
                    <a:pt x="2066" y="103"/>
                  </a:lnTo>
                  <a:lnTo>
                    <a:pt x="2059" y="113"/>
                  </a:lnTo>
                  <a:lnTo>
                    <a:pt x="2052" y="124"/>
                  </a:lnTo>
                  <a:lnTo>
                    <a:pt x="2046" y="135"/>
                  </a:lnTo>
                  <a:lnTo>
                    <a:pt x="2041" y="146"/>
                  </a:lnTo>
                  <a:lnTo>
                    <a:pt x="2036" y="158"/>
                  </a:lnTo>
                  <a:lnTo>
                    <a:pt x="2035" y="157"/>
                  </a:lnTo>
                  <a:lnTo>
                    <a:pt x="2000" y="242"/>
                  </a:lnTo>
                  <a:lnTo>
                    <a:pt x="1963" y="324"/>
                  </a:lnTo>
                  <a:lnTo>
                    <a:pt x="1924" y="406"/>
                  </a:lnTo>
                  <a:lnTo>
                    <a:pt x="1884" y="485"/>
                  </a:lnTo>
                  <a:lnTo>
                    <a:pt x="1842" y="564"/>
                  </a:lnTo>
                  <a:lnTo>
                    <a:pt x="1797" y="640"/>
                  </a:lnTo>
                  <a:lnTo>
                    <a:pt x="1752" y="716"/>
                  </a:lnTo>
                  <a:lnTo>
                    <a:pt x="1705" y="790"/>
                  </a:lnTo>
                  <a:lnTo>
                    <a:pt x="1656" y="862"/>
                  </a:lnTo>
                  <a:lnTo>
                    <a:pt x="1605" y="934"/>
                  </a:lnTo>
                  <a:lnTo>
                    <a:pt x="1553" y="1003"/>
                  </a:lnTo>
                  <a:lnTo>
                    <a:pt x="1499" y="1071"/>
                  </a:lnTo>
                  <a:lnTo>
                    <a:pt x="1443" y="1137"/>
                  </a:lnTo>
                  <a:lnTo>
                    <a:pt x="1387" y="1202"/>
                  </a:lnTo>
                  <a:lnTo>
                    <a:pt x="1329" y="1266"/>
                  </a:lnTo>
                  <a:lnTo>
                    <a:pt x="1268" y="1327"/>
                  </a:lnTo>
                  <a:lnTo>
                    <a:pt x="1208" y="1387"/>
                  </a:lnTo>
                  <a:lnTo>
                    <a:pt x="1146" y="1446"/>
                  </a:lnTo>
                  <a:lnTo>
                    <a:pt x="1081" y="1502"/>
                  </a:lnTo>
                  <a:lnTo>
                    <a:pt x="1017" y="1557"/>
                  </a:lnTo>
                  <a:lnTo>
                    <a:pt x="950" y="1612"/>
                  </a:lnTo>
                  <a:lnTo>
                    <a:pt x="883" y="1663"/>
                  </a:lnTo>
                  <a:lnTo>
                    <a:pt x="815" y="1713"/>
                  </a:lnTo>
                  <a:lnTo>
                    <a:pt x="745" y="1762"/>
                  </a:lnTo>
                  <a:lnTo>
                    <a:pt x="674" y="1808"/>
                  </a:lnTo>
                  <a:lnTo>
                    <a:pt x="602" y="1853"/>
                  </a:lnTo>
                  <a:lnTo>
                    <a:pt x="530" y="1896"/>
                  </a:lnTo>
                  <a:lnTo>
                    <a:pt x="456" y="1938"/>
                  </a:lnTo>
                  <a:lnTo>
                    <a:pt x="381" y="1978"/>
                  </a:lnTo>
                  <a:lnTo>
                    <a:pt x="306" y="2015"/>
                  </a:lnTo>
                  <a:lnTo>
                    <a:pt x="229" y="2051"/>
                  </a:lnTo>
                  <a:lnTo>
                    <a:pt x="153" y="2086"/>
                  </a:lnTo>
                  <a:lnTo>
                    <a:pt x="141" y="2091"/>
                  </a:lnTo>
                  <a:lnTo>
                    <a:pt x="130" y="2097"/>
                  </a:lnTo>
                  <a:lnTo>
                    <a:pt x="118" y="2103"/>
                  </a:lnTo>
                  <a:lnTo>
                    <a:pt x="107" y="2110"/>
                  </a:lnTo>
                  <a:lnTo>
                    <a:pt x="97" y="2118"/>
                  </a:lnTo>
                  <a:lnTo>
                    <a:pt x="88" y="2125"/>
                  </a:lnTo>
                  <a:lnTo>
                    <a:pt x="79" y="2133"/>
                  </a:lnTo>
                  <a:lnTo>
                    <a:pt x="70" y="2142"/>
                  </a:lnTo>
                  <a:lnTo>
                    <a:pt x="62" y="2151"/>
                  </a:lnTo>
                  <a:lnTo>
                    <a:pt x="54" y="2160"/>
                  </a:lnTo>
                  <a:lnTo>
                    <a:pt x="47" y="2170"/>
                  </a:lnTo>
                  <a:lnTo>
                    <a:pt x="40" y="2180"/>
                  </a:lnTo>
                  <a:lnTo>
                    <a:pt x="34" y="2190"/>
                  </a:lnTo>
                  <a:lnTo>
                    <a:pt x="28" y="2201"/>
                  </a:lnTo>
                  <a:lnTo>
                    <a:pt x="23" y="2211"/>
                  </a:lnTo>
                  <a:lnTo>
                    <a:pt x="18" y="2222"/>
                  </a:lnTo>
                  <a:lnTo>
                    <a:pt x="14" y="2234"/>
                  </a:lnTo>
                  <a:lnTo>
                    <a:pt x="10" y="2246"/>
                  </a:lnTo>
                  <a:lnTo>
                    <a:pt x="7" y="2258"/>
                  </a:lnTo>
                  <a:lnTo>
                    <a:pt x="5" y="2269"/>
                  </a:lnTo>
                  <a:lnTo>
                    <a:pt x="3" y="2281"/>
                  </a:lnTo>
                  <a:lnTo>
                    <a:pt x="1" y="2293"/>
                  </a:lnTo>
                  <a:lnTo>
                    <a:pt x="1" y="2305"/>
                  </a:lnTo>
                  <a:lnTo>
                    <a:pt x="0" y="2317"/>
                  </a:lnTo>
                  <a:lnTo>
                    <a:pt x="1" y="2330"/>
                  </a:lnTo>
                  <a:lnTo>
                    <a:pt x="2" y="2342"/>
                  </a:lnTo>
                  <a:lnTo>
                    <a:pt x="3" y="2354"/>
                  </a:lnTo>
                  <a:lnTo>
                    <a:pt x="5" y="2366"/>
                  </a:lnTo>
                  <a:lnTo>
                    <a:pt x="8" y="2378"/>
                  </a:lnTo>
                  <a:lnTo>
                    <a:pt x="12" y="2390"/>
                  </a:lnTo>
                  <a:lnTo>
                    <a:pt x="16" y="2402"/>
                  </a:lnTo>
                  <a:lnTo>
                    <a:pt x="21" y="2415"/>
                  </a:lnTo>
                  <a:lnTo>
                    <a:pt x="26" y="2427"/>
                  </a:lnTo>
                  <a:lnTo>
                    <a:pt x="32" y="2438"/>
                  </a:lnTo>
                  <a:lnTo>
                    <a:pt x="38" y="2449"/>
                  </a:lnTo>
                  <a:lnTo>
                    <a:pt x="45" y="2460"/>
                  </a:lnTo>
                  <a:lnTo>
                    <a:pt x="52" y="2470"/>
                  </a:lnTo>
                  <a:lnTo>
                    <a:pt x="60" y="2479"/>
                  </a:lnTo>
                  <a:lnTo>
                    <a:pt x="68" y="2489"/>
                  </a:lnTo>
                  <a:lnTo>
                    <a:pt x="77" y="2497"/>
                  </a:lnTo>
                  <a:lnTo>
                    <a:pt x="86" y="2506"/>
                  </a:lnTo>
                  <a:lnTo>
                    <a:pt x="95" y="2513"/>
                  </a:lnTo>
                  <a:lnTo>
                    <a:pt x="105" y="2521"/>
                  </a:lnTo>
                  <a:lnTo>
                    <a:pt x="115" y="2527"/>
                  </a:lnTo>
                  <a:lnTo>
                    <a:pt x="126" y="2534"/>
                  </a:lnTo>
                  <a:lnTo>
                    <a:pt x="137" y="2539"/>
                  </a:lnTo>
                  <a:lnTo>
                    <a:pt x="148" y="2545"/>
                  </a:lnTo>
                  <a:lnTo>
                    <a:pt x="159" y="2549"/>
                  </a:lnTo>
                  <a:lnTo>
                    <a:pt x="170" y="2553"/>
                  </a:lnTo>
                  <a:lnTo>
                    <a:pt x="181" y="2557"/>
                  </a:lnTo>
                  <a:lnTo>
                    <a:pt x="193" y="2560"/>
                  </a:lnTo>
                  <a:lnTo>
                    <a:pt x="204" y="2563"/>
                  </a:lnTo>
                  <a:lnTo>
                    <a:pt x="216" y="2565"/>
                  </a:lnTo>
                  <a:lnTo>
                    <a:pt x="228" y="2566"/>
                  </a:lnTo>
                  <a:lnTo>
                    <a:pt x="240" y="2567"/>
                  </a:lnTo>
                  <a:lnTo>
                    <a:pt x="253" y="2567"/>
                  </a:lnTo>
                  <a:lnTo>
                    <a:pt x="265" y="2567"/>
                  </a:lnTo>
                  <a:lnTo>
                    <a:pt x="277" y="2566"/>
                  </a:lnTo>
                  <a:lnTo>
                    <a:pt x="289" y="2564"/>
                  </a:lnTo>
                  <a:lnTo>
                    <a:pt x="302" y="2562"/>
                  </a:lnTo>
                  <a:lnTo>
                    <a:pt x="314" y="2559"/>
                  </a:lnTo>
                  <a:lnTo>
                    <a:pt x="327" y="2556"/>
                  </a:lnTo>
                  <a:lnTo>
                    <a:pt x="339" y="2552"/>
                  </a:lnTo>
                  <a:lnTo>
                    <a:pt x="351" y="2547"/>
                  </a:lnTo>
                  <a:lnTo>
                    <a:pt x="356" y="2543"/>
                  </a:lnTo>
                  <a:lnTo>
                    <a:pt x="362" y="2540"/>
                  </a:lnTo>
                  <a:lnTo>
                    <a:pt x="449" y="2501"/>
                  </a:lnTo>
                  <a:lnTo>
                    <a:pt x="536" y="2460"/>
                  </a:lnTo>
                  <a:lnTo>
                    <a:pt x="622" y="2417"/>
                  </a:lnTo>
                  <a:lnTo>
                    <a:pt x="707" y="2371"/>
                  </a:lnTo>
                  <a:lnTo>
                    <a:pt x="790" y="2324"/>
                  </a:lnTo>
                  <a:lnTo>
                    <a:pt x="874" y="2275"/>
                  </a:lnTo>
                  <a:lnTo>
                    <a:pt x="955" y="2222"/>
                  </a:lnTo>
                  <a:lnTo>
                    <a:pt x="1036" y="2169"/>
                  </a:lnTo>
                  <a:lnTo>
                    <a:pt x="1114" y="2114"/>
                  </a:lnTo>
                  <a:lnTo>
                    <a:pt x="1193" y="2057"/>
                  </a:lnTo>
                  <a:lnTo>
                    <a:pt x="1269" y="1998"/>
                  </a:lnTo>
                  <a:lnTo>
                    <a:pt x="1344" y="1937"/>
                  </a:lnTo>
                  <a:lnTo>
                    <a:pt x="1418" y="1874"/>
                  </a:lnTo>
                  <a:lnTo>
                    <a:pt x="1491" y="1809"/>
                  </a:lnTo>
                  <a:lnTo>
                    <a:pt x="1561" y="1743"/>
                  </a:lnTo>
                  <a:lnTo>
                    <a:pt x="1630" y="1674"/>
                  </a:lnTo>
                  <a:lnTo>
                    <a:pt x="1699" y="1604"/>
                  </a:lnTo>
                  <a:lnTo>
                    <a:pt x="1765" y="1532"/>
                  </a:lnTo>
                  <a:lnTo>
                    <a:pt x="1830" y="1458"/>
                  </a:lnTo>
                  <a:lnTo>
                    <a:pt x="1892" y="1382"/>
                  </a:lnTo>
                  <a:lnTo>
                    <a:pt x="1953" y="1305"/>
                  </a:lnTo>
                  <a:lnTo>
                    <a:pt x="2013" y="1227"/>
                  </a:lnTo>
                  <a:lnTo>
                    <a:pt x="2071" y="1145"/>
                  </a:lnTo>
                  <a:lnTo>
                    <a:pt x="2126" y="1063"/>
                  </a:lnTo>
                  <a:lnTo>
                    <a:pt x="2181" y="979"/>
                  </a:lnTo>
                  <a:lnTo>
                    <a:pt x="2232" y="894"/>
                  </a:lnTo>
                  <a:lnTo>
                    <a:pt x="2282" y="806"/>
                  </a:lnTo>
                  <a:lnTo>
                    <a:pt x="2331" y="717"/>
                  </a:lnTo>
                  <a:lnTo>
                    <a:pt x="2376" y="626"/>
                  </a:lnTo>
                  <a:lnTo>
                    <a:pt x="2420" y="533"/>
                  </a:lnTo>
                  <a:lnTo>
                    <a:pt x="2462" y="440"/>
                  </a:lnTo>
                  <a:lnTo>
                    <a:pt x="2502" y="344"/>
                  </a:lnTo>
                  <a:lnTo>
                    <a:pt x="2502" y="3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21" name="i$1îḍê">
              <a:extLst>
                <a:ext uri="{FF2B5EF4-FFF2-40B4-BE49-F238E27FC236}">
                  <a16:creationId xmlns:a16="http://schemas.microsoft.com/office/drawing/2014/main" id="{0E8C2A73-82FB-4690-A486-611246B6C009}"/>
                </a:ext>
              </a:extLst>
            </p:cNvPr>
            <p:cNvSpPr/>
            <p:nvPr/>
          </p:nvSpPr>
          <p:spPr bwMode="auto">
            <a:xfrm>
              <a:off x="6554018" y="3540463"/>
              <a:ext cx="81693" cy="83378"/>
            </a:xfrm>
            <a:custGeom>
              <a:avLst/>
              <a:gdLst>
                <a:gd name="T0" fmla="*/ 3402 w 3596"/>
                <a:gd name="T1" fmla="*/ 6 h 3668"/>
                <a:gd name="T2" fmla="*/ 3352 w 3596"/>
                <a:gd name="T3" fmla="*/ 0 h 3668"/>
                <a:gd name="T4" fmla="*/ 3303 w 3596"/>
                <a:gd name="T5" fmla="*/ 3 h 3668"/>
                <a:gd name="T6" fmla="*/ 3257 w 3596"/>
                <a:gd name="T7" fmla="*/ 15 h 3668"/>
                <a:gd name="T8" fmla="*/ 3213 w 3596"/>
                <a:gd name="T9" fmla="*/ 36 h 3668"/>
                <a:gd name="T10" fmla="*/ 3174 w 3596"/>
                <a:gd name="T11" fmla="*/ 65 h 3668"/>
                <a:gd name="T12" fmla="*/ 3142 w 3596"/>
                <a:gd name="T13" fmla="*/ 102 h 3668"/>
                <a:gd name="T14" fmla="*/ 3116 w 3596"/>
                <a:gd name="T15" fmla="*/ 146 h 3668"/>
                <a:gd name="T16" fmla="*/ 2938 w 3596"/>
                <a:gd name="T17" fmla="*/ 547 h 3668"/>
                <a:gd name="T18" fmla="*/ 2666 w 3596"/>
                <a:gd name="T19" fmla="*/ 1035 h 3668"/>
                <a:gd name="T20" fmla="*/ 2353 w 3596"/>
                <a:gd name="T21" fmla="*/ 1485 h 3668"/>
                <a:gd name="T22" fmla="*/ 2000 w 3596"/>
                <a:gd name="T23" fmla="*/ 1898 h 3668"/>
                <a:gd name="T24" fmla="*/ 1613 w 3596"/>
                <a:gd name="T25" fmla="*/ 2270 h 3668"/>
                <a:gd name="T26" fmla="*/ 1193 w 3596"/>
                <a:gd name="T27" fmla="*/ 2601 h 3668"/>
                <a:gd name="T28" fmla="*/ 746 w 3596"/>
                <a:gd name="T29" fmla="*/ 2889 h 3668"/>
                <a:gd name="T30" fmla="*/ 274 w 3596"/>
                <a:gd name="T31" fmla="*/ 3133 h 3668"/>
                <a:gd name="T32" fmla="*/ 119 w 3596"/>
                <a:gd name="T33" fmla="*/ 3204 h 3668"/>
                <a:gd name="T34" fmla="*/ 80 w 3596"/>
                <a:gd name="T35" fmla="*/ 3234 h 3668"/>
                <a:gd name="T36" fmla="*/ 48 w 3596"/>
                <a:gd name="T37" fmla="*/ 3271 h 3668"/>
                <a:gd name="T38" fmla="*/ 24 w 3596"/>
                <a:gd name="T39" fmla="*/ 3312 h 3668"/>
                <a:gd name="T40" fmla="*/ 7 w 3596"/>
                <a:gd name="T41" fmla="*/ 3359 h 3668"/>
                <a:gd name="T42" fmla="*/ 1 w 3596"/>
                <a:gd name="T43" fmla="*/ 3406 h 3668"/>
                <a:gd name="T44" fmla="*/ 3 w 3596"/>
                <a:gd name="T45" fmla="*/ 3455 h 3668"/>
                <a:gd name="T46" fmla="*/ 17 w 3596"/>
                <a:gd name="T47" fmla="*/ 3504 h 3668"/>
                <a:gd name="T48" fmla="*/ 39 w 3596"/>
                <a:gd name="T49" fmla="*/ 3551 h 3668"/>
                <a:gd name="T50" fmla="*/ 69 w 3596"/>
                <a:gd name="T51" fmla="*/ 3590 h 3668"/>
                <a:gd name="T52" fmla="*/ 106 w 3596"/>
                <a:gd name="T53" fmla="*/ 3622 h 3668"/>
                <a:gd name="T54" fmla="*/ 147 w 3596"/>
                <a:gd name="T55" fmla="*/ 3646 h 3668"/>
                <a:gd name="T56" fmla="*/ 194 w 3596"/>
                <a:gd name="T57" fmla="*/ 3661 h 3668"/>
                <a:gd name="T58" fmla="*/ 241 w 3596"/>
                <a:gd name="T59" fmla="*/ 3668 h 3668"/>
                <a:gd name="T60" fmla="*/ 290 w 3596"/>
                <a:gd name="T61" fmla="*/ 3666 h 3668"/>
                <a:gd name="T62" fmla="*/ 339 w 3596"/>
                <a:gd name="T63" fmla="*/ 3653 h 3668"/>
                <a:gd name="T64" fmla="*/ 499 w 3596"/>
                <a:gd name="T65" fmla="*/ 3578 h 3668"/>
                <a:gd name="T66" fmla="*/ 1011 w 3596"/>
                <a:gd name="T67" fmla="*/ 3312 h 3668"/>
                <a:gd name="T68" fmla="*/ 1497 w 3596"/>
                <a:gd name="T69" fmla="*/ 2998 h 3668"/>
                <a:gd name="T70" fmla="*/ 1952 w 3596"/>
                <a:gd name="T71" fmla="*/ 2638 h 3668"/>
                <a:gd name="T72" fmla="*/ 2373 w 3596"/>
                <a:gd name="T73" fmla="*/ 2233 h 3668"/>
                <a:gd name="T74" fmla="*/ 2756 w 3596"/>
                <a:gd name="T75" fmla="*/ 1785 h 3668"/>
                <a:gd name="T76" fmla="*/ 3096 w 3596"/>
                <a:gd name="T77" fmla="*/ 1295 h 3668"/>
                <a:gd name="T78" fmla="*/ 3390 w 3596"/>
                <a:gd name="T79" fmla="*/ 766 h 3668"/>
                <a:gd name="T80" fmla="*/ 3583 w 3596"/>
                <a:gd name="T81" fmla="*/ 333 h 3668"/>
                <a:gd name="T82" fmla="*/ 3594 w 3596"/>
                <a:gd name="T83" fmla="*/ 283 h 3668"/>
                <a:gd name="T84" fmla="*/ 3596 w 3596"/>
                <a:gd name="T85" fmla="*/ 234 h 3668"/>
                <a:gd name="T86" fmla="*/ 3587 w 3596"/>
                <a:gd name="T87" fmla="*/ 186 h 3668"/>
                <a:gd name="T88" fmla="*/ 3571 w 3596"/>
                <a:gd name="T89" fmla="*/ 142 h 3668"/>
                <a:gd name="T90" fmla="*/ 3545 w 3596"/>
                <a:gd name="T91" fmla="*/ 100 h 3668"/>
                <a:gd name="T92" fmla="*/ 3512 w 3596"/>
                <a:gd name="T93" fmla="*/ 64 h 3668"/>
                <a:gd name="T94" fmla="*/ 3472 w 3596"/>
                <a:gd name="T95" fmla="*/ 35 h 3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96" h="3668">
                  <a:moveTo>
                    <a:pt x="3438" y="18"/>
                  </a:moveTo>
                  <a:lnTo>
                    <a:pt x="3426" y="13"/>
                  </a:lnTo>
                  <a:lnTo>
                    <a:pt x="3414" y="9"/>
                  </a:lnTo>
                  <a:lnTo>
                    <a:pt x="3402" y="6"/>
                  </a:lnTo>
                  <a:lnTo>
                    <a:pt x="3388" y="4"/>
                  </a:lnTo>
                  <a:lnTo>
                    <a:pt x="3376" y="2"/>
                  </a:lnTo>
                  <a:lnTo>
                    <a:pt x="3364" y="0"/>
                  </a:lnTo>
                  <a:lnTo>
                    <a:pt x="3352" y="0"/>
                  </a:lnTo>
                  <a:lnTo>
                    <a:pt x="3339" y="0"/>
                  </a:lnTo>
                  <a:lnTo>
                    <a:pt x="3327" y="0"/>
                  </a:lnTo>
                  <a:lnTo>
                    <a:pt x="3315" y="1"/>
                  </a:lnTo>
                  <a:lnTo>
                    <a:pt x="3303" y="3"/>
                  </a:lnTo>
                  <a:lnTo>
                    <a:pt x="3291" y="5"/>
                  </a:lnTo>
                  <a:lnTo>
                    <a:pt x="3280" y="8"/>
                  </a:lnTo>
                  <a:lnTo>
                    <a:pt x="3268" y="11"/>
                  </a:lnTo>
                  <a:lnTo>
                    <a:pt x="3257" y="15"/>
                  </a:lnTo>
                  <a:lnTo>
                    <a:pt x="3246" y="20"/>
                  </a:lnTo>
                  <a:lnTo>
                    <a:pt x="3235" y="25"/>
                  </a:lnTo>
                  <a:lnTo>
                    <a:pt x="3223" y="30"/>
                  </a:lnTo>
                  <a:lnTo>
                    <a:pt x="3213" y="36"/>
                  </a:lnTo>
                  <a:lnTo>
                    <a:pt x="3203" y="43"/>
                  </a:lnTo>
                  <a:lnTo>
                    <a:pt x="3193" y="50"/>
                  </a:lnTo>
                  <a:lnTo>
                    <a:pt x="3183" y="57"/>
                  </a:lnTo>
                  <a:lnTo>
                    <a:pt x="3174" y="65"/>
                  </a:lnTo>
                  <a:lnTo>
                    <a:pt x="3165" y="74"/>
                  </a:lnTo>
                  <a:lnTo>
                    <a:pt x="3157" y="83"/>
                  </a:lnTo>
                  <a:lnTo>
                    <a:pt x="3149" y="92"/>
                  </a:lnTo>
                  <a:lnTo>
                    <a:pt x="3142" y="102"/>
                  </a:lnTo>
                  <a:lnTo>
                    <a:pt x="3135" y="112"/>
                  </a:lnTo>
                  <a:lnTo>
                    <a:pt x="3128" y="122"/>
                  </a:lnTo>
                  <a:lnTo>
                    <a:pt x="3122" y="133"/>
                  </a:lnTo>
                  <a:lnTo>
                    <a:pt x="3116" y="146"/>
                  </a:lnTo>
                  <a:lnTo>
                    <a:pt x="3111" y="158"/>
                  </a:lnTo>
                  <a:lnTo>
                    <a:pt x="3056" y="289"/>
                  </a:lnTo>
                  <a:lnTo>
                    <a:pt x="2998" y="419"/>
                  </a:lnTo>
                  <a:lnTo>
                    <a:pt x="2938" y="547"/>
                  </a:lnTo>
                  <a:lnTo>
                    <a:pt x="2874" y="672"/>
                  </a:lnTo>
                  <a:lnTo>
                    <a:pt x="2808" y="795"/>
                  </a:lnTo>
                  <a:lnTo>
                    <a:pt x="2739" y="916"/>
                  </a:lnTo>
                  <a:lnTo>
                    <a:pt x="2666" y="1035"/>
                  </a:lnTo>
                  <a:lnTo>
                    <a:pt x="2592" y="1150"/>
                  </a:lnTo>
                  <a:lnTo>
                    <a:pt x="2515" y="1264"/>
                  </a:lnTo>
                  <a:lnTo>
                    <a:pt x="2435" y="1376"/>
                  </a:lnTo>
                  <a:lnTo>
                    <a:pt x="2353" y="1485"/>
                  </a:lnTo>
                  <a:lnTo>
                    <a:pt x="2269" y="1592"/>
                  </a:lnTo>
                  <a:lnTo>
                    <a:pt x="2181" y="1697"/>
                  </a:lnTo>
                  <a:lnTo>
                    <a:pt x="2092" y="1798"/>
                  </a:lnTo>
                  <a:lnTo>
                    <a:pt x="2000" y="1898"/>
                  </a:lnTo>
                  <a:lnTo>
                    <a:pt x="1907" y="1994"/>
                  </a:lnTo>
                  <a:lnTo>
                    <a:pt x="1811" y="2089"/>
                  </a:lnTo>
                  <a:lnTo>
                    <a:pt x="1713" y="2181"/>
                  </a:lnTo>
                  <a:lnTo>
                    <a:pt x="1613" y="2270"/>
                  </a:lnTo>
                  <a:lnTo>
                    <a:pt x="1511" y="2357"/>
                  </a:lnTo>
                  <a:lnTo>
                    <a:pt x="1407" y="2441"/>
                  </a:lnTo>
                  <a:lnTo>
                    <a:pt x="1301" y="2523"/>
                  </a:lnTo>
                  <a:lnTo>
                    <a:pt x="1193" y="2601"/>
                  </a:lnTo>
                  <a:lnTo>
                    <a:pt x="1084" y="2678"/>
                  </a:lnTo>
                  <a:lnTo>
                    <a:pt x="973" y="2751"/>
                  </a:lnTo>
                  <a:lnTo>
                    <a:pt x="861" y="2821"/>
                  </a:lnTo>
                  <a:lnTo>
                    <a:pt x="746" y="2889"/>
                  </a:lnTo>
                  <a:lnTo>
                    <a:pt x="630" y="2954"/>
                  </a:lnTo>
                  <a:lnTo>
                    <a:pt x="512" y="3017"/>
                  </a:lnTo>
                  <a:lnTo>
                    <a:pt x="394" y="3076"/>
                  </a:lnTo>
                  <a:lnTo>
                    <a:pt x="274" y="3133"/>
                  </a:lnTo>
                  <a:lnTo>
                    <a:pt x="152" y="3187"/>
                  </a:lnTo>
                  <a:lnTo>
                    <a:pt x="141" y="3192"/>
                  </a:lnTo>
                  <a:lnTo>
                    <a:pt x="129" y="3198"/>
                  </a:lnTo>
                  <a:lnTo>
                    <a:pt x="119" y="3204"/>
                  </a:lnTo>
                  <a:lnTo>
                    <a:pt x="108" y="3211"/>
                  </a:lnTo>
                  <a:lnTo>
                    <a:pt x="98" y="3219"/>
                  </a:lnTo>
                  <a:lnTo>
                    <a:pt x="89" y="3226"/>
                  </a:lnTo>
                  <a:lnTo>
                    <a:pt x="80" y="3234"/>
                  </a:lnTo>
                  <a:lnTo>
                    <a:pt x="71" y="3243"/>
                  </a:lnTo>
                  <a:lnTo>
                    <a:pt x="63" y="3252"/>
                  </a:lnTo>
                  <a:lnTo>
                    <a:pt x="55" y="3261"/>
                  </a:lnTo>
                  <a:lnTo>
                    <a:pt x="48" y="3271"/>
                  </a:lnTo>
                  <a:lnTo>
                    <a:pt x="41" y="3281"/>
                  </a:lnTo>
                  <a:lnTo>
                    <a:pt x="35" y="3291"/>
                  </a:lnTo>
                  <a:lnTo>
                    <a:pt x="29" y="3302"/>
                  </a:lnTo>
                  <a:lnTo>
                    <a:pt x="24" y="3312"/>
                  </a:lnTo>
                  <a:lnTo>
                    <a:pt x="19" y="3324"/>
                  </a:lnTo>
                  <a:lnTo>
                    <a:pt x="15" y="3335"/>
                  </a:lnTo>
                  <a:lnTo>
                    <a:pt x="11" y="3346"/>
                  </a:lnTo>
                  <a:lnTo>
                    <a:pt x="7" y="3359"/>
                  </a:lnTo>
                  <a:lnTo>
                    <a:pt x="5" y="3370"/>
                  </a:lnTo>
                  <a:lnTo>
                    <a:pt x="3" y="3382"/>
                  </a:lnTo>
                  <a:lnTo>
                    <a:pt x="1" y="3394"/>
                  </a:lnTo>
                  <a:lnTo>
                    <a:pt x="1" y="3406"/>
                  </a:lnTo>
                  <a:lnTo>
                    <a:pt x="0" y="3419"/>
                  </a:lnTo>
                  <a:lnTo>
                    <a:pt x="1" y="3431"/>
                  </a:lnTo>
                  <a:lnTo>
                    <a:pt x="2" y="3443"/>
                  </a:lnTo>
                  <a:lnTo>
                    <a:pt x="3" y="3455"/>
                  </a:lnTo>
                  <a:lnTo>
                    <a:pt x="6" y="3467"/>
                  </a:lnTo>
                  <a:lnTo>
                    <a:pt x="8" y="3480"/>
                  </a:lnTo>
                  <a:lnTo>
                    <a:pt x="13" y="3492"/>
                  </a:lnTo>
                  <a:lnTo>
                    <a:pt x="17" y="3504"/>
                  </a:lnTo>
                  <a:lnTo>
                    <a:pt x="22" y="3516"/>
                  </a:lnTo>
                  <a:lnTo>
                    <a:pt x="27" y="3529"/>
                  </a:lnTo>
                  <a:lnTo>
                    <a:pt x="33" y="3540"/>
                  </a:lnTo>
                  <a:lnTo>
                    <a:pt x="39" y="3551"/>
                  </a:lnTo>
                  <a:lnTo>
                    <a:pt x="46" y="3561"/>
                  </a:lnTo>
                  <a:lnTo>
                    <a:pt x="54" y="3571"/>
                  </a:lnTo>
                  <a:lnTo>
                    <a:pt x="61" y="3581"/>
                  </a:lnTo>
                  <a:lnTo>
                    <a:pt x="69" y="3590"/>
                  </a:lnTo>
                  <a:lnTo>
                    <a:pt x="78" y="3599"/>
                  </a:lnTo>
                  <a:lnTo>
                    <a:pt x="87" y="3607"/>
                  </a:lnTo>
                  <a:lnTo>
                    <a:pt x="96" y="3615"/>
                  </a:lnTo>
                  <a:lnTo>
                    <a:pt x="106" y="3622"/>
                  </a:lnTo>
                  <a:lnTo>
                    <a:pt x="116" y="3629"/>
                  </a:lnTo>
                  <a:lnTo>
                    <a:pt x="126" y="3635"/>
                  </a:lnTo>
                  <a:lnTo>
                    <a:pt x="137" y="3641"/>
                  </a:lnTo>
                  <a:lnTo>
                    <a:pt x="147" y="3646"/>
                  </a:lnTo>
                  <a:lnTo>
                    <a:pt x="158" y="3651"/>
                  </a:lnTo>
                  <a:lnTo>
                    <a:pt x="170" y="3655"/>
                  </a:lnTo>
                  <a:lnTo>
                    <a:pt x="182" y="3658"/>
                  </a:lnTo>
                  <a:lnTo>
                    <a:pt x="194" y="3661"/>
                  </a:lnTo>
                  <a:lnTo>
                    <a:pt x="205" y="3664"/>
                  </a:lnTo>
                  <a:lnTo>
                    <a:pt x="217" y="3666"/>
                  </a:lnTo>
                  <a:lnTo>
                    <a:pt x="229" y="3667"/>
                  </a:lnTo>
                  <a:lnTo>
                    <a:pt x="241" y="3668"/>
                  </a:lnTo>
                  <a:lnTo>
                    <a:pt x="254" y="3668"/>
                  </a:lnTo>
                  <a:lnTo>
                    <a:pt x="266" y="3668"/>
                  </a:lnTo>
                  <a:lnTo>
                    <a:pt x="278" y="3667"/>
                  </a:lnTo>
                  <a:lnTo>
                    <a:pt x="290" y="3666"/>
                  </a:lnTo>
                  <a:lnTo>
                    <a:pt x="302" y="3663"/>
                  </a:lnTo>
                  <a:lnTo>
                    <a:pt x="315" y="3661"/>
                  </a:lnTo>
                  <a:lnTo>
                    <a:pt x="327" y="3657"/>
                  </a:lnTo>
                  <a:lnTo>
                    <a:pt x="339" y="3653"/>
                  </a:lnTo>
                  <a:lnTo>
                    <a:pt x="352" y="3648"/>
                  </a:lnTo>
                  <a:lnTo>
                    <a:pt x="360" y="3642"/>
                  </a:lnTo>
                  <a:lnTo>
                    <a:pt x="368" y="3637"/>
                  </a:lnTo>
                  <a:lnTo>
                    <a:pt x="499" y="3578"/>
                  </a:lnTo>
                  <a:lnTo>
                    <a:pt x="629" y="3516"/>
                  </a:lnTo>
                  <a:lnTo>
                    <a:pt x="758" y="3451"/>
                  </a:lnTo>
                  <a:lnTo>
                    <a:pt x="886" y="3384"/>
                  </a:lnTo>
                  <a:lnTo>
                    <a:pt x="1011" y="3312"/>
                  </a:lnTo>
                  <a:lnTo>
                    <a:pt x="1135" y="3238"/>
                  </a:lnTo>
                  <a:lnTo>
                    <a:pt x="1258" y="3161"/>
                  </a:lnTo>
                  <a:lnTo>
                    <a:pt x="1379" y="3081"/>
                  </a:lnTo>
                  <a:lnTo>
                    <a:pt x="1497" y="2998"/>
                  </a:lnTo>
                  <a:lnTo>
                    <a:pt x="1614" y="2913"/>
                  </a:lnTo>
                  <a:lnTo>
                    <a:pt x="1729" y="2824"/>
                  </a:lnTo>
                  <a:lnTo>
                    <a:pt x="1841" y="2733"/>
                  </a:lnTo>
                  <a:lnTo>
                    <a:pt x="1952" y="2638"/>
                  </a:lnTo>
                  <a:lnTo>
                    <a:pt x="2061" y="2541"/>
                  </a:lnTo>
                  <a:lnTo>
                    <a:pt x="2167" y="2441"/>
                  </a:lnTo>
                  <a:lnTo>
                    <a:pt x="2271" y="2339"/>
                  </a:lnTo>
                  <a:lnTo>
                    <a:pt x="2373" y="2233"/>
                  </a:lnTo>
                  <a:lnTo>
                    <a:pt x="2472" y="2125"/>
                  </a:lnTo>
                  <a:lnTo>
                    <a:pt x="2570" y="2015"/>
                  </a:lnTo>
                  <a:lnTo>
                    <a:pt x="2664" y="1901"/>
                  </a:lnTo>
                  <a:lnTo>
                    <a:pt x="2756" y="1785"/>
                  </a:lnTo>
                  <a:lnTo>
                    <a:pt x="2845" y="1667"/>
                  </a:lnTo>
                  <a:lnTo>
                    <a:pt x="2932" y="1546"/>
                  </a:lnTo>
                  <a:lnTo>
                    <a:pt x="3015" y="1422"/>
                  </a:lnTo>
                  <a:lnTo>
                    <a:pt x="3096" y="1295"/>
                  </a:lnTo>
                  <a:lnTo>
                    <a:pt x="3174" y="1167"/>
                  </a:lnTo>
                  <a:lnTo>
                    <a:pt x="3249" y="1036"/>
                  </a:lnTo>
                  <a:lnTo>
                    <a:pt x="3321" y="902"/>
                  </a:lnTo>
                  <a:lnTo>
                    <a:pt x="3390" y="766"/>
                  </a:lnTo>
                  <a:lnTo>
                    <a:pt x="3456" y="628"/>
                  </a:lnTo>
                  <a:lnTo>
                    <a:pt x="3518" y="488"/>
                  </a:lnTo>
                  <a:lnTo>
                    <a:pt x="3578" y="345"/>
                  </a:lnTo>
                  <a:lnTo>
                    <a:pt x="3583" y="333"/>
                  </a:lnTo>
                  <a:lnTo>
                    <a:pt x="3587" y="320"/>
                  </a:lnTo>
                  <a:lnTo>
                    <a:pt x="3590" y="308"/>
                  </a:lnTo>
                  <a:lnTo>
                    <a:pt x="3592" y="295"/>
                  </a:lnTo>
                  <a:lnTo>
                    <a:pt x="3594" y="283"/>
                  </a:lnTo>
                  <a:lnTo>
                    <a:pt x="3595" y="271"/>
                  </a:lnTo>
                  <a:lnTo>
                    <a:pt x="3596" y="258"/>
                  </a:lnTo>
                  <a:lnTo>
                    <a:pt x="3596" y="246"/>
                  </a:lnTo>
                  <a:lnTo>
                    <a:pt x="3596" y="234"/>
                  </a:lnTo>
                  <a:lnTo>
                    <a:pt x="3594" y="222"/>
                  </a:lnTo>
                  <a:lnTo>
                    <a:pt x="3593" y="210"/>
                  </a:lnTo>
                  <a:lnTo>
                    <a:pt x="3590" y="198"/>
                  </a:lnTo>
                  <a:lnTo>
                    <a:pt x="3587" y="186"/>
                  </a:lnTo>
                  <a:lnTo>
                    <a:pt x="3584" y="175"/>
                  </a:lnTo>
                  <a:lnTo>
                    <a:pt x="3580" y="164"/>
                  </a:lnTo>
                  <a:lnTo>
                    <a:pt x="3576" y="153"/>
                  </a:lnTo>
                  <a:lnTo>
                    <a:pt x="3571" y="142"/>
                  </a:lnTo>
                  <a:lnTo>
                    <a:pt x="3564" y="130"/>
                  </a:lnTo>
                  <a:lnTo>
                    <a:pt x="3558" y="119"/>
                  </a:lnTo>
                  <a:lnTo>
                    <a:pt x="3552" y="109"/>
                  </a:lnTo>
                  <a:lnTo>
                    <a:pt x="3545" y="100"/>
                  </a:lnTo>
                  <a:lnTo>
                    <a:pt x="3537" y="90"/>
                  </a:lnTo>
                  <a:lnTo>
                    <a:pt x="3529" y="81"/>
                  </a:lnTo>
                  <a:lnTo>
                    <a:pt x="3521" y="72"/>
                  </a:lnTo>
                  <a:lnTo>
                    <a:pt x="3512" y="64"/>
                  </a:lnTo>
                  <a:lnTo>
                    <a:pt x="3503" y="56"/>
                  </a:lnTo>
                  <a:lnTo>
                    <a:pt x="3493" y="48"/>
                  </a:lnTo>
                  <a:lnTo>
                    <a:pt x="3483" y="41"/>
                  </a:lnTo>
                  <a:lnTo>
                    <a:pt x="3472" y="35"/>
                  </a:lnTo>
                  <a:lnTo>
                    <a:pt x="3461" y="29"/>
                  </a:lnTo>
                  <a:lnTo>
                    <a:pt x="3450" y="23"/>
                  </a:lnTo>
                  <a:lnTo>
                    <a:pt x="3438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22" name="íşḷïḍe">
              <a:extLst>
                <a:ext uri="{FF2B5EF4-FFF2-40B4-BE49-F238E27FC236}">
                  <a16:creationId xmlns:a16="http://schemas.microsoft.com/office/drawing/2014/main" id="{311C37C0-5D82-4AF4-97E1-8E8FC9B410F6}"/>
                </a:ext>
              </a:extLst>
            </p:cNvPr>
            <p:cNvSpPr/>
            <p:nvPr/>
          </p:nvSpPr>
          <p:spPr bwMode="auto">
            <a:xfrm>
              <a:off x="6545596" y="3532041"/>
              <a:ext cx="69061" cy="70745"/>
            </a:xfrm>
            <a:custGeom>
              <a:avLst/>
              <a:gdLst>
                <a:gd name="T0" fmla="*/ 2862 w 3057"/>
                <a:gd name="T1" fmla="*/ 8 h 3119"/>
                <a:gd name="T2" fmla="*/ 2813 w 3057"/>
                <a:gd name="T3" fmla="*/ 0 h 3119"/>
                <a:gd name="T4" fmla="*/ 2764 w 3057"/>
                <a:gd name="T5" fmla="*/ 4 h 3119"/>
                <a:gd name="T6" fmla="*/ 2718 w 3057"/>
                <a:gd name="T7" fmla="*/ 17 h 3119"/>
                <a:gd name="T8" fmla="*/ 2674 w 3057"/>
                <a:gd name="T9" fmla="*/ 38 h 3119"/>
                <a:gd name="T10" fmla="*/ 2636 w 3057"/>
                <a:gd name="T11" fmla="*/ 67 h 3119"/>
                <a:gd name="T12" fmla="*/ 2602 w 3057"/>
                <a:gd name="T13" fmla="*/ 103 h 3119"/>
                <a:gd name="T14" fmla="*/ 2577 w 3057"/>
                <a:gd name="T15" fmla="*/ 146 h 3119"/>
                <a:gd name="T16" fmla="*/ 2430 w 3057"/>
                <a:gd name="T17" fmla="*/ 477 h 3119"/>
                <a:gd name="T18" fmla="*/ 2209 w 3057"/>
                <a:gd name="T19" fmla="*/ 877 h 3119"/>
                <a:gd name="T20" fmla="*/ 1953 w 3057"/>
                <a:gd name="T21" fmla="*/ 1245 h 3119"/>
                <a:gd name="T22" fmla="*/ 1664 w 3057"/>
                <a:gd name="T23" fmla="*/ 1583 h 3119"/>
                <a:gd name="T24" fmla="*/ 1347 w 3057"/>
                <a:gd name="T25" fmla="*/ 1888 h 3119"/>
                <a:gd name="T26" fmla="*/ 1004 w 3057"/>
                <a:gd name="T27" fmla="*/ 2158 h 3119"/>
                <a:gd name="T28" fmla="*/ 638 w 3057"/>
                <a:gd name="T29" fmla="*/ 2394 h 3119"/>
                <a:gd name="T30" fmla="*/ 252 w 3057"/>
                <a:gd name="T31" fmla="*/ 2593 h 3119"/>
                <a:gd name="T32" fmla="*/ 129 w 3057"/>
                <a:gd name="T33" fmla="*/ 2648 h 3119"/>
                <a:gd name="T34" fmla="*/ 88 w 3057"/>
                <a:gd name="T35" fmla="*/ 2676 h 3119"/>
                <a:gd name="T36" fmla="*/ 54 w 3057"/>
                <a:gd name="T37" fmla="*/ 2711 h 3119"/>
                <a:gd name="T38" fmla="*/ 28 w 3057"/>
                <a:gd name="T39" fmla="*/ 2753 h 3119"/>
                <a:gd name="T40" fmla="*/ 10 w 3057"/>
                <a:gd name="T41" fmla="*/ 2797 h 3119"/>
                <a:gd name="T42" fmla="*/ 1 w 3057"/>
                <a:gd name="T43" fmla="*/ 2844 h 3119"/>
                <a:gd name="T44" fmla="*/ 1 w 3057"/>
                <a:gd name="T45" fmla="*/ 2894 h 3119"/>
                <a:gd name="T46" fmla="*/ 11 w 3057"/>
                <a:gd name="T47" fmla="*/ 2943 h 3119"/>
                <a:gd name="T48" fmla="*/ 31 w 3057"/>
                <a:gd name="T49" fmla="*/ 2990 h 3119"/>
                <a:gd name="T50" fmla="*/ 60 w 3057"/>
                <a:gd name="T51" fmla="*/ 3031 h 3119"/>
                <a:gd name="T52" fmla="*/ 96 w 3057"/>
                <a:gd name="T53" fmla="*/ 3066 h 3119"/>
                <a:gd name="T54" fmla="*/ 136 w 3057"/>
                <a:gd name="T55" fmla="*/ 3092 h 3119"/>
                <a:gd name="T56" fmla="*/ 181 w 3057"/>
                <a:gd name="T57" fmla="*/ 3109 h 3119"/>
                <a:gd name="T58" fmla="*/ 228 w 3057"/>
                <a:gd name="T59" fmla="*/ 3118 h 3119"/>
                <a:gd name="T60" fmla="*/ 278 w 3057"/>
                <a:gd name="T61" fmla="*/ 3118 h 3119"/>
                <a:gd name="T62" fmla="*/ 326 w 3057"/>
                <a:gd name="T63" fmla="*/ 3108 h 3119"/>
                <a:gd name="T64" fmla="*/ 363 w 3057"/>
                <a:gd name="T65" fmla="*/ 3089 h 3119"/>
                <a:gd name="T66" fmla="*/ 796 w 3057"/>
                <a:gd name="T67" fmla="*/ 2877 h 3119"/>
                <a:gd name="T68" fmla="*/ 1206 w 3057"/>
                <a:gd name="T69" fmla="*/ 2626 h 3119"/>
                <a:gd name="T70" fmla="*/ 1593 w 3057"/>
                <a:gd name="T71" fmla="*/ 2336 h 3119"/>
                <a:gd name="T72" fmla="*/ 1951 w 3057"/>
                <a:gd name="T73" fmla="*/ 2007 h 3119"/>
                <a:gd name="T74" fmla="*/ 2278 w 3057"/>
                <a:gd name="T75" fmla="*/ 1643 h 3119"/>
                <a:gd name="T76" fmla="*/ 2570 w 3057"/>
                <a:gd name="T77" fmla="*/ 1244 h 3119"/>
                <a:gd name="T78" fmla="*/ 2825 w 3057"/>
                <a:gd name="T79" fmla="*/ 810 h 3119"/>
                <a:gd name="T80" fmla="*/ 3039 w 3057"/>
                <a:gd name="T81" fmla="*/ 346 h 3119"/>
                <a:gd name="T82" fmla="*/ 3053 w 3057"/>
                <a:gd name="T83" fmla="*/ 297 h 3119"/>
                <a:gd name="T84" fmla="*/ 3057 w 3057"/>
                <a:gd name="T85" fmla="*/ 248 h 3119"/>
                <a:gd name="T86" fmla="*/ 3051 w 3057"/>
                <a:gd name="T87" fmla="*/ 200 h 3119"/>
                <a:gd name="T88" fmla="*/ 3036 w 3057"/>
                <a:gd name="T89" fmla="*/ 153 h 3119"/>
                <a:gd name="T90" fmla="*/ 3013 w 3057"/>
                <a:gd name="T91" fmla="*/ 111 h 3119"/>
                <a:gd name="T92" fmla="*/ 2983 w 3057"/>
                <a:gd name="T93" fmla="*/ 74 h 3119"/>
                <a:gd name="T94" fmla="*/ 2943 w 3057"/>
                <a:gd name="T95" fmla="*/ 43 h 3119"/>
                <a:gd name="T96" fmla="*/ 2899 w 3057"/>
                <a:gd name="T97" fmla="*/ 19 h 3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57" h="3119">
                  <a:moveTo>
                    <a:pt x="2899" y="19"/>
                  </a:moveTo>
                  <a:lnTo>
                    <a:pt x="2887" y="15"/>
                  </a:lnTo>
                  <a:lnTo>
                    <a:pt x="2874" y="11"/>
                  </a:lnTo>
                  <a:lnTo>
                    <a:pt x="2862" y="8"/>
                  </a:lnTo>
                  <a:lnTo>
                    <a:pt x="2850" y="5"/>
                  </a:lnTo>
                  <a:lnTo>
                    <a:pt x="2838" y="3"/>
                  </a:lnTo>
                  <a:lnTo>
                    <a:pt x="2825" y="2"/>
                  </a:lnTo>
                  <a:lnTo>
                    <a:pt x="2813" y="0"/>
                  </a:lnTo>
                  <a:lnTo>
                    <a:pt x="2801" y="0"/>
                  </a:lnTo>
                  <a:lnTo>
                    <a:pt x="2789" y="2"/>
                  </a:lnTo>
                  <a:lnTo>
                    <a:pt x="2777" y="3"/>
                  </a:lnTo>
                  <a:lnTo>
                    <a:pt x="2764" y="4"/>
                  </a:lnTo>
                  <a:lnTo>
                    <a:pt x="2752" y="7"/>
                  </a:lnTo>
                  <a:lnTo>
                    <a:pt x="2740" y="9"/>
                  </a:lnTo>
                  <a:lnTo>
                    <a:pt x="2729" y="13"/>
                  </a:lnTo>
                  <a:lnTo>
                    <a:pt x="2718" y="17"/>
                  </a:lnTo>
                  <a:lnTo>
                    <a:pt x="2706" y="21"/>
                  </a:lnTo>
                  <a:lnTo>
                    <a:pt x="2695" y="26"/>
                  </a:lnTo>
                  <a:lnTo>
                    <a:pt x="2685" y="32"/>
                  </a:lnTo>
                  <a:lnTo>
                    <a:pt x="2674" y="38"/>
                  </a:lnTo>
                  <a:lnTo>
                    <a:pt x="2664" y="44"/>
                  </a:lnTo>
                  <a:lnTo>
                    <a:pt x="2655" y="51"/>
                  </a:lnTo>
                  <a:lnTo>
                    <a:pt x="2645" y="59"/>
                  </a:lnTo>
                  <a:lnTo>
                    <a:pt x="2636" y="67"/>
                  </a:lnTo>
                  <a:lnTo>
                    <a:pt x="2627" y="75"/>
                  </a:lnTo>
                  <a:lnTo>
                    <a:pt x="2619" y="84"/>
                  </a:lnTo>
                  <a:lnTo>
                    <a:pt x="2611" y="93"/>
                  </a:lnTo>
                  <a:lnTo>
                    <a:pt x="2602" y="103"/>
                  </a:lnTo>
                  <a:lnTo>
                    <a:pt x="2595" y="113"/>
                  </a:lnTo>
                  <a:lnTo>
                    <a:pt x="2589" y="124"/>
                  </a:lnTo>
                  <a:lnTo>
                    <a:pt x="2582" y="135"/>
                  </a:lnTo>
                  <a:lnTo>
                    <a:pt x="2577" y="146"/>
                  </a:lnTo>
                  <a:lnTo>
                    <a:pt x="2572" y="158"/>
                  </a:lnTo>
                  <a:lnTo>
                    <a:pt x="2527" y="266"/>
                  </a:lnTo>
                  <a:lnTo>
                    <a:pt x="2480" y="373"/>
                  </a:lnTo>
                  <a:lnTo>
                    <a:pt x="2430" y="477"/>
                  </a:lnTo>
                  <a:lnTo>
                    <a:pt x="2378" y="580"/>
                  </a:lnTo>
                  <a:lnTo>
                    <a:pt x="2324" y="681"/>
                  </a:lnTo>
                  <a:lnTo>
                    <a:pt x="2267" y="779"/>
                  </a:lnTo>
                  <a:lnTo>
                    <a:pt x="2209" y="877"/>
                  </a:lnTo>
                  <a:lnTo>
                    <a:pt x="2148" y="971"/>
                  </a:lnTo>
                  <a:lnTo>
                    <a:pt x="2084" y="1065"/>
                  </a:lnTo>
                  <a:lnTo>
                    <a:pt x="2020" y="1156"/>
                  </a:lnTo>
                  <a:lnTo>
                    <a:pt x="1953" y="1245"/>
                  </a:lnTo>
                  <a:lnTo>
                    <a:pt x="1883" y="1332"/>
                  </a:lnTo>
                  <a:lnTo>
                    <a:pt x="1812" y="1418"/>
                  </a:lnTo>
                  <a:lnTo>
                    <a:pt x="1739" y="1501"/>
                  </a:lnTo>
                  <a:lnTo>
                    <a:pt x="1664" y="1583"/>
                  </a:lnTo>
                  <a:lnTo>
                    <a:pt x="1587" y="1662"/>
                  </a:lnTo>
                  <a:lnTo>
                    <a:pt x="1509" y="1739"/>
                  </a:lnTo>
                  <a:lnTo>
                    <a:pt x="1429" y="1814"/>
                  </a:lnTo>
                  <a:lnTo>
                    <a:pt x="1347" y="1888"/>
                  </a:lnTo>
                  <a:lnTo>
                    <a:pt x="1264" y="1958"/>
                  </a:lnTo>
                  <a:lnTo>
                    <a:pt x="1178" y="2027"/>
                  </a:lnTo>
                  <a:lnTo>
                    <a:pt x="1092" y="2094"/>
                  </a:lnTo>
                  <a:lnTo>
                    <a:pt x="1004" y="2158"/>
                  </a:lnTo>
                  <a:lnTo>
                    <a:pt x="915" y="2221"/>
                  </a:lnTo>
                  <a:lnTo>
                    <a:pt x="823" y="2280"/>
                  </a:lnTo>
                  <a:lnTo>
                    <a:pt x="731" y="2338"/>
                  </a:lnTo>
                  <a:lnTo>
                    <a:pt x="638" y="2394"/>
                  </a:lnTo>
                  <a:lnTo>
                    <a:pt x="542" y="2447"/>
                  </a:lnTo>
                  <a:lnTo>
                    <a:pt x="447" y="2498"/>
                  </a:lnTo>
                  <a:lnTo>
                    <a:pt x="349" y="2547"/>
                  </a:lnTo>
                  <a:lnTo>
                    <a:pt x="252" y="2593"/>
                  </a:lnTo>
                  <a:lnTo>
                    <a:pt x="152" y="2636"/>
                  </a:lnTo>
                  <a:lnTo>
                    <a:pt x="152" y="2636"/>
                  </a:lnTo>
                  <a:lnTo>
                    <a:pt x="141" y="2642"/>
                  </a:lnTo>
                  <a:lnTo>
                    <a:pt x="129" y="2648"/>
                  </a:lnTo>
                  <a:lnTo>
                    <a:pt x="119" y="2654"/>
                  </a:lnTo>
                  <a:lnTo>
                    <a:pt x="108" y="2661"/>
                  </a:lnTo>
                  <a:lnTo>
                    <a:pt x="98" y="2668"/>
                  </a:lnTo>
                  <a:lnTo>
                    <a:pt x="88" y="2676"/>
                  </a:lnTo>
                  <a:lnTo>
                    <a:pt x="79" y="2684"/>
                  </a:lnTo>
                  <a:lnTo>
                    <a:pt x="71" y="2693"/>
                  </a:lnTo>
                  <a:lnTo>
                    <a:pt x="61" y="2702"/>
                  </a:lnTo>
                  <a:lnTo>
                    <a:pt x="54" y="2711"/>
                  </a:lnTo>
                  <a:lnTo>
                    <a:pt x="46" y="2722"/>
                  </a:lnTo>
                  <a:lnTo>
                    <a:pt x="40" y="2732"/>
                  </a:lnTo>
                  <a:lnTo>
                    <a:pt x="33" y="2742"/>
                  </a:lnTo>
                  <a:lnTo>
                    <a:pt x="28" y="2753"/>
                  </a:lnTo>
                  <a:lnTo>
                    <a:pt x="22" y="2763"/>
                  </a:lnTo>
                  <a:lnTo>
                    <a:pt x="18" y="2775"/>
                  </a:lnTo>
                  <a:lnTo>
                    <a:pt x="13" y="2786"/>
                  </a:lnTo>
                  <a:lnTo>
                    <a:pt x="10" y="2797"/>
                  </a:lnTo>
                  <a:lnTo>
                    <a:pt x="7" y="2809"/>
                  </a:lnTo>
                  <a:lnTo>
                    <a:pt x="4" y="2821"/>
                  </a:lnTo>
                  <a:lnTo>
                    <a:pt x="2" y="2832"/>
                  </a:lnTo>
                  <a:lnTo>
                    <a:pt x="1" y="2844"/>
                  </a:lnTo>
                  <a:lnTo>
                    <a:pt x="0" y="2857"/>
                  </a:lnTo>
                  <a:lnTo>
                    <a:pt x="0" y="2869"/>
                  </a:lnTo>
                  <a:lnTo>
                    <a:pt x="0" y="2882"/>
                  </a:lnTo>
                  <a:lnTo>
                    <a:pt x="1" y="2894"/>
                  </a:lnTo>
                  <a:lnTo>
                    <a:pt x="3" y="2906"/>
                  </a:lnTo>
                  <a:lnTo>
                    <a:pt x="5" y="2919"/>
                  </a:lnTo>
                  <a:lnTo>
                    <a:pt x="8" y="2931"/>
                  </a:lnTo>
                  <a:lnTo>
                    <a:pt x="11" y="2943"/>
                  </a:lnTo>
                  <a:lnTo>
                    <a:pt x="15" y="2955"/>
                  </a:lnTo>
                  <a:lnTo>
                    <a:pt x="20" y="2967"/>
                  </a:lnTo>
                  <a:lnTo>
                    <a:pt x="25" y="2979"/>
                  </a:lnTo>
                  <a:lnTo>
                    <a:pt x="31" y="2990"/>
                  </a:lnTo>
                  <a:lnTo>
                    <a:pt x="38" y="3001"/>
                  </a:lnTo>
                  <a:lnTo>
                    <a:pt x="45" y="3011"/>
                  </a:lnTo>
                  <a:lnTo>
                    <a:pt x="52" y="3021"/>
                  </a:lnTo>
                  <a:lnTo>
                    <a:pt x="60" y="3031"/>
                  </a:lnTo>
                  <a:lnTo>
                    <a:pt x="69" y="3040"/>
                  </a:lnTo>
                  <a:lnTo>
                    <a:pt x="77" y="3049"/>
                  </a:lnTo>
                  <a:lnTo>
                    <a:pt x="86" y="3058"/>
                  </a:lnTo>
                  <a:lnTo>
                    <a:pt x="96" y="3066"/>
                  </a:lnTo>
                  <a:lnTo>
                    <a:pt x="105" y="3073"/>
                  </a:lnTo>
                  <a:lnTo>
                    <a:pt x="115" y="3080"/>
                  </a:lnTo>
                  <a:lnTo>
                    <a:pt x="126" y="3086"/>
                  </a:lnTo>
                  <a:lnTo>
                    <a:pt x="136" y="3092"/>
                  </a:lnTo>
                  <a:lnTo>
                    <a:pt x="147" y="3097"/>
                  </a:lnTo>
                  <a:lnTo>
                    <a:pt x="158" y="3101"/>
                  </a:lnTo>
                  <a:lnTo>
                    <a:pt x="169" y="3106"/>
                  </a:lnTo>
                  <a:lnTo>
                    <a:pt x="181" y="3109"/>
                  </a:lnTo>
                  <a:lnTo>
                    <a:pt x="192" y="3112"/>
                  </a:lnTo>
                  <a:lnTo>
                    <a:pt x="204" y="3115"/>
                  </a:lnTo>
                  <a:lnTo>
                    <a:pt x="216" y="3117"/>
                  </a:lnTo>
                  <a:lnTo>
                    <a:pt x="228" y="3118"/>
                  </a:lnTo>
                  <a:lnTo>
                    <a:pt x="241" y="3119"/>
                  </a:lnTo>
                  <a:lnTo>
                    <a:pt x="253" y="3119"/>
                  </a:lnTo>
                  <a:lnTo>
                    <a:pt x="265" y="3119"/>
                  </a:lnTo>
                  <a:lnTo>
                    <a:pt x="278" y="3118"/>
                  </a:lnTo>
                  <a:lnTo>
                    <a:pt x="290" y="3117"/>
                  </a:lnTo>
                  <a:lnTo>
                    <a:pt x="302" y="3114"/>
                  </a:lnTo>
                  <a:lnTo>
                    <a:pt x="314" y="3112"/>
                  </a:lnTo>
                  <a:lnTo>
                    <a:pt x="326" y="3108"/>
                  </a:lnTo>
                  <a:lnTo>
                    <a:pt x="338" y="3104"/>
                  </a:lnTo>
                  <a:lnTo>
                    <a:pt x="350" y="3099"/>
                  </a:lnTo>
                  <a:lnTo>
                    <a:pt x="357" y="3094"/>
                  </a:lnTo>
                  <a:lnTo>
                    <a:pt x="363" y="3089"/>
                  </a:lnTo>
                  <a:lnTo>
                    <a:pt x="474" y="3040"/>
                  </a:lnTo>
                  <a:lnTo>
                    <a:pt x="582" y="2988"/>
                  </a:lnTo>
                  <a:lnTo>
                    <a:pt x="689" y="2935"/>
                  </a:lnTo>
                  <a:lnTo>
                    <a:pt x="796" y="2877"/>
                  </a:lnTo>
                  <a:lnTo>
                    <a:pt x="900" y="2819"/>
                  </a:lnTo>
                  <a:lnTo>
                    <a:pt x="1004" y="2757"/>
                  </a:lnTo>
                  <a:lnTo>
                    <a:pt x="1106" y="2693"/>
                  </a:lnTo>
                  <a:lnTo>
                    <a:pt x="1206" y="2626"/>
                  </a:lnTo>
                  <a:lnTo>
                    <a:pt x="1305" y="2558"/>
                  </a:lnTo>
                  <a:lnTo>
                    <a:pt x="1402" y="2486"/>
                  </a:lnTo>
                  <a:lnTo>
                    <a:pt x="1498" y="2412"/>
                  </a:lnTo>
                  <a:lnTo>
                    <a:pt x="1593" y="2336"/>
                  </a:lnTo>
                  <a:lnTo>
                    <a:pt x="1684" y="2257"/>
                  </a:lnTo>
                  <a:lnTo>
                    <a:pt x="1775" y="2176"/>
                  </a:lnTo>
                  <a:lnTo>
                    <a:pt x="1863" y="2093"/>
                  </a:lnTo>
                  <a:lnTo>
                    <a:pt x="1951" y="2007"/>
                  </a:lnTo>
                  <a:lnTo>
                    <a:pt x="2035" y="1920"/>
                  </a:lnTo>
                  <a:lnTo>
                    <a:pt x="2118" y="1829"/>
                  </a:lnTo>
                  <a:lnTo>
                    <a:pt x="2199" y="1738"/>
                  </a:lnTo>
                  <a:lnTo>
                    <a:pt x="2278" y="1643"/>
                  </a:lnTo>
                  <a:lnTo>
                    <a:pt x="2354" y="1547"/>
                  </a:lnTo>
                  <a:lnTo>
                    <a:pt x="2428" y="1448"/>
                  </a:lnTo>
                  <a:lnTo>
                    <a:pt x="2500" y="1346"/>
                  </a:lnTo>
                  <a:lnTo>
                    <a:pt x="2570" y="1244"/>
                  </a:lnTo>
                  <a:lnTo>
                    <a:pt x="2638" y="1138"/>
                  </a:lnTo>
                  <a:lnTo>
                    <a:pt x="2702" y="1032"/>
                  </a:lnTo>
                  <a:lnTo>
                    <a:pt x="2764" y="922"/>
                  </a:lnTo>
                  <a:lnTo>
                    <a:pt x="2825" y="810"/>
                  </a:lnTo>
                  <a:lnTo>
                    <a:pt x="2882" y="698"/>
                  </a:lnTo>
                  <a:lnTo>
                    <a:pt x="2937" y="582"/>
                  </a:lnTo>
                  <a:lnTo>
                    <a:pt x="2989" y="465"/>
                  </a:lnTo>
                  <a:lnTo>
                    <a:pt x="3039" y="346"/>
                  </a:lnTo>
                  <a:lnTo>
                    <a:pt x="3043" y="333"/>
                  </a:lnTo>
                  <a:lnTo>
                    <a:pt x="3047" y="321"/>
                  </a:lnTo>
                  <a:lnTo>
                    <a:pt x="3050" y="309"/>
                  </a:lnTo>
                  <a:lnTo>
                    <a:pt x="3053" y="297"/>
                  </a:lnTo>
                  <a:lnTo>
                    <a:pt x="3055" y="284"/>
                  </a:lnTo>
                  <a:lnTo>
                    <a:pt x="3056" y="272"/>
                  </a:lnTo>
                  <a:lnTo>
                    <a:pt x="3057" y="260"/>
                  </a:lnTo>
                  <a:lnTo>
                    <a:pt x="3057" y="248"/>
                  </a:lnTo>
                  <a:lnTo>
                    <a:pt x="3056" y="236"/>
                  </a:lnTo>
                  <a:lnTo>
                    <a:pt x="3055" y="223"/>
                  </a:lnTo>
                  <a:lnTo>
                    <a:pt x="3053" y="212"/>
                  </a:lnTo>
                  <a:lnTo>
                    <a:pt x="3051" y="200"/>
                  </a:lnTo>
                  <a:lnTo>
                    <a:pt x="3048" y="188"/>
                  </a:lnTo>
                  <a:lnTo>
                    <a:pt x="3045" y="176"/>
                  </a:lnTo>
                  <a:lnTo>
                    <a:pt x="3041" y="164"/>
                  </a:lnTo>
                  <a:lnTo>
                    <a:pt x="3036" y="153"/>
                  </a:lnTo>
                  <a:lnTo>
                    <a:pt x="3031" y="142"/>
                  </a:lnTo>
                  <a:lnTo>
                    <a:pt x="3026" y="131"/>
                  </a:lnTo>
                  <a:lnTo>
                    <a:pt x="3020" y="121"/>
                  </a:lnTo>
                  <a:lnTo>
                    <a:pt x="3013" y="111"/>
                  </a:lnTo>
                  <a:lnTo>
                    <a:pt x="3006" y="101"/>
                  </a:lnTo>
                  <a:lnTo>
                    <a:pt x="2999" y="92"/>
                  </a:lnTo>
                  <a:lnTo>
                    <a:pt x="2991" y="83"/>
                  </a:lnTo>
                  <a:lnTo>
                    <a:pt x="2983" y="74"/>
                  </a:lnTo>
                  <a:lnTo>
                    <a:pt x="2974" y="65"/>
                  </a:lnTo>
                  <a:lnTo>
                    <a:pt x="2964" y="57"/>
                  </a:lnTo>
                  <a:lnTo>
                    <a:pt x="2955" y="50"/>
                  </a:lnTo>
                  <a:lnTo>
                    <a:pt x="2943" y="43"/>
                  </a:lnTo>
                  <a:lnTo>
                    <a:pt x="2933" y="36"/>
                  </a:lnTo>
                  <a:lnTo>
                    <a:pt x="2922" y="30"/>
                  </a:lnTo>
                  <a:lnTo>
                    <a:pt x="2910" y="24"/>
                  </a:lnTo>
                  <a:lnTo>
                    <a:pt x="2899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23" name="ïşḷiḓe">
              <a:extLst>
                <a:ext uri="{FF2B5EF4-FFF2-40B4-BE49-F238E27FC236}">
                  <a16:creationId xmlns:a16="http://schemas.microsoft.com/office/drawing/2014/main" id="{D010CEA9-AE08-4654-A936-E6D540E3B1CE}"/>
                </a:ext>
              </a:extLst>
            </p:cNvPr>
            <p:cNvSpPr/>
            <p:nvPr/>
          </p:nvSpPr>
          <p:spPr bwMode="auto">
            <a:xfrm>
              <a:off x="6422635" y="3412448"/>
              <a:ext cx="57270" cy="58112"/>
            </a:xfrm>
            <a:custGeom>
              <a:avLst/>
              <a:gdLst>
                <a:gd name="T0" fmla="*/ 2482 w 2520"/>
                <a:gd name="T1" fmla="*/ 117 h 2567"/>
                <a:gd name="T2" fmla="*/ 2452 w 2520"/>
                <a:gd name="T3" fmla="*/ 78 h 2567"/>
                <a:gd name="T4" fmla="*/ 2415 w 2520"/>
                <a:gd name="T5" fmla="*/ 46 h 2567"/>
                <a:gd name="T6" fmla="*/ 2373 w 2520"/>
                <a:gd name="T7" fmla="*/ 22 h 2567"/>
                <a:gd name="T8" fmla="*/ 2327 w 2520"/>
                <a:gd name="T9" fmla="*/ 6 h 2567"/>
                <a:gd name="T10" fmla="*/ 2280 w 2520"/>
                <a:gd name="T11" fmla="*/ 0 h 2567"/>
                <a:gd name="T12" fmla="*/ 2231 w 2520"/>
                <a:gd name="T13" fmla="*/ 3 h 2567"/>
                <a:gd name="T14" fmla="*/ 2181 w 2520"/>
                <a:gd name="T15" fmla="*/ 15 h 2567"/>
                <a:gd name="T16" fmla="*/ 2072 w 2520"/>
                <a:gd name="T17" fmla="*/ 66 h 2567"/>
                <a:gd name="T18" fmla="*/ 1730 w 2520"/>
                <a:gd name="T19" fmla="*/ 243 h 2567"/>
                <a:gd name="T20" fmla="*/ 1406 w 2520"/>
                <a:gd name="T21" fmla="*/ 453 h 2567"/>
                <a:gd name="T22" fmla="*/ 1102 w 2520"/>
                <a:gd name="T23" fmla="*/ 693 h 2567"/>
                <a:gd name="T24" fmla="*/ 822 w 2520"/>
                <a:gd name="T25" fmla="*/ 963 h 2567"/>
                <a:gd name="T26" fmla="*/ 567 w 2520"/>
                <a:gd name="T27" fmla="*/ 1262 h 2567"/>
                <a:gd name="T28" fmla="*/ 340 w 2520"/>
                <a:gd name="T29" fmla="*/ 1588 h 2567"/>
                <a:gd name="T30" fmla="*/ 144 w 2520"/>
                <a:gd name="T31" fmla="*/ 1941 h 2567"/>
                <a:gd name="T32" fmla="*/ 18 w 2520"/>
                <a:gd name="T33" fmla="*/ 2222 h 2567"/>
                <a:gd name="T34" fmla="*/ 4 w 2520"/>
                <a:gd name="T35" fmla="*/ 2271 h 2567"/>
                <a:gd name="T36" fmla="*/ 0 w 2520"/>
                <a:gd name="T37" fmla="*/ 2320 h 2567"/>
                <a:gd name="T38" fmla="*/ 5 w 2520"/>
                <a:gd name="T39" fmla="*/ 2369 h 2567"/>
                <a:gd name="T40" fmla="*/ 20 w 2520"/>
                <a:gd name="T41" fmla="*/ 2415 h 2567"/>
                <a:gd name="T42" fmla="*/ 44 w 2520"/>
                <a:gd name="T43" fmla="*/ 2457 h 2567"/>
                <a:gd name="T44" fmla="*/ 75 w 2520"/>
                <a:gd name="T45" fmla="*/ 2494 h 2567"/>
                <a:gd name="T46" fmla="*/ 113 w 2520"/>
                <a:gd name="T47" fmla="*/ 2525 h 2567"/>
                <a:gd name="T48" fmla="*/ 158 w 2520"/>
                <a:gd name="T49" fmla="*/ 2549 h 2567"/>
                <a:gd name="T50" fmla="*/ 208 w 2520"/>
                <a:gd name="T51" fmla="*/ 2563 h 2567"/>
                <a:gd name="T52" fmla="*/ 257 w 2520"/>
                <a:gd name="T53" fmla="*/ 2567 h 2567"/>
                <a:gd name="T54" fmla="*/ 305 w 2520"/>
                <a:gd name="T55" fmla="*/ 2561 h 2567"/>
                <a:gd name="T56" fmla="*/ 351 w 2520"/>
                <a:gd name="T57" fmla="*/ 2547 h 2567"/>
                <a:gd name="T58" fmla="*/ 394 w 2520"/>
                <a:gd name="T59" fmla="*/ 2523 h 2567"/>
                <a:gd name="T60" fmla="*/ 431 w 2520"/>
                <a:gd name="T61" fmla="*/ 2492 h 2567"/>
                <a:gd name="T62" fmla="*/ 462 w 2520"/>
                <a:gd name="T63" fmla="*/ 2454 h 2567"/>
                <a:gd name="T64" fmla="*/ 485 w 2520"/>
                <a:gd name="T65" fmla="*/ 2409 h 2567"/>
                <a:gd name="T66" fmla="*/ 596 w 2520"/>
                <a:gd name="T67" fmla="*/ 2161 h 2567"/>
                <a:gd name="T68" fmla="*/ 768 w 2520"/>
                <a:gd name="T69" fmla="*/ 1850 h 2567"/>
                <a:gd name="T70" fmla="*/ 968 w 2520"/>
                <a:gd name="T71" fmla="*/ 1564 h 2567"/>
                <a:gd name="T72" fmla="*/ 1192 w 2520"/>
                <a:gd name="T73" fmla="*/ 1301 h 2567"/>
                <a:gd name="T74" fmla="*/ 1439 w 2520"/>
                <a:gd name="T75" fmla="*/ 1065 h 2567"/>
                <a:gd name="T76" fmla="*/ 1705 w 2520"/>
                <a:gd name="T77" fmla="*/ 854 h 2567"/>
                <a:gd name="T78" fmla="*/ 1990 w 2520"/>
                <a:gd name="T79" fmla="*/ 671 h 2567"/>
                <a:gd name="T80" fmla="*/ 2291 w 2520"/>
                <a:gd name="T81" fmla="*/ 516 h 2567"/>
                <a:gd name="T82" fmla="*/ 2402 w 2520"/>
                <a:gd name="T83" fmla="*/ 464 h 2567"/>
                <a:gd name="T84" fmla="*/ 2441 w 2520"/>
                <a:gd name="T85" fmla="*/ 434 h 2567"/>
                <a:gd name="T86" fmla="*/ 2473 w 2520"/>
                <a:gd name="T87" fmla="*/ 397 h 2567"/>
                <a:gd name="T88" fmla="*/ 2497 w 2520"/>
                <a:gd name="T89" fmla="*/ 356 h 2567"/>
                <a:gd name="T90" fmla="*/ 2513 w 2520"/>
                <a:gd name="T91" fmla="*/ 309 h 2567"/>
                <a:gd name="T92" fmla="*/ 2520 w 2520"/>
                <a:gd name="T93" fmla="*/ 262 h 2567"/>
                <a:gd name="T94" fmla="*/ 2517 w 2520"/>
                <a:gd name="T95" fmla="*/ 213 h 2567"/>
                <a:gd name="T96" fmla="*/ 2505 w 2520"/>
                <a:gd name="T97" fmla="*/ 164 h 2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20" h="2567">
                  <a:moveTo>
                    <a:pt x="2500" y="151"/>
                  </a:moveTo>
                  <a:lnTo>
                    <a:pt x="2494" y="139"/>
                  </a:lnTo>
                  <a:lnTo>
                    <a:pt x="2489" y="128"/>
                  </a:lnTo>
                  <a:lnTo>
                    <a:pt x="2482" y="117"/>
                  </a:lnTo>
                  <a:lnTo>
                    <a:pt x="2475" y="107"/>
                  </a:lnTo>
                  <a:lnTo>
                    <a:pt x="2468" y="97"/>
                  </a:lnTo>
                  <a:lnTo>
                    <a:pt x="2460" y="87"/>
                  </a:lnTo>
                  <a:lnTo>
                    <a:pt x="2452" y="78"/>
                  </a:lnTo>
                  <a:lnTo>
                    <a:pt x="2443" y="69"/>
                  </a:lnTo>
                  <a:lnTo>
                    <a:pt x="2434" y="61"/>
                  </a:lnTo>
                  <a:lnTo>
                    <a:pt x="2425" y="53"/>
                  </a:lnTo>
                  <a:lnTo>
                    <a:pt x="2415" y="46"/>
                  </a:lnTo>
                  <a:lnTo>
                    <a:pt x="2405" y="39"/>
                  </a:lnTo>
                  <a:lnTo>
                    <a:pt x="2394" y="33"/>
                  </a:lnTo>
                  <a:lnTo>
                    <a:pt x="2384" y="27"/>
                  </a:lnTo>
                  <a:lnTo>
                    <a:pt x="2373" y="22"/>
                  </a:lnTo>
                  <a:lnTo>
                    <a:pt x="2362" y="17"/>
                  </a:lnTo>
                  <a:lnTo>
                    <a:pt x="2351" y="13"/>
                  </a:lnTo>
                  <a:lnTo>
                    <a:pt x="2339" y="10"/>
                  </a:lnTo>
                  <a:lnTo>
                    <a:pt x="2327" y="6"/>
                  </a:lnTo>
                  <a:lnTo>
                    <a:pt x="2316" y="4"/>
                  </a:lnTo>
                  <a:lnTo>
                    <a:pt x="2304" y="2"/>
                  </a:lnTo>
                  <a:lnTo>
                    <a:pt x="2292" y="1"/>
                  </a:lnTo>
                  <a:lnTo>
                    <a:pt x="2280" y="0"/>
                  </a:lnTo>
                  <a:lnTo>
                    <a:pt x="2268" y="0"/>
                  </a:lnTo>
                  <a:lnTo>
                    <a:pt x="2255" y="0"/>
                  </a:lnTo>
                  <a:lnTo>
                    <a:pt x="2243" y="1"/>
                  </a:lnTo>
                  <a:lnTo>
                    <a:pt x="2231" y="3"/>
                  </a:lnTo>
                  <a:lnTo>
                    <a:pt x="2218" y="5"/>
                  </a:lnTo>
                  <a:lnTo>
                    <a:pt x="2206" y="8"/>
                  </a:lnTo>
                  <a:lnTo>
                    <a:pt x="2193" y="11"/>
                  </a:lnTo>
                  <a:lnTo>
                    <a:pt x="2181" y="15"/>
                  </a:lnTo>
                  <a:lnTo>
                    <a:pt x="2169" y="20"/>
                  </a:lnTo>
                  <a:lnTo>
                    <a:pt x="2164" y="24"/>
                  </a:lnTo>
                  <a:lnTo>
                    <a:pt x="2159" y="27"/>
                  </a:lnTo>
                  <a:lnTo>
                    <a:pt x="2072" y="66"/>
                  </a:lnTo>
                  <a:lnTo>
                    <a:pt x="1984" y="107"/>
                  </a:lnTo>
                  <a:lnTo>
                    <a:pt x="1899" y="150"/>
                  </a:lnTo>
                  <a:lnTo>
                    <a:pt x="1813" y="196"/>
                  </a:lnTo>
                  <a:lnTo>
                    <a:pt x="1730" y="243"/>
                  </a:lnTo>
                  <a:lnTo>
                    <a:pt x="1647" y="292"/>
                  </a:lnTo>
                  <a:lnTo>
                    <a:pt x="1566" y="345"/>
                  </a:lnTo>
                  <a:lnTo>
                    <a:pt x="1485" y="398"/>
                  </a:lnTo>
                  <a:lnTo>
                    <a:pt x="1406" y="453"/>
                  </a:lnTo>
                  <a:lnTo>
                    <a:pt x="1328" y="510"/>
                  </a:lnTo>
                  <a:lnTo>
                    <a:pt x="1252" y="569"/>
                  </a:lnTo>
                  <a:lnTo>
                    <a:pt x="1176" y="630"/>
                  </a:lnTo>
                  <a:lnTo>
                    <a:pt x="1102" y="693"/>
                  </a:lnTo>
                  <a:lnTo>
                    <a:pt x="1029" y="758"/>
                  </a:lnTo>
                  <a:lnTo>
                    <a:pt x="959" y="824"/>
                  </a:lnTo>
                  <a:lnTo>
                    <a:pt x="890" y="893"/>
                  </a:lnTo>
                  <a:lnTo>
                    <a:pt x="822" y="963"/>
                  </a:lnTo>
                  <a:lnTo>
                    <a:pt x="756" y="1036"/>
                  </a:lnTo>
                  <a:lnTo>
                    <a:pt x="690" y="1109"/>
                  </a:lnTo>
                  <a:lnTo>
                    <a:pt x="628" y="1185"/>
                  </a:lnTo>
                  <a:lnTo>
                    <a:pt x="567" y="1262"/>
                  </a:lnTo>
                  <a:lnTo>
                    <a:pt x="507" y="1340"/>
                  </a:lnTo>
                  <a:lnTo>
                    <a:pt x="450" y="1422"/>
                  </a:lnTo>
                  <a:lnTo>
                    <a:pt x="394" y="1504"/>
                  </a:lnTo>
                  <a:lnTo>
                    <a:pt x="340" y="1588"/>
                  </a:lnTo>
                  <a:lnTo>
                    <a:pt x="288" y="1673"/>
                  </a:lnTo>
                  <a:lnTo>
                    <a:pt x="238" y="1761"/>
                  </a:lnTo>
                  <a:lnTo>
                    <a:pt x="189" y="1850"/>
                  </a:lnTo>
                  <a:lnTo>
                    <a:pt x="144" y="1941"/>
                  </a:lnTo>
                  <a:lnTo>
                    <a:pt x="100" y="2034"/>
                  </a:lnTo>
                  <a:lnTo>
                    <a:pt x="58" y="2127"/>
                  </a:lnTo>
                  <a:lnTo>
                    <a:pt x="18" y="2222"/>
                  </a:lnTo>
                  <a:lnTo>
                    <a:pt x="18" y="2222"/>
                  </a:lnTo>
                  <a:lnTo>
                    <a:pt x="13" y="2235"/>
                  </a:lnTo>
                  <a:lnTo>
                    <a:pt x="9" y="2247"/>
                  </a:lnTo>
                  <a:lnTo>
                    <a:pt x="6" y="2259"/>
                  </a:lnTo>
                  <a:lnTo>
                    <a:pt x="4" y="2271"/>
                  </a:lnTo>
                  <a:lnTo>
                    <a:pt x="2" y="2283"/>
                  </a:lnTo>
                  <a:lnTo>
                    <a:pt x="1" y="2296"/>
                  </a:lnTo>
                  <a:lnTo>
                    <a:pt x="0" y="2308"/>
                  </a:lnTo>
                  <a:lnTo>
                    <a:pt x="0" y="2320"/>
                  </a:lnTo>
                  <a:lnTo>
                    <a:pt x="0" y="2332"/>
                  </a:lnTo>
                  <a:lnTo>
                    <a:pt x="1" y="2344"/>
                  </a:lnTo>
                  <a:lnTo>
                    <a:pt x="3" y="2356"/>
                  </a:lnTo>
                  <a:lnTo>
                    <a:pt x="5" y="2369"/>
                  </a:lnTo>
                  <a:lnTo>
                    <a:pt x="8" y="2381"/>
                  </a:lnTo>
                  <a:lnTo>
                    <a:pt x="12" y="2392"/>
                  </a:lnTo>
                  <a:lnTo>
                    <a:pt x="16" y="2404"/>
                  </a:lnTo>
                  <a:lnTo>
                    <a:pt x="20" y="2415"/>
                  </a:lnTo>
                  <a:lnTo>
                    <a:pt x="26" y="2426"/>
                  </a:lnTo>
                  <a:lnTo>
                    <a:pt x="31" y="2436"/>
                  </a:lnTo>
                  <a:lnTo>
                    <a:pt x="37" y="2447"/>
                  </a:lnTo>
                  <a:lnTo>
                    <a:pt x="44" y="2457"/>
                  </a:lnTo>
                  <a:lnTo>
                    <a:pt x="51" y="2467"/>
                  </a:lnTo>
                  <a:lnTo>
                    <a:pt x="58" y="2476"/>
                  </a:lnTo>
                  <a:lnTo>
                    <a:pt x="66" y="2485"/>
                  </a:lnTo>
                  <a:lnTo>
                    <a:pt x="75" y="2494"/>
                  </a:lnTo>
                  <a:lnTo>
                    <a:pt x="84" y="2502"/>
                  </a:lnTo>
                  <a:lnTo>
                    <a:pt x="93" y="2510"/>
                  </a:lnTo>
                  <a:lnTo>
                    <a:pt x="103" y="2518"/>
                  </a:lnTo>
                  <a:lnTo>
                    <a:pt x="113" y="2525"/>
                  </a:lnTo>
                  <a:lnTo>
                    <a:pt x="124" y="2533"/>
                  </a:lnTo>
                  <a:lnTo>
                    <a:pt x="135" y="2539"/>
                  </a:lnTo>
                  <a:lnTo>
                    <a:pt x="146" y="2544"/>
                  </a:lnTo>
                  <a:lnTo>
                    <a:pt x="158" y="2549"/>
                  </a:lnTo>
                  <a:lnTo>
                    <a:pt x="170" y="2554"/>
                  </a:lnTo>
                  <a:lnTo>
                    <a:pt x="182" y="2558"/>
                  </a:lnTo>
                  <a:lnTo>
                    <a:pt x="194" y="2561"/>
                  </a:lnTo>
                  <a:lnTo>
                    <a:pt x="208" y="2563"/>
                  </a:lnTo>
                  <a:lnTo>
                    <a:pt x="220" y="2565"/>
                  </a:lnTo>
                  <a:lnTo>
                    <a:pt x="232" y="2566"/>
                  </a:lnTo>
                  <a:lnTo>
                    <a:pt x="245" y="2567"/>
                  </a:lnTo>
                  <a:lnTo>
                    <a:pt x="257" y="2567"/>
                  </a:lnTo>
                  <a:lnTo>
                    <a:pt x="269" y="2567"/>
                  </a:lnTo>
                  <a:lnTo>
                    <a:pt x="281" y="2565"/>
                  </a:lnTo>
                  <a:lnTo>
                    <a:pt x="293" y="2564"/>
                  </a:lnTo>
                  <a:lnTo>
                    <a:pt x="305" y="2561"/>
                  </a:lnTo>
                  <a:lnTo>
                    <a:pt x="316" y="2559"/>
                  </a:lnTo>
                  <a:lnTo>
                    <a:pt x="328" y="2555"/>
                  </a:lnTo>
                  <a:lnTo>
                    <a:pt x="339" y="2551"/>
                  </a:lnTo>
                  <a:lnTo>
                    <a:pt x="351" y="2547"/>
                  </a:lnTo>
                  <a:lnTo>
                    <a:pt x="361" y="2542"/>
                  </a:lnTo>
                  <a:lnTo>
                    <a:pt x="373" y="2536"/>
                  </a:lnTo>
                  <a:lnTo>
                    <a:pt x="383" y="2529"/>
                  </a:lnTo>
                  <a:lnTo>
                    <a:pt x="394" y="2523"/>
                  </a:lnTo>
                  <a:lnTo>
                    <a:pt x="403" y="2516"/>
                  </a:lnTo>
                  <a:lnTo>
                    <a:pt x="413" y="2508"/>
                  </a:lnTo>
                  <a:lnTo>
                    <a:pt x="422" y="2500"/>
                  </a:lnTo>
                  <a:lnTo>
                    <a:pt x="431" y="2492"/>
                  </a:lnTo>
                  <a:lnTo>
                    <a:pt x="439" y="2483"/>
                  </a:lnTo>
                  <a:lnTo>
                    <a:pt x="447" y="2474"/>
                  </a:lnTo>
                  <a:lnTo>
                    <a:pt x="455" y="2464"/>
                  </a:lnTo>
                  <a:lnTo>
                    <a:pt x="462" y="2454"/>
                  </a:lnTo>
                  <a:lnTo>
                    <a:pt x="468" y="2443"/>
                  </a:lnTo>
                  <a:lnTo>
                    <a:pt x="474" y="2432"/>
                  </a:lnTo>
                  <a:lnTo>
                    <a:pt x="480" y="2421"/>
                  </a:lnTo>
                  <a:lnTo>
                    <a:pt x="485" y="2409"/>
                  </a:lnTo>
                  <a:lnTo>
                    <a:pt x="485" y="2409"/>
                  </a:lnTo>
                  <a:lnTo>
                    <a:pt x="520" y="2324"/>
                  </a:lnTo>
                  <a:lnTo>
                    <a:pt x="558" y="2242"/>
                  </a:lnTo>
                  <a:lnTo>
                    <a:pt x="596" y="2161"/>
                  </a:lnTo>
                  <a:lnTo>
                    <a:pt x="636" y="2082"/>
                  </a:lnTo>
                  <a:lnTo>
                    <a:pt x="678" y="2003"/>
                  </a:lnTo>
                  <a:lnTo>
                    <a:pt x="723" y="1926"/>
                  </a:lnTo>
                  <a:lnTo>
                    <a:pt x="768" y="1850"/>
                  </a:lnTo>
                  <a:lnTo>
                    <a:pt x="815" y="1777"/>
                  </a:lnTo>
                  <a:lnTo>
                    <a:pt x="864" y="1705"/>
                  </a:lnTo>
                  <a:lnTo>
                    <a:pt x="916" y="1633"/>
                  </a:lnTo>
                  <a:lnTo>
                    <a:pt x="968" y="1564"/>
                  </a:lnTo>
                  <a:lnTo>
                    <a:pt x="1021" y="1496"/>
                  </a:lnTo>
                  <a:lnTo>
                    <a:pt x="1077" y="1430"/>
                  </a:lnTo>
                  <a:lnTo>
                    <a:pt x="1134" y="1365"/>
                  </a:lnTo>
                  <a:lnTo>
                    <a:pt x="1192" y="1301"/>
                  </a:lnTo>
                  <a:lnTo>
                    <a:pt x="1252" y="1240"/>
                  </a:lnTo>
                  <a:lnTo>
                    <a:pt x="1313" y="1180"/>
                  </a:lnTo>
                  <a:lnTo>
                    <a:pt x="1375" y="1121"/>
                  </a:lnTo>
                  <a:lnTo>
                    <a:pt x="1439" y="1065"/>
                  </a:lnTo>
                  <a:lnTo>
                    <a:pt x="1503" y="1010"/>
                  </a:lnTo>
                  <a:lnTo>
                    <a:pt x="1570" y="956"/>
                  </a:lnTo>
                  <a:lnTo>
                    <a:pt x="1637" y="904"/>
                  </a:lnTo>
                  <a:lnTo>
                    <a:pt x="1705" y="854"/>
                  </a:lnTo>
                  <a:lnTo>
                    <a:pt x="1775" y="805"/>
                  </a:lnTo>
                  <a:lnTo>
                    <a:pt x="1846" y="759"/>
                  </a:lnTo>
                  <a:lnTo>
                    <a:pt x="1918" y="714"/>
                  </a:lnTo>
                  <a:lnTo>
                    <a:pt x="1990" y="671"/>
                  </a:lnTo>
                  <a:lnTo>
                    <a:pt x="2064" y="629"/>
                  </a:lnTo>
                  <a:lnTo>
                    <a:pt x="2139" y="590"/>
                  </a:lnTo>
                  <a:lnTo>
                    <a:pt x="2214" y="552"/>
                  </a:lnTo>
                  <a:lnTo>
                    <a:pt x="2291" y="516"/>
                  </a:lnTo>
                  <a:lnTo>
                    <a:pt x="2367" y="481"/>
                  </a:lnTo>
                  <a:lnTo>
                    <a:pt x="2379" y="476"/>
                  </a:lnTo>
                  <a:lnTo>
                    <a:pt x="2390" y="470"/>
                  </a:lnTo>
                  <a:lnTo>
                    <a:pt x="2402" y="464"/>
                  </a:lnTo>
                  <a:lnTo>
                    <a:pt x="2413" y="457"/>
                  </a:lnTo>
                  <a:lnTo>
                    <a:pt x="2423" y="450"/>
                  </a:lnTo>
                  <a:lnTo>
                    <a:pt x="2432" y="442"/>
                  </a:lnTo>
                  <a:lnTo>
                    <a:pt x="2441" y="434"/>
                  </a:lnTo>
                  <a:lnTo>
                    <a:pt x="2450" y="425"/>
                  </a:lnTo>
                  <a:lnTo>
                    <a:pt x="2458" y="416"/>
                  </a:lnTo>
                  <a:lnTo>
                    <a:pt x="2466" y="407"/>
                  </a:lnTo>
                  <a:lnTo>
                    <a:pt x="2473" y="397"/>
                  </a:lnTo>
                  <a:lnTo>
                    <a:pt x="2480" y="387"/>
                  </a:lnTo>
                  <a:lnTo>
                    <a:pt x="2486" y="377"/>
                  </a:lnTo>
                  <a:lnTo>
                    <a:pt x="2492" y="366"/>
                  </a:lnTo>
                  <a:lnTo>
                    <a:pt x="2497" y="356"/>
                  </a:lnTo>
                  <a:lnTo>
                    <a:pt x="2502" y="345"/>
                  </a:lnTo>
                  <a:lnTo>
                    <a:pt x="2506" y="333"/>
                  </a:lnTo>
                  <a:lnTo>
                    <a:pt x="2510" y="321"/>
                  </a:lnTo>
                  <a:lnTo>
                    <a:pt x="2513" y="309"/>
                  </a:lnTo>
                  <a:lnTo>
                    <a:pt x="2515" y="298"/>
                  </a:lnTo>
                  <a:lnTo>
                    <a:pt x="2517" y="286"/>
                  </a:lnTo>
                  <a:lnTo>
                    <a:pt x="2519" y="274"/>
                  </a:lnTo>
                  <a:lnTo>
                    <a:pt x="2520" y="262"/>
                  </a:lnTo>
                  <a:lnTo>
                    <a:pt x="2520" y="249"/>
                  </a:lnTo>
                  <a:lnTo>
                    <a:pt x="2520" y="237"/>
                  </a:lnTo>
                  <a:lnTo>
                    <a:pt x="2519" y="225"/>
                  </a:lnTo>
                  <a:lnTo>
                    <a:pt x="2517" y="213"/>
                  </a:lnTo>
                  <a:lnTo>
                    <a:pt x="2515" y="200"/>
                  </a:lnTo>
                  <a:lnTo>
                    <a:pt x="2512" y="188"/>
                  </a:lnTo>
                  <a:lnTo>
                    <a:pt x="2509" y="176"/>
                  </a:lnTo>
                  <a:lnTo>
                    <a:pt x="2505" y="164"/>
                  </a:lnTo>
                  <a:lnTo>
                    <a:pt x="2500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24" name="i$ḷïḓe">
              <a:extLst>
                <a:ext uri="{FF2B5EF4-FFF2-40B4-BE49-F238E27FC236}">
                  <a16:creationId xmlns:a16="http://schemas.microsoft.com/office/drawing/2014/main" id="{1369206E-A34D-4D3F-B7C2-C4DB2746AB55}"/>
                </a:ext>
              </a:extLst>
            </p:cNvPr>
            <p:cNvSpPr/>
            <p:nvPr/>
          </p:nvSpPr>
          <p:spPr bwMode="auto">
            <a:xfrm>
              <a:off x="6380524" y="3370338"/>
              <a:ext cx="81693" cy="83378"/>
            </a:xfrm>
            <a:custGeom>
              <a:avLst/>
              <a:gdLst>
                <a:gd name="T0" fmla="*/ 3557 w 3596"/>
                <a:gd name="T1" fmla="*/ 117 h 3668"/>
                <a:gd name="T2" fmla="*/ 3527 w 3596"/>
                <a:gd name="T3" fmla="*/ 78 h 3668"/>
                <a:gd name="T4" fmla="*/ 3490 w 3596"/>
                <a:gd name="T5" fmla="*/ 46 h 3668"/>
                <a:gd name="T6" fmla="*/ 3449 w 3596"/>
                <a:gd name="T7" fmla="*/ 22 h 3668"/>
                <a:gd name="T8" fmla="*/ 3402 w 3596"/>
                <a:gd name="T9" fmla="*/ 7 h 3668"/>
                <a:gd name="T10" fmla="*/ 3355 w 3596"/>
                <a:gd name="T11" fmla="*/ 0 h 3668"/>
                <a:gd name="T12" fmla="*/ 3306 w 3596"/>
                <a:gd name="T13" fmla="*/ 2 h 3668"/>
                <a:gd name="T14" fmla="*/ 3257 w 3596"/>
                <a:gd name="T15" fmla="*/ 15 h 3668"/>
                <a:gd name="T16" fmla="*/ 3098 w 3596"/>
                <a:gd name="T17" fmla="*/ 89 h 3668"/>
                <a:gd name="T18" fmla="*/ 2585 w 3596"/>
                <a:gd name="T19" fmla="*/ 356 h 3668"/>
                <a:gd name="T20" fmla="*/ 2100 w 3596"/>
                <a:gd name="T21" fmla="*/ 670 h 3668"/>
                <a:gd name="T22" fmla="*/ 1644 w 3596"/>
                <a:gd name="T23" fmla="*/ 1030 h 3668"/>
                <a:gd name="T24" fmla="*/ 1224 w 3596"/>
                <a:gd name="T25" fmla="*/ 1434 h 3668"/>
                <a:gd name="T26" fmla="*/ 841 w 3596"/>
                <a:gd name="T27" fmla="*/ 1883 h 3668"/>
                <a:gd name="T28" fmla="*/ 500 w 3596"/>
                <a:gd name="T29" fmla="*/ 2372 h 3668"/>
                <a:gd name="T30" fmla="*/ 207 w 3596"/>
                <a:gd name="T31" fmla="*/ 2901 h 3668"/>
                <a:gd name="T32" fmla="*/ 14 w 3596"/>
                <a:gd name="T33" fmla="*/ 3335 h 3668"/>
                <a:gd name="T34" fmla="*/ 2 w 3596"/>
                <a:gd name="T35" fmla="*/ 3385 h 3668"/>
                <a:gd name="T36" fmla="*/ 1 w 3596"/>
                <a:gd name="T37" fmla="*/ 3434 h 3668"/>
                <a:gd name="T38" fmla="*/ 9 w 3596"/>
                <a:gd name="T39" fmla="*/ 3481 h 3668"/>
                <a:gd name="T40" fmla="*/ 25 w 3596"/>
                <a:gd name="T41" fmla="*/ 3526 h 3668"/>
                <a:gd name="T42" fmla="*/ 52 w 3596"/>
                <a:gd name="T43" fmla="*/ 3568 h 3668"/>
                <a:gd name="T44" fmla="*/ 84 w 3596"/>
                <a:gd name="T45" fmla="*/ 3604 h 3668"/>
                <a:gd name="T46" fmla="*/ 124 w 3596"/>
                <a:gd name="T47" fmla="*/ 3633 h 3668"/>
                <a:gd name="T48" fmla="*/ 171 w 3596"/>
                <a:gd name="T49" fmla="*/ 3655 h 3668"/>
                <a:gd name="T50" fmla="*/ 220 w 3596"/>
                <a:gd name="T51" fmla="*/ 3666 h 3668"/>
                <a:gd name="T52" fmla="*/ 269 w 3596"/>
                <a:gd name="T53" fmla="*/ 3668 h 3668"/>
                <a:gd name="T54" fmla="*/ 316 w 3596"/>
                <a:gd name="T55" fmla="*/ 3660 h 3668"/>
                <a:gd name="T56" fmla="*/ 361 w 3596"/>
                <a:gd name="T57" fmla="*/ 3643 h 3668"/>
                <a:gd name="T58" fmla="*/ 403 w 3596"/>
                <a:gd name="T59" fmla="*/ 3618 h 3668"/>
                <a:gd name="T60" fmla="*/ 439 w 3596"/>
                <a:gd name="T61" fmla="*/ 3586 h 3668"/>
                <a:gd name="T62" fmla="*/ 468 w 3596"/>
                <a:gd name="T63" fmla="*/ 3546 h 3668"/>
                <a:gd name="T64" fmla="*/ 540 w 3596"/>
                <a:gd name="T65" fmla="*/ 3379 h 3668"/>
                <a:gd name="T66" fmla="*/ 788 w 3596"/>
                <a:gd name="T67" fmla="*/ 2873 h 3668"/>
                <a:gd name="T68" fmla="*/ 1081 w 3596"/>
                <a:gd name="T69" fmla="*/ 2404 h 3668"/>
                <a:gd name="T70" fmla="*/ 1415 w 3596"/>
                <a:gd name="T71" fmla="*/ 1971 h 3668"/>
                <a:gd name="T72" fmla="*/ 1785 w 3596"/>
                <a:gd name="T73" fmla="*/ 1579 h 3668"/>
                <a:gd name="T74" fmla="*/ 2189 w 3596"/>
                <a:gd name="T75" fmla="*/ 1227 h 3668"/>
                <a:gd name="T76" fmla="*/ 2623 w 3596"/>
                <a:gd name="T77" fmla="*/ 917 h 3668"/>
                <a:gd name="T78" fmla="*/ 3084 w 3596"/>
                <a:gd name="T79" fmla="*/ 651 h 3668"/>
                <a:gd name="T80" fmla="*/ 3455 w 3596"/>
                <a:gd name="T81" fmla="*/ 476 h 3668"/>
                <a:gd name="T82" fmla="*/ 3498 w 3596"/>
                <a:gd name="T83" fmla="*/ 449 h 3668"/>
                <a:gd name="T84" fmla="*/ 3533 w 3596"/>
                <a:gd name="T85" fmla="*/ 416 h 3668"/>
                <a:gd name="T86" fmla="*/ 3561 w 3596"/>
                <a:gd name="T87" fmla="*/ 377 h 3668"/>
                <a:gd name="T88" fmla="*/ 3581 w 3596"/>
                <a:gd name="T89" fmla="*/ 333 h 3668"/>
                <a:gd name="T90" fmla="*/ 3593 w 3596"/>
                <a:gd name="T91" fmla="*/ 286 h 3668"/>
                <a:gd name="T92" fmla="*/ 3596 w 3596"/>
                <a:gd name="T93" fmla="*/ 237 h 3668"/>
                <a:gd name="T94" fmla="*/ 3588 w 3596"/>
                <a:gd name="T95" fmla="*/ 188 h 3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96" h="3668">
                  <a:moveTo>
                    <a:pt x="3575" y="152"/>
                  </a:moveTo>
                  <a:lnTo>
                    <a:pt x="3569" y="140"/>
                  </a:lnTo>
                  <a:lnTo>
                    <a:pt x="3563" y="128"/>
                  </a:lnTo>
                  <a:lnTo>
                    <a:pt x="3557" y="117"/>
                  </a:lnTo>
                  <a:lnTo>
                    <a:pt x="3550" y="107"/>
                  </a:lnTo>
                  <a:lnTo>
                    <a:pt x="3543" y="97"/>
                  </a:lnTo>
                  <a:lnTo>
                    <a:pt x="3535" y="87"/>
                  </a:lnTo>
                  <a:lnTo>
                    <a:pt x="3527" y="78"/>
                  </a:lnTo>
                  <a:lnTo>
                    <a:pt x="3518" y="70"/>
                  </a:lnTo>
                  <a:lnTo>
                    <a:pt x="3509" y="61"/>
                  </a:lnTo>
                  <a:lnTo>
                    <a:pt x="3500" y="54"/>
                  </a:lnTo>
                  <a:lnTo>
                    <a:pt x="3490" y="46"/>
                  </a:lnTo>
                  <a:lnTo>
                    <a:pt x="3480" y="40"/>
                  </a:lnTo>
                  <a:lnTo>
                    <a:pt x="3470" y="33"/>
                  </a:lnTo>
                  <a:lnTo>
                    <a:pt x="3459" y="28"/>
                  </a:lnTo>
                  <a:lnTo>
                    <a:pt x="3449" y="22"/>
                  </a:lnTo>
                  <a:lnTo>
                    <a:pt x="3438" y="18"/>
                  </a:lnTo>
                  <a:lnTo>
                    <a:pt x="3426" y="13"/>
                  </a:lnTo>
                  <a:lnTo>
                    <a:pt x="3414" y="10"/>
                  </a:lnTo>
                  <a:lnTo>
                    <a:pt x="3402" y="7"/>
                  </a:lnTo>
                  <a:lnTo>
                    <a:pt x="3391" y="4"/>
                  </a:lnTo>
                  <a:lnTo>
                    <a:pt x="3379" y="2"/>
                  </a:lnTo>
                  <a:lnTo>
                    <a:pt x="3367" y="1"/>
                  </a:lnTo>
                  <a:lnTo>
                    <a:pt x="3355" y="0"/>
                  </a:lnTo>
                  <a:lnTo>
                    <a:pt x="3342" y="0"/>
                  </a:lnTo>
                  <a:lnTo>
                    <a:pt x="3330" y="0"/>
                  </a:lnTo>
                  <a:lnTo>
                    <a:pt x="3318" y="1"/>
                  </a:lnTo>
                  <a:lnTo>
                    <a:pt x="3306" y="2"/>
                  </a:lnTo>
                  <a:lnTo>
                    <a:pt x="3294" y="5"/>
                  </a:lnTo>
                  <a:lnTo>
                    <a:pt x="3281" y="7"/>
                  </a:lnTo>
                  <a:lnTo>
                    <a:pt x="3269" y="11"/>
                  </a:lnTo>
                  <a:lnTo>
                    <a:pt x="3257" y="15"/>
                  </a:lnTo>
                  <a:lnTo>
                    <a:pt x="3244" y="20"/>
                  </a:lnTo>
                  <a:lnTo>
                    <a:pt x="3236" y="25"/>
                  </a:lnTo>
                  <a:lnTo>
                    <a:pt x="3229" y="31"/>
                  </a:lnTo>
                  <a:lnTo>
                    <a:pt x="3098" y="89"/>
                  </a:lnTo>
                  <a:lnTo>
                    <a:pt x="2967" y="152"/>
                  </a:lnTo>
                  <a:lnTo>
                    <a:pt x="2838" y="216"/>
                  </a:lnTo>
                  <a:lnTo>
                    <a:pt x="2710" y="284"/>
                  </a:lnTo>
                  <a:lnTo>
                    <a:pt x="2585" y="356"/>
                  </a:lnTo>
                  <a:lnTo>
                    <a:pt x="2461" y="429"/>
                  </a:lnTo>
                  <a:lnTo>
                    <a:pt x="2338" y="507"/>
                  </a:lnTo>
                  <a:lnTo>
                    <a:pt x="2218" y="586"/>
                  </a:lnTo>
                  <a:lnTo>
                    <a:pt x="2100" y="670"/>
                  </a:lnTo>
                  <a:lnTo>
                    <a:pt x="1982" y="755"/>
                  </a:lnTo>
                  <a:lnTo>
                    <a:pt x="1867" y="844"/>
                  </a:lnTo>
                  <a:lnTo>
                    <a:pt x="1755" y="935"/>
                  </a:lnTo>
                  <a:lnTo>
                    <a:pt x="1644" y="1030"/>
                  </a:lnTo>
                  <a:lnTo>
                    <a:pt x="1535" y="1126"/>
                  </a:lnTo>
                  <a:lnTo>
                    <a:pt x="1429" y="1227"/>
                  </a:lnTo>
                  <a:lnTo>
                    <a:pt x="1325" y="1329"/>
                  </a:lnTo>
                  <a:lnTo>
                    <a:pt x="1224" y="1434"/>
                  </a:lnTo>
                  <a:lnTo>
                    <a:pt x="1124" y="1543"/>
                  </a:lnTo>
                  <a:lnTo>
                    <a:pt x="1027" y="1653"/>
                  </a:lnTo>
                  <a:lnTo>
                    <a:pt x="933" y="1766"/>
                  </a:lnTo>
                  <a:lnTo>
                    <a:pt x="841" y="1883"/>
                  </a:lnTo>
                  <a:lnTo>
                    <a:pt x="752" y="2001"/>
                  </a:lnTo>
                  <a:lnTo>
                    <a:pt x="665" y="2122"/>
                  </a:lnTo>
                  <a:lnTo>
                    <a:pt x="582" y="2246"/>
                  </a:lnTo>
                  <a:lnTo>
                    <a:pt x="500" y="2372"/>
                  </a:lnTo>
                  <a:lnTo>
                    <a:pt x="423" y="2500"/>
                  </a:lnTo>
                  <a:lnTo>
                    <a:pt x="347" y="2631"/>
                  </a:lnTo>
                  <a:lnTo>
                    <a:pt x="276" y="2765"/>
                  </a:lnTo>
                  <a:lnTo>
                    <a:pt x="207" y="2901"/>
                  </a:lnTo>
                  <a:lnTo>
                    <a:pt x="141" y="3040"/>
                  </a:lnTo>
                  <a:lnTo>
                    <a:pt x="78" y="3180"/>
                  </a:lnTo>
                  <a:lnTo>
                    <a:pt x="18" y="3323"/>
                  </a:lnTo>
                  <a:lnTo>
                    <a:pt x="14" y="3335"/>
                  </a:lnTo>
                  <a:lnTo>
                    <a:pt x="10" y="3347"/>
                  </a:lnTo>
                  <a:lnTo>
                    <a:pt x="7" y="3359"/>
                  </a:lnTo>
                  <a:lnTo>
                    <a:pt x="4" y="3373"/>
                  </a:lnTo>
                  <a:lnTo>
                    <a:pt x="2" y="3385"/>
                  </a:lnTo>
                  <a:lnTo>
                    <a:pt x="1" y="3397"/>
                  </a:lnTo>
                  <a:lnTo>
                    <a:pt x="0" y="3409"/>
                  </a:lnTo>
                  <a:lnTo>
                    <a:pt x="0" y="3422"/>
                  </a:lnTo>
                  <a:lnTo>
                    <a:pt x="1" y="3434"/>
                  </a:lnTo>
                  <a:lnTo>
                    <a:pt x="2" y="3446"/>
                  </a:lnTo>
                  <a:lnTo>
                    <a:pt x="4" y="3458"/>
                  </a:lnTo>
                  <a:lnTo>
                    <a:pt x="6" y="3470"/>
                  </a:lnTo>
                  <a:lnTo>
                    <a:pt x="9" y="3481"/>
                  </a:lnTo>
                  <a:lnTo>
                    <a:pt x="12" y="3493"/>
                  </a:lnTo>
                  <a:lnTo>
                    <a:pt x="16" y="3504"/>
                  </a:lnTo>
                  <a:lnTo>
                    <a:pt x="20" y="3515"/>
                  </a:lnTo>
                  <a:lnTo>
                    <a:pt x="25" y="3526"/>
                  </a:lnTo>
                  <a:lnTo>
                    <a:pt x="32" y="3538"/>
                  </a:lnTo>
                  <a:lnTo>
                    <a:pt x="38" y="3548"/>
                  </a:lnTo>
                  <a:lnTo>
                    <a:pt x="45" y="3559"/>
                  </a:lnTo>
                  <a:lnTo>
                    <a:pt x="52" y="3568"/>
                  </a:lnTo>
                  <a:lnTo>
                    <a:pt x="59" y="3578"/>
                  </a:lnTo>
                  <a:lnTo>
                    <a:pt x="67" y="3587"/>
                  </a:lnTo>
                  <a:lnTo>
                    <a:pt x="75" y="3596"/>
                  </a:lnTo>
                  <a:lnTo>
                    <a:pt x="84" y="3604"/>
                  </a:lnTo>
                  <a:lnTo>
                    <a:pt x="94" y="3612"/>
                  </a:lnTo>
                  <a:lnTo>
                    <a:pt x="103" y="3620"/>
                  </a:lnTo>
                  <a:lnTo>
                    <a:pt x="114" y="3627"/>
                  </a:lnTo>
                  <a:lnTo>
                    <a:pt x="124" y="3633"/>
                  </a:lnTo>
                  <a:lnTo>
                    <a:pt x="135" y="3639"/>
                  </a:lnTo>
                  <a:lnTo>
                    <a:pt x="147" y="3645"/>
                  </a:lnTo>
                  <a:lnTo>
                    <a:pt x="159" y="3650"/>
                  </a:lnTo>
                  <a:lnTo>
                    <a:pt x="171" y="3655"/>
                  </a:lnTo>
                  <a:lnTo>
                    <a:pt x="183" y="3659"/>
                  </a:lnTo>
                  <a:lnTo>
                    <a:pt x="195" y="3662"/>
                  </a:lnTo>
                  <a:lnTo>
                    <a:pt x="208" y="3664"/>
                  </a:lnTo>
                  <a:lnTo>
                    <a:pt x="220" y="3666"/>
                  </a:lnTo>
                  <a:lnTo>
                    <a:pt x="232" y="3668"/>
                  </a:lnTo>
                  <a:lnTo>
                    <a:pt x="245" y="3668"/>
                  </a:lnTo>
                  <a:lnTo>
                    <a:pt x="257" y="3668"/>
                  </a:lnTo>
                  <a:lnTo>
                    <a:pt x="269" y="3668"/>
                  </a:lnTo>
                  <a:lnTo>
                    <a:pt x="281" y="3667"/>
                  </a:lnTo>
                  <a:lnTo>
                    <a:pt x="293" y="3665"/>
                  </a:lnTo>
                  <a:lnTo>
                    <a:pt x="305" y="3663"/>
                  </a:lnTo>
                  <a:lnTo>
                    <a:pt x="316" y="3660"/>
                  </a:lnTo>
                  <a:lnTo>
                    <a:pt x="328" y="3657"/>
                  </a:lnTo>
                  <a:lnTo>
                    <a:pt x="339" y="3653"/>
                  </a:lnTo>
                  <a:lnTo>
                    <a:pt x="350" y="3648"/>
                  </a:lnTo>
                  <a:lnTo>
                    <a:pt x="361" y="3643"/>
                  </a:lnTo>
                  <a:lnTo>
                    <a:pt x="373" y="3638"/>
                  </a:lnTo>
                  <a:lnTo>
                    <a:pt x="383" y="3632"/>
                  </a:lnTo>
                  <a:lnTo>
                    <a:pt x="393" y="3625"/>
                  </a:lnTo>
                  <a:lnTo>
                    <a:pt x="403" y="3618"/>
                  </a:lnTo>
                  <a:lnTo>
                    <a:pt x="413" y="3611"/>
                  </a:lnTo>
                  <a:lnTo>
                    <a:pt x="422" y="3603"/>
                  </a:lnTo>
                  <a:lnTo>
                    <a:pt x="431" y="3594"/>
                  </a:lnTo>
                  <a:lnTo>
                    <a:pt x="439" y="3586"/>
                  </a:lnTo>
                  <a:lnTo>
                    <a:pt x="447" y="3576"/>
                  </a:lnTo>
                  <a:lnTo>
                    <a:pt x="454" y="3566"/>
                  </a:lnTo>
                  <a:lnTo>
                    <a:pt x="461" y="3556"/>
                  </a:lnTo>
                  <a:lnTo>
                    <a:pt x="468" y="3546"/>
                  </a:lnTo>
                  <a:lnTo>
                    <a:pt x="474" y="3535"/>
                  </a:lnTo>
                  <a:lnTo>
                    <a:pt x="480" y="3522"/>
                  </a:lnTo>
                  <a:lnTo>
                    <a:pt x="485" y="3510"/>
                  </a:lnTo>
                  <a:lnTo>
                    <a:pt x="540" y="3379"/>
                  </a:lnTo>
                  <a:lnTo>
                    <a:pt x="598" y="3249"/>
                  </a:lnTo>
                  <a:lnTo>
                    <a:pt x="658" y="3121"/>
                  </a:lnTo>
                  <a:lnTo>
                    <a:pt x="722" y="2996"/>
                  </a:lnTo>
                  <a:lnTo>
                    <a:pt x="788" y="2873"/>
                  </a:lnTo>
                  <a:lnTo>
                    <a:pt x="857" y="2752"/>
                  </a:lnTo>
                  <a:lnTo>
                    <a:pt x="929" y="2633"/>
                  </a:lnTo>
                  <a:lnTo>
                    <a:pt x="1004" y="2518"/>
                  </a:lnTo>
                  <a:lnTo>
                    <a:pt x="1081" y="2404"/>
                  </a:lnTo>
                  <a:lnTo>
                    <a:pt x="1160" y="2292"/>
                  </a:lnTo>
                  <a:lnTo>
                    <a:pt x="1243" y="2183"/>
                  </a:lnTo>
                  <a:lnTo>
                    <a:pt x="1327" y="2076"/>
                  </a:lnTo>
                  <a:lnTo>
                    <a:pt x="1415" y="1971"/>
                  </a:lnTo>
                  <a:lnTo>
                    <a:pt x="1503" y="1870"/>
                  </a:lnTo>
                  <a:lnTo>
                    <a:pt x="1595" y="1770"/>
                  </a:lnTo>
                  <a:lnTo>
                    <a:pt x="1689" y="1674"/>
                  </a:lnTo>
                  <a:lnTo>
                    <a:pt x="1785" y="1579"/>
                  </a:lnTo>
                  <a:lnTo>
                    <a:pt x="1882" y="1487"/>
                  </a:lnTo>
                  <a:lnTo>
                    <a:pt x="1983" y="1398"/>
                  </a:lnTo>
                  <a:lnTo>
                    <a:pt x="2085" y="1311"/>
                  </a:lnTo>
                  <a:lnTo>
                    <a:pt x="2189" y="1227"/>
                  </a:lnTo>
                  <a:lnTo>
                    <a:pt x="2295" y="1145"/>
                  </a:lnTo>
                  <a:lnTo>
                    <a:pt x="2403" y="1067"/>
                  </a:lnTo>
                  <a:lnTo>
                    <a:pt x="2512" y="990"/>
                  </a:lnTo>
                  <a:lnTo>
                    <a:pt x="2623" y="917"/>
                  </a:lnTo>
                  <a:lnTo>
                    <a:pt x="2735" y="847"/>
                  </a:lnTo>
                  <a:lnTo>
                    <a:pt x="2850" y="778"/>
                  </a:lnTo>
                  <a:lnTo>
                    <a:pt x="2966" y="714"/>
                  </a:lnTo>
                  <a:lnTo>
                    <a:pt x="3084" y="651"/>
                  </a:lnTo>
                  <a:lnTo>
                    <a:pt x="3202" y="592"/>
                  </a:lnTo>
                  <a:lnTo>
                    <a:pt x="3322" y="535"/>
                  </a:lnTo>
                  <a:lnTo>
                    <a:pt x="3444" y="481"/>
                  </a:lnTo>
                  <a:lnTo>
                    <a:pt x="3455" y="476"/>
                  </a:lnTo>
                  <a:lnTo>
                    <a:pt x="3467" y="470"/>
                  </a:lnTo>
                  <a:lnTo>
                    <a:pt x="3477" y="463"/>
                  </a:lnTo>
                  <a:lnTo>
                    <a:pt x="3488" y="457"/>
                  </a:lnTo>
                  <a:lnTo>
                    <a:pt x="3498" y="449"/>
                  </a:lnTo>
                  <a:lnTo>
                    <a:pt x="3507" y="441"/>
                  </a:lnTo>
                  <a:lnTo>
                    <a:pt x="3517" y="433"/>
                  </a:lnTo>
                  <a:lnTo>
                    <a:pt x="3525" y="425"/>
                  </a:lnTo>
                  <a:lnTo>
                    <a:pt x="3533" y="416"/>
                  </a:lnTo>
                  <a:lnTo>
                    <a:pt x="3541" y="406"/>
                  </a:lnTo>
                  <a:lnTo>
                    <a:pt x="3548" y="397"/>
                  </a:lnTo>
                  <a:lnTo>
                    <a:pt x="3555" y="387"/>
                  </a:lnTo>
                  <a:lnTo>
                    <a:pt x="3561" y="377"/>
                  </a:lnTo>
                  <a:lnTo>
                    <a:pt x="3567" y="366"/>
                  </a:lnTo>
                  <a:lnTo>
                    <a:pt x="3572" y="355"/>
                  </a:lnTo>
                  <a:lnTo>
                    <a:pt x="3577" y="344"/>
                  </a:lnTo>
                  <a:lnTo>
                    <a:pt x="3581" y="333"/>
                  </a:lnTo>
                  <a:lnTo>
                    <a:pt x="3585" y="322"/>
                  </a:lnTo>
                  <a:lnTo>
                    <a:pt x="3589" y="309"/>
                  </a:lnTo>
                  <a:lnTo>
                    <a:pt x="3591" y="297"/>
                  </a:lnTo>
                  <a:lnTo>
                    <a:pt x="3593" y="286"/>
                  </a:lnTo>
                  <a:lnTo>
                    <a:pt x="3595" y="274"/>
                  </a:lnTo>
                  <a:lnTo>
                    <a:pt x="3596" y="261"/>
                  </a:lnTo>
                  <a:lnTo>
                    <a:pt x="3596" y="249"/>
                  </a:lnTo>
                  <a:lnTo>
                    <a:pt x="3596" y="237"/>
                  </a:lnTo>
                  <a:lnTo>
                    <a:pt x="3595" y="225"/>
                  </a:lnTo>
                  <a:lnTo>
                    <a:pt x="3593" y="213"/>
                  </a:lnTo>
                  <a:lnTo>
                    <a:pt x="3591" y="200"/>
                  </a:lnTo>
                  <a:lnTo>
                    <a:pt x="3588" y="188"/>
                  </a:lnTo>
                  <a:lnTo>
                    <a:pt x="3584" y="176"/>
                  </a:lnTo>
                  <a:lnTo>
                    <a:pt x="3579" y="164"/>
                  </a:lnTo>
                  <a:lnTo>
                    <a:pt x="3575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25" name="i$ľîḋê">
              <a:extLst>
                <a:ext uri="{FF2B5EF4-FFF2-40B4-BE49-F238E27FC236}">
                  <a16:creationId xmlns:a16="http://schemas.microsoft.com/office/drawing/2014/main" id="{84A596C5-0EAD-4C21-A006-E7D5ED6D62A1}"/>
                </a:ext>
              </a:extLst>
            </p:cNvPr>
            <p:cNvSpPr/>
            <p:nvPr/>
          </p:nvSpPr>
          <p:spPr bwMode="auto">
            <a:xfrm>
              <a:off x="6401579" y="3391394"/>
              <a:ext cx="69061" cy="70745"/>
            </a:xfrm>
            <a:custGeom>
              <a:avLst/>
              <a:gdLst>
                <a:gd name="T0" fmla="*/ 2939 w 3057"/>
                <a:gd name="T1" fmla="*/ 464 h 3119"/>
                <a:gd name="T2" fmla="*/ 2978 w 3057"/>
                <a:gd name="T3" fmla="*/ 434 h 3119"/>
                <a:gd name="T4" fmla="*/ 3011 w 3057"/>
                <a:gd name="T5" fmla="*/ 397 h 3119"/>
                <a:gd name="T6" fmla="*/ 3035 w 3057"/>
                <a:gd name="T7" fmla="*/ 355 h 3119"/>
                <a:gd name="T8" fmla="*/ 3050 w 3057"/>
                <a:gd name="T9" fmla="*/ 310 h 3119"/>
                <a:gd name="T10" fmla="*/ 3057 w 3057"/>
                <a:gd name="T11" fmla="*/ 263 h 3119"/>
                <a:gd name="T12" fmla="*/ 3055 w 3057"/>
                <a:gd name="T13" fmla="*/ 213 h 3119"/>
                <a:gd name="T14" fmla="*/ 3042 w 3057"/>
                <a:gd name="T15" fmla="*/ 164 h 3119"/>
                <a:gd name="T16" fmla="*/ 3020 w 3057"/>
                <a:gd name="T17" fmla="*/ 118 h 3119"/>
                <a:gd name="T18" fmla="*/ 2988 w 3057"/>
                <a:gd name="T19" fmla="*/ 79 h 3119"/>
                <a:gd name="T20" fmla="*/ 2952 w 3057"/>
                <a:gd name="T21" fmla="*/ 46 h 3119"/>
                <a:gd name="T22" fmla="*/ 2910 w 3057"/>
                <a:gd name="T23" fmla="*/ 22 h 3119"/>
                <a:gd name="T24" fmla="*/ 2865 w 3057"/>
                <a:gd name="T25" fmla="*/ 7 h 3119"/>
                <a:gd name="T26" fmla="*/ 2816 w 3057"/>
                <a:gd name="T27" fmla="*/ 0 h 3119"/>
                <a:gd name="T28" fmla="*/ 2767 w 3057"/>
                <a:gd name="T29" fmla="*/ 3 h 3119"/>
                <a:gd name="T30" fmla="*/ 2719 w 3057"/>
                <a:gd name="T31" fmla="*/ 15 h 3119"/>
                <a:gd name="T32" fmla="*/ 2584 w 3057"/>
                <a:gd name="T33" fmla="*/ 79 h 3119"/>
                <a:gd name="T34" fmla="*/ 2157 w 3057"/>
                <a:gd name="T35" fmla="*/ 300 h 3119"/>
                <a:gd name="T36" fmla="*/ 1752 w 3057"/>
                <a:gd name="T37" fmla="*/ 561 h 3119"/>
                <a:gd name="T38" fmla="*/ 1373 w 3057"/>
                <a:gd name="T39" fmla="*/ 862 h 3119"/>
                <a:gd name="T40" fmla="*/ 1022 w 3057"/>
                <a:gd name="T41" fmla="*/ 1199 h 3119"/>
                <a:gd name="T42" fmla="*/ 703 w 3057"/>
                <a:gd name="T43" fmla="*/ 1573 h 3119"/>
                <a:gd name="T44" fmla="*/ 419 w 3057"/>
                <a:gd name="T45" fmla="*/ 1981 h 3119"/>
                <a:gd name="T46" fmla="*/ 175 w 3057"/>
                <a:gd name="T47" fmla="*/ 2422 h 3119"/>
                <a:gd name="T48" fmla="*/ 14 w 3057"/>
                <a:gd name="T49" fmla="*/ 2786 h 3119"/>
                <a:gd name="T50" fmla="*/ 2 w 3057"/>
                <a:gd name="T51" fmla="*/ 2835 h 3119"/>
                <a:gd name="T52" fmla="*/ 1 w 3057"/>
                <a:gd name="T53" fmla="*/ 2884 h 3119"/>
                <a:gd name="T54" fmla="*/ 9 w 3057"/>
                <a:gd name="T55" fmla="*/ 2931 h 3119"/>
                <a:gd name="T56" fmla="*/ 26 w 3057"/>
                <a:gd name="T57" fmla="*/ 2977 h 3119"/>
                <a:gd name="T58" fmla="*/ 51 w 3057"/>
                <a:gd name="T59" fmla="*/ 3018 h 3119"/>
                <a:gd name="T60" fmla="*/ 83 w 3057"/>
                <a:gd name="T61" fmla="*/ 3054 h 3119"/>
                <a:gd name="T62" fmla="*/ 124 w 3057"/>
                <a:gd name="T63" fmla="*/ 3083 h 3119"/>
                <a:gd name="T64" fmla="*/ 171 w 3057"/>
                <a:gd name="T65" fmla="*/ 3105 h 3119"/>
                <a:gd name="T66" fmla="*/ 219 w 3057"/>
                <a:gd name="T67" fmla="*/ 3116 h 3119"/>
                <a:gd name="T68" fmla="*/ 268 w 3057"/>
                <a:gd name="T69" fmla="*/ 3119 h 3119"/>
                <a:gd name="T70" fmla="*/ 317 w 3057"/>
                <a:gd name="T71" fmla="*/ 3110 h 3119"/>
                <a:gd name="T72" fmla="*/ 361 w 3057"/>
                <a:gd name="T73" fmla="*/ 3093 h 3119"/>
                <a:gd name="T74" fmla="*/ 402 w 3057"/>
                <a:gd name="T75" fmla="*/ 3068 h 3119"/>
                <a:gd name="T76" fmla="*/ 438 w 3057"/>
                <a:gd name="T77" fmla="*/ 3035 h 3119"/>
                <a:gd name="T78" fmla="*/ 469 w 3057"/>
                <a:gd name="T79" fmla="*/ 2996 h 3119"/>
                <a:gd name="T80" fmla="*/ 530 w 3057"/>
                <a:gd name="T81" fmla="*/ 2853 h 3119"/>
                <a:gd name="T82" fmla="*/ 733 w 3057"/>
                <a:gd name="T83" fmla="*/ 2439 h 3119"/>
                <a:gd name="T84" fmla="*/ 973 w 3057"/>
                <a:gd name="T85" fmla="*/ 2055 h 3119"/>
                <a:gd name="T86" fmla="*/ 1245 w 3057"/>
                <a:gd name="T87" fmla="*/ 1701 h 3119"/>
                <a:gd name="T88" fmla="*/ 1548 w 3057"/>
                <a:gd name="T89" fmla="*/ 1380 h 3119"/>
                <a:gd name="T90" fmla="*/ 1879 w 3057"/>
                <a:gd name="T91" fmla="*/ 1092 h 3119"/>
                <a:gd name="T92" fmla="*/ 2234 w 3057"/>
                <a:gd name="T93" fmla="*/ 839 h 3119"/>
                <a:gd name="T94" fmla="*/ 2610 w 3057"/>
                <a:gd name="T95" fmla="*/ 622 h 3119"/>
                <a:gd name="T96" fmla="*/ 2905 w 3057"/>
                <a:gd name="T97" fmla="*/ 482 h 3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57" h="3119">
                  <a:moveTo>
                    <a:pt x="2905" y="482"/>
                  </a:moveTo>
                  <a:lnTo>
                    <a:pt x="2917" y="477"/>
                  </a:lnTo>
                  <a:lnTo>
                    <a:pt x="2928" y="471"/>
                  </a:lnTo>
                  <a:lnTo>
                    <a:pt x="2939" y="464"/>
                  </a:lnTo>
                  <a:lnTo>
                    <a:pt x="2949" y="458"/>
                  </a:lnTo>
                  <a:lnTo>
                    <a:pt x="2959" y="450"/>
                  </a:lnTo>
                  <a:lnTo>
                    <a:pt x="2969" y="442"/>
                  </a:lnTo>
                  <a:lnTo>
                    <a:pt x="2978" y="434"/>
                  </a:lnTo>
                  <a:lnTo>
                    <a:pt x="2986" y="426"/>
                  </a:lnTo>
                  <a:lnTo>
                    <a:pt x="2996" y="417"/>
                  </a:lnTo>
                  <a:lnTo>
                    <a:pt x="3003" y="408"/>
                  </a:lnTo>
                  <a:lnTo>
                    <a:pt x="3011" y="397"/>
                  </a:lnTo>
                  <a:lnTo>
                    <a:pt x="3017" y="387"/>
                  </a:lnTo>
                  <a:lnTo>
                    <a:pt x="3024" y="377"/>
                  </a:lnTo>
                  <a:lnTo>
                    <a:pt x="3029" y="366"/>
                  </a:lnTo>
                  <a:lnTo>
                    <a:pt x="3035" y="355"/>
                  </a:lnTo>
                  <a:lnTo>
                    <a:pt x="3039" y="344"/>
                  </a:lnTo>
                  <a:lnTo>
                    <a:pt x="3044" y="333"/>
                  </a:lnTo>
                  <a:lnTo>
                    <a:pt x="3047" y="322"/>
                  </a:lnTo>
                  <a:lnTo>
                    <a:pt x="3050" y="310"/>
                  </a:lnTo>
                  <a:lnTo>
                    <a:pt x="3053" y="298"/>
                  </a:lnTo>
                  <a:lnTo>
                    <a:pt x="3055" y="287"/>
                  </a:lnTo>
                  <a:lnTo>
                    <a:pt x="3056" y="275"/>
                  </a:lnTo>
                  <a:lnTo>
                    <a:pt x="3057" y="263"/>
                  </a:lnTo>
                  <a:lnTo>
                    <a:pt x="3057" y="250"/>
                  </a:lnTo>
                  <a:lnTo>
                    <a:pt x="3057" y="237"/>
                  </a:lnTo>
                  <a:lnTo>
                    <a:pt x="3056" y="225"/>
                  </a:lnTo>
                  <a:lnTo>
                    <a:pt x="3055" y="213"/>
                  </a:lnTo>
                  <a:lnTo>
                    <a:pt x="3052" y="200"/>
                  </a:lnTo>
                  <a:lnTo>
                    <a:pt x="3050" y="188"/>
                  </a:lnTo>
                  <a:lnTo>
                    <a:pt x="3046" y="176"/>
                  </a:lnTo>
                  <a:lnTo>
                    <a:pt x="3042" y="164"/>
                  </a:lnTo>
                  <a:lnTo>
                    <a:pt x="3037" y="152"/>
                  </a:lnTo>
                  <a:lnTo>
                    <a:pt x="3032" y="140"/>
                  </a:lnTo>
                  <a:lnTo>
                    <a:pt x="3026" y="129"/>
                  </a:lnTo>
                  <a:lnTo>
                    <a:pt x="3020" y="118"/>
                  </a:lnTo>
                  <a:lnTo>
                    <a:pt x="3013" y="108"/>
                  </a:lnTo>
                  <a:lnTo>
                    <a:pt x="3005" y="98"/>
                  </a:lnTo>
                  <a:lnTo>
                    <a:pt x="2998" y="88"/>
                  </a:lnTo>
                  <a:lnTo>
                    <a:pt x="2988" y="79"/>
                  </a:lnTo>
                  <a:lnTo>
                    <a:pt x="2980" y="71"/>
                  </a:lnTo>
                  <a:lnTo>
                    <a:pt x="2971" y="61"/>
                  </a:lnTo>
                  <a:lnTo>
                    <a:pt x="2962" y="54"/>
                  </a:lnTo>
                  <a:lnTo>
                    <a:pt x="2952" y="46"/>
                  </a:lnTo>
                  <a:lnTo>
                    <a:pt x="2942" y="40"/>
                  </a:lnTo>
                  <a:lnTo>
                    <a:pt x="2932" y="33"/>
                  </a:lnTo>
                  <a:lnTo>
                    <a:pt x="2921" y="28"/>
                  </a:lnTo>
                  <a:lnTo>
                    <a:pt x="2910" y="22"/>
                  </a:lnTo>
                  <a:lnTo>
                    <a:pt x="2899" y="18"/>
                  </a:lnTo>
                  <a:lnTo>
                    <a:pt x="2888" y="13"/>
                  </a:lnTo>
                  <a:lnTo>
                    <a:pt x="2877" y="10"/>
                  </a:lnTo>
                  <a:lnTo>
                    <a:pt x="2865" y="7"/>
                  </a:lnTo>
                  <a:lnTo>
                    <a:pt x="2853" y="4"/>
                  </a:lnTo>
                  <a:lnTo>
                    <a:pt x="2841" y="2"/>
                  </a:lnTo>
                  <a:lnTo>
                    <a:pt x="2829" y="1"/>
                  </a:lnTo>
                  <a:lnTo>
                    <a:pt x="2816" y="0"/>
                  </a:lnTo>
                  <a:lnTo>
                    <a:pt x="2804" y="0"/>
                  </a:lnTo>
                  <a:lnTo>
                    <a:pt x="2792" y="0"/>
                  </a:lnTo>
                  <a:lnTo>
                    <a:pt x="2780" y="1"/>
                  </a:lnTo>
                  <a:lnTo>
                    <a:pt x="2767" y="3"/>
                  </a:lnTo>
                  <a:lnTo>
                    <a:pt x="2755" y="5"/>
                  </a:lnTo>
                  <a:lnTo>
                    <a:pt x="2743" y="8"/>
                  </a:lnTo>
                  <a:lnTo>
                    <a:pt x="2731" y="11"/>
                  </a:lnTo>
                  <a:lnTo>
                    <a:pt x="2719" y="15"/>
                  </a:lnTo>
                  <a:lnTo>
                    <a:pt x="2707" y="20"/>
                  </a:lnTo>
                  <a:lnTo>
                    <a:pt x="2700" y="25"/>
                  </a:lnTo>
                  <a:lnTo>
                    <a:pt x="2694" y="29"/>
                  </a:lnTo>
                  <a:lnTo>
                    <a:pt x="2584" y="79"/>
                  </a:lnTo>
                  <a:lnTo>
                    <a:pt x="2475" y="130"/>
                  </a:lnTo>
                  <a:lnTo>
                    <a:pt x="2368" y="184"/>
                  </a:lnTo>
                  <a:lnTo>
                    <a:pt x="2262" y="241"/>
                  </a:lnTo>
                  <a:lnTo>
                    <a:pt x="2157" y="300"/>
                  </a:lnTo>
                  <a:lnTo>
                    <a:pt x="2054" y="361"/>
                  </a:lnTo>
                  <a:lnTo>
                    <a:pt x="1951" y="426"/>
                  </a:lnTo>
                  <a:lnTo>
                    <a:pt x="1851" y="492"/>
                  </a:lnTo>
                  <a:lnTo>
                    <a:pt x="1752" y="561"/>
                  </a:lnTo>
                  <a:lnTo>
                    <a:pt x="1655" y="633"/>
                  </a:lnTo>
                  <a:lnTo>
                    <a:pt x="1559" y="707"/>
                  </a:lnTo>
                  <a:lnTo>
                    <a:pt x="1465" y="783"/>
                  </a:lnTo>
                  <a:lnTo>
                    <a:pt x="1373" y="862"/>
                  </a:lnTo>
                  <a:lnTo>
                    <a:pt x="1282" y="943"/>
                  </a:lnTo>
                  <a:lnTo>
                    <a:pt x="1194" y="1026"/>
                  </a:lnTo>
                  <a:lnTo>
                    <a:pt x="1107" y="1112"/>
                  </a:lnTo>
                  <a:lnTo>
                    <a:pt x="1022" y="1199"/>
                  </a:lnTo>
                  <a:lnTo>
                    <a:pt x="939" y="1290"/>
                  </a:lnTo>
                  <a:lnTo>
                    <a:pt x="859" y="1382"/>
                  </a:lnTo>
                  <a:lnTo>
                    <a:pt x="779" y="1477"/>
                  </a:lnTo>
                  <a:lnTo>
                    <a:pt x="703" y="1573"/>
                  </a:lnTo>
                  <a:lnTo>
                    <a:pt x="629" y="1672"/>
                  </a:lnTo>
                  <a:lnTo>
                    <a:pt x="557" y="1773"/>
                  </a:lnTo>
                  <a:lnTo>
                    <a:pt x="487" y="1876"/>
                  </a:lnTo>
                  <a:lnTo>
                    <a:pt x="419" y="1981"/>
                  </a:lnTo>
                  <a:lnTo>
                    <a:pt x="355" y="2088"/>
                  </a:lnTo>
                  <a:lnTo>
                    <a:pt x="293" y="2197"/>
                  </a:lnTo>
                  <a:lnTo>
                    <a:pt x="232" y="2309"/>
                  </a:lnTo>
                  <a:lnTo>
                    <a:pt x="175" y="2422"/>
                  </a:lnTo>
                  <a:lnTo>
                    <a:pt x="120" y="2537"/>
                  </a:lnTo>
                  <a:lnTo>
                    <a:pt x="67" y="2655"/>
                  </a:lnTo>
                  <a:lnTo>
                    <a:pt x="18" y="2773"/>
                  </a:lnTo>
                  <a:lnTo>
                    <a:pt x="14" y="2786"/>
                  </a:lnTo>
                  <a:lnTo>
                    <a:pt x="10" y="2798"/>
                  </a:lnTo>
                  <a:lnTo>
                    <a:pt x="7" y="2811"/>
                  </a:lnTo>
                  <a:lnTo>
                    <a:pt x="4" y="2823"/>
                  </a:lnTo>
                  <a:lnTo>
                    <a:pt x="2" y="2835"/>
                  </a:lnTo>
                  <a:lnTo>
                    <a:pt x="1" y="2847"/>
                  </a:lnTo>
                  <a:lnTo>
                    <a:pt x="0" y="2860"/>
                  </a:lnTo>
                  <a:lnTo>
                    <a:pt x="0" y="2872"/>
                  </a:lnTo>
                  <a:lnTo>
                    <a:pt x="1" y="2884"/>
                  </a:lnTo>
                  <a:lnTo>
                    <a:pt x="2" y="2896"/>
                  </a:lnTo>
                  <a:lnTo>
                    <a:pt x="4" y="2908"/>
                  </a:lnTo>
                  <a:lnTo>
                    <a:pt x="6" y="2920"/>
                  </a:lnTo>
                  <a:lnTo>
                    <a:pt x="9" y="2931"/>
                  </a:lnTo>
                  <a:lnTo>
                    <a:pt x="12" y="2943"/>
                  </a:lnTo>
                  <a:lnTo>
                    <a:pt x="16" y="2955"/>
                  </a:lnTo>
                  <a:lnTo>
                    <a:pt x="21" y="2966"/>
                  </a:lnTo>
                  <a:lnTo>
                    <a:pt x="26" y="2977"/>
                  </a:lnTo>
                  <a:lnTo>
                    <a:pt x="31" y="2988"/>
                  </a:lnTo>
                  <a:lnTo>
                    <a:pt x="37" y="2998"/>
                  </a:lnTo>
                  <a:lnTo>
                    <a:pt x="44" y="3008"/>
                  </a:lnTo>
                  <a:lnTo>
                    <a:pt x="51" y="3018"/>
                  </a:lnTo>
                  <a:lnTo>
                    <a:pt x="58" y="3028"/>
                  </a:lnTo>
                  <a:lnTo>
                    <a:pt x="66" y="3037"/>
                  </a:lnTo>
                  <a:lnTo>
                    <a:pt x="75" y="3045"/>
                  </a:lnTo>
                  <a:lnTo>
                    <a:pt x="83" y="3054"/>
                  </a:lnTo>
                  <a:lnTo>
                    <a:pt x="93" y="3062"/>
                  </a:lnTo>
                  <a:lnTo>
                    <a:pt x="103" y="3069"/>
                  </a:lnTo>
                  <a:lnTo>
                    <a:pt x="114" y="3077"/>
                  </a:lnTo>
                  <a:lnTo>
                    <a:pt x="124" y="3083"/>
                  </a:lnTo>
                  <a:lnTo>
                    <a:pt x="135" y="3089"/>
                  </a:lnTo>
                  <a:lnTo>
                    <a:pt x="147" y="3095"/>
                  </a:lnTo>
                  <a:lnTo>
                    <a:pt x="159" y="3100"/>
                  </a:lnTo>
                  <a:lnTo>
                    <a:pt x="171" y="3105"/>
                  </a:lnTo>
                  <a:lnTo>
                    <a:pt x="183" y="3108"/>
                  </a:lnTo>
                  <a:lnTo>
                    <a:pt x="195" y="3112"/>
                  </a:lnTo>
                  <a:lnTo>
                    <a:pt x="207" y="3114"/>
                  </a:lnTo>
                  <a:lnTo>
                    <a:pt x="219" y="3116"/>
                  </a:lnTo>
                  <a:lnTo>
                    <a:pt x="232" y="3117"/>
                  </a:lnTo>
                  <a:lnTo>
                    <a:pt x="244" y="3119"/>
                  </a:lnTo>
                  <a:lnTo>
                    <a:pt x="256" y="3119"/>
                  </a:lnTo>
                  <a:lnTo>
                    <a:pt x="268" y="3119"/>
                  </a:lnTo>
                  <a:lnTo>
                    <a:pt x="280" y="3116"/>
                  </a:lnTo>
                  <a:lnTo>
                    <a:pt x="293" y="3115"/>
                  </a:lnTo>
                  <a:lnTo>
                    <a:pt x="305" y="3112"/>
                  </a:lnTo>
                  <a:lnTo>
                    <a:pt x="317" y="3110"/>
                  </a:lnTo>
                  <a:lnTo>
                    <a:pt x="328" y="3106"/>
                  </a:lnTo>
                  <a:lnTo>
                    <a:pt x="339" y="3102"/>
                  </a:lnTo>
                  <a:lnTo>
                    <a:pt x="351" y="3098"/>
                  </a:lnTo>
                  <a:lnTo>
                    <a:pt x="361" y="3093"/>
                  </a:lnTo>
                  <a:lnTo>
                    <a:pt x="372" y="3088"/>
                  </a:lnTo>
                  <a:lnTo>
                    <a:pt x="382" y="3082"/>
                  </a:lnTo>
                  <a:lnTo>
                    <a:pt x="393" y="3075"/>
                  </a:lnTo>
                  <a:lnTo>
                    <a:pt x="402" y="3068"/>
                  </a:lnTo>
                  <a:lnTo>
                    <a:pt x="412" y="3061"/>
                  </a:lnTo>
                  <a:lnTo>
                    <a:pt x="421" y="3053"/>
                  </a:lnTo>
                  <a:lnTo>
                    <a:pt x="430" y="3044"/>
                  </a:lnTo>
                  <a:lnTo>
                    <a:pt x="438" y="3035"/>
                  </a:lnTo>
                  <a:lnTo>
                    <a:pt x="446" y="3026"/>
                  </a:lnTo>
                  <a:lnTo>
                    <a:pt x="455" y="3016"/>
                  </a:lnTo>
                  <a:lnTo>
                    <a:pt x="462" y="3006"/>
                  </a:lnTo>
                  <a:lnTo>
                    <a:pt x="469" y="2996"/>
                  </a:lnTo>
                  <a:lnTo>
                    <a:pt x="475" y="2984"/>
                  </a:lnTo>
                  <a:lnTo>
                    <a:pt x="480" y="2973"/>
                  </a:lnTo>
                  <a:lnTo>
                    <a:pt x="486" y="2961"/>
                  </a:lnTo>
                  <a:lnTo>
                    <a:pt x="530" y="2853"/>
                  </a:lnTo>
                  <a:lnTo>
                    <a:pt x="577" y="2746"/>
                  </a:lnTo>
                  <a:lnTo>
                    <a:pt x="627" y="2643"/>
                  </a:lnTo>
                  <a:lnTo>
                    <a:pt x="679" y="2540"/>
                  </a:lnTo>
                  <a:lnTo>
                    <a:pt x="733" y="2439"/>
                  </a:lnTo>
                  <a:lnTo>
                    <a:pt x="790" y="2340"/>
                  </a:lnTo>
                  <a:lnTo>
                    <a:pt x="849" y="2243"/>
                  </a:lnTo>
                  <a:lnTo>
                    <a:pt x="909" y="2148"/>
                  </a:lnTo>
                  <a:lnTo>
                    <a:pt x="973" y="2055"/>
                  </a:lnTo>
                  <a:lnTo>
                    <a:pt x="1038" y="1964"/>
                  </a:lnTo>
                  <a:lnTo>
                    <a:pt x="1104" y="1874"/>
                  </a:lnTo>
                  <a:lnTo>
                    <a:pt x="1174" y="1787"/>
                  </a:lnTo>
                  <a:lnTo>
                    <a:pt x="1245" y="1701"/>
                  </a:lnTo>
                  <a:lnTo>
                    <a:pt x="1319" y="1618"/>
                  </a:lnTo>
                  <a:lnTo>
                    <a:pt x="1393" y="1536"/>
                  </a:lnTo>
                  <a:lnTo>
                    <a:pt x="1470" y="1458"/>
                  </a:lnTo>
                  <a:lnTo>
                    <a:pt x="1548" y="1380"/>
                  </a:lnTo>
                  <a:lnTo>
                    <a:pt x="1628" y="1305"/>
                  </a:lnTo>
                  <a:lnTo>
                    <a:pt x="1710" y="1231"/>
                  </a:lnTo>
                  <a:lnTo>
                    <a:pt x="1793" y="1161"/>
                  </a:lnTo>
                  <a:lnTo>
                    <a:pt x="1879" y="1092"/>
                  </a:lnTo>
                  <a:lnTo>
                    <a:pt x="1965" y="1025"/>
                  </a:lnTo>
                  <a:lnTo>
                    <a:pt x="2053" y="961"/>
                  </a:lnTo>
                  <a:lnTo>
                    <a:pt x="2142" y="898"/>
                  </a:lnTo>
                  <a:lnTo>
                    <a:pt x="2234" y="839"/>
                  </a:lnTo>
                  <a:lnTo>
                    <a:pt x="2326" y="781"/>
                  </a:lnTo>
                  <a:lnTo>
                    <a:pt x="2419" y="725"/>
                  </a:lnTo>
                  <a:lnTo>
                    <a:pt x="2515" y="672"/>
                  </a:lnTo>
                  <a:lnTo>
                    <a:pt x="2610" y="622"/>
                  </a:lnTo>
                  <a:lnTo>
                    <a:pt x="2708" y="572"/>
                  </a:lnTo>
                  <a:lnTo>
                    <a:pt x="2805" y="526"/>
                  </a:lnTo>
                  <a:lnTo>
                    <a:pt x="2905" y="483"/>
                  </a:lnTo>
                  <a:lnTo>
                    <a:pt x="2905" y="4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26" name="îṥļïḑè">
              <a:extLst>
                <a:ext uri="{FF2B5EF4-FFF2-40B4-BE49-F238E27FC236}">
                  <a16:creationId xmlns:a16="http://schemas.microsoft.com/office/drawing/2014/main" id="{BE5790DE-96D3-4DCB-9EB4-210D9EE18F42}"/>
                </a:ext>
              </a:extLst>
            </p:cNvPr>
            <p:cNvSpPr/>
            <p:nvPr/>
          </p:nvSpPr>
          <p:spPr bwMode="auto">
            <a:xfrm>
              <a:off x="7709827" y="2267053"/>
              <a:ext cx="62274" cy="82779"/>
            </a:xfrm>
            <a:custGeom>
              <a:avLst/>
              <a:gdLst>
                <a:gd name="T0" fmla="*/ 503 w 3018"/>
                <a:gd name="T1" fmla="*/ 504 h 4030"/>
                <a:gd name="T2" fmla="*/ 2515 w 3018"/>
                <a:gd name="T3" fmla="*/ 3526 h 4030"/>
                <a:gd name="T4" fmla="*/ 1386 w 3018"/>
                <a:gd name="T5" fmla="*/ 175 h 4030"/>
                <a:gd name="T6" fmla="*/ 1320 w 3018"/>
                <a:gd name="T7" fmla="*/ 110 h 4030"/>
                <a:gd name="T8" fmla="*/ 1244 w 3018"/>
                <a:gd name="T9" fmla="*/ 60 h 4030"/>
                <a:gd name="T10" fmla="*/ 1159 w 3018"/>
                <a:gd name="T11" fmla="*/ 24 h 4030"/>
                <a:gd name="T12" fmla="*/ 1069 w 3018"/>
                <a:gd name="T13" fmla="*/ 3 h 4030"/>
                <a:gd name="T14" fmla="*/ 503 w 3018"/>
                <a:gd name="T15" fmla="*/ 0 h 4030"/>
                <a:gd name="T16" fmla="*/ 427 w 3018"/>
                <a:gd name="T17" fmla="*/ 6 h 4030"/>
                <a:gd name="T18" fmla="*/ 353 w 3018"/>
                <a:gd name="T19" fmla="*/ 23 h 4030"/>
                <a:gd name="T20" fmla="*/ 285 w 3018"/>
                <a:gd name="T21" fmla="*/ 50 h 4030"/>
                <a:gd name="T22" fmla="*/ 222 w 3018"/>
                <a:gd name="T23" fmla="*/ 86 h 4030"/>
                <a:gd name="T24" fmla="*/ 165 w 3018"/>
                <a:gd name="T25" fmla="*/ 130 h 4030"/>
                <a:gd name="T26" fmla="*/ 115 w 3018"/>
                <a:gd name="T27" fmla="*/ 183 h 4030"/>
                <a:gd name="T28" fmla="*/ 74 w 3018"/>
                <a:gd name="T29" fmla="*/ 242 h 4030"/>
                <a:gd name="T30" fmla="*/ 40 w 3018"/>
                <a:gd name="T31" fmla="*/ 308 h 4030"/>
                <a:gd name="T32" fmla="*/ 16 w 3018"/>
                <a:gd name="T33" fmla="*/ 377 h 4030"/>
                <a:gd name="T34" fmla="*/ 3 w 3018"/>
                <a:gd name="T35" fmla="*/ 452 h 4030"/>
                <a:gd name="T36" fmla="*/ 0 w 3018"/>
                <a:gd name="T37" fmla="*/ 3526 h 4030"/>
                <a:gd name="T38" fmla="*/ 6 w 3018"/>
                <a:gd name="T39" fmla="*/ 3604 h 4030"/>
                <a:gd name="T40" fmla="*/ 23 w 3018"/>
                <a:gd name="T41" fmla="*/ 3676 h 4030"/>
                <a:gd name="T42" fmla="*/ 50 w 3018"/>
                <a:gd name="T43" fmla="*/ 3745 h 4030"/>
                <a:gd name="T44" fmla="*/ 86 w 3018"/>
                <a:gd name="T45" fmla="*/ 3808 h 4030"/>
                <a:gd name="T46" fmla="*/ 131 w 3018"/>
                <a:gd name="T47" fmla="*/ 3866 h 4030"/>
                <a:gd name="T48" fmla="*/ 183 w 3018"/>
                <a:gd name="T49" fmla="*/ 3915 h 4030"/>
                <a:gd name="T50" fmla="*/ 243 w 3018"/>
                <a:gd name="T51" fmla="*/ 3957 h 4030"/>
                <a:gd name="T52" fmla="*/ 307 w 3018"/>
                <a:gd name="T53" fmla="*/ 3991 h 4030"/>
                <a:gd name="T54" fmla="*/ 378 w 3018"/>
                <a:gd name="T55" fmla="*/ 4015 h 4030"/>
                <a:gd name="T56" fmla="*/ 452 w 3018"/>
                <a:gd name="T57" fmla="*/ 4028 h 4030"/>
                <a:gd name="T58" fmla="*/ 2515 w 3018"/>
                <a:gd name="T59" fmla="*/ 4030 h 4030"/>
                <a:gd name="T60" fmla="*/ 2592 w 3018"/>
                <a:gd name="T61" fmla="*/ 4025 h 4030"/>
                <a:gd name="T62" fmla="*/ 2665 w 3018"/>
                <a:gd name="T63" fmla="*/ 4008 h 4030"/>
                <a:gd name="T64" fmla="*/ 2733 w 3018"/>
                <a:gd name="T65" fmla="*/ 3981 h 4030"/>
                <a:gd name="T66" fmla="*/ 2797 w 3018"/>
                <a:gd name="T67" fmla="*/ 3944 h 4030"/>
                <a:gd name="T68" fmla="*/ 2853 w 3018"/>
                <a:gd name="T69" fmla="*/ 3899 h 4030"/>
                <a:gd name="T70" fmla="*/ 2903 w 3018"/>
                <a:gd name="T71" fmla="*/ 3848 h 4030"/>
                <a:gd name="T72" fmla="*/ 2946 w 3018"/>
                <a:gd name="T73" fmla="*/ 3788 h 4030"/>
                <a:gd name="T74" fmla="*/ 2979 w 3018"/>
                <a:gd name="T75" fmla="*/ 3723 h 4030"/>
                <a:gd name="T76" fmla="*/ 3002 w 3018"/>
                <a:gd name="T77" fmla="*/ 3652 h 4030"/>
                <a:gd name="T78" fmla="*/ 3015 w 3018"/>
                <a:gd name="T79" fmla="*/ 3578 h 4030"/>
                <a:gd name="T80" fmla="*/ 3018 w 3018"/>
                <a:gd name="T81" fmla="*/ 2770 h 4030"/>
                <a:gd name="T82" fmla="*/ 3015 w 3018"/>
                <a:gd name="T83" fmla="*/ 2715 h 4030"/>
                <a:gd name="T84" fmla="*/ 3006 w 3018"/>
                <a:gd name="T85" fmla="*/ 2661 h 4030"/>
                <a:gd name="T86" fmla="*/ 2991 w 3018"/>
                <a:gd name="T87" fmla="*/ 2607 h 4030"/>
                <a:gd name="T88" fmla="*/ 2970 w 3018"/>
                <a:gd name="T89" fmla="*/ 2556 h 4030"/>
                <a:gd name="T90" fmla="*/ 2944 w 3018"/>
                <a:gd name="T91" fmla="*/ 2506 h 40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18" h="4030">
                  <a:moveTo>
                    <a:pt x="2515" y="3526"/>
                  </a:moveTo>
                  <a:lnTo>
                    <a:pt x="503" y="3526"/>
                  </a:lnTo>
                  <a:lnTo>
                    <a:pt x="503" y="504"/>
                  </a:lnTo>
                  <a:lnTo>
                    <a:pt x="1006" y="504"/>
                  </a:lnTo>
                  <a:lnTo>
                    <a:pt x="2515" y="2770"/>
                  </a:lnTo>
                  <a:lnTo>
                    <a:pt x="2515" y="3526"/>
                  </a:lnTo>
                  <a:close/>
                  <a:moveTo>
                    <a:pt x="1425" y="224"/>
                  </a:moveTo>
                  <a:lnTo>
                    <a:pt x="1407" y="199"/>
                  </a:lnTo>
                  <a:lnTo>
                    <a:pt x="1386" y="175"/>
                  </a:lnTo>
                  <a:lnTo>
                    <a:pt x="1365" y="152"/>
                  </a:lnTo>
                  <a:lnTo>
                    <a:pt x="1343" y="130"/>
                  </a:lnTo>
                  <a:lnTo>
                    <a:pt x="1320" y="110"/>
                  </a:lnTo>
                  <a:lnTo>
                    <a:pt x="1296" y="92"/>
                  </a:lnTo>
                  <a:lnTo>
                    <a:pt x="1270" y="75"/>
                  </a:lnTo>
                  <a:lnTo>
                    <a:pt x="1244" y="60"/>
                  </a:lnTo>
                  <a:lnTo>
                    <a:pt x="1216" y="46"/>
                  </a:lnTo>
                  <a:lnTo>
                    <a:pt x="1188" y="34"/>
                  </a:lnTo>
                  <a:lnTo>
                    <a:pt x="1159" y="24"/>
                  </a:lnTo>
                  <a:lnTo>
                    <a:pt x="1130" y="16"/>
                  </a:lnTo>
                  <a:lnTo>
                    <a:pt x="1100" y="9"/>
                  </a:lnTo>
                  <a:lnTo>
                    <a:pt x="1069" y="3"/>
                  </a:lnTo>
                  <a:lnTo>
                    <a:pt x="1037" y="1"/>
                  </a:lnTo>
                  <a:lnTo>
                    <a:pt x="1006" y="0"/>
                  </a:lnTo>
                  <a:lnTo>
                    <a:pt x="503" y="0"/>
                  </a:lnTo>
                  <a:lnTo>
                    <a:pt x="477" y="0"/>
                  </a:lnTo>
                  <a:lnTo>
                    <a:pt x="452" y="2"/>
                  </a:lnTo>
                  <a:lnTo>
                    <a:pt x="427" y="6"/>
                  </a:lnTo>
                  <a:lnTo>
                    <a:pt x="402" y="11"/>
                  </a:lnTo>
                  <a:lnTo>
                    <a:pt x="378" y="16"/>
                  </a:lnTo>
                  <a:lnTo>
                    <a:pt x="353" y="23"/>
                  </a:lnTo>
                  <a:lnTo>
                    <a:pt x="330" y="31"/>
                  </a:lnTo>
                  <a:lnTo>
                    <a:pt x="307" y="40"/>
                  </a:lnTo>
                  <a:lnTo>
                    <a:pt x="285" y="50"/>
                  </a:lnTo>
                  <a:lnTo>
                    <a:pt x="264" y="61"/>
                  </a:lnTo>
                  <a:lnTo>
                    <a:pt x="243" y="73"/>
                  </a:lnTo>
                  <a:lnTo>
                    <a:pt x="222" y="86"/>
                  </a:lnTo>
                  <a:lnTo>
                    <a:pt x="203" y="100"/>
                  </a:lnTo>
                  <a:lnTo>
                    <a:pt x="183" y="115"/>
                  </a:lnTo>
                  <a:lnTo>
                    <a:pt x="165" y="130"/>
                  </a:lnTo>
                  <a:lnTo>
                    <a:pt x="148" y="148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100" y="202"/>
                  </a:lnTo>
                  <a:lnTo>
                    <a:pt x="86" y="222"/>
                  </a:lnTo>
                  <a:lnTo>
                    <a:pt x="74" y="242"/>
                  </a:lnTo>
                  <a:lnTo>
                    <a:pt x="61" y="263"/>
                  </a:lnTo>
                  <a:lnTo>
                    <a:pt x="50" y="286"/>
                  </a:lnTo>
                  <a:lnTo>
                    <a:pt x="40" y="308"/>
                  </a:lnTo>
                  <a:lnTo>
                    <a:pt x="31" y="331"/>
                  </a:lnTo>
                  <a:lnTo>
                    <a:pt x="23" y="354"/>
                  </a:lnTo>
                  <a:lnTo>
                    <a:pt x="16" y="377"/>
                  </a:lnTo>
                  <a:lnTo>
                    <a:pt x="10" y="403"/>
                  </a:lnTo>
                  <a:lnTo>
                    <a:pt x="6" y="427"/>
                  </a:lnTo>
                  <a:lnTo>
                    <a:pt x="3" y="452"/>
                  </a:lnTo>
                  <a:lnTo>
                    <a:pt x="1" y="478"/>
                  </a:lnTo>
                  <a:lnTo>
                    <a:pt x="0" y="504"/>
                  </a:lnTo>
                  <a:lnTo>
                    <a:pt x="0" y="3526"/>
                  </a:lnTo>
                  <a:lnTo>
                    <a:pt x="1" y="3552"/>
                  </a:lnTo>
                  <a:lnTo>
                    <a:pt x="3" y="3578"/>
                  </a:lnTo>
                  <a:lnTo>
                    <a:pt x="6" y="3604"/>
                  </a:lnTo>
                  <a:lnTo>
                    <a:pt x="10" y="3628"/>
                  </a:lnTo>
                  <a:lnTo>
                    <a:pt x="16" y="3652"/>
                  </a:lnTo>
                  <a:lnTo>
                    <a:pt x="23" y="3676"/>
                  </a:lnTo>
                  <a:lnTo>
                    <a:pt x="31" y="3699"/>
                  </a:lnTo>
                  <a:lnTo>
                    <a:pt x="40" y="3723"/>
                  </a:lnTo>
                  <a:lnTo>
                    <a:pt x="50" y="3745"/>
                  </a:lnTo>
                  <a:lnTo>
                    <a:pt x="61" y="3767"/>
                  </a:lnTo>
                  <a:lnTo>
                    <a:pt x="74" y="3788"/>
                  </a:lnTo>
                  <a:lnTo>
                    <a:pt x="86" y="3808"/>
                  </a:lnTo>
                  <a:lnTo>
                    <a:pt x="100" y="3828"/>
                  </a:lnTo>
                  <a:lnTo>
                    <a:pt x="115" y="3848"/>
                  </a:lnTo>
                  <a:lnTo>
                    <a:pt x="131" y="3866"/>
                  </a:lnTo>
                  <a:lnTo>
                    <a:pt x="148" y="3883"/>
                  </a:lnTo>
                  <a:lnTo>
                    <a:pt x="165" y="3899"/>
                  </a:lnTo>
                  <a:lnTo>
                    <a:pt x="183" y="3915"/>
                  </a:lnTo>
                  <a:lnTo>
                    <a:pt x="203" y="3930"/>
                  </a:lnTo>
                  <a:lnTo>
                    <a:pt x="222" y="3944"/>
                  </a:lnTo>
                  <a:lnTo>
                    <a:pt x="243" y="3957"/>
                  </a:lnTo>
                  <a:lnTo>
                    <a:pt x="264" y="3969"/>
                  </a:lnTo>
                  <a:lnTo>
                    <a:pt x="285" y="3981"/>
                  </a:lnTo>
                  <a:lnTo>
                    <a:pt x="307" y="3991"/>
                  </a:lnTo>
                  <a:lnTo>
                    <a:pt x="330" y="4000"/>
                  </a:lnTo>
                  <a:lnTo>
                    <a:pt x="353" y="4008"/>
                  </a:lnTo>
                  <a:lnTo>
                    <a:pt x="378" y="4015"/>
                  </a:lnTo>
                  <a:lnTo>
                    <a:pt x="402" y="4020"/>
                  </a:lnTo>
                  <a:lnTo>
                    <a:pt x="427" y="4025"/>
                  </a:lnTo>
                  <a:lnTo>
                    <a:pt x="452" y="4028"/>
                  </a:lnTo>
                  <a:lnTo>
                    <a:pt x="477" y="4030"/>
                  </a:lnTo>
                  <a:lnTo>
                    <a:pt x="503" y="4030"/>
                  </a:lnTo>
                  <a:lnTo>
                    <a:pt x="2515" y="4030"/>
                  </a:lnTo>
                  <a:lnTo>
                    <a:pt x="2541" y="4030"/>
                  </a:lnTo>
                  <a:lnTo>
                    <a:pt x="2566" y="4028"/>
                  </a:lnTo>
                  <a:lnTo>
                    <a:pt x="2592" y="4025"/>
                  </a:lnTo>
                  <a:lnTo>
                    <a:pt x="2617" y="4020"/>
                  </a:lnTo>
                  <a:lnTo>
                    <a:pt x="2641" y="4015"/>
                  </a:lnTo>
                  <a:lnTo>
                    <a:pt x="2665" y="4008"/>
                  </a:lnTo>
                  <a:lnTo>
                    <a:pt x="2688" y="4000"/>
                  </a:lnTo>
                  <a:lnTo>
                    <a:pt x="2711" y="3991"/>
                  </a:lnTo>
                  <a:lnTo>
                    <a:pt x="2733" y="3981"/>
                  </a:lnTo>
                  <a:lnTo>
                    <a:pt x="2756" y="3969"/>
                  </a:lnTo>
                  <a:lnTo>
                    <a:pt x="2777" y="3957"/>
                  </a:lnTo>
                  <a:lnTo>
                    <a:pt x="2797" y="3944"/>
                  </a:lnTo>
                  <a:lnTo>
                    <a:pt x="2816" y="3930"/>
                  </a:lnTo>
                  <a:lnTo>
                    <a:pt x="2835" y="3915"/>
                  </a:lnTo>
                  <a:lnTo>
                    <a:pt x="2853" y="3899"/>
                  </a:lnTo>
                  <a:lnTo>
                    <a:pt x="2871" y="3883"/>
                  </a:lnTo>
                  <a:lnTo>
                    <a:pt x="2887" y="3866"/>
                  </a:lnTo>
                  <a:lnTo>
                    <a:pt x="2903" y="3848"/>
                  </a:lnTo>
                  <a:lnTo>
                    <a:pt x="2919" y="3828"/>
                  </a:lnTo>
                  <a:lnTo>
                    <a:pt x="2933" y="3808"/>
                  </a:lnTo>
                  <a:lnTo>
                    <a:pt x="2946" y="3788"/>
                  </a:lnTo>
                  <a:lnTo>
                    <a:pt x="2958" y="3767"/>
                  </a:lnTo>
                  <a:lnTo>
                    <a:pt x="2969" y="3745"/>
                  </a:lnTo>
                  <a:lnTo>
                    <a:pt x="2979" y="3723"/>
                  </a:lnTo>
                  <a:lnTo>
                    <a:pt x="2988" y="3699"/>
                  </a:lnTo>
                  <a:lnTo>
                    <a:pt x="2996" y="3676"/>
                  </a:lnTo>
                  <a:lnTo>
                    <a:pt x="3002" y="3652"/>
                  </a:lnTo>
                  <a:lnTo>
                    <a:pt x="3008" y="3628"/>
                  </a:lnTo>
                  <a:lnTo>
                    <a:pt x="3012" y="3604"/>
                  </a:lnTo>
                  <a:lnTo>
                    <a:pt x="3015" y="3578"/>
                  </a:lnTo>
                  <a:lnTo>
                    <a:pt x="3017" y="3552"/>
                  </a:lnTo>
                  <a:lnTo>
                    <a:pt x="3018" y="3526"/>
                  </a:lnTo>
                  <a:lnTo>
                    <a:pt x="3018" y="2770"/>
                  </a:lnTo>
                  <a:lnTo>
                    <a:pt x="3018" y="2752"/>
                  </a:lnTo>
                  <a:lnTo>
                    <a:pt x="3017" y="2734"/>
                  </a:lnTo>
                  <a:lnTo>
                    <a:pt x="3015" y="2715"/>
                  </a:lnTo>
                  <a:lnTo>
                    <a:pt x="3013" y="2697"/>
                  </a:lnTo>
                  <a:lnTo>
                    <a:pt x="3010" y="2679"/>
                  </a:lnTo>
                  <a:lnTo>
                    <a:pt x="3006" y="2661"/>
                  </a:lnTo>
                  <a:lnTo>
                    <a:pt x="3002" y="2642"/>
                  </a:lnTo>
                  <a:lnTo>
                    <a:pt x="2997" y="2625"/>
                  </a:lnTo>
                  <a:lnTo>
                    <a:pt x="2991" y="2607"/>
                  </a:lnTo>
                  <a:lnTo>
                    <a:pt x="2985" y="2590"/>
                  </a:lnTo>
                  <a:lnTo>
                    <a:pt x="2978" y="2573"/>
                  </a:lnTo>
                  <a:lnTo>
                    <a:pt x="2970" y="2556"/>
                  </a:lnTo>
                  <a:lnTo>
                    <a:pt x="2962" y="2540"/>
                  </a:lnTo>
                  <a:lnTo>
                    <a:pt x="2953" y="2523"/>
                  </a:lnTo>
                  <a:lnTo>
                    <a:pt x="2944" y="2506"/>
                  </a:lnTo>
                  <a:lnTo>
                    <a:pt x="2934" y="2491"/>
                  </a:lnTo>
                  <a:lnTo>
                    <a:pt x="1425" y="2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27" name="íśliḋê">
              <a:extLst>
                <a:ext uri="{FF2B5EF4-FFF2-40B4-BE49-F238E27FC236}">
                  <a16:creationId xmlns:a16="http://schemas.microsoft.com/office/drawing/2014/main" id="{F0BE3DF9-EF57-4C5E-ADCC-94E3805CCB13}"/>
                </a:ext>
              </a:extLst>
            </p:cNvPr>
            <p:cNvSpPr/>
            <p:nvPr/>
          </p:nvSpPr>
          <p:spPr bwMode="auto">
            <a:xfrm>
              <a:off x="7482755" y="2184274"/>
              <a:ext cx="330356" cy="268841"/>
            </a:xfrm>
            <a:custGeom>
              <a:avLst/>
              <a:gdLst>
                <a:gd name="T0" fmla="*/ 14958 w 16095"/>
                <a:gd name="T1" fmla="*/ 10414 h 13098"/>
                <a:gd name="T2" fmla="*/ 14612 w 16095"/>
                <a:gd name="T3" fmla="*/ 10578 h 13098"/>
                <a:gd name="T4" fmla="*/ 13430 w 16095"/>
                <a:gd name="T5" fmla="*/ 9605 h 13098"/>
                <a:gd name="T6" fmla="*/ 12244 w 16095"/>
                <a:gd name="T7" fmla="*/ 9076 h 13098"/>
                <a:gd name="T8" fmla="*/ 10967 w 16095"/>
                <a:gd name="T9" fmla="*/ 9402 h 13098"/>
                <a:gd name="T10" fmla="*/ 10179 w 16095"/>
                <a:gd name="T11" fmla="*/ 10419 h 13098"/>
                <a:gd name="T12" fmla="*/ 6951 w 16095"/>
                <a:gd name="T13" fmla="*/ 9661 h 13098"/>
                <a:gd name="T14" fmla="*/ 5791 w 16095"/>
                <a:gd name="T15" fmla="*/ 9085 h 13098"/>
                <a:gd name="T16" fmla="*/ 4497 w 16095"/>
                <a:gd name="T17" fmla="*/ 9359 h 13098"/>
                <a:gd name="T18" fmla="*/ 3670 w 16095"/>
                <a:gd name="T19" fmla="*/ 10341 h 13098"/>
                <a:gd name="T20" fmla="*/ 2737 w 16095"/>
                <a:gd name="T21" fmla="*/ 10493 h 13098"/>
                <a:gd name="T22" fmla="*/ 2526 w 16095"/>
                <a:gd name="T23" fmla="*/ 10177 h 13098"/>
                <a:gd name="T24" fmla="*/ 9773 w 16095"/>
                <a:gd name="T25" fmla="*/ 8381 h 13098"/>
                <a:gd name="T26" fmla="*/ 10495 w 16095"/>
                <a:gd name="T27" fmla="*/ 7502 h 13098"/>
                <a:gd name="T28" fmla="*/ 12812 w 16095"/>
                <a:gd name="T29" fmla="*/ 3586 h 13098"/>
                <a:gd name="T30" fmla="*/ 15062 w 16095"/>
                <a:gd name="T31" fmla="*/ 6889 h 13098"/>
                <a:gd name="T32" fmla="*/ 11820 w 16095"/>
                <a:gd name="T33" fmla="*/ 12058 h 13098"/>
                <a:gd name="T34" fmla="*/ 11211 w 16095"/>
                <a:gd name="T35" fmla="*/ 11606 h 13098"/>
                <a:gd name="T36" fmla="*/ 11098 w 16095"/>
                <a:gd name="T37" fmla="*/ 10831 h 13098"/>
                <a:gd name="T38" fmla="*/ 11550 w 16095"/>
                <a:gd name="T39" fmla="*/ 10221 h 13098"/>
                <a:gd name="T40" fmla="*/ 12323 w 16095"/>
                <a:gd name="T41" fmla="*/ 10107 h 13098"/>
                <a:gd name="T42" fmla="*/ 12931 w 16095"/>
                <a:gd name="T43" fmla="*/ 10561 h 13098"/>
                <a:gd name="T44" fmla="*/ 13046 w 16095"/>
                <a:gd name="T45" fmla="*/ 11335 h 13098"/>
                <a:gd name="T46" fmla="*/ 12593 w 16095"/>
                <a:gd name="T47" fmla="*/ 11944 h 13098"/>
                <a:gd name="T48" fmla="*/ 5330 w 16095"/>
                <a:gd name="T49" fmla="*/ 12070 h 13098"/>
                <a:gd name="T50" fmla="*/ 4699 w 16095"/>
                <a:gd name="T51" fmla="*/ 11646 h 13098"/>
                <a:gd name="T52" fmla="*/ 4548 w 16095"/>
                <a:gd name="T53" fmla="*/ 10880 h 13098"/>
                <a:gd name="T54" fmla="*/ 4970 w 16095"/>
                <a:gd name="T55" fmla="*/ 10247 h 13098"/>
                <a:gd name="T56" fmla="*/ 5736 w 16095"/>
                <a:gd name="T57" fmla="*/ 10096 h 13098"/>
                <a:gd name="T58" fmla="*/ 6368 w 16095"/>
                <a:gd name="T59" fmla="*/ 10520 h 13098"/>
                <a:gd name="T60" fmla="*/ 6518 w 16095"/>
                <a:gd name="T61" fmla="*/ 11286 h 13098"/>
                <a:gd name="T62" fmla="*/ 6095 w 16095"/>
                <a:gd name="T63" fmla="*/ 11918 h 13098"/>
                <a:gd name="T64" fmla="*/ 1432 w 16095"/>
                <a:gd name="T65" fmla="*/ 7551 h 13098"/>
                <a:gd name="T66" fmla="*/ 1106 w 16095"/>
                <a:gd name="T67" fmla="*/ 7355 h 13098"/>
                <a:gd name="T68" fmla="*/ 1009 w 16095"/>
                <a:gd name="T69" fmla="*/ 1460 h 13098"/>
                <a:gd name="T70" fmla="*/ 1189 w 16095"/>
                <a:gd name="T71" fmla="*/ 1122 h 13098"/>
                <a:gd name="T72" fmla="*/ 9080 w 16095"/>
                <a:gd name="T73" fmla="*/ 1008 h 13098"/>
                <a:gd name="T74" fmla="*/ 9426 w 16095"/>
                <a:gd name="T75" fmla="*/ 1172 h 13098"/>
                <a:gd name="T76" fmla="*/ 9556 w 16095"/>
                <a:gd name="T77" fmla="*/ 2519 h 13098"/>
                <a:gd name="T78" fmla="*/ 9442 w 16095"/>
                <a:gd name="T79" fmla="*/ 7374 h 13098"/>
                <a:gd name="T80" fmla="*/ 9105 w 16095"/>
                <a:gd name="T81" fmla="*/ 7554 h 13098"/>
                <a:gd name="T82" fmla="*/ 13480 w 16095"/>
                <a:gd name="T83" fmla="*/ 2820 h 13098"/>
                <a:gd name="T84" fmla="*/ 12808 w 16095"/>
                <a:gd name="T85" fmla="*/ 2537 h 13098"/>
                <a:gd name="T86" fmla="*/ 10413 w 16095"/>
                <a:gd name="T87" fmla="*/ 856 h 13098"/>
                <a:gd name="T88" fmla="*/ 9571 w 16095"/>
                <a:gd name="T89" fmla="*/ 92 h 13098"/>
                <a:gd name="T90" fmla="*/ 922 w 16095"/>
                <a:gd name="T91" fmla="*/ 119 h 13098"/>
                <a:gd name="T92" fmla="*/ 119 w 16095"/>
                <a:gd name="T93" fmla="*/ 924 h 13098"/>
                <a:gd name="T94" fmla="*/ 92 w 16095"/>
                <a:gd name="T95" fmla="*/ 7572 h 13098"/>
                <a:gd name="T96" fmla="*/ 855 w 16095"/>
                <a:gd name="T97" fmla="*/ 8415 h 13098"/>
                <a:gd name="T98" fmla="*/ 1557 w 16095"/>
                <a:gd name="T99" fmla="*/ 10453 h 13098"/>
                <a:gd name="T100" fmla="*/ 2236 w 16095"/>
                <a:gd name="T101" fmla="*/ 11368 h 13098"/>
                <a:gd name="T102" fmla="*/ 3702 w 16095"/>
                <a:gd name="T103" fmla="*/ 11901 h 13098"/>
                <a:gd name="T104" fmla="*/ 4567 w 16095"/>
                <a:gd name="T105" fmla="*/ 12848 h 13098"/>
                <a:gd name="T106" fmla="*/ 5876 w 16095"/>
                <a:gd name="T107" fmla="*/ 13069 h 13098"/>
                <a:gd name="T108" fmla="*/ 7006 w 16095"/>
                <a:gd name="T109" fmla="*/ 12446 h 13098"/>
                <a:gd name="T110" fmla="*/ 10208 w 16095"/>
                <a:gd name="T111" fmla="*/ 11824 h 13098"/>
                <a:gd name="T112" fmla="*/ 11035 w 16095"/>
                <a:gd name="T113" fmla="*/ 12807 h 13098"/>
                <a:gd name="T114" fmla="*/ 12330 w 16095"/>
                <a:gd name="T115" fmla="*/ 13081 h 13098"/>
                <a:gd name="T116" fmla="*/ 13489 w 16095"/>
                <a:gd name="T117" fmla="*/ 12505 h 13098"/>
                <a:gd name="T118" fmla="*/ 14740 w 16095"/>
                <a:gd name="T119" fmla="*/ 11579 h 13098"/>
                <a:gd name="T120" fmla="*/ 15750 w 16095"/>
                <a:gd name="T121" fmla="*/ 11036 h 13098"/>
                <a:gd name="T122" fmla="*/ 16095 w 16095"/>
                <a:gd name="T123" fmla="*/ 7025 h 13098"/>
                <a:gd name="T124" fmla="*/ 16023 w 16095"/>
                <a:gd name="T125" fmla="*/ 6588 h 130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95" h="13098">
                  <a:moveTo>
                    <a:pt x="15089" y="10075"/>
                  </a:moveTo>
                  <a:lnTo>
                    <a:pt x="15088" y="10101"/>
                  </a:lnTo>
                  <a:lnTo>
                    <a:pt x="15087" y="10127"/>
                  </a:lnTo>
                  <a:lnTo>
                    <a:pt x="15083" y="10152"/>
                  </a:lnTo>
                  <a:lnTo>
                    <a:pt x="15079" y="10177"/>
                  </a:lnTo>
                  <a:lnTo>
                    <a:pt x="15073" y="10201"/>
                  </a:lnTo>
                  <a:lnTo>
                    <a:pt x="15067" y="10225"/>
                  </a:lnTo>
                  <a:lnTo>
                    <a:pt x="15059" y="10248"/>
                  </a:lnTo>
                  <a:lnTo>
                    <a:pt x="15050" y="10272"/>
                  </a:lnTo>
                  <a:lnTo>
                    <a:pt x="15040" y="10294"/>
                  </a:lnTo>
                  <a:lnTo>
                    <a:pt x="15029" y="10316"/>
                  </a:lnTo>
                  <a:lnTo>
                    <a:pt x="15017" y="10337"/>
                  </a:lnTo>
                  <a:lnTo>
                    <a:pt x="15004" y="10357"/>
                  </a:lnTo>
                  <a:lnTo>
                    <a:pt x="14989" y="10376"/>
                  </a:lnTo>
                  <a:lnTo>
                    <a:pt x="14974" y="10396"/>
                  </a:lnTo>
                  <a:lnTo>
                    <a:pt x="14958" y="10414"/>
                  </a:lnTo>
                  <a:lnTo>
                    <a:pt x="14942" y="10432"/>
                  </a:lnTo>
                  <a:lnTo>
                    <a:pt x="14924" y="10448"/>
                  </a:lnTo>
                  <a:lnTo>
                    <a:pt x="14906" y="10464"/>
                  </a:lnTo>
                  <a:lnTo>
                    <a:pt x="14887" y="10479"/>
                  </a:lnTo>
                  <a:lnTo>
                    <a:pt x="14868" y="10493"/>
                  </a:lnTo>
                  <a:lnTo>
                    <a:pt x="14848" y="10506"/>
                  </a:lnTo>
                  <a:lnTo>
                    <a:pt x="14827" y="10519"/>
                  </a:lnTo>
                  <a:lnTo>
                    <a:pt x="14804" y="10530"/>
                  </a:lnTo>
                  <a:lnTo>
                    <a:pt x="14782" y="10540"/>
                  </a:lnTo>
                  <a:lnTo>
                    <a:pt x="14759" y="10549"/>
                  </a:lnTo>
                  <a:lnTo>
                    <a:pt x="14736" y="10557"/>
                  </a:lnTo>
                  <a:lnTo>
                    <a:pt x="14712" y="10563"/>
                  </a:lnTo>
                  <a:lnTo>
                    <a:pt x="14688" y="10569"/>
                  </a:lnTo>
                  <a:lnTo>
                    <a:pt x="14663" y="10573"/>
                  </a:lnTo>
                  <a:lnTo>
                    <a:pt x="14637" y="10577"/>
                  </a:lnTo>
                  <a:lnTo>
                    <a:pt x="14612" y="10578"/>
                  </a:lnTo>
                  <a:lnTo>
                    <a:pt x="14586" y="10579"/>
                  </a:lnTo>
                  <a:lnTo>
                    <a:pt x="14012" y="10579"/>
                  </a:lnTo>
                  <a:lnTo>
                    <a:pt x="13989" y="10498"/>
                  </a:lnTo>
                  <a:lnTo>
                    <a:pt x="13962" y="10419"/>
                  </a:lnTo>
                  <a:lnTo>
                    <a:pt x="13934" y="10341"/>
                  </a:lnTo>
                  <a:lnTo>
                    <a:pt x="13902" y="10266"/>
                  </a:lnTo>
                  <a:lnTo>
                    <a:pt x="13867" y="10191"/>
                  </a:lnTo>
                  <a:lnTo>
                    <a:pt x="13829" y="10117"/>
                  </a:lnTo>
                  <a:lnTo>
                    <a:pt x="13788" y="10047"/>
                  </a:lnTo>
                  <a:lnTo>
                    <a:pt x="13745" y="9977"/>
                  </a:lnTo>
                  <a:lnTo>
                    <a:pt x="13699" y="9910"/>
                  </a:lnTo>
                  <a:lnTo>
                    <a:pt x="13650" y="9844"/>
                  </a:lnTo>
                  <a:lnTo>
                    <a:pt x="13598" y="9781"/>
                  </a:lnTo>
                  <a:lnTo>
                    <a:pt x="13545" y="9719"/>
                  </a:lnTo>
                  <a:lnTo>
                    <a:pt x="13489" y="9661"/>
                  </a:lnTo>
                  <a:lnTo>
                    <a:pt x="13430" y="9605"/>
                  </a:lnTo>
                  <a:lnTo>
                    <a:pt x="13370" y="9550"/>
                  </a:lnTo>
                  <a:lnTo>
                    <a:pt x="13308" y="9499"/>
                  </a:lnTo>
                  <a:lnTo>
                    <a:pt x="13242" y="9449"/>
                  </a:lnTo>
                  <a:lnTo>
                    <a:pt x="13176" y="9402"/>
                  </a:lnTo>
                  <a:lnTo>
                    <a:pt x="13107" y="9359"/>
                  </a:lnTo>
                  <a:lnTo>
                    <a:pt x="13036" y="9317"/>
                  </a:lnTo>
                  <a:lnTo>
                    <a:pt x="12964" y="9279"/>
                  </a:lnTo>
                  <a:lnTo>
                    <a:pt x="12890" y="9244"/>
                  </a:lnTo>
                  <a:lnTo>
                    <a:pt x="12815" y="9212"/>
                  </a:lnTo>
                  <a:lnTo>
                    <a:pt x="12737" y="9182"/>
                  </a:lnTo>
                  <a:lnTo>
                    <a:pt x="12658" y="9156"/>
                  </a:lnTo>
                  <a:lnTo>
                    <a:pt x="12578" y="9133"/>
                  </a:lnTo>
                  <a:lnTo>
                    <a:pt x="12497" y="9113"/>
                  </a:lnTo>
                  <a:lnTo>
                    <a:pt x="12413" y="9097"/>
                  </a:lnTo>
                  <a:lnTo>
                    <a:pt x="12330" y="9085"/>
                  </a:lnTo>
                  <a:lnTo>
                    <a:pt x="12244" y="9076"/>
                  </a:lnTo>
                  <a:lnTo>
                    <a:pt x="12159" y="9070"/>
                  </a:lnTo>
                  <a:lnTo>
                    <a:pt x="12071" y="9068"/>
                  </a:lnTo>
                  <a:lnTo>
                    <a:pt x="11984" y="9070"/>
                  </a:lnTo>
                  <a:lnTo>
                    <a:pt x="11898" y="9076"/>
                  </a:lnTo>
                  <a:lnTo>
                    <a:pt x="11813" y="9085"/>
                  </a:lnTo>
                  <a:lnTo>
                    <a:pt x="11729" y="9097"/>
                  </a:lnTo>
                  <a:lnTo>
                    <a:pt x="11646" y="9113"/>
                  </a:lnTo>
                  <a:lnTo>
                    <a:pt x="11564" y="9133"/>
                  </a:lnTo>
                  <a:lnTo>
                    <a:pt x="11484" y="9156"/>
                  </a:lnTo>
                  <a:lnTo>
                    <a:pt x="11405" y="9182"/>
                  </a:lnTo>
                  <a:lnTo>
                    <a:pt x="11328" y="9212"/>
                  </a:lnTo>
                  <a:lnTo>
                    <a:pt x="11252" y="9244"/>
                  </a:lnTo>
                  <a:lnTo>
                    <a:pt x="11178" y="9279"/>
                  </a:lnTo>
                  <a:lnTo>
                    <a:pt x="11106" y="9317"/>
                  </a:lnTo>
                  <a:lnTo>
                    <a:pt x="11035" y="9359"/>
                  </a:lnTo>
                  <a:lnTo>
                    <a:pt x="10967" y="9402"/>
                  </a:lnTo>
                  <a:lnTo>
                    <a:pt x="10899" y="9449"/>
                  </a:lnTo>
                  <a:lnTo>
                    <a:pt x="10835" y="9499"/>
                  </a:lnTo>
                  <a:lnTo>
                    <a:pt x="10772" y="9550"/>
                  </a:lnTo>
                  <a:lnTo>
                    <a:pt x="10711" y="9605"/>
                  </a:lnTo>
                  <a:lnTo>
                    <a:pt x="10653" y="9661"/>
                  </a:lnTo>
                  <a:lnTo>
                    <a:pt x="10597" y="9719"/>
                  </a:lnTo>
                  <a:lnTo>
                    <a:pt x="10543" y="9781"/>
                  </a:lnTo>
                  <a:lnTo>
                    <a:pt x="10492" y="9844"/>
                  </a:lnTo>
                  <a:lnTo>
                    <a:pt x="10444" y="9910"/>
                  </a:lnTo>
                  <a:lnTo>
                    <a:pt x="10397" y="9977"/>
                  </a:lnTo>
                  <a:lnTo>
                    <a:pt x="10354" y="10047"/>
                  </a:lnTo>
                  <a:lnTo>
                    <a:pt x="10313" y="10117"/>
                  </a:lnTo>
                  <a:lnTo>
                    <a:pt x="10275" y="10191"/>
                  </a:lnTo>
                  <a:lnTo>
                    <a:pt x="10240" y="10266"/>
                  </a:lnTo>
                  <a:lnTo>
                    <a:pt x="10208" y="10341"/>
                  </a:lnTo>
                  <a:lnTo>
                    <a:pt x="10179" y="10419"/>
                  </a:lnTo>
                  <a:lnTo>
                    <a:pt x="10153" y="10498"/>
                  </a:lnTo>
                  <a:lnTo>
                    <a:pt x="10131" y="10579"/>
                  </a:lnTo>
                  <a:lnTo>
                    <a:pt x="7473" y="10579"/>
                  </a:lnTo>
                  <a:lnTo>
                    <a:pt x="7450" y="10498"/>
                  </a:lnTo>
                  <a:lnTo>
                    <a:pt x="7425" y="10419"/>
                  </a:lnTo>
                  <a:lnTo>
                    <a:pt x="7396" y="10341"/>
                  </a:lnTo>
                  <a:lnTo>
                    <a:pt x="7363" y="10266"/>
                  </a:lnTo>
                  <a:lnTo>
                    <a:pt x="7328" y="10191"/>
                  </a:lnTo>
                  <a:lnTo>
                    <a:pt x="7290" y="10117"/>
                  </a:lnTo>
                  <a:lnTo>
                    <a:pt x="7250" y="10047"/>
                  </a:lnTo>
                  <a:lnTo>
                    <a:pt x="7207" y="9977"/>
                  </a:lnTo>
                  <a:lnTo>
                    <a:pt x="7160" y="9910"/>
                  </a:lnTo>
                  <a:lnTo>
                    <a:pt x="7112" y="9844"/>
                  </a:lnTo>
                  <a:lnTo>
                    <a:pt x="7061" y="9781"/>
                  </a:lnTo>
                  <a:lnTo>
                    <a:pt x="7006" y="9719"/>
                  </a:lnTo>
                  <a:lnTo>
                    <a:pt x="6951" y="9661"/>
                  </a:lnTo>
                  <a:lnTo>
                    <a:pt x="6892" y="9605"/>
                  </a:lnTo>
                  <a:lnTo>
                    <a:pt x="6831" y="9550"/>
                  </a:lnTo>
                  <a:lnTo>
                    <a:pt x="6769" y="9499"/>
                  </a:lnTo>
                  <a:lnTo>
                    <a:pt x="6705" y="9449"/>
                  </a:lnTo>
                  <a:lnTo>
                    <a:pt x="6637" y="9402"/>
                  </a:lnTo>
                  <a:lnTo>
                    <a:pt x="6569" y="9359"/>
                  </a:lnTo>
                  <a:lnTo>
                    <a:pt x="6498" y="9317"/>
                  </a:lnTo>
                  <a:lnTo>
                    <a:pt x="6426" y="9279"/>
                  </a:lnTo>
                  <a:lnTo>
                    <a:pt x="6351" y="9244"/>
                  </a:lnTo>
                  <a:lnTo>
                    <a:pt x="6276" y="9212"/>
                  </a:lnTo>
                  <a:lnTo>
                    <a:pt x="6199" y="9182"/>
                  </a:lnTo>
                  <a:lnTo>
                    <a:pt x="6120" y="9156"/>
                  </a:lnTo>
                  <a:lnTo>
                    <a:pt x="6040" y="9133"/>
                  </a:lnTo>
                  <a:lnTo>
                    <a:pt x="5958" y="9113"/>
                  </a:lnTo>
                  <a:lnTo>
                    <a:pt x="5876" y="9097"/>
                  </a:lnTo>
                  <a:lnTo>
                    <a:pt x="5791" y="9085"/>
                  </a:lnTo>
                  <a:lnTo>
                    <a:pt x="5707" y="9076"/>
                  </a:lnTo>
                  <a:lnTo>
                    <a:pt x="5620" y="9070"/>
                  </a:lnTo>
                  <a:lnTo>
                    <a:pt x="5533" y="9068"/>
                  </a:lnTo>
                  <a:lnTo>
                    <a:pt x="5446" y="9070"/>
                  </a:lnTo>
                  <a:lnTo>
                    <a:pt x="5360" y="9076"/>
                  </a:lnTo>
                  <a:lnTo>
                    <a:pt x="5274" y="9085"/>
                  </a:lnTo>
                  <a:lnTo>
                    <a:pt x="5191" y="9097"/>
                  </a:lnTo>
                  <a:lnTo>
                    <a:pt x="5107" y="9113"/>
                  </a:lnTo>
                  <a:lnTo>
                    <a:pt x="5026" y="9133"/>
                  </a:lnTo>
                  <a:lnTo>
                    <a:pt x="4946" y="9156"/>
                  </a:lnTo>
                  <a:lnTo>
                    <a:pt x="4867" y="9182"/>
                  </a:lnTo>
                  <a:lnTo>
                    <a:pt x="4789" y="9212"/>
                  </a:lnTo>
                  <a:lnTo>
                    <a:pt x="4714" y="9244"/>
                  </a:lnTo>
                  <a:lnTo>
                    <a:pt x="4639" y="9279"/>
                  </a:lnTo>
                  <a:lnTo>
                    <a:pt x="4567" y="9317"/>
                  </a:lnTo>
                  <a:lnTo>
                    <a:pt x="4497" y="9359"/>
                  </a:lnTo>
                  <a:lnTo>
                    <a:pt x="4428" y="9402"/>
                  </a:lnTo>
                  <a:lnTo>
                    <a:pt x="4361" y="9449"/>
                  </a:lnTo>
                  <a:lnTo>
                    <a:pt x="4296" y="9499"/>
                  </a:lnTo>
                  <a:lnTo>
                    <a:pt x="4233" y="9550"/>
                  </a:lnTo>
                  <a:lnTo>
                    <a:pt x="4173" y="9605"/>
                  </a:lnTo>
                  <a:lnTo>
                    <a:pt x="4114" y="9661"/>
                  </a:lnTo>
                  <a:lnTo>
                    <a:pt x="4059" y="9719"/>
                  </a:lnTo>
                  <a:lnTo>
                    <a:pt x="4005" y="9781"/>
                  </a:lnTo>
                  <a:lnTo>
                    <a:pt x="3953" y="9844"/>
                  </a:lnTo>
                  <a:lnTo>
                    <a:pt x="3905" y="9910"/>
                  </a:lnTo>
                  <a:lnTo>
                    <a:pt x="3859" y="9977"/>
                  </a:lnTo>
                  <a:lnTo>
                    <a:pt x="3816" y="10047"/>
                  </a:lnTo>
                  <a:lnTo>
                    <a:pt x="3774" y="10117"/>
                  </a:lnTo>
                  <a:lnTo>
                    <a:pt x="3737" y="10191"/>
                  </a:lnTo>
                  <a:lnTo>
                    <a:pt x="3702" y="10266"/>
                  </a:lnTo>
                  <a:lnTo>
                    <a:pt x="3670" y="10341"/>
                  </a:lnTo>
                  <a:lnTo>
                    <a:pt x="3640" y="10419"/>
                  </a:lnTo>
                  <a:lnTo>
                    <a:pt x="3614" y="10498"/>
                  </a:lnTo>
                  <a:lnTo>
                    <a:pt x="3592" y="10579"/>
                  </a:lnTo>
                  <a:lnTo>
                    <a:pt x="3018" y="10579"/>
                  </a:lnTo>
                  <a:lnTo>
                    <a:pt x="2993" y="10578"/>
                  </a:lnTo>
                  <a:lnTo>
                    <a:pt x="2967" y="10577"/>
                  </a:lnTo>
                  <a:lnTo>
                    <a:pt x="2941" y="10573"/>
                  </a:lnTo>
                  <a:lnTo>
                    <a:pt x="2917" y="10569"/>
                  </a:lnTo>
                  <a:lnTo>
                    <a:pt x="2892" y="10563"/>
                  </a:lnTo>
                  <a:lnTo>
                    <a:pt x="2869" y="10557"/>
                  </a:lnTo>
                  <a:lnTo>
                    <a:pt x="2845" y="10549"/>
                  </a:lnTo>
                  <a:lnTo>
                    <a:pt x="2823" y="10540"/>
                  </a:lnTo>
                  <a:lnTo>
                    <a:pt x="2800" y="10530"/>
                  </a:lnTo>
                  <a:lnTo>
                    <a:pt x="2778" y="10519"/>
                  </a:lnTo>
                  <a:lnTo>
                    <a:pt x="2757" y="10506"/>
                  </a:lnTo>
                  <a:lnTo>
                    <a:pt x="2737" y="10493"/>
                  </a:lnTo>
                  <a:lnTo>
                    <a:pt x="2717" y="10479"/>
                  </a:lnTo>
                  <a:lnTo>
                    <a:pt x="2698" y="10464"/>
                  </a:lnTo>
                  <a:lnTo>
                    <a:pt x="2680" y="10448"/>
                  </a:lnTo>
                  <a:lnTo>
                    <a:pt x="2663" y="10432"/>
                  </a:lnTo>
                  <a:lnTo>
                    <a:pt x="2646" y="10414"/>
                  </a:lnTo>
                  <a:lnTo>
                    <a:pt x="2630" y="10396"/>
                  </a:lnTo>
                  <a:lnTo>
                    <a:pt x="2615" y="10376"/>
                  </a:lnTo>
                  <a:lnTo>
                    <a:pt x="2601" y="10357"/>
                  </a:lnTo>
                  <a:lnTo>
                    <a:pt x="2588" y="10337"/>
                  </a:lnTo>
                  <a:lnTo>
                    <a:pt x="2576" y="10316"/>
                  </a:lnTo>
                  <a:lnTo>
                    <a:pt x="2565" y="10294"/>
                  </a:lnTo>
                  <a:lnTo>
                    <a:pt x="2555" y="10272"/>
                  </a:lnTo>
                  <a:lnTo>
                    <a:pt x="2546" y="10248"/>
                  </a:lnTo>
                  <a:lnTo>
                    <a:pt x="2538" y="10225"/>
                  </a:lnTo>
                  <a:lnTo>
                    <a:pt x="2531" y="10201"/>
                  </a:lnTo>
                  <a:lnTo>
                    <a:pt x="2526" y="10177"/>
                  </a:lnTo>
                  <a:lnTo>
                    <a:pt x="2521" y="10152"/>
                  </a:lnTo>
                  <a:lnTo>
                    <a:pt x="2518" y="10127"/>
                  </a:lnTo>
                  <a:lnTo>
                    <a:pt x="2516" y="10101"/>
                  </a:lnTo>
                  <a:lnTo>
                    <a:pt x="2515" y="10075"/>
                  </a:lnTo>
                  <a:lnTo>
                    <a:pt x="2515" y="8564"/>
                  </a:lnTo>
                  <a:lnTo>
                    <a:pt x="9053" y="8564"/>
                  </a:lnTo>
                  <a:lnTo>
                    <a:pt x="9131" y="8562"/>
                  </a:lnTo>
                  <a:lnTo>
                    <a:pt x="9207" y="8557"/>
                  </a:lnTo>
                  <a:lnTo>
                    <a:pt x="9283" y="8547"/>
                  </a:lnTo>
                  <a:lnTo>
                    <a:pt x="9357" y="8533"/>
                  </a:lnTo>
                  <a:lnTo>
                    <a:pt x="9431" y="8516"/>
                  </a:lnTo>
                  <a:lnTo>
                    <a:pt x="9502" y="8496"/>
                  </a:lnTo>
                  <a:lnTo>
                    <a:pt x="9571" y="8472"/>
                  </a:lnTo>
                  <a:lnTo>
                    <a:pt x="9641" y="8445"/>
                  </a:lnTo>
                  <a:lnTo>
                    <a:pt x="9707" y="8415"/>
                  </a:lnTo>
                  <a:lnTo>
                    <a:pt x="9773" y="8381"/>
                  </a:lnTo>
                  <a:lnTo>
                    <a:pt x="9835" y="8345"/>
                  </a:lnTo>
                  <a:lnTo>
                    <a:pt x="9896" y="8306"/>
                  </a:lnTo>
                  <a:lnTo>
                    <a:pt x="9956" y="8263"/>
                  </a:lnTo>
                  <a:lnTo>
                    <a:pt x="10013" y="8218"/>
                  </a:lnTo>
                  <a:lnTo>
                    <a:pt x="10067" y="8171"/>
                  </a:lnTo>
                  <a:lnTo>
                    <a:pt x="10120" y="8120"/>
                  </a:lnTo>
                  <a:lnTo>
                    <a:pt x="10170" y="8068"/>
                  </a:lnTo>
                  <a:lnTo>
                    <a:pt x="10217" y="8014"/>
                  </a:lnTo>
                  <a:lnTo>
                    <a:pt x="10263" y="7956"/>
                  </a:lnTo>
                  <a:lnTo>
                    <a:pt x="10305" y="7897"/>
                  </a:lnTo>
                  <a:lnTo>
                    <a:pt x="10344" y="7836"/>
                  </a:lnTo>
                  <a:lnTo>
                    <a:pt x="10380" y="7773"/>
                  </a:lnTo>
                  <a:lnTo>
                    <a:pt x="10413" y="7707"/>
                  </a:lnTo>
                  <a:lnTo>
                    <a:pt x="10444" y="7641"/>
                  </a:lnTo>
                  <a:lnTo>
                    <a:pt x="10471" y="7572"/>
                  </a:lnTo>
                  <a:lnTo>
                    <a:pt x="10495" y="7502"/>
                  </a:lnTo>
                  <a:lnTo>
                    <a:pt x="10515" y="7430"/>
                  </a:lnTo>
                  <a:lnTo>
                    <a:pt x="10532" y="7357"/>
                  </a:lnTo>
                  <a:lnTo>
                    <a:pt x="10545" y="7283"/>
                  </a:lnTo>
                  <a:lnTo>
                    <a:pt x="10554" y="7207"/>
                  </a:lnTo>
                  <a:lnTo>
                    <a:pt x="10560" y="7131"/>
                  </a:lnTo>
                  <a:lnTo>
                    <a:pt x="10562" y="7052"/>
                  </a:lnTo>
                  <a:lnTo>
                    <a:pt x="10562" y="3527"/>
                  </a:lnTo>
                  <a:lnTo>
                    <a:pt x="12574" y="3527"/>
                  </a:lnTo>
                  <a:lnTo>
                    <a:pt x="12605" y="3528"/>
                  </a:lnTo>
                  <a:lnTo>
                    <a:pt x="12637" y="3530"/>
                  </a:lnTo>
                  <a:lnTo>
                    <a:pt x="12668" y="3535"/>
                  </a:lnTo>
                  <a:lnTo>
                    <a:pt x="12698" y="3542"/>
                  </a:lnTo>
                  <a:lnTo>
                    <a:pt x="12727" y="3550"/>
                  </a:lnTo>
                  <a:lnTo>
                    <a:pt x="12756" y="3560"/>
                  </a:lnTo>
                  <a:lnTo>
                    <a:pt x="12784" y="3572"/>
                  </a:lnTo>
                  <a:lnTo>
                    <a:pt x="12812" y="3586"/>
                  </a:lnTo>
                  <a:lnTo>
                    <a:pt x="12838" y="3601"/>
                  </a:lnTo>
                  <a:lnTo>
                    <a:pt x="12864" y="3618"/>
                  </a:lnTo>
                  <a:lnTo>
                    <a:pt x="12888" y="3636"/>
                  </a:lnTo>
                  <a:lnTo>
                    <a:pt x="12911" y="3657"/>
                  </a:lnTo>
                  <a:lnTo>
                    <a:pt x="12933" y="3678"/>
                  </a:lnTo>
                  <a:lnTo>
                    <a:pt x="12954" y="3701"/>
                  </a:lnTo>
                  <a:lnTo>
                    <a:pt x="12975" y="3725"/>
                  </a:lnTo>
                  <a:lnTo>
                    <a:pt x="12993" y="3750"/>
                  </a:lnTo>
                  <a:lnTo>
                    <a:pt x="15005" y="6773"/>
                  </a:lnTo>
                  <a:lnTo>
                    <a:pt x="15015" y="6788"/>
                  </a:lnTo>
                  <a:lnTo>
                    <a:pt x="15024" y="6804"/>
                  </a:lnTo>
                  <a:lnTo>
                    <a:pt x="15033" y="6822"/>
                  </a:lnTo>
                  <a:lnTo>
                    <a:pt x="15041" y="6838"/>
                  </a:lnTo>
                  <a:lnTo>
                    <a:pt x="15049" y="6855"/>
                  </a:lnTo>
                  <a:lnTo>
                    <a:pt x="15056" y="6872"/>
                  </a:lnTo>
                  <a:lnTo>
                    <a:pt x="15062" y="6889"/>
                  </a:lnTo>
                  <a:lnTo>
                    <a:pt x="15067" y="6907"/>
                  </a:lnTo>
                  <a:lnTo>
                    <a:pt x="15072" y="6924"/>
                  </a:lnTo>
                  <a:lnTo>
                    <a:pt x="15077" y="6942"/>
                  </a:lnTo>
                  <a:lnTo>
                    <a:pt x="15081" y="6961"/>
                  </a:lnTo>
                  <a:lnTo>
                    <a:pt x="15084" y="6979"/>
                  </a:lnTo>
                  <a:lnTo>
                    <a:pt x="15086" y="6997"/>
                  </a:lnTo>
                  <a:lnTo>
                    <a:pt x="15088" y="7016"/>
                  </a:lnTo>
                  <a:lnTo>
                    <a:pt x="15089" y="7034"/>
                  </a:lnTo>
                  <a:lnTo>
                    <a:pt x="15089" y="7052"/>
                  </a:lnTo>
                  <a:lnTo>
                    <a:pt x="15089" y="10075"/>
                  </a:lnTo>
                  <a:close/>
                  <a:moveTo>
                    <a:pt x="12071" y="12090"/>
                  </a:moveTo>
                  <a:lnTo>
                    <a:pt x="12020" y="12089"/>
                  </a:lnTo>
                  <a:lnTo>
                    <a:pt x="11969" y="12085"/>
                  </a:lnTo>
                  <a:lnTo>
                    <a:pt x="11918" y="12078"/>
                  </a:lnTo>
                  <a:lnTo>
                    <a:pt x="11869" y="12070"/>
                  </a:lnTo>
                  <a:lnTo>
                    <a:pt x="11820" y="12058"/>
                  </a:lnTo>
                  <a:lnTo>
                    <a:pt x="11772" y="12045"/>
                  </a:lnTo>
                  <a:lnTo>
                    <a:pt x="11725" y="12029"/>
                  </a:lnTo>
                  <a:lnTo>
                    <a:pt x="11680" y="12011"/>
                  </a:lnTo>
                  <a:lnTo>
                    <a:pt x="11636" y="11991"/>
                  </a:lnTo>
                  <a:lnTo>
                    <a:pt x="11591" y="11968"/>
                  </a:lnTo>
                  <a:lnTo>
                    <a:pt x="11550" y="11944"/>
                  </a:lnTo>
                  <a:lnTo>
                    <a:pt x="11509" y="11918"/>
                  </a:lnTo>
                  <a:lnTo>
                    <a:pt x="11470" y="11890"/>
                  </a:lnTo>
                  <a:lnTo>
                    <a:pt x="11431" y="11861"/>
                  </a:lnTo>
                  <a:lnTo>
                    <a:pt x="11395" y="11828"/>
                  </a:lnTo>
                  <a:lnTo>
                    <a:pt x="11360" y="11795"/>
                  </a:lnTo>
                  <a:lnTo>
                    <a:pt x="11327" y="11760"/>
                  </a:lnTo>
                  <a:lnTo>
                    <a:pt x="11295" y="11724"/>
                  </a:lnTo>
                  <a:lnTo>
                    <a:pt x="11265" y="11685"/>
                  </a:lnTo>
                  <a:lnTo>
                    <a:pt x="11237" y="11646"/>
                  </a:lnTo>
                  <a:lnTo>
                    <a:pt x="11211" y="11606"/>
                  </a:lnTo>
                  <a:lnTo>
                    <a:pt x="11187" y="11563"/>
                  </a:lnTo>
                  <a:lnTo>
                    <a:pt x="11165" y="11520"/>
                  </a:lnTo>
                  <a:lnTo>
                    <a:pt x="11145" y="11475"/>
                  </a:lnTo>
                  <a:lnTo>
                    <a:pt x="11127" y="11429"/>
                  </a:lnTo>
                  <a:lnTo>
                    <a:pt x="11111" y="11382"/>
                  </a:lnTo>
                  <a:lnTo>
                    <a:pt x="11098" y="11335"/>
                  </a:lnTo>
                  <a:lnTo>
                    <a:pt x="11086" y="11286"/>
                  </a:lnTo>
                  <a:lnTo>
                    <a:pt x="11077" y="11236"/>
                  </a:lnTo>
                  <a:lnTo>
                    <a:pt x="11070" y="11186"/>
                  </a:lnTo>
                  <a:lnTo>
                    <a:pt x="11067" y="11135"/>
                  </a:lnTo>
                  <a:lnTo>
                    <a:pt x="11065" y="11083"/>
                  </a:lnTo>
                  <a:lnTo>
                    <a:pt x="11067" y="11031"/>
                  </a:lnTo>
                  <a:lnTo>
                    <a:pt x="11070" y="10980"/>
                  </a:lnTo>
                  <a:lnTo>
                    <a:pt x="11077" y="10930"/>
                  </a:lnTo>
                  <a:lnTo>
                    <a:pt x="11086" y="10880"/>
                  </a:lnTo>
                  <a:lnTo>
                    <a:pt x="11098" y="10831"/>
                  </a:lnTo>
                  <a:lnTo>
                    <a:pt x="11111" y="10784"/>
                  </a:lnTo>
                  <a:lnTo>
                    <a:pt x="11127" y="10736"/>
                  </a:lnTo>
                  <a:lnTo>
                    <a:pt x="11145" y="10691"/>
                  </a:lnTo>
                  <a:lnTo>
                    <a:pt x="11165" y="10646"/>
                  </a:lnTo>
                  <a:lnTo>
                    <a:pt x="11187" y="10603"/>
                  </a:lnTo>
                  <a:lnTo>
                    <a:pt x="11211" y="10561"/>
                  </a:lnTo>
                  <a:lnTo>
                    <a:pt x="11237" y="10520"/>
                  </a:lnTo>
                  <a:lnTo>
                    <a:pt x="11265" y="10480"/>
                  </a:lnTo>
                  <a:lnTo>
                    <a:pt x="11295" y="10442"/>
                  </a:lnTo>
                  <a:lnTo>
                    <a:pt x="11327" y="10406"/>
                  </a:lnTo>
                  <a:lnTo>
                    <a:pt x="11360" y="10370"/>
                  </a:lnTo>
                  <a:lnTo>
                    <a:pt x="11395" y="10337"/>
                  </a:lnTo>
                  <a:lnTo>
                    <a:pt x="11431" y="10306"/>
                  </a:lnTo>
                  <a:lnTo>
                    <a:pt x="11470" y="10276"/>
                  </a:lnTo>
                  <a:lnTo>
                    <a:pt x="11509" y="10247"/>
                  </a:lnTo>
                  <a:lnTo>
                    <a:pt x="11550" y="10221"/>
                  </a:lnTo>
                  <a:lnTo>
                    <a:pt x="11591" y="10197"/>
                  </a:lnTo>
                  <a:lnTo>
                    <a:pt x="11636" y="10175"/>
                  </a:lnTo>
                  <a:lnTo>
                    <a:pt x="11680" y="10155"/>
                  </a:lnTo>
                  <a:lnTo>
                    <a:pt x="11725" y="10137"/>
                  </a:lnTo>
                  <a:lnTo>
                    <a:pt x="11772" y="10120"/>
                  </a:lnTo>
                  <a:lnTo>
                    <a:pt x="11820" y="10107"/>
                  </a:lnTo>
                  <a:lnTo>
                    <a:pt x="11869" y="10096"/>
                  </a:lnTo>
                  <a:lnTo>
                    <a:pt x="11918" y="10087"/>
                  </a:lnTo>
                  <a:lnTo>
                    <a:pt x="11969" y="10080"/>
                  </a:lnTo>
                  <a:lnTo>
                    <a:pt x="12020" y="10076"/>
                  </a:lnTo>
                  <a:lnTo>
                    <a:pt x="12071" y="10075"/>
                  </a:lnTo>
                  <a:lnTo>
                    <a:pt x="12124" y="10076"/>
                  </a:lnTo>
                  <a:lnTo>
                    <a:pt x="12174" y="10080"/>
                  </a:lnTo>
                  <a:lnTo>
                    <a:pt x="12224" y="10087"/>
                  </a:lnTo>
                  <a:lnTo>
                    <a:pt x="12274" y="10096"/>
                  </a:lnTo>
                  <a:lnTo>
                    <a:pt x="12323" y="10107"/>
                  </a:lnTo>
                  <a:lnTo>
                    <a:pt x="12370" y="10120"/>
                  </a:lnTo>
                  <a:lnTo>
                    <a:pt x="12417" y="10137"/>
                  </a:lnTo>
                  <a:lnTo>
                    <a:pt x="12463" y="10155"/>
                  </a:lnTo>
                  <a:lnTo>
                    <a:pt x="12508" y="10175"/>
                  </a:lnTo>
                  <a:lnTo>
                    <a:pt x="12551" y="10197"/>
                  </a:lnTo>
                  <a:lnTo>
                    <a:pt x="12593" y="10221"/>
                  </a:lnTo>
                  <a:lnTo>
                    <a:pt x="12634" y="10247"/>
                  </a:lnTo>
                  <a:lnTo>
                    <a:pt x="12673" y="10276"/>
                  </a:lnTo>
                  <a:lnTo>
                    <a:pt x="12711" y="10306"/>
                  </a:lnTo>
                  <a:lnTo>
                    <a:pt x="12747" y="10337"/>
                  </a:lnTo>
                  <a:lnTo>
                    <a:pt x="12782" y="10370"/>
                  </a:lnTo>
                  <a:lnTo>
                    <a:pt x="12816" y="10406"/>
                  </a:lnTo>
                  <a:lnTo>
                    <a:pt x="12848" y="10442"/>
                  </a:lnTo>
                  <a:lnTo>
                    <a:pt x="12877" y="10480"/>
                  </a:lnTo>
                  <a:lnTo>
                    <a:pt x="12905" y="10520"/>
                  </a:lnTo>
                  <a:lnTo>
                    <a:pt x="12931" y="10561"/>
                  </a:lnTo>
                  <a:lnTo>
                    <a:pt x="12955" y="10603"/>
                  </a:lnTo>
                  <a:lnTo>
                    <a:pt x="12978" y="10646"/>
                  </a:lnTo>
                  <a:lnTo>
                    <a:pt x="12999" y="10691"/>
                  </a:lnTo>
                  <a:lnTo>
                    <a:pt x="13016" y="10736"/>
                  </a:lnTo>
                  <a:lnTo>
                    <a:pt x="13032" y="10784"/>
                  </a:lnTo>
                  <a:lnTo>
                    <a:pt x="13046" y="10831"/>
                  </a:lnTo>
                  <a:lnTo>
                    <a:pt x="13057" y="10880"/>
                  </a:lnTo>
                  <a:lnTo>
                    <a:pt x="13066" y="10930"/>
                  </a:lnTo>
                  <a:lnTo>
                    <a:pt x="13072" y="10980"/>
                  </a:lnTo>
                  <a:lnTo>
                    <a:pt x="13076" y="11031"/>
                  </a:lnTo>
                  <a:lnTo>
                    <a:pt x="13077" y="11083"/>
                  </a:lnTo>
                  <a:lnTo>
                    <a:pt x="13076" y="11135"/>
                  </a:lnTo>
                  <a:lnTo>
                    <a:pt x="13072" y="11186"/>
                  </a:lnTo>
                  <a:lnTo>
                    <a:pt x="13066" y="11236"/>
                  </a:lnTo>
                  <a:lnTo>
                    <a:pt x="13057" y="11286"/>
                  </a:lnTo>
                  <a:lnTo>
                    <a:pt x="13046" y="11335"/>
                  </a:lnTo>
                  <a:lnTo>
                    <a:pt x="13032" y="11382"/>
                  </a:lnTo>
                  <a:lnTo>
                    <a:pt x="13016" y="11429"/>
                  </a:lnTo>
                  <a:lnTo>
                    <a:pt x="12999" y="11475"/>
                  </a:lnTo>
                  <a:lnTo>
                    <a:pt x="12978" y="11520"/>
                  </a:lnTo>
                  <a:lnTo>
                    <a:pt x="12955" y="11563"/>
                  </a:lnTo>
                  <a:lnTo>
                    <a:pt x="12931" y="11606"/>
                  </a:lnTo>
                  <a:lnTo>
                    <a:pt x="12905" y="11646"/>
                  </a:lnTo>
                  <a:lnTo>
                    <a:pt x="12877" y="11685"/>
                  </a:lnTo>
                  <a:lnTo>
                    <a:pt x="12848" y="11724"/>
                  </a:lnTo>
                  <a:lnTo>
                    <a:pt x="12816" y="11760"/>
                  </a:lnTo>
                  <a:lnTo>
                    <a:pt x="12782" y="11795"/>
                  </a:lnTo>
                  <a:lnTo>
                    <a:pt x="12747" y="11828"/>
                  </a:lnTo>
                  <a:lnTo>
                    <a:pt x="12711" y="11861"/>
                  </a:lnTo>
                  <a:lnTo>
                    <a:pt x="12673" y="11890"/>
                  </a:lnTo>
                  <a:lnTo>
                    <a:pt x="12634" y="11918"/>
                  </a:lnTo>
                  <a:lnTo>
                    <a:pt x="12593" y="11944"/>
                  </a:lnTo>
                  <a:lnTo>
                    <a:pt x="12551" y="11968"/>
                  </a:lnTo>
                  <a:lnTo>
                    <a:pt x="12508" y="11991"/>
                  </a:lnTo>
                  <a:lnTo>
                    <a:pt x="12463" y="12011"/>
                  </a:lnTo>
                  <a:lnTo>
                    <a:pt x="12417" y="12029"/>
                  </a:lnTo>
                  <a:lnTo>
                    <a:pt x="12370" y="12045"/>
                  </a:lnTo>
                  <a:lnTo>
                    <a:pt x="12323" y="12058"/>
                  </a:lnTo>
                  <a:lnTo>
                    <a:pt x="12274" y="12070"/>
                  </a:lnTo>
                  <a:lnTo>
                    <a:pt x="12224" y="12078"/>
                  </a:lnTo>
                  <a:lnTo>
                    <a:pt x="12174" y="12085"/>
                  </a:lnTo>
                  <a:lnTo>
                    <a:pt x="12124" y="12089"/>
                  </a:lnTo>
                  <a:lnTo>
                    <a:pt x="12071" y="12090"/>
                  </a:lnTo>
                  <a:close/>
                  <a:moveTo>
                    <a:pt x="5533" y="12090"/>
                  </a:moveTo>
                  <a:lnTo>
                    <a:pt x="5481" y="12089"/>
                  </a:lnTo>
                  <a:lnTo>
                    <a:pt x="5430" y="12085"/>
                  </a:lnTo>
                  <a:lnTo>
                    <a:pt x="5380" y="12078"/>
                  </a:lnTo>
                  <a:lnTo>
                    <a:pt x="5330" y="12070"/>
                  </a:lnTo>
                  <a:lnTo>
                    <a:pt x="5281" y="12058"/>
                  </a:lnTo>
                  <a:lnTo>
                    <a:pt x="5234" y="12045"/>
                  </a:lnTo>
                  <a:lnTo>
                    <a:pt x="5187" y="12029"/>
                  </a:lnTo>
                  <a:lnTo>
                    <a:pt x="5141" y="12011"/>
                  </a:lnTo>
                  <a:lnTo>
                    <a:pt x="5097" y="11991"/>
                  </a:lnTo>
                  <a:lnTo>
                    <a:pt x="5054" y="11968"/>
                  </a:lnTo>
                  <a:lnTo>
                    <a:pt x="5012" y="11944"/>
                  </a:lnTo>
                  <a:lnTo>
                    <a:pt x="4970" y="11918"/>
                  </a:lnTo>
                  <a:lnTo>
                    <a:pt x="4931" y="11890"/>
                  </a:lnTo>
                  <a:lnTo>
                    <a:pt x="4893" y="11861"/>
                  </a:lnTo>
                  <a:lnTo>
                    <a:pt x="4857" y="11828"/>
                  </a:lnTo>
                  <a:lnTo>
                    <a:pt x="4821" y="11795"/>
                  </a:lnTo>
                  <a:lnTo>
                    <a:pt x="4788" y="11760"/>
                  </a:lnTo>
                  <a:lnTo>
                    <a:pt x="4757" y="11724"/>
                  </a:lnTo>
                  <a:lnTo>
                    <a:pt x="4727" y="11685"/>
                  </a:lnTo>
                  <a:lnTo>
                    <a:pt x="4699" y="11646"/>
                  </a:lnTo>
                  <a:lnTo>
                    <a:pt x="4673" y="11606"/>
                  </a:lnTo>
                  <a:lnTo>
                    <a:pt x="4648" y="11563"/>
                  </a:lnTo>
                  <a:lnTo>
                    <a:pt x="4626" y="11520"/>
                  </a:lnTo>
                  <a:lnTo>
                    <a:pt x="4606" y="11475"/>
                  </a:lnTo>
                  <a:lnTo>
                    <a:pt x="4588" y="11429"/>
                  </a:lnTo>
                  <a:lnTo>
                    <a:pt x="4572" y="11382"/>
                  </a:lnTo>
                  <a:lnTo>
                    <a:pt x="4559" y="11335"/>
                  </a:lnTo>
                  <a:lnTo>
                    <a:pt x="4548" y="11286"/>
                  </a:lnTo>
                  <a:lnTo>
                    <a:pt x="4539" y="11236"/>
                  </a:lnTo>
                  <a:lnTo>
                    <a:pt x="4533" y="11186"/>
                  </a:lnTo>
                  <a:lnTo>
                    <a:pt x="4529" y="11135"/>
                  </a:lnTo>
                  <a:lnTo>
                    <a:pt x="4527" y="11083"/>
                  </a:lnTo>
                  <a:lnTo>
                    <a:pt x="4529" y="11031"/>
                  </a:lnTo>
                  <a:lnTo>
                    <a:pt x="4533" y="10980"/>
                  </a:lnTo>
                  <a:lnTo>
                    <a:pt x="4539" y="10930"/>
                  </a:lnTo>
                  <a:lnTo>
                    <a:pt x="4548" y="10880"/>
                  </a:lnTo>
                  <a:lnTo>
                    <a:pt x="4559" y="10831"/>
                  </a:lnTo>
                  <a:lnTo>
                    <a:pt x="4572" y="10784"/>
                  </a:lnTo>
                  <a:lnTo>
                    <a:pt x="4588" y="10736"/>
                  </a:lnTo>
                  <a:lnTo>
                    <a:pt x="4606" y="10691"/>
                  </a:lnTo>
                  <a:lnTo>
                    <a:pt x="4626" y="10646"/>
                  </a:lnTo>
                  <a:lnTo>
                    <a:pt x="4648" y="10603"/>
                  </a:lnTo>
                  <a:lnTo>
                    <a:pt x="4673" y="10561"/>
                  </a:lnTo>
                  <a:lnTo>
                    <a:pt x="4699" y="10520"/>
                  </a:lnTo>
                  <a:lnTo>
                    <a:pt x="4727" y="10480"/>
                  </a:lnTo>
                  <a:lnTo>
                    <a:pt x="4757" y="10442"/>
                  </a:lnTo>
                  <a:lnTo>
                    <a:pt x="4788" y="10406"/>
                  </a:lnTo>
                  <a:lnTo>
                    <a:pt x="4821" y="10370"/>
                  </a:lnTo>
                  <a:lnTo>
                    <a:pt x="4857" y="10337"/>
                  </a:lnTo>
                  <a:lnTo>
                    <a:pt x="4893" y="10306"/>
                  </a:lnTo>
                  <a:lnTo>
                    <a:pt x="4931" y="10276"/>
                  </a:lnTo>
                  <a:lnTo>
                    <a:pt x="4970" y="10247"/>
                  </a:lnTo>
                  <a:lnTo>
                    <a:pt x="5012" y="10221"/>
                  </a:lnTo>
                  <a:lnTo>
                    <a:pt x="5054" y="10197"/>
                  </a:lnTo>
                  <a:lnTo>
                    <a:pt x="5097" y="10175"/>
                  </a:lnTo>
                  <a:lnTo>
                    <a:pt x="5141" y="10155"/>
                  </a:lnTo>
                  <a:lnTo>
                    <a:pt x="5187" y="10137"/>
                  </a:lnTo>
                  <a:lnTo>
                    <a:pt x="5234" y="10120"/>
                  </a:lnTo>
                  <a:lnTo>
                    <a:pt x="5281" y="10107"/>
                  </a:lnTo>
                  <a:lnTo>
                    <a:pt x="5330" y="10096"/>
                  </a:lnTo>
                  <a:lnTo>
                    <a:pt x="5380" y="10087"/>
                  </a:lnTo>
                  <a:lnTo>
                    <a:pt x="5430" y="10080"/>
                  </a:lnTo>
                  <a:lnTo>
                    <a:pt x="5481" y="10076"/>
                  </a:lnTo>
                  <a:lnTo>
                    <a:pt x="5533" y="10075"/>
                  </a:lnTo>
                  <a:lnTo>
                    <a:pt x="5585" y="10076"/>
                  </a:lnTo>
                  <a:lnTo>
                    <a:pt x="5636" y="10080"/>
                  </a:lnTo>
                  <a:lnTo>
                    <a:pt x="5687" y="10087"/>
                  </a:lnTo>
                  <a:lnTo>
                    <a:pt x="5736" y="10096"/>
                  </a:lnTo>
                  <a:lnTo>
                    <a:pt x="5784" y="10107"/>
                  </a:lnTo>
                  <a:lnTo>
                    <a:pt x="5832" y="10120"/>
                  </a:lnTo>
                  <a:lnTo>
                    <a:pt x="5879" y="10137"/>
                  </a:lnTo>
                  <a:lnTo>
                    <a:pt x="5924" y="10155"/>
                  </a:lnTo>
                  <a:lnTo>
                    <a:pt x="5969" y="10175"/>
                  </a:lnTo>
                  <a:lnTo>
                    <a:pt x="6012" y="10197"/>
                  </a:lnTo>
                  <a:lnTo>
                    <a:pt x="6055" y="10221"/>
                  </a:lnTo>
                  <a:lnTo>
                    <a:pt x="6095" y="10247"/>
                  </a:lnTo>
                  <a:lnTo>
                    <a:pt x="6135" y="10276"/>
                  </a:lnTo>
                  <a:lnTo>
                    <a:pt x="6172" y="10306"/>
                  </a:lnTo>
                  <a:lnTo>
                    <a:pt x="6210" y="10337"/>
                  </a:lnTo>
                  <a:lnTo>
                    <a:pt x="6244" y="10370"/>
                  </a:lnTo>
                  <a:lnTo>
                    <a:pt x="6277" y="10406"/>
                  </a:lnTo>
                  <a:lnTo>
                    <a:pt x="6309" y="10442"/>
                  </a:lnTo>
                  <a:lnTo>
                    <a:pt x="6339" y="10480"/>
                  </a:lnTo>
                  <a:lnTo>
                    <a:pt x="6368" y="10520"/>
                  </a:lnTo>
                  <a:lnTo>
                    <a:pt x="6394" y="10561"/>
                  </a:lnTo>
                  <a:lnTo>
                    <a:pt x="6418" y="10603"/>
                  </a:lnTo>
                  <a:lnTo>
                    <a:pt x="6440" y="10646"/>
                  </a:lnTo>
                  <a:lnTo>
                    <a:pt x="6460" y="10691"/>
                  </a:lnTo>
                  <a:lnTo>
                    <a:pt x="6478" y="10736"/>
                  </a:lnTo>
                  <a:lnTo>
                    <a:pt x="6493" y="10784"/>
                  </a:lnTo>
                  <a:lnTo>
                    <a:pt x="6507" y="10831"/>
                  </a:lnTo>
                  <a:lnTo>
                    <a:pt x="6518" y="10880"/>
                  </a:lnTo>
                  <a:lnTo>
                    <a:pt x="6528" y="10930"/>
                  </a:lnTo>
                  <a:lnTo>
                    <a:pt x="6534" y="10980"/>
                  </a:lnTo>
                  <a:lnTo>
                    <a:pt x="6538" y="11031"/>
                  </a:lnTo>
                  <a:lnTo>
                    <a:pt x="6539" y="11083"/>
                  </a:lnTo>
                  <a:lnTo>
                    <a:pt x="6538" y="11135"/>
                  </a:lnTo>
                  <a:lnTo>
                    <a:pt x="6534" y="11186"/>
                  </a:lnTo>
                  <a:lnTo>
                    <a:pt x="6528" y="11236"/>
                  </a:lnTo>
                  <a:lnTo>
                    <a:pt x="6518" y="11286"/>
                  </a:lnTo>
                  <a:lnTo>
                    <a:pt x="6507" y="11335"/>
                  </a:lnTo>
                  <a:lnTo>
                    <a:pt x="6493" y="11382"/>
                  </a:lnTo>
                  <a:lnTo>
                    <a:pt x="6478" y="11429"/>
                  </a:lnTo>
                  <a:lnTo>
                    <a:pt x="6460" y="11475"/>
                  </a:lnTo>
                  <a:lnTo>
                    <a:pt x="6440" y="11520"/>
                  </a:lnTo>
                  <a:lnTo>
                    <a:pt x="6418" y="11563"/>
                  </a:lnTo>
                  <a:lnTo>
                    <a:pt x="6394" y="11606"/>
                  </a:lnTo>
                  <a:lnTo>
                    <a:pt x="6368" y="11646"/>
                  </a:lnTo>
                  <a:lnTo>
                    <a:pt x="6339" y="11685"/>
                  </a:lnTo>
                  <a:lnTo>
                    <a:pt x="6309" y="11724"/>
                  </a:lnTo>
                  <a:lnTo>
                    <a:pt x="6277" y="11760"/>
                  </a:lnTo>
                  <a:lnTo>
                    <a:pt x="6244" y="11795"/>
                  </a:lnTo>
                  <a:lnTo>
                    <a:pt x="6210" y="11828"/>
                  </a:lnTo>
                  <a:lnTo>
                    <a:pt x="6172" y="11861"/>
                  </a:lnTo>
                  <a:lnTo>
                    <a:pt x="6135" y="11890"/>
                  </a:lnTo>
                  <a:lnTo>
                    <a:pt x="6095" y="11918"/>
                  </a:lnTo>
                  <a:lnTo>
                    <a:pt x="6055" y="11944"/>
                  </a:lnTo>
                  <a:lnTo>
                    <a:pt x="6012" y="11968"/>
                  </a:lnTo>
                  <a:lnTo>
                    <a:pt x="5969" y="11991"/>
                  </a:lnTo>
                  <a:lnTo>
                    <a:pt x="5924" y="12011"/>
                  </a:lnTo>
                  <a:lnTo>
                    <a:pt x="5879" y="12029"/>
                  </a:lnTo>
                  <a:lnTo>
                    <a:pt x="5832" y="12045"/>
                  </a:lnTo>
                  <a:lnTo>
                    <a:pt x="5784" y="12058"/>
                  </a:lnTo>
                  <a:lnTo>
                    <a:pt x="5736" y="12070"/>
                  </a:lnTo>
                  <a:lnTo>
                    <a:pt x="5687" y="12078"/>
                  </a:lnTo>
                  <a:lnTo>
                    <a:pt x="5636" y="12085"/>
                  </a:lnTo>
                  <a:lnTo>
                    <a:pt x="5585" y="12089"/>
                  </a:lnTo>
                  <a:lnTo>
                    <a:pt x="5533" y="12090"/>
                  </a:lnTo>
                  <a:close/>
                  <a:moveTo>
                    <a:pt x="1509" y="7556"/>
                  </a:moveTo>
                  <a:lnTo>
                    <a:pt x="1483" y="7556"/>
                  </a:lnTo>
                  <a:lnTo>
                    <a:pt x="1458" y="7554"/>
                  </a:lnTo>
                  <a:lnTo>
                    <a:pt x="1432" y="7551"/>
                  </a:lnTo>
                  <a:lnTo>
                    <a:pt x="1407" y="7546"/>
                  </a:lnTo>
                  <a:lnTo>
                    <a:pt x="1383" y="7541"/>
                  </a:lnTo>
                  <a:lnTo>
                    <a:pt x="1359" y="7534"/>
                  </a:lnTo>
                  <a:lnTo>
                    <a:pt x="1336" y="7526"/>
                  </a:lnTo>
                  <a:lnTo>
                    <a:pt x="1313" y="7517"/>
                  </a:lnTo>
                  <a:lnTo>
                    <a:pt x="1291" y="7507"/>
                  </a:lnTo>
                  <a:lnTo>
                    <a:pt x="1269" y="7496"/>
                  </a:lnTo>
                  <a:lnTo>
                    <a:pt x="1248" y="7484"/>
                  </a:lnTo>
                  <a:lnTo>
                    <a:pt x="1228" y="7470"/>
                  </a:lnTo>
                  <a:lnTo>
                    <a:pt x="1208" y="7456"/>
                  </a:lnTo>
                  <a:lnTo>
                    <a:pt x="1189" y="7441"/>
                  </a:lnTo>
                  <a:lnTo>
                    <a:pt x="1171" y="7426"/>
                  </a:lnTo>
                  <a:lnTo>
                    <a:pt x="1154" y="7409"/>
                  </a:lnTo>
                  <a:lnTo>
                    <a:pt x="1137" y="7392"/>
                  </a:lnTo>
                  <a:lnTo>
                    <a:pt x="1121" y="7374"/>
                  </a:lnTo>
                  <a:lnTo>
                    <a:pt x="1106" y="7355"/>
                  </a:lnTo>
                  <a:lnTo>
                    <a:pt x="1091" y="7334"/>
                  </a:lnTo>
                  <a:lnTo>
                    <a:pt x="1078" y="7314"/>
                  </a:lnTo>
                  <a:lnTo>
                    <a:pt x="1066" y="7293"/>
                  </a:lnTo>
                  <a:lnTo>
                    <a:pt x="1055" y="7271"/>
                  </a:lnTo>
                  <a:lnTo>
                    <a:pt x="1045" y="7249"/>
                  </a:lnTo>
                  <a:lnTo>
                    <a:pt x="1036" y="7226"/>
                  </a:lnTo>
                  <a:lnTo>
                    <a:pt x="1029" y="7202"/>
                  </a:lnTo>
                  <a:lnTo>
                    <a:pt x="1022" y="7179"/>
                  </a:lnTo>
                  <a:lnTo>
                    <a:pt x="1016" y="7154"/>
                  </a:lnTo>
                  <a:lnTo>
                    <a:pt x="1012" y="7130"/>
                  </a:lnTo>
                  <a:lnTo>
                    <a:pt x="1009" y="7105"/>
                  </a:lnTo>
                  <a:lnTo>
                    <a:pt x="1007" y="7079"/>
                  </a:lnTo>
                  <a:lnTo>
                    <a:pt x="1006" y="7052"/>
                  </a:lnTo>
                  <a:lnTo>
                    <a:pt x="1006" y="1511"/>
                  </a:lnTo>
                  <a:lnTo>
                    <a:pt x="1007" y="1485"/>
                  </a:lnTo>
                  <a:lnTo>
                    <a:pt x="1009" y="1460"/>
                  </a:lnTo>
                  <a:lnTo>
                    <a:pt x="1012" y="1435"/>
                  </a:lnTo>
                  <a:lnTo>
                    <a:pt x="1016" y="1410"/>
                  </a:lnTo>
                  <a:lnTo>
                    <a:pt x="1022" y="1385"/>
                  </a:lnTo>
                  <a:lnTo>
                    <a:pt x="1029" y="1361"/>
                  </a:lnTo>
                  <a:lnTo>
                    <a:pt x="1036" y="1338"/>
                  </a:lnTo>
                  <a:lnTo>
                    <a:pt x="1045" y="1315"/>
                  </a:lnTo>
                  <a:lnTo>
                    <a:pt x="1055" y="1293"/>
                  </a:lnTo>
                  <a:lnTo>
                    <a:pt x="1066" y="1271"/>
                  </a:lnTo>
                  <a:lnTo>
                    <a:pt x="1078" y="1249"/>
                  </a:lnTo>
                  <a:lnTo>
                    <a:pt x="1091" y="1229"/>
                  </a:lnTo>
                  <a:lnTo>
                    <a:pt x="1106" y="1209"/>
                  </a:lnTo>
                  <a:lnTo>
                    <a:pt x="1121" y="1191"/>
                  </a:lnTo>
                  <a:lnTo>
                    <a:pt x="1137" y="1172"/>
                  </a:lnTo>
                  <a:lnTo>
                    <a:pt x="1154" y="1155"/>
                  </a:lnTo>
                  <a:lnTo>
                    <a:pt x="1171" y="1138"/>
                  </a:lnTo>
                  <a:lnTo>
                    <a:pt x="1189" y="1122"/>
                  </a:lnTo>
                  <a:lnTo>
                    <a:pt x="1208" y="1107"/>
                  </a:lnTo>
                  <a:lnTo>
                    <a:pt x="1228" y="1093"/>
                  </a:lnTo>
                  <a:lnTo>
                    <a:pt x="1248" y="1080"/>
                  </a:lnTo>
                  <a:lnTo>
                    <a:pt x="1269" y="1068"/>
                  </a:lnTo>
                  <a:lnTo>
                    <a:pt x="1291" y="1057"/>
                  </a:lnTo>
                  <a:lnTo>
                    <a:pt x="1313" y="1047"/>
                  </a:lnTo>
                  <a:lnTo>
                    <a:pt x="1336" y="1038"/>
                  </a:lnTo>
                  <a:lnTo>
                    <a:pt x="1359" y="1030"/>
                  </a:lnTo>
                  <a:lnTo>
                    <a:pt x="1383" y="1023"/>
                  </a:lnTo>
                  <a:lnTo>
                    <a:pt x="1407" y="1018"/>
                  </a:lnTo>
                  <a:lnTo>
                    <a:pt x="1432" y="1013"/>
                  </a:lnTo>
                  <a:lnTo>
                    <a:pt x="1458" y="1010"/>
                  </a:lnTo>
                  <a:lnTo>
                    <a:pt x="1483" y="1008"/>
                  </a:lnTo>
                  <a:lnTo>
                    <a:pt x="1509" y="1008"/>
                  </a:lnTo>
                  <a:lnTo>
                    <a:pt x="9053" y="1008"/>
                  </a:lnTo>
                  <a:lnTo>
                    <a:pt x="9080" y="1008"/>
                  </a:lnTo>
                  <a:lnTo>
                    <a:pt x="9105" y="1010"/>
                  </a:lnTo>
                  <a:lnTo>
                    <a:pt x="9131" y="1013"/>
                  </a:lnTo>
                  <a:lnTo>
                    <a:pt x="9155" y="1018"/>
                  </a:lnTo>
                  <a:lnTo>
                    <a:pt x="9179" y="1023"/>
                  </a:lnTo>
                  <a:lnTo>
                    <a:pt x="9203" y="1030"/>
                  </a:lnTo>
                  <a:lnTo>
                    <a:pt x="9226" y="1038"/>
                  </a:lnTo>
                  <a:lnTo>
                    <a:pt x="9250" y="1047"/>
                  </a:lnTo>
                  <a:lnTo>
                    <a:pt x="9272" y="1057"/>
                  </a:lnTo>
                  <a:lnTo>
                    <a:pt x="9294" y="1068"/>
                  </a:lnTo>
                  <a:lnTo>
                    <a:pt x="9315" y="1080"/>
                  </a:lnTo>
                  <a:lnTo>
                    <a:pt x="9335" y="1093"/>
                  </a:lnTo>
                  <a:lnTo>
                    <a:pt x="9355" y="1107"/>
                  </a:lnTo>
                  <a:lnTo>
                    <a:pt x="9373" y="1122"/>
                  </a:lnTo>
                  <a:lnTo>
                    <a:pt x="9392" y="1138"/>
                  </a:lnTo>
                  <a:lnTo>
                    <a:pt x="9410" y="1155"/>
                  </a:lnTo>
                  <a:lnTo>
                    <a:pt x="9426" y="1172"/>
                  </a:lnTo>
                  <a:lnTo>
                    <a:pt x="9442" y="1191"/>
                  </a:lnTo>
                  <a:lnTo>
                    <a:pt x="9457" y="1209"/>
                  </a:lnTo>
                  <a:lnTo>
                    <a:pt x="9471" y="1229"/>
                  </a:lnTo>
                  <a:lnTo>
                    <a:pt x="9484" y="1249"/>
                  </a:lnTo>
                  <a:lnTo>
                    <a:pt x="9496" y="1271"/>
                  </a:lnTo>
                  <a:lnTo>
                    <a:pt x="9507" y="1293"/>
                  </a:lnTo>
                  <a:lnTo>
                    <a:pt x="9517" y="1315"/>
                  </a:lnTo>
                  <a:lnTo>
                    <a:pt x="9526" y="1338"/>
                  </a:lnTo>
                  <a:lnTo>
                    <a:pt x="9534" y="1361"/>
                  </a:lnTo>
                  <a:lnTo>
                    <a:pt x="9541" y="1385"/>
                  </a:lnTo>
                  <a:lnTo>
                    <a:pt x="9546" y="1410"/>
                  </a:lnTo>
                  <a:lnTo>
                    <a:pt x="9550" y="1435"/>
                  </a:lnTo>
                  <a:lnTo>
                    <a:pt x="9554" y="1460"/>
                  </a:lnTo>
                  <a:lnTo>
                    <a:pt x="9556" y="1485"/>
                  </a:lnTo>
                  <a:lnTo>
                    <a:pt x="9556" y="1511"/>
                  </a:lnTo>
                  <a:lnTo>
                    <a:pt x="9556" y="2519"/>
                  </a:lnTo>
                  <a:lnTo>
                    <a:pt x="9556" y="3527"/>
                  </a:lnTo>
                  <a:lnTo>
                    <a:pt x="9556" y="7052"/>
                  </a:lnTo>
                  <a:lnTo>
                    <a:pt x="9556" y="7079"/>
                  </a:lnTo>
                  <a:lnTo>
                    <a:pt x="9554" y="7105"/>
                  </a:lnTo>
                  <a:lnTo>
                    <a:pt x="9550" y="7130"/>
                  </a:lnTo>
                  <a:lnTo>
                    <a:pt x="9546" y="7154"/>
                  </a:lnTo>
                  <a:lnTo>
                    <a:pt x="9541" y="7179"/>
                  </a:lnTo>
                  <a:lnTo>
                    <a:pt x="9534" y="7202"/>
                  </a:lnTo>
                  <a:lnTo>
                    <a:pt x="9526" y="7226"/>
                  </a:lnTo>
                  <a:lnTo>
                    <a:pt x="9517" y="7249"/>
                  </a:lnTo>
                  <a:lnTo>
                    <a:pt x="9507" y="7271"/>
                  </a:lnTo>
                  <a:lnTo>
                    <a:pt x="9496" y="7293"/>
                  </a:lnTo>
                  <a:lnTo>
                    <a:pt x="9484" y="7314"/>
                  </a:lnTo>
                  <a:lnTo>
                    <a:pt x="9471" y="7334"/>
                  </a:lnTo>
                  <a:lnTo>
                    <a:pt x="9457" y="7355"/>
                  </a:lnTo>
                  <a:lnTo>
                    <a:pt x="9442" y="7374"/>
                  </a:lnTo>
                  <a:lnTo>
                    <a:pt x="9426" y="7392"/>
                  </a:lnTo>
                  <a:lnTo>
                    <a:pt x="9410" y="7409"/>
                  </a:lnTo>
                  <a:lnTo>
                    <a:pt x="9392" y="7426"/>
                  </a:lnTo>
                  <a:lnTo>
                    <a:pt x="9373" y="7441"/>
                  </a:lnTo>
                  <a:lnTo>
                    <a:pt x="9355" y="7456"/>
                  </a:lnTo>
                  <a:lnTo>
                    <a:pt x="9335" y="7470"/>
                  </a:lnTo>
                  <a:lnTo>
                    <a:pt x="9315" y="7484"/>
                  </a:lnTo>
                  <a:lnTo>
                    <a:pt x="9294" y="7496"/>
                  </a:lnTo>
                  <a:lnTo>
                    <a:pt x="9272" y="7507"/>
                  </a:lnTo>
                  <a:lnTo>
                    <a:pt x="9250" y="7517"/>
                  </a:lnTo>
                  <a:lnTo>
                    <a:pt x="9226" y="7526"/>
                  </a:lnTo>
                  <a:lnTo>
                    <a:pt x="9203" y="7534"/>
                  </a:lnTo>
                  <a:lnTo>
                    <a:pt x="9179" y="7541"/>
                  </a:lnTo>
                  <a:lnTo>
                    <a:pt x="9155" y="7546"/>
                  </a:lnTo>
                  <a:lnTo>
                    <a:pt x="9131" y="7551"/>
                  </a:lnTo>
                  <a:lnTo>
                    <a:pt x="9105" y="7554"/>
                  </a:lnTo>
                  <a:lnTo>
                    <a:pt x="9080" y="7556"/>
                  </a:lnTo>
                  <a:lnTo>
                    <a:pt x="9053" y="7556"/>
                  </a:lnTo>
                  <a:lnTo>
                    <a:pt x="1509" y="7556"/>
                  </a:lnTo>
                  <a:close/>
                  <a:moveTo>
                    <a:pt x="15842" y="6214"/>
                  </a:moveTo>
                  <a:lnTo>
                    <a:pt x="13830" y="3192"/>
                  </a:lnTo>
                  <a:lnTo>
                    <a:pt x="13802" y="3153"/>
                  </a:lnTo>
                  <a:lnTo>
                    <a:pt x="13774" y="3115"/>
                  </a:lnTo>
                  <a:lnTo>
                    <a:pt x="13746" y="3077"/>
                  </a:lnTo>
                  <a:lnTo>
                    <a:pt x="13716" y="3042"/>
                  </a:lnTo>
                  <a:lnTo>
                    <a:pt x="13685" y="3007"/>
                  </a:lnTo>
                  <a:lnTo>
                    <a:pt x="13653" y="2973"/>
                  </a:lnTo>
                  <a:lnTo>
                    <a:pt x="13619" y="2940"/>
                  </a:lnTo>
                  <a:lnTo>
                    <a:pt x="13586" y="2909"/>
                  </a:lnTo>
                  <a:lnTo>
                    <a:pt x="13551" y="2878"/>
                  </a:lnTo>
                  <a:lnTo>
                    <a:pt x="13516" y="2849"/>
                  </a:lnTo>
                  <a:lnTo>
                    <a:pt x="13480" y="2820"/>
                  </a:lnTo>
                  <a:lnTo>
                    <a:pt x="13442" y="2793"/>
                  </a:lnTo>
                  <a:lnTo>
                    <a:pt x="13404" y="2768"/>
                  </a:lnTo>
                  <a:lnTo>
                    <a:pt x="13366" y="2743"/>
                  </a:lnTo>
                  <a:lnTo>
                    <a:pt x="13326" y="2720"/>
                  </a:lnTo>
                  <a:lnTo>
                    <a:pt x="13286" y="2697"/>
                  </a:lnTo>
                  <a:lnTo>
                    <a:pt x="13245" y="2676"/>
                  </a:lnTo>
                  <a:lnTo>
                    <a:pt x="13204" y="2656"/>
                  </a:lnTo>
                  <a:lnTo>
                    <a:pt x="13162" y="2638"/>
                  </a:lnTo>
                  <a:lnTo>
                    <a:pt x="13119" y="2621"/>
                  </a:lnTo>
                  <a:lnTo>
                    <a:pt x="13076" y="2605"/>
                  </a:lnTo>
                  <a:lnTo>
                    <a:pt x="13033" y="2590"/>
                  </a:lnTo>
                  <a:lnTo>
                    <a:pt x="12989" y="2576"/>
                  </a:lnTo>
                  <a:lnTo>
                    <a:pt x="12944" y="2564"/>
                  </a:lnTo>
                  <a:lnTo>
                    <a:pt x="12899" y="2554"/>
                  </a:lnTo>
                  <a:lnTo>
                    <a:pt x="12854" y="2544"/>
                  </a:lnTo>
                  <a:lnTo>
                    <a:pt x="12808" y="2537"/>
                  </a:lnTo>
                  <a:lnTo>
                    <a:pt x="12761" y="2530"/>
                  </a:lnTo>
                  <a:lnTo>
                    <a:pt x="12715" y="2525"/>
                  </a:lnTo>
                  <a:lnTo>
                    <a:pt x="12669" y="2522"/>
                  </a:lnTo>
                  <a:lnTo>
                    <a:pt x="12621" y="2519"/>
                  </a:lnTo>
                  <a:lnTo>
                    <a:pt x="12574" y="2519"/>
                  </a:lnTo>
                  <a:lnTo>
                    <a:pt x="10562" y="2519"/>
                  </a:lnTo>
                  <a:lnTo>
                    <a:pt x="10562" y="1511"/>
                  </a:lnTo>
                  <a:lnTo>
                    <a:pt x="10560" y="1434"/>
                  </a:lnTo>
                  <a:lnTo>
                    <a:pt x="10554" y="1357"/>
                  </a:lnTo>
                  <a:lnTo>
                    <a:pt x="10545" y="1282"/>
                  </a:lnTo>
                  <a:lnTo>
                    <a:pt x="10532" y="1207"/>
                  </a:lnTo>
                  <a:lnTo>
                    <a:pt x="10515" y="1134"/>
                  </a:lnTo>
                  <a:lnTo>
                    <a:pt x="10495" y="1062"/>
                  </a:lnTo>
                  <a:lnTo>
                    <a:pt x="10471" y="993"/>
                  </a:lnTo>
                  <a:lnTo>
                    <a:pt x="10444" y="924"/>
                  </a:lnTo>
                  <a:lnTo>
                    <a:pt x="10413" y="856"/>
                  </a:lnTo>
                  <a:lnTo>
                    <a:pt x="10380" y="791"/>
                  </a:lnTo>
                  <a:lnTo>
                    <a:pt x="10344" y="729"/>
                  </a:lnTo>
                  <a:lnTo>
                    <a:pt x="10305" y="667"/>
                  </a:lnTo>
                  <a:lnTo>
                    <a:pt x="10263" y="608"/>
                  </a:lnTo>
                  <a:lnTo>
                    <a:pt x="10217" y="550"/>
                  </a:lnTo>
                  <a:lnTo>
                    <a:pt x="10170" y="496"/>
                  </a:lnTo>
                  <a:lnTo>
                    <a:pt x="10120" y="443"/>
                  </a:lnTo>
                  <a:lnTo>
                    <a:pt x="10067" y="393"/>
                  </a:lnTo>
                  <a:lnTo>
                    <a:pt x="10013" y="346"/>
                  </a:lnTo>
                  <a:lnTo>
                    <a:pt x="9956" y="300"/>
                  </a:lnTo>
                  <a:lnTo>
                    <a:pt x="9896" y="258"/>
                  </a:lnTo>
                  <a:lnTo>
                    <a:pt x="9835" y="219"/>
                  </a:lnTo>
                  <a:lnTo>
                    <a:pt x="9773" y="182"/>
                  </a:lnTo>
                  <a:lnTo>
                    <a:pt x="9707" y="149"/>
                  </a:lnTo>
                  <a:lnTo>
                    <a:pt x="9641" y="119"/>
                  </a:lnTo>
                  <a:lnTo>
                    <a:pt x="9571" y="92"/>
                  </a:lnTo>
                  <a:lnTo>
                    <a:pt x="9502" y="69"/>
                  </a:lnTo>
                  <a:lnTo>
                    <a:pt x="9431" y="47"/>
                  </a:lnTo>
                  <a:lnTo>
                    <a:pt x="9357" y="31"/>
                  </a:lnTo>
                  <a:lnTo>
                    <a:pt x="9283" y="17"/>
                  </a:lnTo>
                  <a:lnTo>
                    <a:pt x="9207" y="8"/>
                  </a:lnTo>
                  <a:lnTo>
                    <a:pt x="9131" y="2"/>
                  </a:lnTo>
                  <a:lnTo>
                    <a:pt x="9053" y="0"/>
                  </a:lnTo>
                  <a:lnTo>
                    <a:pt x="1509" y="0"/>
                  </a:lnTo>
                  <a:lnTo>
                    <a:pt x="1431" y="2"/>
                  </a:lnTo>
                  <a:lnTo>
                    <a:pt x="1355" y="8"/>
                  </a:lnTo>
                  <a:lnTo>
                    <a:pt x="1280" y="17"/>
                  </a:lnTo>
                  <a:lnTo>
                    <a:pt x="1205" y="31"/>
                  </a:lnTo>
                  <a:lnTo>
                    <a:pt x="1133" y="47"/>
                  </a:lnTo>
                  <a:lnTo>
                    <a:pt x="1060" y="69"/>
                  </a:lnTo>
                  <a:lnTo>
                    <a:pt x="991" y="92"/>
                  </a:lnTo>
                  <a:lnTo>
                    <a:pt x="922" y="119"/>
                  </a:lnTo>
                  <a:lnTo>
                    <a:pt x="855" y="149"/>
                  </a:lnTo>
                  <a:lnTo>
                    <a:pt x="791" y="182"/>
                  </a:lnTo>
                  <a:lnTo>
                    <a:pt x="727" y="219"/>
                  </a:lnTo>
                  <a:lnTo>
                    <a:pt x="666" y="258"/>
                  </a:lnTo>
                  <a:lnTo>
                    <a:pt x="607" y="300"/>
                  </a:lnTo>
                  <a:lnTo>
                    <a:pt x="549" y="346"/>
                  </a:lnTo>
                  <a:lnTo>
                    <a:pt x="495" y="393"/>
                  </a:lnTo>
                  <a:lnTo>
                    <a:pt x="443" y="443"/>
                  </a:lnTo>
                  <a:lnTo>
                    <a:pt x="392" y="496"/>
                  </a:lnTo>
                  <a:lnTo>
                    <a:pt x="345" y="550"/>
                  </a:lnTo>
                  <a:lnTo>
                    <a:pt x="300" y="608"/>
                  </a:lnTo>
                  <a:lnTo>
                    <a:pt x="259" y="667"/>
                  </a:lnTo>
                  <a:lnTo>
                    <a:pt x="218" y="729"/>
                  </a:lnTo>
                  <a:lnTo>
                    <a:pt x="182" y="791"/>
                  </a:lnTo>
                  <a:lnTo>
                    <a:pt x="149" y="856"/>
                  </a:lnTo>
                  <a:lnTo>
                    <a:pt x="119" y="924"/>
                  </a:lnTo>
                  <a:lnTo>
                    <a:pt x="92" y="993"/>
                  </a:lnTo>
                  <a:lnTo>
                    <a:pt x="68" y="1062"/>
                  </a:lnTo>
                  <a:lnTo>
                    <a:pt x="47" y="1134"/>
                  </a:lnTo>
                  <a:lnTo>
                    <a:pt x="31" y="1207"/>
                  </a:lnTo>
                  <a:lnTo>
                    <a:pt x="17" y="1282"/>
                  </a:lnTo>
                  <a:lnTo>
                    <a:pt x="8" y="1357"/>
                  </a:lnTo>
                  <a:lnTo>
                    <a:pt x="2" y="1434"/>
                  </a:lnTo>
                  <a:lnTo>
                    <a:pt x="0" y="1511"/>
                  </a:lnTo>
                  <a:lnTo>
                    <a:pt x="0" y="7052"/>
                  </a:lnTo>
                  <a:lnTo>
                    <a:pt x="2" y="7131"/>
                  </a:lnTo>
                  <a:lnTo>
                    <a:pt x="8" y="7207"/>
                  </a:lnTo>
                  <a:lnTo>
                    <a:pt x="17" y="7283"/>
                  </a:lnTo>
                  <a:lnTo>
                    <a:pt x="31" y="7357"/>
                  </a:lnTo>
                  <a:lnTo>
                    <a:pt x="47" y="7430"/>
                  </a:lnTo>
                  <a:lnTo>
                    <a:pt x="68" y="7502"/>
                  </a:lnTo>
                  <a:lnTo>
                    <a:pt x="92" y="7572"/>
                  </a:lnTo>
                  <a:lnTo>
                    <a:pt x="119" y="7641"/>
                  </a:lnTo>
                  <a:lnTo>
                    <a:pt x="149" y="7707"/>
                  </a:lnTo>
                  <a:lnTo>
                    <a:pt x="182" y="7773"/>
                  </a:lnTo>
                  <a:lnTo>
                    <a:pt x="218" y="7836"/>
                  </a:lnTo>
                  <a:lnTo>
                    <a:pt x="259" y="7897"/>
                  </a:lnTo>
                  <a:lnTo>
                    <a:pt x="300" y="7956"/>
                  </a:lnTo>
                  <a:lnTo>
                    <a:pt x="345" y="8014"/>
                  </a:lnTo>
                  <a:lnTo>
                    <a:pt x="392" y="8068"/>
                  </a:lnTo>
                  <a:lnTo>
                    <a:pt x="443" y="8120"/>
                  </a:lnTo>
                  <a:lnTo>
                    <a:pt x="495" y="8171"/>
                  </a:lnTo>
                  <a:lnTo>
                    <a:pt x="549" y="8218"/>
                  </a:lnTo>
                  <a:lnTo>
                    <a:pt x="607" y="8263"/>
                  </a:lnTo>
                  <a:lnTo>
                    <a:pt x="666" y="8306"/>
                  </a:lnTo>
                  <a:lnTo>
                    <a:pt x="727" y="8345"/>
                  </a:lnTo>
                  <a:lnTo>
                    <a:pt x="791" y="8381"/>
                  </a:lnTo>
                  <a:lnTo>
                    <a:pt x="855" y="8415"/>
                  </a:lnTo>
                  <a:lnTo>
                    <a:pt x="922" y="8445"/>
                  </a:lnTo>
                  <a:lnTo>
                    <a:pt x="991" y="8472"/>
                  </a:lnTo>
                  <a:lnTo>
                    <a:pt x="1060" y="8496"/>
                  </a:lnTo>
                  <a:lnTo>
                    <a:pt x="1133" y="8516"/>
                  </a:lnTo>
                  <a:lnTo>
                    <a:pt x="1205" y="8533"/>
                  </a:lnTo>
                  <a:lnTo>
                    <a:pt x="1280" y="8547"/>
                  </a:lnTo>
                  <a:lnTo>
                    <a:pt x="1355" y="8557"/>
                  </a:lnTo>
                  <a:lnTo>
                    <a:pt x="1431" y="8562"/>
                  </a:lnTo>
                  <a:lnTo>
                    <a:pt x="1509" y="8564"/>
                  </a:lnTo>
                  <a:lnTo>
                    <a:pt x="1509" y="8564"/>
                  </a:lnTo>
                  <a:lnTo>
                    <a:pt x="1509" y="10075"/>
                  </a:lnTo>
                  <a:lnTo>
                    <a:pt x="1511" y="10153"/>
                  </a:lnTo>
                  <a:lnTo>
                    <a:pt x="1517" y="10229"/>
                  </a:lnTo>
                  <a:lnTo>
                    <a:pt x="1527" y="10305"/>
                  </a:lnTo>
                  <a:lnTo>
                    <a:pt x="1540" y="10379"/>
                  </a:lnTo>
                  <a:lnTo>
                    <a:pt x="1557" y="10453"/>
                  </a:lnTo>
                  <a:lnTo>
                    <a:pt x="1577" y="10525"/>
                  </a:lnTo>
                  <a:lnTo>
                    <a:pt x="1601" y="10594"/>
                  </a:lnTo>
                  <a:lnTo>
                    <a:pt x="1629" y="10663"/>
                  </a:lnTo>
                  <a:lnTo>
                    <a:pt x="1659" y="10730"/>
                  </a:lnTo>
                  <a:lnTo>
                    <a:pt x="1692" y="10795"/>
                  </a:lnTo>
                  <a:lnTo>
                    <a:pt x="1728" y="10858"/>
                  </a:lnTo>
                  <a:lnTo>
                    <a:pt x="1767" y="10920"/>
                  </a:lnTo>
                  <a:lnTo>
                    <a:pt x="1810" y="10979"/>
                  </a:lnTo>
                  <a:lnTo>
                    <a:pt x="1854" y="11036"/>
                  </a:lnTo>
                  <a:lnTo>
                    <a:pt x="1901" y="11091"/>
                  </a:lnTo>
                  <a:lnTo>
                    <a:pt x="1952" y="11143"/>
                  </a:lnTo>
                  <a:lnTo>
                    <a:pt x="2004" y="11194"/>
                  </a:lnTo>
                  <a:lnTo>
                    <a:pt x="2059" y="11241"/>
                  </a:lnTo>
                  <a:lnTo>
                    <a:pt x="2115" y="11286"/>
                  </a:lnTo>
                  <a:lnTo>
                    <a:pt x="2175" y="11329"/>
                  </a:lnTo>
                  <a:lnTo>
                    <a:pt x="2236" y="11368"/>
                  </a:lnTo>
                  <a:lnTo>
                    <a:pt x="2300" y="11404"/>
                  </a:lnTo>
                  <a:lnTo>
                    <a:pt x="2365" y="11437"/>
                  </a:lnTo>
                  <a:lnTo>
                    <a:pt x="2431" y="11468"/>
                  </a:lnTo>
                  <a:lnTo>
                    <a:pt x="2500" y="11495"/>
                  </a:lnTo>
                  <a:lnTo>
                    <a:pt x="2570" y="11519"/>
                  </a:lnTo>
                  <a:lnTo>
                    <a:pt x="2642" y="11539"/>
                  </a:lnTo>
                  <a:lnTo>
                    <a:pt x="2714" y="11556"/>
                  </a:lnTo>
                  <a:lnTo>
                    <a:pt x="2788" y="11569"/>
                  </a:lnTo>
                  <a:lnTo>
                    <a:pt x="2864" y="11579"/>
                  </a:lnTo>
                  <a:lnTo>
                    <a:pt x="2940" y="11585"/>
                  </a:lnTo>
                  <a:lnTo>
                    <a:pt x="3018" y="11587"/>
                  </a:lnTo>
                  <a:lnTo>
                    <a:pt x="3592" y="11587"/>
                  </a:lnTo>
                  <a:lnTo>
                    <a:pt x="3614" y="11667"/>
                  </a:lnTo>
                  <a:lnTo>
                    <a:pt x="3640" y="11747"/>
                  </a:lnTo>
                  <a:lnTo>
                    <a:pt x="3670" y="11824"/>
                  </a:lnTo>
                  <a:lnTo>
                    <a:pt x="3702" y="11901"/>
                  </a:lnTo>
                  <a:lnTo>
                    <a:pt x="3737" y="11976"/>
                  </a:lnTo>
                  <a:lnTo>
                    <a:pt x="3774" y="12048"/>
                  </a:lnTo>
                  <a:lnTo>
                    <a:pt x="3816" y="12120"/>
                  </a:lnTo>
                  <a:lnTo>
                    <a:pt x="3859" y="12188"/>
                  </a:lnTo>
                  <a:lnTo>
                    <a:pt x="3905" y="12256"/>
                  </a:lnTo>
                  <a:lnTo>
                    <a:pt x="3953" y="12321"/>
                  </a:lnTo>
                  <a:lnTo>
                    <a:pt x="4005" y="12385"/>
                  </a:lnTo>
                  <a:lnTo>
                    <a:pt x="4059" y="12446"/>
                  </a:lnTo>
                  <a:lnTo>
                    <a:pt x="4114" y="12505"/>
                  </a:lnTo>
                  <a:lnTo>
                    <a:pt x="4173" y="12561"/>
                  </a:lnTo>
                  <a:lnTo>
                    <a:pt x="4233" y="12615"/>
                  </a:lnTo>
                  <a:lnTo>
                    <a:pt x="4296" y="12668"/>
                  </a:lnTo>
                  <a:lnTo>
                    <a:pt x="4361" y="12717"/>
                  </a:lnTo>
                  <a:lnTo>
                    <a:pt x="4428" y="12763"/>
                  </a:lnTo>
                  <a:lnTo>
                    <a:pt x="4497" y="12807"/>
                  </a:lnTo>
                  <a:lnTo>
                    <a:pt x="4567" y="12848"/>
                  </a:lnTo>
                  <a:lnTo>
                    <a:pt x="4639" y="12886"/>
                  </a:lnTo>
                  <a:lnTo>
                    <a:pt x="4714" y="12922"/>
                  </a:lnTo>
                  <a:lnTo>
                    <a:pt x="4789" y="12955"/>
                  </a:lnTo>
                  <a:lnTo>
                    <a:pt x="4867" y="12984"/>
                  </a:lnTo>
                  <a:lnTo>
                    <a:pt x="4946" y="13010"/>
                  </a:lnTo>
                  <a:lnTo>
                    <a:pt x="5026" y="13033"/>
                  </a:lnTo>
                  <a:lnTo>
                    <a:pt x="5107" y="13053"/>
                  </a:lnTo>
                  <a:lnTo>
                    <a:pt x="5191" y="13069"/>
                  </a:lnTo>
                  <a:lnTo>
                    <a:pt x="5274" y="13081"/>
                  </a:lnTo>
                  <a:lnTo>
                    <a:pt x="5360" y="13091"/>
                  </a:lnTo>
                  <a:lnTo>
                    <a:pt x="5446" y="13096"/>
                  </a:lnTo>
                  <a:lnTo>
                    <a:pt x="5533" y="13098"/>
                  </a:lnTo>
                  <a:lnTo>
                    <a:pt x="5620" y="13096"/>
                  </a:lnTo>
                  <a:lnTo>
                    <a:pt x="5707" y="13091"/>
                  </a:lnTo>
                  <a:lnTo>
                    <a:pt x="5791" y="13081"/>
                  </a:lnTo>
                  <a:lnTo>
                    <a:pt x="5876" y="13069"/>
                  </a:lnTo>
                  <a:lnTo>
                    <a:pt x="5958" y="13053"/>
                  </a:lnTo>
                  <a:lnTo>
                    <a:pt x="6040" y="13033"/>
                  </a:lnTo>
                  <a:lnTo>
                    <a:pt x="6120" y="13010"/>
                  </a:lnTo>
                  <a:lnTo>
                    <a:pt x="6199" y="12984"/>
                  </a:lnTo>
                  <a:lnTo>
                    <a:pt x="6276" y="12955"/>
                  </a:lnTo>
                  <a:lnTo>
                    <a:pt x="6351" y="12922"/>
                  </a:lnTo>
                  <a:lnTo>
                    <a:pt x="6426" y="12886"/>
                  </a:lnTo>
                  <a:lnTo>
                    <a:pt x="6498" y="12848"/>
                  </a:lnTo>
                  <a:lnTo>
                    <a:pt x="6569" y="12807"/>
                  </a:lnTo>
                  <a:lnTo>
                    <a:pt x="6637" y="12763"/>
                  </a:lnTo>
                  <a:lnTo>
                    <a:pt x="6705" y="12717"/>
                  </a:lnTo>
                  <a:lnTo>
                    <a:pt x="6769" y="12668"/>
                  </a:lnTo>
                  <a:lnTo>
                    <a:pt x="6831" y="12615"/>
                  </a:lnTo>
                  <a:lnTo>
                    <a:pt x="6892" y="12561"/>
                  </a:lnTo>
                  <a:lnTo>
                    <a:pt x="6951" y="12505"/>
                  </a:lnTo>
                  <a:lnTo>
                    <a:pt x="7006" y="12446"/>
                  </a:lnTo>
                  <a:lnTo>
                    <a:pt x="7061" y="12385"/>
                  </a:lnTo>
                  <a:lnTo>
                    <a:pt x="7112" y="12321"/>
                  </a:lnTo>
                  <a:lnTo>
                    <a:pt x="7160" y="12256"/>
                  </a:lnTo>
                  <a:lnTo>
                    <a:pt x="7207" y="12188"/>
                  </a:lnTo>
                  <a:lnTo>
                    <a:pt x="7250" y="12120"/>
                  </a:lnTo>
                  <a:lnTo>
                    <a:pt x="7290" y="12048"/>
                  </a:lnTo>
                  <a:lnTo>
                    <a:pt x="7328" y="11976"/>
                  </a:lnTo>
                  <a:lnTo>
                    <a:pt x="7363" y="11901"/>
                  </a:lnTo>
                  <a:lnTo>
                    <a:pt x="7396" y="11824"/>
                  </a:lnTo>
                  <a:lnTo>
                    <a:pt x="7425" y="11747"/>
                  </a:lnTo>
                  <a:lnTo>
                    <a:pt x="7450" y="11667"/>
                  </a:lnTo>
                  <a:lnTo>
                    <a:pt x="7473" y="11587"/>
                  </a:lnTo>
                  <a:lnTo>
                    <a:pt x="10131" y="11587"/>
                  </a:lnTo>
                  <a:lnTo>
                    <a:pt x="10153" y="11667"/>
                  </a:lnTo>
                  <a:lnTo>
                    <a:pt x="10179" y="11747"/>
                  </a:lnTo>
                  <a:lnTo>
                    <a:pt x="10208" y="11824"/>
                  </a:lnTo>
                  <a:lnTo>
                    <a:pt x="10240" y="11901"/>
                  </a:lnTo>
                  <a:lnTo>
                    <a:pt x="10275" y="11976"/>
                  </a:lnTo>
                  <a:lnTo>
                    <a:pt x="10313" y="12048"/>
                  </a:lnTo>
                  <a:lnTo>
                    <a:pt x="10354" y="12120"/>
                  </a:lnTo>
                  <a:lnTo>
                    <a:pt x="10397" y="12188"/>
                  </a:lnTo>
                  <a:lnTo>
                    <a:pt x="10444" y="12256"/>
                  </a:lnTo>
                  <a:lnTo>
                    <a:pt x="10492" y="12321"/>
                  </a:lnTo>
                  <a:lnTo>
                    <a:pt x="10543" y="12385"/>
                  </a:lnTo>
                  <a:lnTo>
                    <a:pt x="10597" y="12446"/>
                  </a:lnTo>
                  <a:lnTo>
                    <a:pt x="10653" y="12505"/>
                  </a:lnTo>
                  <a:lnTo>
                    <a:pt x="10711" y="12561"/>
                  </a:lnTo>
                  <a:lnTo>
                    <a:pt x="10772" y="12615"/>
                  </a:lnTo>
                  <a:lnTo>
                    <a:pt x="10835" y="12668"/>
                  </a:lnTo>
                  <a:lnTo>
                    <a:pt x="10899" y="12717"/>
                  </a:lnTo>
                  <a:lnTo>
                    <a:pt x="10967" y="12763"/>
                  </a:lnTo>
                  <a:lnTo>
                    <a:pt x="11035" y="12807"/>
                  </a:lnTo>
                  <a:lnTo>
                    <a:pt x="11106" y="12848"/>
                  </a:lnTo>
                  <a:lnTo>
                    <a:pt x="11178" y="12886"/>
                  </a:lnTo>
                  <a:lnTo>
                    <a:pt x="11252" y="12922"/>
                  </a:lnTo>
                  <a:lnTo>
                    <a:pt x="11328" y="12955"/>
                  </a:lnTo>
                  <a:lnTo>
                    <a:pt x="11405" y="12984"/>
                  </a:lnTo>
                  <a:lnTo>
                    <a:pt x="11484" y="13010"/>
                  </a:lnTo>
                  <a:lnTo>
                    <a:pt x="11564" y="13033"/>
                  </a:lnTo>
                  <a:lnTo>
                    <a:pt x="11646" y="13053"/>
                  </a:lnTo>
                  <a:lnTo>
                    <a:pt x="11729" y="13069"/>
                  </a:lnTo>
                  <a:lnTo>
                    <a:pt x="11813" y="13081"/>
                  </a:lnTo>
                  <a:lnTo>
                    <a:pt x="11898" y="13091"/>
                  </a:lnTo>
                  <a:lnTo>
                    <a:pt x="11984" y="13096"/>
                  </a:lnTo>
                  <a:lnTo>
                    <a:pt x="12071" y="13098"/>
                  </a:lnTo>
                  <a:lnTo>
                    <a:pt x="12159" y="13096"/>
                  </a:lnTo>
                  <a:lnTo>
                    <a:pt x="12244" y="13091"/>
                  </a:lnTo>
                  <a:lnTo>
                    <a:pt x="12330" y="13081"/>
                  </a:lnTo>
                  <a:lnTo>
                    <a:pt x="12413" y="13069"/>
                  </a:lnTo>
                  <a:lnTo>
                    <a:pt x="12497" y="13053"/>
                  </a:lnTo>
                  <a:lnTo>
                    <a:pt x="12578" y="13033"/>
                  </a:lnTo>
                  <a:lnTo>
                    <a:pt x="12658" y="13010"/>
                  </a:lnTo>
                  <a:lnTo>
                    <a:pt x="12737" y="12984"/>
                  </a:lnTo>
                  <a:lnTo>
                    <a:pt x="12815" y="12955"/>
                  </a:lnTo>
                  <a:lnTo>
                    <a:pt x="12890" y="12922"/>
                  </a:lnTo>
                  <a:lnTo>
                    <a:pt x="12964" y="12886"/>
                  </a:lnTo>
                  <a:lnTo>
                    <a:pt x="13036" y="12848"/>
                  </a:lnTo>
                  <a:lnTo>
                    <a:pt x="13107" y="12807"/>
                  </a:lnTo>
                  <a:lnTo>
                    <a:pt x="13176" y="12763"/>
                  </a:lnTo>
                  <a:lnTo>
                    <a:pt x="13242" y="12717"/>
                  </a:lnTo>
                  <a:lnTo>
                    <a:pt x="13308" y="12668"/>
                  </a:lnTo>
                  <a:lnTo>
                    <a:pt x="13370" y="12615"/>
                  </a:lnTo>
                  <a:lnTo>
                    <a:pt x="13430" y="12561"/>
                  </a:lnTo>
                  <a:lnTo>
                    <a:pt x="13489" y="12505"/>
                  </a:lnTo>
                  <a:lnTo>
                    <a:pt x="13545" y="12446"/>
                  </a:lnTo>
                  <a:lnTo>
                    <a:pt x="13598" y="12385"/>
                  </a:lnTo>
                  <a:lnTo>
                    <a:pt x="13650" y="12321"/>
                  </a:lnTo>
                  <a:lnTo>
                    <a:pt x="13699" y="12256"/>
                  </a:lnTo>
                  <a:lnTo>
                    <a:pt x="13745" y="12188"/>
                  </a:lnTo>
                  <a:lnTo>
                    <a:pt x="13788" y="12120"/>
                  </a:lnTo>
                  <a:lnTo>
                    <a:pt x="13829" y="12048"/>
                  </a:lnTo>
                  <a:lnTo>
                    <a:pt x="13867" y="11976"/>
                  </a:lnTo>
                  <a:lnTo>
                    <a:pt x="13902" y="11901"/>
                  </a:lnTo>
                  <a:lnTo>
                    <a:pt x="13934" y="11824"/>
                  </a:lnTo>
                  <a:lnTo>
                    <a:pt x="13962" y="11747"/>
                  </a:lnTo>
                  <a:lnTo>
                    <a:pt x="13989" y="11667"/>
                  </a:lnTo>
                  <a:lnTo>
                    <a:pt x="14012" y="11587"/>
                  </a:lnTo>
                  <a:lnTo>
                    <a:pt x="14586" y="11587"/>
                  </a:lnTo>
                  <a:lnTo>
                    <a:pt x="14664" y="11585"/>
                  </a:lnTo>
                  <a:lnTo>
                    <a:pt x="14740" y="11579"/>
                  </a:lnTo>
                  <a:lnTo>
                    <a:pt x="14815" y="11569"/>
                  </a:lnTo>
                  <a:lnTo>
                    <a:pt x="14890" y="11556"/>
                  </a:lnTo>
                  <a:lnTo>
                    <a:pt x="14962" y="11539"/>
                  </a:lnTo>
                  <a:lnTo>
                    <a:pt x="15035" y="11519"/>
                  </a:lnTo>
                  <a:lnTo>
                    <a:pt x="15104" y="11495"/>
                  </a:lnTo>
                  <a:lnTo>
                    <a:pt x="15173" y="11468"/>
                  </a:lnTo>
                  <a:lnTo>
                    <a:pt x="15240" y="11437"/>
                  </a:lnTo>
                  <a:lnTo>
                    <a:pt x="15304" y="11404"/>
                  </a:lnTo>
                  <a:lnTo>
                    <a:pt x="15368" y="11368"/>
                  </a:lnTo>
                  <a:lnTo>
                    <a:pt x="15429" y="11329"/>
                  </a:lnTo>
                  <a:lnTo>
                    <a:pt x="15488" y="11286"/>
                  </a:lnTo>
                  <a:lnTo>
                    <a:pt x="15546" y="11241"/>
                  </a:lnTo>
                  <a:lnTo>
                    <a:pt x="15600" y="11194"/>
                  </a:lnTo>
                  <a:lnTo>
                    <a:pt x="15652" y="11143"/>
                  </a:lnTo>
                  <a:lnTo>
                    <a:pt x="15703" y="11091"/>
                  </a:lnTo>
                  <a:lnTo>
                    <a:pt x="15750" y="11036"/>
                  </a:lnTo>
                  <a:lnTo>
                    <a:pt x="15795" y="10979"/>
                  </a:lnTo>
                  <a:lnTo>
                    <a:pt x="15836" y="10920"/>
                  </a:lnTo>
                  <a:lnTo>
                    <a:pt x="15877" y="10858"/>
                  </a:lnTo>
                  <a:lnTo>
                    <a:pt x="15913" y="10795"/>
                  </a:lnTo>
                  <a:lnTo>
                    <a:pt x="15946" y="10730"/>
                  </a:lnTo>
                  <a:lnTo>
                    <a:pt x="15976" y="10663"/>
                  </a:lnTo>
                  <a:lnTo>
                    <a:pt x="16003" y="10594"/>
                  </a:lnTo>
                  <a:lnTo>
                    <a:pt x="16027" y="10525"/>
                  </a:lnTo>
                  <a:lnTo>
                    <a:pt x="16048" y="10453"/>
                  </a:lnTo>
                  <a:lnTo>
                    <a:pt x="16064" y="10379"/>
                  </a:lnTo>
                  <a:lnTo>
                    <a:pt x="16078" y="10305"/>
                  </a:lnTo>
                  <a:lnTo>
                    <a:pt x="16087" y="10229"/>
                  </a:lnTo>
                  <a:lnTo>
                    <a:pt x="16093" y="10153"/>
                  </a:lnTo>
                  <a:lnTo>
                    <a:pt x="16095" y="10075"/>
                  </a:lnTo>
                  <a:lnTo>
                    <a:pt x="16095" y="7052"/>
                  </a:lnTo>
                  <a:lnTo>
                    <a:pt x="16095" y="7025"/>
                  </a:lnTo>
                  <a:lnTo>
                    <a:pt x="16094" y="6997"/>
                  </a:lnTo>
                  <a:lnTo>
                    <a:pt x="16093" y="6969"/>
                  </a:lnTo>
                  <a:lnTo>
                    <a:pt x="16091" y="6941"/>
                  </a:lnTo>
                  <a:lnTo>
                    <a:pt x="16089" y="6913"/>
                  </a:lnTo>
                  <a:lnTo>
                    <a:pt x="16086" y="6885"/>
                  </a:lnTo>
                  <a:lnTo>
                    <a:pt x="16083" y="6858"/>
                  </a:lnTo>
                  <a:lnTo>
                    <a:pt x="16079" y="6831"/>
                  </a:lnTo>
                  <a:lnTo>
                    <a:pt x="16075" y="6803"/>
                  </a:lnTo>
                  <a:lnTo>
                    <a:pt x="16070" y="6776"/>
                  </a:lnTo>
                  <a:lnTo>
                    <a:pt x="16065" y="6749"/>
                  </a:lnTo>
                  <a:lnTo>
                    <a:pt x="16059" y="6722"/>
                  </a:lnTo>
                  <a:lnTo>
                    <a:pt x="16053" y="6695"/>
                  </a:lnTo>
                  <a:lnTo>
                    <a:pt x="16046" y="6667"/>
                  </a:lnTo>
                  <a:lnTo>
                    <a:pt x="16039" y="6641"/>
                  </a:lnTo>
                  <a:lnTo>
                    <a:pt x="16031" y="6615"/>
                  </a:lnTo>
                  <a:lnTo>
                    <a:pt x="16023" y="6588"/>
                  </a:lnTo>
                  <a:lnTo>
                    <a:pt x="16014" y="6562"/>
                  </a:lnTo>
                  <a:lnTo>
                    <a:pt x="16004" y="6536"/>
                  </a:lnTo>
                  <a:lnTo>
                    <a:pt x="15994" y="6510"/>
                  </a:lnTo>
                  <a:lnTo>
                    <a:pt x="15984" y="6484"/>
                  </a:lnTo>
                  <a:lnTo>
                    <a:pt x="15974" y="6459"/>
                  </a:lnTo>
                  <a:lnTo>
                    <a:pt x="15963" y="6434"/>
                  </a:lnTo>
                  <a:lnTo>
                    <a:pt x="15951" y="6408"/>
                  </a:lnTo>
                  <a:lnTo>
                    <a:pt x="15939" y="6383"/>
                  </a:lnTo>
                  <a:lnTo>
                    <a:pt x="15927" y="6358"/>
                  </a:lnTo>
                  <a:lnTo>
                    <a:pt x="15914" y="6334"/>
                  </a:lnTo>
                  <a:lnTo>
                    <a:pt x="15900" y="6310"/>
                  </a:lnTo>
                  <a:lnTo>
                    <a:pt x="15886" y="6286"/>
                  </a:lnTo>
                  <a:lnTo>
                    <a:pt x="15872" y="6261"/>
                  </a:lnTo>
                  <a:lnTo>
                    <a:pt x="15857" y="6238"/>
                  </a:lnTo>
                  <a:lnTo>
                    <a:pt x="15842" y="6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7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28" name="ïṧļidè">
              <a:extLst>
                <a:ext uri="{FF2B5EF4-FFF2-40B4-BE49-F238E27FC236}">
                  <a16:creationId xmlns:a16="http://schemas.microsoft.com/office/drawing/2014/main" id="{99B149D9-C42C-408D-ACCA-9F438AFFB77C}"/>
                </a:ext>
              </a:extLst>
            </p:cNvPr>
            <p:cNvSpPr/>
            <p:nvPr/>
          </p:nvSpPr>
          <p:spPr bwMode="auto">
            <a:xfrm>
              <a:off x="6958665" y="1503361"/>
              <a:ext cx="404561" cy="303888"/>
            </a:xfrm>
            <a:custGeom>
              <a:avLst/>
              <a:gdLst>
                <a:gd name="T0" fmla="*/ 3355 w 16058"/>
                <a:gd name="T1" fmla="*/ 1202 h 12062"/>
                <a:gd name="T2" fmla="*/ 12900 w 16058"/>
                <a:gd name="T3" fmla="*/ 3520 h 12062"/>
                <a:gd name="T4" fmla="*/ 6375 w 16058"/>
                <a:gd name="T5" fmla="*/ 9292 h 12062"/>
                <a:gd name="T6" fmla="*/ 7499 w 16058"/>
                <a:gd name="T7" fmla="*/ 10191 h 12062"/>
                <a:gd name="T8" fmla="*/ 3867 w 16058"/>
                <a:gd name="T9" fmla="*/ 3520 h 12062"/>
                <a:gd name="T10" fmla="*/ 4867 w 16058"/>
                <a:gd name="T11" fmla="*/ 1808 h 12062"/>
                <a:gd name="T12" fmla="*/ 10392 w 16058"/>
                <a:gd name="T13" fmla="*/ 1006 h 12062"/>
                <a:gd name="T14" fmla="*/ 11161 w 16058"/>
                <a:gd name="T15" fmla="*/ 2489 h 12062"/>
                <a:gd name="T16" fmla="*/ 8559 w 16058"/>
                <a:gd name="T17" fmla="*/ 10191 h 12062"/>
                <a:gd name="T18" fmla="*/ 9279 w 16058"/>
                <a:gd name="T19" fmla="*/ 4022 h 12062"/>
                <a:gd name="T20" fmla="*/ 6524 w 16058"/>
                <a:gd name="T21" fmla="*/ 3192 h 12062"/>
                <a:gd name="T22" fmla="*/ 8421 w 16058"/>
                <a:gd name="T23" fmla="*/ 2263 h 12062"/>
                <a:gd name="T24" fmla="*/ 15764 w 16058"/>
                <a:gd name="T25" fmla="*/ 2849 h 12062"/>
                <a:gd name="T26" fmla="*/ 13141 w 16058"/>
                <a:gd name="T27" fmla="*/ 228 h 12062"/>
                <a:gd name="T28" fmla="*/ 13041 w 16058"/>
                <a:gd name="T29" fmla="*/ 156 h 12062"/>
                <a:gd name="T30" fmla="*/ 12934 w 16058"/>
                <a:gd name="T31" fmla="*/ 97 h 12062"/>
                <a:gd name="T32" fmla="*/ 12820 w 16058"/>
                <a:gd name="T33" fmla="*/ 51 h 12062"/>
                <a:gd name="T34" fmla="*/ 12702 w 16058"/>
                <a:gd name="T35" fmla="*/ 19 h 12062"/>
                <a:gd name="T36" fmla="*/ 12579 w 16058"/>
                <a:gd name="T37" fmla="*/ 3 h 12062"/>
                <a:gd name="T38" fmla="*/ 3529 w 16058"/>
                <a:gd name="T39" fmla="*/ 0 h 12062"/>
                <a:gd name="T40" fmla="*/ 3405 w 16058"/>
                <a:gd name="T41" fmla="*/ 11 h 12062"/>
                <a:gd name="T42" fmla="*/ 3285 w 16058"/>
                <a:gd name="T43" fmla="*/ 36 h 12062"/>
                <a:gd name="T44" fmla="*/ 3169 w 16058"/>
                <a:gd name="T45" fmla="*/ 76 h 12062"/>
                <a:gd name="T46" fmla="*/ 3059 w 16058"/>
                <a:gd name="T47" fmla="*/ 131 h 12062"/>
                <a:gd name="T48" fmla="*/ 2957 w 16058"/>
                <a:gd name="T49" fmla="*/ 197 h 12062"/>
                <a:gd name="T50" fmla="*/ 2861 w 16058"/>
                <a:gd name="T51" fmla="*/ 278 h 12062"/>
                <a:gd name="T52" fmla="*/ 242 w 16058"/>
                <a:gd name="T53" fmla="*/ 2906 h 12062"/>
                <a:gd name="T54" fmla="*/ 166 w 16058"/>
                <a:gd name="T55" fmla="*/ 3008 h 12062"/>
                <a:gd name="T56" fmla="*/ 103 w 16058"/>
                <a:gd name="T57" fmla="*/ 3116 h 12062"/>
                <a:gd name="T58" fmla="*/ 56 w 16058"/>
                <a:gd name="T59" fmla="*/ 3231 h 12062"/>
                <a:gd name="T60" fmla="*/ 23 w 16058"/>
                <a:gd name="T61" fmla="*/ 3349 h 12062"/>
                <a:gd name="T62" fmla="*/ 5 w 16058"/>
                <a:gd name="T63" fmla="*/ 3469 h 12062"/>
                <a:gd name="T64" fmla="*/ 1 w 16058"/>
                <a:gd name="T65" fmla="*/ 3611 h 12062"/>
                <a:gd name="T66" fmla="*/ 37 w 16058"/>
                <a:gd name="T67" fmla="*/ 3830 h 12062"/>
                <a:gd name="T68" fmla="*/ 90 w 16058"/>
                <a:gd name="T69" fmla="*/ 3978 h 12062"/>
                <a:gd name="T70" fmla="*/ 144 w 16058"/>
                <a:gd name="T71" fmla="*/ 4079 h 12062"/>
                <a:gd name="T72" fmla="*/ 209 w 16058"/>
                <a:gd name="T73" fmla="*/ 4174 h 12062"/>
                <a:gd name="T74" fmla="*/ 7297 w 16058"/>
                <a:gd name="T75" fmla="*/ 11744 h 12062"/>
                <a:gd name="T76" fmla="*/ 7395 w 16058"/>
                <a:gd name="T77" fmla="*/ 11836 h 12062"/>
                <a:gd name="T78" fmla="*/ 7502 w 16058"/>
                <a:gd name="T79" fmla="*/ 11912 h 12062"/>
                <a:gd name="T80" fmla="*/ 7618 w 16058"/>
                <a:gd name="T81" fmla="*/ 11974 h 12062"/>
                <a:gd name="T82" fmla="*/ 7741 w 16058"/>
                <a:gd name="T83" fmla="*/ 12020 h 12062"/>
                <a:gd name="T84" fmla="*/ 7869 w 16058"/>
                <a:gd name="T85" fmla="*/ 12049 h 12062"/>
                <a:gd name="T86" fmla="*/ 8002 w 16058"/>
                <a:gd name="T87" fmla="*/ 12062 h 12062"/>
                <a:gd name="T88" fmla="*/ 8135 w 16058"/>
                <a:gd name="T89" fmla="*/ 12056 h 12062"/>
                <a:gd name="T90" fmla="*/ 8266 w 16058"/>
                <a:gd name="T91" fmla="*/ 12034 h 12062"/>
                <a:gd name="T92" fmla="*/ 8392 w 16058"/>
                <a:gd name="T93" fmla="*/ 11994 h 12062"/>
                <a:gd name="T94" fmla="*/ 8511 w 16058"/>
                <a:gd name="T95" fmla="*/ 11938 h 12062"/>
                <a:gd name="T96" fmla="*/ 8622 w 16058"/>
                <a:gd name="T97" fmla="*/ 11868 h 12062"/>
                <a:gd name="T98" fmla="*/ 8724 w 16058"/>
                <a:gd name="T99" fmla="*/ 11782 h 12062"/>
                <a:gd name="T100" fmla="*/ 15821 w 16058"/>
                <a:gd name="T101" fmla="*/ 4210 h 12062"/>
                <a:gd name="T102" fmla="*/ 15892 w 16058"/>
                <a:gd name="T103" fmla="*/ 4115 h 12062"/>
                <a:gd name="T104" fmla="*/ 15951 w 16058"/>
                <a:gd name="T105" fmla="*/ 4014 h 12062"/>
                <a:gd name="T106" fmla="*/ 15997 w 16058"/>
                <a:gd name="T107" fmla="*/ 3908 h 12062"/>
                <a:gd name="T108" fmla="*/ 16030 w 16058"/>
                <a:gd name="T109" fmla="*/ 3799 h 12062"/>
                <a:gd name="T110" fmla="*/ 16050 w 16058"/>
                <a:gd name="T111" fmla="*/ 3686 h 12062"/>
                <a:gd name="T112" fmla="*/ 16058 w 16058"/>
                <a:gd name="T113" fmla="*/ 3574 h 12062"/>
                <a:gd name="T114" fmla="*/ 16053 w 16058"/>
                <a:gd name="T115" fmla="*/ 3456 h 12062"/>
                <a:gd name="T116" fmla="*/ 16034 w 16058"/>
                <a:gd name="T117" fmla="*/ 3338 h 12062"/>
                <a:gd name="T118" fmla="*/ 16000 w 16058"/>
                <a:gd name="T119" fmla="*/ 3222 h 12062"/>
                <a:gd name="T120" fmla="*/ 15953 w 16058"/>
                <a:gd name="T121" fmla="*/ 3111 h 12062"/>
                <a:gd name="T122" fmla="*/ 15891 w 16058"/>
                <a:gd name="T123" fmla="*/ 3005 h 12062"/>
                <a:gd name="T124" fmla="*/ 15816 w 16058"/>
                <a:gd name="T125" fmla="*/ 2905 h 1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58" h="12062">
                  <a:moveTo>
                    <a:pt x="3355" y="1202"/>
                  </a:moveTo>
                  <a:lnTo>
                    <a:pt x="4509" y="2165"/>
                  </a:lnTo>
                  <a:lnTo>
                    <a:pt x="3157" y="3520"/>
                  </a:lnTo>
                  <a:lnTo>
                    <a:pt x="1007" y="3520"/>
                  </a:lnTo>
                  <a:lnTo>
                    <a:pt x="3355" y="1202"/>
                  </a:lnTo>
                  <a:close/>
                  <a:moveTo>
                    <a:pt x="12900" y="3520"/>
                  </a:moveTo>
                  <a:lnTo>
                    <a:pt x="11549" y="2165"/>
                  </a:lnTo>
                  <a:lnTo>
                    <a:pt x="12702" y="1203"/>
                  </a:lnTo>
                  <a:lnTo>
                    <a:pt x="15013" y="3520"/>
                  </a:lnTo>
                  <a:lnTo>
                    <a:pt x="12900" y="3520"/>
                  </a:lnTo>
                  <a:close/>
                  <a:moveTo>
                    <a:pt x="12837" y="4022"/>
                  </a:moveTo>
                  <a:lnTo>
                    <a:pt x="14621" y="4022"/>
                  </a:lnTo>
                  <a:lnTo>
                    <a:pt x="9682" y="9292"/>
                  </a:lnTo>
                  <a:lnTo>
                    <a:pt x="12837" y="4022"/>
                  </a:lnTo>
                  <a:close/>
                  <a:moveTo>
                    <a:pt x="6375" y="9292"/>
                  </a:moveTo>
                  <a:lnTo>
                    <a:pt x="1438" y="4022"/>
                  </a:lnTo>
                  <a:lnTo>
                    <a:pt x="3221" y="4022"/>
                  </a:lnTo>
                  <a:lnTo>
                    <a:pt x="6375" y="9292"/>
                  </a:lnTo>
                  <a:close/>
                  <a:moveTo>
                    <a:pt x="6268" y="4022"/>
                  </a:moveTo>
                  <a:lnTo>
                    <a:pt x="7499" y="10191"/>
                  </a:lnTo>
                  <a:lnTo>
                    <a:pt x="3806" y="4022"/>
                  </a:lnTo>
                  <a:lnTo>
                    <a:pt x="6268" y="4022"/>
                  </a:lnTo>
                  <a:close/>
                  <a:moveTo>
                    <a:pt x="4897" y="2489"/>
                  </a:moveTo>
                  <a:lnTo>
                    <a:pt x="6132" y="3520"/>
                  </a:lnTo>
                  <a:lnTo>
                    <a:pt x="3867" y="3520"/>
                  </a:lnTo>
                  <a:lnTo>
                    <a:pt x="4897" y="2489"/>
                  </a:lnTo>
                  <a:close/>
                  <a:moveTo>
                    <a:pt x="4867" y="1808"/>
                  </a:moveTo>
                  <a:lnTo>
                    <a:pt x="3905" y="1006"/>
                  </a:lnTo>
                  <a:lnTo>
                    <a:pt x="5666" y="1006"/>
                  </a:lnTo>
                  <a:lnTo>
                    <a:pt x="4867" y="1808"/>
                  </a:lnTo>
                  <a:close/>
                  <a:moveTo>
                    <a:pt x="8029" y="1936"/>
                  </a:moveTo>
                  <a:lnTo>
                    <a:pt x="6915" y="1006"/>
                  </a:lnTo>
                  <a:lnTo>
                    <a:pt x="9143" y="1006"/>
                  </a:lnTo>
                  <a:lnTo>
                    <a:pt x="8029" y="1936"/>
                  </a:lnTo>
                  <a:close/>
                  <a:moveTo>
                    <a:pt x="10392" y="1006"/>
                  </a:moveTo>
                  <a:lnTo>
                    <a:pt x="12154" y="1006"/>
                  </a:lnTo>
                  <a:lnTo>
                    <a:pt x="11192" y="1808"/>
                  </a:lnTo>
                  <a:lnTo>
                    <a:pt x="10392" y="1006"/>
                  </a:lnTo>
                  <a:close/>
                  <a:moveTo>
                    <a:pt x="9926" y="3520"/>
                  </a:moveTo>
                  <a:lnTo>
                    <a:pt x="11161" y="2489"/>
                  </a:lnTo>
                  <a:lnTo>
                    <a:pt x="12190" y="3520"/>
                  </a:lnTo>
                  <a:lnTo>
                    <a:pt x="9926" y="3520"/>
                  </a:lnTo>
                  <a:close/>
                  <a:moveTo>
                    <a:pt x="9790" y="4022"/>
                  </a:moveTo>
                  <a:lnTo>
                    <a:pt x="12252" y="4022"/>
                  </a:lnTo>
                  <a:lnTo>
                    <a:pt x="8559" y="10191"/>
                  </a:lnTo>
                  <a:lnTo>
                    <a:pt x="9790" y="4022"/>
                  </a:lnTo>
                  <a:close/>
                  <a:moveTo>
                    <a:pt x="9279" y="4022"/>
                  </a:moveTo>
                  <a:lnTo>
                    <a:pt x="8029" y="10283"/>
                  </a:lnTo>
                  <a:lnTo>
                    <a:pt x="6779" y="4022"/>
                  </a:lnTo>
                  <a:lnTo>
                    <a:pt x="9279" y="4022"/>
                  </a:lnTo>
                  <a:close/>
                  <a:moveTo>
                    <a:pt x="6524" y="3192"/>
                  </a:moveTo>
                  <a:lnTo>
                    <a:pt x="5253" y="2132"/>
                  </a:lnTo>
                  <a:lnTo>
                    <a:pt x="6266" y="1117"/>
                  </a:lnTo>
                  <a:lnTo>
                    <a:pt x="7637" y="2263"/>
                  </a:lnTo>
                  <a:lnTo>
                    <a:pt x="6524" y="3192"/>
                  </a:lnTo>
                  <a:close/>
                  <a:moveTo>
                    <a:pt x="8421" y="2263"/>
                  </a:moveTo>
                  <a:lnTo>
                    <a:pt x="9792" y="1117"/>
                  </a:lnTo>
                  <a:lnTo>
                    <a:pt x="10806" y="2132"/>
                  </a:lnTo>
                  <a:lnTo>
                    <a:pt x="9534" y="3192"/>
                  </a:lnTo>
                  <a:lnTo>
                    <a:pt x="8421" y="2263"/>
                  </a:lnTo>
                  <a:close/>
                  <a:moveTo>
                    <a:pt x="9143" y="3520"/>
                  </a:moveTo>
                  <a:lnTo>
                    <a:pt x="6915" y="3520"/>
                  </a:lnTo>
                  <a:lnTo>
                    <a:pt x="8029" y="2589"/>
                  </a:lnTo>
                  <a:lnTo>
                    <a:pt x="9143" y="3520"/>
                  </a:lnTo>
                  <a:close/>
                  <a:moveTo>
                    <a:pt x="15764" y="2849"/>
                  </a:moveTo>
                  <a:lnTo>
                    <a:pt x="13215" y="295"/>
                  </a:lnTo>
                  <a:lnTo>
                    <a:pt x="13197" y="278"/>
                  </a:lnTo>
                  <a:lnTo>
                    <a:pt x="13179" y="260"/>
                  </a:lnTo>
                  <a:lnTo>
                    <a:pt x="13160" y="243"/>
                  </a:lnTo>
                  <a:lnTo>
                    <a:pt x="13141" y="228"/>
                  </a:lnTo>
                  <a:lnTo>
                    <a:pt x="13121" y="212"/>
                  </a:lnTo>
                  <a:lnTo>
                    <a:pt x="13102" y="197"/>
                  </a:lnTo>
                  <a:lnTo>
                    <a:pt x="13082" y="183"/>
                  </a:lnTo>
                  <a:lnTo>
                    <a:pt x="13062" y="169"/>
                  </a:lnTo>
                  <a:lnTo>
                    <a:pt x="13041" y="156"/>
                  </a:lnTo>
                  <a:lnTo>
                    <a:pt x="13020" y="143"/>
                  </a:lnTo>
                  <a:lnTo>
                    <a:pt x="12999" y="131"/>
                  </a:lnTo>
                  <a:lnTo>
                    <a:pt x="12978" y="119"/>
                  </a:lnTo>
                  <a:lnTo>
                    <a:pt x="12956" y="108"/>
                  </a:lnTo>
                  <a:lnTo>
                    <a:pt x="12934" y="97"/>
                  </a:lnTo>
                  <a:lnTo>
                    <a:pt x="12912" y="86"/>
                  </a:lnTo>
                  <a:lnTo>
                    <a:pt x="12890" y="76"/>
                  </a:lnTo>
                  <a:lnTo>
                    <a:pt x="12866" y="67"/>
                  </a:lnTo>
                  <a:lnTo>
                    <a:pt x="12843" y="59"/>
                  </a:lnTo>
                  <a:lnTo>
                    <a:pt x="12820" y="51"/>
                  </a:lnTo>
                  <a:lnTo>
                    <a:pt x="12797" y="43"/>
                  </a:lnTo>
                  <a:lnTo>
                    <a:pt x="12773" y="36"/>
                  </a:lnTo>
                  <a:lnTo>
                    <a:pt x="12750" y="30"/>
                  </a:lnTo>
                  <a:lnTo>
                    <a:pt x="12726" y="25"/>
                  </a:lnTo>
                  <a:lnTo>
                    <a:pt x="12702" y="19"/>
                  </a:lnTo>
                  <a:lnTo>
                    <a:pt x="12678" y="15"/>
                  </a:lnTo>
                  <a:lnTo>
                    <a:pt x="12654" y="11"/>
                  </a:lnTo>
                  <a:lnTo>
                    <a:pt x="12629" y="8"/>
                  </a:lnTo>
                  <a:lnTo>
                    <a:pt x="12605" y="5"/>
                  </a:lnTo>
                  <a:lnTo>
                    <a:pt x="12579" y="3"/>
                  </a:lnTo>
                  <a:lnTo>
                    <a:pt x="12555" y="1"/>
                  </a:lnTo>
                  <a:lnTo>
                    <a:pt x="12530" y="0"/>
                  </a:lnTo>
                  <a:lnTo>
                    <a:pt x="12505" y="0"/>
                  </a:lnTo>
                  <a:lnTo>
                    <a:pt x="3554" y="0"/>
                  </a:lnTo>
                  <a:lnTo>
                    <a:pt x="3529" y="0"/>
                  </a:lnTo>
                  <a:lnTo>
                    <a:pt x="3504" y="1"/>
                  </a:lnTo>
                  <a:lnTo>
                    <a:pt x="3480" y="3"/>
                  </a:lnTo>
                  <a:lnTo>
                    <a:pt x="3454" y="5"/>
                  </a:lnTo>
                  <a:lnTo>
                    <a:pt x="3430" y="8"/>
                  </a:lnTo>
                  <a:lnTo>
                    <a:pt x="3405" y="11"/>
                  </a:lnTo>
                  <a:lnTo>
                    <a:pt x="3381" y="15"/>
                  </a:lnTo>
                  <a:lnTo>
                    <a:pt x="3357" y="19"/>
                  </a:lnTo>
                  <a:lnTo>
                    <a:pt x="3333" y="25"/>
                  </a:lnTo>
                  <a:lnTo>
                    <a:pt x="3309" y="30"/>
                  </a:lnTo>
                  <a:lnTo>
                    <a:pt x="3285" y="36"/>
                  </a:lnTo>
                  <a:lnTo>
                    <a:pt x="3262" y="43"/>
                  </a:lnTo>
                  <a:lnTo>
                    <a:pt x="3239" y="51"/>
                  </a:lnTo>
                  <a:lnTo>
                    <a:pt x="3216" y="59"/>
                  </a:lnTo>
                  <a:lnTo>
                    <a:pt x="3193" y="67"/>
                  </a:lnTo>
                  <a:lnTo>
                    <a:pt x="3169" y="76"/>
                  </a:lnTo>
                  <a:lnTo>
                    <a:pt x="3147" y="86"/>
                  </a:lnTo>
                  <a:lnTo>
                    <a:pt x="3124" y="97"/>
                  </a:lnTo>
                  <a:lnTo>
                    <a:pt x="3103" y="108"/>
                  </a:lnTo>
                  <a:lnTo>
                    <a:pt x="3081" y="119"/>
                  </a:lnTo>
                  <a:lnTo>
                    <a:pt x="3059" y="131"/>
                  </a:lnTo>
                  <a:lnTo>
                    <a:pt x="3038" y="143"/>
                  </a:lnTo>
                  <a:lnTo>
                    <a:pt x="3017" y="156"/>
                  </a:lnTo>
                  <a:lnTo>
                    <a:pt x="2997" y="169"/>
                  </a:lnTo>
                  <a:lnTo>
                    <a:pt x="2977" y="183"/>
                  </a:lnTo>
                  <a:lnTo>
                    <a:pt x="2957" y="197"/>
                  </a:lnTo>
                  <a:lnTo>
                    <a:pt x="2937" y="212"/>
                  </a:lnTo>
                  <a:lnTo>
                    <a:pt x="2918" y="228"/>
                  </a:lnTo>
                  <a:lnTo>
                    <a:pt x="2898" y="243"/>
                  </a:lnTo>
                  <a:lnTo>
                    <a:pt x="2880" y="260"/>
                  </a:lnTo>
                  <a:lnTo>
                    <a:pt x="2861" y="278"/>
                  </a:lnTo>
                  <a:lnTo>
                    <a:pt x="2844" y="295"/>
                  </a:lnTo>
                  <a:lnTo>
                    <a:pt x="295" y="2849"/>
                  </a:lnTo>
                  <a:lnTo>
                    <a:pt x="277" y="2868"/>
                  </a:lnTo>
                  <a:lnTo>
                    <a:pt x="259" y="2887"/>
                  </a:lnTo>
                  <a:lnTo>
                    <a:pt x="242" y="2906"/>
                  </a:lnTo>
                  <a:lnTo>
                    <a:pt x="226" y="2926"/>
                  </a:lnTo>
                  <a:lnTo>
                    <a:pt x="210" y="2946"/>
                  </a:lnTo>
                  <a:lnTo>
                    <a:pt x="195" y="2966"/>
                  </a:lnTo>
                  <a:lnTo>
                    <a:pt x="180" y="2987"/>
                  </a:lnTo>
                  <a:lnTo>
                    <a:pt x="166" y="3008"/>
                  </a:lnTo>
                  <a:lnTo>
                    <a:pt x="152" y="3029"/>
                  </a:lnTo>
                  <a:lnTo>
                    <a:pt x="140" y="3051"/>
                  </a:lnTo>
                  <a:lnTo>
                    <a:pt x="126" y="3072"/>
                  </a:lnTo>
                  <a:lnTo>
                    <a:pt x="114" y="3094"/>
                  </a:lnTo>
                  <a:lnTo>
                    <a:pt x="103" y="3116"/>
                  </a:lnTo>
                  <a:lnTo>
                    <a:pt x="93" y="3139"/>
                  </a:lnTo>
                  <a:lnTo>
                    <a:pt x="83" y="3162"/>
                  </a:lnTo>
                  <a:lnTo>
                    <a:pt x="73" y="3185"/>
                  </a:lnTo>
                  <a:lnTo>
                    <a:pt x="64" y="3208"/>
                  </a:lnTo>
                  <a:lnTo>
                    <a:pt x="56" y="3231"/>
                  </a:lnTo>
                  <a:lnTo>
                    <a:pt x="48" y="3254"/>
                  </a:lnTo>
                  <a:lnTo>
                    <a:pt x="41" y="3277"/>
                  </a:lnTo>
                  <a:lnTo>
                    <a:pt x="34" y="3301"/>
                  </a:lnTo>
                  <a:lnTo>
                    <a:pt x="28" y="3324"/>
                  </a:lnTo>
                  <a:lnTo>
                    <a:pt x="23" y="3349"/>
                  </a:lnTo>
                  <a:lnTo>
                    <a:pt x="18" y="3373"/>
                  </a:lnTo>
                  <a:lnTo>
                    <a:pt x="14" y="3397"/>
                  </a:lnTo>
                  <a:lnTo>
                    <a:pt x="10" y="3421"/>
                  </a:lnTo>
                  <a:lnTo>
                    <a:pt x="7" y="3445"/>
                  </a:lnTo>
                  <a:lnTo>
                    <a:pt x="5" y="3469"/>
                  </a:lnTo>
                  <a:lnTo>
                    <a:pt x="3" y="3493"/>
                  </a:lnTo>
                  <a:lnTo>
                    <a:pt x="1" y="3518"/>
                  </a:lnTo>
                  <a:lnTo>
                    <a:pt x="0" y="3543"/>
                  </a:lnTo>
                  <a:lnTo>
                    <a:pt x="0" y="3567"/>
                  </a:lnTo>
                  <a:lnTo>
                    <a:pt x="1" y="3611"/>
                  </a:lnTo>
                  <a:lnTo>
                    <a:pt x="5" y="3655"/>
                  </a:lnTo>
                  <a:lnTo>
                    <a:pt x="10" y="3700"/>
                  </a:lnTo>
                  <a:lnTo>
                    <a:pt x="17" y="3743"/>
                  </a:lnTo>
                  <a:lnTo>
                    <a:pt x="26" y="3787"/>
                  </a:lnTo>
                  <a:lnTo>
                    <a:pt x="37" y="3830"/>
                  </a:lnTo>
                  <a:lnTo>
                    <a:pt x="49" y="3874"/>
                  </a:lnTo>
                  <a:lnTo>
                    <a:pt x="64" y="3916"/>
                  </a:lnTo>
                  <a:lnTo>
                    <a:pt x="72" y="3936"/>
                  </a:lnTo>
                  <a:lnTo>
                    <a:pt x="81" y="3957"/>
                  </a:lnTo>
                  <a:lnTo>
                    <a:pt x="90" y="3978"/>
                  </a:lnTo>
                  <a:lnTo>
                    <a:pt x="100" y="3998"/>
                  </a:lnTo>
                  <a:lnTo>
                    <a:pt x="110" y="4018"/>
                  </a:lnTo>
                  <a:lnTo>
                    <a:pt x="120" y="4039"/>
                  </a:lnTo>
                  <a:lnTo>
                    <a:pt x="132" y="4059"/>
                  </a:lnTo>
                  <a:lnTo>
                    <a:pt x="144" y="4079"/>
                  </a:lnTo>
                  <a:lnTo>
                    <a:pt x="156" y="4099"/>
                  </a:lnTo>
                  <a:lnTo>
                    <a:pt x="169" y="4118"/>
                  </a:lnTo>
                  <a:lnTo>
                    <a:pt x="182" y="4137"/>
                  </a:lnTo>
                  <a:lnTo>
                    <a:pt x="195" y="4156"/>
                  </a:lnTo>
                  <a:lnTo>
                    <a:pt x="209" y="4174"/>
                  </a:lnTo>
                  <a:lnTo>
                    <a:pt x="224" y="4193"/>
                  </a:lnTo>
                  <a:lnTo>
                    <a:pt x="239" y="4211"/>
                  </a:lnTo>
                  <a:lnTo>
                    <a:pt x="254" y="4228"/>
                  </a:lnTo>
                  <a:lnTo>
                    <a:pt x="7278" y="11724"/>
                  </a:lnTo>
                  <a:lnTo>
                    <a:pt x="7297" y="11744"/>
                  </a:lnTo>
                  <a:lnTo>
                    <a:pt x="7315" y="11763"/>
                  </a:lnTo>
                  <a:lnTo>
                    <a:pt x="7334" y="11782"/>
                  </a:lnTo>
                  <a:lnTo>
                    <a:pt x="7354" y="11801"/>
                  </a:lnTo>
                  <a:lnTo>
                    <a:pt x="7374" y="11819"/>
                  </a:lnTo>
                  <a:lnTo>
                    <a:pt x="7395" y="11836"/>
                  </a:lnTo>
                  <a:lnTo>
                    <a:pt x="7415" y="11852"/>
                  </a:lnTo>
                  <a:lnTo>
                    <a:pt x="7436" y="11868"/>
                  </a:lnTo>
                  <a:lnTo>
                    <a:pt x="7458" y="11883"/>
                  </a:lnTo>
                  <a:lnTo>
                    <a:pt x="7480" y="11898"/>
                  </a:lnTo>
                  <a:lnTo>
                    <a:pt x="7502" y="11912"/>
                  </a:lnTo>
                  <a:lnTo>
                    <a:pt x="7524" y="11925"/>
                  </a:lnTo>
                  <a:lnTo>
                    <a:pt x="7547" y="11938"/>
                  </a:lnTo>
                  <a:lnTo>
                    <a:pt x="7570" y="11950"/>
                  </a:lnTo>
                  <a:lnTo>
                    <a:pt x="7594" y="11962"/>
                  </a:lnTo>
                  <a:lnTo>
                    <a:pt x="7618" y="11974"/>
                  </a:lnTo>
                  <a:lnTo>
                    <a:pt x="7642" y="11985"/>
                  </a:lnTo>
                  <a:lnTo>
                    <a:pt x="7667" y="11994"/>
                  </a:lnTo>
                  <a:lnTo>
                    <a:pt x="7691" y="12004"/>
                  </a:lnTo>
                  <a:lnTo>
                    <a:pt x="7716" y="12012"/>
                  </a:lnTo>
                  <a:lnTo>
                    <a:pt x="7741" y="12020"/>
                  </a:lnTo>
                  <a:lnTo>
                    <a:pt x="7766" y="12027"/>
                  </a:lnTo>
                  <a:lnTo>
                    <a:pt x="7792" y="12034"/>
                  </a:lnTo>
                  <a:lnTo>
                    <a:pt x="7817" y="12040"/>
                  </a:lnTo>
                  <a:lnTo>
                    <a:pt x="7843" y="12045"/>
                  </a:lnTo>
                  <a:lnTo>
                    <a:pt x="7869" y="12049"/>
                  </a:lnTo>
                  <a:lnTo>
                    <a:pt x="7896" y="12053"/>
                  </a:lnTo>
                  <a:lnTo>
                    <a:pt x="7923" y="12056"/>
                  </a:lnTo>
                  <a:lnTo>
                    <a:pt x="7949" y="12059"/>
                  </a:lnTo>
                  <a:lnTo>
                    <a:pt x="7976" y="12061"/>
                  </a:lnTo>
                  <a:lnTo>
                    <a:pt x="8002" y="12062"/>
                  </a:lnTo>
                  <a:lnTo>
                    <a:pt x="8029" y="12062"/>
                  </a:lnTo>
                  <a:lnTo>
                    <a:pt x="8056" y="12062"/>
                  </a:lnTo>
                  <a:lnTo>
                    <a:pt x="8082" y="12061"/>
                  </a:lnTo>
                  <a:lnTo>
                    <a:pt x="8109" y="12059"/>
                  </a:lnTo>
                  <a:lnTo>
                    <a:pt x="8135" y="12056"/>
                  </a:lnTo>
                  <a:lnTo>
                    <a:pt x="8162" y="12053"/>
                  </a:lnTo>
                  <a:lnTo>
                    <a:pt x="8189" y="12049"/>
                  </a:lnTo>
                  <a:lnTo>
                    <a:pt x="8215" y="12045"/>
                  </a:lnTo>
                  <a:lnTo>
                    <a:pt x="8241" y="12040"/>
                  </a:lnTo>
                  <a:lnTo>
                    <a:pt x="8266" y="12034"/>
                  </a:lnTo>
                  <a:lnTo>
                    <a:pt x="8292" y="12027"/>
                  </a:lnTo>
                  <a:lnTo>
                    <a:pt x="8317" y="12020"/>
                  </a:lnTo>
                  <a:lnTo>
                    <a:pt x="8342" y="12012"/>
                  </a:lnTo>
                  <a:lnTo>
                    <a:pt x="8367" y="12004"/>
                  </a:lnTo>
                  <a:lnTo>
                    <a:pt x="8392" y="11994"/>
                  </a:lnTo>
                  <a:lnTo>
                    <a:pt x="8416" y="11985"/>
                  </a:lnTo>
                  <a:lnTo>
                    <a:pt x="8440" y="11974"/>
                  </a:lnTo>
                  <a:lnTo>
                    <a:pt x="8465" y="11962"/>
                  </a:lnTo>
                  <a:lnTo>
                    <a:pt x="8488" y="11950"/>
                  </a:lnTo>
                  <a:lnTo>
                    <a:pt x="8511" y="11938"/>
                  </a:lnTo>
                  <a:lnTo>
                    <a:pt x="8534" y="11925"/>
                  </a:lnTo>
                  <a:lnTo>
                    <a:pt x="8557" y="11912"/>
                  </a:lnTo>
                  <a:lnTo>
                    <a:pt x="8579" y="11898"/>
                  </a:lnTo>
                  <a:lnTo>
                    <a:pt x="8601" y="11883"/>
                  </a:lnTo>
                  <a:lnTo>
                    <a:pt x="8622" y="11868"/>
                  </a:lnTo>
                  <a:lnTo>
                    <a:pt x="8643" y="11852"/>
                  </a:lnTo>
                  <a:lnTo>
                    <a:pt x="8664" y="11836"/>
                  </a:lnTo>
                  <a:lnTo>
                    <a:pt x="8684" y="11819"/>
                  </a:lnTo>
                  <a:lnTo>
                    <a:pt x="8704" y="11801"/>
                  </a:lnTo>
                  <a:lnTo>
                    <a:pt x="8724" y="11782"/>
                  </a:lnTo>
                  <a:lnTo>
                    <a:pt x="8743" y="11763"/>
                  </a:lnTo>
                  <a:lnTo>
                    <a:pt x="8762" y="11744"/>
                  </a:lnTo>
                  <a:lnTo>
                    <a:pt x="8780" y="11724"/>
                  </a:lnTo>
                  <a:lnTo>
                    <a:pt x="15805" y="4228"/>
                  </a:lnTo>
                  <a:lnTo>
                    <a:pt x="15821" y="4210"/>
                  </a:lnTo>
                  <a:lnTo>
                    <a:pt x="15836" y="4192"/>
                  </a:lnTo>
                  <a:lnTo>
                    <a:pt x="15851" y="4173"/>
                  </a:lnTo>
                  <a:lnTo>
                    <a:pt x="15865" y="4154"/>
                  </a:lnTo>
                  <a:lnTo>
                    <a:pt x="15878" y="4135"/>
                  </a:lnTo>
                  <a:lnTo>
                    <a:pt x="15892" y="4115"/>
                  </a:lnTo>
                  <a:lnTo>
                    <a:pt x="15904" y="4096"/>
                  </a:lnTo>
                  <a:lnTo>
                    <a:pt x="15917" y="4076"/>
                  </a:lnTo>
                  <a:lnTo>
                    <a:pt x="15929" y="4056"/>
                  </a:lnTo>
                  <a:lnTo>
                    <a:pt x="15940" y="4034"/>
                  </a:lnTo>
                  <a:lnTo>
                    <a:pt x="15951" y="4014"/>
                  </a:lnTo>
                  <a:lnTo>
                    <a:pt x="15961" y="3993"/>
                  </a:lnTo>
                  <a:lnTo>
                    <a:pt x="15971" y="3972"/>
                  </a:lnTo>
                  <a:lnTo>
                    <a:pt x="15980" y="3951"/>
                  </a:lnTo>
                  <a:lnTo>
                    <a:pt x="15989" y="3930"/>
                  </a:lnTo>
                  <a:lnTo>
                    <a:pt x="15997" y="3908"/>
                  </a:lnTo>
                  <a:lnTo>
                    <a:pt x="16004" y="3887"/>
                  </a:lnTo>
                  <a:lnTo>
                    <a:pt x="16011" y="3864"/>
                  </a:lnTo>
                  <a:lnTo>
                    <a:pt x="16018" y="3842"/>
                  </a:lnTo>
                  <a:lnTo>
                    <a:pt x="16024" y="3820"/>
                  </a:lnTo>
                  <a:lnTo>
                    <a:pt x="16030" y="3799"/>
                  </a:lnTo>
                  <a:lnTo>
                    <a:pt x="16035" y="3776"/>
                  </a:lnTo>
                  <a:lnTo>
                    <a:pt x="16039" y="3754"/>
                  </a:lnTo>
                  <a:lnTo>
                    <a:pt x="16044" y="3732"/>
                  </a:lnTo>
                  <a:lnTo>
                    <a:pt x="16047" y="3710"/>
                  </a:lnTo>
                  <a:lnTo>
                    <a:pt x="16050" y="3686"/>
                  </a:lnTo>
                  <a:lnTo>
                    <a:pt x="16053" y="3664"/>
                  </a:lnTo>
                  <a:lnTo>
                    <a:pt x="16055" y="3642"/>
                  </a:lnTo>
                  <a:lnTo>
                    <a:pt x="16056" y="3619"/>
                  </a:lnTo>
                  <a:lnTo>
                    <a:pt x="16057" y="3597"/>
                  </a:lnTo>
                  <a:lnTo>
                    <a:pt x="16058" y="3574"/>
                  </a:lnTo>
                  <a:lnTo>
                    <a:pt x="16058" y="3552"/>
                  </a:lnTo>
                  <a:lnTo>
                    <a:pt x="16057" y="3528"/>
                  </a:lnTo>
                  <a:lnTo>
                    <a:pt x="16056" y="3503"/>
                  </a:lnTo>
                  <a:lnTo>
                    <a:pt x="16055" y="3479"/>
                  </a:lnTo>
                  <a:lnTo>
                    <a:pt x="16053" y="3456"/>
                  </a:lnTo>
                  <a:lnTo>
                    <a:pt x="16050" y="3432"/>
                  </a:lnTo>
                  <a:lnTo>
                    <a:pt x="16047" y="3408"/>
                  </a:lnTo>
                  <a:lnTo>
                    <a:pt x="16043" y="3385"/>
                  </a:lnTo>
                  <a:lnTo>
                    <a:pt x="16039" y="3362"/>
                  </a:lnTo>
                  <a:lnTo>
                    <a:pt x="16034" y="3338"/>
                  </a:lnTo>
                  <a:lnTo>
                    <a:pt x="16028" y="3314"/>
                  </a:lnTo>
                  <a:lnTo>
                    <a:pt x="16022" y="3291"/>
                  </a:lnTo>
                  <a:lnTo>
                    <a:pt x="16015" y="3268"/>
                  </a:lnTo>
                  <a:lnTo>
                    <a:pt x="16008" y="3245"/>
                  </a:lnTo>
                  <a:lnTo>
                    <a:pt x="16000" y="3222"/>
                  </a:lnTo>
                  <a:lnTo>
                    <a:pt x="15992" y="3200"/>
                  </a:lnTo>
                  <a:lnTo>
                    <a:pt x="15983" y="3178"/>
                  </a:lnTo>
                  <a:lnTo>
                    <a:pt x="15974" y="3155"/>
                  </a:lnTo>
                  <a:lnTo>
                    <a:pt x="15964" y="3132"/>
                  </a:lnTo>
                  <a:lnTo>
                    <a:pt x="15953" y="3111"/>
                  </a:lnTo>
                  <a:lnTo>
                    <a:pt x="15942" y="3089"/>
                  </a:lnTo>
                  <a:lnTo>
                    <a:pt x="15930" y="3068"/>
                  </a:lnTo>
                  <a:lnTo>
                    <a:pt x="15917" y="3047"/>
                  </a:lnTo>
                  <a:lnTo>
                    <a:pt x="15904" y="3026"/>
                  </a:lnTo>
                  <a:lnTo>
                    <a:pt x="15891" y="3005"/>
                  </a:lnTo>
                  <a:lnTo>
                    <a:pt x="15877" y="2985"/>
                  </a:lnTo>
                  <a:lnTo>
                    <a:pt x="15863" y="2964"/>
                  </a:lnTo>
                  <a:lnTo>
                    <a:pt x="15848" y="2944"/>
                  </a:lnTo>
                  <a:lnTo>
                    <a:pt x="15832" y="2924"/>
                  </a:lnTo>
                  <a:lnTo>
                    <a:pt x="15816" y="2905"/>
                  </a:lnTo>
                  <a:lnTo>
                    <a:pt x="15799" y="2886"/>
                  </a:lnTo>
                  <a:lnTo>
                    <a:pt x="15782" y="2868"/>
                  </a:lnTo>
                  <a:lnTo>
                    <a:pt x="15764" y="284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29" name="îšľîḍê">
              <a:extLst>
                <a:ext uri="{FF2B5EF4-FFF2-40B4-BE49-F238E27FC236}">
                  <a16:creationId xmlns:a16="http://schemas.microsoft.com/office/drawing/2014/main" id="{B1B181B4-629E-4B90-9271-5266D0FD22EC}"/>
                </a:ext>
              </a:extLst>
            </p:cNvPr>
            <p:cNvSpPr/>
            <p:nvPr/>
          </p:nvSpPr>
          <p:spPr bwMode="auto">
            <a:xfrm>
              <a:off x="7231998" y="1735700"/>
              <a:ext cx="404054" cy="361004"/>
            </a:xfrm>
            <a:custGeom>
              <a:avLst/>
              <a:gdLst>
                <a:gd name="T0" fmla="*/ 8326 w 16095"/>
                <a:gd name="T1" fmla="*/ 13008 h 14096"/>
                <a:gd name="T2" fmla="*/ 8191 w 16095"/>
                <a:gd name="T3" fmla="*/ 13069 h 14096"/>
                <a:gd name="T4" fmla="*/ 8048 w 16095"/>
                <a:gd name="T5" fmla="*/ 13090 h 14096"/>
                <a:gd name="T6" fmla="*/ 7903 w 16095"/>
                <a:gd name="T7" fmla="*/ 13069 h 14096"/>
                <a:gd name="T8" fmla="*/ 7768 w 16095"/>
                <a:gd name="T9" fmla="*/ 13008 h 14096"/>
                <a:gd name="T10" fmla="*/ 1995 w 16095"/>
                <a:gd name="T11" fmla="*/ 7293 h 14096"/>
                <a:gd name="T12" fmla="*/ 1368 w 16095"/>
                <a:gd name="T13" fmla="*/ 6355 h 14096"/>
                <a:gd name="T14" fmla="*/ 1055 w 16095"/>
                <a:gd name="T15" fmla="*/ 5309 h 14096"/>
                <a:gd name="T16" fmla="*/ 1055 w 16095"/>
                <a:gd name="T17" fmla="*/ 4226 h 14096"/>
                <a:gd name="T18" fmla="*/ 1368 w 16095"/>
                <a:gd name="T19" fmla="*/ 3179 h 14096"/>
                <a:gd name="T20" fmla="*/ 1995 w 16095"/>
                <a:gd name="T21" fmla="*/ 2241 h 14096"/>
                <a:gd name="T22" fmla="*/ 2857 w 16095"/>
                <a:gd name="T23" fmla="*/ 1536 h 14096"/>
                <a:gd name="T24" fmla="*/ 3845 w 16095"/>
                <a:gd name="T25" fmla="*/ 1126 h 14096"/>
                <a:gd name="T26" fmla="*/ 4896 w 16095"/>
                <a:gd name="T27" fmla="*/ 1005 h 14096"/>
                <a:gd name="T28" fmla="*/ 5943 w 16095"/>
                <a:gd name="T29" fmla="*/ 1178 h 14096"/>
                <a:gd name="T30" fmla="*/ 6922 w 16095"/>
                <a:gd name="T31" fmla="*/ 1644 h 14096"/>
                <a:gd name="T32" fmla="*/ 8873 w 16095"/>
                <a:gd name="T33" fmla="*/ 1866 h 14096"/>
                <a:gd name="T34" fmla="*/ 9814 w 16095"/>
                <a:gd name="T35" fmla="*/ 1301 h 14096"/>
                <a:gd name="T36" fmla="*/ 10846 w 16095"/>
                <a:gd name="T37" fmla="*/ 1030 h 14096"/>
                <a:gd name="T38" fmla="*/ 11903 w 16095"/>
                <a:gd name="T39" fmla="*/ 1053 h 14096"/>
                <a:gd name="T40" fmla="*/ 12919 w 16095"/>
                <a:gd name="T41" fmla="*/ 1367 h 14096"/>
                <a:gd name="T42" fmla="*/ 13830 w 16095"/>
                <a:gd name="T43" fmla="*/ 1971 h 14096"/>
                <a:gd name="T44" fmla="*/ 14553 w 16095"/>
                <a:gd name="T45" fmla="*/ 2850 h 14096"/>
                <a:gd name="T46" fmla="*/ 14970 w 16095"/>
                <a:gd name="T47" fmla="*/ 3868 h 14096"/>
                <a:gd name="T48" fmla="*/ 15074 w 16095"/>
                <a:gd name="T49" fmla="*/ 4948 h 14096"/>
                <a:gd name="T50" fmla="*/ 14866 w 16095"/>
                <a:gd name="T51" fmla="*/ 6015 h 14096"/>
                <a:gd name="T52" fmla="*/ 14344 w 16095"/>
                <a:gd name="T53" fmla="*/ 6997 h 14096"/>
                <a:gd name="T54" fmla="*/ 14329 w 16095"/>
                <a:gd name="T55" fmla="*/ 1071 h 14096"/>
                <a:gd name="T56" fmla="*/ 13143 w 16095"/>
                <a:gd name="T57" fmla="*/ 364 h 14096"/>
                <a:gd name="T58" fmla="*/ 11837 w 16095"/>
                <a:gd name="T59" fmla="*/ 29 h 14096"/>
                <a:gd name="T60" fmla="*/ 10497 w 16095"/>
                <a:gd name="T61" fmla="*/ 65 h 14096"/>
                <a:gd name="T62" fmla="*/ 9205 w 16095"/>
                <a:gd name="T63" fmla="*/ 471 h 14096"/>
                <a:gd name="T64" fmla="*/ 8046 w 16095"/>
                <a:gd name="T65" fmla="*/ 1245 h 14096"/>
                <a:gd name="T66" fmla="*/ 6889 w 16095"/>
                <a:gd name="T67" fmla="*/ 471 h 14096"/>
                <a:gd name="T68" fmla="*/ 5598 w 16095"/>
                <a:gd name="T69" fmla="*/ 65 h 14096"/>
                <a:gd name="T70" fmla="*/ 4258 w 16095"/>
                <a:gd name="T71" fmla="*/ 29 h 14096"/>
                <a:gd name="T72" fmla="*/ 2953 w 16095"/>
                <a:gd name="T73" fmla="*/ 364 h 14096"/>
                <a:gd name="T74" fmla="*/ 1766 w 16095"/>
                <a:gd name="T75" fmla="*/ 1071 h 14096"/>
                <a:gd name="T76" fmla="*/ 794 w 16095"/>
                <a:gd name="T77" fmla="*/ 2140 h 14096"/>
                <a:gd name="T78" fmla="*/ 198 w 16095"/>
                <a:gd name="T79" fmla="*/ 3407 h 14096"/>
                <a:gd name="T80" fmla="*/ 0 w 16095"/>
                <a:gd name="T81" fmla="*/ 4767 h 14096"/>
                <a:gd name="T82" fmla="*/ 198 w 16095"/>
                <a:gd name="T83" fmla="*/ 6127 h 14096"/>
                <a:gd name="T84" fmla="*/ 794 w 16095"/>
                <a:gd name="T85" fmla="*/ 7395 h 14096"/>
                <a:gd name="T86" fmla="*/ 1805 w 16095"/>
                <a:gd name="T87" fmla="*/ 8534 h 14096"/>
                <a:gd name="T88" fmla="*/ 4393 w 16095"/>
                <a:gd name="T89" fmla="*/ 11099 h 14096"/>
                <a:gd name="T90" fmla="*/ 6755 w 16095"/>
                <a:gd name="T91" fmla="*/ 13439 h 14096"/>
                <a:gd name="T92" fmla="*/ 7211 w 16095"/>
                <a:gd name="T93" fmla="*/ 13847 h 14096"/>
                <a:gd name="T94" fmla="*/ 7614 w 16095"/>
                <a:gd name="T95" fmla="*/ 14034 h 14096"/>
                <a:gd name="T96" fmla="*/ 8048 w 16095"/>
                <a:gd name="T97" fmla="*/ 14096 h 14096"/>
                <a:gd name="T98" fmla="*/ 8480 w 16095"/>
                <a:gd name="T99" fmla="*/ 14034 h 14096"/>
                <a:gd name="T100" fmla="*/ 8884 w 16095"/>
                <a:gd name="T101" fmla="*/ 13847 h 14096"/>
                <a:gd name="T102" fmla="*/ 9360 w 16095"/>
                <a:gd name="T103" fmla="*/ 13419 h 14096"/>
                <a:gd name="T104" fmla="*/ 11881 w 16095"/>
                <a:gd name="T105" fmla="*/ 10921 h 14096"/>
                <a:gd name="T106" fmla="*/ 14427 w 16095"/>
                <a:gd name="T107" fmla="*/ 8398 h 14096"/>
                <a:gd name="T108" fmla="*/ 15301 w 16095"/>
                <a:gd name="T109" fmla="*/ 7395 h 14096"/>
                <a:gd name="T110" fmla="*/ 15897 w 16095"/>
                <a:gd name="T111" fmla="*/ 6127 h 14096"/>
                <a:gd name="T112" fmla="*/ 16095 w 16095"/>
                <a:gd name="T113" fmla="*/ 4767 h 14096"/>
                <a:gd name="T114" fmla="*/ 15897 w 16095"/>
                <a:gd name="T115" fmla="*/ 3407 h 14096"/>
                <a:gd name="T116" fmla="*/ 15301 w 16095"/>
                <a:gd name="T117" fmla="*/ 2140 h 14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095" h="14096">
                  <a:moveTo>
                    <a:pt x="13965" y="7434"/>
                  </a:moveTo>
                  <a:lnTo>
                    <a:pt x="8406" y="12943"/>
                  </a:lnTo>
                  <a:lnTo>
                    <a:pt x="8387" y="12960"/>
                  </a:lnTo>
                  <a:lnTo>
                    <a:pt x="8367" y="12977"/>
                  </a:lnTo>
                  <a:lnTo>
                    <a:pt x="8347" y="12992"/>
                  </a:lnTo>
                  <a:lnTo>
                    <a:pt x="8326" y="13008"/>
                  </a:lnTo>
                  <a:lnTo>
                    <a:pt x="8305" y="13021"/>
                  </a:lnTo>
                  <a:lnTo>
                    <a:pt x="8283" y="13033"/>
                  </a:lnTo>
                  <a:lnTo>
                    <a:pt x="8261" y="13044"/>
                  </a:lnTo>
                  <a:lnTo>
                    <a:pt x="8239" y="13053"/>
                  </a:lnTo>
                  <a:lnTo>
                    <a:pt x="8215" y="13062"/>
                  </a:lnTo>
                  <a:lnTo>
                    <a:pt x="8191" y="13069"/>
                  </a:lnTo>
                  <a:lnTo>
                    <a:pt x="8168" y="13076"/>
                  </a:lnTo>
                  <a:lnTo>
                    <a:pt x="8144" y="13081"/>
                  </a:lnTo>
                  <a:lnTo>
                    <a:pt x="8120" y="13085"/>
                  </a:lnTo>
                  <a:lnTo>
                    <a:pt x="8096" y="13088"/>
                  </a:lnTo>
                  <a:lnTo>
                    <a:pt x="8072" y="13089"/>
                  </a:lnTo>
                  <a:lnTo>
                    <a:pt x="8048" y="13090"/>
                  </a:lnTo>
                  <a:lnTo>
                    <a:pt x="8023" y="13089"/>
                  </a:lnTo>
                  <a:lnTo>
                    <a:pt x="7998" y="13088"/>
                  </a:lnTo>
                  <a:lnTo>
                    <a:pt x="7974" y="13085"/>
                  </a:lnTo>
                  <a:lnTo>
                    <a:pt x="7950" y="13081"/>
                  </a:lnTo>
                  <a:lnTo>
                    <a:pt x="7927" y="13076"/>
                  </a:lnTo>
                  <a:lnTo>
                    <a:pt x="7903" y="13069"/>
                  </a:lnTo>
                  <a:lnTo>
                    <a:pt x="7880" y="13062"/>
                  </a:lnTo>
                  <a:lnTo>
                    <a:pt x="7856" y="13053"/>
                  </a:lnTo>
                  <a:lnTo>
                    <a:pt x="7833" y="13044"/>
                  </a:lnTo>
                  <a:lnTo>
                    <a:pt x="7811" y="13033"/>
                  </a:lnTo>
                  <a:lnTo>
                    <a:pt x="7790" y="13021"/>
                  </a:lnTo>
                  <a:lnTo>
                    <a:pt x="7768" y="13008"/>
                  </a:lnTo>
                  <a:lnTo>
                    <a:pt x="7748" y="12992"/>
                  </a:lnTo>
                  <a:lnTo>
                    <a:pt x="7728" y="12977"/>
                  </a:lnTo>
                  <a:lnTo>
                    <a:pt x="7707" y="12960"/>
                  </a:lnTo>
                  <a:lnTo>
                    <a:pt x="7689" y="12943"/>
                  </a:lnTo>
                  <a:lnTo>
                    <a:pt x="2130" y="7434"/>
                  </a:lnTo>
                  <a:lnTo>
                    <a:pt x="1995" y="7293"/>
                  </a:lnTo>
                  <a:lnTo>
                    <a:pt x="1868" y="7148"/>
                  </a:lnTo>
                  <a:lnTo>
                    <a:pt x="1751" y="6997"/>
                  </a:lnTo>
                  <a:lnTo>
                    <a:pt x="1643" y="6843"/>
                  </a:lnTo>
                  <a:lnTo>
                    <a:pt x="1542" y="6684"/>
                  </a:lnTo>
                  <a:lnTo>
                    <a:pt x="1452" y="6521"/>
                  </a:lnTo>
                  <a:lnTo>
                    <a:pt x="1368" y="6355"/>
                  </a:lnTo>
                  <a:lnTo>
                    <a:pt x="1295" y="6186"/>
                  </a:lnTo>
                  <a:lnTo>
                    <a:pt x="1229" y="6015"/>
                  </a:lnTo>
                  <a:lnTo>
                    <a:pt x="1173" y="5841"/>
                  </a:lnTo>
                  <a:lnTo>
                    <a:pt x="1125" y="5666"/>
                  </a:lnTo>
                  <a:lnTo>
                    <a:pt x="1085" y="5487"/>
                  </a:lnTo>
                  <a:lnTo>
                    <a:pt x="1055" y="5309"/>
                  </a:lnTo>
                  <a:lnTo>
                    <a:pt x="1034" y="5129"/>
                  </a:lnTo>
                  <a:lnTo>
                    <a:pt x="1021" y="4948"/>
                  </a:lnTo>
                  <a:lnTo>
                    <a:pt x="1016" y="4767"/>
                  </a:lnTo>
                  <a:lnTo>
                    <a:pt x="1021" y="4586"/>
                  </a:lnTo>
                  <a:lnTo>
                    <a:pt x="1034" y="4405"/>
                  </a:lnTo>
                  <a:lnTo>
                    <a:pt x="1055" y="4226"/>
                  </a:lnTo>
                  <a:lnTo>
                    <a:pt x="1085" y="4047"/>
                  </a:lnTo>
                  <a:lnTo>
                    <a:pt x="1125" y="3868"/>
                  </a:lnTo>
                  <a:lnTo>
                    <a:pt x="1173" y="3693"/>
                  </a:lnTo>
                  <a:lnTo>
                    <a:pt x="1229" y="3519"/>
                  </a:lnTo>
                  <a:lnTo>
                    <a:pt x="1295" y="3348"/>
                  </a:lnTo>
                  <a:lnTo>
                    <a:pt x="1368" y="3179"/>
                  </a:lnTo>
                  <a:lnTo>
                    <a:pt x="1452" y="3013"/>
                  </a:lnTo>
                  <a:lnTo>
                    <a:pt x="1542" y="2850"/>
                  </a:lnTo>
                  <a:lnTo>
                    <a:pt x="1643" y="2691"/>
                  </a:lnTo>
                  <a:lnTo>
                    <a:pt x="1751" y="2537"/>
                  </a:lnTo>
                  <a:lnTo>
                    <a:pt x="1868" y="2386"/>
                  </a:lnTo>
                  <a:lnTo>
                    <a:pt x="1995" y="2241"/>
                  </a:lnTo>
                  <a:lnTo>
                    <a:pt x="2130" y="2100"/>
                  </a:lnTo>
                  <a:lnTo>
                    <a:pt x="2265" y="1971"/>
                  </a:lnTo>
                  <a:lnTo>
                    <a:pt x="2407" y="1851"/>
                  </a:lnTo>
                  <a:lnTo>
                    <a:pt x="2553" y="1738"/>
                  </a:lnTo>
                  <a:lnTo>
                    <a:pt x="2703" y="1633"/>
                  </a:lnTo>
                  <a:lnTo>
                    <a:pt x="2857" y="1536"/>
                  </a:lnTo>
                  <a:lnTo>
                    <a:pt x="3015" y="1448"/>
                  </a:lnTo>
                  <a:lnTo>
                    <a:pt x="3176" y="1367"/>
                  </a:lnTo>
                  <a:lnTo>
                    <a:pt x="3339" y="1295"/>
                  </a:lnTo>
                  <a:lnTo>
                    <a:pt x="3506" y="1230"/>
                  </a:lnTo>
                  <a:lnTo>
                    <a:pt x="3675" y="1174"/>
                  </a:lnTo>
                  <a:lnTo>
                    <a:pt x="3845" y="1126"/>
                  </a:lnTo>
                  <a:lnTo>
                    <a:pt x="4018" y="1085"/>
                  </a:lnTo>
                  <a:lnTo>
                    <a:pt x="4192" y="1053"/>
                  </a:lnTo>
                  <a:lnTo>
                    <a:pt x="4367" y="1029"/>
                  </a:lnTo>
                  <a:lnTo>
                    <a:pt x="4543" y="1013"/>
                  </a:lnTo>
                  <a:lnTo>
                    <a:pt x="4719" y="1005"/>
                  </a:lnTo>
                  <a:lnTo>
                    <a:pt x="4896" y="1005"/>
                  </a:lnTo>
                  <a:lnTo>
                    <a:pt x="5072" y="1014"/>
                  </a:lnTo>
                  <a:lnTo>
                    <a:pt x="5249" y="1030"/>
                  </a:lnTo>
                  <a:lnTo>
                    <a:pt x="5424" y="1055"/>
                  </a:lnTo>
                  <a:lnTo>
                    <a:pt x="5599" y="1087"/>
                  </a:lnTo>
                  <a:lnTo>
                    <a:pt x="5772" y="1129"/>
                  </a:lnTo>
                  <a:lnTo>
                    <a:pt x="5943" y="1178"/>
                  </a:lnTo>
                  <a:lnTo>
                    <a:pt x="6113" y="1235"/>
                  </a:lnTo>
                  <a:lnTo>
                    <a:pt x="6281" y="1301"/>
                  </a:lnTo>
                  <a:lnTo>
                    <a:pt x="6446" y="1374"/>
                  </a:lnTo>
                  <a:lnTo>
                    <a:pt x="6608" y="1456"/>
                  </a:lnTo>
                  <a:lnTo>
                    <a:pt x="6767" y="1547"/>
                  </a:lnTo>
                  <a:lnTo>
                    <a:pt x="6922" y="1644"/>
                  </a:lnTo>
                  <a:lnTo>
                    <a:pt x="7074" y="1751"/>
                  </a:lnTo>
                  <a:lnTo>
                    <a:pt x="7222" y="1866"/>
                  </a:lnTo>
                  <a:lnTo>
                    <a:pt x="7365" y="1989"/>
                  </a:lnTo>
                  <a:lnTo>
                    <a:pt x="8046" y="2603"/>
                  </a:lnTo>
                  <a:lnTo>
                    <a:pt x="8730" y="1989"/>
                  </a:lnTo>
                  <a:lnTo>
                    <a:pt x="8873" y="1866"/>
                  </a:lnTo>
                  <a:lnTo>
                    <a:pt x="9021" y="1751"/>
                  </a:lnTo>
                  <a:lnTo>
                    <a:pt x="9173" y="1644"/>
                  </a:lnTo>
                  <a:lnTo>
                    <a:pt x="9328" y="1547"/>
                  </a:lnTo>
                  <a:lnTo>
                    <a:pt x="9487" y="1456"/>
                  </a:lnTo>
                  <a:lnTo>
                    <a:pt x="9649" y="1374"/>
                  </a:lnTo>
                  <a:lnTo>
                    <a:pt x="9814" y="1301"/>
                  </a:lnTo>
                  <a:lnTo>
                    <a:pt x="9982" y="1235"/>
                  </a:lnTo>
                  <a:lnTo>
                    <a:pt x="10152" y="1178"/>
                  </a:lnTo>
                  <a:lnTo>
                    <a:pt x="10323" y="1129"/>
                  </a:lnTo>
                  <a:lnTo>
                    <a:pt x="10496" y="1087"/>
                  </a:lnTo>
                  <a:lnTo>
                    <a:pt x="10671" y="1055"/>
                  </a:lnTo>
                  <a:lnTo>
                    <a:pt x="10846" y="1030"/>
                  </a:lnTo>
                  <a:lnTo>
                    <a:pt x="11023" y="1014"/>
                  </a:lnTo>
                  <a:lnTo>
                    <a:pt x="11199" y="1005"/>
                  </a:lnTo>
                  <a:lnTo>
                    <a:pt x="11376" y="1005"/>
                  </a:lnTo>
                  <a:lnTo>
                    <a:pt x="11552" y="1013"/>
                  </a:lnTo>
                  <a:lnTo>
                    <a:pt x="11728" y="1029"/>
                  </a:lnTo>
                  <a:lnTo>
                    <a:pt x="11903" y="1053"/>
                  </a:lnTo>
                  <a:lnTo>
                    <a:pt x="12077" y="1085"/>
                  </a:lnTo>
                  <a:lnTo>
                    <a:pt x="12250" y="1126"/>
                  </a:lnTo>
                  <a:lnTo>
                    <a:pt x="12420" y="1174"/>
                  </a:lnTo>
                  <a:lnTo>
                    <a:pt x="12589" y="1230"/>
                  </a:lnTo>
                  <a:lnTo>
                    <a:pt x="12756" y="1295"/>
                  </a:lnTo>
                  <a:lnTo>
                    <a:pt x="12919" y="1367"/>
                  </a:lnTo>
                  <a:lnTo>
                    <a:pt x="13080" y="1448"/>
                  </a:lnTo>
                  <a:lnTo>
                    <a:pt x="13238" y="1536"/>
                  </a:lnTo>
                  <a:lnTo>
                    <a:pt x="13392" y="1633"/>
                  </a:lnTo>
                  <a:lnTo>
                    <a:pt x="13542" y="1738"/>
                  </a:lnTo>
                  <a:lnTo>
                    <a:pt x="13688" y="1851"/>
                  </a:lnTo>
                  <a:lnTo>
                    <a:pt x="13830" y="1971"/>
                  </a:lnTo>
                  <a:lnTo>
                    <a:pt x="13965" y="2100"/>
                  </a:lnTo>
                  <a:lnTo>
                    <a:pt x="14100" y="2241"/>
                  </a:lnTo>
                  <a:lnTo>
                    <a:pt x="14227" y="2386"/>
                  </a:lnTo>
                  <a:lnTo>
                    <a:pt x="14344" y="2537"/>
                  </a:lnTo>
                  <a:lnTo>
                    <a:pt x="14452" y="2691"/>
                  </a:lnTo>
                  <a:lnTo>
                    <a:pt x="14553" y="2850"/>
                  </a:lnTo>
                  <a:lnTo>
                    <a:pt x="14643" y="3013"/>
                  </a:lnTo>
                  <a:lnTo>
                    <a:pt x="14727" y="3179"/>
                  </a:lnTo>
                  <a:lnTo>
                    <a:pt x="14800" y="3348"/>
                  </a:lnTo>
                  <a:lnTo>
                    <a:pt x="14866" y="3519"/>
                  </a:lnTo>
                  <a:lnTo>
                    <a:pt x="14922" y="3693"/>
                  </a:lnTo>
                  <a:lnTo>
                    <a:pt x="14970" y="3868"/>
                  </a:lnTo>
                  <a:lnTo>
                    <a:pt x="15010" y="4047"/>
                  </a:lnTo>
                  <a:lnTo>
                    <a:pt x="15040" y="4226"/>
                  </a:lnTo>
                  <a:lnTo>
                    <a:pt x="15061" y="4405"/>
                  </a:lnTo>
                  <a:lnTo>
                    <a:pt x="15074" y="4586"/>
                  </a:lnTo>
                  <a:lnTo>
                    <a:pt x="15079" y="4767"/>
                  </a:lnTo>
                  <a:lnTo>
                    <a:pt x="15074" y="4948"/>
                  </a:lnTo>
                  <a:lnTo>
                    <a:pt x="15061" y="5129"/>
                  </a:lnTo>
                  <a:lnTo>
                    <a:pt x="15040" y="5309"/>
                  </a:lnTo>
                  <a:lnTo>
                    <a:pt x="15010" y="5487"/>
                  </a:lnTo>
                  <a:lnTo>
                    <a:pt x="14970" y="5666"/>
                  </a:lnTo>
                  <a:lnTo>
                    <a:pt x="14922" y="5841"/>
                  </a:lnTo>
                  <a:lnTo>
                    <a:pt x="14866" y="6015"/>
                  </a:lnTo>
                  <a:lnTo>
                    <a:pt x="14800" y="6186"/>
                  </a:lnTo>
                  <a:lnTo>
                    <a:pt x="14727" y="6355"/>
                  </a:lnTo>
                  <a:lnTo>
                    <a:pt x="14643" y="6521"/>
                  </a:lnTo>
                  <a:lnTo>
                    <a:pt x="14553" y="6684"/>
                  </a:lnTo>
                  <a:lnTo>
                    <a:pt x="14452" y="6843"/>
                  </a:lnTo>
                  <a:lnTo>
                    <a:pt x="14344" y="6997"/>
                  </a:lnTo>
                  <a:lnTo>
                    <a:pt x="14227" y="7148"/>
                  </a:lnTo>
                  <a:lnTo>
                    <a:pt x="14100" y="7293"/>
                  </a:lnTo>
                  <a:lnTo>
                    <a:pt x="13965" y="7434"/>
                  </a:lnTo>
                  <a:close/>
                  <a:moveTo>
                    <a:pt x="14684" y="1390"/>
                  </a:moveTo>
                  <a:lnTo>
                    <a:pt x="14510" y="1225"/>
                  </a:lnTo>
                  <a:lnTo>
                    <a:pt x="14329" y="1071"/>
                  </a:lnTo>
                  <a:lnTo>
                    <a:pt x="14142" y="927"/>
                  </a:lnTo>
                  <a:lnTo>
                    <a:pt x="13951" y="794"/>
                  </a:lnTo>
                  <a:lnTo>
                    <a:pt x="13755" y="672"/>
                  </a:lnTo>
                  <a:lnTo>
                    <a:pt x="13555" y="559"/>
                  </a:lnTo>
                  <a:lnTo>
                    <a:pt x="13351" y="456"/>
                  </a:lnTo>
                  <a:lnTo>
                    <a:pt x="13143" y="364"/>
                  </a:lnTo>
                  <a:lnTo>
                    <a:pt x="12930" y="282"/>
                  </a:lnTo>
                  <a:lnTo>
                    <a:pt x="12716" y="211"/>
                  </a:lnTo>
                  <a:lnTo>
                    <a:pt x="12499" y="150"/>
                  </a:lnTo>
                  <a:lnTo>
                    <a:pt x="12280" y="100"/>
                  </a:lnTo>
                  <a:lnTo>
                    <a:pt x="12059" y="59"/>
                  </a:lnTo>
                  <a:lnTo>
                    <a:pt x="11837" y="29"/>
                  </a:lnTo>
                  <a:lnTo>
                    <a:pt x="11614" y="9"/>
                  </a:lnTo>
                  <a:lnTo>
                    <a:pt x="11390" y="0"/>
                  </a:lnTo>
                  <a:lnTo>
                    <a:pt x="11166" y="1"/>
                  </a:lnTo>
                  <a:lnTo>
                    <a:pt x="10943" y="12"/>
                  </a:lnTo>
                  <a:lnTo>
                    <a:pt x="10719" y="33"/>
                  </a:lnTo>
                  <a:lnTo>
                    <a:pt x="10497" y="65"/>
                  </a:lnTo>
                  <a:lnTo>
                    <a:pt x="10276" y="107"/>
                  </a:lnTo>
                  <a:lnTo>
                    <a:pt x="10056" y="159"/>
                  </a:lnTo>
                  <a:lnTo>
                    <a:pt x="9840" y="222"/>
                  </a:lnTo>
                  <a:lnTo>
                    <a:pt x="9625" y="295"/>
                  </a:lnTo>
                  <a:lnTo>
                    <a:pt x="9414" y="378"/>
                  </a:lnTo>
                  <a:lnTo>
                    <a:pt x="9205" y="471"/>
                  </a:lnTo>
                  <a:lnTo>
                    <a:pt x="9001" y="574"/>
                  </a:lnTo>
                  <a:lnTo>
                    <a:pt x="8800" y="688"/>
                  </a:lnTo>
                  <a:lnTo>
                    <a:pt x="8605" y="812"/>
                  </a:lnTo>
                  <a:lnTo>
                    <a:pt x="8413" y="946"/>
                  </a:lnTo>
                  <a:lnTo>
                    <a:pt x="8228" y="1090"/>
                  </a:lnTo>
                  <a:lnTo>
                    <a:pt x="8046" y="1245"/>
                  </a:lnTo>
                  <a:lnTo>
                    <a:pt x="7866" y="1090"/>
                  </a:lnTo>
                  <a:lnTo>
                    <a:pt x="7681" y="946"/>
                  </a:lnTo>
                  <a:lnTo>
                    <a:pt x="7490" y="812"/>
                  </a:lnTo>
                  <a:lnTo>
                    <a:pt x="7294" y="688"/>
                  </a:lnTo>
                  <a:lnTo>
                    <a:pt x="7094" y="574"/>
                  </a:lnTo>
                  <a:lnTo>
                    <a:pt x="6889" y="471"/>
                  </a:lnTo>
                  <a:lnTo>
                    <a:pt x="6680" y="378"/>
                  </a:lnTo>
                  <a:lnTo>
                    <a:pt x="6469" y="295"/>
                  </a:lnTo>
                  <a:lnTo>
                    <a:pt x="6255" y="222"/>
                  </a:lnTo>
                  <a:lnTo>
                    <a:pt x="6038" y="159"/>
                  </a:lnTo>
                  <a:lnTo>
                    <a:pt x="5819" y="107"/>
                  </a:lnTo>
                  <a:lnTo>
                    <a:pt x="5598" y="65"/>
                  </a:lnTo>
                  <a:lnTo>
                    <a:pt x="5376" y="33"/>
                  </a:lnTo>
                  <a:lnTo>
                    <a:pt x="5152" y="12"/>
                  </a:lnTo>
                  <a:lnTo>
                    <a:pt x="4929" y="1"/>
                  </a:lnTo>
                  <a:lnTo>
                    <a:pt x="4705" y="0"/>
                  </a:lnTo>
                  <a:lnTo>
                    <a:pt x="4481" y="9"/>
                  </a:lnTo>
                  <a:lnTo>
                    <a:pt x="4258" y="29"/>
                  </a:lnTo>
                  <a:lnTo>
                    <a:pt x="4036" y="59"/>
                  </a:lnTo>
                  <a:lnTo>
                    <a:pt x="3816" y="100"/>
                  </a:lnTo>
                  <a:lnTo>
                    <a:pt x="3596" y="150"/>
                  </a:lnTo>
                  <a:lnTo>
                    <a:pt x="3379" y="211"/>
                  </a:lnTo>
                  <a:lnTo>
                    <a:pt x="3165" y="282"/>
                  </a:lnTo>
                  <a:lnTo>
                    <a:pt x="2953" y="364"/>
                  </a:lnTo>
                  <a:lnTo>
                    <a:pt x="2744" y="456"/>
                  </a:lnTo>
                  <a:lnTo>
                    <a:pt x="2540" y="559"/>
                  </a:lnTo>
                  <a:lnTo>
                    <a:pt x="2340" y="672"/>
                  </a:lnTo>
                  <a:lnTo>
                    <a:pt x="2144" y="794"/>
                  </a:lnTo>
                  <a:lnTo>
                    <a:pt x="1953" y="927"/>
                  </a:lnTo>
                  <a:lnTo>
                    <a:pt x="1766" y="1071"/>
                  </a:lnTo>
                  <a:lnTo>
                    <a:pt x="1586" y="1225"/>
                  </a:lnTo>
                  <a:lnTo>
                    <a:pt x="1411" y="1390"/>
                  </a:lnTo>
                  <a:lnTo>
                    <a:pt x="1240" y="1569"/>
                  </a:lnTo>
                  <a:lnTo>
                    <a:pt x="1080" y="1753"/>
                  </a:lnTo>
                  <a:lnTo>
                    <a:pt x="931" y="1943"/>
                  </a:lnTo>
                  <a:lnTo>
                    <a:pt x="794" y="2140"/>
                  </a:lnTo>
                  <a:lnTo>
                    <a:pt x="667" y="2340"/>
                  </a:lnTo>
                  <a:lnTo>
                    <a:pt x="551" y="2546"/>
                  </a:lnTo>
                  <a:lnTo>
                    <a:pt x="447" y="2756"/>
                  </a:lnTo>
                  <a:lnTo>
                    <a:pt x="353" y="2970"/>
                  </a:lnTo>
                  <a:lnTo>
                    <a:pt x="271" y="3187"/>
                  </a:lnTo>
                  <a:lnTo>
                    <a:pt x="198" y="3407"/>
                  </a:lnTo>
                  <a:lnTo>
                    <a:pt x="138" y="3630"/>
                  </a:lnTo>
                  <a:lnTo>
                    <a:pt x="89" y="3855"/>
                  </a:lnTo>
                  <a:lnTo>
                    <a:pt x="49" y="4082"/>
                  </a:lnTo>
                  <a:lnTo>
                    <a:pt x="22" y="4309"/>
                  </a:lnTo>
                  <a:lnTo>
                    <a:pt x="6" y="4538"/>
                  </a:lnTo>
                  <a:lnTo>
                    <a:pt x="0" y="4767"/>
                  </a:lnTo>
                  <a:lnTo>
                    <a:pt x="6" y="4996"/>
                  </a:lnTo>
                  <a:lnTo>
                    <a:pt x="22" y="5225"/>
                  </a:lnTo>
                  <a:lnTo>
                    <a:pt x="49" y="5453"/>
                  </a:lnTo>
                  <a:lnTo>
                    <a:pt x="89" y="5680"/>
                  </a:lnTo>
                  <a:lnTo>
                    <a:pt x="138" y="5904"/>
                  </a:lnTo>
                  <a:lnTo>
                    <a:pt x="198" y="6127"/>
                  </a:lnTo>
                  <a:lnTo>
                    <a:pt x="271" y="6347"/>
                  </a:lnTo>
                  <a:lnTo>
                    <a:pt x="353" y="6565"/>
                  </a:lnTo>
                  <a:lnTo>
                    <a:pt x="447" y="6778"/>
                  </a:lnTo>
                  <a:lnTo>
                    <a:pt x="551" y="6989"/>
                  </a:lnTo>
                  <a:lnTo>
                    <a:pt x="667" y="7194"/>
                  </a:lnTo>
                  <a:lnTo>
                    <a:pt x="794" y="7395"/>
                  </a:lnTo>
                  <a:lnTo>
                    <a:pt x="931" y="7591"/>
                  </a:lnTo>
                  <a:lnTo>
                    <a:pt x="1080" y="7782"/>
                  </a:lnTo>
                  <a:lnTo>
                    <a:pt x="1240" y="7966"/>
                  </a:lnTo>
                  <a:lnTo>
                    <a:pt x="1411" y="8144"/>
                  </a:lnTo>
                  <a:lnTo>
                    <a:pt x="1562" y="8294"/>
                  </a:lnTo>
                  <a:lnTo>
                    <a:pt x="1805" y="8534"/>
                  </a:lnTo>
                  <a:lnTo>
                    <a:pt x="2125" y="8850"/>
                  </a:lnTo>
                  <a:lnTo>
                    <a:pt x="2507" y="9230"/>
                  </a:lnTo>
                  <a:lnTo>
                    <a:pt x="2939" y="9659"/>
                  </a:lnTo>
                  <a:lnTo>
                    <a:pt x="3407" y="10122"/>
                  </a:lnTo>
                  <a:lnTo>
                    <a:pt x="3896" y="10606"/>
                  </a:lnTo>
                  <a:lnTo>
                    <a:pt x="4393" y="11099"/>
                  </a:lnTo>
                  <a:lnTo>
                    <a:pt x="4884" y="11585"/>
                  </a:lnTo>
                  <a:lnTo>
                    <a:pt x="5354" y="12051"/>
                  </a:lnTo>
                  <a:lnTo>
                    <a:pt x="5790" y="12483"/>
                  </a:lnTo>
                  <a:lnTo>
                    <a:pt x="6178" y="12868"/>
                  </a:lnTo>
                  <a:lnTo>
                    <a:pt x="6504" y="13191"/>
                  </a:lnTo>
                  <a:lnTo>
                    <a:pt x="6755" y="13439"/>
                  </a:lnTo>
                  <a:lnTo>
                    <a:pt x="6915" y="13598"/>
                  </a:lnTo>
                  <a:lnTo>
                    <a:pt x="6971" y="13654"/>
                  </a:lnTo>
                  <a:lnTo>
                    <a:pt x="7028" y="13707"/>
                  </a:lnTo>
                  <a:lnTo>
                    <a:pt x="7087" y="13758"/>
                  </a:lnTo>
                  <a:lnTo>
                    <a:pt x="7148" y="13804"/>
                  </a:lnTo>
                  <a:lnTo>
                    <a:pt x="7211" y="13847"/>
                  </a:lnTo>
                  <a:lnTo>
                    <a:pt x="7274" y="13887"/>
                  </a:lnTo>
                  <a:lnTo>
                    <a:pt x="7340" y="13923"/>
                  </a:lnTo>
                  <a:lnTo>
                    <a:pt x="7407" y="13956"/>
                  </a:lnTo>
                  <a:lnTo>
                    <a:pt x="7475" y="13985"/>
                  </a:lnTo>
                  <a:lnTo>
                    <a:pt x="7545" y="14011"/>
                  </a:lnTo>
                  <a:lnTo>
                    <a:pt x="7614" y="14034"/>
                  </a:lnTo>
                  <a:lnTo>
                    <a:pt x="7685" y="14053"/>
                  </a:lnTo>
                  <a:lnTo>
                    <a:pt x="7757" y="14068"/>
                  </a:lnTo>
                  <a:lnTo>
                    <a:pt x="7829" y="14080"/>
                  </a:lnTo>
                  <a:lnTo>
                    <a:pt x="7902" y="14089"/>
                  </a:lnTo>
                  <a:lnTo>
                    <a:pt x="7974" y="14094"/>
                  </a:lnTo>
                  <a:lnTo>
                    <a:pt x="8048" y="14096"/>
                  </a:lnTo>
                  <a:lnTo>
                    <a:pt x="8120" y="14094"/>
                  </a:lnTo>
                  <a:lnTo>
                    <a:pt x="8193" y="14089"/>
                  </a:lnTo>
                  <a:lnTo>
                    <a:pt x="8266" y="14080"/>
                  </a:lnTo>
                  <a:lnTo>
                    <a:pt x="8338" y="14068"/>
                  </a:lnTo>
                  <a:lnTo>
                    <a:pt x="8410" y="14053"/>
                  </a:lnTo>
                  <a:lnTo>
                    <a:pt x="8480" y="14034"/>
                  </a:lnTo>
                  <a:lnTo>
                    <a:pt x="8550" y="14011"/>
                  </a:lnTo>
                  <a:lnTo>
                    <a:pt x="8620" y="13985"/>
                  </a:lnTo>
                  <a:lnTo>
                    <a:pt x="8688" y="13956"/>
                  </a:lnTo>
                  <a:lnTo>
                    <a:pt x="8755" y="13923"/>
                  </a:lnTo>
                  <a:lnTo>
                    <a:pt x="8820" y="13887"/>
                  </a:lnTo>
                  <a:lnTo>
                    <a:pt x="8884" y="13847"/>
                  </a:lnTo>
                  <a:lnTo>
                    <a:pt x="8947" y="13804"/>
                  </a:lnTo>
                  <a:lnTo>
                    <a:pt x="9008" y="13758"/>
                  </a:lnTo>
                  <a:lnTo>
                    <a:pt x="9067" y="13707"/>
                  </a:lnTo>
                  <a:lnTo>
                    <a:pt x="9124" y="13654"/>
                  </a:lnTo>
                  <a:lnTo>
                    <a:pt x="9185" y="13593"/>
                  </a:lnTo>
                  <a:lnTo>
                    <a:pt x="9360" y="13419"/>
                  </a:lnTo>
                  <a:lnTo>
                    <a:pt x="9632" y="13151"/>
                  </a:lnTo>
                  <a:lnTo>
                    <a:pt x="9984" y="12801"/>
                  </a:lnTo>
                  <a:lnTo>
                    <a:pt x="10400" y="12388"/>
                  </a:lnTo>
                  <a:lnTo>
                    <a:pt x="10867" y="11926"/>
                  </a:lnTo>
                  <a:lnTo>
                    <a:pt x="11365" y="11432"/>
                  </a:lnTo>
                  <a:lnTo>
                    <a:pt x="11881" y="10921"/>
                  </a:lnTo>
                  <a:lnTo>
                    <a:pt x="12397" y="10410"/>
                  </a:lnTo>
                  <a:lnTo>
                    <a:pt x="12897" y="9915"/>
                  </a:lnTo>
                  <a:lnTo>
                    <a:pt x="13367" y="9449"/>
                  </a:lnTo>
                  <a:lnTo>
                    <a:pt x="13789" y="9031"/>
                  </a:lnTo>
                  <a:lnTo>
                    <a:pt x="14148" y="8675"/>
                  </a:lnTo>
                  <a:lnTo>
                    <a:pt x="14427" y="8398"/>
                  </a:lnTo>
                  <a:lnTo>
                    <a:pt x="14611" y="8216"/>
                  </a:lnTo>
                  <a:lnTo>
                    <a:pt x="14684" y="8144"/>
                  </a:lnTo>
                  <a:lnTo>
                    <a:pt x="14855" y="7966"/>
                  </a:lnTo>
                  <a:lnTo>
                    <a:pt x="15015" y="7782"/>
                  </a:lnTo>
                  <a:lnTo>
                    <a:pt x="15164" y="7591"/>
                  </a:lnTo>
                  <a:lnTo>
                    <a:pt x="15301" y="7395"/>
                  </a:lnTo>
                  <a:lnTo>
                    <a:pt x="15428" y="7194"/>
                  </a:lnTo>
                  <a:lnTo>
                    <a:pt x="15544" y="6989"/>
                  </a:lnTo>
                  <a:lnTo>
                    <a:pt x="15648" y="6778"/>
                  </a:lnTo>
                  <a:lnTo>
                    <a:pt x="15742" y="6565"/>
                  </a:lnTo>
                  <a:lnTo>
                    <a:pt x="15824" y="6347"/>
                  </a:lnTo>
                  <a:lnTo>
                    <a:pt x="15897" y="6127"/>
                  </a:lnTo>
                  <a:lnTo>
                    <a:pt x="15957" y="5904"/>
                  </a:lnTo>
                  <a:lnTo>
                    <a:pt x="16006" y="5680"/>
                  </a:lnTo>
                  <a:lnTo>
                    <a:pt x="16046" y="5453"/>
                  </a:lnTo>
                  <a:lnTo>
                    <a:pt x="16073" y="5225"/>
                  </a:lnTo>
                  <a:lnTo>
                    <a:pt x="16089" y="4996"/>
                  </a:lnTo>
                  <a:lnTo>
                    <a:pt x="16095" y="4767"/>
                  </a:lnTo>
                  <a:lnTo>
                    <a:pt x="16089" y="4538"/>
                  </a:lnTo>
                  <a:lnTo>
                    <a:pt x="16073" y="4309"/>
                  </a:lnTo>
                  <a:lnTo>
                    <a:pt x="16046" y="4082"/>
                  </a:lnTo>
                  <a:lnTo>
                    <a:pt x="16006" y="3855"/>
                  </a:lnTo>
                  <a:lnTo>
                    <a:pt x="15957" y="3630"/>
                  </a:lnTo>
                  <a:lnTo>
                    <a:pt x="15897" y="3407"/>
                  </a:lnTo>
                  <a:lnTo>
                    <a:pt x="15824" y="3187"/>
                  </a:lnTo>
                  <a:lnTo>
                    <a:pt x="15742" y="2970"/>
                  </a:lnTo>
                  <a:lnTo>
                    <a:pt x="15648" y="2756"/>
                  </a:lnTo>
                  <a:lnTo>
                    <a:pt x="15544" y="2546"/>
                  </a:lnTo>
                  <a:lnTo>
                    <a:pt x="15428" y="2340"/>
                  </a:lnTo>
                  <a:lnTo>
                    <a:pt x="15301" y="2140"/>
                  </a:lnTo>
                  <a:lnTo>
                    <a:pt x="15164" y="1943"/>
                  </a:lnTo>
                  <a:lnTo>
                    <a:pt x="15015" y="1753"/>
                  </a:lnTo>
                  <a:lnTo>
                    <a:pt x="14855" y="1569"/>
                  </a:lnTo>
                  <a:lnTo>
                    <a:pt x="14684" y="13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30" name="ïśľïḑè">
              <a:extLst>
                <a:ext uri="{FF2B5EF4-FFF2-40B4-BE49-F238E27FC236}">
                  <a16:creationId xmlns:a16="http://schemas.microsoft.com/office/drawing/2014/main" id="{EE764945-0C46-405F-893B-43C1A59861C1}"/>
                </a:ext>
              </a:extLst>
            </p:cNvPr>
            <p:cNvSpPr/>
            <p:nvPr/>
          </p:nvSpPr>
          <p:spPr bwMode="auto">
            <a:xfrm>
              <a:off x="7295161" y="1800131"/>
              <a:ext cx="60376" cy="61589"/>
            </a:xfrm>
            <a:custGeom>
              <a:avLst/>
              <a:gdLst>
                <a:gd name="T0" fmla="*/ 2026 w 2389"/>
                <a:gd name="T1" fmla="*/ 3 h 2391"/>
                <a:gd name="T2" fmla="*/ 1602 w 2389"/>
                <a:gd name="T3" fmla="*/ 69 h 2391"/>
                <a:gd name="T4" fmla="*/ 1210 w 2389"/>
                <a:gd name="T5" fmla="*/ 213 h 2391"/>
                <a:gd name="T6" fmla="*/ 858 w 2389"/>
                <a:gd name="T7" fmla="*/ 426 h 2391"/>
                <a:gd name="T8" fmla="*/ 554 w 2389"/>
                <a:gd name="T9" fmla="*/ 702 h 2391"/>
                <a:gd name="T10" fmla="*/ 309 w 2389"/>
                <a:gd name="T11" fmla="*/ 1031 h 2391"/>
                <a:gd name="T12" fmla="*/ 130 w 2389"/>
                <a:gd name="T13" fmla="*/ 1405 h 2391"/>
                <a:gd name="T14" fmla="*/ 24 w 2389"/>
                <a:gd name="T15" fmla="*/ 1814 h 2391"/>
                <a:gd name="T16" fmla="*/ 0 w 2389"/>
                <a:gd name="T17" fmla="*/ 2153 h 2391"/>
                <a:gd name="T18" fmla="*/ 8 w 2389"/>
                <a:gd name="T19" fmla="*/ 2203 h 2391"/>
                <a:gd name="T20" fmla="*/ 25 w 2389"/>
                <a:gd name="T21" fmla="*/ 2249 h 2391"/>
                <a:gd name="T22" fmla="*/ 50 w 2389"/>
                <a:gd name="T23" fmla="*/ 2291 h 2391"/>
                <a:gd name="T24" fmla="*/ 82 w 2389"/>
                <a:gd name="T25" fmla="*/ 2327 h 2391"/>
                <a:gd name="T26" fmla="*/ 121 w 2389"/>
                <a:gd name="T27" fmla="*/ 2355 h 2391"/>
                <a:gd name="T28" fmla="*/ 165 w 2389"/>
                <a:gd name="T29" fmla="*/ 2376 h 2391"/>
                <a:gd name="T30" fmla="*/ 213 w 2389"/>
                <a:gd name="T31" fmla="*/ 2389 h 2391"/>
                <a:gd name="T32" fmla="*/ 264 w 2389"/>
                <a:gd name="T33" fmla="*/ 2391 h 2391"/>
                <a:gd name="T34" fmla="*/ 314 w 2389"/>
                <a:gd name="T35" fmla="*/ 2384 h 2391"/>
                <a:gd name="T36" fmla="*/ 360 w 2389"/>
                <a:gd name="T37" fmla="*/ 2367 h 2391"/>
                <a:gd name="T38" fmla="*/ 402 w 2389"/>
                <a:gd name="T39" fmla="*/ 2342 h 2391"/>
                <a:gd name="T40" fmla="*/ 437 w 2389"/>
                <a:gd name="T41" fmla="*/ 2310 h 2391"/>
                <a:gd name="T42" fmla="*/ 467 w 2389"/>
                <a:gd name="T43" fmla="*/ 2271 h 2391"/>
                <a:gd name="T44" fmla="*/ 488 w 2389"/>
                <a:gd name="T45" fmla="*/ 2226 h 2391"/>
                <a:gd name="T46" fmla="*/ 500 w 2389"/>
                <a:gd name="T47" fmla="*/ 2178 h 2391"/>
                <a:gd name="T48" fmla="*/ 503 w 2389"/>
                <a:gd name="T49" fmla="*/ 2140 h 2391"/>
                <a:gd name="T50" fmla="*/ 536 w 2389"/>
                <a:gd name="T51" fmla="*/ 1810 h 2391"/>
                <a:gd name="T52" fmla="*/ 632 w 2389"/>
                <a:gd name="T53" fmla="*/ 1503 h 2391"/>
                <a:gd name="T54" fmla="*/ 782 w 2389"/>
                <a:gd name="T55" fmla="*/ 1225 h 2391"/>
                <a:gd name="T56" fmla="*/ 982 w 2389"/>
                <a:gd name="T57" fmla="*/ 983 h 2391"/>
                <a:gd name="T58" fmla="*/ 1223 w 2389"/>
                <a:gd name="T59" fmla="*/ 783 h 2391"/>
                <a:gd name="T60" fmla="*/ 1501 w 2389"/>
                <a:gd name="T61" fmla="*/ 632 h 2391"/>
                <a:gd name="T62" fmla="*/ 1808 w 2389"/>
                <a:gd name="T63" fmla="*/ 537 h 2391"/>
                <a:gd name="T64" fmla="*/ 2137 w 2389"/>
                <a:gd name="T65" fmla="*/ 504 h 2391"/>
                <a:gd name="T66" fmla="*/ 2176 w 2389"/>
                <a:gd name="T67" fmla="*/ 501 h 2391"/>
                <a:gd name="T68" fmla="*/ 2224 w 2389"/>
                <a:gd name="T69" fmla="*/ 488 h 2391"/>
                <a:gd name="T70" fmla="*/ 2268 w 2389"/>
                <a:gd name="T71" fmla="*/ 467 h 2391"/>
                <a:gd name="T72" fmla="*/ 2306 w 2389"/>
                <a:gd name="T73" fmla="*/ 438 h 2391"/>
                <a:gd name="T74" fmla="*/ 2340 w 2389"/>
                <a:gd name="T75" fmla="*/ 403 h 2391"/>
                <a:gd name="T76" fmla="*/ 2365 w 2389"/>
                <a:gd name="T77" fmla="*/ 362 h 2391"/>
                <a:gd name="T78" fmla="*/ 2381 w 2389"/>
                <a:gd name="T79" fmla="*/ 315 h 2391"/>
                <a:gd name="T80" fmla="*/ 2389 w 2389"/>
                <a:gd name="T81" fmla="*/ 265 h 2391"/>
                <a:gd name="T82" fmla="*/ 2386 w 2389"/>
                <a:gd name="T83" fmla="*/ 214 h 2391"/>
                <a:gd name="T84" fmla="*/ 2374 w 2389"/>
                <a:gd name="T85" fmla="*/ 165 h 2391"/>
                <a:gd name="T86" fmla="*/ 2353 w 2389"/>
                <a:gd name="T87" fmla="*/ 122 h 2391"/>
                <a:gd name="T88" fmla="*/ 2324 w 2389"/>
                <a:gd name="T89" fmla="*/ 83 h 2391"/>
                <a:gd name="T90" fmla="*/ 2288 w 2389"/>
                <a:gd name="T91" fmla="*/ 50 h 2391"/>
                <a:gd name="T92" fmla="*/ 2247 w 2389"/>
                <a:gd name="T93" fmla="*/ 25 h 2391"/>
                <a:gd name="T94" fmla="*/ 2201 w 2389"/>
                <a:gd name="T95" fmla="*/ 8 h 2391"/>
                <a:gd name="T96" fmla="*/ 2151 w 2389"/>
                <a:gd name="T97" fmla="*/ 0 h 2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389" h="2391">
                  <a:moveTo>
                    <a:pt x="2137" y="0"/>
                  </a:moveTo>
                  <a:lnTo>
                    <a:pt x="2136" y="0"/>
                  </a:lnTo>
                  <a:lnTo>
                    <a:pt x="2135" y="1"/>
                  </a:lnTo>
                  <a:lnTo>
                    <a:pt x="2026" y="3"/>
                  </a:lnTo>
                  <a:lnTo>
                    <a:pt x="1917" y="12"/>
                  </a:lnTo>
                  <a:lnTo>
                    <a:pt x="1811" y="25"/>
                  </a:lnTo>
                  <a:lnTo>
                    <a:pt x="1705" y="44"/>
                  </a:lnTo>
                  <a:lnTo>
                    <a:pt x="1602" y="69"/>
                  </a:lnTo>
                  <a:lnTo>
                    <a:pt x="1501" y="97"/>
                  </a:lnTo>
                  <a:lnTo>
                    <a:pt x="1401" y="131"/>
                  </a:lnTo>
                  <a:lnTo>
                    <a:pt x="1305" y="169"/>
                  </a:lnTo>
                  <a:lnTo>
                    <a:pt x="1210" y="213"/>
                  </a:lnTo>
                  <a:lnTo>
                    <a:pt x="1117" y="259"/>
                  </a:lnTo>
                  <a:lnTo>
                    <a:pt x="1028" y="311"/>
                  </a:lnTo>
                  <a:lnTo>
                    <a:pt x="941" y="367"/>
                  </a:lnTo>
                  <a:lnTo>
                    <a:pt x="858" y="426"/>
                  </a:lnTo>
                  <a:lnTo>
                    <a:pt x="777" y="489"/>
                  </a:lnTo>
                  <a:lnTo>
                    <a:pt x="700" y="557"/>
                  </a:lnTo>
                  <a:lnTo>
                    <a:pt x="626" y="627"/>
                  </a:lnTo>
                  <a:lnTo>
                    <a:pt x="554" y="702"/>
                  </a:lnTo>
                  <a:lnTo>
                    <a:pt x="488" y="779"/>
                  </a:lnTo>
                  <a:lnTo>
                    <a:pt x="424" y="861"/>
                  </a:lnTo>
                  <a:lnTo>
                    <a:pt x="365" y="945"/>
                  </a:lnTo>
                  <a:lnTo>
                    <a:pt x="309" y="1031"/>
                  </a:lnTo>
                  <a:lnTo>
                    <a:pt x="257" y="1121"/>
                  </a:lnTo>
                  <a:lnTo>
                    <a:pt x="210" y="1213"/>
                  </a:lnTo>
                  <a:lnTo>
                    <a:pt x="168" y="1308"/>
                  </a:lnTo>
                  <a:lnTo>
                    <a:pt x="130" y="1405"/>
                  </a:lnTo>
                  <a:lnTo>
                    <a:pt x="95" y="1504"/>
                  </a:lnTo>
                  <a:lnTo>
                    <a:pt x="67" y="1606"/>
                  </a:lnTo>
                  <a:lnTo>
                    <a:pt x="43" y="1709"/>
                  </a:lnTo>
                  <a:lnTo>
                    <a:pt x="24" y="1814"/>
                  </a:lnTo>
                  <a:lnTo>
                    <a:pt x="11" y="1921"/>
                  </a:lnTo>
                  <a:lnTo>
                    <a:pt x="3" y="2030"/>
                  </a:lnTo>
                  <a:lnTo>
                    <a:pt x="0" y="2140"/>
                  </a:lnTo>
                  <a:lnTo>
                    <a:pt x="0" y="2153"/>
                  </a:lnTo>
                  <a:lnTo>
                    <a:pt x="1" y="2166"/>
                  </a:lnTo>
                  <a:lnTo>
                    <a:pt x="3" y="2178"/>
                  </a:lnTo>
                  <a:lnTo>
                    <a:pt x="5" y="2191"/>
                  </a:lnTo>
                  <a:lnTo>
                    <a:pt x="8" y="2203"/>
                  </a:lnTo>
                  <a:lnTo>
                    <a:pt x="11" y="2215"/>
                  </a:lnTo>
                  <a:lnTo>
                    <a:pt x="15" y="2226"/>
                  </a:lnTo>
                  <a:lnTo>
                    <a:pt x="20" y="2238"/>
                  </a:lnTo>
                  <a:lnTo>
                    <a:pt x="25" y="2249"/>
                  </a:lnTo>
                  <a:lnTo>
                    <a:pt x="30" y="2261"/>
                  </a:lnTo>
                  <a:lnTo>
                    <a:pt x="36" y="2271"/>
                  </a:lnTo>
                  <a:lnTo>
                    <a:pt x="43" y="2281"/>
                  </a:lnTo>
                  <a:lnTo>
                    <a:pt x="50" y="2291"/>
                  </a:lnTo>
                  <a:lnTo>
                    <a:pt x="57" y="2300"/>
                  </a:lnTo>
                  <a:lnTo>
                    <a:pt x="65" y="2310"/>
                  </a:lnTo>
                  <a:lnTo>
                    <a:pt x="73" y="2318"/>
                  </a:lnTo>
                  <a:lnTo>
                    <a:pt x="82" y="2327"/>
                  </a:lnTo>
                  <a:lnTo>
                    <a:pt x="91" y="2334"/>
                  </a:lnTo>
                  <a:lnTo>
                    <a:pt x="100" y="2342"/>
                  </a:lnTo>
                  <a:lnTo>
                    <a:pt x="110" y="2349"/>
                  </a:lnTo>
                  <a:lnTo>
                    <a:pt x="121" y="2355"/>
                  </a:lnTo>
                  <a:lnTo>
                    <a:pt x="132" y="2361"/>
                  </a:lnTo>
                  <a:lnTo>
                    <a:pt x="143" y="2367"/>
                  </a:lnTo>
                  <a:lnTo>
                    <a:pt x="154" y="2372"/>
                  </a:lnTo>
                  <a:lnTo>
                    <a:pt x="165" y="2376"/>
                  </a:lnTo>
                  <a:lnTo>
                    <a:pt x="177" y="2380"/>
                  </a:lnTo>
                  <a:lnTo>
                    <a:pt x="188" y="2384"/>
                  </a:lnTo>
                  <a:lnTo>
                    <a:pt x="201" y="2386"/>
                  </a:lnTo>
                  <a:lnTo>
                    <a:pt x="213" y="2389"/>
                  </a:lnTo>
                  <a:lnTo>
                    <a:pt x="225" y="2390"/>
                  </a:lnTo>
                  <a:lnTo>
                    <a:pt x="238" y="2391"/>
                  </a:lnTo>
                  <a:lnTo>
                    <a:pt x="251" y="2391"/>
                  </a:lnTo>
                  <a:lnTo>
                    <a:pt x="264" y="2391"/>
                  </a:lnTo>
                  <a:lnTo>
                    <a:pt x="277" y="2390"/>
                  </a:lnTo>
                  <a:lnTo>
                    <a:pt x="290" y="2389"/>
                  </a:lnTo>
                  <a:lnTo>
                    <a:pt x="302" y="2386"/>
                  </a:lnTo>
                  <a:lnTo>
                    <a:pt x="314" y="2384"/>
                  </a:lnTo>
                  <a:lnTo>
                    <a:pt x="326" y="2380"/>
                  </a:lnTo>
                  <a:lnTo>
                    <a:pt x="338" y="2376"/>
                  </a:lnTo>
                  <a:lnTo>
                    <a:pt x="349" y="2372"/>
                  </a:lnTo>
                  <a:lnTo>
                    <a:pt x="360" y="2367"/>
                  </a:lnTo>
                  <a:lnTo>
                    <a:pt x="371" y="2361"/>
                  </a:lnTo>
                  <a:lnTo>
                    <a:pt x="382" y="2355"/>
                  </a:lnTo>
                  <a:lnTo>
                    <a:pt x="392" y="2349"/>
                  </a:lnTo>
                  <a:lnTo>
                    <a:pt x="402" y="2342"/>
                  </a:lnTo>
                  <a:lnTo>
                    <a:pt x="411" y="2334"/>
                  </a:lnTo>
                  <a:lnTo>
                    <a:pt x="420" y="2327"/>
                  </a:lnTo>
                  <a:lnTo>
                    <a:pt x="429" y="2318"/>
                  </a:lnTo>
                  <a:lnTo>
                    <a:pt x="437" y="2310"/>
                  </a:lnTo>
                  <a:lnTo>
                    <a:pt x="445" y="2300"/>
                  </a:lnTo>
                  <a:lnTo>
                    <a:pt x="453" y="2291"/>
                  </a:lnTo>
                  <a:lnTo>
                    <a:pt x="460" y="2281"/>
                  </a:lnTo>
                  <a:lnTo>
                    <a:pt x="467" y="2271"/>
                  </a:lnTo>
                  <a:lnTo>
                    <a:pt x="473" y="2261"/>
                  </a:lnTo>
                  <a:lnTo>
                    <a:pt x="478" y="2249"/>
                  </a:lnTo>
                  <a:lnTo>
                    <a:pt x="483" y="2238"/>
                  </a:lnTo>
                  <a:lnTo>
                    <a:pt x="488" y="2226"/>
                  </a:lnTo>
                  <a:lnTo>
                    <a:pt x="492" y="2215"/>
                  </a:lnTo>
                  <a:lnTo>
                    <a:pt x="495" y="2203"/>
                  </a:lnTo>
                  <a:lnTo>
                    <a:pt x="498" y="2191"/>
                  </a:lnTo>
                  <a:lnTo>
                    <a:pt x="500" y="2178"/>
                  </a:lnTo>
                  <a:lnTo>
                    <a:pt x="502" y="2166"/>
                  </a:lnTo>
                  <a:lnTo>
                    <a:pt x="503" y="2153"/>
                  </a:lnTo>
                  <a:lnTo>
                    <a:pt x="503" y="2140"/>
                  </a:lnTo>
                  <a:lnTo>
                    <a:pt x="503" y="2140"/>
                  </a:lnTo>
                  <a:lnTo>
                    <a:pt x="505" y="2055"/>
                  </a:lnTo>
                  <a:lnTo>
                    <a:pt x="511" y="1973"/>
                  </a:lnTo>
                  <a:lnTo>
                    <a:pt x="522" y="1890"/>
                  </a:lnTo>
                  <a:lnTo>
                    <a:pt x="536" y="1810"/>
                  </a:lnTo>
                  <a:lnTo>
                    <a:pt x="554" y="1731"/>
                  </a:lnTo>
                  <a:lnTo>
                    <a:pt x="576" y="1653"/>
                  </a:lnTo>
                  <a:lnTo>
                    <a:pt x="602" y="1577"/>
                  </a:lnTo>
                  <a:lnTo>
                    <a:pt x="632" y="1503"/>
                  </a:lnTo>
                  <a:lnTo>
                    <a:pt x="664" y="1431"/>
                  </a:lnTo>
                  <a:lnTo>
                    <a:pt x="700" y="1360"/>
                  </a:lnTo>
                  <a:lnTo>
                    <a:pt x="739" y="1292"/>
                  </a:lnTo>
                  <a:lnTo>
                    <a:pt x="782" y="1225"/>
                  </a:lnTo>
                  <a:lnTo>
                    <a:pt x="828" y="1161"/>
                  </a:lnTo>
                  <a:lnTo>
                    <a:pt x="876" y="1100"/>
                  </a:lnTo>
                  <a:lnTo>
                    <a:pt x="927" y="1040"/>
                  </a:lnTo>
                  <a:lnTo>
                    <a:pt x="982" y="983"/>
                  </a:lnTo>
                  <a:lnTo>
                    <a:pt x="1038" y="928"/>
                  </a:lnTo>
                  <a:lnTo>
                    <a:pt x="1097" y="877"/>
                  </a:lnTo>
                  <a:lnTo>
                    <a:pt x="1160" y="829"/>
                  </a:lnTo>
                  <a:lnTo>
                    <a:pt x="1223" y="783"/>
                  </a:lnTo>
                  <a:lnTo>
                    <a:pt x="1289" y="741"/>
                  </a:lnTo>
                  <a:lnTo>
                    <a:pt x="1358" y="701"/>
                  </a:lnTo>
                  <a:lnTo>
                    <a:pt x="1428" y="666"/>
                  </a:lnTo>
                  <a:lnTo>
                    <a:pt x="1501" y="632"/>
                  </a:lnTo>
                  <a:lnTo>
                    <a:pt x="1575" y="603"/>
                  </a:lnTo>
                  <a:lnTo>
                    <a:pt x="1652" y="577"/>
                  </a:lnTo>
                  <a:lnTo>
                    <a:pt x="1729" y="555"/>
                  </a:lnTo>
                  <a:lnTo>
                    <a:pt x="1808" y="537"/>
                  </a:lnTo>
                  <a:lnTo>
                    <a:pt x="1888" y="523"/>
                  </a:lnTo>
                  <a:lnTo>
                    <a:pt x="1970" y="513"/>
                  </a:lnTo>
                  <a:lnTo>
                    <a:pt x="2053" y="506"/>
                  </a:lnTo>
                  <a:lnTo>
                    <a:pt x="2137" y="504"/>
                  </a:lnTo>
                  <a:lnTo>
                    <a:pt x="2137" y="504"/>
                  </a:lnTo>
                  <a:lnTo>
                    <a:pt x="2151" y="504"/>
                  </a:lnTo>
                  <a:lnTo>
                    <a:pt x="2164" y="503"/>
                  </a:lnTo>
                  <a:lnTo>
                    <a:pt x="2176" y="501"/>
                  </a:lnTo>
                  <a:lnTo>
                    <a:pt x="2189" y="499"/>
                  </a:lnTo>
                  <a:lnTo>
                    <a:pt x="2201" y="496"/>
                  </a:lnTo>
                  <a:lnTo>
                    <a:pt x="2213" y="492"/>
                  </a:lnTo>
                  <a:lnTo>
                    <a:pt x="2224" y="488"/>
                  </a:lnTo>
                  <a:lnTo>
                    <a:pt x="2235" y="484"/>
                  </a:lnTo>
                  <a:lnTo>
                    <a:pt x="2247" y="479"/>
                  </a:lnTo>
                  <a:lnTo>
                    <a:pt x="2257" y="473"/>
                  </a:lnTo>
                  <a:lnTo>
                    <a:pt x="2268" y="467"/>
                  </a:lnTo>
                  <a:lnTo>
                    <a:pt x="2278" y="461"/>
                  </a:lnTo>
                  <a:lnTo>
                    <a:pt x="2288" y="454"/>
                  </a:lnTo>
                  <a:lnTo>
                    <a:pt x="2297" y="446"/>
                  </a:lnTo>
                  <a:lnTo>
                    <a:pt x="2306" y="438"/>
                  </a:lnTo>
                  <a:lnTo>
                    <a:pt x="2316" y="430"/>
                  </a:lnTo>
                  <a:lnTo>
                    <a:pt x="2324" y="421"/>
                  </a:lnTo>
                  <a:lnTo>
                    <a:pt x="2332" y="412"/>
                  </a:lnTo>
                  <a:lnTo>
                    <a:pt x="2340" y="403"/>
                  </a:lnTo>
                  <a:lnTo>
                    <a:pt x="2347" y="393"/>
                  </a:lnTo>
                  <a:lnTo>
                    <a:pt x="2353" y="383"/>
                  </a:lnTo>
                  <a:lnTo>
                    <a:pt x="2359" y="372"/>
                  </a:lnTo>
                  <a:lnTo>
                    <a:pt x="2365" y="362"/>
                  </a:lnTo>
                  <a:lnTo>
                    <a:pt x="2370" y="350"/>
                  </a:lnTo>
                  <a:lnTo>
                    <a:pt x="2374" y="338"/>
                  </a:lnTo>
                  <a:lnTo>
                    <a:pt x="2378" y="326"/>
                  </a:lnTo>
                  <a:lnTo>
                    <a:pt x="2381" y="315"/>
                  </a:lnTo>
                  <a:lnTo>
                    <a:pt x="2384" y="303"/>
                  </a:lnTo>
                  <a:lnTo>
                    <a:pt x="2386" y="290"/>
                  </a:lnTo>
                  <a:lnTo>
                    <a:pt x="2388" y="278"/>
                  </a:lnTo>
                  <a:lnTo>
                    <a:pt x="2389" y="265"/>
                  </a:lnTo>
                  <a:lnTo>
                    <a:pt x="2389" y="252"/>
                  </a:lnTo>
                  <a:lnTo>
                    <a:pt x="2389" y="239"/>
                  </a:lnTo>
                  <a:lnTo>
                    <a:pt x="2388" y="227"/>
                  </a:lnTo>
                  <a:lnTo>
                    <a:pt x="2386" y="214"/>
                  </a:lnTo>
                  <a:lnTo>
                    <a:pt x="2384" y="202"/>
                  </a:lnTo>
                  <a:lnTo>
                    <a:pt x="2381" y="189"/>
                  </a:lnTo>
                  <a:lnTo>
                    <a:pt x="2378" y="177"/>
                  </a:lnTo>
                  <a:lnTo>
                    <a:pt x="2374" y="165"/>
                  </a:lnTo>
                  <a:lnTo>
                    <a:pt x="2370" y="154"/>
                  </a:lnTo>
                  <a:lnTo>
                    <a:pt x="2365" y="143"/>
                  </a:lnTo>
                  <a:lnTo>
                    <a:pt x="2359" y="132"/>
                  </a:lnTo>
                  <a:lnTo>
                    <a:pt x="2353" y="122"/>
                  </a:lnTo>
                  <a:lnTo>
                    <a:pt x="2347" y="111"/>
                  </a:lnTo>
                  <a:lnTo>
                    <a:pt x="2340" y="102"/>
                  </a:lnTo>
                  <a:lnTo>
                    <a:pt x="2332" y="92"/>
                  </a:lnTo>
                  <a:lnTo>
                    <a:pt x="2324" y="83"/>
                  </a:lnTo>
                  <a:lnTo>
                    <a:pt x="2316" y="74"/>
                  </a:lnTo>
                  <a:lnTo>
                    <a:pt x="2306" y="66"/>
                  </a:lnTo>
                  <a:lnTo>
                    <a:pt x="2297" y="58"/>
                  </a:lnTo>
                  <a:lnTo>
                    <a:pt x="2288" y="50"/>
                  </a:lnTo>
                  <a:lnTo>
                    <a:pt x="2278" y="43"/>
                  </a:lnTo>
                  <a:lnTo>
                    <a:pt x="2268" y="36"/>
                  </a:lnTo>
                  <a:lnTo>
                    <a:pt x="2257" y="30"/>
                  </a:lnTo>
                  <a:lnTo>
                    <a:pt x="2247" y="25"/>
                  </a:lnTo>
                  <a:lnTo>
                    <a:pt x="2235" y="20"/>
                  </a:lnTo>
                  <a:lnTo>
                    <a:pt x="2224" y="15"/>
                  </a:lnTo>
                  <a:lnTo>
                    <a:pt x="2213" y="11"/>
                  </a:lnTo>
                  <a:lnTo>
                    <a:pt x="2201" y="8"/>
                  </a:lnTo>
                  <a:lnTo>
                    <a:pt x="2189" y="5"/>
                  </a:lnTo>
                  <a:lnTo>
                    <a:pt x="2176" y="3"/>
                  </a:lnTo>
                  <a:lnTo>
                    <a:pt x="2164" y="1"/>
                  </a:lnTo>
                  <a:lnTo>
                    <a:pt x="2151" y="0"/>
                  </a:lnTo>
                  <a:lnTo>
                    <a:pt x="213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31" name="îşḷïḋê">
              <a:extLst>
                <a:ext uri="{FF2B5EF4-FFF2-40B4-BE49-F238E27FC236}">
                  <a16:creationId xmlns:a16="http://schemas.microsoft.com/office/drawing/2014/main" id="{AF7239AD-D4AF-48F8-B65C-67D12B96F891}"/>
                </a:ext>
              </a:extLst>
            </p:cNvPr>
            <p:cNvSpPr/>
            <p:nvPr/>
          </p:nvSpPr>
          <p:spPr bwMode="auto">
            <a:xfrm>
              <a:off x="6938792" y="1861423"/>
              <a:ext cx="78763" cy="50669"/>
            </a:xfrm>
            <a:custGeom>
              <a:avLst/>
              <a:gdLst>
                <a:gd name="T0" fmla="*/ 4713 w 5797"/>
                <a:gd name="T1" fmla="*/ 41 h 3756"/>
                <a:gd name="T2" fmla="*/ 3661 w 5797"/>
                <a:gd name="T3" fmla="*/ 216 h 3756"/>
                <a:gd name="T4" fmla="*/ 2695 w 5797"/>
                <a:gd name="T5" fmla="*/ 516 h 3756"/>
                <a:gd name="T6" fmla="*/ 1839 w 5797"/>
                <a:gd name="T7" fmla="*/ 924 h 3756"/>
                <a:gd name="T8" fmla="*/ 1118 w 5797"/>
                <a:gd name="T9" fmla="*/ 1423 h 3756"/>
                <a:gd name="T10" fmla="*/ 556 w 5797"/>
                <a:gd name="T11" fmla="*/ 2001 h 3756"/>
                <a:gd name="T12" fmla="*/ 178 w 5797"/>
                <a:gd name="T13" fmla="*/ 2641 h 3756"/>
                <a:gd name="T14" fmla="*/ 7 w 5797"/>
                <a:gd name="T15" fmla="*/ 3329 h 3756"/>
                <a:gd name="T16" fmla="*/ 3 w 5797"/>
                <a:gd name="T17" fmla="*/ 3544 h 3756"/>
                <a:gd name="T18" fmla="*/ 15 w 5797"/>
                <a:gd name="T19" fmla="*/ 3592 h 3756"/>
                <a:gd name="T20" fmla="*/ 36 w 5797"/>
                <a:gd name="T21" fmla="*/ 3636 h 3756"/>
                <a:gd name="T22" fmla="*/ 65 w 5797"/>
                <a:gd name="T23" fmla="*/ 3674 h 3756"/>
                <a:gd name="T24" fmla="*/ 100 w 5797"/>
                <a:gd name="T25" fmla="*/ 3706 h 3756"/>
                <a:gd name="T26" fmla="*/ 143 w 5797"/>
                <a:gd name="T27" fmla="*/ 3731 h 3756"/>
                <a:gd name="T28" fmla="*/ 189 w 5797"/>
                <a:gd name="T29" fmla="*/ 3748 h 3756"/>
                <a:gd name="T30" fmla="*/ 239 w 5797"/>
                <a:gd name="T31" fmla="*/ 3756 h 3756"/>
                <a:gd name="T32" fmla="*/ 290 w 5797"/>
                <a:gd name="T33" fmla="*/ 3753 h 3756"/>
                <a:gd name="T34" fmla="*/ 338 w 5797"/>
                <a:gd name="T35" fmla="*/ 3741 h 3756"/>
                <a:gd name="T36" fmla="*/ 383 w 5797"/>
                <a:gd name="T37" fmla="*/ 3720 h 3756"/>
                <a:gd name="T38" fmla="*/ 421 w 5797"/>
                <a:gd name="T39" fmla="*/ 3691 h 3756"/>
                <a:gd name="T40" fmla="*/ 453 w 5797"/>
                <a:gd name="T41" fmla="*/ 3655 h 3756"/>
                <a:gd name="T42" fmla="*/ 479 w 5797"/>
                <a:gd name="T43" fmla="*/ 3614 h 3756"/>
                <a:gd name="T44" fmla="*/ 496 w 5797"/>
                <a:gd name="T45" fmla="*/ 3568 h 3756"/>
                <a:gd name="T46" fmla="*/ 504 w 5797"/>
                <a:gd name="T47" fmla="*/ 3519 h 3756"/>
                <a:gd name="T48" fmla="*/ 564 w 5797"/>
                <a:gd name="T49" fmla="*/ 3062 h 3756"/>
                <a:gd name="T50" fmla="*/ 820 w 5797"/>
                <a:gd name="T51" fmla="*/ 2496 h 3756"/>
                <a:gd name="T52" fmla="*/ 1257 w 5797"/>
                <a:gd name="T53" fmla="*/ 1973 h 3756"/>
                <a:gd name="T54" fmla="*/ 1848 w 5797"/>
                <a:gd name="T55" fmla="*/ 1509 h 3756"/>
                <a:gd name="T56" fmla="*/ 2572 w 5797"/>
                <a:gd name="T57" fmla="*/ 1115 h 3756"/>
                <a:gd name="T58" fmla="*/ 3402 w 5797"/>
                <a:gd name="T59" fmla="*/ 807 h 3756"/>
                <a:gd name="T60" fmla="*/ 4318 w 5797"/>
                <a:gd name="T61" fmla="*/ 599 h 3756"/>
                <a:gd name="T62" fmla="*/ 5294 w 5797"/>
                <a:gd name="T63" fmla="*/ 505 h 3756"/>
                <a:gd name="T64" fmla="*/ 5583 w 5797"/>
                <a:gd name="T65" fmla="*/ 498 h 3756"/>
                <a:gd name="T66" fmla="*/ 5632 w 5797"/>
                <a:gd name="T67" fmla="*/ 486 h 3756"/>
                <a:gd name="T68" fmla="*/ 5676 w 5797"/>
                <a:gd name="T69" fmla="*/ 465 h 3756"/>
                <a:gd name="T70" fmla="*/ 5714 w 5797"/>
                <a:gd name="T71" fmla="*/ 436 h 3756"/>
                <a:gd name="T72" fmla="*/ 5747 w 5797"/>
                <a:gd name="T73" fmla="*/ 401 h 3756"/>
                <a:gd name="T74" fmla="*/ 5772 w 5797"/>
                <a:gd name="T75" fmla="*/ 359 h 3756"/>
                <a:gd name="T76" fmla="*/ 5789 w 5797"/>
                <a:gd name="T77" fmla="*/ 313 h 3756"/>
                <a:gd name="T78" fmla="*/ 5797 w 5797"/>
                <a:gd name="T79" fmla="*/ 264 h 3756"/>
                <a:gd name="T80" fmla="*/ 5794 w 5797"/>
                <a:gd name="T81" fmla="*/ 212 h 3756"/>
                <a:gd name="T82" fmla="*/ 5782 w 5797"/>
                <a:gd name="T83" fmla="*/ 164 h 3756"/>
                <a:gd name="T84" fmla="*/ 5761 w 5797"/>
                <a:gd name="T85" fmla="*/ 120 h 3756"/>
                <a:gd name="T86" fmla="*/ 5732 w 5797"/>
                <a:gd name="T87" fmla="*/ 82 h 3756"/>
                <a:gd name="T88" fmla="*/ 5696 w 5797"/>
                <a:gd name="T89" fmla="*/ 50 h 3756"/>
                <a:gd name="T90" fmla="*/ 5654 w 5797"/>
                <a:gd name="T91" fmla="*/ 25 h 3756"/>
                <a:gd name="T92" fmla="*/ 5609 w 5797"/>
                <a:gd name="T93" fmla="*/ 8 h 3756"/>
                <a:gd name="T94" fmla="*/ 5558 w 5797"/>
                <a:gd name="T95" fmla="*/ 0 h 3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797" h="3756">
                  <a:moveTo>
                    <a:pt x="5545" y="0"/>
                  </a:moveTo>
                  <a:lnTo>
                    <a:pt x="5265" y="5"/>
                  </a:lnTo>
                  <a:lnTo>
                    <a:pt x="4987" y="18"/>
                  </a:lnTo>
                  <a:lnTo>
                    <a:pt x="4713" y="41"/>
                  </a:lnTo>
                  <a:lnTo>
                    <a:pt x="4444" y="73"/>
                  </a:lnTo>
                  <a:lnTo>
                    <a:pt x="4178" y="112"/>
                  </a:lnTo>
                  <a:lnTo>
                    <a:pt x="3917" y="160"/>
                  </a:lnTo>
                  <a:lnTo>
                    <a:pt x="3661" y="216"/>
                  </a:lnTo>
                  <a:lnTo>
                    <a:pt x="3411" y="281"/>
                  </a:lnTo>
                  <a:lnTo>
                    <a:pt x="3166" y="352"/>
                  </a:lnTo>
                  <a:lnTo>
                    <a:pt x="2927" y="431"/>
                  </a:lnTo>
                  <a:lnTo>
                    <a:pt x="2695" y="516"/>
                  </a:lnTo>
                  <a:lnTo>
                    <a:pt x="2470" y="608"/>
                  </a:lnTo>
                  <a:lnTo>
                    <a:pt x="2251" y="707"/>
                  </a:lnTo>
                  <a:lnTo>
                    <a:pt x="2041" y="812"/>
                  </a:lnTo>
                  <a:lnTo>
                    <a:pt x="1839" y="924"/>
                  </a:lnTo>
                  <a:lnTo>
                    <a:pt x="1645" y="1041"/>
                  </a:lnTo>
                  <a:lnTo>
                    <a:pt x="1460" y="1163"/>
                  </a:lnTo>
                  <a:lnTo>
                    <a:pt x="1284" y="1291"/>
                  </a:lnTo>
                  <a:lnTo>
                    <a:pt x="1118" y="1423"/>
                  </a:lnTo>
                  <a:lnTo>
                    <a:pt x="961" y="1562"/>
                  </a:lnTo>
                  <a:lnTo>
                    <a:pt x="815" y="1704"/>
                  </a:lnTo>
                  <a:lnTo>
                    <a:pt x="680" y="1851"/>
                  </a:lnTo>
                  <a:lnTo>
                    <a:pt x="556" y="2001"/>
                  </a:lnTo>
                  <a:lnTo>
                    <a:pt x="443" y="2157"/>
                  </a:lnTo>
                  <a:lnTo>
                    <a:pt x="342" y="2315"/>
                  </a:lnTo>
                  <a:lnTo>
                    <a:pt x="254" y="2477"/>
                  </a:lnTo>
                  <a:lnTo>
                    <a:pt x="178" y="2641"/>
                  </a:lnTo>
                  <a:lnTo>
                    <a:pt x="115" y="2810"/>
                  </a:lnTo>
                  <a:lnTo>
                    <a:pt x="65" y="2980"/>
                  </a:lnTo>
                  <a:lnTo>
                    <a:pt x="29" y="3153"/>
                  </a:lnTo>
                  <a:lnTo>
                    <a:pt x="7" y="3329"/>
                  </a:lnTo>
                  <a:lnTo>
                    <a:pt x="0" y="3506"/>
                  </a:lnTo>
                  <a:lnTo>
                    <a:pt x="0" y="3519"/>
                  </a:lnTo>
                  <a:lnTo>
                    <a:pt x="1" y="3531"/>
                  </a:lnTo>
                  <a:lnTo>
                    <a:pt x="3" y="3544"/>
                  </a:lnTo>
                  <a:lnTo>
                    <a:pt x="5" y="3556"/>
                  </a:lnTo>
                  <a:lnTo>
                    <a:pt x="8" y="3568"/>
                  </a:lnTo>
                  <a:lnTo>
                    <a:pt x="11" y="3580"/>
                  </a:lnTo>
                  <a:lnTo>
                    <a:pt x="15" y="3592"/>
                  </a:lnTo>
                  <a:lnTo>
                    <a:pt x="20" y="3603"/>
                  </a:lnTo>
                  <a:lnTo>
                    <a:pt x="25" y="3614"/>
                  </a:lnTo>
                  <a:lnTo>
                    <a:pt x="30" y="3625"/>
                  </a:lnTo>
                  <a:lnTo>
                    <a:pt x="36" y="3636"/>
                  </a:lnTo>
                  <a:lnTo>
                    <a:pt x="43" y="3646"/>
                  </a:lnTo>
                  <a:lnTo>
                    <a:pt x="50" y="3655"/>
                  </a:lnTo>
                  <a:lnTo>
                    <a:pt x="57" y="3665"/>
                  </a:lnTo>
                  <a:lnTo>
                    <a:pt x="65" y="3674"/>
                  </a:lnTo>
                  <a:lnTo>
                    <a:pt x="73" y="3683"/>
                  </a:lnTo>
                  <a:lnTo>
                    <a:pt x="82" y="3691"/>
                  </a:lnTo>
                  <a:lnTo>
                    <a:pt x="91" y="3699"/>
                  </a:lnTo>
                  <a:lnTo>
                    <a:pt x="100" y="3706"/>
                  </a:lnTo>
                  <a:lnTo>
                    <a:pt x="111" y="3713"/>
                  </a:lnTo>
                  <a:lnTo>
                    <a:pt x="121" y="3720"/>
                  </a:lnTo>
                  <a:lnTo>
                    <a:pt x="132" y="3726"/>
                  </a:lnTo>
                  <a:lnTo>
                    <a:pt x="143" y="3731"/>
                  </a:lnTo>
                  <a:lnTo>
                    <a:pt x="154" y="3736"/>
                  </a:lnTo>
                  <a:lnTo>
                    <a:pt x="165" y="3741"/>
                  </a:lnTo>
                  <a:lnTo>
                    <a:pt x="177" y="3745"/>
                  </a:lnTo>
                  <a:lnTo>
                    <a:pt x="189" y="3748"/>
                  </a:lnTo>
                  <a:lnTo>
                    <a:pt x="201" y="3751"/>
                  </a:lnTo>
                  <a:lnTo>
                    <a:pt x="213" y="3753"/>
                  </a:lnTo>
                  <a:lnTo>
                    <a:pt x="226" y="3755"/>
                  </a:lnTo>
                  <a:lnTo>
                    <a:pt x="239" y="3756"/>
                  </a:lnTo>
                  <a:lnTo>
                    <a:pt x="252" y="3756"/>
                  </a:lnTo>
                  <a:lnTo>
                    <a:pt x="265" y="3756"/>
                  </a:lnTo>
                  <a:lnTo>
                    <a:pt x="278" y="3755"/>
                  </a:lnTo>
                  <a:lnTo>
                    <a:pt x="290" y="3753"/>
                  </a:lnTo>
                  <a:lnTo>
                    <a:pt x="302" y="3751"/>
                  </a:lnTo>
                  <a:lnTo>
                    <a:pt x="315" y="3748"/>
                  </a:lnTo>
                  <a:lnTo>
                    <a:pt x="326" y="3745"/>
                  </a:lnTo>
                  <a:lnTo>
                    <a:pt x="338" y="3741"/>
                  </a:lnTo>
                  <a:lnTo>
                    <a:pt x="349" y="3736"/>
                  </a:lnTo>
                  <a:lnTo>
                    <a:pt x="361" y="3731"/>
                  </a:lnTo>
                  <a:lnTo>
                    <a:pt x="372" y="3726"/>
                  </a:lnTo>
                  <a:lnTo>
                    <a:pt x="383" y="3720"/>
                  </a:lnTo>
                  <a:lnTo>
                    <a:pt x="393" y="3713"/>
                  </a:lnTo>
                  <a:lnTo>
                    <a:pt x="403" y="3706"/>
                  </a:lnTo>
                  <a:lnTo>
                    <a:pt x="412" y="3699"/>
                  </a:lnTo>
                  <a:lnTo>
                    <a:pt x="421" y="3691"/>
                  </a:lnTo>
                  <a:lnTo>
                    <a:pt x="430" y="3683"/>
                  </a:lnTo>
                  <a:lnTo>
                    <a:pt x="438" y="3674"/>
                  </a:lnTo>
                  <a:lnTo>
                    <a:pt x="446" y="3665"/>
                  </a:lnTo>
                  <a:lnTo>
                    <a:pt x="453" y="3655"/>
                  </a:lnTo>
                  <a:lnTo>
                    <a:pt x="460" y="3646"/>
                  </a:lnTo>
                  <a:lnTo>
                    <a:pt x="467" y="3636"/>
                  </a:lnTo>
                  <a:lnTo>
                    <a:pt x="474" y="3625"/>
                  </a:lnTo>
                  <a:lnTo>
                    <a:pt x="479" y="3614"/>
                  </a:lnTo>
                  <a:lnTo>
                    <a:pt x="484" y="3603"/>
                  </a:lnTo>
                  <a:lnTo>
                    <a:pt x="489" y="3592"/>
                  </a:lnTo>
                  <a:lnTo>
                    <a:pt x="493" y="3580"/>
                  </a:lnTo>
                  <a:lnTo>
                    <a:pt x="496" y="3568"/>
                  </a:lnTo>
                  <a:lnTo>
                    <a:pt x="499" y="3556"/>
                  </a:lnTo>
                  <a:lnTo>
                    <a:pt x="501" y="3544"/>
                  </a:lnTo>
                  <a:lnTo>
                    <a:pt x="503" y="3531"/>
                  </a:lnTo>
                  <a:lnTo>
                    <a:pt x="504" y="3519"/>
                  </a:lnTo>
                  <a:lnTo>
                    <a:pt x="504" y="3506"/>
                  </a:lnTo>
                  <a:lnTo>
                    <a:pt x="511" y="3357"/>
                  </a:lnTo>
                  <a:lnTo>
                    <a:pt x="531" y="3208"/>
                  </a:lnTo>
                  <a:lnTo>
                    <a:pt x="564" y="3062"/>
                  </a:lnTo>
                  <a:lnTo>
                    <a:pt x="611" y="2917"/>
                  </a:lnTo>
                  <a:lnTo>
                    <a:pt x="669" y="2775"/>
                  </a:lnTo>
                  <a:lnTo>
                    <a:pt x="739" y="2634"/>
                  </a:lnTo>
                  <a:lnTo>
                    <a:pt x="820" y="2496"/>
                  </a:lnTo>
                  <a:lnTo>
                    <a:pt x="914" y="2361"/>
                  </a:lnTo>
                  <a:lnTo>
                    <a:pt x="1018" y="2229"/>
                  </a:lnTo>
                  <a:lnTo>
                    <a:pt x="1132" y="2100"/>
                  </a:lnTo>
                  <a:lnTo>
                    <a:pt x="1257" y="1973"/>
                  </a:lnTo>
                  <a:lnTo>
                    <a:pt x="1391" y="1851"/>
                  </a:lnTo>
                  <a:lnTo>
                    <a:pt x="1534" y="1733"/>
                  </a:lnTo>
                  <a:lnTo>
                    <a:pt x="1686" y="1619"/>
                  </a:lnTo>
                  <a:lnTo>
                    <a:pt x="1848" y="1509"/>
                  </a:lnTo>
                  <a:lnTo>
                    <a:pt x="2017" y="1403"/>
                  </a:lnTo>
                  <a:lnTo>
                    <a:pt x="2195" y="1302"/>
                  </a:lnTo>
                  <a:lnTo>
                    <a:pt x="2379" y="1206"/>
                  </a:lnTo>
                  <a:lnTo>
                    <a:pt x="2572" y="1115"/>
                  </a:lnTo>
                  <a:lnTo>
                    <a:pt x="2769" y="1030"/>
                  </a:lnTo>
                  <a:lnTo>
                    <a:pt x="2975" y="950"/>
                  </a:lnTo>
                  <a:lnTo>
                    <a:pt x="3186" y="876"/>
                  </a:lnTo>
                  <a:lnTo>
                    <a:pt x="3402" y="807"/>
                  </a:lnTo>
                  <a:lnTo>
                    <a:pt x="3624" y="745"/>
                  </a:lnTo>
                  <a:lnTo>
                    <a:pt x="3851" y="690"/>
                  </a:lnTo>
                  <a:lnTo>
                    <a:pt x="4083" y="641"/>
                  </a:lnTo>
                  <a:lnTo>
                    <a:pt x="4318" y="599"/>
                  </a:lnTo>
                  <a:lnTo>
                    <a:pt x="4557" y="564"/>
                  </a:lnTo>
                  <a:lnTo>
                    <a:pt x="4800" y="537"/>
                  </a:lnTo>
                  <a:lnTo>
                    <a:pt x="5046" y="517"/>
                  </a:lnTo>
                  <a:lnTo>
                    <a:pt x="5294" y="505"/>
                  </a:lnTo>
                  <a:lnTo>
                    <a:pt x="5545" y="501"/>
                  </a:lnTo>
                  <a:lnTo>
                    <a:pt x="5558" y="501"/>
                  </a:lnTo>
                  <a:lnTo>
                    <a:pt x="5571" y="500"/>
                  </a:lnTo>
                  <a:lnTo>
                    <a:pt x="5583" y="498"/>
                  </a:lnTo>
                  <a:lnTo>
                    <a:pt x="5595" y="496"/>
                  </a:lnTo>
                  <a:lnTo>
                    <a:pt x="5609" y="493"/>
                  </a:lnTo>
                  <a:lnTo>
                    <a:pt x="5620" y="490"/>
                  </a:lnTo>
                  <a:lnTo>
                    <a:pt x="5632" y="486"/>
                  </a:lnTo>
                  <a:lnTo>
                    <a:pt x="5643" y="481"/>
                  </a:lnTo>
                  <a:lnTo>
                    <a:pt x="5654" y="476"/>
                  </a:lnTo>
                  <a:lnTo>
                    <a:pt x="5665" y="471"/>
                  </a:lnTo>
                  <a:lnTo>
                    <a:pt x="5676" y="465"/>
                  </a:lnTo>
                  <a:lnTo>
                    <a:pt x="5686" y="458"/>
                  </a:lnTo>
                  <a:lnTo>
                    <a:pt x="5696" y="451"/>
                  </a:lnTo>
                  <a:lnTo>
                    <a:pt x="5705" y="444"/>
                  </a:lnTo>
                  <a:lnTo>
                    <a:pt x="5714" y="436"/>
                  </a:lnTo>
                  <a:lnTo>
                    <a:pt x="5723" y="428"/>
                  </a:lnTo>
                  <a:lnTo>
                    <a:pt x="5732" y="419"/>
                  </a:lnTo>
                  <a:lnTo>
                    <a:pt x="5740" y="410"/>
                  </a:lnTo>
                  <a:lnTo>
                    <a:pt x="5747" y="401"/>
                  </a:lnTo>
                  <a:lnTo>
                    <a:pt x="5754" y="391"/>
                  </a:lnTo>
                  <a:lnTo>
                    <a:pt x="5761" y="381"/>
                  </a:lnTo>
                  <a:lnTo>
                    <a:pt x="5767" y="370"/>
                  </a:lnTo>
                  <a:lnTo>
                    <a:pt x="5772" y="359"/>
                  </a:lnTo>
                  <a:lnTo>
                    <a:pt x="5777" y="348"/>
                  </a:lnTo>
                  <a:lnTo>
                    <a:pt x="5782" y="337"/>
                  </a:lnTo>
                  <a:lnTo>
                    <a:pt x="5786" y="325"/>
                  </a:lnTo>
                  <a:lnTo>
                    <a:pt x="5789" y="313"/>
                  </a:lnTo>
                  <a:lnTo>
                    <a:pt x="5792" y="301"/>
                  </a:lnTo>
                  <a:lnTo>
                    <a:pt x="5794" y="289"/>
                  </a:lnTo>
                  <a:lnTo>
                    <a:pt x="5796" y="277"/>
                  </a:lnTo>
                  <a:lnTo>
                    <a:pt x="5797" y="264"/>
                  </a:lnTo>
                  <a:lnTo>
                    <a:pt x="5797" y="251"/>
                  </a:lnTo>
                  <a:lnTo>
                    <a:pt x="5797" y="237"/>
                  </a:lnTo>
                  <a:lnTo>
                    <a:pt x="5796" y="225"/>
                  </a:lnTo>
                  <a:lnTo>
                    <a:pt x="5794" y="212"/>
                  </a:lnTo>
                  <a:lnTo>
                    <a:pt x="5792" y="200"/>
                  </a:lnTo>
                  <a:lnTo>
                    <a:pt x="5789" y="188"/>
                  </a:lnTo>
                  <a:lnTo>
                    <a:pt x="5786" y="176"/>
                  </a:lnTo>
                  <a:lnTo>
                    <a:pt x="5782" y="164"/>
                  </a:lnTo>
                  <a:lnTo>
                    <a:pt x="5777" y="153"/>
                  </a:lnTo>
                  <a:lnTo>
                    <a:pt x="5772" y="142"/>
                  </a:lnTo>
                  <a:lnTo>
                    <a:pt x="5767" y="131"/>
                  </a:lnTo>
                  <a:lnTo>
                    <a:pt x="5761" y="120"/>
                  </a:lnTo>
                  <a:lnTo>
                    <a:pt x="5754" y="110"/>
                  </a:lnTo>
                  <a:lnTo>
                    <a:pt x="5747" y="100"/>
                  </a:lnTo>
                  <a:lnTo>
                    <a:pt x="5740" y="91"/>
                  </a:lnTo>
                  <a:lnTo>
                    <a:pt x="5732" y="82"/>
                  </a:lnTo>
                  <a:lnTo>
                    <a:pt x="5723" y="73"/>
                  </a:lnTo>
                  <a:lnTo>
                    <a:pt x="5714" y="65"/>
                  </a:lnTo>
                  <a:lnTo>
                    <a:pt x="5705" y="57"/>
                  </a:lnTo>
                  <a:lnTo>
                    <a:pt x="5696" y="50"/>
                  </a:lnTo>
                  <a:lnTo>
                    <a:pt x="5686" y="43"/>
                  </a:lnTo>
                  <a:lnTo>
                    <a:pt x="5676" y="36"/>
                  </a:lnTo>
                  <a:lnTo>
                    <a:pt x="5665" y="30"/>
                  </a:lnTo>
                  <a:lnTo>
                    <a:pt x="5654" y="25"/>
                  </a:lnTo>
                  <a:lnTo>
                    <a:pt x="5643" y="20"/>
                  </a:lnTo>
                  <a:lnTo>
                    <a:pt x="5632" y="15"/>
                  </a:lnTo>
                  <a:lnTo>
                    <a:pt x="5620" y="11"/>
                  </a:lnTo>
                  <a:lnTo>
                    <a:pt x="5609" y="8"/>
                  </a:lnTo>
                  <a:lnTo>
                    <a:pt x="5595" y="5"/>
                  </a:lnTo>
                  <a:lnTo>
                    <a:pt x="5583" y="3"/>
                  </a:lnTo>
                  <a:lnTo>
                    <a:pt x="5571" y="1"/>
                  </a:lnTo>
                  <a:lnTo>
                    <a:pt x="5558" y="0"/>
                  </a:lnTo>
                  <a:lnTo>
                    <a:pt x="55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32" name="îslíḓè">
              <a:extLst>
                <a:ext uri="{FF2B5EF4-FFF2-40B4-BE49-F238E27FC236}">
                  <a16:creationId xmlns:a16="http://schemas.microsoft.com/office/drawing/2014/main" id="{27E0A046-5098-4BDB-9C30-DA5D2E3F58AB}"/>
                </a:ext>
              </a:extLst>
            </p:cNvPr>
            <p:cNvSpPr/>
            <p:nvPr/>
          </p:nvSpPr>
          <p:spPr bwMode="auto">
            <a:xfrm>
              <a:off x="6904678" y="1827309"/>
              <a:ext cx="218729" cy="190134"/>
            </a:xfrm>
            <a:custGeom>
              <a:avLst/>
              <a:gdLst>
                <a:gd name="T0" fmla="*/ 7365 w 16132"/>
                <a:gd name="T1" fmla="*/ 10992 h 14023"/>
                <a:gd name="T2" fmla="*/ 6620 w 16132"/>
                <a:gd name="T3" fmla="*/ 10910 h 14023"/>
                <a:gd name="T4" fmla="*/ 6344 w 16132"/>
                <a:gd name="T5" fmla="*/ 10917 h 14023"/>
                <a:gd name="T6" fmla="*/ 6106 w 16132"/>
                <a:gd name="T7" fmla="*/ 10988 h 14023"/>
                <a:gd name="T8" fmla="*/ 5892 w 16132"/>
                <a:gd name="T9" fmla="*/ 11114 h 14023"/>
                <a:gd name="T10" fmla="*/ 5710 w 16132"/>
                <a:gd name="T11" fmla="*/ 11296 h 14023"/>
                <a:gd name="T12" fmla="*/ 5336 w 16132"/>
                <a:gd name="T13" fmla="*/ 11674 h 14023"/>
                <a:gd name="T14" fmla="*/ 4873 w 16132"/>
                <a:gd name="T15" fmla="*/ 12065 h 14023"/>
                <a:gd name="T16" fmla="*/ 4310 w 16132"/>
                <a:gd name="T17" fmla="*/ 12459 h 14023"/>
                <a:gd name="T18" fmla="*/ 4388 w 16132"/>
                <a:gd name="T19" fmla="*/ 11971 h 14023"/>
                <a:gd name="T20" fmla="*/ 4488 w 16132"/>
                <a:gd name="T21" fmla="*/ 11553 h 14023"/>
                <a:gd name="T22" fmla="*/ 4535 w 16132"/>
                <a:gd name="T23" fmla="*/ 11121 h 14023"/>
                <a:gd name="T24" fmla="*/ 4531 w 16132"/>
                <a:gd name="T25" fmla="*/ 10842 h 14023"/>
                <a:gd name="T26" fmla="*/ 4442 w 16132"/>
                <a:gd name="T27" fmla="*/ 10547 h 14023"/>
                <a:gd name="T28" fmla="*/ 4269 w 16132"/>
                <a:gd name="T29" fmla="*/ 10296 h 14023"/>
                <a:gd name="T30" fmla="*/ 4023 w 16132"/>
                <a:gd name="T31" fmla="*/ 10106 h 14023"/>
                <a:gd name="T32" fmla="*/ 2737 w 16132"/>
                <a:gd name="T33" fmla="*/ 9277 h 14023"/>
                <a:gd name="T34" fmla="*/ 1706 w 16132"/>
                <a:gd name="T35" fmla="*/ 8163 h 14023"/>
                <a:gd name="T36" fmla="*/ 1123 w 16132"/>
                <a:gd name="T37" fmla="*/ 6901 h 14023"/>
                <a:gd name="T38" fmla="*/ 1090 w 16132"/>
                <a:gd name="T39" fmla="*/ 5248 h 14023"/>
                <a:gd name="T40" fmla="*/ 2215 w 16132"/>
                <a:gd name="T41" fmla="*/ 3211 h 14023"/>
                <a:gd name="T42" fmla="*/ 4409 w 16132"/>
                <a:gd name="T43" fmla="*/ 1728 h 14023"/>
                <a:gd name="T44" fmla="*/ 7345 w 16132"/>
                <a:gd name="T45" fmla="*/ 1028 h 14023"/>
                <a:gd name="T46" fmla="*/ 10490 w 16132"/>
                <a:gd name="T47" fmla="*/ 1306 h 14023"/>
                <a:gd name="T48" fmla="*/ 13054 w 16132"/>
                <a:gd name="T49" fmla="*/ 2470 h 14023"/>
                <a:gd name="T50" fmla="*/ 14695 w 16132"/>
                <a:gd name="T51" fmla="*/ 4290 h 14023"/>
                <a:gd name="T52" fmla="*/ 15087 w 16132"/>
                <a:gd name="T53" fmla="*/ 6521 h 14023"/>
                <a:gd name="T54" fmla="*/ 14100 w 16132"/>
                <a:gd name="T55" fmla="*/ 8605 h 14023"/>
                <a:gd name="T56" fmla="*/ 12009 w 16132"/>
                <a:gd name="T57" fmla="*/ 10162 h 14023"/>
                <a:gd name="T58" fmla="*/ 9140 w 16132"/>
                <a:gd name="T59" fmla="*/ 10960 h 14023"/>
                <a:gd name="T60" fmla="*/ 6051 w 16132"/>
                <a:gd name="T61" fmla="*/ 189 h 14023"/>
                <a:gd name="T62" fmla="*/ 2935 w 16132"/>
                <a:gd name="T63" fmla="*/ 1372 h 14023"/>
                <a:gd name="T64" fmla="*/ 796 w 16132"/>
                <a:gd name="T65" fmla="*/ 3405 h 14023"/>
                <a:gd name="T66" fmla="*/ 0 w 16132"/>
                <a:gd name="T67" fmla="*/ 6010 h 14023"/>
                <a:gd name="T68" fmla="*/ 318 w 16132"/>
                <a:gd name="T69" fmla="*/ 7685 h 14023"/>
                <a:gd name="T70" fmla="*/ 1211 w 16132"/>
                <a:gd name="T71" fmla="*/ 9177 h 14023"/>
                <a:gd name="T72" fmla="*/ 2590 w 16132"/>
                <a:gd name="T73" fmla="*/ 10421 h 14023"/>
                <a:gd name="T74" fmla="*/ 3529 w 16132"/>
                <a:gd name="T75" fmla="*/ 11018 h 14023"/>
                <a:gd name="T76" fmla="*/ 3392 w 16132"/>
                <a:gd name="T77" fmla="*/ 11780 h 14023"/>
                <a:gd name="T78" fmla="*/ 3075 w 16132"/>
                <a:gd name="T79" fmla="*/ 12505 h 14023"/>
                <a:gd name="T80" fmla="*/ 2616 w 16132"/>
                <a:gd name="T81" fmla="*/ 13290 h 14023"/>
                <a:gd name="T82" fmla="*/ 2522 w 16132"/>
                <a:gd name="T83" fmla="*/ 13545 h 14023"/>
                <a:gd name="T84" fmla="*/ 2556 w 16132"/>
                <a:gd name="T85" fmla="*/ 13746 h 14023"/>
                <a:gd name="T86" fmla="*/ 2670 w 16132"/>
                <a:gd name="T87" fmla="*/ 13905 h 14023"/>
                <a:gd name="T88" fmla="*/ 2841 w 16132"/>
                <a:gd name="T89" fmla="*/ 14003 h 14023"/>
                <a:gd name="T90" fmla="*/ 3078 w 16132"/>
                <a:gd name="T91" fmla="*/ 14016 h 14023"/>
                <a:gd name="T92" fmla="*/ 3690 w 16132"/>
                <a:gd name="T93" fmla="*/ 13870 h 14023"/>
                <a:gd name="T94" fmla="*/ 4910 w 16132"/>
                <a:gd name="T95" fmla="*/ 13267 h 14023"/>
                <a:gd name="T96" fmla="*/ 5885 w 16132"/>
                <a:gd name="T97" fmla="*/ 12528 h 14023"/>
                <a:gd name="T98" fmla="*/ 6475 w 16132"/>
                <a:gd name="T99" fmla="*/ 11947 h 14023"/>
                <a:gd name="T100" fmla="*/ 7278 w 16132"/>
                <a:gd name="T101" fmla="*/ 11990 h 14023"/>
                <a:gd name="T102" fmla="*/ 8481 w 16132"/>
                <a:gd name="T103" fmla="*/ 12012 h 14023"/>
                <a:gd name="T104" fmla="*/ 11910 w 16132"/>
                <a:gd name="T105" fmla="*/ 11295 h 14023"/>
                <a:gd name="T106" fmla="*/ 14530 w 16132"/>
                <a:gd name="T107" fmla="*/ 9606 h 14023"/>
                <a:gd name="T108" fmla="*/ 15968 w 16132"/>
                <a:gd name="T109" fmla="*/ 7221 h 14023"/>
                <a:gd name="T110" fmla="*/ 15878 w 16132"/>
                <a:gd name="T111" fmla="*/ 4508 h 14023"/>
                <a:gd name="T112" fmla="*/ 14290 w 16132"/>
                <a:gd name="T113" fmla="*/ 2188 h 14023"/>
                <a:gd name="T114" fmla="*/ 11563 w 16132"/>
                <a:gd name="T115" fmla="*/ 593 h 14023"/>
                <a:gd name="T116" fmla="*/ 8066 w 16132"/>
                <a:gd name="T117" fmla="*/ 0 h 14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132" h="14023">
                  <a:moveTo>
                    <a:pt x="8066" y="11018"/>
                  </a:moveTo>
                  <a:lnTo>
                    <a:pt x="7979" y="11018"/>
                  </a:lnTo>
                  <a:lnTo>
                    <a:pt x="7893" y="11016"/>
                  </a:lnTo>
                  <a:lnTo>
                    <a:pt x="7805" y="11014"/>
                  </a:lnTo>
                  <a:lnTo>
                    <a:pt x="7717" y="11012"/>
                  </a:lnTo>
                  <a:lnTo>
                    <a:pt x="7629" y="11008"/>
                  </a:lnTo>
                  <a:lnTo>
                    <a:pt x="7542" y="11003"/>
                  </a:lnTo>
                  <a:lnTo>
                    <a:pt x="7454" y="10998"/>
                  </a:lnTo>
                  <a:lnTo>
                    <a:pt x="7365" y="10992"/>
                  </a:lnTo>
                  <a:lnTo>
                    <a:pt x="7278" y="10985"/>
                  </a:lnTo>
                  <a:lnTo>
                    <a:pt x="7189" y="10978"/>
                  </a:lnTo>
                  <a:lnTo>
                    <a:pt x="7100" y="10969"/>
                  </a:lnTo>
                  <a:lnTo>
                    <a:pt x="7011" y="10960"/>
                  </a:lnTo>
                  <a:lnTo>
                    <a:pt x="6923" y="10950"/>
                  </a:lnTo>
                  <a:lnTo>
                    <a:pt x="6834" y="10939"/>
                  </a:lnTo>
                  <a:lnTo>
                    <a:pt x="6745" y="10927"/>
                  </a:lnTo>
                  <a:lnTo>
                    <a:pt x="6656" y="10914"/>
                  </a:lnTo>
                  <a:lnTo>
                    <a:pt x="6620" y="10910"/>
                  </a:lnTo>
                  <a:lnTo>
                    <a:pt x="6583" y="10906"/>
                  </a:lnTo>
                  <a:lnTo>
                    <a:pt x="6547" y="10904"/>
                  </a:lnTo>
                  <a:lnTo>
                    <a:pt x="6510" y="10903"/>
                  </a:lnTo>
                  <a:lnTo>
                    <a:pt x="6482" y="10904"/>
                  </a:lnTo>
                  <a:lnTo>
                    <a:pt x="6455" y="10905"/>
                  </a:lnTo>
                  <a:lnTo>
                    <a:pt x="6427" y="10907"/>
                  </a:lnTo>
                  <a:lnTo>
                    <a:pt x="6398" y="10910"/>
                  </a:lnTo>
                  <a:lnTo>
                    <a:pt x="6371" y="10913"/>
                  </a:lnTo>
                  <a:lnTo>
                    <a:pt x="6344" y="10917"/>
                  </a:lnTo>
                  <a:lnTo>
                    <a:pt x="6317" y="10922"/>
                  </a:lnTo>
                  <a:lnTo>
                    <a:pt x="6289" y="10928"/>
                  </a:lnTo>
                  <a:lnTo>
                    <a:pt x="6262" y="10934"/>
                  </a:lnTo>
                  <a:lnTo>
                    <a:pt x="6236" y="10941"/>
                  </a:lnTo>
                  <a:lnTo>
                    <a:pt x="6210" y="10949"/>
                  </a:lnTo>
                  <a:lnTo>
                    <a:pt x="6183" y="10958"/>
                  </a:lnTo>
                  <a:lnTo>
                    <a:pt x="6157" y="10967"/>
                  </a:lnTo>
                  <a:lnTo>
                    <a:pt x="6131" y="10977"/>
                  </a:lnTo>
                  <a:lnTo>
                    <a:pt x="6106" y="10988"/>
                  </a:lnTo>
                  <a:lnTo>
                    <a:pt x="6081" y="10999"/>
                  </a:lnTo>
                  <a:lnTo>
                    <a:pt x="6056" y="11011"/>
                  </a:lnTo>
                  <a:lnTo>
                    <a:pt x="6031" y="11024"/>
                  </a:lnTo>
                  <a:lnTo>
                    <a:pt x="6007" y="11037"/>
                  </a:lnTo>
                  <a:lnTo>
                    <a:pt x="5983" y="11051"/>
                  </a:lnTo>
                  <a:lnTo>
                    <a:pt x="5960" y="11066"/>
                  </a:lnTo>
                  <a:lnTo>
                    <a:pt x="5937" y="11081"/>
                  </a:lnTo>
                  <a:lnTo>
                    <a:pt x="5914" y="11097"/>
                  </a:lnTo>
                  <a:lnTo>
                    <a:pt x="5892" y="11114"/>
                  </a:lnTo>
                  <a:lnTo>
                    <a:pt x="5870" y="11131"/>
                  </a:lnTo>
                  <a:lnTo>
                    <a:pt x="5849" y="11149"/>
                  </a:lnTo>
                  <a:lnTo>
                    <a:pt x="5828" y="11167"/>
                  </a:lnTo>
                  <a:lnTo>
                    <a:pt x="5808" y="11187"/>
                  </a:lnTo>
                  <a:lnTo>
                    <a:pt x="5787" y="11206"/>
                  </a:lnTo>
                  <a:lnTo>
                    <a:pt x="5768" y="11227"/>
                  </a:lnTo>
                  <a:lnTo>
                    <a:pt x="5749" y="11248"/>
                  </a:lnTo>
                  <a:lnTo>
                    <a:pt x="5731" y="11269"/>
                  </a:lnTo>
                  <a:lnTo>
                    <a:pt x="5710" y="11296"/>
                  </a:lnTo>
                  <a:lnTo>
                    <a:pt x="5686" y="11323"/>
                  </a:lnTo>
                  <a:lnTo>
                    <a:pt x="5660" y="11352"/>
                  </a:lnTo>
                  <a:lnTo>
                    <a:pt x="5632" y="11382"/>
                  </a:lnTo>
                  <a:lnTo>
                    <a:pt x="5570" y="11448"/>
                  </a:lnTo>
                  <a:lnTo>
                    <a:pt x="5499" y="11518"/>
                  </a:lnTo>
                  <a:lnTo>
                    <a:pt x="5461" y="11556"/>
                  </a:lnTo>
                  <a:lnTo>
                    <a:pt x="5420" y="11594"/>
                  </a:lnTo>
                  <a:lnTo>
                    <a:pt x="5379" y="11633"/>
                  </a:lnTo>
                  <a:lnTo>
                    <a:pt x="5336" y="11674"/>
                  </a:lnTo>
                  <a:lnTo>
                    <a:pt x="5290" y="11715"/>
                  </a:lnTo>
                  <a:lnTo>
                    <a:pt x="5243" y="11757"/>
                  </a:lnTo>
                  <a:lnTo>
                    <a:pt x="5195" y="11799"/>
                  </a:lnTo>
                  <a:lnTo>
                    <a:pt x="5145" y="11842"/>
                  </a:lnTo>
                  <a:lnTo>
                    <a:pt x="5093" y="11886"/>
                  </a:lnTo>
                  <a:lnTo>
                    <a:pt x="5040" y="11931"/>
                  </a:lnTo>
                  <a:lnTo>
                    <a:pt x="4986" y="11975"/>
                  </a:lnTo>
                  <a:lnTo>
                    <a:pt x="4930" y="12020"/>
                  </a:lnTo>
                  <a:lnTo>
                    <a:pt x="4873" y="12065"/>
                  </a:lnTo>
                  <a:lnTo>
                    <a:pt x="4814" y="12109"/>
                  </a:lnTo>
                  <a:lnTo>
                    <a:pt x="4755" y="12154"/>
                  </a:lnTo>
                  <a:lnTo>
                    <a:pt x="4694" y="12199"/>
                  </a:lnTo>
                  <a:lnTo>
                    <a:pt x="4633" y="12243"/>
                  </a:lnTo>
                  <a:lnTo>
                    <a:pt x="4570" y="12287"/>
                  </a:lnTo>
                  <a:lnTo>
                    <a:pt x="4507" y="12331"/>
                  </a:lnTo>
                  <a:lnTo>
                    <a:pt x="4442" y="12374"/>
                  </a:lnTo>
                  <a:lnTo>
                    <a:pt x="4377" y="12417"/>
                  </a:lnTo>
                  <a:lnTo>
                    <a:pt x="4310" y="12459"/>
                  </a:lnTo>
                  <a:lnTo>
                    <a:pt x="4244" y="12501"/>
                  </a:lnTo>
                  <a:lnTo>
                    <a:pt x="4176" y="12542"/>
                  </a:lnTo>
                  <a:lnTo>
                    <a:pt x="4212" y="12456"/>
                  </a:lnTo>
                  <a:lnTo>
                    <a:pt x="4248" y="12371"/>
                  </a:lnTo>
                  <a:lnTo>
                    <a:pt x="4281" y="12284"/>
                  </a:lnTo>
                  <a:lnTo>
                    <a:pt x="4313" y="12196"/>
                  </a:lnTo>
                  <a:lnTo>
                    <a:pt x="4345" y="12107"/>
                  </a:lnTo>
                  <a:lnTo>
                    <a:pt x="4374" y="12017"/>
                  </a:lnTo>
                  <a:lnTo>
                    <a:pt x="4388" y="11971"/>
                  </a:lnTo>
                  <a:lnTo>
                    <a:pt x="4401" y="11926"/>
                  </a:lnTo>
                  <a:lnTo>
                    <a:pt x="4414" y="11879"/>
                  </a:lnTo>
                  <a:lnTo>
                    <a:pt x="4426" y="11833"/>
                  </a:lnTo>
                  <a:lnTo>
                    <a:pt x="4438" y="11787"/>
                  </a:lnTo>
                  <a:lnTo>
                    <a:pt x="4449" y="11740"/>
                  </a:lnTo>
                  <a:lnTo>
                    <a:pt x="4459" y="11694"/>
                  </a:lnTo>
                  <a:lnTo>
                    <a:pt x="4470" y="11647"/>
                  </a:lnTo>
                  <a:lnTo>
                    <a:pt x="4480" y="11600"/>
                  </a:lnTo>
                  <a:lnTo>
                    <a:pt x="4488" y="11553"/>
                  </a:lnTo>
                  <a:lnTo>
                    <a:pt x="4496" y="11506"/>
                  </a:lnTo>
                  <a:lnTo>
                    <a:pt x="4504" y="11458"/>
                  </a:lnTo>
                  <a:lnTo>
                    <a:pt x="4510" y="11411"/>
                  </a:lnTo>
                  <a:lnTo>
                    <a:pt x="4516" y="11363"/>
                  </a:lnTo>
                  <a:lnTo>
                    <a:pt x="4522" y="11315"/>
                  </a:lnTo>
                  <a:lnTo>
                    <a:pt x="4526" y="11266"/>
                  </a:lnTo>
                  <a:lnTo>
                    <a:pt x="4530" y="11218"/>
                  </a:lnTo>
                  <a:lnTo>
                    <a:pt x="4533" y="11170"/>
                  </a:lnTo>
                  <a:lnTo>
                    <a:pt x="4535" y="11121"/>
                  </a:lnTo>
                  <a:lnTo>
                    <a:pt x="4537" y="11073"/>
                  </a:lnTo>
                  <a:lnTo>
                    <a:pt x="4538" y="11049"/>
                  </a:lnTo>
                  <a:lnTo>
                    <a:pt x="4540" y="11025"/>
                  </a:lnTo>
                  <a:lnTo>
                    <a:pt x="4541" y="11002"/>
                  </a:lnTo>
                  <a:lnTo>
                    <a:pt x="4541" y="10981"/>
                  </a:lnTo>
                  <a:lnTo>
                    <a:pt x="4540" y="10946"/>
                  </a:lnTo>
                  <a:lnTo>
                    <a:pt x="4539" y="10911"/>
                  </a:lnTo>
                  <a:lnTo>
                    <a:pt x="4536" y="10876"/>
                  </a:lnTo>
                  <a:lnTo>
                    <a:pt x="4531" y="10842"/>
                  </a:lnTo>
                  <a:lnTo>
                    <a:pt x="4526" y="10808"/>
                  </a:lnTo>
                  <a:lnTo>
                    <a:pt x="4519" y="10774"/>
                  </a:lnTo>
                  <a:lnTo>
                    <a:pt x="4512" y="10741"/>
                  </a:lnTo>
                  <a:lnTo>
                    <a:pt x="4503" y="10707"/>
                  </a:lnTo>
                  <a:lnTo>
                    <a:pt x="4493" y="10675"/>
                  </a:lnTo>
                  <a:lnTo>
                    <a:pt x="4482" y="10641"/>
                  </a:lnTo>
                  <a:lnTo>
                    <a:pt x="4470" y="10610"/>
                  </a:lnTo>
                  <a:lnTo>
                    <a:pt x="4456" y="10578"/>
                  </a:lnTo>
                  <a:lnTo>
                    <a:pt x="4442" y="10547"/>
                  </a:lnTo>
                  <a:lnTo>
                    <a:pt x="4426" y="10517"/>
                  </a:lnTo>
                  <a:lnTo>
                    <a:pt x="4410" y="10487"/>
                  </a:lnTo>
                  <a:lnTo>
                    <a:pt x="4393" y="10458"/>
                  </a:lnTo>
                  <a:lnTo>
                    <a:pt x="4375" y="10429"/>
                  </a:lnTo>
                  <a:lnTo>
                    <a:pt x="4356" y="10401"/>
                  </a:lnTo>
                  <a:lnTo>
                    <a:pt x="4334" y="10374"/>
                  </a:lnTo>
                  <a:lnTo>
                    <a:pt x="4313" y="10347"/>
                  </a:lnTo>
                  <a:lnTo>
                    <a:pt x="4291" y="10321"/>
                  </a:lnTo>
                  <a:lnTo>
                    <a:pt x="4269" y="10296"/>
                  </a:lnTo>
                  <a:lnTo>
                    <a:pt x="4245" y="10271"/>
                  </a:lnTo>
                  <a:lnTo>
                    <a:pt x="4220" y="10248"/>
                  </a:lnTo>
                  <a:lnTo>
                    <a:pt x="4194" y="10225"/>
                  </a:lnTo>
                  <a:lnTo>
                    <a:pt x="4168" y="10203"/>
                  </a:lnTo>
                  <a:lnTo>
                    <a:pt x="4140" y="10182"/>
                  </a:lnTo>
                  <a:lnTo>
                    <a:pt x="4112" y="10161"/>
                  </a:lnTo>
                  <a:lnTo>
                    <a:pt x="4083" y="10142"/>
                  </a:lnTo>
                  <a:lnTo>
                    <a:pt x="4053" y="10123"/>
                  </a:lnTo>
                  <a:lnTo>
                    <a:pt x="4023" y="10106"/>
                  </a:lnTo>
                  <a:lnTo>
                    <a:pt x="3992" y="10089"/>
                  </a:lnTo>
                  <a:lnTo>
                    <a:pt x="3819" y="9998"/>
                  </a:lnTo>
                  <a:lnTo>
                    <a:pt x="3650" y="9904"/>
                  </a:lnTo>
                  <a:lnTo>
                    <a:pt x="3487" y="9807"/>
                  </a:lnTo>
                  <a:lnTo>
                    <a:pt x="3327" y="9707"/>
                  </a:lnTo>
                  <a:lnTo>
                    <a:pt x="3173" y="9604"/>
                  </a:lnTo>
                  <a:lnTo>
                    <a:pt x="3023" y="9499"/>
                  </a:lnTo>
                  <a:lnTo>
                    <a:pt x="2878" y="9389"/>
                  </a:lnTo>
                  <a:lnTo>
                    <a:pt x="2737" y="9277"/>
                  </a:lnTo>
                  <a:lnTo>
                    <a:pt x="2602" y="9163"/>
                  </a:lnTo>
                  <a:lnTo>
                    <a:pt x="2472" y="9046"/>
                  </a:lnTo>
                  <a:lnTo>
                    <a:pt x="2346" y="8927"/>
                  </a:lnTo>
                  <a:lnTo>
                    <a:pt x="2226" y="8805"/>
                  </a:lnTo>
                  <a:lnTo>
                    <a:pt x="2112" y="8681"/>
                  </a:lnTo>
                  <a:lnTo>
                    <a:pt x="2002" y="8555"/>
                  </a:lnTo>
                  <a:lnTo>
                    <a:pt x="1899" y="8427"/>
                  </a:lnTo>
                  <a:lnTo>
                    <a:pt x="1800" y="8297"/>
                  </a:lnTo>
                  <a:lnTo>
                    <a:pt x="1706" y="8163"/>
                  </a:lnTo>
                  <a:lnTo>
                    <a:pt x="1618" y="8030"/>
                  </a:lnTo>
                  <a:lnTo>
                    <a:pt x="1537" y="7894"/>
                  </a:lnTo>
                  <a:lnTo>
                    <a:pt x="1460" y="7757"/>
                  </a:lnTo>
                  <a:lnTo>
                    <a:pt x="1388" y="7617"/>
                  </a:lnTo>
                  <a:lnTo>
                    <a:pt x="1324" y="7476"/>
                  </a:lnTo>
                  <a:lnTo>
                    <a:pt x="1264" y="7335"/>
                  </a:lnTo>
                  <a:lnTo>
                    <a:pt x="1212" y="7192"/>
                  </a:lnTo>
                  <a:lnTo>
                    <a:pt x="1165" y="7047"/>
                  </a:lnTo>
                  <a:lnTo>
                    <a:pt x="1123" y="6901"/>
                  </a:lnTo>
                  <a:lnTo>
                    <a:pt x="1089" y="6755"/>
                  </a:lnTo>
                  <a:lnTo>
                    <a:pt x="1060" y="6608"/>
                  </a:lnTo>
                  <a:lnTo>
                    <a:pt x="1037" y="6459"/>
                  </a:lnTo>
                  <a:lnTo>
                    <a:pt x="1021" y="6309"/>
                  </a:lnTo>
                  <a:lnTo>
                    <a:pt x="1011" y="6160"/>
                  </a:lnTo>
                  <a:lnTo>
                    <a:pt x="1008" y="6010"/>
                  </a:lnTo>
                  <a:lnTo>
                    <a:pt x="1017" y="5752"/>
                  </a:lnTo>
                  <a:lnTo>
                    <a:pt x="1045" y="5498"/>
                  </a:lnTo>
                  <a:lnTo>
                    <a:pt x="1090" y="5248"/>
                  </a:lnTo>
                  <a:lnTo>
                    <a:pt x="1151" y="5002"/>
                  </a:lnTo>
                  <a:lnTo>
                    <a:pt x="1231" y="4760"/>
                  </a:lnTo>
                  <a:lnTo>
                    <a:pt x="1326" y="4522"/>
                  </a:lnTo>
                  <a:lnTo>
                    <a:pt x="1437" y="4290"/>
                  </a:lnTo>
                  <a:lnTo>
                    <a:pt x="1564" y="4063"/>
                  </a:lnTo>
                  <a:lnTo>
                    <a:pt x="1705" y="3840"/>
                  </a:lnTo>
                  <a:lnTo>
                    <a:pt x="1861" y="3625"/>
                  </a:lnTo>
                  <a:lnTo>
                    <a:pt x="2032" y="3415"/>
                  </a:lnTo>
                  <a:lnTo>
                    <a:pt x="2215" y="3211"/>
                  </a:lnTo>
                  <a:lnTo>
                    <a:pt x="2412" y="3015"/>
                  </a:lnTo>
                  <a:lnTo>
                    <a:pt x="2621" y="2826"/>
                  </a:lnTo>
                  <a:lnTo>
                    <a:pt x="2844" y="2644"/>
                  </a:lnTo>
                  <a:lnTo>
                    <a:pt x="3078" y="2470"/>
                  </a:lnTo>
                  <a:lnTo>
                    <a:pt x="3323" y="2304"/>
                  </a:lnTo>
                  <a:lnTo>
                    <a:pt x="3579" y="2147"/>
                  </a:lnTo>
                  <a:lnTo>
                    <a:pt x="3845" y="1998"/>
                  </a:lnTo>
                  <a:lnTo>
                    <a:pt x="4123" y="1858"/>
                  </a:lnTo>
                  <a:lnTo>
                    <a:pt x="4409" y="1728"/>
                  </a:lnTo>
                  <a:lnTo>
                    <a:pt x="4704" y="1607"/>
                  </a:lnTo>
                  <a:lnTo>
                    <a:pt x="5009" y="1496"/>
                  </a:lnTo>
                  <a:lnTo>
                    <a:pt x="5322" y="1395"/>
                  </a:lnTo>
                  <a:lnTo>
                    <a:pt x="5642" y="1306"/>
                  </a:lnTo>
                  <a:lnTo>
                    <a:pt x="5970" y="1227"/>
                  </a:lnTo>
                  <a:lnTo>
                    <a:pt x="6305" y="1160"/>
                  </a:lnTo>
                  <a:lnTo>
                    <a:pt x="6645" y="1104"/>
                  </a:lnTo>
                  <a:lnTo>
                    <a:pt x="6992" y="1060"/>
                  </a:lnTo>
                  <a:lnTo>
                    <a:pt x="7345" y="1028"/>
                  </a:lnTo>
                  <a:lnTo>
                    <a:pt x="7703" y="1008"/>
                  </a:lnTo>
                  <a:lnTo>
                    <a:pt x="8066" y="1002"/>
                  </a:lnTo>
                  <a:lnTo>
                    <a:pt x="8429" y="1008"/>
                  </a:lnTo>
                  <a:lnTo>
                    <a:pt x="8787" y="1028"/>
                  </a:lnTo>
                  <a:lnTo>
                    <a:pt x="9140" y="1060"/>
                  </a:lnTo>
                  <a:lnTo>
                    <a:pt x="9487" y="1104"/>
                  </a:lnTo>
                  <a:lnTo>
                    <a:pt x="9827" y="1160"/>
                  </a:lnTo>
                  <a:lnTo>
                    <a:pt x="10162" y="1227"/>
                  </a:lnTo>
                  <a:lnTo>
                    <a:pt x="10490" y="1306"/>
                  </a:lnTo>
                  <a:lnTo>
                    <a:pt x="10810" y="1395"/>
                  </a:lnTo>
                  <a:lnTo>
                    <a:pt x="11123" y="1496"/>
                  </a:lnTo>
                  <a:lnTo>
                    <a:pt x="11428" y="1607"/>
                  </a:lnTo>
                  <a:lnTo>
                    <a:pt x="11723" y="1728"/>
                  </a:lnTo>
                  <a:lnTo>
                    <a:pt x="12009" y="1858"/>
                  </a:lnTo>
                  <a:lnTo>
                    <a:pt x="12287" y="1998"/>
                  </a:lnTo>
                  <a:lnTo>
                    <a:pt x="12553" y="2147"/>
                  </a:lnTo>
                  <a:lnTo>
                    <a:pt x="12809" y="2304"/>
                  </a:lnTo>
                  <a:lnTo>
                    <a:pt x="13054" y="2470"/>
                  </a:lnTo>
                  <a:lnTo>
                    <a:pt x="13288" y="2644"/>
                  </a:lnTo>
                  <a:lnTo>
                    <a:pt x="13511" y="2826"/>
                  </a:lnTo>
                  <a:lnTo>
                    <a:pt x="13720" y="3015"/>
                  </a:lnTo>
                  <a:lnTo>
                    <a:pt x="13917" y="3211"/>
                  </a:lnTo>
                  <a:lnTo>
                    <a:pt x="14100" y="3415"/>
                  </a:lnTo>
                  <a:lnTo>
                    <a:pt x="14271" y="3625"/>
                  </a:lnTo>
                  <a:lnTo>
                    <a:pt x="14427" y="3840"/>
                  </a:lnTo>
                  <a:lnTo>
                    <a:pt x="14568" y="4063"/>
                  </a:lnTo>
                  <a:lnTo>
                    <a:pt x="14695" y="4290"/>
                  </a:lnTo>
                  <a:lnTo>
                    <a:pt x="14806" y="4522"/>
                  </a:lnTo>
                  <a:lnTo>
                    <a:pt x="14901" y="4760"/>
                  </a:lnTo>
                  <a:lnTo>
                    <a:pt x="14981" y="5002"/>
                  </a:lnTo>
                  <a:lnTo>
                    <a:pt x="15042" y="5248"/>
                  </a:lnTo>
                  <a:lnTo>
                    <a:pt x="15087" y="5498"/>
                  </a:lnTo>
                  <a:lnTo>
                    <a:pt x="15115" y="5752"/>
                  </a:lnTo>
                  <a:lnTo>
                    <a:pt x="15124" y="6010"/>
                  </a:lnTo>
                  <a:lnTo>
                    <a:pt x="15115" y="6267"/>
                  </a:lnTo>
                  <a:lnTo>
                    <a:pt x="15087" y="6521"/>
                  </a:lnTo>
                  <a:lnTo>
                    <a:pt x="15042" y="6771"/>
                  </a:lnTo>
                  <a:lnTo>
                    <a:pt x="14981" y="7018"/>
                  </a:lnTo>
                  <a:lnTo>
                    <a:pt x="14901" y="7260"/>
                  </a:lnTo>
                  <a:lnTo>
                    <a:pt x="14806" y="7497"/>
                  </a:lnTo>
                  <a:lnTo>
                    <a:pt x="14695" y="7730"/>
                  </a:lnTo>
                  <a:lnTo>
                    <a:pt x="14568" y="7957"/>
                  </a:lnTo>
                  <a:lnTo>
                    <a:pt x="14427" y="8179"/>
                  </a:lnTo>
                  <a:lnTo>
                    <a:pt x="14271" y="8395"/>
                  </a:lnTo>
                  <a:lnTo>
                    <a:pt x="14100" y="8605"/>
                  </a:lnTo>
                  <a:lnTo>
                    <a:pt x="13917" y="8807"/>
                  </a:lnTo>
                  <a:lnTo>
                    <a:pt x="13720" y="9005"/>
                  </a:lnTo>
                  <a:lnTo>
                    <a:pt x="13511" y="9194"/>
                  </a:lnTo>
                  <a:lnTo>
                    <a:pt x="13288" y="9375"/>
                  </a:lnTo>
                  <a:lnTo>
                    <a:pt x="13054" y="9550"/>
                  </a:lnTo>
                  <a:lnTo>
                    <a:pt x="12809" y="9715"/>
                  </a:lnTo>
                  <a:lnTo>
                    <a:pt x="12553" y="9873"/>
                  </a:lnTo>
                  <a:lnTo>
                    <a:pt x="12287" y="10021"/>
                  </a:lnTo>
                  <a:lnTo>
                    <a:pt x="12009" y="10162"/>
                  </a:lnTo>
                  <a:lnTo>
                    <a:pt x="11723" y="10292"/>
                  </a:lnTo>
                  <a:lnTo>
                    <a:pt x="11428" y="10413"/>
                  </a:lnTo>
                  <a:lnTo>
                    <a:pt x="11123" y="10523"/>
                  </a:lnTo>
                  <a:lnTo>
                    <a:pt x="10810" y="10623"/>
                  </a:lnTo>
                  <a:lnTo>
                    <a:pt x="10490" y="10714"/>
                  </a:lnTo>
                  <a:lnTo>
                    <a:pt x="10162" y="10793"/>
                  </a:lnTo>
                  <a:lnTo>
                    <a:pt x="9827" y="10860"/>
                  </a:lnTo>
                  <a:lnTo>
                    <a:pt x="9487" y="10916"/>
                  </a:lnTo>
                  <a:lnTo>
                    <a:pt x="9140" y="10960"/>
                  </a:lnTo>
                  <a:lnTo>
                    <a:pt x="8787" y="10992"/>
                  </a:lnTo>
                  <a:lnTo>
                    <a:pt x="8429" y="11011"/>
                  </a:lnTo>
                  <a:lnTo>
                    <a:pt x="8066" y="11018"/>
                  </a:lnTo>
                  <a:close/>
                  <a:moveTo>
                    <a:pt x="8066" y="0"/>
                  </a:moveTo>
                  <a:lnTo>
                    <a:pt x="7651" y="8"/>
                  </a:lnTo>
                  <a:lnTo>
                    <a:pt x="7241" y="31"/>
                  </a:lnTo>
                  <a:lnTo>
                    <a:pt x="6838" y="69"/>
                  </a:lnTo>
                  <a:lnTo>
                    <a:pt x="6441" y="122"/>
                  </a:lnTo>
                  <a:lnTo>
                    <a:pt x="6051" y="189"/>
                  </a:lnTo>
                  <a:lnTo>
                    <a:pt x="5667" y="270"/>
                  </a:lnTo>
                  <a:lnTo>
                    <a:pt x="5292" y="365"/>
                  </a:lnTo>
                  <a:lnTo>
                    <a:pt x="4926" y="473"/>
                  </a:lnTo>
                  <a:lnTo>
                    <a:pt x="4569" y="593"/>
                  </a:lnTo>
                  <a:lnTo>
                    <a:pt x="4222" y="725"/>
                  </a:lnTo>
                  <a:lnTo>
                    <a:pt x="3884" y="870"/>
                  </a:lnTo>
                  <a:lnTo>
                    <a:pt x="3556" y="1027"/>
                  </a:lnTo>
                  <a:lnTo>
                    <a:pt x="3240" y="1194"/>
                  </a:lnTo>
                  <a:lnTo>
                    <a:pt x="2935" y="1372"/>
                  </a:lnTo>
                  <a:lnTo>
                    <a:pt x="2643" y="1562"/>
                  </a:lnTo>
                  <a:lnTo>
                    <a:pt x="2362" y="1760"/>
                  </a:lnTo>
                  <a:lnTo>
                    <a:pt x="2095" y="1969"/>
                  </a:lnTo>
                  <a:lnTo>
                    <a:pt x="1842" y="2188"/>
                  </a:lnTo>
                  <a:lnTo>
                    <a:pt x="1602" y="2414"/>
                  </a:lnTo>
                  <a:lnTo>
                    <a:pt x="1377" y="2649"/>
                  </a:lnTo>
                  <a:lnTo>
                    <a:pt x="1168" y="2894"/>
                  </a:lnTo>
                  <a:lnTo>
                    <a:pt x="974" y="3145"/>
                  </a:lnTo>
                  <a:lnTo>
                    <a:pt x="796" y="3405"/>
                  </a:lnTo>
                  <a:lnTo>
                    <a:pt x="634" y="3671"/>
                  </a:lnTo>
                  <a:lnTo>
                    <a:pt x="489" y="3943"/>
                  </a:lnTo>
                  <a:lnTo>
                    <a:pt x="363" y="4223"/>
                  </a:lnTo>
                  <a:lnTo>
                    <a:pt x="254" y="4508"/>
                  </a:lnTo>
                  <a:lnTo>
                    <a:pt x="163" y="4799"/>
                  </a:lnTo>
                  <a:lnTo>
                    <a:pt x="93" y="5094"/>
                  </a:lnTo>
                  <a:lnTo>
                    <a:pt x="41" y="5396"/>
                  </a:lnTo>
                  <a:lnTo>
                    <a:pt x="10" y="5700"/>
                  </a:lnTo>
                  <a:lnTo>
                    <a:pt x="0" y="6010"/>
                  </a:lnTo>
                  <a:lnTo>
                    <a:pt x="4" y="6203"/>
                  </a:lnTo>
                  <a:lnTo>
                    <a:pt x="16" y="6394"/>
                  </a:lnTo>
                  <a:lnTo>
                    <a:pt x="36" y="6584"/>
                  </a:lnTo>
                  <a:lnTo>
                    <a:pt x="65" y="6772"/>
                  </a:lnTo>
                  <a:lnTo>
                    <a:pt x="100" y="6958"/>
                  </a:lnTo>
                  <a:lnTo>
                    <a:pt x="143" y="7144"/>
                  </a:lnTo>
                  <a:lnTo>
                    <a:pt x="195" y="7326"/>
                  </a:lnTo>
                  <a:lnTo>
                    <a:pt x="252" y="7506"/>
                  </a:lnTo>
                  <a:lnTo>
                    <a:pt x="318" y="7685"/>
                  </a:lnTo>
                  <a:lnTo>
                    <a:pt x="390" y="7861"/>
                  </a:lnTo>
                  <a:lnTo>
                    <a:pt x="470" y="8034"/>
                  </a:lnTo>
                  <a:lnTo>
                    <a:pt x="556" y="8205"/>
                  </a:lnTo>
                  <a:lnTo>
                    <a:pt x="648" y="8375"/>
                  </a:lnTo>
                  <a:lnTo>
                    <a:pt x="748" y="8541"/>
                  </a:lnTo>
                  <a:lnTo>
                    <a:pt x="855" y="8704"/>
                  </a:lnTo>
                  <a:lnTo>
                    <a:pt x="967" y="8865"/>
                  </a:lnTo>
                  <a:lnTo>
                    <a:pt x="1086" y="9023"/>
                  </a:lnTo>
                  <a:lnTo>
                    <a:pt x="1211" y="9177"/>
                  </a:lnTo>
                  <a:lnTo>
                    <a:pt x="1341" y="9329"/>
                  </a:lnTo>
                  <a:lnTo>
                    <a:pt x="1478" y="9478"/>
                  </a:lnTo>
                  <a:lnTo>
                    <a:pt x="1620" y="9623"/>
                  </a:lnTo>
                  <a:lnTo>
                    <a:pt x="1768" y="9765"/>
                  </a:lnTo>
                  <a:lnTo>
                    <a:pt x="1923" y="9903"/>
                  </a:lnTo>
                  <a:lnTo>
                    <a:pt x="2081" y="10038"/>
                  </a:lnTo>
                  <a:lnTo>
                    <a:pt x="2245" y="10170"/>
                  </a:lnTo>
                  <a:lnTo>
                    <a:pt x="2415" y="10298"/>
                  </a:lnTo>
                  <a:lnTo>
                    <a:pt x="2590" y="10421"/>
                  </a:lnTo>
                  <a:lnTo>
                    <a:pt x="2769" y="10541"/>
                  </a:lnTo>
                  <a:lnTo>
                    <a:pt x="2953" y="10657"/>
                  </a:lnTo>
                  <a:lnTo>
                    <a:pt x="3142" y="10770"/>
                  </a:lnTo>
                  <a:lnTo>
                    <a:pt x="3335" y="10878"/>
                  </a:lnTo>
                  <a:lnTo>
                    <a:pt x="3533" y="10981"/>
                  </a:lnTo>
                  <a:lnTo>
                    <a:pt x="3532" y="10990"/>
                  </a:lnTo>
                  <a:lnTo>
                    <a:pt x="3531" y="10999"/>
                  </a:lnTo>
                  <a:lnTo>
                    <a:pt x="3530" y="11008"/>
                  </a:lnTo>
                  <a:lnTo>
                    <a:pt x="3529" y="11018"/>
                  </a:lnTo>
                  <a:lnTo>
                    <a:pt x="3527" y="11102"/>
                  </a:lnTo>
                  <a:lnTo>
                    <a:pt x="3521" y="11187"/>
                  </a:lnTo>
                  <a:lnTo>
                    <a:pt x="3512" y="11271"/>
                  </a:lnTo>
                  <a:lnTo>
                    <a:pt x="3500" y="11357"/>
                  </a:lnTo>
                  <a:lnTo>
                    <a:pt x="3484" y="11442"/>
                  </a:lnTo>
                  <a:lnTo>
                    <a:pt x="3464" y="11527"/>
                  </a:lnTo>
                  <a:lnTo>
                    <a:pt x="3443" y="11612"/>
                  </a:lnTo>
                  <a:lnTo>
                    <a:pt x="3419" y="11696"/>
                  </a:lnTo>
                  <a:lnTo>
                    <a:pt x="3392" y="11780"/>
                  </a:lnTo>
                  <a:lnTo>
                    <a:pt x="3364" y="11863"/>
                  </a:lnTo>
                  <a:lnTo>
                    <a:pt x="3332" y="11947"/>
                  </a:lnTo>
                  <a:lnTo>
                    <a:pt x="3300" y="12030"/>
                  </a:lnTo>
                  <a:lnTo>
                    <a:pt x="3266" y="12111"/>
                  </a:lnTo>
                  <a:lnTo>
                    <a:pt x="3229" y="12192"/>
                  </a:lnTo>
                  <a:lnTo>
                    <a:pt x="3192" y="12271"/>
                  </a:lnTo>
                  <a:lnTo>
                    <a:pt x="3155" y="12350"/>
                  </a:lnTo>
                  <a:lnTo>
                    <a:pt x="3115" y="12428"/>
                  </a:lnTo>
                  <a:lnTo>
                    <a:pt x="3075" y="12505"/>
                  </a:lnTo>
                  <a:lnTo>
                    <a:pt x="3036" y="12580"/>
                  </a:lnTo>
                  <a:lnTo>
                    <a:pt x="2995" y="12653"/>
                  </a:lnTo>
                  <a:lnTo>
                    <a:pt x="2954" y="12726"/>
                  </a:lnTo>
                  <a:lnTo>
                    <a:pt x="2914" y="12796"/>
                  </a:lnTo>
                  <a:lnTo>
                    <a:pt x="2874" y="12864"/>
                  </a:lnTo>
                  <a:lnTo>
                    <a:pt x="2834" y="12931"/>
                  </a:lnTo>
                  <a:lnTo>
                    <a:pt x="2757" y="13059"/>
                  </a:lnTo>
                  <a:lnTo>
                    <a:pt x="2684" y="13180"/>
                  </a:lnTo>
                  <a:lnTo>
                    <a:pt x="2616" y="13290"/>
                  </a:lnTo>
                  <a:lnTo>
                    <a:pt x="2557" y="13390"/>
                  </a:lnTo>
                  <a:lnTo>
                    <a:pt x="2558" y="13390"/>
                  </a:lnTo>
                  <a:lnTo>
                    <a:pt x="2550" y="13411"/>
                  </a:lnTo>
                  <a:lnTo>
                    <a:pt x="2542" y="13432"/>
                  </a:lnTo>
                  <a:lnTo>
                    <a:pt x="2536" y="13454"/>
                  </a:lnTo>
                  <a:lnTo>
                    <a:pt x="2531" y="13476"/>
                  </a:lnTo>
                  <a:lnTo>
                    <a:pt x="2527" y="13499"/>
                  </a:lnTo>
                  <a:lnTo>
                    <a:pt x="2523" y="13522"/>
                  </a:lnTo>
                  <a:lnTo>
                    <a:pt x="2522" y="13545"/>
                  </a:lnTo>
                  <a:lnTo>
                    <a:pt x="2521" y="13569"/>
                  </a:lnTo>
                  <a:lnTo>
                    <a:pt x="2522" y="13592"/>
                  </a:lnTo>
                  <a:lnTo>
                    <a:pt x="2523" y="13615"/>
                  </a:lnTo>
                  <a:lnTo>
                    <a:pt x="2526" y="13638"/>
                  </a:lnTo>
                  <a:lnTo>
                    <a:pt x="2530" y="13660"/>
                  </a:lnTo>
                  <a:lnTo>
                    <a:pt x="2535" y="13682"/>
                  </a:lnTo>
                  <a:lnTo>
                    <a:pt x="2541" y="13704"/>
                  </a:lnTo>
                  <a:lnTo>
                    <a:pt x="2548" y="13726"/>
                  </a:lnTo>
                  <a:lnTo>
                    <a:pt x="2556" y="13746"/>
                  </a:lnTo>
                  <a:lnTo>
                    <a:pt x="2566" y="13766"/>
                  </a:lnTo>
                  <a:lnTo>
                    <a:pt x="2576" y="13786"/>
                  </a:lnTo>
                  <a:lnTo>
                    <a:pt x="2586" y="13805"/>
                  </a:lnTo>
                  <a:lnTo>
                    <a:pt x="2598" y="13823"/>
                  </a:lnTo>
                  <a:lnTo>
                    <a:pt x="2611" y="13841"/>
                  </a:lnTo>
                  <a:lnTo>
                    <a:pt x="2624" y="13858"/>
                  </a:lnTo>
                  <a:lnTo>
                    <a:pt x="2640" y="13875"/>
                  </a:lnTo>
                  <a:lnTo>
                    <a:pt x="2655" y="13890"/>
                  </a:lnTo>
                  <a:lnTo>
                    <a:pt x="2670" y="13905"/>
                  </a:lnTo>
                  <a:lnTo>
                    <a:pt x="2687" y="13920"/>
                  </a:lnTo>
                  <a:lnTo>
                    <a:pt x="2704" y="13933"/>
                  </a:lnTo>
                  <a:lnTo>
                    <a:pt x="2722" y="13946"/>
                  </a:lnTo>
                  <a:lnTo>
                    <a:pt x="2740" y="13958"/>
                  </a:lnTo>
                  <a:lnTo>
                    <a:pt x="2760" y="13968"/>
                  </a:lnTo>
                  <a:lnTo>
                    <a:pt x="2779" y="13978"/>
                  </a:lnTo>
                  <a:lnTo>
                    <a:pt x="2800" y="13987"/>
                  </a:lnTo>
                  <a:lnTo>
                    <a:pt x="2820" y="13996"/>
                  </a:lnTo>
                  <a:lnTo>
                    <a:pt x="2841" y="14003"/>
                  </a:lnTo>
                  <a:lnTo>
                    <a:pt x="2863" y="14009"/>
                  </a:lnTo>
                  <a:lnTo>
                    <a:pt x="2886" y="14014"/>
                  </a:lnTo>
                  <a:lnTo>
                    <a:pt x="2908" y="14018"/>
                  </a:lnTo>
                  <a:lnTo>
                    <a:pt x="2931" y="14021"/>
                  </a:lnTo>
                  <a:lnTo>
                    <a:pt x="2954" y="14022"/>
                  </a:lnTo>
                  <a:lnTo>
                    <a:pt x="2977" y="14023"/>
                  </a:lnTo>
                  <a:lnTo>
                    <a:pt x="3018" y="14021"/>
                  </a:lnTo>
                  <a:lnTo>
                    <a:pt x="3060" y="14017"/>
                  </a:lnTo>
                  <a:lnTo>
                    <a:pt x="3078" y="14016"/>
                  </a:lnTo>
                  <a:lnTo>
                    <a:pt x="3093" y="14015"/>
                  </a:lnTo>
                  <a:lnTo>
                    <a:pt x="3099" y="14015"/>
                  </a:lnTo>
                  <a:lnTo>
                    <a:pt x="3103" y="14015"/>
                  </a:lnTo>
                  <a:lnTo>
                    <a:pt x="3105" y="14016"/>
                  </a:lnTo>
                  <a:lnTo>
                    <a:pt x="3106" y="14016"/>
                  </a:lnTo>
                  <a:lnTo>
                    <a:pt x="3254" y="13989"/>
                  </a:lnTo>
                  <a:lnTo>
                    <a:pt x="3400" y="13955"/>
                  </a:lnTo>
                  <a:lnTo>
                    <a:pt x="3546" y="13915"/>
                  </a:lnTo>
                  <a:lnTo>
                    <a:pt x="3690" y="13870"/>
                  </a:lnTo>
                  <a:lnTo>
                    <a:pt x="3833" y="13819"/>
                  </a:lnTo>
                  <a:lnTo>
                    <a:pt x="3976" y="13763"/>
                  </a:lnTo>
                  <a:lnTo>
                    <a:pt x="4116" y="13701"/>
                  </a:lnTo>
                  <a:lnTo>
                    <a:pt x="4254" y="13637"/>
                  </a:lnTo>
                  <a:lnTo>
                    <a:pt x="4390" y="13569"/>
                  </a:lnTo>
                  <a:lnTo>
                    <a:pt x="4524" y="13497"/>
                  </a:lnTo>
                  <a:lnTo>
                    <a:pt x="4656" y="13423"/>
                  </a:lnTo>
                  <a:lnTo>
                    <a:pt x="4784" y="13346"/>
                  </a:lnTo>
                  <a:lnTo>
                    <a:pt x="4910" y="13267"/>
                  </a:lnTo>
                  <a:lnTo>
                    <a:pt x="5033" y="13186"/>
                  </a:lnTo>
                  <a:lnTo>
                    <a:pt x="5153" y="13104"/>
                  </a:lnTo>
                  <a:lnTo>
                    <a:pt x="5269" y="13021"/>
                  </a:lnTo>
                  <a:lnTo>
                    <a:pt x="5382" y="12938"/>
                  </a:lnTo>
                  <a:lnTo>
                    <a:pt x="5491" y="12854"/>
                  </a:lnTo>
                  <a:lnTo>
                    <a:pt x="5596" y="12771"/>
                  </a:lnTo>
                  <a:lnTo>
                    <a:pt x="5697" y="12689"/>
                  </a:lnTo>
                  <a:lnTo>
                    <a:pt x="5793" y="12608"/>
                  </a:lnTo>
                  <a:lnTo>
                    <a:pt x="5885" y="12528"/>
                  </a:lnTo>
                  <a:lnTo>
                    <a:pt x="5972" y="12450"/>
                  </a:lnTo>
                  <a:lnTo>
                    <a:pt x="6055" y="12375"/>
                  </a:lnTo>
                  <a:lnTo>
                    <a:pt x="6131" y="12302"/>
                  </a:lnTo>
                  <a:lnTo>
                    <a:pt x="6203" y="12233"/>
                  </a:lnTo>
                  <a:lnTo>
                    <a:pt x="6269" y="12167"/>
                  </a:lnTo>
                  <a:lnTo>
                    <a:pt x="6330" y="12105"/>
                  </a:lnTo>
                  <a:lnTo>
                    <a:pt x="6384" y="12048"/>
                  </a:lnTo>
                  <a:lnTo>
                    <a:pt x="6433" y="11995"/>
                  </a:lnTo>
                  <a:lnTo>
                    <a:pt x="6475" y="11947"/>
                  </a:lnTo>
                  <a:lnTo>
                    <a:pt x="6510" y="11906"/>
                  </a:lnTo>
                  <a:lnTo>
                    <a:pt x="6605" y="11919"/>
                  </a:lnTo>
                  <a:lnTo>
                    <a:pt x="6700" y="11932"/>
                  </a:lnTo>
                  <a:lnTo>
                    <a:pt x="6796" y="11943"/>
                  </a:lnTo>
                  <a:lnTo>
                    <a:pt x="6891" y="11954"/>
                  </a:lnTo>
                  <a:lnTo>
                    <a:pt x="6987" y="11965"/>
                  </a:lnTo>
                  <a:lnTo>
                    <a:pt x="7083" y="11974"/>
                  </a:lnTo>
                  <a:lnTo>
                    <a:pt x="7180" y="11983"/>
                  </a:lnTo>
                  <a:lnTo>
                    <a:pt x="7278" y="11990"/>
                  </a:lnTo>
                  <a:lnTo>
                    <a:pt x="7374" y="11997"/>
                  </a:lnTo>
                  <a:lnTo>
                    <a:pt x="7472" y="12003"/>
                  </a:lnTo>
                  <a:lnTo>
                    <a:pt x="7571" y="12008"/>
                  </a:lnTo>
                  <a:lnTo>
                    <a:pt x="7669" y="12012"/>
                  </a:lnTo>
                  <a:lnTo>
                    <a:pt x="7768" y="12016"/>
                  </a:lnTo>
                  <a:lnTo>
                    <a:pt x="7867" y="12018"/>
                  </a:lnTo>
                  <a:lnTo>
                    <a:pt x="7966" y="12019"/>
                  </a:lnTo>
                  <a:lnTo>
                    <a:pt x="8066" y="12020"/>
                  </a:lnTo>
                  <a:lnTo>
                    <a:pt x="8481" y="12012"/>
                  </a:lnTo>
                  <a:lnTo>
                    <a:pt x="8891" y="11989"/>
                  </a:lnTo>
                  <a:lnTo>
                    <a:pt x="9294" y="11951"/>
                  </a:lnTo>
                  <a:lnTo>
                    <a:pt x="9691" y="11898"/>
                  </a:lnTo>
                  <a:lnTo>
                    <a:pt x="10081" y="11830"/>
                  </a:lnTo>
                  <a:lnTo>
                    <a:pt x="10465" y="11749"/>
                  </a:lnTo>
                  <a:lnTo>
                    <a:pt x="10840" y="11655"/>
                  </a:lnTo>
                  <a:lnTo>
                    <a:pt x="11206" y="11547"/>
                  </a:lnTo>
                  <a:lnTo>
                    <a:pt x="11563" y="11427"/>
                  </a:lnTo>
                  <a:lnTo>
                    <a:pt x="11910" y="11295"/>
                  </a:lnTo>
                  <a:lnTo>
                    <a:pt x="12248" y="11149"/>
                  </a:lnTo>
                  <a:lnTo>
                    <a:pt x="12576" y="10993"/>
                  </a:lnTo>
                  <a:lnTo>
                    <a:pt x="12891" y="10826"/>
                  </a:lnTo>
                  <a:lnTo>
                    <a:pt x="13197" y="10647"/>
                  </a:lnTo>
                  <a:lnTo>
                    <a:pt x="13489" y="10458"/>
                  </a:lnTo>
                  <a:lnTo>
                    <a:pt x="13770" y="10260"/>
                  </a:lnTo>
                  <a:lnTo>
                    <a:pt x="14037" y="10050"/>
                  </a:lnTo>
                  <a:lnTo>
                    <a:pt x="14290" y="9832"/>
                  </a:lnTo>
                  <a:lnTo>
                    <a:pt x="14530" y="9606"/>
                  </a:lnTo>
                  <a:lnTo>
                    <a:pt x="14755" y="9370"/>
                  </a:lnTo>
                  <a:lnTo>
                    <a:pt x="14964" y="9126"/>
                  </a:lnTo>
                  <a:lnTo>
                    <a:pt x="15158" y="8875"/>
                  </a:lnTo>
                  <a:lnTo>
                    <a:pt x="15336" y="8615"/>
                  </a:lnTo>
                  <a:lnTo>
                    <a:pt x="15498" y="8349"/>
                  </a:lnTo>
                  <a:lnTo>
                    <a:pt x="15643" y="8076"/>
                  </a:lnTo>
                  <a:lnTo>
                    <a:pt x="15769" y="7797"/>
                  </a:lnTo>
                  <a:lnTo>
                    <a:pt x="15878" y="7511"/>
                  </a:lnTo>
                  <a:lnTo>
                    <a:pt x="15968" y="7221"/>
                  </a:lnTo>
                  <a:lnTo>
                    <a:pt x="16039" y="6925"/>
                  </a:lnTo>
                  <a:lnTo>
                    <a:pt x="16091" y="6624"/>
                  </a:lnTo>
                  <a:lnTo>
                    <a:pt x="16122" y="6319"/>
                  </a:lnTo>
                  <a:lnTo>
                    <a:pt x="16132" y="6010"/>
                  </a:lnTo>
                  <a:lnTo>
                    <a:pt x="16122" y="5700"/>
                  </a:lnTo>
                  <a:lnTo>
                    <a:pt x="16091" y="5396"/>
                  </a:lnTo>
                  <a:lnTo>
                    <a:pt x="16039" y="5094"/>
                  </a:lnTo>
                  <a:lnTo>
                    <a:pt x="15968" y="4799"/>
                  </a:lnTo>
                  <a:lnTo>
                    <a:pt x="15878" y="4508"/>
                  </a:lnTo>
                  <a:lnTo>
                    <a:pt x="15769" y="4223"/>
                  </a:lnTo>
                  <a:lnTo>
                    <a:pt x="15643" y="3943"/>
                  </a:lnTo>
                  <a:lnTo>
                    <a:pt x="15498" y="3671"/>
                  </a:lnTo>
                  <a:lnTo>
                    <a:pt x="15336" y="3405"/>
                  </a:lnTo>
                  <a:lnTo>
                    <a:pt x="15158" y="3145"/>
                  </a:lnTo>
                  <a:lnTo>
                    <a:pt x="14964" y="2894"/>
                  </a:lnTo>
                  <a:lnTo>
                    <a:pt x="14755" y="2649"/>
                  </a:lnTo>
                  <a:lnTo>
                    <a:pt x="14530" y="2414"/>
                  </a:lnTo>
                  <a:lnTo>
                    <a:pt x="14290" y="2188"/>
                  </a:lnTo>
                  <a:lnTo>
                    <a:pt x="14037" y="1969"/>
                  </a:lnTo>
                  <a:lnTo>
                    <a:pt x="13770" y="1760"/>
                  </a:lnTo>
                  <a:lnTo>
                    <a:pt x="13489" y="1562"/>
                  </a:lnTo>
                  <a:lnTo>
                    <a:pt x="13197" y="1372"/>
                  </a:lnTo>
                  <a:lnTo>
                    <a:pt x="12891" y="1194"/>
                  </a:lnTo>
                  <a:lnTo>
                    <a:pt x="12576" y="1027"/>
                  </a:lnTo>
                  <a:lnTo>
                    <a:pt x="12248" y="870"/>
                  </a:lnTo>
                  <a:lnTo>
                    <a:pt x="11910" y="725"/>
                  </a:lnTo>
                  <a:lnTo>
                    <a:pt x="11563" y="593"/>
                  </a:lnTo>
                  <a:lnTo>
                    <a:pt x="11206" y="473"/>
                  </a:lnTo>
                  <a:lnTo>
                    <a:pt x="10840" y="365"/>
                  </a:lnTo>
                  <a:lnTo>
                    <a:pt x="10465" y="270"/>
                  </a:lnTo>
                  <a:lnTo>
                    <a:pt x="10081" y="189"/>
                  </a:lnTo>
                  <a:lnTo>
                    <a:pt x="9691" y="122"/>
                  </a:lnTo>
                  <a:lnTo>
                    <a:pt x="9294" y="69"/>
                  </a:lnTo>
                  <a:lnTo>
                    <a:pt x="8891" y="31"/>
                  </a:lnTo>
                  <a:lnTo>
                    <a:pt x="8481" y="8"/>
                  </a:lnTo>
                  <a:lnTo>
                    <a:pt x="80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33" name="ïS1ïďe">
              <a:extLst>
                <a:ext uri="{FF2B5EF4-FFF2-40B4-BE49-F238E27FC236}">
                  <a16:creationId xmlns:a16="http://schemas.microsoft.com/office/drawing/2014/main" id="{5B0D61BF-268C-4196-A2E0-FF86AD3BE776}"/>
                </a:ext>
              </a:extLst>
            </p:cNvPr>
            <p:cNvSpPr/>
            <p:nvPr/>
          </p:nvSpPr>
          <p:spPr bwMode="auto">
            <a:xfrm>
              <a:off x="7693747" y="1703694"/>
              <a:ext cx="593599" cy="595008"/>
            </a:xfrm>
            <a:custGeom>
              <a:avLst/>
              <a:gdLst>
                <a:gd name="T0" fmla="*/ 11438 w 16419"/>
                <a:gd name="T1" fmla="*/ 11992 h 16036"/>
                <a:gd name="T2" fmla="*/ 12051 w 16419"/>
                <a:gd name="T3" fmla="*/ 9611 h 16036"/>
                <a:gd name="T4" fmla="*/ 15080 w 16419"/>
                <a:gd name="T5" fmla="*/ 9931 h 16036"/>
                <a:gd name="T6" fmla="*/ 13248 w 16419"/>
                <a:gd name="T7" fmla="*/ 12967 h 16036"/>
                <a:gd name="T8" fmla="*/ 4590 w 16419"/>
                <a:gd name="T9" fmla="*/ 10655 h 16036"/>
                <a:gd name="T10" fmla="*/ 4429 w 16419"/>
                <a:gd name="T11" fmla="*/ 12231 h 16036"/>
                <a:gd name="T12" fmla="*/ 2147 w 16419"/>
                <a:gd name="T13" fmla="*/ 11712 h 16036"/>
                <a:gd name="T14" fmla="*/ 1073 w 16419"/>
                <a:gd name="T15" fmla="*/ 8277 h 16036"/>
                <a:gd name="T16" fmla="*/ 4139 w 16419"/>
                <a:gd name="T17" fmla="*/ 4183 h 16036"/>
                <a:gd name="T18" fmla="*/ 4533 w 16419"/>
                <a:gd name="T19" fmla="*/ 5582 h 16036"/>
                <a:gd name="T20" fmla="*/ 1073 w 16419"/>
                <a:gd name="T21" fmla="*/ 7759 h 16036"/>
                <a:gd name="T22" fmla="*/ 1997 w 16419"/>
                <a:gd name="T23" fmla="*/ 4578 h 16036"/>
                <a:gd name="T24" fmla="*/ 9313 w 16419"/>
                <a:gd name="T25" fmla="*/ 5095 h 16036"/>
                <a:gd name="T26" fmla="*/ 11066 w 16419"/>
                <a:gd name="T27" fmla="*/ 4695 h 16036"/>
                <a:gd name="T28" fmla="*/ 11565 w 16419"/>
                <a:gd name="T29" fmla="*/ 6759 h 16036"/>
                <a:gd name="T30" fmla="*/ 10152 w 16419"/>
                <a:gd name="T31" fmla="*/ 11598 h 16036"/>
                <a:gd name="T32" fmla="*/ 8474 w 16419"/>
                <a:gd name="T33" fmla="*/ 11394 h 16036"/>
                <a:gd name="T34" fmla="*/ 11313 w 16419"/>
                <a:gd name="T35" fmla="*/ 10543 h 16036"/>
                <a:gd name="T36" fmla="*/ 12142 w 16419"/>
                <a:gd name="T37" fmla="*/ 12889 h 16036"/>
                <a:gd name="T38" fmla="*/ 11354 w 16419"/>
                <a:gd name="T39" fmla="*/ 14282 h 16036"/>
                <a:gd name="T40" fmla="*/ 9710 w 16419"/>
                <a:gd name="T41" fmla="*/ 14564 h 16036"/>
                <a:gd name="T42" fmla="*/ 10935 w 16419"/>
                <a:gd name="T43" fmla="*/ 12871 h 16036"/>
                <a:gd name="T44" fmla="*/ 9524 w 16419"/>
                <a:gd name="T45" fmla="*/ 12005 h 16036"/>
                <a:gd name="T46" fmla="*/ 10393 w 16419"/>
                <a:gd name="T47" fmla="*/ 12757 h 16036"/>
                <a:gd name="T48" fmla="*/ 8904 w 16419"/>
                <a:gd name="T49" fmla="*/ 14636 h 16036"/>
                <a:gd name="T50" fmla="*/ 5284 w 16419"/>
                <a:gd name="T51" fmla="*/ 14382 h 16036"/>
                <a:gd name="T52" fmla="*/ 4071 w 16419"/>
                <a:gd name="T53" fmla="*/ 13005 h 16036"/>
                <a:gd name="T54" fmla="*/ 5783 w 16419"/>
                <a:gd name="T55" fmla="*/ 13367 h 16036"/>
                <a:gd name="T56" fmla="*/ 7945 w 16419"/>
                <a:gd name="T57" fmla="*/ 8277 h 16036"/>
                <a:gd name="T58" fmla="*/ 6342 w 16419"/>
                <a:gd name="T59" fmla="*/ 11582 h 16036"/>
                <a:gd name="T60" fmla="*/ 5136 w 16419"/>
                <a:gd name="T61" fmla="*/ 10650 h 16036"/>
                <a:gd name="T62" fmla="*/ 7945 w 16419"/>
                <a:gd name="T63" fmla="*/ 8277 h 16036"/>
                <a:gd name="T64" fmla="*/ 7024 w 16419"/>
                <a:gd name="T65" fmla="*/ 5084 h 16036"/>
                <a:gd name="T66" fmla="*/ 4843 w 16419"/>
                <a:gd name="T67" fmla="*/ 6857 h 16036"/>
                <a:gd name="T68" fmla="*/ 5321 w 16419"/>
                <a:gd name="T69" fmla="*/ 4784 h 16036"/>
                <a:gd name="T70" fmla="*/ 3667 w 16419"/>
                <a:gd name="T71" fmla="*/ 3305 h 16036"/>
                <a:gd name="T72" fmla="*/ 5215 w 16419"/>
                <a:gd name="T73" fmla="*/ 1684 h 16036"/>
                <a:gd name="T74" fmla="*/ 6448 w 16419"/>
                <a:gd name="T75" fmla="*/ 1771 h 16036"/>
                <a:gd name="T76" fmla="*/ 5148 w 16419"/>
                <a:gd name="T77" fmla="*/ 3833 h 16036"/>
                <a:gd name="T78" fmla="*/ 6569 w 16419"/>
                <a:gd name="T79" fmla="*/ 4486 h 16036"/>
                <a:gd name="T80" fmla="*/ 6014 w 16419"/>
                <a:gd name="T81" fmla="*/ 3301 h 16036"/>
                <a:gd name="T82" fmla="*/ 7732 w 16419"/>
                <a:gd name="T83" fmla="*/ 1205 h 16036"/>
                <a:gd name="T84" fmla="*/ 11565 w 16419"/>
                <a:gd name="T85" fmla="*/ 1859 h 16036"/>
                <a:gd name="T86" fmla="*/ 12421 w 16419"/>
                <a:gd name="T87" fmla="*/ 3513 h 16036"/>
                <a:gd name="T88" fmla="*/ 11123 w 16419"/>
                <a:gd name="T89" fmla="*/ 3527 h 16036"/>
                <a:gd name="T90" fmla="*/ 9758 w 16419"/>
                <a:gd name="T91" fmla="*/ 1525 h 16036"/>
                <a:gd name="T92" fmla="*/ 9852 w 16419"/>
                <a:gd name="T93" fmla="*/ 2463 h 16036"/>
                <a:gd name="T94" fmla="*/ 10437 w 16419"/>
                <a:gd name="T95" fmla="*/ 4348 h 16036"/>
                <a:gd name="T96" fmla="*/ 8786 w 16419"/>
                <a:gd name="T97" fmla="*/ 4626 h 16036"/>
                <a:gd name="T98" fmla="*/ 6848 w 16419"/>
                <a:gd name="T99" fmla="*/ 13930 h 16036"/>
                <a:gd name="T100" fmla="*/ 6020 w 16419"/>
                <a:gd name="T101" fmla="*/ 12187 h 16036"/>
                <a:gd name="T102" fmla="*/ 7521 w 16419"/>
                <a:gd name="T103" fmla="*/ 11934 h 16036"/>
                <a:gd name="T104" fmla="*/ 12063 w 16419"/>
                <a:gd name="T105" fmla="*/ 6494 h 16036"/>
                <a:gd name="T106" fmla="*/ 11695 w 16419"/>
                <a:gd name="T107" fmla="*/ 4461 h 16036"/>
                <a:gd name="T108" fmla="*/ 13078 w 16419"/>
                <a:gd name="T109" fmla="*/ 3710 h 16036"/>
                <a:gd name="T110" fmla="*/ 14700 w 16419"/>
                <a:gd name="T111" fmla="*/ 5106 h 16036"/>
                <a:gd name="T112" fmla="*/ 6960 w 16419"/>
                <a:gd name="T113" fmla="*/ 92 h 16036"/>
                <a:gd name="T114" fmla="*/ 498 w 16419"/>
                <a:gd name="T115" fmla="*/ 5261 h 16036"/>
                <a:gd name="T116" fmla="*/ 2132 w 16419"/>
                <a:gd name="T117" fmla="*/ 13409 h 16036"/>
                <a:gd name="T118" fmla="*/ 10261 w 16419"/>
                <a:gd name="T119" fmla="*/ 15783 h 16036"/>
                <a:gd name="T120" fmla="*/ 16160 w 16419"/>
                <a:gd name="T121" fmla="*/ 10021 h 16036"/>
                <a:gd name="T122" fmla="*/ 13729 w 16419"/>
                <a:gd name="T123" fmla="*/ 2083 h 160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19" h="16036">
                  <a:moveTo>
                    <a:pt x="13248" y="12967"/>
                  </a:moveTo>
                  <a:lnTo>
                    <a:pt x="13139" y="12892"/>
                  </a:lnTo>
                  <a:lnTo>
                    <a:pt x="13030" y="12819"/>
                  </a:lnTo>
                  <a:lnTo>
                    <a:pt x="12919" y="12748"/>
                  </a:lnTo>
                  <a:lnTo>
                    <a:pt x="12807" y="12676"/>
                  </a:lnTo>
                  <a:lnTo>
                    <a:pt x="12693" y="12608"/>
                  </a:lnTo>
                  <a:lnTo>
                    <a:pt x="12579" y="12541"/>
                  </a:lnTo>
                  <a:lnTo>
                    <a:pt x="12463" y="12476"/>
                  </a:lnTo>
                  <a:lnTo>
                    <a:pt x="12347" y="12413"/>
                  </a:lnTo>
                  <a:lnTo>
                    <a:pt x="12229" y="12351"/>
                  </a:lnTo>
                  <a:lnTo>
                    <a:pt x="12110" y="12291"/>
                  </a:lnTo>
                  <a:lnTo>
                    <a:pt x="12051" y="12261"/>
                  </a:lnTo>
                  <a:lnTo>
                    <a:pt x="11990" y="12231"/>
                  </a:lnTo>
                  <a:lnTo>
                    <a:pt x="11930" y="12203"/>
                  </a:lnTo>
                  <a:lnTo>
                    <a:pt x="11869" y="12175"/>
                  </a:lnTo>
                  <a:lnTo>
                    <a:pt x="11808" y="12147"/>
                  </a:lnTo>
                  <a:lnTo>
                    <a:pt x="11747" y="12120"/>
                  </a:lnTo>
                  <a:lnTo>
                    <a:pt x="11686" y="12094"/>
                  </a:lnTo>
                  <a:lnTo>
                    <a:pt x="11625" y="12068"/>
                  </a:lnTo>
                  <a:lnTo>
                    <a:pt x="11562" y="12042"/>
                  </a:lnTo>
                  <a:lnTo>
                    <a:pt x="11499" y="12017"/>
                  </a:lnTo>
                  <a:lnTo>
                    <a:pt x="11438" y="11992"/>
                  </a:lnTo>
                  <a:lnTo>
                    <a:pt x="11374" y="11968"/>
                  </a:lnTo>
                  <a:lnTo>
                    <a:pt x="11419" y="11863"/>
                  </a:lnTo>
                  <a:lnTo>
                    <a:pt x="11463" y="11756"/>
                  </a:lnTo>
                  <a:lnTo>
                    <a:pt x="11505" y="11649"/>
                  </a:lnTo>
                  <a:lnTo>
                    <a:pt x="11546" y="11541"/>
                  </a:lnTo>
                  <a:lnTo>
                    <a:pt x="11585" y="11433"/>
                  </a:lnTo>
                  <a:lnTo>
                    <a:pt x="11624" y="11323"/>
                  </a:lnTo>
                  <a:lnTo>
                    <a:pt x="11661" y="11214"/>
                  </a:lnTo>
                  <a:lnTo>
                    <a:pt x="11696" y="11104"/>
                  </a:lnTo>
                  <a:lnTo>
                    <a:pt x="11731" y="10993"/>
                  </a:lnTo>
                  <a:lnTo>
                    <a:pt x="11765" y="10880"/>
                  </a:lnTo>
                  <a:lnTo>
                    <a:pt x="11798" y="10768"/>
                  </a:lnTo>
                  <a:lnTo>
                    <a:pt x="11829" y="10655"/>
                  </a:lnTo>
                  <a:lnTo>
                    <a:pt x="11859" y="10542"/>
                  </a:lnTo>
                  <a:lnTo>
                    <a:pt x="11887" y="10427"/>
                  </a:lnTo>
                  <a:lnTo>
                    <a:pt x="11914" y="10312"/>
                  </a:lnTo>
                  <a:lnTo>
                    <a:pt x="11941" y="10197"/>
                  </a:lnTo>
                  <a:lnTo>
                    <a:pt x="11965" y="10081"/>
                  </a:lnTo>
                  <a:lnTo>
                    <a:pt x="11988" y="9964"/>
                  </a:lnTo>
                  <a:lnTo>
                    <a:pt x="12010" y="9847"/>
                  </a:lnTo>
                  <a:lnTo>
                    <a:pt x="12031" y="9729"/>
                  </a:lnTo>
                  <a:lnTo>
                    <a:pt x="12051" y="9611"/>
                  </a:lnTo>
                  <a:lnTo>
                    <a:pt x="12068" y="9492"/>
                  </a:lnTo>
                  <a:lnTo>
                    <a:pt x="12084" y="9373"/>
                  </a:lnTo>
                  <a:lnTo>
                    <a:pt x="12100" y="9253"/>
                  </a:lnTo>
                  <a:lnTo>
                    <a:pt x="12113" y="9133"/>
                  </a:lnTo>
                  <a:lnTo>
                    <a:pt x="12126" y="9011"/>
                  </a:lnTo>
                  <a:lnTo>
                    <a:pt x="12137" y="8890"/>
                  </a:lnTo>
                  <a:lnTo>
                    <a:pt x="12147" y="8769"/>
                  </a:lnTo>
                  <a:lnTo>
                    <a:pt x="12155" y="8646"/>
                  </a:lnTo>
                  <a:lnTo>
                    <a:pt x="12161" y="8523"/>
                  </a:lnTo>
                  <a:lnTo>
                    <a:pt x="12166" y="8400"/>
                  </a:lnTo>
                  <a:lnTo>
                    <a:pt x="12171" y="8277"/>
                  </a:lnTo>
                  <a:lnTo>
                    <a:pt x="15347" y="8277"/>
                  </a:lnTo>
                  <a:lnTo>
                    <a:pt x="15337" y="8448"/>
                  </a:lnTo>
                  <a:lnTo>
                    <a:pt x="15325" y="8617"/>
                  </a:lnTo>
                  <a:lnTo>
                    <a:pt x="15309" y="8786"/>
                  </a:lnTo>
                  <a:lnTo>
                    <a:pt x="15287" y="8954"/>
                  </a:lnTo>
                  <a:lnTo>
                    <a:pt x="15262" y="9119"/>
                  </a:lnTo>
                  <a:lnTo>
                    <a:pt x="15234" y="9285"/>
                  </a:lnTo>
                  <a:lnTo>
                    <a:pt x="15201" y="9449"/>
                  </a:lnTo>
                  <a:lnTo>
                    <a:pt x="15164" y="9612"/>
                  </a:lnTo>
                  <a:lnTo>
                    <a:pt x="15124" y="9772"/>
                  </a:lnTo>
                  <a:lnTo>
                    <a:pt x="15080" y="9931"/>
                  </a:lnTo>
                  <a:lnTo>
                    <a:pt x="15032" y="10090"/>
                  </a:lnTo>
                  <a:lnTo>
                    <a:pt x="14980" y="10246"/>
                  </a:lnTo>
                  <a:lnTo>
                    <a:pt x="14925" y="10400"/>
                  </a:lnTo>
                  <a:lnTo>
                    <a:pt x="14866" y="10554"/>
                  </a:lnTo>
                  <a:lnTo>
                    <a:pt x="14804" y="10705"/>
                  </a:lnTo>
                  <a:lnTo>
                    <a:pt x="14738" y="10854"/>
                  </a:lnTo>
                  <a:lnTo>
                    <a:pt x="14668" y="11002"/>
                  </a:lnTo>
                  <a:lnTo>
                    <a:pt x="14596" y="11148"/>
                  </a:lnTo>
                  <a:lnTo>
                    <a:pt x="14521" y="11292"/>
                  </a:lnTo>
                  <a:lnTo>
                    <a:pt x="14441" y="11434"/>
                  </a:lnTo>
                  <a:lnTo>
                    <a:pt x="14358" y="11574"/>
                  </a:lnTo>
                  <a:lnTo>
                    <a:pt x="14272" y="11712"/>
                  </a:lnTo>
                  <a:lnTo>
                    <a:pt x="14183" y="11848"/>
                  </a:lnTo>
                  <a:lnTo>
                    <a:pt x="14092" y="11981"/>
                  </a:lnTo>
                  <a:lnTo>
                    <a:pt x="13996" y="12113"/>
                  </a:lnTo>
                  <a:lnTo>
                    <a:pt x="13898" y="12241"/>
                  </a:lnTo>
                  <a:lnTo>
                    <a:pt x="13797" y="12369"/>
                  </a:lnTo>
                  <a:lnTo>
                    <a:pt x="13693" y="12493"/>
                  </a:lnTo>
                  <a:lnTo>
                    <a:pt x="13586" y="12615"/>
                  </a:lnTo>
                  <a:lnTo>
                    <a:pt x="13476" y="12735"/>
                  </a:lnTo>
                  <a:lnTo>
                    <a:pt x="13364" y="12852"/>
                  </a:lnTo>
                  <a:lnTo>
                    <a:pt x="13248" y="12967"/>
                  </a:lnTo>
                  <a:close/>
                  <a:moveTo>
                    <a:pt x="1073" y="8277"/>
                  </a:moveTo>
                  <a:lnTo>
                    <a:pt x="4248" y="8277"/>
                  </a:lnTo>
                  <a:lnTo>
                    <a:pt x="4253" y="8400"/>
                  </a:lnTo>
                  <a:lnTo>
                    <a:pt x="4258" y="8523"/>
                  </a:lnTo>
                  <a:lnTo>
                    <a:pt x="4265" y="8646"/>
                  </a:lnTo>
                  <a:lnTo>
                    <a:pt x="4273" y="8769"/>
                  </a:lnTo>
                  <a:lnTo>
                    <a:pt x="4282" y="8890"/>
                  </a:lnTo>
                  <a:lnTo>
                    <a:pt x="4294" y="9011"/>
                  </a:lnTo>
                  <a:lnTo>
                    <a:pt x="4306" y="9133"/>
                  </a:lnTo>
                  <a:lnTo>
                    <a:pt x="4319" y="9253"/>
                  </a:lnTo>
                  <a:lnTo>
                    <a:pt x="4335" y="9373"/>
                  </a:lnTo>
                  <a:lnTo>
                    <a:pt x="4351" y="9492"/>
                  </a:lnTo>
                  <a:lnTo>
                    <a:pt x="4370" y="9611"/>
                  </a:lnTo>
                  <a:lnTo>
                    <a:pt x="4388" y="9729"/>
                  </a:lnTo>
                  <a:lnTo>
                    <a:pt x="4410" y="9847"/>
                  </a:lnTo>
                  <a:lnTo>
                    <a:pt x="4431" y="9964"/>
                  </a:lnTo>
                  <a:lnTo>
                    <a:pt x="4455" y="10081"/>
                  </a:lnTo>
                  <a:lnTo>
                    <a:pt x="4479" y="10197"/>
                  </a:lnTo>
                  <a:lnTo>
                    <a:pt x="4505" y="10312"/>
                  </a:lnTo>
                  <a:lnTo>
                    <a:pt x="4533" y="10427"/>
                  </a:lnTo>
                  <a:lnTo>
                    <a:pt x="4560" y="10542"/>
                  </a:lnTo>
                  <a:lnTo>
                    <a:pt x="4590" y="10655"/>
                  </a:lnTo>
                  <a:lnTo>
                    <a:pt x="4622" y="10768"/>
                  </a:lnTo>
                  <a:lnTo>
                    <a:pt x="4654" y="10880"/>
                  </a:lnTo>
                  <a:lnTo>
                    <a:pt x="4688" y="10993"/>
                  </a:lnTo>
                  <a:lnTo>
                    <a:pt x="4723" y="11104"/>
                  </a:lnTo>
                  <a:lnTo>
                    <a:pt x="4758" y="11214"/>
                  </a:lnTo>
                  <a:lnTo>
                    <a:pt x="4795" y="11323"/>
                  </a:lnTo>
                  <a:lnTo>
                    <a:pt x="4834" y="11433"/>
                  </a:lnTo>
                  <a:lnTo>
                    <a:pt x="4874" y="11541"/>
                  </a:lnTo>
                  <a:lnTo>
                    <a:pt x="4915" y="11649"/>
                  </a:lnTo>
                  <a:lnTo>
                    <a:pt x="4958" y="11756"/>
                  </a:lnTo>
                  <a:lnTo>
                    <a:pt x="5001" y="11863"/>
                  </a:lnTo>
                  <a:lnTo>
                    <a:pt x="5045" y="11968"/>
                  </a:lnTo>
                  <a:lnTo>
                    <a:pt x="4982" y="11992"/>
                  </a:lnTo>
                  <a:lnTo>
                    <a:pt x="4920" y="12017"/>
                  </a:lnTo>
                  <a:lnTo>
                    <a:pt x="4857" y="12042"/>
                  </a:lnTo>
                  <a:lnTo>
                    <a:pt x="4795" y="12068"/>
                  </a:lnTo>
                  <a:lnTo>
                    <a:pt x="4734" y="12094"/>
                  </a:lnTo>
                  <a:lnTo>
                    <a:pt x="4672" y="12120"/>
                  </a:lnTo>
                  <a:lnTo>
                    <a:pt x="4611" y="12147"/>
                  </a:lnTo>
                  <a:lnTo>
                    <a:pt x="4550" y="12175"/>
                  </a:lnTo>
                  <a:lnTo>
                    <a:pt x="4490" y="12203"/>
                  </a:lnTo>
                  <a:lnTo>
                    <a:pt x="4429" y="12231"/>
                  </a:lnTo>
                  <a:lnTo>
                    <a:pt x="4370" y="12261"/>
                  </a:lnTo>
                  <a:lnTo>
                    <a:pt x="4309" y="12291"/>
                  </a:lnTo>
                  <a:lnTo>
                    <a:pt x="4191" y="12351"/>
                  </a:lnTo>
                  <a:lnTo>
                    <a:pt x="4073" y="12413"/>
                  </a:lnTo>
                  <a:lnTo>
                    <a:pt x="3956" y="12476"/>
                  </a:lnTo>
                  <a:lnTo>
                    <a:pt x="3841" y="12541"/>
                  </a:lnTo>
                  <a:lnTo>
                    <a:pt x="3726" y="12608"/>
                  </a:lnTo>
                  <a:lnTo>
                    <a:pt x="3613" y="12676"/>
                  </a:lnTo>
                  <a:lnTo>
                    <a:pt x="3501" y="12748"/>
                  </a:lnTo>
                  <a:lnTo>
                    <a:pt x="3389" y="12819"/>
                  </a:lnTo>
                  <a:lnTo>
                    <a:pt x="3280" y="12892"/>
                  </a:lnTo>
                  <a:lnTo>
                    <a:pt x="3171" y="12967"/>
                  </a:lnTo>
                  <a:lnTo>
                    <a:pt x="3056" y="12852"/>
                  </a:lnTo>
                  <a:lnTo>
                    <a:pt x="2943" y="12735"/>
                  </a:lnTo>
                  <a:lnTo>
                    <a:pt x="2833" y="12615"/>
                  </a:lnTo>
                  <a:lnTo>
                    <a:pt x="2727" y="12493"/>
                  </a:lnTo>
                  <a:lnTo>
                    <a:pt x="2623" y="12369"/>
                  </a:lnTo>
                  <a:lnTo>
                    <a:pt x="2521" y="12241"/>
                  </a:lnTo>
                  <a:lnTo>
                    <a:pt x="2423" y="12113"/>
                  </a:lnTo>
                  <a:lnTo>
                    <a:pt x="2328" y="11981"/>
                  </a:lnTo>
                  <a:lnTo>
                    <a:pt x="2236" y="11848"/>
                  </a:lnTo>
                  <a:lnTo>
                    <a:pt x="2147" y="11712"/>
                  </a:lnTo>
                  <a:lnTo>
                    <a:pt x="2062" y="11574"/>
                  </a:lnTo>
                  <a:lnTo>
                    <a:pt x="1978" y="11434"/>
                  </a:lnTo>
                  <a:lnTo>
                    <a:pt x="1899" y="11292"/>
                  </a:lnTo>
                  <a:lnTo>
                    <a:pt x="1824" y="11148"/>
                  </a:lnTo>
                  <a:lnTo>
                    <a:pt x="1751" y="11002"/>
                  </a:lnTo>
                  <a:lnTo>
                    <a:pt x="1682" y="10854"/>
                  </a:lnTo>
                  <a:lnTo>
                    <a:pt x="1615" y="10705"/>
                  </a:lnTo>
                  <a:lnTo>
                    <a:pt x="1554" y="10554"/>
                  </a:lnTo>
                  <a:lnTo>
                    <a:pt x="1494" y="10400"/>
                  </a:lnTo>
                  <a:lnTo>
                    <a:pt x="1440" y="10246"/>
                  </a:lnTo>
                  <a:lnTo>
                    <a:pt x="1387" y="10090"/>
                  </a:lnTo>
                  <a:lnTo>
                    <a:pt x="1340" y="9931"/>
                  </a:lnTo>
                  <a:lnTo>
                    <a:pt x="1296" y="9772"/>
                  </a:lnTo>
                  <a:lnTo>
                    <a:pt x="1255" y="9612"/>
                  </a:lnTo>
                  <a:lnTo>
                    <a:pt x="1219" y="9449"/>
                  </a:lnTo>
                  <a:lnTo>
                    <a:pt x="1186" y="9285"/>
                  </a:lnTo>
                  <a:lnTo>
                    <a:pt x="1158" y="9119"/>
                  </a:lnTo>
                  <a:lnTo>
                    <a:pt x="1132" y="8954"/>
                  </a:lnTo>
                  <a:lnTo>
                    <a:pt x="1111" y="8786"/>
                  </a:lnTo>
                  <a:lnTo>
                    <a:pt x="1095" y="8617"/>
                  </a:lnTo>
                  <a:lnTo>
                    <a:pt x="1082" y="8448"/>
                  </a:lnTo>
                  <a:lnTo>
                    <a:pt x="1073" y="8277"/>
                  </a:lnTo>
                  <a:close/>
                  <a:moveTo>
                    <a:pt x="2878" y="3381"/>
                  </a:moveTo>
                  <a:lnTo>
                    <a:pt x="2935" y="3423"/>
                  </a:lnTo>
                  <a:lnTo>
                    <a:pt x="2992" y="3466"/>
                  </a:lnTo>
                  <a:lnTo>
                    <a:pt x="3050" y="3507"/>
                  </a:lnTo>
                  <a:lnTo>
                    <a:pt x="3107" y="3549"/>
                  </a:lnTo>
                  <a:lnTo>
                    <a:pt x="3165" y="3590"/>
                  </a:lnTo>
                  <a:lnTo>
                    <a:pt x="3223" y="3630"/>
                  </a:lnTo>
                  <a:lnTo>
                    <a:pt x="3282" y="3670"/>
                  </a:lnTo>
                  <a:lnTo>
                    <a:pt x="3341" y="3710"/>
                  </a:lnTo>
                  <a:lnTo>
                    <a:pt x="3401" y="3749"/>
                  </a:lnTo>
                  <a:lnTo>
                    <a:pt x="3460" y="3789"/>
                  </a:lnTo>
                  <a:lnTo>
                    <a:pt x="3521" y="3827"/>
                  </a:lnTo>
                  <a:lnTo>
                    <a:pt x="3581" y="3865"/>
                  </a:lnTo>
                  <a:lnTo>
                    <a:pt x="3642" y="3902"/>
                  </a:lnTo>
                  <a:lnTo>
                    <a:pt x="3702" y="3939"/>
                  </a:lnTo>
                  <a:lnTo>
                    <a:pt x="3764" y="3975"/>
                  </a:lnTo>
                  <a:lnTo>
                    <a:pt x="3826" y="4011"/>
                  </a:lnTo>
                  <a:lnTo>
                    <a:pt x="3887" y="4046"/>
                  </a:lnTo>
                  <a:lnTo>
                    <a:pt x="3950" y="4081"/>
                  </a:lnTo>
                  <a:lnTo>
                    <a:pt x="4012" y="4116"/>
                  </a:lnTo>
                  <a:lnTo>
                    <a:pt x="4076" y="4150"/>
                  </a:lnTo>
                  <a:lnTo>
                    <a:pt x="4139" y="4183"/>
                  </a:lnTo>
                  <a:lnTo>
                    <a:pt x="4202" y="4216"/>
                  </a:lnTo>
                  <a:lnTo>
                    <a:pt x="4267" y="4249"/>
                  </a:lnTo>
                  <a:lnTo>
                    <a:pt x="4331" y="4281"/>
                  </a:lnTo>
                  <a:lnTo>
                    <a:pt x="4395" y="4312"/>
                  </a:lnTo>
                  <a:lnTo>
                    <a:pt x="4461" y="4343"/>
                  </a:lnTo>
                  <a:lnTo>
                    <a:pt x="4525" y="4374"/>
                  </a:lnTo>
                  <a:lnTo>
                    <a:pt x="4591" y="4403"/>
                  </a:lnTo>
                  <a:lnTo>
                    <a:pt x="4657" y="4432"/>
                  </a:lnTo>
                  <a:lnTo>
                    <a:pt x="4724" y="4461"/>
                  </a:lnTo>
                  <a:lnTo>
                    <a:pt x="4789" y="4489"/>
                  </a:lnTo>
                  <a:lnTo>
                    <a:pt x="4856" y="4517"/>
                  </a:lnTo>
                  <a:lnTo>
                    <a:pt x="4822" y="4611"/>
                  </a:lnTo>
                  <a:lnTo>
                    <a:pt x="4789" y="4706"/>
                  </a:lnTo>
                  <a:lnTo>
                    <a:pt x="4756" y="4801"/>
                  </a:lnTo>
                  <a:lnTo>
                    <a:pt x="4726" y="4897"/>
                  </a:lnTo>
                  <a:lnTo>
                    <a:pt x="4695" y="4993"/>
                  </a:lnTo>
                  <a:lnTo>
                    <a:pt x="4665" y="5090"/>
                  </a:lnTo>
                  <a:lnTo>
                    <a:pt x="4637" y="5188"/>
                  </a:lnTo>
                  <a:lnTo>
                    <a:pt x="4610" y="5285"/>
                  </a:lnTo>
                  <a:lnTo>
                    <a:pt x="4583" y="5383"/>
                  </a:lnTo>
                  <a:lnTo>
                    <a:pt x="4557" y="5482"/>
                  </a:lnTo>
                  <a:lnTo>
                    <a:pt x="4533" y="5582"/>
                  </a:lnTo>
                  <a:lnTo>
                    <a:pt x="4509" y="5681"/>
                  </a:lnTo>
                  <a:lnTo>
                    <a:pt x="4486" y="5781"/>
                  </a:lnTo>
                  <a:lnTo>
                    <a:pt x="4465" y="5881"/>
                  </a:lnTo>
                  <a:lnTo>
                    <a:pt x="4444" y="5982"/>
                  </a:lnTo>
                  <a:lnTo>
                    <a:pt x="4425" y="6084"/>
                  </a:lnTo>
                  <a:lnTo>
                    <a:pt x="4406" y="6186"/>
                  </a:lnTo>
                  <a:lnTo>
                    <a:pt x="4388" y="6288"/>
                  </a:lnTo>
                  <a:lnTo>
                    <a:pt x="4372" y="6391"/>
                  </a:lnTo>
                  <a:lnTo>
                    <a:pt x="4356" y="6494"/>
                  </a:lnTo>
                  <a:lnTo>
                    <a:pt x="4342" y="6598"/>
                  </a:lnTo>
                  <a:lnTo>
                    <a:pt x="4328" y="6701"/>
                  </a:lnTo>
                  <a:lnTo>
                    <a:pt x="4315" y="6805"/>
                  </a:lnTo>
                  <a:lnTo>
                    <a:pt x="4304" y="6911"/>
                  </a:lnTo>
                  <a:lnTo>
                    <a:pt x="4294" y="7015"/>
                  </a:lnTo>
                  <a:lnTo>
                    <a:pt x="4284" y="7120"/>
                  </a:lnTo>
                  <a:lnTo>
                    <a:pt x="4275" y="7226"/>
                  </a:lnTo>
                  <a:lnTo>
                    <a:pt x="4268" y="7332"/>
                  </a:lnTo>
                  <a:lnTo>
                    <a:pt x="4262" y="7439"/>
                  </a:lnTo>
                  <a:lnTo>
                    <a:pt x="4257" y="7545"/>
                  </a:lnTo>
                  <a:lnTo>
                    <a:pt x="4253" y="7652"/>
                  </a:lnTo>
                  <a:lnTo>
                    <a:pt x="4248" y="7759"/>
                  </a:lnTo>
                  <a:lnTo>
                    <a:pt x="1073" y="7759"/>
                  </a:lnTo>
                  <a:lnTo>
                    <a:pt x="1081" y="7602"/>
                  </a:lnTo>
                  <a:lnTo>
                    <a:pt x="1092" y="7446"/>
                  </a:lnTo>
                  <a:lnTo>
                    <a:pt x="1107" y="7291"/>
                  </a:lnTo>
                  <a:lnTo>
                    <a:pt x="1125" y="7137"/>
                  </a:lnTo>
                  <a:lnTo>
                    <a:pt x="1146" y="6984"/>
                  </a:lnTo>
                  <a:lnTo>
                    <a:pt x="1171" y="6832"/>
                  </a:lnTo>
                  <a:lnTo>
                    <a:pt x="1200" y="6681"/>
                  </a:lnTo>
                  <a:lnTo>
                    <a:pt x="1231" y="6532"/>
                  </a:lnTo>
                  <a:lnTo>
                    <a:pt x="1265" y="6383"/>
                  </a:lnTo>
                  <a:lnTo>
                    <a:pt x="1304" y="6236"/>
                  </a:lnTo>
                  <a:lnTo>
                    <a:pt x="1345" y="6090"/>
                  </a:lnTo>
                  <a:lnTo>
                    <a:pt x="1389" y="5945"/>
                  </a:lnTo>
                  <a:lnTo>
                    <a:pt x="1437" y="5802"/>
                  </a:lnTo>
                  <a:lnTo>
                    <a:pt x="1487" y="5660"/>
                  </a:lnTo>
                  <a:lnTo>
                    <a:pt x="1540" y="5519"/>
                  </a:lnTo>
                  <a:lnTo>
                    <a:pt x="1597" y="5380"/>
                  </a:lnTo>
                  <a:lnTo>
                    <a:pt x="1656" y="5243"/>
                  </a:lnTo>
                  <a:lnTo>
                    <a:pt x="1719" y="5106"/>
                  </a:lnTo>
                  <a:lnTo>
                    <a:pt x="1785" y="4972"/>
                  </a:lnTo>
                  <a:lnTo>
                    <a:pt x="1852" y="4839"/>
                  </a:lnTo>
                  <a:lnTo>
                    <a:pt x="1923" y="4708"/>
                  </a:lnTo>
                  <a:lnTo>
                    <a:pt x="1997" y="4578"/>
                  </a:lnTo>
                  <a:lnTo>
                    <a:pt x="2074" y="4450"/>
                  </a:lnTo>
                  <a:lnTo>
                    <a:pt x="2153" y="4324"/>
                  </a:lnTo>
                  <a:lnTo>
                    <a:pt x="2234" y="4199"/>
                  </a:lnTo>
                  <a:lnTo>
                    <a:pt x="2319" y="4076"/>
                  </a:lnTo>
                  <a:lnTo>
                    <a:pt x="2405" y="3956"/>
                  </a:lnTo>
                  <a:lnTo>
                    <a:pt x="2496" y="3837"/>
                  </a:lnTo>
                  <a:lnTo>
                    <a:pt x="2587" y="3719"/>
                  </a:lnTo>
                  <a:lnTo>
                    <a:pt x="2681" y="3605"/>
                  </a:lnTo>
                  <a:lnTo>
                    <a:pt x="2779" y="3492"/>
                  </a:lnTo>
                  <a:lnTo>
                    <a:pt x="2878" y="3381"/>
                  </a:lnTo>
                  <a:close/>
                  <a:moveTo>
                    <a:pt x="8474" y="7759"/>
                  </a:moveTo>
                  <a:lnTo>
                    <a:pt x="8474" y="5160"/>
                  </a:lnTo>
                  <a:lnTo>
                    <a:pt x="8559" y="5157"/>
                  </a:lnTo>
                  <a:lnTo>
                    <a:pt x="8644" y="5153"/>
                  </a:lnTo>
                  <a:lnTo>
                    <a:pt x="8728" y="5149"/>
                  </a:lnTo>
                  <a:lnTo>
                    <a:pt x="8812" y="5143"/>
                  </a:lnTo>
                  <a:lnTo>
                    <a:pt x="8896" y="5137"/>
                  </a:lnTo>
                  <a:lnTo>
                    <a:pt x="8980" y="5131"/>
                  </a:lnTo>
                  <a:lnTo>
                    <a:pt x="9063" y="5122"/>
                  </a:lnTo>
                  <a:lnTo>
                    <a:pt x="9146" y="5114"/>
                  </a:lnTo>
                  <a:lnTo>
                    <a:pt x="9230" y="5105"/>
                  </a:lnTo>
                  <a:lnTo>
                    <a:pt x="9313" y="5095"/>
                  </a:lnTo>
                  <a:lnTo>
                    <a:pt x="9395" y="5084"/>
                  </a:lnTo>
                  <a:lnTo>
                    <a:pt x="9477" y="5073"/>
                  </a:lnTo>
                  <a:lnTo>
                    <a:pt x="9559" y="5061"/>
                  </a:lnTo>
                  <a:lnTo>
                    <a:pt x="9641" y="5048"/>
                  </a:lnTo>
                  <a:lnTo>
                    <a:pt x="9723" y="5035"/>
                  </a:lnTo>
                  <a:lnTo>
                    <a:pt x="9804" y="5020"/>
                  </a:lnTo>
                  <a:lnTo>
                    <a:pt x="9885" y="5005"/>
                  </a:lnTo>
                  <a:lnTo>
                    <a:pt x="9965" y="4990"/>
                  </a:lnTo>
                  <a:lnTo>
                    <a:pt x="10046" y="4973"/>
                  </a:lnTo>
                  <a:lnTo>
                    <a:pt x="10126" y="4956"/>
                  </a:lnTo>
                  <a:lnTo>
                    <a:pt x="10206" y="4938"/>
                  </a:lnTo>
                  <a:lnTo>
                    <a:pt x="10287" y="4920"/>
                  </a:lnTo>
                  <a:lnTo>
                    <a:pt x="10366" y="4900"/>
                  </a:lnTo>
                  <a:lnTo>
                    <a:pt x="10445" y="4880"/>
                  </a:lnTo>
                  <a:lnTo>
                    <a:pt x="10524" y="4860"/>
                  </a:lnTo>
                  <a:lnTo>
                    <a:pt x="10602" y="4838"/>
                  </a:lnTo>
                  <a:lnTo>
                    <a:pt x="10681" y="4816"/>
                  </a:lnTo>
                  <a:lnTo>
                    <a:pt x="10759" y="4793"/>
                  </a:lnTo>
                  <a:lnTo>
                    <a:pt x="10836" y="4770"/>
                  </a:lnTo>
                  <a:lnTo>
                    <a:pt x="10914" y="4746"/>
                  </a:lnTo>
                  <a:lnTo>
                    <a:pt x="10990" y="4721"/>
                  </a:lnTo>
                  <a:lnTo>
                    <a:pt x="11066" y="4695"/>
                  </a:lnTo>
                  <a:lnTo>
                    <a:pt x="11099" y="4784"/>
                  </a:lnTo>
                  <a:lnTo>
                    <a:pt x="11130" y="4873"/>
                  </a:lnTo>
                  <a:lnTo>
                    <a:pt x="11161" y="4963"/>
                  </a:lnTo>
                  <a:lnTo>
                    <a:pt x="11191" y="5053"/>
                  </a:lnTo>
                  <a:lnTo>
                    <a:pt x="11219" y="5145"/>
                  </a:lnTo>
                  <a:lnTo>
                    <a:pt x="11247" y="5236"/>
                  </a:lnTo>
                  <a:lnTo>
                    <a:pt x="11274" y="5328"/>
                  </a:lnTo>
                  <a:lnTo>
                    <a:pt x="11299" y="5420"/>
                  </a:lnTo>
                  <a:lnTo>
                    <a:pt x="11325" y="5513"/>
                  </a:lnTo>
                  <a:lnTo>
                    <a:pt x="11349" y="5607"/>
                  </a:lnTo>
                  <a:lnTo>
                    <a:pt x="11372" y="5701"/>
                  </a:lnTo>
                  <a:lnTo>
                    <a:pt x="11395" y="5795"/>
                  </a:lnTo>
                  <a:lnTo>
                    <a:pt x="11415" y="5889"/>
                  </a:lnTo>
                  <a:lnTo>
                    <a:pt x="11436" y="5984"/>
                  </a:lnTo>
                  <a:lnTo>
                    <a:pt x="11455" y="6080"/>
                  </a:lnTo>
                  <a:lnTo>
                    <a:pt x="11474" y="6176"/>
                  </a:lnTo>
                  <a:lnTo>
                    <a:pt x="11491" y="6272"/>
                  </a:lnTo>
                  <a:lnTo>
                    <a:pt x="11509" y="6368"/>
                  </a:lnTo>
                  <a:lnTo>
                    <a:pt x="11524" y="6466"/>
                  </a:lnTo>
                  <a:lnTo>
                    <a:pt x="11538" y="6563"/>
                  </a:lnTo>
                  <a:lnTo>
                    <a:pt x="11553" y="6661"/>
                  </a:lnTo>
                  <a:lnTo>
                    <a:pt x="11565" y="6759"/>
                  </a:lnTo>
                  <a:lnTo>
                    <a:pt x="11577" y="6857"/>
                  </a:lnTo>
                  <a:lnTo>
                    <a:pt x="11589" y="6957"/>
                  </a:lnTo>
                  <a:lnTo>
                    <a:pt x="11598" y="7056"/>
                  </a:lnTo>
                  <a:lnTo>
                    <a:pt x="11607" y="7155"/>
                  </a:lnTo>
                  <a:lnTo>
                    <a:pt x="11615" y="7255"/>
                  </a:lnTo>
                  <a:lnTo>
                    <a:pt x="11623" y="7356"/>
                  </a:lnTo>
                  <a:lnTo>
                    <a:pt x="11629" y="7456"/>
                  </a:lnTo>
                  <a:lnTo>
                    <a:pt x="11634" y="7557"/>
                  </a:lnTo>
                  <a:lnTo>
                    <a:pt x="11638" y="7658"/>
                  </a:lnTo>
                  <a:lnTo>
                    <a:pt x="11641" y="7759"/>
                  </a:lnTo>
                  <a:lnTo>
                    <a:pt x="8474" y="7759"/>
                  </a:lnTo>
                  <a:close/>
                  <a:moveTo>
                    <a:pt x="10879" y="11791"/>
                  </a:moveTo>
                  <a:lnTo>
                    <a:pt x="10807" y="11768"/>
                  </a:lnTo>
                  <a:lnTo>
                    <a:pt x="10735" y="11747"/>
                  </a:lnTo>
                  <a:lnTo>
                    <a:pt x="10663" y="11726"/>
                  </a:lnTo>
                  <a:lnTo>
                    <a:pt x="10590" y="11706"/>
                  </a:lnTo>
                  <a:lnTo>
                    <a:pt x="10518" y="11686"/>
                  </a:lnTo>
                  <a:lnTo>
                    <a:pt x="10446" y="11667"/>
                  </a:lnTo>
                  <a:lnTo>
                    <a:pt x="10373" y="11649"/>
                  </a:lnTo>
                  <a:lnTo>
                    <a:pt x="10299" y="11631"/>
                  </a:lnTo>
                  <a:lnTo>
                    <a:pt x="10226" y="11614"/>
                  </a:lnTo>
                  <a:lnTo>
                    <a:pt x="10152" y="11598"/>
                  </a:lnTo>
                  <a:lnTo>
                    <a:pt x="10078" y="11582"/>
                  </a:lnTo>
                  <a:lnTo>
                    <a:pt x="10003" y="11566"/>
                  </a:lnTo>
                  <a:lnTo>
                    <a:pt x="9929" y="11552"/>
                  </a:lnTo>
                  <a:lnTo>
                    <a:pt x="9854" y="11538"/>
                  </a:lnTo>
                  <a:lnTo>
                    <a:pt x="9780" y="11525"/>
                  </a:lnTo>
                  <a:lnTo>
                    <a:pt x="9704" y="11512"/>
                  </a:lnTo>
                  <a:lnTo>
                    <a:pt x="9629" y="11500"/>
                  </a:lnTo>
                  <a:lnTo>
                    <a:pt x="9553" y="11488"/>
                  </a:lnTo>
                  <a:lnTo>
                    <a:pt x="9477" y="11477"/>
                  </a:lnTo>
                  <a:lnTo>
                    <a:pt x="9401" y="11467"/>
                  </a:lnTo>
                  <a:lnTo>
                    <a:pt x="9325" y="11458"/>
                  </a:lnTo>
                  <a:lnTo>
                    <a:pt x="9249" y="11449"/>
                  </a:lnTo>
                  <a:lnTo>
                    <a:pt x="9172" y="11440"/>
                  </a:lnTo>
                  <a:lnTo>
                    <a:pt x="9095" y="11433"/>
                  </a:lnTo>
                  <a:lnTo>
                    <a:pt x="9018" y="11425"/>
                  </a:lnTo>
                  <a:lnTo>
                    <a:pt x="8941" y="11419"/>
                  </a:lnTo>
                  <a:lnTo>
                    <a:pt x="8864" y="11413"/>
                  </a:lnTo>
                  <a:lnTo>
                    <a:pt x="8786" y="11408"/>
                  </a:lnTo>
                  <a:lnTo>
                    <a:pt x="8708" y="11404"/>
                  </a:lnTo>
                  <a:lnTo>
                    <a:pt x="8630" y="11400"/>
                  </a:lnTo>
                  <a:lnTo>
                    <a:pt x="8552" y="11396"/>
                  </a:lnTo>
                  <a:lnTo>
                    <a:pt x="8474" y="11394"/>
                  </a:lnTo>
                  <a:lnTo>
                    <a:pt x="8474" y="8277"/>
                  </a:lnTo>
                  <a:lnTo>
                    <a:pt x="11641" y="8277"/>
                  </a:lnTo>
                  <a:lnTo>
                    <a:pt x="11637" y="8394"/>
                  </a:lnTo>
                  <a:lnTo>
                    <a:pt x="11632" y="8512"/>
                  </a:lnTo>
                  <a:lnTo>
                    <a:pt x="11626" y="8628"/>
                  </a:lnTo>
                  <a:lnTo>
                    <a:pt x="11617" y="8746"/>
                  </a:lnTo>
                  <a:lnTo>
                    <a:pt x="11608" y="8862"/>
                  </a:lnTo>
                  <a:lnTo>
                    <a:pt x="11598" y="8977"/>
                  </a:lnTo>
                  <a:lnTo>
                    <a:pt x="11586" y="9092"/>
                  </a:lnTo>
                  <a:lnTo>
                    <a:pt x="11572" y="9207"/>
                  </a:lnTo>
                  <a:lnTo>
                    <a:pt x="11558" y="9321"/>
                  </a:lnTo>
                  <a:lnTo>
                    <a:pt x="11542" y="9435"/>
                  </a:lnTo>
                  <a:lnTo>
                    <a:pt x="11525" y="9548"/>
                  </a:lnTo>
                  <a:lnTo>
                    <a:pt x="11506" y="9661"/>
                  </a:lnTo>
                  <a:lnTo>
                    <a:pt x="11486" y="9773"/>
                  </a:lnTo>
                  <a:lnTo>
                    <a:pt x="11466" y="9884"/>
                  </a:lnTo>
                  <a:lnTo>
                    <a:pt x="11443" y="9995"/>
                  </a:lnTo>
                  <a:lnTo>
                    <a:pt x="11419" y="10106"/>
                  </a:lnTo>
                  <a:lnTo>
                    <a:pt x="11395" y="10216"/>
                  </a:lnTo>
                  <a:lnTo>
                    <a:pt x="11368" y="10325"/>
                  </a:lnTo>
                  <a:lnTo>
                    <a:pt x="11341" y="10434"/>
                  </a:lnTo>
                  <a:lnTo>
                    <a:pt x="11313" y="10543"/>
                  </a:lnTo>
                  <a:lnTo>
                    <a:pt x="11283" y="10650"/>
                  </a:lnTo>
                  <a:lnTo>
                    <a:pt x="11252" y="10757"/>
                  </a:lnTo>
                  <a:lnTo>
                    <a:pt x="11220" y="10863"/>
                  </a:lnTo>
                  <a:lnTo>
                    <a:pt x="11186" y="10969"/>
                  </a:lnTo>
                  <a:lnTo>
                    <a:pt x="11152" y="11074"/>
                  </a:lnTo>
                  <a:lnTo>
                    <a:pt x="11117" y="11178"/>
                  </a:lnTo>
                  <a:lnTo>
                    <a:pt x="11080" y="11282"/>
                  </a:lnTo>
                  <a:lnTo>
                    <a:pt x="11042" y="11386"/>
                  </a:lnTo>
                  <a:lnTo>
                    <a:pt x="11003" y="11488"/>
                  </a:lnTo>
                  <a:lnTo>
                    <a:pt x="10962" y="11590"/>
                  </a:lnTo>
                  <a:lnTo>
                    <a:pt x="10921" y="11690"/>
                  </a:lnTo>
                  <a:lnTo>
                    <a:pt x="10879" y="11791"/>
                  </a:lnTo>
                  <a:close/>
                  <a:moveTo>
                    <a:pt x="11162" y="12440"/>
                  </a:moveTo>
                  <a:lnTo>
                    <a:pt x="11275" y="12484"/>
                  </a:lnTo>
                  <a:lnTo>
                    <a:pt x="11387" y="12529"/>
                  </a:lnTo>
                  <a:lnTo>
                    <a:pt x="11497" y="12575"/>
                  </a:lnTo>
                  <a:lnTo>
                    <a:pt x="11606" y="12624"/>
                  </a:lnTo>
                  <a:lnTo>
                    <a:pt x="11715" y="12674"/>
                  </a:lnTo>
                  <a:lnTo>
                    <a:pt x="11824" y="12726"/>
                  </a:lnTo>
                  <a:lnTo>
                    <a:pt x="11930" y="12779"/>
                  </a:lnTo>
                  <a:lnTo>
                    <a:pt x="12036" y="12833"/>
                  </a:lnTo>
                  <a:lnTo>
                    <a:pt x="12142" y="12889"/>
                  </a:lnTo>
                  <a:lnTo>
                    <a:pt x="12245" y="12946"/>
                  </a:lnTo>
                  <a:lnTo>
                    <a:pt x="12349" y="13005"/>
                  </a:lnTo>
                  <a:lnTo>
                    <a:pt x="12451" y="13065"/>
                  </a:lnTo>
                  <a:lnTo>
                    <a:pt x="12552" y="13127"/>
                  </a:lnTo>
                  <a:lnTo>
                    <a:pt x="12653" y="13191"/>
                  </a:lnTo>
                  <a:lnTo>
                    <a:pt x="12751" y="13255"/>
                  </a:lnTo>
                  <a:lnTo>
                    <a:pt x="12850" y="13320"/>
                  </a:lnTo>
                  <a:lnTo>
                    <a:pt x="12759" y="13395"/>
                  </a:lnTo>
                  <a:lnTo>
                    <a:pt x="12666" y="13469"/>
                  </a:lnTo>
                  <a:lnTo>
                    <a:pt x="12573" y="13540"/>
                  </a:lnTo>
                  <a:lnTo>
                    <a:pt x="12477" y="13612"/>
                  </a:lnTo>
                  <a:lnTo>
                    <a:pt x="12381" y="13681"/>
                  </a:lnTo>
                  <a:lnTo>
                    <a:pt x="12283" y="13748"/>
                  </a:lnTo>
                  <a:lnTo>
                    <a:pt x="12185" y="13814"/>
                  </a:lnTo>
                  <a:lnTo>
                    <a:pt x="12084" y="13878"/>
                  </a:lnTo>
                  <a:lnTo>
                    <a:pt x="11984" y="13940"/>
                  </a:lnTo>
                  <a:lnTo>
                    <a:pt x="11881" y="14001"/>
                  </a:lnTo>
                  <a:lnTo>
                    <a:pt x="11779" y="14062"/>
                  </a:lnTo>
                  <a:lnTo>
                    <a:pt x="11674" y="14119"/>
                  </a:lnTo>
                  <a:lnTo>
                    <a:pt x="11568" y="14175"/>
                  </a:lnTo>
                  <a:lnTo>
                    <a:pt x="11461" y="14229"/>
                  </a:lnTo>
                  <a:lnTo>
                    <a:pt x="11354" y="14282"/>
                  </a:lnTo>
                  <a:lnTo>
                    <a:pt x="11245" y="14333"/>
                  </a:lnTo>
                  <a:lnTo>
                    <a:pt x="11136" y="14382"/>
                  </a:lnTo>
                  <a:lnTo>
                    <a:pt x="11025" y="14429"/>
                  </a:lnTo>
                  <a:lnTo>
                    <a:pt x="10914" y="14475"/>
                  </a:lnTo>
                  <a:lnTo>
                    <a:pt x="10802" y="14519"/>
                  </a:lnTo>
                  <a:lnTo>
                    <a:pt x="10688" y="14561"/>
                  </a:lnTo>
                  <a:lnTo>
                    <a:pt x="10573" y="14601"/>
                  </a:lnTo>
                  <a:lnTo>
                    <a:pt x="10458" y="14639"/>
                  </a:lnTo>
                  <a:lnTo>
                    <a:pt x="10342" y="14676"/>
                  </a:lnTo>
                  <a:lnTo>
                    <a:pt x="10225" y="14710"/>
                  </a:lnTo>
                  <a:lnTo>
                    <a:pt x="10107" y="14743"/>
                  </a:lnTo>
                  <a:lnTo>
                    <a:pt x="9989" y="14774"/>
                  </a:lnTo>
                  <a:lnTo>
                    <a:pt x="9869" y="14802"/>
                  </a:lnTo>
                  <a:lnTo>
                    <a:pt x="9749" y="14829"/>
                  </a:lnTo>
                  <a:lnTo>
                    <a:pt x="9628" y="14854"/>
                  </a:lnTo>
                  <a:lnTo>
                    <a:pt x="9507" y="14877"/>
                  </a:lnTo>
                  <a:lnTo>
                    <a:pt x="9383" y="14898"/>
                  </a:lnTo>
                  <a:lnTo>
                    <a:pt x="9450" y="14833"/>
                  </a:lnTo>
                  <a:lnTo>
                    <a:pt x="9516" y="14767"/>
                  </a:lnTo>
                  <a:lnTo>
                    <a:pt x="9582" y="14700"/>
                  </a:lnTo>
                  <a:lnTo>
                    <a:pt x="9645" y="14633"/>
                  </a:lnTo>
                  <a:lnTo>
                    <a:pt x="9710" y="14564"/>
                  </a:lnTo>
                  <a:lnTo>
                    <a:pt x="9772" y="14495"/>
                  </a:lnTo>
                  <a:lnTo>
                    <a:pt x="9835" y="14424"/>
                  </a:lnTo>
                  <a:lnTo>
                    <a:pt x="9897" y="14354"/>
                  </a:lnTo>
                  <a:lnTo>
                    <a:pt x="9958" y="14282"/>
                  </a:lnTo>
                  <a:lnTo>
                    <a:pt x="10019" y="14210"/>
                  </a:lnTo>
                  <a:lnTo>
                    <a:pt x="10078" y="14137"/>
                  </a:lnTo>
                  <a:lnTo>
                    <a:pt x="10138" y="14064"/>
                  </a:lnTo>
                  <a:lnTo>
                    <a:pt x="10195" y="13988"/>
                  </a:lnTo>
                  <a:lnTo>
                    <a:pt x="10254" y="13913"/>
                  </a:lnTo>
                  <a:lnTo>
                    <a:pt x="10310" y="13837"/>
                  </a:lnTo>
                  <a:lnTo>
                    <a:pt x="10367" y="13761"/>
                  </a:lnTo>
                  <a:lnTo>
                    <a:pt x="10422" y="13684"/>
                  </a:lnTo>
                  <a:lnTo>
                    <a:pt x="10476" y="13606"/>
                  </a:lnTo>
                  <a:lnTo>
                    <a:pt x="10531" y="13526"/>
                  </a:lnTo>
                  <a:lnTo>
                    <a:pt x="10584" y="13447"/>
                  </a:lnTo>
                  <a:lnTo>
                    <a:pt x="10636" y="13367"/>
                  </a:lnTo>
                  <a:lnTo>
                    <a:pt x="10688" y="13286"/>
                  </a:lnTo>
                  <a:lnTo>
                    <a:pt x="10739" y="13204"/>
                  </a:lnTo>
                  <a:lnTo>
                    <a:pt x="10789" y="13121"/>
                  </a:lnTo>
                  <a:lnTo>
                    <a:pt x="10839" y="13039"/>
                  </a:lnTo>
                  <a:lnTo>
                    <a:pt x="10888" y="12955"/>
                  </a:lnTo>
                  <a:lnTo>
                    <a:pt x="10935" y="12871"/>
                  </a:lnTo>
                  <a:lnTo>
                    <a:pt x="10982" y="12786"/>
                  </a:lnTo>
                  <a:lnTo>
                    <a:pt x="11028" y="12701"/>
                  </a:lnTo>
                  <a:lnTo>
                    <a:pt x="11074" y="12614"/>
                  </a:lnTo>
                  <a:lnTo>
                    <a:pt x="11119" y="12528"/>
                  </a:lnTo>
                  <a:lnTo>
                    <a:pt x="11162" y="12440"/>
                  </a:lnTo>
                  <a:close/>
                  <a:moveTo>
                    <a:pt x="8474" y="14988"/>
                  </a:moveTo>
                  <a:lnTo>
                    <a:pt x="8474" y="11911"/>
                  </a:lnTo>
                  <a:lnTo>
                    <a:pt x="8545" y="11913"/>
                  </a:lnTo>
                  <a:lnTo>
                    <a:pt x="8616" y="11916"/>
                  </a:lnTo>
                  <a:lnTo>
                    <a:pt x="8687" y="11920"/>
                  </a:lnTo>
                  <a:lnTo>
                    <a:pt x="8757" y="11924"/>
                  </a:lnTo>
                  <a:lnTo>
                    <a:pt x="8828" y="11929"/>
                  </a:lnTo>
                  <a:lnTo>
                    <a:pt x="8899" y="11934"/>
                  </a:lnTo>
                  <a:lnTo>
                    <a:pt x="8969" y="11940"/>
                  </a:lnTo>
                  <a:lnTo>
                    <a:pt x="9039" y="11946"/>
                  </a:lnTo>
                  <a:lnTo>
                    <a:pt x="9108" y="11953"/>
                  </a:lnTo>
                  <a:lnTo>
                    <a:pt x="9178" y="11960"/>
                  </a:lnTo>
                  <a:lnTo>
                    <a:pt x="9248" y="11968"/>
                  </a:lnTo>
                  <a:lnTo>
                    <a:pt x="9317" y="11976"/>
                  </a:lnTo>
                  <a:lnTo>
                    <a:pt x="9387" y="11986"/>
                  </a:lnTo>
                  <a:lnTo>
                    <a:pt x="9455" y="11995"/>
                  </a:lnTo>
                  <a:lnTo>
                    <a:pt x="9524" y="12005"/>
                  </a:lnTo>
                  <a:lnTo>
                    <a:pt x="9593" y="12016"/>
                  </a:lnTo>
                  <a:lnTo>
                    <a:pt x="9661" y="12027"/>
                  </a:lnTo>
                  <a:lnTo>
                    <a:pt x="9729" y="12039"/>
                  </a:lnTo>
                  <a:lnTo>
                    <a:pt x="9797" y="12051"/>
                  </a:lnTo>
                  <a:lnTo>
                    <a:pt x="9865" y="12064"/>
                  </a:lnTo>
                  <a:lnTo>
                    <a:pt x="9932" y="12077"/>
                  </a:lnTo>
                  <a:lnTo>
                    <a:pt x="10000" y="12091"/>
                  </a:lnTo>
                  <a:lnTo>
                    <a:pt x="10067" y="12106"/>
                  </a:lnTo>
                  <a:lnTo>
                    <a:pt x="10134" y="12121"/>
                  </a:lnTo>
                  <a:lnTo>
                    <a:pt x="10200" y="12136"/>
                  </a:lnTo>
                  <a:lnTo>
                    <a:pt x="10267" y="12153"/>
                  </a:lnTo>
                  <a:lnTo>
                    <a:pt x="10334" y="12169"/>
                  </a:lnTo>
                  <a:lnTo>
                    <a:pt x="10399" y="12187"/>
                  </a:lnTo>
                  <a:lnTo>
                    <a:pt x="10465" y="12204"/>
                  </a:lnTo>
                  <a:lnTo>
                    <a:pt x="10531" y="12223"/>
                  </a:lnTo>
                  <a:lnTo>
                    <a:pt x="10596" y="12242"/>
                  </a:lnTo>
                  <a:lnTo>
                    <a:pt x="10661" y="12262"/>
                  </a:lnTo>
                  <a:lnTo>
                    <a:pt x="10610" y="12363"/>
                  </a:lnTo>
                  <a:lnTo>
                    <a:pt x="10557" y="12462"/>
                  </a:lnTo>
                  <a:lnTo>
                    <a:pt x="10504" y="12561"/>
                  </a:lnTo>
                  <a:lnTo>
                    <a:pt x="10450" y="12659"/>
                  </a:lnTo>
                  <a:lnTo>
                    <a:pt x="10393" y="12757"/>
                  </a:lnTo>
                  <a:lnTo>
                    <a:pt x="10337" y="12853"/>
                  </a:lnTo>
                  <a:lnTo>
                    <a:pt x="10279" y="12948"/>
                  </a:lnTo>
                  <a:lnTo>
                    <a:pt x="10220" y="13042"/>
                  </a:lnTo>
                  <a:lnTo>
                    <a:pt x="10159" y="13135"/>
                  </a:lnTo>
                  <a:lnTo>
                    <a:pt x="10099" y="13228"/>
                  </a:lnTo>
                  <a:lnTo>
                    <a:pt x="10036" y="13319"/>
                  </a:lnTo>
                  <a:lnTo>
                    <a:pt x="9972" y="13410"/>
                  </a:lnTo>
                  <a:lnTo>
                    <a:pt x="9909" y="13499"/>
                  </a:lnTo>
                  <a:lnTo>
                    <a:pt x="9843" y="13588"/>
                  </a:lnTo>
                  <a:lnTo>
                    <a:pt x="9776" y="13675"/>
                  </a:lnTo>
                  <a:lnTo>
                    <a:pt x="9710" y="13761"/>
                  </a:lnTo>
                  <a:lnTo>
                    <a:pt x="9641" y="13846"/>
                  </a:lnTo>
                  <a:lnTo>
                    <a:pt x="9571" y="13930"/>
                  </a:lnTo>
                  <a:lnTo>
                    <a:pt x="9501" y="14012"/>
                  </a:lnTo>
                  <a:lnTo>
                    <a:pt x="9430" y="14095"/>
                  </a:lnTo>
                  <a:lnTo>
                    <a:pt x="9358" y="14175"/>
                  </a:lnTo>
                  <a:lnTo>
                    <a:pt x="9284" y="14255"/>
                  </a:lnTo>
                  <a:lnTo>
                    <a:pt x="9210" y="14333"/>
                  </a:lnTo>
                  <a:lnTo>
                    <a:pt x="9135" y="14410"/>
                  </a:lnTo>
                  <a:lnTo>
                    <a:pt x="9059" y="14487"/>
                  </a:lnTo>
                  <a:lnTo>
                    <a:pt x="8982" y="14562"/>
                  </a:lnTo>
                  <a:lnTo>
                    <a:pt x="8904" y="14636"/>
                  </a:lnTo>
                  <a:lnTo>
                    <a:pt x="8825" y="14708"/>
                  </a:lnTo>
                  <a:lnTo>
                    <a:pt x="8746" y="14779"/>
                  </a:lnTo>
                  <a:lnTo>
                    <a:pt x="8666" y="14850"/>
                  </a:lnTo>
                  <a:lnTo>
                    <a:pt x="8584" y="14918"/>
                  </a:lnTo>
                  <a:lnTo>
                    <a:pt x="8502" y="14987"/>
                  </a:lnTo>
                  <a:lnTo>
                    <a:pt x="8474" y="14988"/>
                  </a:lnTo>
                  <a:close/>
                  <a:moveTo>
                    <a:pt x="7036" y="14898"/>
                  </a:moveTo>
                  <a:lnTo>
                    <a:pt x="6913" y="14877"/>
                  </a:lnTo>
                  <a:lnTo>
                    <a:pt x="6791" y="14854"/>
                  </a:lnTo>
                  <a:lnTo>
                    <a:pt x="6670" y="14829"/>
                  </a:lnTo>
                  <a:lnTo>
                    <a:pt x="6550" y="14802"/>
                  </a:lnTo>
                  <a:lnTo>
                    <a:pt x="6431" y="14774"/>
                  </a:lnTo>
                  <a:lnTo>
                    <a:pt x="6312" y="14743"/>
                  </a:lnTo>
                  <a:lnTo>
                    <a:pt x="6194" y="14710"/>
                  </a:lnTo>
                  <a:lnTo>
                    <a:pt x="6077" y="14676"/>
                  </a:lnTo>
                  <a:lnTo>
                    <a:pt x="5961" y="14639"/>
                  </a:lnTo>
                  <a:lnTo>
                    <a:pt x="5846" y="14601"/>
                  </a:lnTo>
                  <a:lnTo>
                    <a:pt x="5731" y="14561"/>
                  </a:lnTo>
                  <a:lnTo>
                    <a:pt x="5618" y="14519"/>
                  </a:lnTo>
                  <a:lnTo>
                    <a:pt x="5505" y="14475"/>
                  </a:lnTo>
                  <a:lnTo>
                    <a:pt x="5395" y="14429"/>
                  </a:lnTo>
                  <a:lnTo>
                    <a:pt x="5284" y="14382"/>
                  </a:lnTo>
                  <a:lnTo>
                    <a:pt x="5174" y="14333"/>
                  </a:lnTo>
                  <a:lnTo>
                    <a:pt x="5065" y="14282"/>
                  </a:lnTo>
                  <a:lnTo>
                    <a:pt x="4958" y="14229"/>
                  </a:lnTo>
                  <a:lnTo>
                    <a:pt x="4851" y="14175"/>
                  </a:lnTo>
                  <a:lnTo>
                    <a:pt x="4746" y="14119"/>
                  </a:lnTo>
                  <a:lnTo>
                    <a:pt x="4641" y="14062"/>
                  </a:lnTo>
                  <a:lnTo>
                    <a:pt x="4538" y="14001"/>
                  </a:lnTo>
                  <a:lnTo>
                    <a:pt x="4436" y="13940"/>
                  </a:lnTo>
                  <a:lnTo>
                    <a:pt x="4335" y="13878"/>
                  </a:lnTo>
                  <a:lnTo>
                    <a:pt x="4235" y="13814"/>
                  </a:lnTo>
                  <a:lnTo>
                    <a:pt x="4137" y="13748"/>
                  </a:lnTo>
                  <a:lnTo>
                    <a:pt x="4038" y="13681"/>
                  </a:lnTo>
                  <a:lnTo>
                    <a:pt x="3943" y="13612"/>
                  </a:lnTo>
                  <a:lnTo>
                    <a:pt x="3847" y="13540"/>
                  </a:lnTo>
                  <a:lnTo>
                    <a:pt x="3753" y="13469"/>
                  </a:lnTo>
                  <a:lnTo>
                    <a:pt x="3660" y="13395"/>
                  </a:lnTo>
                  <a:lnTo>
                    <a:pt x="3569" y="13320"/>
                  </a:lnTo>
                  <a:lnTo>
                    <a:pt x="3668" y="13255"/>
                  </a:lnTo>
                  <a:lnTo>
                    <a:pt x="3767" y="13191"/>
                  </a:lnTo>
                  <a:lnTo>
                    <a:pt x="3867" y="13127"/>
                  </a:lnTo>
                  <a:lnTo>
                    <a:pt x="3968" y="13065"/>
                  </a:lnTo>
                  <a:lnTo>
                    <a:pt x="4071" y="13005"/>
                  </a:lnTo>
                  <a:lnTo>
                    <a:pt x="4174" y="12946"/>
                  </a:lnTo>
                  <a:lnTo>
                    <a:pt x="4278" y="12889"/>
                  </a:lnTo>
                  <a:lnTo>
                    <a:pt x="4383" y="12833"/>
                  </a:lnTo>
                  <a:lnTo>
                    <a:pt x="4489" y="12779"/>
                  </a:lnTo>
                  <a:lnTo>
                    <a:pt x="4596" y="12726"/>
                  </a:lnTo>
                  <a:lnTo>
                    <a:pt x="4704" y="12674"/>
                  </a:lnTo>
                  <a:lnTo>
                    <a:pt x="4813" y="12624"/>
                  </a:lnTo>
                  <a:lnTo>
                    <a:pt x="4923" y="12575"/>
                  </a:lnTo>
                  <a:lnTo>
                    <a:pt x="5033" y="12529"/>
                  </a:lnTo>
                  <a:lnTo>
                    <a:pt x="5144" y="12484"/>
                  </a:lnTo>
                  <a:lnTo>
                    <a:pt x="5257" y="12440"/>
                  </a:lnTo>
                  <a:lnTo>
                    <a:pt x="5301" y="12528"/>
                  </a:lnTo>
                  <a:lnTo>
                    <a:pt x="5345" y="12614"/>
                  </a:lnTo>
                  <a:lnTo>
                    <a:pt x="5391" y="12701"/>
                  </a:lnTo>
                  <a:lnTo>
                    <a:pt x="5437" y="12786"/>
                  </a:lnTo>
                  <a:lnTo>
                    <a:pt x="5484" y="12871"/>
                  </a:lnTo>
                  <a:lnTo>
                    <a:pt x="5532" y="12955"/>
                  </a:lnTo>
                  <a:lnTo>
                    <a:pt x="5580" y="13039"/>
                  </a:lnTo>
                  <a:lnTo>
                    <a:pt x="5630" y="13121"/>
                  </a:lnTo>
                  <a:lnTo>
                    <a:pt x="5680" y="13204"/>
                  </a:lnTo>
                  <a:lnTo>
                    <a:pt x="5731" y="13286"/>
                  </a:lnTo>
                  <a:lnTo>
                    <a:pt x="5783" y="13367"/>
                  </a:lnTo>
                  <a:lnTo>
                    <a:pt x="5835" y="13447"/>
                  </a:lnTo>
                  <a:lnTo>
                    <a:pt x="5888" y="13526"/>
                  </a:lnTo>
                  <a:lnTo>
                    <a:pt x="5943" y="13606"/>
                  </a:lnTo>
                  <a:lnTo>
                    <a:pt x="5997" y="13684"/>
                  </a:lnTo>
                  <a:lnTo>
                    <a:pt x="6052" y="13761"/>
                  </a:lnTo>
                  <a:lnTo>
                    <a:pt x="6109" y="13837"/>
                  </a:lnTo>
                  <a:lnTo>
                    <a:pt x="6166" y="13913"/>
                  </a:lnTo>
                  <a:lnTo>
                    <a:pt x="6224" y="13988"/>
                  </a:lnTo>
                  <a:lnTo>
                    <a:pt x="6282" y="14064"/>
                  </a:lnTo>
                  <a:lnTo>
                    <a:pt x="6341" y="14137"/>
                  </a:lnTo>
                  <a:lnTo>
                    <a:pt x="6400" y="14210"/>
                  </a:lnTo>
                  <a:lnTo>
                    <a:pt x="6461" y="14282"/>
                  </a:lnTo>
                  <a:lnTo>
                    <a:pt x="6522" y="14354"/>
                  </a:lnTo>
                  <a:lnTo>
                    <a:pt x="6584" y="14424"/>
                  </a:lnTo>
                  <a:lnTo>
                    <a:pt x="6647" y="14495"/>
                  </a:lnTo>
                  <a:lnTo>
                    <a:pt x="6710" y="14564"/>
                  </a:lnTo>
                  <a:lnTo>
                    <a:pt x="6774" y="14633"/>
                  </a:lnTo>
                  <a:lnTo>
                    <a:pt x="6839" y="14700"/>
                  </a:lnTo>
                  <a:lnTo>
                    <a:pt x="6903" y="14767"/>
                  </a:lnTo>
                  <a:lnTo>
                    <a:pt x="6969" y="14833"/>
                  </a:lnTo>
                  <a:lnTo>
                    <a:pt x="7036" y="14898"/>
                  </a:lnTo>
                  <a:close/>
                  <a:moveTo>
                    <a:pt x="7945" y="8277"/>
                  </a:moveTo>
                  <a:lnTo>
                    <a:pt x="7945" y="11394"/>
                  </a:lnTo>
                  <a:lnTo>
                    <a:pt x="7867" y="11396"/>
                  </a:lnTo>
                  <a:lnTo>
                    <a:pt x="7789" y="11400"/>
                  </a:lnTo>
                  <a:lnTo>
                    <a:pt x="7711" y="11404"/>
                  </a:lnTo>
                  <a:lnTo>
                    <a:pt x="7633" y="11408"/>
                  </a:lnTo>
                  <a:lnTo>
                    <a:pt x="7555" y="11413"/>
                  </a:lnTo>
                  <a:lnTo>
                    <a:pt x="7478" y="11419"/>
                  </a:lnTo>
                  <a:lnTo>
                    <a:pt x="7401" y="11425"/>
                  </a:lnTo>
                  <a:lnTo>
                    <a:pt x="7324" y="11433"/>
                  </a:lnTo>
                  <a:lnTo>
                    <a:pt x="7247" y="11440"/>
                  </a:lnTo>
                  <a:lnTo>
                    <a:pt x="7170" y="11449"/>
                  </a:lnTo>
                  <a:lnTo>
                    <a:pt x="7094" y="11458"/>
                  </a:lnTo>
                  <a:lnTo>
                    <a:pt x="7018" y="11467"/>
                  </a:lnTo>
                  <a:lnTo>
                    <a:pt x="6942" y="11477"/>
                  </a:lnTo>
                  <a:lnTo>
                    <a:pt x="6866" y="11488"/>
                  </a:lnTo>
                  <a:lnTo>
                    <a:pt x="6790" y="11500"/>
                  </a:lnTo>
                  <a:lnTo>
                    <a:pt x="6715" y="11512"/>
                  </a:lnTo>
                  <a:lnTo>
                    <a:pt x="6640" y="11525"/>
                  </a:lnTo>
                  <a:lnTo>
                    <a:pt x="6565" y="11538"/>
                  </a:lnTo>
                  <a:lnTo>
                    <a:pt x="6491" y="11552"/>
                  </a:lnTo>
                  <a:lnTo>
                    <a:pt x="6416" y="11566"/>
                  </a:lnTo>
                  <a:lnTo>
                    <a:pt x="6342" y="11582"/>
                  </a:lnTo>
                  <a:lnTo>
                    <a:pt x="6268" y="11598"/>
                  </a:lnTo>
                  <a:lnTo>
                    <a:pt x="6194" y="11614"/>
                  </a:lnTo>
                  <a:lnTo>
                    <a:pt x="6120" y="11631"/>
                  </a:lnTo>
                  <a:lnTo>
                    <a:pt x="6047" y="11649"/>
                  </a:lnTo>
                  <a:lnTo>
                    <a:pt x="5973" y="11667"/>
                  </a:lnTo>
                  <a:lnTo>
                    <a:pt x="5901" y="11686"/>
                  </a:lnTo>
                  <a:lnTo>
                    <a:pt x="5829" y="11706"/>
                  </a:lnTo>
                  <a:lnTo>
                    <a:pt x="5756" y="11726"/>
                  </a:lnTo>
                  <a:lnTo>
                    <a:pt x="5684" y="11747"/>
                  </a:lnTo>
                  <a:lnTo>
                    <a:pt x="5612" y="11768"/>
                  </a:lnTo>
                  <a:lnTo>
                    <a:pt x="5540" y="11791"/>
                  </a:lnTo>
                  <a:lnTo>
                    <a:pt x="5498" y="11690"/>
                  </a:lnTo>
                  <a:lnTo>
                    <a:pt x="5457" y="11590"/>
                  </a:lnTo>
                  <a:lnTo>
                    <a:pt x="5417" y="11488"/>
                  </a:lnTo>
                  <a:lnTo>
                    <a:pt x="5377" y="11386"/>
                  </a:lnTo>
                  <a:lnTo>
                    <a:pt x="5339" y="11282"/>
                  </a:lnTo>
                  <a:lnTo>
                    <a:pt x="5303" y="11178"/>
                  </a:lnTo>
                  <a:lnTo>
                    <a:pt x="5267" y="11074"/>
                  </a:lnTo>
                  <a:lnTo>
                    <a:pt x="5233" y="10969"/>
                  </a:lnTo>
                  <a:lnTo>
                    <a:pt x="5200" y="10863"/>
                  </a:lnTo>
                  <a:lnTo>
                    <a:pt x="5167" y="10757"/>
                  </a:lnTo>
                  <a:lnTo>
                    <a:pt x="5136" y="10650"/>
                  </a:lnTo>
                  <a:lnTo>
                    <a:pt x="5106" y="10543"/>
                  </a:lnTo>
                  <a:lnTo>
                    <a:pt x="5079" y="10434"/>
                  </a:lnTo>
                  <a:lnTo>
                    <a:pt x="5051" y="10325"/>
                  </a:lnTo>
                  <a:lnTo>
                    <a:pt x="5025" y="10216"/>
                  </a:lnTo>
                  <a:lnTo>
                    <a:pt x="5000" y="10106"/>
                  </a:lnTo>
                  <a:lnTo>
                    <a:pt x="4976" y="9995"/>
                  </a:lnTo>
                  <a:lnTo>
                    <a:pt x="4954" y="9884"/>
                  </a:lnTo>
                  <a:lnTo>
                    <a:pt x="4933" y="9773"/>
                  </a:lnTo>
                  <a:lnTo>
                    <a:pt x="4913" y="9661"/>
                  </a:lnTo>
                  <a:lnTo>
                    <a:pt x="4895" y="9548"/>
                  </a:lnTo>
                  <a:lnTo>
                    <a:pt x="4877" y="9435"/>
                  </a:lnTo>
                  <a:lnTo>
                    <a:pt x="4861" y="9321"/>
                  </a:lnTo>
                  <a:lnTo>
                    <a:pt x="4847" y="9207"/>
                  </a:lnTo>
                  <a:lnTo>
                    <a:pt x="4833" y="9092"/>
                  </a:lnTo>
                  <a:lnTo>
                    <a:pt x="4822" y="8977"/>
                  </a:lnTo>
                  <a:lnTo>
                    <a:pt x="4811" y="8862"/>
                  </a:lnTo>
                  <a:lnTo>
                    <a:pt x="4802" y="8746"/>
                  </a:lnTo>
                  <a:lnTo>
                    <a:pt x="4794" y="8628"/>
                  </a:lnTo>
                  <a:lnTo>
                    <a:pt x="4787" y="8512"/>
                  </a:lnTo>
                  <a:lnTo>
                    <a:pt x="4782" y="8394"/>
                  </a:lnTo>
                  <a:lnTo>
                    <a:pt x="4779" y="8277"/>
                  </a:lnTo>
                  <a:lnTo>
                    <a:pt x="7945" y="8277"/>
                  </a:lnTo>
                  <a:close/>
                  <a:moveTo>
                    <a:pt x="5353" y="4695"/>
                  </a:moveTo>
                  <a:lnTo>
                    <a:pt x="5430" y="4721"/>
                  </a:lnTo>
                  <a:lnTo>
                    <a:pt x="5507" y="4746"/>
                  </a:lnTo>
                  <a:lnTo>
                    <a:pt x="5583" y="4770"/>
                  </a:lnTo>
                  <a:lnTo>
                    <a:pt x="5661" y="4793"/>
                  </a:lnTo>
                  <a:lnTo>
                    <a:pt x="5739" y="4816"/>
                  </a:lnTo>
                  <a:lnTo>
                    <a:pt x="5817" y="4838"/>
                  </a:lnTo>
                  <a:lnTo>
                    <a:pt x="5896" y="4860"/>
                  </a:lnTo>
                  <a:lnTo>
                    <a:pt x="5974" y="4880"/>
                  </a:lnTo>
                  <a:lnTo>
                    <a:pt x="6053" y="4900"/>
                  </a:lnTo>
                  <a:lnTo>
                    <a:pt x="6134" y="4920"/>
                  </a:lnTo>
                  <a:lnTo>
                    <a:pt x="6213" y="4938"/>
                  </a:lnTo>
                  <a:lnTo>
                    <a:pt x="6293" y="4956"/>
                  </a:lnTo>
                  <a:lnTo>
                    <a:pt x="6373" y="4973"/>
                  </a:lnTo>
                  <a:lnTo>
                    <a:pt x="6454" y="4990"/>
                  </a:lnTo>
                  <a:lnTo>
                    <a:pt x="6535" y="5005"/>
                  </a:lnTo>
                  <a:lnTo>
                    <a:pt x="6615" y="5020"/>
                  </a:lnTo>
                  <a:lnTo>
                    <a:pt x="6697" y="5035"/>
                  </a:lnTo>
                  <a:lnTo>
                    <a:pt x="6778" y="5048"/>
                  </a:lnTo>
                  <a:lnTo>
                    <a:pt x="6860" y="5061"/>
                  </a:lnTo>
                  <a:lnTo>
                    <a:pt x="6942" y="5073"/>
                  </a:lnTo>
                  <a:lnTo>
                    <a:pt x="7024" y="5084"/>
                  </a:lnTo>
                  <a:lnTo>
                    <a:pt x="7106" y="5095"/>
                  </a:lnTo>
                  <a:lnTo>
                    <a:pt x="7189" y="5105"/>
                  </a:lnTo>
                  <a:lnTo>
                    <a:pt x="7273" y="5114"/>
                  </a:lnTo>
                  <a:lnTo>
                    <a:pt x="7356" y="5122"/>
                  </a:lnTo>
                  <a:lnTo>
                    <a:pt x="7439" y="5131"/>
                  </a:lnTo>
                  <a:lnTo>
                    <a:pt x="7523" y="5137"/>
                  </a:lnTo>
                  <a:lnTo>
                    <a:pt x="7607" y="5143"/>
                  </a:lnTo>
                  <a:lnTo>
                    <a:pt x="7691" y="5149"/>
                  </a:lnTo>
                  <a:lnTo>
                    <a:pt x="7775" y="5153"/>
                  </a:lnTo>
                  <a:lnTo>
                    <a:pt x="7860" y="5157"/>
                  </a:lnTo>
                  <a:lnTo>
                    <a:pt x="7945" y="5160"/>
                  </a:lnTo>
                  <a:lnTo>
                    <a:pt x="7945" y="7759"/>
                  </a:lnTo>
                  <a:lnTo>
                    <a:pt x="4779" y="7759"/>
                  </a:lnTo>
                  <a:lnTo>
                    <a:pt x="4782" y="7658"/>
                  </a:lnTo>
                  <a:lnTo>
                    <a:pt x="4786" y="7557"/>
                  </a:lnTo>
                  <a:lnTo>
                    <a:pt x="4791" y="7456"/>
                  </a:lnTo>
                  <a:lnTo>
                    <a:pt x="4797" y="7356"/>
                  </a:lnTo>
                  <a:lnTo>
                    <a:pt x="4805" y="7255"/>
                  </a:lnTo>
                  <a:lnTo>
                    <a:pt x="4812" y="7155"/>
                  </a:lnTo>
                  <a:lnTo>
                    <a:pt x="4821" y="7056"/>
                  </a:lnTo>
                  <a:lnTo>
                    <a:pt x="4831" y="6957"/>
                  </a:lnTo>
                  <a:lnTo>
                    <a:pt x="4843" y="6857"/>
                  </a:lnTo>
                  <a:lnTo>
                    <a:pt x="4854" y="6759"/>
                  </a:lnTo>
                  <a:lnTo>
                    <a:pt x="4867" y="6661"/>
                  </a:lnTo>
                  <a:lnTo>
                    <a:pt x="4881" y="6563"/>
                  </a:lnTo>
                  <a:lnTo>
                    <a:pt x="4896" y="6466"/>
                  </a:lnTo>
                  <a:lnTo>
                    <a:pt x="4911" y="6368"/>
                  </a:lnTo>
                  <a:lnTo>
                    <a:pt x="4928" y="6272"/>
                  </a:lnTo>
                  <a:lnTo>
                    <a:pt x="4945" y="6176"/>
                  </a:lnTo>
                  <a:lnTo>
                    <a:pt x="4964" y="6080"/>
                  </a:lnTo>
                  <a:lnTo>
                    <a:pt x="4983" y="5984"/>
                  </a:lnTo>
                  <a:lnTo>
                    <a:pt x="5004" y="5889"/>
                  </a:lnTo>
                  <a:lnTo>
                    <a:pt x="5025" y="5795"/>
                  </a:lnTo>
                  <a:lnTo>
                    <a:pt x="5048" y="5701"/>
                  </a:lnTo>
                  <a:lnTo>
                    <a:pt x="5070" y="5607"/>
                  </a:lnTo>
                  <a:lnTo>
                    <a:pt x="5095" y="5513"/>
                  </a:lnTo>
                  <a:lnTo>
                    <a:pt x="5120" y="5420"/>
                  </a:lnTo>
                  <a:lnTo>
                    <a:pt x="5145" y="5328"/>
                  </a:lnTo>
                  <a:lnTo>
                    <a:pt x="5172" y="5236"/>
                  </a:lnTo>
                  <a:lnTo>
                    <a:pt x="5201" y="5145"/>
                  </a:lnTo>
                  <a:lnTo>
                    <a:pt x="5228" y="5053"/>
                  </a:lnTo>
                  <a:lnTo>
                    <a:pt x="5258" y="4963"/>
                  </a:lnTo>
                  <a:lnTo>
                    <a:pt x="5289" y="4873"/>
                  </a:lnTo>
                  <a:lnTo>
                    <a:pt x="5321" y="4784"/>
                  </a:lnTo>
                  <a:lnTo>
                    <a:pt x="5353" y="4695"/>
                  </a:lnTo>
                  <a:close/>
                  <a:moveTo>
                    <a:pt x="5056" y="4040"/>
                  </a:moveTo>
                  <a:lnTo>
                    <a:pt x="4994" y="4015"/>
                  </a:lnTo>
                  <a:lnTo>
                    <a:pt x="4934" y="3989"/>
                  </a:lnTo>
                  <a:lnTo>
                    <a:pt x="4873" y="3963"/>
                  </a:lnTo>
                  <a:lnTo>
                    <a:pt x="4813" y="3936"/>
                  </a:lnTo>
                  <a:lnTo>
                    <a:pt x="4753" y="3909"/>
                  </a:lnTo>
                  <a:lnTo>
                    <a:pt x="4693" y="3882"/>
                  </a:lnTo>
                  <a:lnTo>
                    <a:pt x="4633" y="3854"/>
                  </a:lnTo>
                  <a:lnTo>
                    <a:pt x="4575" y="3825"/>
                  </a:lnTo>
                  <a:lnTo>
                    <a:pt x="4515" y="3796"/>
                  </a:lnTo>
                  <a:lnTo>
                    <a:pt x="4457" y="3766"/>
                  </a:lnTo>
                  <a:lnTo>
                    <a:pt x="4398" y="3736"/>
                  </a:lnTo>
                  <a:lnTo>
                    <a:pt x="4341" y="3705"/>
                  </a:lnTo>
                  <a:lnTo>
                    <a:pt x="4282" y="3674"/>
                  </a:lnTo>
                  <a:lnTo>
                    <a:pt x="4225" y="3643"/>
                  </a:lnTo>
                  <a:lnTo>
                    <a:pt x="4168" y="3611"/>
                  </a:lnTo>
                  <a:lnTo>
                    <a:pt x="4111" y="3579"/>
                  </a:lnTo>
                  <a:lnTo>
                    <a:pt x="3998" y="3513"/>
                  </a:lnTo>
                  <a:lnTo>
                    <a:pt x="3886" y="3446"/>
                  </a:lnTo>
                  <a:lnTo>
                    <a:pt x="3776" y="3377"/>
                  </a:lnTo>
                  <a:lnTo>
                    <a:pt x="3667" y="3305"/>
                  </a:lnTo>
                  <a:lnTo>
                    <a:pt x="3559" y="3233"/>
                  </a:lnTo>
                  <a:lnTo>
                    <a:pt x="3451" y="3159"/>
                  </a:lnTo>
                  <a:lnTo>
                    <a:pt x="3345" y="3084"/>
                  </a:lnTo>
                  <a:lnTo>
                    <a:pt x="3241" y="3007"/>
                  </a:lnTo>
                  <a:lnTo>
                    <a:pt x="3337" y="2917"/>
                  </a:lnTo>
                  <a:lnTo>
                    <a:pt x="3436" y="2829"/>
                  </a:lnTo>
                  <a:lnTo>
                    <a:pt x="3535" y="2743"/>
                  </a:lnTo>
                  <a:lnTo>
                    <a:pt x="3637" y="2659"/>
                  </a:lnTo>
                  <a:lnTo>
                    <a:pt x="3740" y="2576"/>
                  </a:lnTo>
                  <a:lnTo>
                    <a:pt x="3845" y="2496"/>
                  </a:lnTo>
                  <a:lnTo>
                    <a:pt x="3951" y="2417"/>
                  </a:lnTo>
                  <a:lnTo>
                    <a:pt x="4059" y="2340"/>
                  </a:lnTo>
                  <a:lnTo>
                    <a:pt x="4168" y="2266"/>
                  </a:lnTo>
                  <a:lnTo>
                    <a:pt x="4279" y="2193"/>
                  </a:lnTo>
                  <a:lnTo>
                    <a:pt x="4391" y="2122"/>
                  </a:lnTo>
                  <a:lnTo>
                    <a:pt x="4505" y="2054"/>
                  </a:lnTo>
                  <a:lnTo>
                    <a:pt x="4620" y="1986"/>
                  </a:lnTo>
                  <a:lnTo>
                    <a:pt x="4736" y="1921"/>
                  </a:lnTo>
                  <a:lnTo>
                    <a:pt x="4854" y="1859"/>
                  </a:lnTo>
                  <a:lnTo>
                    <a:pt x="4973" y="1799"/>
                  </a:lnTo>
                  <a:lnTo>
                    <a:pt x="5093" y="1740"/>
                  </a:lnTo>
                  <a:lnTo>
                    <a:pt x="5215" y="1684"/>
                  </a:lnTo>
                  <a:lnTo>
                    <a:pt x="5338" y="1630"/>
                  </a:lnTo>
                  <a:lnTo>
                    <a:pt x="5461" y="1579"/>
                  </a:lnTo>
                  <a:lnTo>
                    <a:pt x="5587" y="1528"/>
                  </a:lnTo>
                  <a:lnTo>
                    <a:pt x="5714" y="1481"/>
                  </a:lnTo>
                  <a:lnTo>
                    <a:pt x="5841" y="1436"/>
                  </a:lnTo>
                  <a:lnTo>
                    <a:pt x="5969" y="1393"/>
                  </a:lnTo>
                  <a:lnTo>
                    <a:pt x="6100" y="1353"/>
                  </a:lnTo>
                  <a:lnTo>
                    <a:pt x="6230" y="1315"/>
                  </a:lnTo>
                  <a:lnTo>
                    <a:pt x="6362" y="1279"/>
                  </a:lnTo>
                  <a:lnTo>
                    <a:pt x="6495" y="1246"/>
                  </a:lnTo>
                  <a:lnTo>
                    <a:pt x="6628" y="1215"/>
                  </a:lnTo>
                  <a:lnTo>
                    <a:pt x="6764" y="1187"/>
                  </a:lnTo>
                  <a:lnTo>
                    <a:pt x="6899" y="1161"/>
                  </a:lnTo>
                  <a:lnTo>
                    <a:pt x="7036" y="1137"/>
                  </a:lnTo>
                  <a:lnTo>
                    <a:pt x="6960" y="1213"/>
                  </a:lnTo>
                  <a:lnTo>
                    <a:pt x="6884" y="1289"/>
                  </a:lnTo>
                  <a:lnTo>
                    <a:pt x="6809" y="1367"/>
                  </a:lnTo>
                  <a:lnTo>
                    <a:pt x="6735" y="1446"/>
                  </a:lnTo>
                  <a:lnTo>
                    <a:pt x="6662" y="1525"/>
                  </a:lnTo>
                  <a:lnTo>
                    <a:pt x="6589" y="1607"/>
                  </a:lnTo>
                  <a:lnTo>
                    <a:pt x="6518" y="1689"/>
                  </a:lnTo>
                  <a:lnTo>
                    <a:pt x="6448" y="1771"/>
                  </a:lnTo>
                  <a:lnTo>
                    <a:pt x="6379" y="1855"/>
                  </a:lnTo>
                  <a:lnTo>
                    <a:pt x="6310" y="1940"/>
                  </a:lnTo>
                  <a:lnTo>
                    <a:pt x="6242" y="2027"/>
                  </a:lnTo>
                  <a:lnTo>
                    <a:pt x="6176" y="2113"/>
                  </a:lnTo>
                  <a:lnTo>
                    <a:pt x="6110" y="2201"/>
                  </a:lnTo>
                  <a:lnTo>
                    <a:pt x="6045" y="2290"/>
                  </a:lnTo>
                  <a:lnTo>
                    <a:pt x="5982" y="2379"/>
                  </a:lnTo>
                  <a:lnTo>
                    <a:pt x="5919" y="2471"/>
                  </a:lnTo>
                  <a:lnTo>
                    <a:pt x="5857" y="2562"/>
                  </a:lnTo>
                  <a:lnTo>
                    <a:pt x="5797" y="2654"/>
                  </a:lnTo>
                  <a:lnTo>
                    <a:pt x="5736" y="2748"/>
                  </a:lnTo>
                  <a:lnTo>
                    <a:pt x="5678" y="2842"/>
                  </a:lnTo>
                  <a:lnTo>
                    <a:pt x="5620" y="2938"/>
                  </a:lnTo>
                  <a:lnTo>
                    <a:pt x="5564" y="3034"/>
                  </a:lnTo>
                  <a:lnTo>
                    <a:pt x="5508" y="3130"/>
                  </a:lnTo>
                  <a:lnTo>
                    <a:pt x="5453" y="3228"/>
                  </a:lnTo>
                  <a:lnTo>
                    <a:pt x="5400" y="3326"/>
                  </a:lnTo>
                  <a:lnTo>
                    <a:pt x="5347" y="3427"/>
                  </a:lnTo>
                  <a:lnTo>
                    <a:pt x="5296" y="3527"/>
                  </a:lnTo>
                  <a:lnTo>
                    <a:pt x="5246" y="3628"/>
                  </a:lnTo>
                  <a:lnTo>
                    <a:pt x="5197" y="3729"/>
                  </a:lnTo>
                  <a:lnTo>
                    <a:pt x="5148" y="3833"/>
                  </a:lnTo>
                  <a:lnTo>
                    <a:pt x="5102" y="3936"/>
                  </a:lnTo>
                  <a:lnTo>
                    <a:pt x="5056" y="4040"/>
                  </a:lnTo>
                  <a:close/>
                  <a:moveTo>
                    <a:pt x="7945" y="1047"/>
                  </a:moveTo>
                  <a:lnTo>
                    <a:pt x="7945" y="4642"/>
                  </a:lnTo>
                  <a:lnTo>
                    <a:pt x="7867" y="4639"/>
                  </a:lnTo>
                  <a:lnTo>
                    <a:pt x="7789" y="4635"/>
                  </a:lnTo>
                  <a:lnTo>
                    <a:pt x="7711" y="4631"/>
                  </a:lnTo>
                  <a:lnTo>
                    <a:pt x="7633" y="4626"/>
                  </a:lnTo>
                  <a:lnTo>
                    <a:pt x="7556" y="4621"/>
                  </a:lnTo>
                  <a:lnTo>
                    <a:pt x="7478" y="4614"/>
                  </a:lnTo>
                  <a:lnTo>
                    <a:pt x="7401" y="4607"/>
                  </a:lnTo>
                  <a:lnTo>
                    <a:pt x="7325" y="4600"/>
                  </a:lnTo>
                  <a:lnTo>
                    <a:pt x="7248" y="4591"/>
                  </a:lnTo>
                  <a:lnTo>
                    <a:pt x="7172" y="4582"/>
                  </a:lnTo>
                  <a:lnTo>
                    <a:pt x="7095" y="4573"/>
                  </a:lnTo>
                  <a:lnTo>
                    <a:pt x="7020" y="4562"/>
                  </a:lnTo>
                  <a:lnTo>
                    <a:pt x="6944" y="4551"/>
                  </a:lnTo>
                  <a:lnTo>
                    <a:pt x="6868" y="4540"/>
                  </a:lnTo>
                  <a:lnTo>
                    <a:pt x="6793" y="4527"/>
                  </a:lnTo>
                  <a:lnTo>
                    <a:pt x="6718" y="4514"/>
                  </a:lnTo>
                  <a:lnTo>
                    <a:pt x="6644" y="4501"/>
                  </a:lnTo>
                  <a:lnTo>
                    <a:pt x="6569" y="4486"/>
                  </a:lnTo>
                  <a:lnTo>
                    <a:pt x="6495" y="4471"/>
                  </a:lnTo>
                  <a:lnTo>
                    <a:pt x="6421" y="4456"/>
                  </a:lnTo>
                  <a:lnTo>
                    <a:pt x="6347" y="4439"/>
                  </a:lnTo>
                  <a:lnTo>
                    <a:pt x="6273" y="4423"/>
                  </a:lnTo>
                  <a:lnTo>
                    <a:pt x="6200" y="4405"/>
                  </a:lnTo>
                  <a:lnTo>
                    <a:pt x="6127" y="4387"/>
                  </a:lnTo>
                  <a:lnTo>
                    <a:pt x="6055" y="4368"/>
                  </a:lnTo>
                  <a:lnTo>
                    <a:pt x="5982" y="4348"/>
                  </a:lnTo>
                  <a:lnTo>
                    <a:pt x="5910" y="4328"/>
                  </a:lnTo>
                  <a:lnTo>
                    <a:pt x="5838" y="4308"/>
                  </a:lnTo>
                  <a:lnTo>
                    <a:pt x="5766" y="4286"/>
                  </a:lnTo>
                  <a:lnTo>
                    <a:pt x="5694" y="4264"/>
                  </a:lnTo>
                  <a:lnTo>
                    <a:pt x="5624" y="4242"/>
                  </a:lnTo>
                  <a:lnTo>
                    <a:pt x="5553" y="4217"/>
                  </a:lnTo>
                  <a:lnTo>
                    <a:pt x="5605" y="4099"/>
                  </a:lnTo>
                  <a:lnTo>
                    <a:pt x="5658" y="3982"/>
                  </a:lnTo>
                  <a:lnTo>
                    <a:pt x="5714" y="3866"/>
                  </a:lnTo>
                  <a:lnTo>
                    <a:pt x="5771" y="3750"/>
                  </a:lnTo>
                  <a:lnTo>
                    <a:pt x="5830" y="3637"/>
                  </a:lnTo>
                  <a:lnTo>
                    <a:pt x="5889" y="3524"/>
                  </a:lnTo>
                  <a:lnTo>
                    <a:pt x="5951" y="3412"/>
                  </a:lnTo>
                  <a:lnTo>
                    <a:pt x="6014" y="3301"/>
                  </a:lnTo>
                  <a:lnTo>
                    <a:pt x="6078" y="3192"/>
                  </a:lnTo>
                  <a:lnTo>
                    <a:pt x="6144" y="3084"/>
                  </a:lnTo>
                  <a:lnTo>
                    <a:pt x="6212" y="2978"/>
                  </a:lnTo>
                  <a:lnTo>
                    <a:pt x="6279" y="2871"/>
                  </a:lnTo>
                  <a:lnTo>
                    <a:pt x="6349" y="2767"/>
                  </a:lnTo>
                  <a:lnTo>
                    <a:pt x="6421" y="2664"/>
                  </a:lnTo>
                  <a:lnTo>
                    <a:pt x="6494" y="2563"/>
                  </a:lnTo>
                  <a:lnTo>
                    <a:pt x="6568" y="2463"/>
                  </a:lnTo>
                  <a:lnTo>
                    <a:pt x="6643" y="2363"/>
                  </a:lnTo>
                  <a:lnTo>
                    <a:pt x="6718" y="2265"/>
                  </a:lnTo>
                  <a:lnTo>
                    <a:pt x="6796" y="2169"/>
                  </a:lnTo>
                  <a:lnTo>
                    <a:pt x="6875" y="2074"/>
                  </a:lnTo>
                  <a:lnTo>
                    <a:pt x="6955" y="1980"/>
                  </a:lnTo>
                  <a:lnTo>
                    <a:pt x="7038" y="1888"/>
                  </a:lnTo>
                  <a:lnTo>
                    <a:pt x="7121" y="1798"/>
                  </a:lnTo>
                  <a:lnTo>
                    <a:pt x="7204" y="1709"/>
                  </a:lnTo>
                  <a:lnTo>
                    <a:pt x="7289" y="1621"/>
                  </a:lnTo>
                  <a:lnTo>
                    <a:pt x="7375" y="1534"/>
                  </a:lnTo>
                  <a:lnTo>
                    <a:pt x="7463" y="1449"/>
                  </a:lnTo>
                  <a:lnTo>
                    <a:pt x="7552" y="1366"/>
                  </a:lnTo>
                  <a:lnTo>
                    <a:pt x="7642" y="1285"/>
                  </a:lnTo>
                  <a:lnTo>
                    <a:pt x="7732" y="1205"/>
                  </a:lnTo>
                  <a:lnTo>
                    <a:pt x="7825" y="1126"/>
                  </a:lnTo>
                  <a:lnTo>
                    <a:pt x="7918" y="1049"/>
                  </a:lnTo>
                  <a:lnTo>
                    <a:pt x="7931" y="1048"/>
                  </a:lnTo>
                  <a:lnTo>
                    <a:pt x="7945" y="1047"/>
                  </a:lnTo>
                  <a:close/>
                  <a:moveTo>
                    <a:pt x="9383" y="1137"/>
                  </a:moveTo>
                  <a:lnTo>
                    <a:pt x="9520" y="1161"/>
                  </a:lnTo>
                  <a:lnTo>
                    <a:pt x="9656" y="1187"/>
                  </a:lnTo>
                  <a:lnTo>
                    <a:pt x="9791" y="1215"/>
                  </a:lnTo>
                  <a:lnTo>
                    <a:pt x="9924" y="1246"/>
                  </a:lnTo>
                  <a:lnTo>
                    <a:pt x="10058" y="1279"/>
                  </a:lnTo>
                  <a:lnTo>
                    <a:pt x="10189" y="1315"/>
                  </a:lnTo>
                  <a:lnTo>
                    <a:pt x="10320" y="1353"/>
                  </a:lnTo>
                  <a:lnTo>
                    <a:pt x="10450" y="1393"/>
                  </a:lnTo>
                  <a:lnTo>
                    <a:pt x="10578" y="1436"/>
                  </a:lnTo>
                  <a:lnTo>
                    <a:pt x="10706" y="1481"/>
                  </a:lnTo>
                  <a:lnTo>
                    <a:pt x="10832" y="1528"/>
                  </a:lnTo>
                  <a:lnTo>
                    <a:pt x="10958" y="1579"/>
                  </a:lnTo>
                  <a:lnTo>
                    <a:pt x="11082" y="1630"/>
                  </a:lnTo>
                  <a:lnTo>
                    <a:pt x="11205" y="1684"/>
                  </a:lnTo>
                  <a:lnTo>
                    <a:pt x="11326" y="1740"/>
                  </a:lnTo>
                  <a:lnTo>
                    <a:pt x="11446" y="1799"/>
                  </a:lnTo>
                  <a:lnTo>
                    <a:pt x="11565" y="1859"/>
                  </a:lnTo>
                  <a:lnTo>
                    <a:pt x="11683" y="1921"/>
                  </a:lnTo>
                  <a:lnTo>
                    <a:pt x="11799" y="1986"/>
                  </a:lnTo>
                  <a:lnTo>
                    <a:pt x="11914" y="2054"/>
                  </a:lnTo>
                  <a:lnTo>
                    <a:pt x="12028" y="2122"/>
                  </a:lnTo>
                  <a:lnTo>
                    <a:pt x="12140" y="2193"/>
                  </a:lnTo>
                  <a:lnTo>
                    <a:pt x="12251" y="2266"/>
                  </a:lnTo>
                  <a:lnTo>
                    <a:pt x="12360" y="2340"/>
                  </a:lnTo>
                  <a:lnTo>
                    <a:pt x="12468" y="2417"/>
                  </a:lnTo>
                  <a:lnTo>
                    <a:pt x="12574" y="2496"/>
                  </a:lnTo>
                  <a:lnTo>
                    <a:pt x="12679" y="2576"/>
                  </a:lnTo>
                  <a:lnTo>
                    <a:pt x="12782" y="2659"/>
                  </a:lnTo>
                  <a:lnTo>
                    <a:pt x="12884" y="2743"/>
                  </a:lnTo>
                  <a:lnTo>
                    <a:pt x="12983" y="2829"/>
                  </a:lnTo>
                  <a:lnTo>
                    <a:pt x="13082" y="2917"/>
                  </a:lnTo>
                  <a:lnTo>
                    <a:pt x="13178" y="3007"/>
                  </a:lnTo>
                  <a:lnTo>
                    <a:pt x="13074" y="3084"/>
                  </a:lnTo>
                  <a:lnTo>
                    <a:pt x="12968" y="3159"/>
                  </a:lnTo>
                  <a:lnTo>
                    <a:pt x="12861" y="3233"/>
                  </a:lnTo>
                  <a:lnTo>
                    <a:pt x="12752" y="3305"/>
                  </a:lnTo>
                  <a:lnTo>
                    <a:pt x="12644" y="3377"/>
                  </a:lnTo>
                  <a:lnTo>
                    <a:pt x="12533" y="3446"/>
                  </a:lnTo>
                  <a:lnTo>
                    <a:pt x="12421" y="3513"/>
                  </a:lnTo>
                  <a:lnTo>
                    <a:pt x="12308" y="3579"/>
                  </a:lnTo>
                  <a:lnTo>
                    <a:pt x="12252" y="3611"/>
                  </a:lnTo>
                  <a:lnTo>
                    <a:pt x="12194" y="3643"/>
                  </a:lnTo>
                  <a:lnTo>
                    <a:pt x="12137" y="3674"/>
                  </a:lnTo>
                  <a:lnTo>
                    <a:pt x="12078" y="3705"/>
                  </a:lnTo>
                  <a:lnTo>
                    <a:pt x="12021" y="3736"/>
                  </a:lnTo>
                  <a:lnTo>
                    <a:pt x="11962" y="3766"/>
                  </a:lnTo>
                  <a:lnTo>
                    <a:pt x="11904" y="3796"/>
                  </a:lnTo>
                  <a:lnTo>
                    <a:pt x="11844" y="3825"/>
                  </a:lnTo>
                  <a:lnTo>
                    <a:pt x="11786" y="3854"/>
                  </a:lnTo>
                  <a:lnTo>
                    <a:pt x="11726" y="3882"/>
                  </a:lnTo>
                  <a:lnTo>
                    <a:pt x="11667" y="3909"/>
                  </a:lnTo>
                  <a:lnTo>
                    <a:pt x="11606" y="3936"/>
                  </a:lnTo>
                  <a:lnTo>
                    <a:pt x="11546" y="3963"/>
                  </a:lnTo>
                  <a:lnTo>
                    <a:pt x="11485" y="3989"/>
                  </a:lnTo>
                  <a:lnTo>
                    <a:pt x="11425" y="4015"/>
                  </a:lnTo>
                  <a:lnTo>
                    <a:pt x="11363" y="4040"/>
                  </a:lnTo>
                  <a:lnTo>
                    <a:pt x="11317" y="3936"/>
                  </a:lnTo>
                  <a:lnTo>
                    <a:pt x="11271" y="3833"/>
                  </a:lnTo>
                  <a:lnTo>
                    <a:pt x="11222" y="3729"/>
                  </a:lnTo>
                  <a:lnTo>
                    <a:pt x="11173" y="3628"/>
                  </a:lnTo>
                  <a:lnTo>
                    <a:pt x="11123" y="3527"/>
                  </a:lnTo>
                  <a:lnTo>
                    <a:pt x="11072" y="3427"/>
                  </a:lnTo>
                  <a:lnTo>
                    <a:pt x="11019" y="3326"/>
                  </a:lnTo>
                  <a:lnTo>
                    <a:pt x="10966" y="3228"/>
                  </a:lnTo>
                  <a:lnTo>
                    <a:pt x="10911" y="3130"/>
                  </a:lnTo>
                  <a:lnTo>
                    <a:pt x="10855" y="3034"/>
                  </a:lnTo>
                  <a:lnTo>
                    <a:pt x="10799" y="2938"/>
                  </a:lnTo>
                  <a:lnTo>
                    <a:pt x="10741" y="2842"/>
                  </a:lnTo>
                  <a:lnTo>
                    <a:pt x="10683" y="2748"/>
                  </a:lnTo>
                  <a:lnTo>
                    <a:pt x="10623" y="2654"/>
                  </a:lnTo>
                  <a:lnTo>
                    <a:pt x="10562" y="2562"/>
                  </a:lnTo>
                  <a:lnTo>
                    <a:pt x="10500" y="2471"/>
                  </a:lnTo>
                  <a:lnTo>
                    <a:pt x="10437" y="2379"/>
                  </a:lnTo>
                  <a:lnTo>
                    <a:pt x="10374" y="2290"/>
                  </a:lnTo>
                  <a:lnTo>
                    <a:pt x="10309" y="2201"/>
                  </a:lnTo>
                  <a:lnTo>
                    <a:pt x="10243" y="2113"/>
                  </a:lnTo>
                  <a:lnTo>
                    <a:pt x="10177" y="2027"/>
                  </a:lnTo>
                  <a:lnTo>
                    <a:pt x="10109" y="1940"/>
                  </a:lnTo>
                  <a:lnTo>
                    <a:pt x="10041" y="1855"/>
                  </a:lnTo>
                  <a:lnTo>
                    <a:pt x="9971" y="1771"/>
                  </a:lnTo>
                  <a:lnTo>
                    <a:pt x="9901" y="1689"/>
                  </a:lnTo>
                  <a:lnTo>
                    <a:pt x="9830" y="1607"/>
                  </a:lnTo>
                  <a:lnTo>
                    <a:pt x="9758" y="1525"/>
                  </a:lnTo>
                  <a:lnTo>
                    <a:pt x="9685" y="1446"/>
                  </a:lnTo>
                  <a:lnTo>
                    <a:pt x="9610" y="1367"/>
                  </a:lnTo>
                  <a:lnTo>
                    <a:pt x="9536" y="1289"/>
                  </a:lnTo>
                  <a:lnTo>
                    <a:pt x="9460" y="1213"/>
                  </a:lnTo>
                  <a:lnTo>
                    <a:pt x="9383" y="1137"/>
                  </a:lnTo>
                  <a:close/>
                  <a:moveTo>
                    <a:pt x="8502" y="1049"/>
                  </a:moveTo>
                  <a:lnTo>
                    <a:pt x="8595" y="1126"/>
                  </a:lnTo>
                  <a:lnTo>
                    <a:pt x="8687" y="1205"/>
                  </a:lnTo>
                  <a:lnTo>
                    <a:pt x="8778" y="1285"/>
                  </a:lnTo>
                  <a:lnTo>
                    <a:pt x="8867" y="1366"/>
                  </a:lnTo>
                  <a:lnTo>
                    <a:pt x="8957" y="1449"/>
                  </a:lnTo>
                  <a:lnTo>
                    <a:pt x="9044" y="1534"/>
                  </a:lnTo>
                  <a:lnTo>
                    <a:pt x="9130" y="1621"/>
                  </a:lnTo>
                  <a:lnTo>
                    <a:pt x="9215" y="1709"/>
                  </a:lnTo>
                  <a:lnTo>
                    <a:pt x="9299" y="1798"/>
                  </a:lnTo>
                  <a:lnTo>
                    <a:pt x="9382" y="1888"/>
                  </a:lnTo>
                  <a:lnTo>
                    <a:pt x="9464" y="1980"/>
                  </a:lnTo>
                  <a:lnTo>
                    <a:pt x="9544" y="2074"/>
                  </a:lnTo>
                  <a:lnTo>
                    <a:pt x="9623" y="2169"/>
                  </a:lnTo>
                  <a:lnTo>
                    <a:pt x="9701" y="2265"/>
                  </a:lnTo>
                  <a:lnTo>
                    <a:pt x="9778" y="2363"/>
                  </a:lnTo>
                  <a:lnTo>
                    <a:pt x="9852" y="2463"/>
                  </a:lnTo>
                  <a:lnTo>
                    <a:pt x="9926" y="2563"/>
                  </a:lnTo>
                  <a:lnTo>
                    <a:pt x="9999" y="2664"/>
                  </a:lnTo>
                  <a:lnTo>
                    <a:pt x="10070" y="2767"/>
                  </a:lnTo>
                  <a:lnTo>
                    <a:pt x="10140" y="2871"/>
                  </a:lnTo>
                  <a:lnTo>
                    <a:pt x="10209" y="2978"/>
                  </a:lnTo>
                  <a:lnTo>
                    <a:pt x="10275" y="3084"/>
                  </a:lnTo>
                  <a:lnTo>
                    <a:pt x="10341" y="3192"/>
                  </a:lnTo>
                  <a:lnTo>
                    <a:pt x="10406" y="3301"/>
                  </a:lnTo>
                  <a:lnTo>
                    <a:pt x="10468" y="3412"/>
                  </a:lnTo>
                  <a:lnTo>
                    <a:pt x="10530" y="3524"/>
                  </a:lnTo>
                  <a:lnTo>
                    <a:pt x="10589" y="3637"/>
                  </a:lnTo>
                  <a:lnTo>
                    <a:pt x="10648" y="3750"/>
                  </a:lnTo>
                  <a:lnTo>
                    <a:pt x="10705" y="3866"/>
                  </a:lnTo>
                  <a:lnTo>
                    <a:pt x="10761" y="3982"/>
                  </a:lnTo>
                  <a:lnTo>
                    <a:pt x="10815" y="4099"/>
                  </a:lnTo>
                  <a:lnTo>
                    <a:pt x="10867" y="4217"/>
                  </a:lnTo>
                  <a:lnTo>
                    <a:pt x="10797" y="4242"/>
                  </a:lnTo>
                  <a:lnTo>
                    <a:pt x="10725" y="4264"/>
                  </a:lnTo>
                  <a:lnTo>
                    <a:pt x="10654" y="4286"/>
                  </a:lnTo>
                  <a:lnTo>
                    <a:pt x="10582" y="4308"/>
                  </a:lnTo>
                  <a:lnTo>
                    <a:pt x="10510" y="4328"/>
                  </a:lnTo>
                  <a:lnTo>
                    <a:pt x="10437" y="4348"/>
                  </a:lnTo>
                  <a:lnTo>
                    <a:pt x="10366" y="4368"/>
                  </a:lnTo>
                  <a:lnTo>
                    <a:pt x="10293" y="4387"/>
                  </a:lnTo>
                  <a:lnTo>
                    <a:pt x="10219" y="4405"/>
                  </a:lnTo>
                  <a:lnTo>
                    <a:pt x="10146" y="4423"/>
                  </a:lnTo>
                  <a:lnTo>
                    <a:pt x="10072" y="4439"/>
                  </a:lnTo>
                  <a:lnTo>
                    <a:pt x="9998" y="4456"/>
                  </a:lnTo>
                  <a:lnTo>
                    <a:pt x="9924" y="4471"/>
                  </a:lnTo>
                  <a:lnTo>
                    <a:pt x="9850" y="4486"/>
                  </a:lnTo>
                  <a:lnTo>
                    <a:pt x="9775" y="4501"/>
                  </a:lnTo>
                  <a:lnTo>
                    <a:pt x="9701" y="4514"/>
                  </a:lnTo>
                  <a:lnTo>
                    <a:pt x="9626" y="4527"/>
                  </a:lnTo>
                  <a:lnTo>
                    <a:pt x="9551" y="4540"/>
                  </a:lnTo>
                  <a:lnTo>
                    <a:pt x="9475" y="4551"/>
                  </a:lnTo>
                  <a:lnTo>
                    <a:pt x="9400" y="4562"/>
                  </a:lnTo>
                  <a:lnTo>
                    <a:pt x="9324" y="4573"/>
                  </a:lnTo>
                  <a:lnTo>
                    <a:pt x="9247" y="4582"/>
                  </a:lnTo>
                  <a:lnTo>
                    <a:pt x="9171" y="4591"/>
                  </a:lnTo>
                  <a:lnTo>
                    <a:pt x="9094" y="4600"/>
                  </a:lnTo>
                  <a:lnTo>
                    <a:pt x="9018" y="4607"/>
                  </a:lnTo>
                  <a:lnTo>
                    <a:pt x="8940" y="4614"/>
                  </a:lnTo>
                  <a:lnTo>
                    <a:pt x="8863" y="4621"/>
                  </a:lnTo>
                  <a:lnTo>
                    <a:pt x="8786" y="4626"/>
                  </a:lnTo>
                  <a:lnTo>
                    <a:pt x="8708" y="4631"/>
                  </a:lnTo>
                  <a:lnTo>
                    <a:pt x="8630" y="4635"/>
                  </a:lnTo>
                  <a:lnTo>
                    <a:pt x="8552" y="4639"/>
                  </a:lnTo>
                  <a:lnTo>
                    <a:pt x="8474" y="4642"/>
                  </a:lnTo>
                  <a:lnTo>
                    <a:pt x="8474" y="1047"/>
                  </a:lnTo>
                  <a:lnTo>
                    <a:pt x="8489" y="1048"/>
                  </a:lnTo>
                  <a:lnTo>
                    <a:pt x="8502" y="1049"/>
                  </a:lnTo>
                  <a:close/>
                  <a:moveTo>
                    <a:pt x="7917" y="14987"/>
                  </a:moveTo>
                  <a:lnTo>
                    <a:pt x="7835" y="14918"/>
                  </a:lnTo>
                  <a:lnTo>
                    <a:pt x="7754" y="14850"/>
                  </a:lnTo>
                  <a:lnTo>
                    <a:pt x="7673" y="14779"/>
                  </a:lnTo>
                  <a:lnTo>
                    <a:pt x="7594" y="14708"/>
                  </a:lnTo>
                  <a:lnTo>
                    <a:pt x="7515" y="14636"/>
                  </a:lnTo>
                  <a:lnTo>
                    <a:pt x="7437" y="14562"/>
                  </a:lnTo>
                  <a:lnTo>
                    <a:pt x="7360" y="14487"/>
                  </a:lnTo>
                  <a:lnTo>
                    <a:pt x="7284" y="14410"/>
                  </a:lnTo>
                  <a:lnTo>
                    <a:pt x="7209" y="14333"/>
                  </a:lnTo>
                  <a:lnTo>
                    <a:pt x="7135" y="14255"/>
                  </a:lnTo>
                  <a:lnTo>
                    <a:pt x="7061" y="14175"/>
                  </a:lnTo>
                  <a:lnTo>
                    <a:pt x="6989" y="14095"/>
                  </a:lnTo>
                  <a:lnTo>
                    <a:pt x="6919" y="14012"/>
                  </a:lnTo>
                  <a:lnTo>
                    <a:pt x="6848" y="13930"/>
                  </a:lnTo>
                  <a:lnTo>
                    <a:pt x="6778" y="13846"/>
                  </a:lnTo>
                  <a:lnTo>
                    <a:pt x="6710" y="13761"/>
                  </a:lnTo>
                  <a:lnTo>
                    <a:pt x="6643" y="13675"/>
                  </a:lnTo>
                  <a:lnTo>
                    <a:pt x="6576" y="13588"/>
                  </a:lnTo>
                  <a:lnTo>
                    <a:pt x="6511" y="13499"/>
                  </a:lnTo>
                  <a:lnTo>
                    <a:pt x="6447" y="13410"/>
                  </a:lnTo>
                  <a:lnTo>
                    <a:pt x="6383" y="13319"/>
                  </a:lnTo>
                  <a:lnTo>
                    <a:pt x="6321" y="13228"/>
                  </a:lnTo>
                  <a:lnTo>
                    <a:pt x="6260" y="13135"/>
                  </a:lnTo>
                  <a:lnTo>
                    <a:pt x="6199" y="13042"/>
                  </a:lnTo>
                  <a:lnTo>
                    <a:pt x="6141" y="12948"/>
                  </a:lnTo>
                  <a:lnTo>
                    <a:pt x="6082" y="12853"/>
                  </a:lnTo>
                  <a:lnTo>
                    <a:pt x="6026" y="12757"/>
                  </a:lnTo>
                  <a:lnTo>
                    <a:pt x="5969" y="12659"/>
                  </a:lnTo>
                  <a:lnTo>
                    <a:pt x="5915" y="12561"/>
                  </a:lnTo>
                  <a:lnTo>
                    <a:pt x="5862" y="12462"/>
                  </a:lnTo>
                  <a:lnTo>
                    <a:pt x="5809" y="12363"/>
                  </a:lnTo>
                  <a:lnTo>
                    <a:pt x="5758" y="12262"/>
                  </a:lnTo>
                  <a:lnTo>
                    <a:pt x="5823" y="12242"/>
                  </a:lnTo>
                  <a:lnTo>
                    <a:pt x="5888" y="12223"/>
                  </a:lnTo>
                  <a:lnTo>
                    <a:pt x="5954" y="12204"/>
                  </a:lnTo>
                  <a:lnTo>
                    <a:pt x="6020" y="12187"/>
                  </a:lnTo>
                  <a:lnTo>
                    <a:pt x="6086" y="12169"/>
                  </a:lnTo>
                  <a:lnTo>
                    <a:pt x="6152" y="12153"/>
                  </a:lnTo>
                  <a:lnTo>
                    <a:pt x="6219" y="12136"/>
                  </a:lnTo>
                  <a:lnTo>
                    <a:pt x="6285" y="12121"/>
                  </a:lnTo>
                  <a:lnTo>
                    <a:pt x="6352" y="12106"/>
                  </a:lnTo>
                  <a:lnTo>
                    <a:pt x="6420" y="12091"/>
                  </a:lnTo>
                  <a:lnTo>
                    <a:pt x="6487" y="12077"/>
                  </a:lnTo>
                  <a:lnTo>
                    <a:pt x="6554" y="12064"/>
                  </a:lnTo>
                  <a:lnTo>
                    <a:pt x="6622" y="12051"/>
                  </a:lnTo>
                  <a:lnTo>
                    <a:pt x="6691" y="12039"/>
                  </a:lnTo>
                  <a:lnTo>
                    <a:pt x="6758" y="12027"/>
                  </a:lnTo>
                  <a:lnTo>
                    <a:pt x="6827" y="12016"/>
                  </a:lnTo>
                  <a:lnTo>
                    <a:pt x="6895" y="12005"/>
                  </a:lnTo>
                  <a:lnTo>
                    <a:pt x="6964" y="11995"/>
                  </a:lnTo>
                  <a:lnTo>
                    <a:pt x="7033" y="11986"/>
                  </a:lnTo>
                  <a:lnTo>
                    <a:pt x="7102" y="11976"/>
                  </a:lnTo>
                  <a:lnTo>
                    <a:pt x="7171" y="11968"/>
                  </a:lnTo>
                  <a:lnTo>
                    <a:pt x="7241" y="11960"/>
                  </a:lnTo>
                  <a:lnTo>
                    <a:pt x="7311" y="11953"/>
                  </a:lnTo>
                  <a:lnTo>
                    <a:pt x="7380" y="11946"/>
                  </a:lnTo>
                  <a:lnTo>
                    <a:pt x="7450" y="11940"/>
                  </a:lnTo>
                  <a:lnTo>
                    <a:pt x="7521" y="11934"/>
                  </a:lnTo>
                  <a:lnTo>
                    <a:pt x="7591" y="11929"/>
                  </a:lnTo>
                  <a:lnTo>
                    <a:pt x="7662" y="11924"/>
                  </a:lnTo>
                  <a:lnTo>
                    <a:pt x="7732" y="11920"/>
                  </a:lnTo>
                  <a:lnTo>
                    <a:pt x="7803" y="11916"/>
                  </a:lnTo>
                  <a:lnTo>
                    <a:pt x="7874" y="11913"/>
                  </a:lnTo>
                  <a:lnTo>
                    <a:pt x="7945" y="11911"/>
                  </a:lnTo>
                  <a:lnTo>
                    <a:pt x="7945" y="14988"/>
                  </a:lnTo>
                  <a:lnTo>
                    <a:pt x="7917" y="14987"/>
                  </a:lnTo>
                  <a:close/>
                  <a:moveTo>
                    <a:pt x="15347" y="7759"/>
                  </a:moveTo>
                  <a:lnTo>
                    <a:pt x="12171" y="7759"/>
                  </a:lnTo>
                  <a:lnTo>
                    <a:pt x="12168" y="7652"/>
                  </a:lnTo>
                  <a:lnTo>
                    <a:pt x="12163" y="7545"/>
                  </a:lnTo>
                  <a:lnTo>
                    <a:pt x="12157" y="7439"/>
                  </a:lnTo>
                  <a:lnTo>
                    <a:pt x="12151" y="7332"/>
                  </a:lnTo>
                  <a:lnTo>
                    <a:pt x="12144" y="7226"/>
                  </a:lnTo>
                  <a:lnTo>
                    <a:pt x="12136" y="7120"/>
                  </a:lnTo>
                  <a:lnTo>
                    <a:pt x="12126" y="7015"/>
                  </a:lnTo>
                  <a:lnTo>
                    <a:pt x="12115" y="6911"/>
                  </a:lnTo>
                  <a:lnTo>
                    <a:pt x="12104" y="6805"/>
                  </a:lnTo>
                  <a:lnTo>
                    <a:pt x="12092" y="6701"/>
                  </a:lnTo>
                  <a:lnTo>
                    <a:pt x="12078" y="6598"/>
                  </a:lnTo>
                  <a:lnTo>
                    <a:pt x="12063" y="6494"/>
                  </a:lnTo>
                  <a:lnTo>
                    <a:pt x="12047" y="6391"/>
                  </a:lnTo>
                  <a:lnTo>
                    <a:pt x="12031" y="6288"/>
                  </a:lnTo>
                  <a:lnTo>
                    <a:pt x="12014" y="6186"/>
                  </a:lnTo>
                  <a:lnTo>
                    <a:pt x="11995" y="6084"/>
                  </a:lnTo>
                  <a:lnTo>
                    <a:pt x="11976" y="5982"/>
                  </a:lnTo>
                  <a:lnTo>
                    <a:pt x="11954" y="5881"/>
                  </a:lnTo>
                  <a:lnTo>
                    <a:pt x="11933" y="5781"/>
                  </a:lnTo>
                  <a:lnTo>
                    <a:pt x="11910" y="5681"/>
                  </a:lnTo>
                  <a:lnTo>
                    <a:pt x="11886" y="5582"/>
                  </a:lnTo>
                  <a:lnTo>
                    <a:pt x="11862" y="5482"/>
                  </a:lnTo>
                  <a:lnTo>
                    <a:pt x="11836" y="5383"/>
                  </a:lnTo>
                  <a:lnTo>
                    <a:pt x="11810" y="5285"/>
                  </a:lnTo>
                  <a:lnTo>
                    <a:pt x="11783" y="5188"/>
                  </a:lnTo>
                  <a:lnTo>
                    <a:pt x="11754" y="5090"/>
                  </a:lnTo>
                  <a:lnTo>
                    <a:pt x="11724" y="4993"/>
                  </a:lnTo>
                  <a:lnTo>
                    <a:pt x="11694" y="4897"/>
                  </a:lnTo>
                  <a:lnTo>
                    <a:pt x="11663" y="4801"/>
                  </a:lnTo>
                  <a:lnTo>
                    <a:pt x="11630" y="4706"/>
                  </a:lnTo>
                  <a:lnTo>
                    <a:pt x="11597" y="4611"/>
                  </a:lnTo>
                  <a:lnTo>
                    <a:pt x="11563" y="4517"/>
                  </a:lnTo>
                  <a:lnTo>
                    <a:pt x="11630" y="4489"/>
                  </a:lnTo>
                  <a:lnTo>
                    <a:pt x="11695" y="4461"/>
                  </a:lnTo>
                  <a:lnTo>
                    <a:pt x="11762" y="4432"/>
                  </a:lnTo>
                  <a:lnTo>
                    <a:pt x="11828" y="4403"/>
                  </a:lnTo>
                  <a:lnTo>
                    <a:pt x="11894" y="4374"/>
                  </a:lnTo>
                  <a:lnTo>
                    <a:pt x="11959" y="4343"/>
                  </a:lnTo>
                  <a:lnTo>
                    <a:pt x="12024" y="4312"/>
                  </a:lnTo>
                  <a:lnTo>
                    <a:pt x="12088" y="4281"/>
                  </a:lnTo>
                  <a:lnTo>
                    <a:pt x="12153" y="4249"/>
                  </a:lnTo>
                  <a:lnTo>
                    <a:pt x="12217" y="4216"/>
                  </a:lnTo>
                  <a:lnTo>
                    <a:pt x="12280" y="4183"/>
                  </a:lnTo>
                  <a:lnTo>
                    <a:pt x="12344" y="4150"/>
                  </a:lnTo>
                  <a:lnTo>
                    <a:pt x="12407" y="4116"/>
                  </a:lnTo>
                  <a:lnTo>
                    <a:pt x="12469" y="4081"/>
                  </a:lnTo>
                  <a:lnTo>
                    <a:pt x="12532" y="4046"/>
                  </a:lnTo>
                  <a:lnTo>
                    <a:pt x="12593" y="4011"/>
                  </a:lnTo>
                  <a:lnTo>
                    <a:pt x="12655" y="3975"/>
                  </a:lnTo>
                  <a:lnTo>
                    <a:pt x="12717" y="3939"/>
                  </a:lnTo>
                  <a:lnTo>
                    <a:pt x="12778" y="3902"/>
                  </a:lnTo>
                  <a:lnTo>
                    <a:pt x="12839" y="3865"/>
                  </a:lnTo>
                  <a:lnTo>
                    <a:pt x="12899" y="3827"/>
                  </a:lnTo>
                  <a:lnTo>
                    <a:pt x="12959" y="3789"/>
                  </a:lnTo>
                  <a:lnTo>
                    <a:pt x="13019" y="3749"/>
                  </a:lnTo>
                  <a:lnTo>
                    <a:pt x="13078" y="3710"/>
                  </a:lnTo>
                  <a:lnTo>
                    <a:pt x="13137" y="3670"/>
                  </a:lnTo>
                  <a:lnTo>
                    <a:pt x="13196" y="3630"/>
                  </a:lnTo>
                  <a:lnTo>
                    <a:pt x="13254" y="3590"/>
                  </a:lnTo>
                  <a:lnTo>
                    <a:pt x="13313" y="3549"/>
                  </a:lnTo>
                  <a:lnTo>
                    <a:pt x="13370" y="3507"/>
                  </a:lnTo>
                  <a:lnTo>
                    <a:pt x="13428" y="3466"/>
                  </a:lnTo>
                  <a:lnTo>
                    <a:pt x="13485" y="3423"/>
                  </a:lnTo>
                  <a:lnTo>
                    <a:pt x="13542" y="3381"/>
                  </a:lnTo>
                  <a:lnTo>
                    <a:pt x="13641" y="3492"/>
                  </a:lnTo>
                  <a:lnTo>
                    <a:pt x="13738" y="3605"/>
                  </a:lnTo>
                  <a:lnTo>
                    <a:pt x="13832" y="3719"/>
                  </a:lnTo>
                  <a:lnTo>
                    <a:pt x="13924" y="3837"/>
                  </a:lnTo>
                  <a:lnTo>
                    <a:pt x="14014" y="3956"/>
                  </a:lnTo>
                  <a:lnTo>
                    <a:pt x="14101" y="4076"/>
                  </a:lnTo>
                  <a:lnTo>
                    <a:pt x="14185" y="4199"/>
                  </a:lnTo>
                  <a:lnTo>
                    <a:pt x="14266" y="4324"/>
                  </a:lnTo>
                  <a:lnTo>
                    <a:pt x="14346" y="4450"/>
                  </a:lnTo>
                  <a:lnTo>
                    <a:pt x="14422" y="4578"/>
                  </a:lnTo>
                  <a:lnTo>
                    <a:pt x="14496" y="4708"/>
                  </a:lnTo>
                  <a:lnTo>
                    <a:pt x="14567" y="4839"/>
                  </a:lnTo>
                  <a:lnTo>
                    <a:pt x="14634" y="4972"/>
                  </a:lnTo>
                  <a:lnTo>
                    <a:pt x="14700" y="5106"/>
                  </a:lnTo>
                  <a:lnTo>
                    <a:pt x="14763" y="5243"/>
                  </a:lnTo>
                  <a:lnTo>
                    <a:pt x="14822" y="5380"/>
                  </a:lnTo>
                  <a:lnTo>
                    <a:pt x="14879" y="5519"/>
                  </a:lnTo>
                  <a:lnTo>
                    <a:pt x="14932" y="5660"/>
                  </a:lnTo>
                  <a:lnTo>
                    <a:pt x="14982" y="5802"/>
                  </a:lnTo>
                  <a:lnTo>
                    <a:pt x="15031" y="5945"/>
                  </a:lnTo>
                  <a:lnTo>
                    <a:pt x="15075" y="6090"/>
                  </a:lnTo>
                  <a:lnTo>
                    <a:pt x="15116" y="6236"/>
                  </a:lnTo>
                  <a:lnTo>
                    <a:pt x="15154" y="6383"/>
                  </a:lnTo>
                  <a:lnTo>
                    <a:pt x="15189" y="6532"/>
                  </a:lnTo>
                  <a:lnTo>
                    <a:pt x="15220" y="6681"/>
                  </a:lnTo>
                  <a:lnTo>
                    <a:pt x="15248" y="6832"/>
                  </a:lnTo>
                  <a:lnTo>
                    <a:pt x="15273" y="6984"/>
                  </a:lnTo>
                  <a:lnTo>
                    <a:pt x="15294" y="7137"/>
                  </a:lnTo>
                  <a:lnTo>
                    <a:pt x="15313" y="7291"/>
                  </a:lnTo>
                  <a:lnTo>
                    <a:pt x="15327" y="7446"/>
                  </a:lnTo>
                  <a:lnTo>
                    <a:pt x="15338" y="7602"/>
                  </a:lnTo>
                  <a:lnTo>
                    <a:pt x="15347" y="7759"/>
                  </a:lnTo>
                  <a:close/>
                  <a:moveTo>
                    <a:pt x="8210" y="0"/>
                  </a:moveTo>
                  <a:lnTo>
                    <a:pt x="7787" y="10"/>
                  </a:lnTo>
                  <a:lnTo>
                    <a:pt x="7370" y="41"/>
                  </a:lnTo>
                  <a:lnTo>
                    <a:pt x="6960" y="92"/>
                  </a:lnTo>
                  <a:lnTo>
                    <a:pt x="6555" y="162"/>
                  </a:lnTo>
                  <a:lnTo>
                    <a:pt x="6158" y="253"/>
                  </a:lnTo>
                  <a:lnTo>
                    <a:pt x="5768" y="361"/>
                  </a:lnTo>
                  <a:lnTo>
                    <a:pt x="5386" y="486"/>
                  </a:lnTo>
                  <a:lnTo>
                    <a:pt x="5014" y="630"/>
                  </a:lnTo>
                  <a:lnTo>
                    <a:pt x="4651" y="791"/>
                  </a:lnTo>
                  <a:lnTo>
                    <a:pt x="4297" y="967"/>
                  </a:lnTo>
                  <a:lnTo>
                    <a:pt x="3953" y="1161"/>
                  </a:lnTo>
                  <a:lnTo>
                    <a:pt x="3619" y="1369"/>
                  </a:lnTo>
                  <a:lnTo>
                    <a:pt x="3298" y="1593"/>
                  </a:lnTo>
                  <a:lnTo>
                    <a:pt x="2987" y="1831"/>
                  </a:lnTo>
                  <a:lnTo>
                    <a:pt x="2690" y="2083"/>
                  </a:lnTo>
                  <a:lnTo>
                    <a:pt x="2404" y="2348"/>
                  </a:lnTo>
                  <a:lnTo>
                    <a:pt x="2132" y="2627"/>
                  </a:lnTo>
                  <a:lnTo>
                    <a:pt x="1875" y="2918"/>
                  </a:lnTo>
                  <a:lnTo>
                    <a:pt x="1631" y="3220"/>
                  </a:lnTo>
                  <a:lnTo>
                    <a:pt x="1402" y="3535"/>
                  </a:lnTo>
                  <a:lnTo>
                    <a:pt x="1188" y="3861"/>
                  </a:lnTo>
                  <a:lnTo>
                    <a:pt x="991" y="4195"/>
                  </a:lnTo>
                  <a:lnTo>
                    <a:pt x="810" y="4541"/>
                  </a:lnTo>
                  <a:lnTo>
                    <a:pt x="645" y="4897"/>
                  </a:lnTo>
                  <a:lnTo>
                    <a:pt x="498" y="5261"/>
                  </a:lnTo>
                  <a:lnTo>
                    <a:pt x="369" y="5634"/>
                  </a:lnTo>
                  <a:lnTo>
                    <a:pt x="259" y="6014"/>
                  </a:lnTo>
                  <a:lnTo>
                    <a:pt x="167" y="6402"/>
                  </a:lnTo>
                  <a:lnTo>
                    <a:pt x="94" y="6797"/>
                  </a:lnTo>
                  <a:lnTo>
                    <a:pt x="42" y="7198"/>
                  </a:lnTo>
                  <a:lnTo>
                    <a:pt x="10" y="7605"/>
                  </a:lnTo>
                  <a:lnTo>
                    <a:pt x="0" y="8018"/>
                  </a:lnTo>
                  <a:lnTo>
                    <a:pt x="10" y="8431"/>
                  </a:lnTo>
                  <a:lnTo>
                    <a:pt x="42" y="8838"/>
                  </a:lnTo>
                  <a:lnTo>
                    <a:pt x="94" y="9239"/>
                  </a:lnTo>
                  <a:lnTo>
                    <a:pt x="167" y="9634"/>
                  </a:lnTo>
                  <a:lnTo>
                    <a:pt x="259" y="10021"/>
                  </a:lnTo>
                  <a:lnTo>
                    <a:pt x="369" y="10402"/>
                  </a:lnTo>
                  <a:lnTo>
                    <a:pt x="498" y="10774"/>
                  </a:lnTo>
                  <a:lnTo>
                    <a:pt x="645" y="11139"/>
                  </a:lnTo>
                  <a:lnTo>
                    <a:pt x="810" y="11494"/>
                  </a:lnTo>
                  <a:lnTo>
                    <a:pt x="991" y="11840"/>
                  </a:lnTo>
                  <a:lnTo>
                    <a:pt x="1188" y="12175"/>
                  </a:lnTo>
                  <a:lnTo>
                    <a:pt x="1402" y="12501"/>
                  </a:lnTo>
                  <a:lnTo>
                    <a:pt x="1631" y="12815"/>
                  </a:lnTo>
                  <a:lnTo>
                    <a:pt x="1875" y="13118"/>
                  </a:lnTo>
                  <a:lnTo>
                    <a:pt x="2132" y="13409"/>
                  </a:lnTo>
                  <a:lnTo>
                    <a:pt x="2404" y="13688"/>
                  </a:lnTo>
                  <a:lnTo>
                    <a:pt x="2690" y="13953"/>
                  </a:lnTo>
                  <a:lnTo>
                    <a:pt x="2987" y="14205"/>
                  </a:lnTo>
                  <a:lnTo>
                    <a:pt x="3298" y="14443"/>
                  </a:lnTo>
                  <a:lnTo>
                    <a:pt x="3619" y="14667"/>
                  </a:lnTo>
                  <a:lnTo>
                    <a:pt x="3953" y="14875"/>
                  </a:lnTo>
                  <a:lnTo>
                    <a:pt x="4297" y="15068"/>
                  </a:lnTo>
                  <a:lnTo>
                    <a:pt x="4651" y="15245"/>
                  </a:lnTo>
                  <a:lnTo>
                    <a:pt x="5014" y="15406"/>
                  </a:lnTo>
                  <a:lnTo>
                    <a:pt x="5386" y="15550"/>
                  </a:lnTo>
                  <a:lnTo>
                    <a:pt x="5768" y="15675"/>
                  </a:lnTo>
                  <a:lnTo>
                    <a:pt x="6158" y="15783"/>
                  </a:lnTo>
                  <a:lnTo>
                    <a:pt x="6555" y="15873"/>
                  </a:lnTo>
                  <a:lnTo>
                    <a:pt x="6960" y="15944"/>
                  </a:lnTo>
                  <a:lnTo>
                    <a:pt x="7370" y="15995"/>
                  </a:lnTo>
                  <a:lnTo>
                    <a:pt x="7787" y="16026"/>
                  </a:lnTo>
                  <a:lnTo>
                    <a:pt x="8210" y="16036"/>
                  </a:lnTo>
                  <a:lnTo>
                    <a:pt x="8632" y="16026"/>
                  </a:lnTo>
                  <a:lnTo>
                    <a:pt x="9049" y="15995"/>
                  </a:lnTo>
                  <a:lnTo>
                    <a:pt x="9459" y="15944"/>
                  </a:lnTo>
                  <a:lnTo>
                    <a:pt x="9864" y="15873"/>
                  </a:lnTo>
                  <a:lnTo>
                    <a:pt x="10261" y="15783"/>
                  </a:lnTo>
                  <a:lnTo>
                    <a:pt x="10651" y="15675"/>
                  </a:lnTo>
                  <a:lnTo>
                    <a:pt x="11033" y="15550"/>
                  </a:lnTo>
                  <a:lnTo>
                    <a:pt x="11405" y="15406"/>
                  </a:lnTo>
                  <a:lnTo>
                    <a:pt x="11768" y="15245"/>
                  </a:lnTo>
                  <a:lnTo>
                    <a:pt x="12122" y="15068"/>
                  </a:lnTo>
                  <a:lnTo>
                    <a:pt x="12466" y="14875"/>
                  </a:lnTo>
                  <a:lnTo>
                    <a:pt x="12800" y="14667"/>
                  </a:lnTo>
                  <a:lnTo>
                    <a:pt x="13122" y="14443"/>
                  </a:lnTo>
                  <a:lnTo>
                    <a:pt x="13432" y="14205"/>
                  </a:lnTo>
                  <a:lnTo>
                    <a:pt x="13729" y="13953"/>
                  </a:lnTo>
                  <a:lnTo>
                    <a:pt x="14015" y="13688"/>
                  </a:lnTo>
                  <a:lnTo>
                    <a:pt x="14287" y="13409"/>
                  </a:lnTo>
                  <a:lnTo>
                    <a:pt x="14544" y="13118"/>
                  </a:lnTo>
                  <a:lnTo>
                    <a:pt x="14788" y="12815"/>
                  </a:lnTo>
                  <a:lnTo>
                    <a:pt x="15017" y="12501"/>
                  </a:lnTo>
                  <a:lnTo>
                    <a:pt x="15231" y="12175"/>
                  </a:lnTo>
                  <a:lnTo>
                    <a:pt x="15428" y="11840"/>
                  </a:lnTo>
                  <a:lnTo>
                    <a:pt x="15609" y="11494"/>
                  </a:lnTo>
                  <a:lnTo>
                    <a:pt x="15774" y="11139"/>
                  </a:lnTo>
                  <a:lnTo>
                    <a:pt x="15921" y="10774"/>
                  </a:lnTo>
                  <a:lnTo>
                    <a:pt x="16050" y="10402"/>
                  </a:lnTo>
                  <a:lnTo>
                    <a:pt x="16160" y="10021"/>
                  </a:lnTo>
                  <a:lnTo>
                    <a:pt x="16253" y="9634"/>
                  </a:lnTo>
                  <a:lnTo>
                    <a:pt x="16325" y="9239"/>
                  </a:lnTo>
                  <a:lnTo>
                    <a:pt x="16377" y="8838"/>
                  </a:lnTo>
                  <a:lnTo>
                    <a:pt x="16409" y="8431"/>
                  </a:lnTo>
                  <a:lnTo>
                    <a:pt x="16419" y="8018"/>
                  </a:lnTo>
                  <a:lnTo>
                    <a:pt x="16409" y="7605"/>
                  </a:lnTo>
                  <a:lnTo>
                    <a:pt x="16377" y="7198"/>
                  </a:lnTo>
                  <a:lnTo>
                    <a:pt x="16325" y="6797"/>
                  </a:lnTo>
                  <a:lnTo>
                    <a:pt x="16253" y="6402"/>
                  </a:lnTo>
                  <a:lnTo>
                    <a:pt x="16160" y="6014"/>
                  </a:lnTo>
                  <a:lnTo>
                    <a:pt x="16050" y="5634"/>
                  </a:lnTo>
                  <a:lnTo>
                    <a:pt x="15921" y="5261"/>
                  </a:lnTo>
                  <a:lnTo>
                    <a:pt x="15774" y="4897"/>
                  </a:lnTo>
                  <a:lnTo>
                    <a:pt x="15609" y="4541"/>
                  </a:lnTo>
                  <a:lnTo>
                    <a:pt x="15428" y="4195"/>
                  </a:lnTo>
                  <a:lnTo>
                    <a:pt x="15231" y="3861"/>
                  </a:lnTo>
                  <a:lnTo>
                    <a:pt x="15017" y="3535"/>
                  </a:lnTo>
                  <a:lnTo>
                    <a:pt x="14788" y="3220"/>
                  </a:lnTo>
                  <a:lnTo>
                    <a:pt x="14544" y="2918"/>
                  </a:lnTo>
                  <a:lnTo>
                    <a:pt x="14287" y="2627"/>
                  </a:lnTo>
                  <a:lnTo>
                    <a:pt x="14015" y="2348"/>
                  </a:lnTo>
                  <a:lnTo>
                    <a:pt x="13729" y="2083"/>
                  </a:lnTo>
                  <a:lnTo>
                    <a:pt x="13432" y="1831"/>
                  </a:lnTo>
                  <a:lnTo>
                    <a:pt x="13122" y="1593"/>
                  </a:lnTo>
                  <a:lnTo>
                    <a:pt x="12800" y="1369"/>
                  </a:lnTo>
                  <a:lnTo>
                    <a:pt x="12466" y="1161"/>
                  </a:lnTo>
                  <a:lnTo>
                    <a:pt x="12122" y="967"/>
                  </a:lnTo>
                  <a:lnTo>
                    <a:pt x="11768" y="791"/>
                  </a:lnTo>
                  <a:lnTo>
                    <a:pt x="11405" y="630"/>
                  </a:lnTo>
                  <a:lnTo>
                    <a:pt x="11033" y="486"/>
                  </a:lnTo>
                  <a:lnTo>
                    <a:pt x="10651" y="361"/>
                  </a:lnTo>
                  <a:lnTo>
                    <a:pt x="10261" y="253"/>
                  </a:lnTo>
                  <a:lnTo>
                    <a:pt x="9864" y="162"/>
                  </a:lnTo>
                  <a:lnTo>
                    <a:pt x="9459" y="92"/>
                  </a:lnTo>
                  <a:lnTo>
                    <a:pt x="9049" y="41"/>
                  </a:lnTo>
                  <a:lnTo>
                    <a:pt x="8632" y="10"/>
                  </a:lnTo>
                  <a:lnTo>
                    <a:pt x="821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34" name="îṧ1iďè">
              <a:extLst>
                <a:ext uri="{FF2B5EF4-FFF2-40B4-BE49-F238E27FC236}">
                  <a16:creationId xmlns:a16="http://schemas.microsoft.com/office/drawing/2014/main" id="{D717E463-F3E5-4CC9-8230-4250526A916F}"/>
                </a:ext>
              </a:extLst>
            </p:cNvPr>
            <p:cNvSpPr/>
            <p:nvPr/>
          </p:nvSpPr>
          <p:spPr bwMode="auto">
            <a:xfrm>
              <a:off x="8278886" y="2081544"/>
              <a:ext cx="265011" cy="190515"/>
            </a:xfrm>
            <a:custGeom>
              <a:avLst/>
              <a:gdLst>
                <a:gd name="T0" fmla="*/ 2486 w 16058"/>
                <a:gd name="T1" fmla="*/ 10403 h 11544"/>
                <a:gd name="T2" fmla="*/ 1591 w 16058"/>
                <a:gd name="T3" fmla="*/ 9798 h 11544"/>
                <a:gd name="T4" fmla="*/ 1075 w 16058"/>
                <a:gd name="T5" fmla="*/ 8845 h 11544"/>
                <a:gd name="T6" fmla="*/ 1034 w 16058"/>
                <a:gd name="T7" fmla="*/ 7911 h 11544"/>
                <a:gd name="T8" fmla="*/ 1269 w 16058"/>
                <a:gd name="T9" fmla="*/ 7227 h 11544"/>
                <a:gd name="T10" fmla="*/ 1712 w 16058"/>
                <a:gd name="T11" fmla="*/ 6654 h 11544"/>
                <a:gd name="T12" fmla="*/ 2311 w 16058"/>
                <a:gd name="T13" fmla="*/ 6236 h 11544"/>
                <a:gd name="T14" fmla="*/ 2677 w 16058"/>
                <a:gd name="T15" fmla="*/ 5951 h 11544"/>
                <a:gd name="T16" fmla="*/ 2739 w 16058"/>
                <a:gd name="T17" fmla="*/ 5626 h 11544"/>
                <a:gd name="T18" fmla="*/ 2564 w 16058"/>
                <a:gd name="T19" fmla="*/ 5102 h 11544"/>
                <a:gd name="T20" fmla="*/ 2509 w 16058"/>
                <a:gd name="T21" fmla="*/ 4790 h 11544"/>
                <a:gd name="T22" fmla="*/ 2634 w 16058"/>
                <a:gd name="T23" fmla="*/ 4225 h 11544"/>
                <a:gd name="T24" fmla="*/ 3014 w 16058"/>
                <a:gd name="T25" fmla="*/ 3763 h 11544"/>
                <a:gd name="T26" fmla="*/ 3573 w 16058"/>
                <a:gd name="T27" fmla="*/ 3528 h 11544"/>
                <a:gd name="T28" fmla="*/ 4022 w 16058"/>
                <a:gd name="T29" fmla="*/ 3524 h 11544"/>
                <a:gd name="T30" fmla="*/ 4410 w 16058"/>
                <a:gd name="T31" fmla="*/ 3616 h 11544"/>
                <a:gd name="T32" fmla="*/ 4822 w 16058"/>
                <a:gd name="T33" fmla="*/ 3718 h 11544"/>
                <a:gd name="T34" fmla="*/ 5077 w 16058"/>
                <a:gd name="T35" fmla="*/ 3578 h 11544"/>
                <a:gd name="T36" fmla="*/ 5304 w 16058"/>
                <a:gd name="T37" fmla="*/ 3154 h 11544"/>
                <a:gd name="T38" fmla="*/ 5986 w 16058"/>
                <a:gd name="T39" fmla="*/ 2112 h 11544"/>
                <a:gd name="T40" fmla="*/ 6970 w 16058"/>
                <a:gd name="T41" fmla="*/ 1377 h 11544"/>
                <a:gd name="T42" fmla="*/ 8153 w 16058"/>
                <a:gd name="T43" fmla="*/ 1025 h 11544"/>
                <a:gd name="T44" fmla="*/ 9661 w 16058"/>
                <a:gd name="T45" fmla="*/ 1190 h 11544"/>
                <a:gd name="T46" fmla="*/ 10994 w 16058"/>
                <a:gd name="T47" fmla="*/ 2023 h 11544"/>
                <a:gd name="T48" fmla="*/ 11831 w 16058"/>
                <a:gd name="T49" fmla="*/ 3370 h 11544"/>
                <a:gd name="T50" fmla="*/ 12046 w 16058"/>
                <a:gd name="T51" fmla="*/ 4561 h 11544"/>
                <a:gd name="T52" fmla="*/ 12173 w 16058"/>
                <a:gd name="T53" fmla="*/ 4853 h 11544"/>
                <a:gd name="T54" fmla="*/ 12517 w 16058"/>
                <a:gd name="T55" fmla="*/ 5002 h 11544"/>
                <a:gd name="T56" fmla="*/ 13610 w 16058"/>
                <a:gd name="T57" fmla="*/ 5356 h 11544"/>
                <a:gd name="T58" fmla="*/ 14494 w 16058"/>
                <a:gd name="T59" fmla="*/ 6116 h 11544"/>
                <a:gd name="T60" fmla="*/ 14988 w 16058"/>
                <a:gd name="T61" fmla="*/ 7177 h 11544"/>
                <a:gd name="T62" fmla="*/ 14968 w 16058"/>
                <a:gd name="T63" fmla="*/ 8469 h 11544"/>
                <a:gd name="T64" fmla="*/ 14337 w 16058"/>
                <a:gd name="T65" fmla="*/ 9634 h 11544"/>
                <a:gd name="T66" fmla="*/ 13243 w 16058"/>
                <a:gd name="T67" fmla="*/ 10372 h 11544"/>
                <a:gd name="T68" fmla="*/ 12944 w 16058"/>
                <a:gd name="T69" fmla="*/ 3664 h 11544"/>
                <a:gd name="T70" fmla="*/ 12111 w 16058"/>
                <a:gd name="T71" fmla="*/ 1788 h 11544"/>
                <a:gd name="T72" fmla="*/ 10564 w 16058"/>
                <a:gd name="T73" fmla="*/ 487 h 11544"/>
                <a:gd name="T74" fmla="*/ 8531 w 16058"/>
                <a:gd name="T75" fmla="*/ 0 h 11544"/>
                <a:gd name="T76" fmla="*/ 6922 w 16058"/>
                <a:gd name="T77" fmla="*/ 297 h 11544"/>
                <a:gd name="T78" fmla="*/ 5572 w 16058"/>
                <a:gd name="T79" fmla="*/ 1115 h 11544"/>
                <a:gd name="T80" fmla="*/ 4587 w 16058"/>
                <a:gd name="T81" fmla="*/ 2341 h 11544"/>
                <a:gd name="T82" fmla="*/ 4112 w 16058"/>
                <a:gd name="T83" fmla="*/ 2541 h 11544"/>
                <a:gd name="T84" fmla="*/ 3533 w 16058"/>
                <a:gd name="T85" fmla="*/ 2521 h 11544"/>
                <a:gd name="T86" fmla="*/ 2501 w 16058"/>
                <a:gd name="T87" fmla="*/ 2896 h 11544"/>
                <a:gd name="T88" fmla="*/ 1778 w 16058"/>
                <a:gd name="T89" fmla="*/ 3692 h 11544"/>
                <a:gd name="T90" fmla="*/ 1505 w 16058"/>
                <a:gd name="T91" fmla="*/ 4768 h 11544"/>
                <a:gd name="T92" fmla="*/ 1558 w 16058"/>
                <a:gd name="T93" fmla="*/ 5217 h 11544"/>
                <a:gd name="T94" fmla="*/ 1281 w 16058"/>
                <a:gd name="T95" fmla="*/ 5706 h 11544"/>
                <a:gd name="T96" fmla="*/ 564 w 16058"/>
                <a:gd name="T97" fmla="*/ 6461 h 11544"/>
                <a:gd name="T98" fmla="*/ 118 w 16058"/>
                <a:gd name="T99" fmla="*/ 7414 h 11544"/>
                <a:gd name="T100" fmla="*/ 17 w 16058"/>
                <a:gd name="T101" fmla="*/ 8615 h 11544"/>
                <a:gd name="T102" fmla="*/ 557 w 16058"/>
                <a:gd name="T103" fmla="*/ 10106 h 11544"/>
                <a:gd name="T104" fmla="*/ 1707 w 16058"/>
                <a:gd name="T105" fmla="*/ 11150 h 11544"/>
                <a:gd name="T106" fmla="*/ 3262 w 16058"/>
                <a:gd name="T107" fmla="*/ 11543 h 11544"/>
                <a:gd name="T108" fmla="*/ 13589 w 16058"/>
                <a:gd name="T109" fmla="*/ 11315 h 11544"/>
                <a:gd name="T110" fmla="*/ 15080 w 16058"/>
                <a:gd name="T111" fmla="*/ 10310 h 11544"/>
                <a:gd name="T112" fmla="*/ 15940 w 16058"/>
                <a:gd name="T113" fmla="*/ 8720 h 11544"/>
                <a:gd name="T114" fmla="*/ 15965 w 16058"/>
                <a:gd name="T115" fmla="*/ 6945 h 11544"/>
                <a:gd name="T116" fmla="*/ 15283 w 16058"/>
                <a:gd name="T117" fmla="*/ 5493 h 11544"/>
                <a:gd name="T118" fmla="*/ 14075 w 16058"/>
                <a:gd name="T119" fmla="*/ 4467 h 11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58" h="11544">
                  <a:moveTo>
                    <a:pt x="12294" y="10539"/>
                  </a:moveTo>
                  <a:lnTo>
                    <a:pt x="12294" y="10540"/>
                  </a:lnTo>
                  <a:lnTo>
                    <a:pt x="3262" y="10540"/>
                  </a:lnTo>
                  <a:lnTo>
                    <a:pt x="3145" y="10537"/>
                  </a:lnTo>
                  <a:lnTo>
                    <a:pt x="3031" y="10528"/>
                  </a:lnTo>
                  <a:lnTo>
                    <a:pt x="2919" y="10514"/>
                  </a:lnTo>
                  <a:lnTo>
                    <a:pt x="2807" y="10494"/>
                  </a:lnTo>
                  <a:lnTo>
                    <a:pt x="2698" y="10469"/>
                  </a:lnTo>
                  <a:lnTo>
                    <a:pt x="2591" y="10438"/>
                  </a:lnTo>
                  <a:lnTo>
                    <a:pt x="2486" y="10403"/>
                  </a:lnTo>
                  <a:lnTo>
                    <a:pt x="2384" y="10363"/>
                  </a:lnTo>
                  <a:lnTo>
                    <a:pt x="2284" y="10316"/>
                  </a:lnTo>
                  <a:lnTo>
                    <a:pt x="2187" y="10267"/>
                  </a:lnTo>
                  <a:lnTo>
                    <a:pt x="2092" y="10212"/>
                  </a:lnTo>
                  <a:lnTo>
                    <a:pt x="2000" y="10154"/>
                  </a:lnTo>
                  <a:lnTo>
                    <a:pt x="1912" y="10091"/>
                  </a:lnTo>
                  <a:lnTo>
                    <a:pt x="1827" y="10023"/>
                  </a:lnTo>
                  <a:lnTo>
                    <a:pt x="1744" y="9952"/>
                  </a:lnTo>
                  <a:lnTo>
                    <a:pt x="1666" y="9878"/>
                  </a:lnTo>
                  <a:lnTo>
                    <a:pt x="1591" y="9798"/>
                  </a:lnTo>
                  <a:lnTo>
                    <a:pt x="1520" y="9717"/>
                  </a:lnTo>
                  <a:lnTo>
                    <a:pt x="1453" y="9632"/>
                  </a:lnTo>
                  <a:lnTo>
                    <a:pt x="1390" y="9543"/>
                  </a:lnTo>
                  <a:lnTo>
                    <a:pt x="1331" y="9451"/>
                  </a:lnTo>
                  <a:lnTo>
                    <a:pt x="1277" y="9357"/>
                  </a:lnTo>
                  <a:lnTo>
                    <a:pt x="1226" y="9259"/>
                  </a:lnTo>
                  <a:lnTo>
                    <a:pt x="1181" y="9159"/>
                  </a:lnTo>
                  <a:lnTo>
                    <a:pt x="1141" y="9057"/>
                  </a:lnTo>
                  <a:lnTo>
                    <a:pt x="1105" y="8952"/>
                  </a:lnTo>
                  <a:lnTo>
                    <a:pt x="1075" y="8845"/>
                  </a:lnTo>
                  <a:lnTo>
                    <a:pt x="1050" y="8736"/>
                  </a:lnTo>
                  <a:lnTo>
                    <a:pt x="1030" y="8624"/>
                  </a:lnTo>
                  <a:lnTo>
                    <a:pt x="1016" y="8512"/>
                  </a:lnTo>
                  <a:lnTo>
                    <a:pt x="1007" y="8397"/>
                  </a:lnTo>
                  <a:lnTo>
                    <a:pt x="1004" y="8281"/>
                  </a:lnTo>
                  <a:lnTo>
                    <a:pt x="1005" y="8207"/>
                  </a:lnTo>
                  <a:lnTo>
                    <a:pt x="1009" y="8131"/>
                  </a:lnTo>
                  <a:lnTo>
                    <a:pt x="1015" y="8057"/>
                  </a:lnTo>
                  <a:lnTo>
                    <a:pt x="1024" y="7984"/>
                  </a:lnTo>
                  <a:lnTo>
                    <a:pt x="1034" y="7911"/>
                  </a:lnTo>
                  <a:lnTo>
                    <a:pt x="1048" y="7839"/>
                  </a:lnTo>
                  <a:lnTo>
                    <a:pt x="1063" y="7768"/>
                  </a:lnTo>
                  <a:lnTo>
                    <a:pt x="1081" y="7697"/>
                  </a:lnTo>
                  <a:lnTo>
                    <a:pt x="1101" y="7627"/>
                  </a:lnTo>
                  <a:lnTo>
                    <a:pt x="1123" y="7558"/>
                  </a:lnTo>
                  <a:lnTo>
                    <a:pt x="1148" y="7490"/>
                  </a:lnTo>
                  <a:lnTo>
                    <a:pt x="1175" y="7423"/>
                  </a:lnTo>
                  <a:lnTo>
                    <a:pt x="1203" y="7356"/>
                  </a:lnTo>
                  <a:lnTo>
                    <a:pt x="1235" y="7291"/>
                  </a:lnTo>
                  <a:lnTo>
                    <a:pt x="1269" y="7227"/>
                  </a:lnTo>
                  <a:lnTo>
                    <a:pt x="1304" y="7165"/>
                  </a:lnTo>
                  <a:lnTo>
                    <a:pt x="1341" y="7102"/>
                  </a:lnTo>
                  <a:lnTo>
                    <a:pt x="1381" y="7041"/>
                  </a:lnTo>
                  <a:lnTo>
                    <a:pt x="1422" y="6982"/>
                  </a:lnTo>
                  <a:lnTo>
                    <a:pt x="1465" y="6924"/>
                  </a:lnTo>
                  <a:lnTo>
                    <a:pt x="1511" y="6867"/>
                  </a:lnTo>
                  <a:lnTo>
                    <a:pt x="1559" y="6811"/>
                  </a:lnTo>
                  <a:lnTo>
                    <a:pt x="1608" y="6757"/>
                  </a:lnTo>
                  <a:lnTo>
                    <a:pt x="1659" y="6705"/>
                  </a:lnTo>
                  <a:lnTo>
                    <a:pt x="1712" y="6654"/>
                  </a:lnTo>
                  <a:lnTo>
                    <a:pt x="1767" y="6604"/>
                  </a:lnTo>
                  <a:lnTo>
                    <a:pt x="1825" y="6555"/>
                  </a:lnTo>
                  <a:lnTo>
                    <a:pt x="1883" y="6509"/>
                  </a:lnTo>
                  <a:lnTo>
                    <a:pt x="1943" y="6464"/>
                  </a:lnTo>
                  <a:lnTo>
                    <a:pt x="2005" y="6421"/>
                  </a:lnTo>
                  <a:lnTo>
                    <a:pt x="2069" y="6380"/>
                  </a:lnTo>
                  <a:lnTo>
                    <a:pt x="2135" y="6341"/>
                  </a:lnTo>
                  <a:lnTo>
                    <a:pt x="2198" y="6304"/>
                  </a:lnTo>
                  <a:lnTo>
                    <a:pt x="2256" y="6269"/>
                  </a:lnTo>
                  <a:lnTo>
                    <a:pt x="2311" y="6236"/>
                  </a:lnTo>
                  <a:lnTo>
                    <a:pt x="2364" y="6205"/>
                  </a:lnTo>
                  <a:lnTo>
                    <a:pt x="2412" y="6174"/>
                  </a:lnTo>
                  <a:lnTo>
                    <a:pt x="2456" y="6145"/>
                  </a:lnTo>
                  <a:lnTo>
                    <a:pt x="2498" y="6116"/>
                  </a:lnTo>
                  <a:lnTo>
                    <a:pt x="2535" y="6088"/>
                  </a:lnTo>
                  <a:lnTo>
                    <a:pt x="2570" y="6061"/>
                  </a:lnTo>
                  <a:lnTo>
                    <a:pt x="2601" y="6033"/>
                  </a:lnTo>
                  <a:lnTo>
                    <a:pt x="2629" y="6006"/>
                  </a:lnTo>
                  <a:lnTo>
                    <a:pt x="2655" y="5979"/>
                  </a:lnTo>
                  <a:lnTo>
                    <a:pt x="2677" y="5951"/>
                  </a:lnTo>
                  <a:lnTo>
                    <a:pt x="2696" y="5923"/>
                  </a:lnTo>
                  <a:lnTo>
                    <a:pt x="2712" y="5895"/>
                  </a:lnTo>
                  <a:lnTo>
                    <a:pt x="2725" y="5866"/>
                  </a:lnTo>
                  <a:lnTo>
                    <a:pt x="2735" y="5836"/>
                  </a:lnTo>
                  <a:lnTo>
                    <a:pt x="2742" y="5805"/>
                  </a:lnTo>
                  <a:lnTo>
                    <a:pt x="2747" y="5773"/>
                  </a:lnTo>
                  <a:lnTo>
                    <a:pt x="2748" y="5738"/>
                  </a:lnTo>
                  <a:lnTo>
                    <a:pt x="2748" y="5703"/>
                  </a:lnTo>
                  <a:lnTo>
                    <a:pt x="2744" y="5665"/>
                  </a:lnTo>
                  <a:lnTo>
                    <a:pt x="2739" y="5626"/>
                  </a:lnTo>
                  <a:lnTo>
                    <a:pt x="2730" y="5585"/>
                  </a:lnTo>
                  <a:lnTo>
                    <a:pt x="2720" y="5542"/>
                  </a:lnTo>
                  <a:lnTo>
                    <a:pt x="2707" y="5495"/>
                  </a:lnTo>
                  <a:lnTo>
                    <a:pt x="2691" y="5446"/>
                  </a:lnTo>
                  <a:lnTo>
                    <a:pt x="2674" y="5395"/>
                  </a:lnTo>
                  <a:lnTo>
                    <a:pt x="2654" y="5340"/>
                  </a:lnTo>
                  <a:lnTo>
                    <a:pt x="2632" y="5282"/>
                  </a:lnTo>
                  <a:lnTo>
                    <a:pt x="2607" y="5220"/>
                  </a:lnTo>
                  <a:lnTo>
                    <a:pt x="2581" y="5156"/>
                  </a:lnTo>
                  <a:lnTo>
                    <a:pt x="2564" y="5102"/>
                  </a:lnTo>
                  <a:lnTo>
                    <a:pt x="2549" y="5050"/>
                  </a:lnTo>
                  <a:lnTo>
                    <a:pt x="2537" y="5000"/>
                  </a:lnTo>
                  <a:lnTo>
                    <a:pt x="2527" y="4950"/>
                  </a:lnTo>
                  <a:lnTo>
                    <a:pt x="2523" y="4926"/>
                  </a:lnTo>
                  <a:lnTo>
                    <a:pt x="2519" y="4903"/>
                  </a:lnTo>
                  <a:lnTo>
                    <a:pt x="2516" y="4880"/>
                  </a:lnTo>
                  <a:lnTo>
                    <a:pt x="2514" y="4857"/>
                  </a:lnTo>
                  <a:lnTo>
                    <a:pt x="2512" y="4834"/>
                  </a:lnTo>
                  <a:lnTo>
                    <a:pt x="2510" y="4812"/>
                  </a:lnTo>
                  <a:lnTo>
                    <a:pt x="2509" y="4790"/>
                  </a:lnTo>
                  <a:lnTo>
                    <a:pt x="2509" y="4768"/>
                  </a:lnTo>
                  <a:lnTo>
                    <a:pt x="2511" y="4704"/>
                  </a:lnTo>
                  <a:lnTo>
                    <a:pt x="2516" y="4640"/>
                  </a:lnTo>
                  <a:lnTo>
                    <a:pt x="2524" y="4577"/>
                  </a:lnTo>
                  <a:lnTo>
                    <a:pt x="2535" y="4516"/>
                  </a:lnTo>
                  <a:lnTo>
                    <a:pt x="2549" y="4455"/>
                  </a:lnTo>
                  <a:lnTo>
                    <a:pt x="2565" y="4395"/>
                  </a:lnTo>
                  <a:lnTo>
                    <a:pt x="2585" y="4337"/>
                  </a:lnTo>
                  <a:lnTo>
                    <a:pt x="2608" y="4280"/>
                  </a:lnTo>
                  <a:lnTo>
                    <a:pt x="2634" y="4225"/>
                  </a:lnTo>
                  <a:lnTo>
                    <a:pt x="2661" y="4171"/>
                  </a:lnTo>
                  <a:lnTo>
                    <a:pt x="2691" y="4118"/>
                  </a:lnTo>
                  <a:lnTo>
                    <a:pt x="2724" y="4067"/>
                  </a:lnTo>
                  <a:lnTo>
                    <a:pt x="2759" y="4018"/>
                  </a:lnTo>
                  <a:lnTo>
                    <a:pt x="2796" y="3971"/>
                  </a:lnTo>
                  <a:lnTo>
                    <a:pt x="2835" y="3925"/>
                  </a:lnTo>
                  <a:lnTo>
                    <a:pt x="2877" y="3881"/>
                  </a:lnTo>
                  <a:lnTo>
                    <a:pt x="2921" y="3839"/>
                  </a:lnTo>
                  <a:lnTo>
                    <a:pt x="2966" y="3800"/>
                  </a:lnTo>
                  <a:lnTo>
                    <a:pt x="3014" y="3763"/>
                  </a:lnTo>
                  <a:lnTo>
                    <a:pt x="3063" y="3728"/>
                  </a:lnTo>
                  <a:lnTo>
                    <a:pt x="3113" y="3696"/>
                  </a:lnTo>
                  <a:lnTo>
                    <a:pt x="3166" y="3665"/>
                  </a:lnTo>
                  <a:lnTo>
                    <a:pt x="3221" y="3638"/>
                  </a:lnTo>
                  <a:lnTo>
                    <a:pt x="3276" y="3612"/>
                  </a:lnTo>
                  <a:lnTo>
                    <a:pt x="3333" y="3589"/>
                  </a:lnTo>
                  <a:lnTo>
                    <a:pt x="3391" y="3570"/>
                  </a:lnTo>
                  <a:lnTo>
                    <a:pt x="3450" y="3553"/>
                  </a:lnTo>
                  <a:lnTo>
                    <a:pt x="3512" y="3539"/>
                  </a:lnTo>
                  <a:lnTo>
                    <a:pt x="3573" y="3528"/>
                  </a:lnTo>
                  <a:lnTo>
                    <a:pt x="3636" y="3520"/>
                  </a:lnTo>
                  <a:lnTo>
                    <a:pt x="3699" y="3515"/>
                  </a:lnTo>
                  <a:lnTo>
                    <a:pt x="3764" y="3513"/>
                  </a:lnTo>
                  <a:lnTo>
                    <a:pt x="3779" y="3513"/>
                  </a:lnTo>
                  <a:lnTo>
                    <a:pt x="3821" y="3512"/>
                  </a:lnTo>
                  <a:lnTo>
                    <a:pt x="3851" y="3512"/>
                  </a:lnTo>
                  <a:lnTo>
                    <a:pt x="3886" y="3513"/>
                  </a:lnTo>
                  <a:lnTo>
                    <a:pt x="3927" y="3515"/>
                  </a:lnTo>
                  <a:lnTo>
                    <a:pt x="3972" y="3519"/>
                  </a:lnTo>
                  <a:lnTo>
                    <a:pt x="4022" y="3524"/>
                  </a:lnTo>
                  <a:lnTo>
                    <a:pt x="4074" y="3531"/>
                  </a:lnTo>
                  <a:lnTo>
                    <a:pt x="4130" y="3540"/>
                  </a:lnTo>
                  <a:lnTo>
                    <a:pt x="4189" y="3552"/>
                  </a:lnTo>
                  <a:lnTo>
                    <a:pt x="4219" y="3559"/>
                  </a:lnTo>
                  <a:lnTo>
                    <a:pt x="4250" y="3566"/>
                  </a:lnTo>
                  <a:lnTo>
                    <a:pt x="4281" y="3575"/>
                  </a:lnTo>
                  <a:lnTo>
                    <a:pt x="4314" y="3584"/>
                  </a:lnTo>
                  <a:lnTo>
                    <a:pt x="4345" y="3594"/>
                  </a:lnTo>
                  <a:lnTo>
                    <a:pt x="4378" y="3604"/>
                  </a:lnTo>
                  <a:lnTo>
                    <a:pt x="4410" y="3616"/>
                  </a:lnTo>
                  <a:lnTo>
                    <a:pt x="4443" y="3629"/>
                  </a:lnTo>
                  <a:lnTo>
                    <a:pt x="4495" y="3649"/>
                  </a:lnTo>
                  <a:lnTo>
                    <a:pt x="4544" y="3667"/>
                  </a:lnTo>
                  <a:lnTo>
                    <a:pt x="4592" y="3682"/>
                  </a:lnTo>
                  <a:lnTo>
                    <a:pt x="4636" y="3694"/>
                  </a:lnTo>
                  <a:lnTo>
                    <a:pt x="4678" y="3704"/>
                  </a:lnTo>
                  <a:lnTo>
                    <a:pt x="4717" y="3711"/>
                  </a:lnTo>
                  <a:lnTo>
                    <a:pt x="4754" y="3716"/>
                  </a:lnTo>
                  <a:lnTo>
                    <a:pt x="4789" y="3718"/>
                  </a:lnTo>
                  <a:lnTo>
                    <a:pt x="4822" y="3718"/>
                  </a:lnTo>
                  <a:lnTo>
                    <a:pt x="4855" y="3715"/>
                  </a:lnTo>
                  <a:lnTo>
                    <a:pt x="4884" y="3710"/>
                  </a:lnTo>
                  <a:lnTo>
                    <a:pt x="4912" y="3702"/>
                  </a:lnTo>
                  <a:lnTo>
                    <a:pt x="4939" y="3692"/>
                  </a:lnTo>
                  <a:lnTo>
                    <a:pt x="4964" y="3679"/>
                  </a:lnTo>
                  <a:lnTo>
                    <a:pt x="4989" y="3664"/>
                  </a:lnTo>
                  <a:lnTo>
                    <a:pt x="5012" y="3646"/>
                  </a:lnTo>
                  <a:lnTo>
                    <a:pt x="5034" y="3626"/>
                  </a:lnTo>
                  <a:lnTo>
                    <a:pt x="5056" y="3603"/>
                  </a:lnTo>
                  <a:lnTo>
                    <a:pt x="5077" y="3578"/>
                  </a:lnTo>
                  <a:lnTo>
                    <a:pt x="5097" y="3551"/>
                  </a:lnTo>
                  <a:lnTo>
                    <a:pt x="5117" y="3522"/>
                  </a:lnTo>
                  <a:lnTo>
                    <a:pt x="5138" y="3490"/>
                  </a:lnTo>
                  <a:lnTo>
                    <a:pt x="5158" y="3456"/>
                  </a:lnTo>
                  <a:lnTo>
                    <a:pt x="5177" y="3420"/>
                  </a:lnTo>
                  <a:lnTo>
                    <a:pt x="5197" y="3382"/>
                  </a:lnTo>
                  <a:lnTo>
                    <a:pt x="5218" y="3340"/>
                  </a:lnTo>
                  <a:lnTo>
                    <a:pt x="5238" y="3297"/>
                  </a:lnTo>
                  <a:lnTo>
                    <a:pt x="5260" y="3251"/>
                  </a:lnTo>
                  <a:lnTo>
                    <a:pt x="5304" y="3154"/>
                  </a:lnTo>
                  <a:lnTo>
                    <a:pt x="5353" y="3047"/>
                  </a:lnTo>
                  <a:lnTo>
                    <a:pt x="5409" y="2932"/>
                  </a:lnTo>
                  <a:lnTo>
                    <a:pt x="5469" y="2820"/>
                  </a:lnTo>
                  <a:lnTo>
                    <a:pt x="5532" y="2710"/>
                  </a:lnTo>
                  <a:lnTo>
                    <a:pt x="5599" y="2603"/>
                  </a:lnTo>
                  <a:lnTo>
                    <a:pt x="5669" y="2499"/>
                  </a:lnTo>
                  <a:lnTo>
                    <a:pt x="5744" y="2398"/>
                  </a:lnTo>
                  <a:lnTo>
                    <a:pt x="5821" y="2300"/>
                  </a:lnTo>
                  <a:lnTo>
                    <a:pt x="5902" y="2204"/>
                  </a:lnTo>
                  <a:lnTo>
                    <a:pt x="5986" y="2112"/>
                  </a:lnTo>
                  <a:lnTo>
                    <a:pt x="6072" y="2024"/>
                  </a:lnTo>
                  <a:lnTo>
                    <a:pt x="6161" y="1938"/>
                  </a:lnTo>
                  <a:lnTo>
                    <a:pt x="6255" y="1856"/>
                  </a:lnTo>
                  <a:lnTo>
                    <a:pt x="6349" y="1777"/>
                  </a:lnTo>
                  <a:lnTo>
                    <a:pt x="6447" y="1701"/>
                  </a:lnTo>
                  <a:lnTo>
                    <a:pt x="6547" y="1629"/>
                  </a:lnTo>
                  <a:lnTo>
                    <a:pt x="6650" y="1560"/>
                  </a:lnTo>
                  <a:lnTo>
                    <a:pt x="6754" y="1496"/>
                  </a:lnTo>
                  <a:lnTo>
                    <a:pt x="6862" y="1434"/>
                  </a:lnTo>
                  <a:lnTo>
                    <a:pt x="6970" y="1377"/>
                  </a:lnTo>
                  <a:lnTo>
                    <a:pt x="7082" y="1323"/>
                  </a:lnTo>
                  <a:lnTo>
                    <a:pt x="7195" y="1274"/>
                  </a:lnTo>
                  <a:lnTo>
                    <a:pt x="7309" y="1228"/>
                  </a:lnTo>
                  <a:lnTo>
                    <a:pt x="7426" y="1186"/>
                  </a:lnTo>
                  <a:lnTo>
                    <a:pt x="7543" y="1148"/>
                  </a:lnTo>
                  <a:lnTo>
                    <a:pt x="7663" y="1115"/>
                  </a:lnTo>
                  <a:lnTo>
                    <a:pt x="7784" y="1086"/>
                  </a:lnTo>
                  <a:lnTo>
                    <a:pt x="7906" y="1061"/>
                  </a:lnTo>
                  <a:lnTo>
                    <a:pt x="8029" y="1041"/>
                  </a:lnTo>
                  <a:lnTo>
                    <a:pt x="8153" y="1025"/>
                  </a:lnTo>
                  <a:lnTo>
                    <a:pt x="8278" y="1013"/>
                  </a:lnTo>
                  <a:lnTo>
                    <a:pt x="8404" y="1007"/>
                  </a:lnTo>
                  <a:lnTo>
                    <a:pt x="8531" y="1004"/>
                  </a:lnTo>
                  <a:lnTo>
                    <a:pt x="8699" y="1008"/>
                  </a:lnTo>
                  <a:lnTo>
                    <a:pt x="8866" y="1020"/>
                  </a:lnTo>
                  <a:lnTo>
                    <a:pt x="9030" y="1039"/>
                  </a:lnTo>
                  <a:lnTo>
                    <a:pt x="9192" y="1066"/>
                  </a:lnTo>
                  <a:lnTo>
                    <a:pt x="9351" y="1100"/>
                  </a:lnTo>
                  <a:lnTo>
                    <a:pt x="9507" y="1142"/>
                  </a:lnTo>
                  <a:lnTo>
                    <a:pt x="9661" y="1190"/>
                  </a:lnTo>
                  <a:lnTo>
                    <a:pt x="9811" y="1246"/>
                  </a:lnTo>
                  <a:lnTo>
                    <a:pt x="9959" y="1308"/>
                  </a:lnTo>
                  <a:lnTo>
                    <a:pt x="10102" y="1376"/>
                  </a:lnTo>
                  <a:lnTo>
                    <a:pt x="10242" y="1451"/>
                  </a:lnTo>
                  <a:lnTo>
                    <a:pt x="10378" y="1532"/>
                  </a:lnTo>
                  <a:lnTo>
                    <a:pt x="10510" y="1619"/>
                  </a:lnTo>
                  <a:lnTo>
                    <a:pt x="10638" y="1711"/>
                  </a:lnTo>
                  <a:lnTo>
                    <a:pt x="10761" y="1810"/>
                  </a:lnTo>
                  <a:lnTo>
                    <a:pt x="10880" y="1914"/>
                  </a:lnTo>
                  <a:lnTo>
                    <a:pt x="10994" y="2023"/>
                  </a:lnTo>
                  <a:lnTo>
                    <a:pt x="11103" y="2137"/>
                  </a:lnTo>
                  <a:lnTo>
                    <a:pt x="11207" y="2256"/>
                  </a:lnTo>
                  <a:lnTo>
                    <a:pt x="11306" y="2381"/>
                  </a:lnTo>
                  <a:lnTo>
                    <a:pt x="11398" y="2509"/>
                  </a:lnTo>
                  <a:lnTo>
                    <a:pt x="11486" y="2643"/>
                  </a:lnTo>
                  <a:lnTo>
                    <a:pt x="11568" y="2780"/>
                  </a:lnTo>
                  <a:lnTo>
                    <a:pt x="11643" y="2922"/>
                  </a:lnTo>
                  <a:lnTo>
                    <a:pt x="11712" y="3067"/>
                  </a:lnTo>
                  <a:lnTo>
                    <a:pt x="11775" y="3217"/>
                  </a:lnTo>
                  <a:lnTo>
                    <a:pt x="11831" y="3370"/>
                  </a:lnTo>
                  <a:lnTo>
                    <a:pt x="11880" y="3526"/>
                  </a:lnTo>
                  <a:lnTo>
                    <a:pt x="11922" y="3686"/>
                  </a:lnTo>
                  <a:lnTo>
                    <a:pt x="11957" y="3848"/>
                  </a:lnTo>
                  <a:lnTo>
                    <a:pt x="11985" y="4014"/>
                  </a:lnTo>
                  <a:lnTo>
                    <a:pt x="12005" y="4183"/>
                  </a:lnTo>
                  <a:lnTo>
                    <a:pt x="12016" y="4309"/>
                  </a:lnTo>
                  <a:lnTo>
                    <a:pt x="12027" y="4420"/>
                  </a:lnTo>
                  <a:lnTo>
                    <a:pt x="12032" y="4471"/>
                  </a:lnTo>
                  <a:lnTo>
                    <a:pt x="12038" y="4517"/>
                  </a:lnTo>
                  <a:lnTo>
                    <a:pt x="12046" y="4561"/>
                  </a:lnTo>
                  <a:lnTo>
                    <a:pt x="12053" y="4601"/>
                  </a:lnTo>
                  <a:lnTo>
                    <a:pt x="12061" y="4638"/>
                  </a:lnTo>
                  <a:lnTo>
                    <a:pt x="12070" y="4673"/>
                  </a:lnTo>
                  <a:lnTo>
                    <a:pt x="12081" y="4706"/>
                  </a:lnTo>
                  <a:lnTo>
                    <a:pt x="12092" y="4736"/>
                  </a:lnTo>
                  <a:lnTo>
                    <a:pt x="12105" y="4763"/>
                  </a:lnTo>
                  <a:lnTo>
                    <a:pt x="12119" y="4788"/>
                  </a:lnTo>
                  <a:lnTo>
                    <a:pt x="12135" y="4812"/>
                  </a:lnTo>
                  <a:lnTo>
                    <a:pt x="12153" y="4833"/>
                  </a:lnTo>
                  <a:lnTo>
                    <a:pt x="12173" y="4853"/>
                  </a:lnTo>
                  <a:lnTo>
                    <a:pt x="12195" y="4872"/>
                  </a:lnTo>
                  <a:lnTo>
                    <a:pt x="12220" y="4889"/>
                  </a:lnTo>
                  <a:lnTo>
                    <a:pt x="12247" y="4905"/>
                  </a:lnTo>
                  <a:lnTo>
                    <a:pt x="12276" y="4920"/>
                  </a:lnTo>
                  <a:lnTo>
                    <a:pt x="12308" y="4935"/>
                  </a:lnTo>
                  <a:lnTo>
                    <a:pt x="12344" y="4949"/>
                  </a:lnTo>
                  <a:lnTo>
                    <a:pt x="12383" y="4962"/>
                  </a:lnTo>
                  <a:lnTo>
                    <a:pt x="12424" y="4976"/>
                  </a:lnTo>
                  <a:lnTo>
                    <a:pt x="12468" y="4989"/>
                  </a:lnTo>
                  <a:lnTo>
                    <a:pt x="12517" y="5002"/>
                  </a:lnTo>
                  <a:lnTo>
                    <a:pt x="12568" y="5015"/>
                  </a:lnTo>
                  <a:lnTo>
                    <a:pt x="12684" y="5043"/>
                  </a:lnTo>
                  <a:lnTo>
                    <a:pt x="12816" y="5073"/>
                  </a:lnTo>
                  <a:lnTo>
                    <a:pt x="12937" y="5099"/>
                  </a:lnTo>
                  <a:lnTo>
                    <a:pt x="13055" y="5129"/>
                  </a:lnTo>
                  <a:lnTo>
                    <a:pt x="13171" y="5165"/>
                  </a:lnTo>
                  <a:lnTo>
                    <a:pt x="13285" y="5206"/>
                  </a:lnTo>
                  <a:lnTo>
                    <a:pt x="13395" y="5252"/>
                  </a:lnTo>
                  <a:lnTo>
                    <a:pt x="13505" y="5302"/>
                  </a:lnTo>
                  <a:lnTo>
                    <a:pt x="13610" y="5356"/>
                  </a:lnTo>
                  <a:lnTo>
                    <a:pt x="13714" y="5415"/>
                  </a:lnTo>
                  <a:lnTo>
                    <a:pt x="13813" y="5477"/>
                  </a:lnTo>
                  <a:lnTo>
                    <a:pt x="13910" y="5545"/>
                  </a:lnTo>
                  <a:lnTo>
                    <a:pt x="14004" y="5615"/>
                  </a:lnTo>
                  <a:lnTo>
                    <a:pt x="14095" y="5690"/>
                  </a:lnTo>
                  <a:lnTo>
                    <a:pt x="14181" y="5768"/>
                  </a:lnTo>
                  <a:lnTo>
                    <a:pt x="14266" y="5850"/>
                  </a:lnTo>
                  <a:lnTo>
                    <a:pt x="14346" y="5935"/>
                  </a:lnTo>
                  <a:lnTo>
                    <a:pt x="14422" y="6024"/>
                  </a:lnTo>
                  <a:lnTo>
                    <a:pt x="14494" y="6116"/>
                  </a:lnTo>
                  <a:lnTo>
                    <a:pt x="14564" y="6210"/>
                  </a:lnTo>
                  <a:lnTo>
                    <a:pt x="14628" y="6307"/>
                  </a:lnTo>
                  <a:lnTo>
                    <a:pt x="14689" y="6408"/>
                  </a:lnTo>
                  <a:lnTo>
                    <a:pt x="14745" y="6511"/>
                  </a:lnTo>
                  <a:lnTo>
                    <a:pt x="14796" y="6617"/>
                  </a:lnTo>
                  <a:lnTo>
                    <a:pt x="14845" y="6724"/>
                  </a:lnTo>
                  <a:lnTo>
                    <a:pt x="14888" y="6834"/>
                  </a:lnTo>
                  <a:lnTo>
                    <a:pt x="14926" y="6947"/>
                  </a:lnTo>
                  <a:lnTo>
                    <a:pt x="14959" y="7060"/>
                  </a:lnTo>
                  <a:lnTo>
                    <a:pt x="14988" y="7177"/>
                  </a:lnTo>
                  <a:lnTo>
                    <a:pt x="15012" y="7294"/>
                  </a:lnTo>
                  <a:lnTo>
                    <a:pt x="15030" y="7414"/>
                  </a:lnTo>
                  <a:lnTo>
                    <a:pt x="15044" y="7534"/>
                  </a:lnTo>
                  <a:lnTo>
                    <a:pt x="15052" y="7656"/>
                  </a:lnTo>
                  <a:lnTo>
                    <a:pt x="15055" y="7779"/>
                  </a:lnTo>
                  <a:lnTo>
                    <a:pt x="15051" y="7922"/>
                  </a:lnTo>
                  <a:lnTo>
                    <a:pt x="15040" y="8061"/>
                  </a:lnTo>
                  <a:lnTo>
                    <a:pt x="15023" y="8199"/>
                  </a:lnTo>
                  <a:lnTo>
                    <a:pt x="14999" y="8335"/>
                  </a:lnTo>
                  <a:lnTo>
                    <a:pt x="14968" y="8469"/>
                  </a:lnTo>
                  <a:lnTo>
                    <a:pt x="14931" y="8599"/>
                  </a:lnTo>
                  <a:lnTo>
                    <a:pt x="14887" y="8728"/>
                  </a:lnTo>
                  <a:lnTo>
                    <a:pt x="14838" y="8853"/>
                  </a:lnTo>
                  <a:lnTo>
                    <a:pt x="14782" y="8975"/>
                  </a:lnTo>
                  <a:lnTo>
                    <a:pt x="14721" y="9094"/>
                  </a:lnTo>
                  <a:lnTo>
                    <a:pt x="14655" y="9209"/>
                  </a:lnTo>
                  <a:lnTo>
                    <a:pt x="14583" y="9322"/>
                  </a:lnTo>
                  <a:lnTo>
                    <a:pt x="14505" y="9430"/>
                  </a:lnTo>
                  <a:lnTo>
                    <a:pt x="14424" y="9535"/>
                  </a:lnTo>
                  <a:lnTo>
                    <a:pt x="14337" y="9634"/>
                  </a:lnTo>
                  <a:lnTo>
                    <a:pt x="14245" y="9730"/>
                  </a:lnTo>
                  <a:lnTo>
                    <a:pt x="14150" y="9822"/>
                  </a:lnTo>
                  <a:lnTo>
                    <a:pt x="14050" y="9909"/>
                  </a:lnTo>
                  <a:lnTo>
                    <a:pt x="13945" y="9990"/>
                  </a:lnTo>
                  <a:lnTo>
                    <a:pt x="13837" y="10068"/>
                  </a:lnTo>
                  <a:lnTo>
                    <a:pt x="13725" y="10140"/>
                  </a:lnTo>
                  <a:lnTo>
                    <a:pt x="13609" y="10206"/>
                  </a:lnTo>
                  <a:lnTo>
                    <a:pt x="13491" y="10267"/>
                  </a:lnTo>
                  <a:lnTo>
                    <a:pt x="13368" y="10322"/>
                  </a:lnTo>
                  <a:lnTo>
                    <a:pt x="13243" y="10372"/>
                  </a:lnTo>
                  <a:lnTo>
                    <a:pt x="13114" y="10416"/>
                  </a:lnTo>
                  <a:lnTo>
                    <a:pt x="12984" y="10453"/>
                  </a:lnTo>
                  <a:lnTo>
                    <a:pt x="12850" y="10484"/>
                  </a:lnTo>
                  <a:lnTo>
                    <a:pt x="12715" y="10508"/>
                  </a:lnTo>
                  <a:lnTo>
                    <a:pt x="12576" y="10525"/>
                  </a:lnTo>
                  <a:lnTo>
                    <a:pt x="12437" y="10536"/>
                  </a:lnTo>
                  <a:lnTo>
                    <a:pt x="12294" y="10539"/>
                  </a:lnTo>
                  <a:close/>
                  <a:moveTo>
                    <a:pt x="13004" y="4087"/>
                  </a:moveTo>
                  <a:lnTo>
                    <a:pt x="12979" y="3874"/>
                  </a:lnTo>
                  <a:lnTo>
                    <a:pt x="12944" y="3664"/>
                  </a:lnTo>
                  <a:lnTo>
                    <a:pt x="12899" y="3457"/>
                  </a:lnTo>
                  <a:lnTo>
                    <a:pt x="12845" y="3254"/>
                  </a:lnTo>
                  <a:lnTo>
                    <a:pt x="12782" y="3054"/>
                  </a:lnTo>
                  <a:lnTo>
                    <a:pt x="12711" y="2860"/>
                  </a:lnTo>
                  <a:lnTo>
                    <a:pt x="12631" y="2669"/>
                  </a:lnTo>
                  <a:lnTo>
                    <a:pt x="12542" y="2482"/>
                  </a:lnTo>
                  <a:lnTo>
                    <a:pt x="12446" y="2301"/>
                  </a:lnTo>
                  <a:lnTo>
                    <a:pt x="12343" y="2124"/>
                  </a:lnTo>
                  <a:lnTo>
                    <a:pt x="12230" y="1953"/>
                  </a:lnTo>
                  <a:lnTo>
                    <a:pt x="12111" y="1788"/>
                  </a:lnTo>
                  <a:lnTo>
                    <a:pt x="11985" y="1628"/>
                  </a:lnTo>
                  <a:lnTo>
                    <a:pt x="11852" y="1473"/>
                  </a:lnTo>
                  <a:lnTo>
                    <a:pt x="11711" y="1326"/>
                  </a:lnTo>
                  <a:lnTo>
                    <a:pt x="11566" y="1184"/>
                  </a:lnTo>
                  <a:lnTo>
                    <a:pt x="11413" y="1050"/>
                  </a:lnTo>
                  <a:lnTo>
                    <a:pt x="11254" y="922"/>
                  </a:lnTo>
                  <a:lnTo>
                    <a:pt x="11090" y="802"/>
                  </a:lnTo>
                  <a:lnTo>
                    <a:pt x="10919" y="690"/>
                  </a:lnTo>
                  <a:lnTo>
                    <a:pt x="10745" y="584"/>
                  </a:lnTo>
                  <a:lnTo>
                    <a:pt x="10564" y="487"/>
                  </a:lnTo>
                  <a:lnTo>
                    <a:pt x="10378" y="397"/>
                  </a:lnTo>
                  <a:lnTo>
                    <a:pt x="10189" y="316"/>
                  </a:lnTo>
                  <a:lnTo>
                    <a:pt x="9995" y="244"/>
                  </a:lnTo>
                  <a:lnTo>
                    <a:pt x="9796" y="181"/>
                  </a:lnTo>
                  <a:lnTo>
                    <a:pt x="9594" y="126"/>
                  </a:lnTo>
                  <a:lnTo>
                    <a:pt x="9388" y="81"/>
                  </a:lnTo>
                  <a:lnTo>
                    <a:pt x="9178" y="46"/>
                  </a:lnTo>
                  <a:lnTo>
                    <a:pt x="8965" y="21"/>
                  </a:lnTo>
                  <a:lnTo>
                    <a:pt x="8750" y="5"/>
                  </a:lnTo>
                  <a:lnTo>
                    <a:pt x="8531" y="0"/>
                  </a:lnTo>
                  <a:lnTo>
                    <a:pt x="8361" y="3"/>
                  </a:lnTo>
                  <a:lnTo>
                    <a:pt x="8194" y="12"/>
                  </a:lnTo>
                  <a:lnTo>
                    <a:pt x="8027" y="28"/>
                  </a:lnTo>
                  <a:lnTo>
                    <a:pt x="7863" y="49"/>
                  </a:lnTo>
                  <a:lnTo>
                    <a:pt x="7701" y="76"/>
                  </a:lnTo>
                  <a:lnTo>
                    <a:pt x="7540" y="109"/>
                  </a:lnTo>
                  <a:lnTo>
                    <a:pt x="7383" y="149"/>
                  </a:lnTo>
                  <a:lnTo>
                    <a:pt x="7227" y="193"/>
                  </a:lnTo>
                  <a:lnTo>
                    <a:pt x="7074" y="242"/>
                  </a:lnTo>
                  <a:lnTo>
                    <a:pt x="6922" y="297"/>
                  </a:lnTo>
                  <a:lnTo>
                    <a:pt x="6773" y="357"/>
                  </a:lnTo>
                  <a:lnTo>
                    <a:pt x="6628" y="423"/>
                  </a:lnTo>
                  <a:lnTo>
                    <a:pt x="6485" y="493"/>
                  </a:lnTo>
                  <a:lnTo>
                    <a:pt x="6345" y="568"/>
                  </a:lnTo>
                  <a:lnTo>
                    <a:pt x="6208" y="648"/>
                  </a:lnTo>
                  <a:lnTo>
                    <a:pt x="6075" y="733"/>
                  </a:lnTo>
                  <a:lnTo>
                    <a:pt x="5943" y="821"/>
                  </a:lnTo>
                  <a:lnTo>
                    <a:pt x="5817" y="915"/>
                  </a:lnTo>
                  <a:lnTo>
                    <a:pt x="5693" y="1013"/>
                  </a:lnTo>
                  <a:lnTo>
                    <a:pt x="5572" y="1115"/>
                  </a:lnTo>
                  <a:lnTo>
                    <a:pt x="5456" y="1221"/>
                  </a:lnTo>
                  <a:lnTo>
                    <a:pt x="5342" y="1331"/>
                  </a:lnTo>
                  <a:lnTo>
                    <a:pt x="5234" y="1444"/>
                  </a:lnTo>
                  <a:lnTo>
                    <a:pt x="5129" y="1562"/>
                  </a:lnTo>
                  <a:lnTo>
                    <a:pt x="5027" y="1683"/>
                  </a:lnTo>
                  <a:lnTo>
                    <a:pt x="4931" y="1809"/>
                  </a:lnTo>
                  <a:lnTo>
                    <a:pt x="4837" y="1936"/>
                  </a:lnTo>
                  <a:lnTo>
                    <a:pt x="4750" y="2068"/>
                  </a:lnTo>
                  <a:lnTo>
                    <a:pt x="4666" y="2203"/>
                  </a:lnTo>
                  <a:lnTo>
                    <a:pt x="4587" y="2341"/>
                  </a:lnTo>
                  <a:lnTo>
                    <a:pt x="4512" y="2481"/>
                  </a:lnTo>
                  <a:lnTo>
                    <a:pt x="4443" y="2625"/>
                  </a:lnTo>
                  <a:lnTo>
                    <a:pt x="4402" y="2613"/>
                  </a:lnTo>
                  <a:lnTo>
                    <a:pt x="4362" y="2601"/>
                  </a:lnTo>
                  <a:lnTo>
                    <a:pt x="4321" y="2589"/>
                  </a:lnTo>
                  <a:lnTo>
                    <a:pt x="4279" y="2579"/>
                  </a:lnTo>
                  <a:lnTo>
                    <a:pt x="4237" y="2568"/>
                  </a:lnTo>
                  <a:lnTo>
                    <a:pt x="4196" y="2559"/>
                  </a:lnTo>
                  <a:lnTo>
                    <a:pt x="4154" y="2549"/>
                  </a:lnTo>
                  <a:lnTo>
                    <a:pt x="4112" y="2541"/>
                  </a:lnTo>
                  <a:lnTo>
                    <a:pt x="4070" y="2534"/>
                  </a:lnTo>
                  <a:lnTo>
                    <a:pt x="4027" y="2528"/>
                  </a:lnTo>
                  <a:lnTo>
                    <a:pt x="3983" y="2522"/>
                  </a:lnTo>
                  <a:lnTo>
                    <a:pt x="3940" y="2518"/>
                  </a:lnTo>
                  <a:lnTo>
                    <a:pt x="3896" y="2514"/>
                  </a:lnTo>
                  <a:lnTo>
                    <a:pt x="3853" y="2511"/>
                  </a:lnTo>
                  <a:lnTo>
                    <a:pt x="3809" y="2510"/>
                  </a:lnTo>
                  <a:lnTo>
                    <a:pt x="3764" y="2509"/>
                  </a:lnTo>
                  <a:lnTo>
                    <a:pt x="3647" y="2512"/>
                  </a:lnTo>
                  <a:lnTo>
                    <a:pt x="3533" y="2521"/>
                  </a:lnTo>
                  <a:lnTo>
                    <a:pt x="3420" y="2535"/>
                  </a:lnTo>
                  <a:lnTo>
                    <a:pt x="3309" y="2556"/>
                  </a:lnTo>
                  <a:lnTo>
                    <a:pt x="3200" y="2581"/>
                  </a:lnTo>
                  <a:lnTo>
                    <a:pt x="3092" y="2611"/>
                  </a:lnTo>
                  <a:lnTo>
                    <a:pt x="2988" y="2647"/>
                  </a:lnTo>
                  <a:lnTo>
                    <a:pt x="2884" y="2687"/>
                  </a:lnTo>
                  <a:lnTo>
                    <a:pt x="2785" y="2732"/>
                  </a:lnTo>
                  <a:lnTo>
                    <a:pt x="2688" y="2782"/>
                  </a:lnTo>
                  <a:lnTo>
                    <a:pt x="2593" y="2837"/>
                  </a:lnTo>
                  <a:lnTo>
                    <a:pt x="2501" y="2896"/>
                  </a:lnTo>
                  <a:lnTo>
                    <a:pt x="2413" y="2958"/>
                  </a:lnTo>
                  <a:lnTo>
                    <a:pt x="2327" y="3025"/>
                  </a:lnTo>
                  <a:lnTo>
                    <a:pt x="2245" y="3097"/>
                  </a:lnTo>
                  <a:lnTo>
                    <a:pt x="2167" y="3172"/>
                  </a:lnTo>
                  <a:lnTo>
                    <a:pt x="2093" y="3250"/>
                  </a:lnTo>
                  <a:lnTo>
                    <a:pt x="2021" y="3331"/>
                  </a:lnTo>
                  <a:lnTo>
                    <a:pt x="1954" y="3417"/>
                  </a:lnTo>
                  <a:lnTo>
                    <a:pt x="1891" y="3506"/>
                  </a:lnTo>
                  <a:lnTo>
                    <a:pt x="1833" y="3597"/>
                  </a:lnTo>
                  <a:lnTo>
                    <a:pt x="1778" y="3692"/>
                  </a:lnTo>
                  <a:lnTo>
                    <a:pt x="1728" y="3789"/>
                  </a:lnTo>
                  <a:lnTo>
                    <a:pt x="1683" y="3889"/>
                  </a:lnTo>
                  <a:lnTo>
                    <a:pt x="1643" y="3992"/>
                  </a:lnTo>
                  <a:lnTo>
                    <a:pt x="1607" y="4097"/>
                  </a:lnTo>
                  <a:lnTo>
                    <a:pt x="1577" y="4204"/>
                  </a:lnTo>
                  <a:lnTo>
                    <a:pt x="1552" y="4313"/>
                  </a:lnTo>
                  <a:lnTo>
                    <a:pt x="1532" y="4424"/>
                  </a:lnTo>
                  <a:lnTo>
                    <a:pt x="1517" y="4537"/>
                  </a:lnTo>
                  <a:lnTo>
                    <a:pt x="1508" y="4652"/>
                  </a:lnTo>
                  <a:lnTo>
                    <a:pt x="1505" y="4768"/>
                  </a:lnTo>
                  <a:lnTo>
                    <a:pt x="1506" y="4815"/>
                  </a:lnTo>
                  <a:lnTo>
                    <a:pt x="1507" y="4860"/>
                  </a:lnTo>
                  <a:lnTo>
                    <a:pt x="1510" y="4906"/>
                  </a:lnTo>
                  <a:lnTo>
                    <a:pt x="1514" y="4951"/>
                  </a:lnTo>
                  <a:lnTo>
                    <a:pt x="1519" y="4997"/>
                  </a:lnTo>
                  <a:lnTo>
                    <a:pt x="1526" y="5042"/>
                  </a:lnTo>
                  <a:lnTo>
                    <a:pt x="1532" y="5086"/>
                  </a:lnTo>
                  <a:lnTo>
                    <a:pt x="1540" y="5130"/>
                  </a:lnTo>
                  <a:lnTo>
                    <a:pt x="1548" y="5174"/>
                  </a:lnTo>
                  <a:lnTo>
                    <a:pt x="1558" y="5217"/>
                  </a:lnTo>
                  <a:lnTo>
                    <a:pt x="1568" y="5261"/>
                  </a:lnTo>
                  <a:lnTo>
                    <a:pt x="1579" y="5304"/>
                  </a:lnTo>
                  <a:lnTo>
                    <a:pt x="1590" y="5347"/>
                  </a:lnTo>
                  <a:lnTo>
                    <a:pt x="1603" y="5389"/>
                  </a:lnTo>
                  <a:lnTo>
                    <a:pt x="1616" y="5431"/>
                  </a:lnTo>
                  <a:lnTo>
                    <a:pt x="1629" y="5473"/>
                  </a:lnTo>
                  <a:lnTo>
                    <a:pt x="1539" y="5528"/>
                  </a:lnTo>
                  <a:lnTo>
                    <a:pt x="1451" y="5585"/>
                  </a:lnTo>
                  <a:lnTo>
                    <a:pt x="1365" y="5644"/>
                  </a:lnTo>
                  <a:lnTo>
                    <a:pt x="1281" y="5706"/>
                  </a:lnTo>
                  <a:lnTo>
                    <a:pt x="1198" y="5771"/>
                  </a:lnTo>
                  <a:lnTo>
                    <a:pt x="1118" y="5839"/>
                  </a:lnTo>
                  <a:lnTo>
                    <a:pt x="1041" y="5909"/>
                  </a:lnTo>
                  <a:lnTo>
                    <a:pt x="965" y="5981"/>
                  </a:lnTo>
                  <a:lnTo>
                    <a:pt x="892" y="6056"/>
                  </a:lnTo>
                  <a:lnTo>
                    <a:pt x="821" y="6133"/>
                  </a:lnTo>
                  <a:lnTo>
                    <a:pt x="753" y="6211"/>
                  </a:lnTo>
                  <a:lnTo>
                    <a:pt x="687" y="6292"/>
                  </a:lnTo>
                  <a:lnTo>
                    <a:pt x="624" y="6376"/>
                  </a:lnTo>
                  <a:lnTo>
                    <a:pt x="564" y="6461"/>
                  </a:lnTo>
                  <a:lnTo>
                    <a:pt x="506" y="6548"/>
                  </a:lnTo>
                  <a:lnTo>
                    <a:pt x="451" y="6638"/>
                  </a:lnTo>
                  <a:lnTo>
                    <a:pt x="398" y="6729"/>
                  </a:lnTo>
                  <a:lnTo>
                    <a:pt x="349" y="6821"/>
                  </a:lnTo>
                  <a:lnTo>
                    <a:pt x="303" y="6917"/>
                  </a:lnTo>
                  <a:lnTo>
                    <a:pt x="260" y="7013"/>
                  </a:lnTo>
                  <a:lnTo>
                    <a:pt x="220" y="7110"/>
                  </a:lnTo>
                  <a:lnTo>
                    <a:pt x="183" y="7210"/>
                  </a:lnTo>
                  <a:lnTo>
                    <a:pt x="149" y="7311"/>
                  </a:lnTo>
                  <a:lnTo>
                    <a:pt x="118" y="7414"/>
                  </a:lnTo>
                  <a:lnTo>
                    <a:pt x="91" y="7518"/>
                  </a:lnTo>
                  <a:lnTo>
                    <a:pt x="67" y="7623"/>
                  </a:lnTo>
                  <a:lnTo>
                    <a:pt x="47" y="7730"/>
                  </a:lnTo>
                  <a:lnTo>
                    <a:pt x="30" y="7838"/>
                  </a:lnTo>
                  <a:lnTo>
                    <a:pt x="17" y="7948"/>
                  </a:lnTo>
                  <a:lnTo>
                    <a:pt x="8" y="8057"/>
                  </a:lnTo>
                  <a:lnTo>
                    <a:pt x="2" y="8168"/>
                  </a:lnTo>
                  <a:lnTo>
                    <a:pt x="0" y="8281"/>
                  </a:lnTo>
                  <a:lnTo>
                    <a:pt x="4" y="8449"/>
                  </a:lnTo>
                  <a:lnTo>
                    <a:pt x="17" y="8615"/>
                  </a:lnTo>
                  <a:lnTo>
                    <a:pt x="37" y="8778"/>
                  </a:lnTo>
                  <a:lnTo>
                    <a:pt x="66" y="8938"/>
                  </a:lnTo>
                  <a:lnTo>
                    <a:pt x="102" y="9097"/>
                  </a:lnTo>
                  <a:lnTo>
                    <a:pt x="147" y="9251"/>
                  </a:lnTo>
                  <a:lnTo>
                    <a:pt x="198" y="9403"/>
                  </a:lnTo>
                  <a:lnTo>
                    <a:pt x="256" y="9551"/>
                  </a:lnTo>
                  <a:lnTo>
                    <a:pt x="322" y="9695"/>
                  </a:lnTo>
                  <a:lnTo>
                    <a:pt x="393" y="9837"/>
                  </a:lnTo>
                  <a:lnTo>
                    <a:pt x="473" y="9973"/>
                  </a:lnTo>
                  <a:lnTo>
                    <a:pt x="557" y="10106"/>
                  </a:lnTo>
                  <a:lnTo>
                    <a:pt x="648" y="10233"/>
                  </a:lnTo>
                  <a:lnTo>
                    <a:pt x="745" y="10357"/>
                  </a:lnTo>
                  <a:lnTo>
                    <a:pt x="847" y="10475"/>
                  </a:lnTo>
                  <a:lnTo>
                    <a:pt x="955" y="10588"/>
                  </a:lnTo>
                  <a:lnTo>
                    <a:pt x="1069" y="10696"/>
                  </a:lnTo>
                  <a:lnTo>
                    <a:pt x="1187" y="10798"/>
                  </a:lnTo>
                  <a:lnTo>
                    <a:pt x="1310" y="10896"/>
                  </a:lnTo>
                  <a:lnTo>
                    <a:pt x="1438" y="10986"/>
                  </a:lnTo>
                  <a:lnTo>
                    <a:pt x="1571" y="11071"/>
                  </a:lnTo>
                  <a:lnTo>
                    <a:pt x="1707" y="11150"/>
                  </a:lnTo>
                  <a:lnTo>
                    <a:pt x="1848" y="11222"/>
                  </a:lnTo>
                  <a:lnTo>
                    <a:pt x="1992" y="11287"/>
                  </a:lnTo>
                  <a:lnTo>
                    <a:pt x="2141" y="11345"/>
                  </a:lnTo>
                  <a:lnTo>
                    <a:pt x="2292" y="11396"/>
                  </a:lnTo>
                  <a:lnTo>
                    <a:pt x="2447" y="11441"/>
                  </a:lnTo>
                  <a:lnTo>
                    <a:pt x="2604" y="11478"/>
                  </a:lnTo>
                  <a:lnTo>
                    <a:pt x="2765" y="11506"/>
                  </a:lnTo>
                  <a:lnTo>
                    <a:pt x="2929" y="11527"/>
                  </a:lnTo>
                  <a:lnTo>
                    <a:pt x="3094" y="11539"/>
                  </a:lnTo>
                  <a:lnTo>
                    <a:pt x="3262" y="11543"/>
                  </a:lnTo>
                  <a:lnTo>
                    <a:pt x="3262" y="11544"/>
                  </a:lnTo>
                  <a:lnTo>
                    <a:pt x="12294" y="11544"/>
                  </a:lnTo>
                  <a:lnTo>
                    <a:pt x="12294" y="11543"/>
                  </a:lnTo>
                  <a:lnTo>
                    <a:pt x="12488" y="11539"/>
                  </a:lnTo>
                  <a:lnTo>
                    <a:pt x="12680" y="11524"/>
                  </a:lnTo>
                  <a:lnTo>
                    <a:pt x="12867" y="11500"/>
                  </a:lnTo>
                  <a:lnTo>
                    <a:pt x="13053" y="11467"/>
                  </a:lnTo>
                  <a:lnTo>
                    <a:pt x="13236" y="11425"/>
                  </a:lnTo>
                  <a:lnTo>
                    <a:pt x="13414" y="11374"/>
                  </a:lnTo>
                  <a:lnTo>
                    <a:pt x="13589" y="11315"/>
                  </a:lnTo>
                  <a:lnTo>
                    <a:pt x="13760" y="11248"/>
                  </a:lnTo>
                  <a:lnTo>
                    <a:pt x="13926" y="11173"/>
                  </a:lnTo>
                  <a:lnTo>
                    <a:pt x="14089" y="11089"/>
                  </a:lnTo>
                  <a:lnTo>
                    <a:pt x="14246" y="10999"/>
                  </a:lnTo>
                  <a:lnTo>
                    <a:pt x="14399" y="10901"/>
                  </a:lnTo>
                  <a:lnTo>
                    <a:pt x="14547" y="10796"/>
                  </a:lnTo>
                  <a:lnTo>
                    <a:pt x="14689" y="10684"/>
                  </a:lnTo>
                  <a:lnTo>
                    <a:pt x="14826" y="10565"/>
                  </a:lnTo>
                  <a:lnTo>
                    <a:pt x="14956" y="10441"/>
                  </a:lnTo>
                  <a:lnTo>
                    <a:pt x="15080" y="10310"/>
                  </a:lnTo>
                  <a:lnTo>
                    <a:pt x="15199" y="10174"/>
                  </a:lnTo>
                  <a:lnTo>
                    <a:pt x="15310" y="10031"/>
                  </a:lnTo>
                  <a:lnTo>
                    <a:pt x="15416" y="9884"/>
                  </a:lnTo>
                  <a:lnTo>
                    <a:pt x="15513" y="9731"/>
                  </a:lnTo>
                  <a:lnTo>
                    <a:pt x="15604" y="9574"/>
                  </a:lnTo>
                  <a:lnTo>
                    <a:pt x="15687" y="9411"/>
                  </a:lnTo>
                  <a:lnTo>
                    <a:pt x="15762" y="9244"/>
                  </a:lnTo>
                  <a:lnTo>
                    <a:pt x="15830" y="9074"/>
                  </a:lnTo>
                  <a:lnTo>
                    <a:pt x="15888" y="8899"/>
                  </a:lnTo>
                  <a:lnTo>
                    <a:pt x="15940" y="8720"/>
                  </a:lnTo>
                  <a:lnTo>
                    <a:pt x="15982" y="8538"/>
                  </a:lnTo>
                  <a:lnTo>
                    <a:pt x="16015" y="8352"/>
                  </a:lnTo>
                  <a:lnTo>
                    <a:pt x="16039" y="8164"/>
                  </a:lnTo>
                  <a:lnTo>
                    <a:pt x="16053" y="7973"/>
                  </a:lnTo>
                  <a:lnTo>
                    <a:pt x="16058" y="7779"/>
                  </a:lnTo>
                  <a:lnTo>
                    <a:pt x="16054" y="7608"/>
                  </a:lnTo>
                  <a:lnTo>
                    <a:pt x="16043" y="7439"/>
                  </a:lnTo>
                  <a:lnTo>
                    <a:pt x="16024" y="7272"/>
                  </a:lnTo>
                  <a:lnTo>
                    <a:pt x="15998" y="7107"/>
                  </a:lnTo>
                  <a:lnTo>
                    <a:pt x="15965" y="6945"/>
                  </a:lnTo>
                  <a:lnTo>
                    <a:pt x="15926" y="6785"/>
                  </a:lnTo>
                  <a:lnTo>
                    <a:pt x="15878" y="6629"/>
                  </a:lnTo>
                  <a:lnTo>
                    <a:pt x="15825" y="6475"/>
                  </a:lnTo>
                  <a:lnTo>
                    <a:pt x="15766" y="6324"/>
                  </a:lnTo>
                  <a:lnTo>
                    <a:pt x="15700" y="6176"/>
                  </a:lnTo>
                  <a:lnTo>
                    <a:pt x="15628" y="6032"/>
                  </a:lnTo>
                  <a:lnTo>
                    <a:pt x="15550" y="5892"/>
                  </a:lnTo>
                  <a:lnTo>
                    <a:pt x="15467" y="5755"/>
                  </a:lnTo>
                  <a:lnTo>
                    <a:pt x="15378" y="5623"/>
                  </a:lnTo>
                  <a:lnTo>
                    <a:pt x="15283" y="5493"/>
                  </a:lnTo>
                  <a:lnTo>
                    <a:pt x="15183" y="5369"/>
                  </a:lnTo>
                  <a:lnTo>
                    <a:pt x="15078" y="5250"/>
                  </a:lnTo>
                  <a:lnTo>
                    <a:pt x="14968" y="5134"/>
                  </a:lnTo>
                  <a:lnTo>
                    <a:pt x="14854" y="5023"/>
                  </a:lnTo>
                  <a:lnTo>
                    <a:pt x="14734" y="4917"/>
                  </a:lnTo>
                  <a:lnTo>
                    <a:pt x="14611" y="4817"/>
                  </a:lnTo>
                  <a:lnTo>
                    <a:pt x="14483" y="4721"/>
                  </a:lnTo>
                  <a:lnTo>
                    <a:pt x="14351" y="4630"/>
                  </a:lnTo>
                  <a:lnTo>
                    <a:pt x="14215" y="4546"/>
                  </a:lnTo>
                  <a:lnTo>
                    <a:pt x="14075" y="4467"/>
                  </a:lnTo>
                  <a:lnTo>
                    <a:pt x="13931" y="4394"/>
                  </a:lnTo>
                  <a:lnTo>
                    <a:pt x="13785" y="4327"/>
                  </a:lnTo>
                  <a:lnTo>
                    <a:pt x="13634" y="4266"/>
                  </a:lnTo>
                  <a:lnTo>
                    <a:pt x="13482" y="4212"/>
                  </a:lnTo>
                  <a:lnTo>
                    <a:pt x="13325" y="4164"/>
                  </a:lnTo>
                  <a:lnTo>
                    <a:pt x="13166" y="4121"/>
                  </a:lnTo>
                  <a:lnTo>
                    <a:pt x="13004" y="408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35" name="íş1ïďè">
              <a:extLst>
                <a:ext uri="{FF2B5EF4-FFF2-40B4-BE49-F238E27FC236}">
                  <a16:creationId xmlns:a16="http://schemas.microsoft.com/office/drawing/2014/main" id="{6FE687B9-0EB3-4051-B177-408C632B93E3}"/>
                </a:ext>
              </a:extLst>
            </p:cNvPr>
            <p:cNvSpPr/>
            <p:nvPr/>
          </p:nvSpPr>
          <p:spPr bwMode="auto">
            <a:xfrm>
              <a:off x="8765863" y="1571348"/>
              <a:ext cx="363600" cy="362763"/>
            </a:xfrm>
            <a:custGeom>
              <a:avLst/>
              <a:gdLst>
                <a:gd name="T0" fmla="*/ 13537 w 16094"/>
                <a:gd name="T1" fmla="*/ 6059 h 16058"/>
                <a:gd name="T2" fmla="*/ 13105 w 16094"/>
                <a:gd name="T3" fmla="*/ 4843 h 16058"/>
                <a:gd name="T4" fmla="*/ 12309 w 16094"/>
                <a:gd name="T5" fmla="*/ 3778 h 16058"/>
                <a:gd name="T6" fmla="*/ 11103 w 16094"/>
                <a:gd name="T7" fmla="*/ 2914 h 16058"/>
                <a:gd name="T8" fmla="*/ 9730 w 16094"/>
                <a:gd name="T9" fmla="*/ 2510 h 16058"/>
                <a:gd name="T10" fmla="*/ 10548 w 16094"/>
                <a:gd name="T11" fmla="*/ 1344 h 16058"/>
                <a:gd name="T12" fmla="*/ 11273 w 16094"/>
                <a:gd name="T13" fmla="*/ 1058 h 16058"/>
                <a:gd name="T14" fmla="*/ 12175 w 16094"/>
                <a:gd name="T15" fmla="*/ 1030 h 16058"/>
                <a:gd name="T16" fmla="*/ 13215 w 16094"/>
                <a:gd name="T17" fmla="*/ 1370 h 16058"/>
                <a:gd name="T18" fmla="*/ 14130 w 16094"/>
                <a:gd name="T19" fmla="*/ 2061 h 16058"/>
                <a:gd name="T20" fmla="*/ 14752 w 16094"/>
                <a:gd name="T21" fmla="*/ 2927 h 16058"/>
                <a:gd name="T22" fmla="*/ 15061 w 16094"/>
                <a:gd name="T23" fmla="*/ 3885 h 16058"/>
                <a:gd name="T24" fmla="*/ 15035 w 16094"/>
                <a:gd name="T25" fmla="*/ 4794 h 16058"/>
                <a:gd name="T26" fmla="*/ 14704 w 16094"/>
                <a:gd name="T27" fmla="*/ 5577 h 16058"/>
                <a:gd name="T28" fmla="*/ 4429 w 16094"/>
                <a:gd name="T29" fmla="*/ 13990 h 16058"/>
                <a:gd name="T30" fmla="*/ 4128 w 16094"/>
                <a:gd name="T31" fmla="*/ 13119 h 16058"/>
                <a:gd name="T32" fmla="*/ 3522 w 16094"/>
                <a:gd name="T33" fmla="*/ 12349 h 16058"/>
                <a:gd name="T34" fmla="*/ 2735 w 16094"/>
                <a:gd name="T35" fmla="*/ 11832 h 16058"/>
                <a:gd name="T36" fmla="*/ 1857 w 16094"/>
                <a:gd name="T37" fmla="*/ 11600 h 16058"/>
                <a:gd name="T38" fmla="*/ 2349 w 16094"/>
                <a:gd name="T39" fmla="*/ 9539 h 16058"/>
                <a:gd name="T40" fmla="*/ 3383 w 16094"/>
                <a:gd name="T41" fmla="*/ 9051 h 16058"/>
                <a:gd name="T42" fmla="*/ 5065 w 16094"/>
                <a:gd name="T43" fmla="*/ 9305 h 16058"/>
                <a:gd name="T44" fmla="*/ 6529 w 16094"/>
                <a:gd name="T45" fmla="*/ 10574 h 16058"/>
                <a:gd name="T46" fmla="*/ 7057 w 16094"/>
                <a:gd name="T47" fmla="*/ 12341 h 16058"/>
                <a:gd name="T48" fmla="*/ 6481 w 16094"/>
                <a:gd name="T49" fmla="*/ 13816 h 16058"/>
                <a:gd name="T50" fmla="*/ 1899 w 16094"/>
                <a:gd name="T51" fmla="*/ 15034 h 16058"/>
                <a:gd name="T52" fmla="*/ 1430 w 16094"/>
                <a:gd name="T53" fmla="*/ 14978 h 16058"/>
                <a:gd name="T54" fmla="*/ 1080 w 16094"/>
                <a:gd name="T55" fmla="*/ 14626 h 16058"/>
                <a:gd name="T56" fmla="*/ 1037 w 16094"/>
                <a:gd name="T57" fmla="*/ 14110 h 16058"/>
                <a:gd name="T58" fmla="*/ 2133 w 16094"/>
                <a:gd name="T59" fmla="*/ 12161 h 16058"/>
                <a:gd name="T60" fmla="*/ 2879 w 16094"/>
                <a:gd name="T61" fmla="*/ 12483 h 16058"/>
                <a:gd name="T62" fmla="*/ 3517 w 16094"/>
                <a:gd name="T63" fmla="*/ 13089 h 16058"/>
                <a:gd name="T64" fmla="*/ 3887 w 16094"/>
                <a:gd name="T65" fmla="*/ 13837 h 16058"/>
                <a:gd name="T66" fmla="*/ 5275 w 16094"/>
                <a:gd name="T67" fmla="*/ 8311 h 16058"/>
                <a:gd name="T68" fmla="*/ 4471 w 16094"/>
                <a:gd name="T69" fmla="*/ 8075 h 16058"/>
                <a:gd name="T70" fmla="*/ 3832 w 16094"/>
                <a:gd name="T71" fmla="*/ 8011 h 16058"/>
                <a:gd name="T72" fmla="*/ 8544 w 16094"/>
                <a:gd name="T73" fmla="*/ 3613 h 16058"/>
                <a:gd name="T74" fmla="*/ 9615 w 16094"/>
                <a:gd name="T75" fmla="*/ 3512 h 16058"/>
                <a:gd name="T76" fmla="*/ 7177 w 16094"/>
                <a:gd name="T77" fmla="*/ 9768 h 16058"/>
                <a:gd name="T78" fmla="*/ 6475 w 16094"/>
                <a:gd name="T79" fmla="*/ 9029 h 16058"/>
                <a:gd name="T80" fmla="*/ 10683 w 16094"/>
                <a:gd name="T81" fmla="*/ 3831 h 16058"/>
                <a:gd name="T82" fmla="*/ 11597 w 16094"/>
                <a:gd name="T83" fmla="*/ 4487 h 16058"/>
                <a:gd name="T84" fmla="*/ 12178 w 16094"/>
                <a:gd name="T85" fmla="*/ 5258 h 16058"/>
                <a:gd name="T86" fmla="*/ 7882 w 16094"/>
                <a:gd name="T87" fmla="*/ 11105 h 16058"/>
                <a:gd name="T88" fmla="*/ 12576 w 16094"/>
                <a:gd name="T89" fmla="*/ 6482 h 16058"/>
                <a:gd name="T90" fmla="*/ 12439 w 16094"/>
                <a:gd name="T91" fmla="*/ 7635 h 16058"/>
                <a:gd name="T92" fmla="*/ 11948 w 16094"/>
                <a:gd name="T93" fmla="*/ 8406 h 16058"/>
                <a:gd name="T94" fmla="*/ 14463 w 16094"/>
                <a:gd name="T95" fmla="*/ 1003 h 16058"/>
                <a:gd name="T96" fmla="*/ 13190 w 16094"/>
                <a:gd name="T97" fmla="*/ 260 h 16058"/>
                <a:gd name="T98" fmla="*/ 11795 w 16094"/>
                <a:gd name="T99" fmla="*/ 0 h 16058"/>
                <a:gd name="T100" fmla="*/ 10660 w 16094"/>
                <a:gd name="T101" fmla="*/ 187 h 16058"/>
                <a:gd name="T102" fmla="*/ 9684 w 16094"/>
                <a:gd name="T103" fmla="*/ 727 h 16058"/>
                <a:gd name="T104" fmla="*/ 1704 w 16094"/>
                <a:gd name="T105" fmla="*/ 8728 h 16058"/>
                <a:gd name="T106" fmla="*/ 1279 w 16094"/>
                <a:gd name="T107" fmla="*/ 9454 h 16058"/>
                <a:gd name="T108" fmla="*/ 0 w 16094"/>
                <a:gd name="T109" fmla="*/ 14302 h 16058"/>
                <a:gd name="T110" fmla="*/ 402 w 16094"/>
                <a:gd name="T111" fmla="*/ 15419 h 16058"/>
                <a:gd name="T112" fmla="*/ 1407 w 16094"/>
                <a:gd name="T113" fmla="*/ 16022 h 16058"/>
                <a:gd name="T114" fmla="*/ 2275 w 16094"/>
                <a:gd name="T115" fmla="*/ 15980 h 16058"/>
                <a:gd name="T116" fmla="*/ 7227 w 16094"/>
                <a:gd name="T117" fmla="*/ 14541 h 16058"/>
                <a:gd name="T118" fmla="*/ 15901 w 16094"/>
                <a:gd name="T119" fmla="*/ 5421 h 16058"/>
                <a:gd name="T120" fmla="*/ 15857 w 16094"/>
                <a:gd name="T121" fmla="*/ 2953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094" h="16058">
                  <a:moveTo>
                    <a:pt x="14431" y="5907"/>
                  </a:moveTo>
                  <a:lnTo>
                    <a:pt x="13584" y="6759"/>
                  </a:lnTo>
                  <a:lnTo>
                    <a:pt x="13585" y="6717"/>
                  </a:lnTo>
                  <a:lnTo>
                    <a:pt x="13586" y="6675"/>
                  </a:lnTo>
                  <a:lnTo>
                    <a:pt x="13588" y="6633"/>
                  </a:lnTo>
                  <a:lnTo>
                    <a:pt x="13590" y="6591"/>
                  </a:lnTo>
                  <a:lnTo>
                    <a:pt x="13591" y="6549"/>
                  </a:lnTo>
                  <a:lnTo>
                    <a:pt x="13591" y="6507"/>
                  </a:lnTo>
                  <a:lnTo>
                    <a:pt x="13590" y="6464"/>
                  </a:lnTo>
                  <a:lnTo>
                    <a:pt x="13587" y="6420"/>
                  </a:lnTo>
                  <a:lnTo>
                    <a:pt x="13578" y="6330"/>
                  </a:lnTo>
                  <a:lnTo>
                    <a:pt x="13566" y="6240"/>
                  </a:lnTo>
                  <a:lnTo>
                    <a:pt x="13553" y="6148"/>
                  </a:lnTo>
                  <a:lnTo>
                    <a:pt x="13537" y="6059"/>
                  </a:lnTo>
                  <a:lnTo>
                    <a:pt x="13520" y="5969"/>
                  </a:lnTo>
                  <a:lnTo>
                    <a:pt x="13500" y="5879"/>
                  </a:lnTo>
                  <a:lnTo>
                    <a:pt x="13478" y="5790"/>
                  </a:lnTo>
                  <a:lnTo>
                    <a:pt x="13453" y="5702"/>
                  </a:lnTo>
                  <a:lnTo>
                    <a:pt x="13427" y="5613"/>
                  </a:lnTo>
                  <a:lnTo>
                    <a:pt x="13400" y="5525"/>
                  </a:lnTo>
                  <a:lnTo>
                    <a:pt x="13370" y="5439"/>
                  </a:lnTo>
                  <a:lnTo>
                    <a:pt x="13338" y="5351"/>
                  </a:lnTo>
                  <a:lnTo>
                    <a:pt x="13305" y="5265"/>
                  </a:lnTo>
                  <a:lnTo>
                    <a:pt x="13268" y="5180"/>
                  </a:lnTo>
                  <a:lnTo>
                    <a:pt x="13230" y="5094"/>
                  </a:lnTo>
                  <a:lnTo>
                    <a:pt x="13191" y="5010"/>
                  </a:lnTo>
                  <a:lnTo>
                    <a:pt x="13150" y="4927"/>
                  </a:lnTo>
                  <a:lnTo>
                    <a:pt x="13105" y="4843"/>
                  </a:lnTo>
                  <a:lnTo>
                    <a:pt x="13060" y="4761"/>
                  </a:lnTo>
                  <a:lnTo>
                    <a:pt x="13014" y="4680"/>
                  </a:lnTo>
                  <a:lnTo>
                    <a:pt x="12965" y="4600"/>
                  </a:lnTo>
                  <a:lnTo>
                    <a:pt x="12913" y="4520"/>
                  </a:lnTo>
                  <a:lnTo>
                    <a:pt x="12861" y="4441"/>
                  </a:lnTo>
                  <a:lnTo>
                    <a:pt x="12807" y="4364"/>
                  </a:lnTo>
                  <a:lnTo>
                    <a:pt x="12750" y="4286"/>
                  </a:lnTo>
                  <a:lnTo>
                    <a:pt x="12692" y="4210"/>
                  </a:lnTo>
                  <a:lnTo>
                    <a:pt x="12633" y="4136"/>
                  </a:lnTo>
                  <a:lnTo>
                    <a:pt x="12571" y="4062"/>
                  </a:lnTo>
                  <a:lnTo>
                    <a:pt x="12508" y="3989"/>
                  </a:lnTo>
                  <a:lnTo>
                    <a:pt x="12443" y="3917"/>
                  </a:lnTo>
                  <a:lnTo>
                    <a:pt x="12376" y="3847"/>
                  </a:lnTo>
                  <a:lnTo>
                    <a:pt x="12309" y="3778"/>
                  </a:lnTo>
                  <a:lnTo>
                    <a:pt x="12230" y="3701"/>
                  </a:lnTo>
                  <a:lnTo>
                    <a:pt x="12152" y="3628"/>
                  </a:lnTo>
                  <a:lnTo>
                    <a:pt x="12071" y="3557"/>
                  </a:lnTo>
                  <a:lnTo>
                    <a:pt x="11989" y="3487"/>
                  </a:lnTo>
                  <a:lnTo>
                    <a:pt x="11905" y="3419"/>
                  </a:lnTo>
                  <a:lnTo>
                    <a:pt x="11821" y="3354"/>
                  </a:lnTo>
                  <a:lnTo>
                    <a:pt x="11735" y="3292"/>
                  </a:lnTo>
                  <a:lnTo>
                    <a:pt x="11648" y="3231"/>
                  </a:lnTo>
                  <a:lnTo>
                    <a:pt x="11560" y="3172"/>
                  </a:lnTo>
                  <a:lnTo>
                    <a:pt x="11471" y="3116"/>
                  </a:lnTo>
                  <a:lnTo>
                    <a:pt x="11380" y="3062"/>
                  </a:lnTo>
                  <a:lnTo>
                    <a:pt x="11289" y="3010"/>
                  </a:lnTo>
                  <a:lnTo>
                    <a:pt x="11196" y="2961"/>
                  </a:lnTo>
                  <a:lnTo>
                    <a:pt x="11103" y="2914"/>
                  </a:lnTo>
                  <a:lnTo>
                    <a:pt x="11009" y="2868"/>
                  </a:lnTo>
                  <a:lnTo>
                    <a:pt x="10913" y="2826"/>
                  </a:lnTo>
                  <a:lnTo>
                    <a:pt x="10818" y="2786"/>
                  </a:lnTo>
                  <a:lnTo>
                    <a:pt x="10721" y="2749"/>
                  </a:lnTo>
                  <a:lnTo>
                    <a:pt x="10625" y="2714"/>
                  </a:lnTo>
                  <a:lnTo>
                    <a:pt x="10527" y="2681"/>
                  </a:lnTo>
                  <a:lnTo>
                    <a:pt x="10429" y="2651"/>
                  </a:lnTo>
                  <a:lnTo>
                    <a:pt x="10330" y="2622"/>
                  </a:lnTo>
                  <a:lnTo>
                    <a:pt x="10231" y="2597"/>
                  </a:lnTo>
                  <a:lnTo>
                    <a:pt x="10132" y="2574"/>
                  </a:lnTo>
                  <a:lnTo>
                    <a:pt x="10031" y="2554"/>
                  </a:lnTo>
                  <a:lnTo>
                    <a:pt x="9932" y="2537"/>
                  </a:lnTo>
                  <a:lnTo>
                    <a:pt x="9831" y="2522"/>
                  </a:lnTo>
                  <a:lnTo>
                    <a:pt x="9730" y="2510"/>
                  </a:lnTo>
                  <a:lnTo>
                    <a:pt x="9630" y="2500"/>
                  </a:lnTo>
                  <a:lnTo>
                    <a:pt x="9529" y="2493"/>
                  </a:lnTo>
                  <a:lnTo>
                    <a:pt x="9428" y="2489"/>
                  </a:lnTo>
                  <a:lnTo>
                    <a:pt x="9327" y="2487"/>
                  </a:lnTo>
                  <a:lnTo>
                    <a:pt x="10160" y="1649"/>
                  </a:lnTo>
                  <a:lnTo>
                    <a:pt x="10199" y="1611"/>
                  </a:lnTo>
                  <a:lnTo>
                    <a:pt x="10240" y="1574"/>
                  </a:lnTo>
                  <a:lnTo>
                    <a:pt x="10282" y="1538"/>
                  </a:lnTo>
                  <a:lnTo>
                    <a:pt x="10324" y="1502"/>
                  </a:lnTo>
                  <a:lnTo>
                    <a:pt x="10367" y="1468"/>
                  </a:lnTo>
                  <a:lnTo>
                    <a:pt x="10411" y="1435"/>
                  </a:lnTo>
                  <a:lnTo>
                    <a:pt x="10456" y="1404"/>
                  </a:lnTo>
                  <a:lnTo>
                    <a:pt x="10502" y="1373"/>
                  </a:lnTo>
                  <a:lnTo>
                    <a:pt x="10548" y="1344"/>
                  </a:lnTo>
                  <a:lnTo>
                    <a:pt x="10596" y="1316"/>
                  </a:lnTo>
                  <a:lnTo>
                    <a:pt x="10644" y="1289"/>
                  </a:lnTo>
                  <a:lnTo>
                    <a:pt x="10692" y="1263"/>
                  </a:lnTo>
                  <a:lnTo>
                    <a:pt x="10742" y="1237"/>
                  </a:lnTo>
                  <a:lnTo>
                    <a:pt x="10793" y="1214"/>
                  </a:lnTo>
                  <a:lnTo>
                    <a:pt x="10843" y="1192"/>
                  </a:lnTo>
                  <a:lnTo>
                    <a:pt x="10894" y="1171"/>
                  </a:lnTo>
                  <a:lnTo>
                    <a:pt x="10947" y="1151"/>
                  </a:lnTo>
                  <a:lnTo>
                    <a:pt x="11000" y="1132"/>
                  </a:lnTo>
                  <a:lnTo>
                    <a:pt x="11053" y="1115"/>
                  </a:lnTo>
                  <a:lnTo>
                    <a:pt x="11108" y="1099"/>
                  </a:lnTo>
                  <a:lnTo>
                    <a:pt x="11162" y="1084"/>
                  </a:lnTo>
                  <a:lnTo>
                    <a:pt x="11217" y="1070"/>
                  </a:lnTo>
                  <a:lnTo>
                    <a:pt x="11273" y="1058"/>
                  </a:lnTo>
                  <a:lnTo>
                    <a:pt x="11329" y="1046"/>
                  </a:lnTo>
                  <a:lnTo>
                    <a:pt x="11386" y="1037"/>
                  </a:lnTo>
                  <a:lnTo>
                    <a:pt x="11444" y="1028"/>
                  </a:lnTo>
                  <a:lnTo>
                    <a:pt x="11501" y="1021"/>
                  </a:lnTo>
                  <a:lnTo>
                    <a:pt x="11559" y="1015"/>
                  </a:lnTo>
                  <a:lnTo>
                    <a:pt x="11618" y="1010"/>
                  </a:lnTo>
                  <a:lnTo>
                    <a:pt x="11676" y="1007"/>
                  </a:lnTo>
                  <a:lnTo>
                    <a:pt x="11735" y="1005"/>
                  </a:lnTo>
                  <a:lnTo>
                    <a:pt x="11795" y="1004"/>
                  </a:lnTo>
                  <a:lnTo>
                    <a:pt x="11871" y="1005"/>
                  </a:lnTo>
                  <a:lnTo>
                    <a:pt x="11947" y="1008"/>
                  </a:lnTo>
                  <a:lnTo>
                    <a:pt x="12023" y="1014"/>
                  </a:lnTo>
                  <a:lnTo>
                    <a:pt x="12098" y="1021"/>
                  </a:lnTo>
                  <a:lnTo>
                    <a:pt x="12175" y="1030"/>
                  </a:lnTo>
                  <a:lnTo>
                    <a:pt x="12251" y="1042"/>
                  </a:lnTo>
                  <a:lnTo>
                    <a:pt x="12327" y="1055"/>
                  </a:lnTo>
                  <a:lnTo>
                    <a:pt x="12402" y="1071"/>
                  </a:lnTo>
                  <a:lnTo>
                    <a:pt x="12478" y="1088"/>
                  </a:lnTo>
                  <a:lnTo>
                    <a:pt x="12553" y="1108"/>
                  </a:lnTo>
                  <a:lnTo>
                    <a:pt x="12629" y="1129"/>
                  </a:lnTo>
                  <a:lnTo>
                    <a:pt x="12703" y="1153"/>
                  </a:lnTo>
                  <a:lnTo>
                    <a:pt x="12777" y="1178"/>
                  </a:lnTo>
                  <a:lnTo>
                    <a:pt x="12852" y="1205"/>
                  </a:lnTo>
                  <a:lnTo>
                    <a:pt x="12925" y="1234"/>
                  </a:lnTo>
                  <a:lnTo>
                    <a:pt x="12999" y="1266"/>
                  </a:lnTo>
                  <a:lnTo>
                    <a:pt x="13071" y="1299"/>
                  </a:lnTo>
                  <a:lnTo>
                    <a:pt x="13144" y="1334"/>
                  </a:lnTo>
                  <a:lnTo>
                    <a:pt x="13215" y="1370"/>
                  </a:lnTo>
                  <a:lnTo>
                    <a:pt x="13285" y="1408"/>
                  </a:lnTo>
                  <a:lnTo>
                    <a:pt x="13356" y="1448"/>
                  </a:lnTo>
                  <a:lnTo>
                    <a:pt x="13425" y="1490"/>
                  </a:lnTo>
                  <a:lnTo>
                    <a:pt x="13495" y="1535"/>
                  </a:lnTo>
                  <a:lnTo>
                    <a:pt x="13562" y="1580"/>
                  </a:lnTo>
                  <a:lnTo>
                    <a:pt x="13629" y="1627"/>
                  </a:lnTo>
                  <a:lnTo>
                    <a:pt x="13696" y="1676"/>
                  </a:lnTo>
                  <a:lnTo>
                    <a:pt x="13761" y="1727"/>
                  </a:lnTo>
                  <a:lnTo>
                    <a:pt x="13827" y="1779"/>
                  </a:lnTo>
                  <a:lnTo>
                    <a:pt x="13890" y="1834"/>
                  </a:lnTo>
                  <a:lnTo>
                    <a:pt x="13952" y="1889"/>
                  </a:lnTo>
                  <a:lnTo>
                    <a:pt x="14014" y="1946"/>
                  </a:lnTo>
                  <a:lnTo>
                    <a:pt x="14075" y="2005"/>
                  </a:lnTo>
                  <a:lnTo>
                    <a:pt x="14130" y="2061"/>
                  </a:lnTo>
                  <a:lnTo>
                    <a:pt x="14185" y="2119"/>
                  </a:lnTo>
                  <a:lnTo>
                    <a:pt x="14237" y="2177"/>
                  </a:lnTo>
                  <a:lnTo>
                    <a:pt x="14288" y="2235"/>
                  </a:lnTo>
                  <a:lnTo>
                    <a:pt x="14338" y="2295"/>
                  </a:lnTo>
                  <a:lnTo>
                    <a:pt x="14386" y="2356"/>
                  </a:lnTo>
                  <a:lnTo>
                    <a:pt x="14433" y="2417"/>
                  </a:lnTo>
                  <a:lnTo>
                    <a:pt x="14478" y="2478"/>
                  </a:lnTo>
                  <a:lnTo>
                    <a:pt x="14522" y="2540"/>
                  </a:lnTo>
                  <a:lnTo>
                    <a:pt x="14564" y="2603"/>
                  </a:lnTo>
                  <a:lnTo>
                    <a:pt x="14605" y="2667"/>
                  </a:lnTo>
                  <a:lnTo>
                    <a:pt x="14644" y="2731"/>
                  </a:lnTo>
                  <a:lnTo>
                    <a:pt x="14682" y="2796"/>
                  </a:lnTo>
                  <a:lnTo>
                    <a:pt x="14718" y="2861"/>
                  </a:lnTo>
                  <a:lnTo>
                    <a:pt x="14752" y="2927"/>
                  </a:lnTo>
                  <a:lnTo>
                    <a:pt x="14785" y="2993"/>
                  </a:lnTo>
                  <a:lnTo>
                    <a:pt x="14816" y="3060"/>
                  </a:lnTo>
                  <a:lnTo>
                    <a:pt x="14846" y="3126"/>
                  </a:lnTo>
                  <a:lnTo>
                    <a:pt x="14874" y="3195"/>
                  </a:lnTo>
                  <a:lnTo>
                    <a:pt x="14900" y="3262"/>
                  </a:lnTo>
                  <a:lnTo>
                    <a:pt x="14925" y="3330"/>
                  </a:lnTo>
                  <a:lnTo>
                    <a:pt x="14948" y="3398"/>
                  </a:lnTo>
                  <a:lnTo>
                    <a:pt x="14969" y="3468"/>
                  </a:lnTo>
                  <a:lnTo>
                    <a:pt x="14988" y="3537"/>
                  </a:lnTo>
                  <a:lnTo>
                    <a:pt x="15007" y="3606"/>
                  </a:lnTo>
                  <a:lnTo>
                    <a:pt x="15023" y="3675"/>
                  </a:lnTo>
                  <a:lnTo>
                    <a:pt x="15038" y="3746"/>
                  </a:lnTo>
                  <a:lnTo>
                    <a:pt x="15050" y="3816"/>
                  </a:lnTo>
                  <a:lnTo>
                    <a:pt x="15061" y="3885"/>
                  </a:lnTo>
                  <a:lnTo>
                    <a:pt x="15070" y="3955"/>
                  </a:lnTo>
                  <a:lnTo>
                    <a:pt x="15078" y="4026"/>
                  </a:lnTo>
                  <a:lnTo>
                    <a:pt x="15084" y="4097"/>
                  </a:lnTo>
                  <a:lnTo>
                    <a:pt x="15087" y="4162"/>
                  </a:lnTo>
                  <a:lnTo>
                    <a:pt x="15089" y="4227"/>
                  </a:lnTo>
                  <a:lnTo>
                    <a:pt x="15089" y="4292"/>
                  </a:lnTo>
                  <a:lnTo>
                    <a:pt x="15088" y="4357"/>
                  </a:lnTo>
                  <a:lnTo>
                    <a:pt x="15085" y="4420"/>
                  </a:lnTo>
                  <a:lnTo>
                    <a:pt x="15081" y="4484"/>
                  </a:lnTo>
                  <a:lnTo>
                    <a:pt x="15075" y="4546"/>
                  </a:lnTo>
                  <a:lnTo>
                    <a:pt x="15067" y="4610"/>
                  </a:lnTo>
                  <a:lnTo>
                    <a:pt x="15058" y="4672"/>
                  </a:lnTo>
                  <a:lnTo>
                    <a:pt x="15048" y="4733"/>
                  </a:lnTo>
                  <a:lnTo>
                    <a:pt x="15035" y="4794"/>
                  </a:lnTo>
                  <a:lnTo>
                    <a:pt x="15022" y="4855"/>
                  </a:lnTo>
                  <a:lnTo>
                    <a:pt x="15006" y="4914"/>
                  </a:lnTo>
                  <a:lnTo>
                    <a:pt x="14989" y="4973"/>
                  </a:lnTo>
                  <a:lnTo>
                    <a:pt x="14970" y="5032"/>
                  </a:lnTo>
                  <a:lnTo>
                    <a:pt x="14950" y="5089"/>
                  </a:lnTo>
                  <a:lnTo>
                    <a:pt x="14929" y="5147"/>
                  </a:lnTo>
                  <a:lnTo>
                    <a:pt x="14906" y="5203"/>
                  </a:lnTo>
                  <a:lnTo>
                    <a:pt x="14882" y="5259"/>
                  </a:lnTo>
                  <a:lnTo>
                    <a:pt x="14856" y="5314"/>
                  </a:lnTo>
                  <a:lnTo>
                    <a:pt x="14829" y="5368"/>
                  </a:lnTo>
                  <a:lnTo>
                    <a:pt x="14799" y="5422"/>
                  </a:lnTo>
                  <a:lnTo>
                    <a:pt x="14769" y="5474"/>
                  </a:lnTo>
                  <a:lnTo>
                    <a:pt x="14737" y="5526"/>
                  </a:lnTo>
                  <a:lnTo>
                    <a:pt x="14704" y="5577"/>
                  </a:lnTo>
                  <a:lnTo>
                    <a:pt x="14670" y="5627"/>
                  </a:lnTo>
                  <a:lnTo>
                    <a:pt x="14633" y="5675"/>
                  </a:lnTo>
                  <a:lnTo>
                    <a:pt x="14595" y="5724"/>
                  </a:lnTo>
                  <a:lnTo>
                    <a:pt x="14557" y="5772"/>
                  </a:lnTo>
                  <a:lnTo>
                    <a:pt x="14516" y="5818"/>
                  </a:lnTo>
                  <a:lnTo>
                    <a:pt x="14474" y="5863"/>
                  </a:lnTo>
                  <a:lnTo>
                    <a:pt x="14431" y="5907"/>
                  </a:lnTo>
                  <a:close/>
                  <a:moveTo>
                    <a:pt x="4463" y="14370"/>
                  </a:moveTo>
                  <a:lnTo>
                    <a:pt x="4461" y="14307"/>
                  </a:lnTo>
                  <a:lnTo>
                    <a:pt x="4458" y="14243"/>
                  </a:lnTo>
                  <a:lnTo>
                    <a:pt x="4453" y="14180"/>
                  </a:lnTo>
                  <a:lnTo>
                    <a:pt x="4446" y="14117"/>
                  </a:lnTo>
                  <a:lnTo>
                    <a:pt x="4438" y="14053"/>
                  </a:lnTo>
                  <a:lnTo>
                    <a:pt x="4429" y="13990"/>
                  </a:lnTo>
                  <a:lnTo>
                    <a:pt x="4417" y="13926"/>
                  </a:lnTo>
                  <a:lnTo>
                    <a:pt x="4405" y="13863"/>
                  </a:lnTo>
                  <a:lnTo>
                    <a:pt x="4391" y="13800"/>
                  </a:lnTo>
                  <a:lnTo>
                    <a:pt x="4375" y="13737"/>
                  </a:lnTo>
                  <a:lnTo>
                    <a:pt x="4357" y="13673"/>
                  </a:lnTo>
                  <a:lnTo>
                    <a:pt x="4338" y="13610"/>
                  </a:lnTo>
                  <a:lnTo>
                    <a:pt x="4317" y="13548"/>
                  </a:lnTo>
                  <a:lnTo>
                    <a:pt x="4295" y="13486"/>
                  </a:lnTo>
                  <a:lnTo>
                    <a:pt x="4271" y="13423"/>
                  </a:lnTo>
                  <a:lnTo>
                    <a:pt x="4246" y="13362"/>
                  </a:lnTo>
                  <a:lnTo>
                    <a:pt x="4219" y="13300"/>
                  </a:lnTo>
                  <a:lnTo>
                    <a:pt x="4191" y="13240"/>
                  </a:lnTo>
                  <a:lnTo>
                    <a:pt x="4161" y="13179"/>
                  </a:lnTo>
                  <a:lnTo>
                    <a:pt x="4128" y="13119"/>
                  </a:lnTo>
                  <a:lnTo>
                    <a:pt x="4095" y="13059"/>
                  </a:lnTo>
                  <a:lnTo>
                    <a:pt x="4060" y="13000"/>
                  </a:lnTo>
                  <a:lnTo>
                    <a:pt x="4024" y="12942"/>
                  </a:lnTo>
                  <a:lnTo>
                    <a:pt x="3986" y="12884"/>
                  </a:lnTo>
                  <a:lnTo>
                    <a:pt x="3946" y="12826"/>
                  </a:lnTo>
                  <a:lnTo>
                    <a:pt x="3905" y="12769"/>
                  </a:lnTo>
                  <a:lnTo>
                    <a:pt x="3862" y="12714"/>
                  </a:lnTo>
                  <a:lnTo>
                    <a:pt x="3818" y="12658"/>
                  </a:lnTo>
                  <a:lnTo>
                    <a:pt x="3771" y="12604"/>
                  </a:lnTo>
                  <a:lnTo>
                    <a:pt x="3723" y="12549"/>
                  </a:lnTo>
                  <a:lnTo>
                    <a:pt x="3674" y="12497"/>
                  </a:lnTo>
                  <a:lnTo>
                    <a:pt x="3622" y="12445"/>
                  </a:lnTo>
                  <a:lnTo>
                    <a:pt x="3573" y="12396"/>
                  </a:lnTo>
                  <a:lnTo>
                    <a:pt x="3522" y="12349"/>
                  </a:lnTo>
                  <a:lnTo>
                    <a:pt x="3470" y="12303"/>
                  </a:lnTo>
                  <a:lnTo>
                    <a:pt x="3418" y="12258"/>
                  </a:lnTo>
                  <a:lnTo>
                    <a:pt x="3366" y="12215"/>
                  </a:lnTo>
                  <a:lnTo>
                    <a:pt x="3312" y="12174"/>
                  </a:lnTo>
                  <a:lnTo>
                    <a:pt x="3257" y="12133"/>
                  </a:lnTo>
                  <a:lnTo>
                    <a:pt x="3202" y="12094"/>
                  </a:lnTo>
                  <a:lnTo>
                    <a:pt x="3146" y="12057"/>
                  </a:lnTo>
                  <a:lnTo>
                    <a:pt x="3088" y="12020"/>
                  </a:lnTo>
                  <a:lnTo>
                    <a:pt x="3031" y="11985"/>
                  </a:lnTo>
                  <a:lnTo>
                    <a:pt x="2974" y="11952"/>
                  </a:lnTo>
                  <a:lnTo>
                    <a:pt x="2914" y="11920"/>
                  </a:lnTo>
                  <a:lnTo>
                    <a:pt x="2855" y="11889"/>
                  </a:lnTo>
                  <a:lnTo>
                    <a:pt x="2796" y="11860"/>
                  </a:lnTo>
                  <a:lnTo>
                    <a:pt x="2735" y="11832"/>
                  </a:lnTo>
                  <a:lnTo>
                    <a:pt x="2675" y="11806"/>
                  </a:lnTo>
                  <a:lnTo>
                    <a:pt x="2613" y="11781"/>
                  </a:lnTo>
                  <a:lnTo>
                    <a:pt x="2552" y="11757"/>
                  </a:lnTo>
                  <a:lnTo>
                    <a:pt x="2490" y="11735"/>
                  </a:lnTo>
                  <a:lnTo>
                    <a:pt x="2427" y="11715"/>
                  </a:lnTo>
                  <a:lnTo>
                    <a:pt x="2365" y="11696"/>
                  </a:lnTo>
                  <a:lnTo>
                    <a:pt x="2303" y="11679"/>
                  </a:lnTo>
                  <a:lnTo>
                    <a:pt x="2239" y="11663"/>
                  </a:lnTo>
                  <a:lnTo>
                    <a:pt x="2176" y="11648"/>
                  </a:lnTo>
                  <a:lnTo>
                    <a:pt x="2112" y="11636"/>
                  </a:lnTo>
                  <a:lnTo>
                    <a:pt x="2048" y="11625"/>
                  </a:lnTo>
                  <a:lnTo>
                    <a:pt x="1985" y="11615"/>
                  </a:lnTo>
                  <a:lnTo>
                    <a:pt x="1920" y="11607"/>
                  </a:lnTo>
                  <a:lnTo>
                    <a:pt x="1857" y="11600"/>
                  </a:lnTo>
                  <a:lnTo>
                    <a:pt x="1793" y="11595"/>
                  </a:lnTo>
                  <a:lnTo>
                    <a:pt x="1728" y="11592"/>
                  </a:lnTo>
                  <a:lnTo>
                    <a:pt x="2229" y="9781"/>
                  </a:lnTo>
                  <a:lnTo>
                    <a:pt x="2236" y="9759"/>
                  </a:lnTo>
                  <a:lnTo>
                    <a:pt x="2244" y="9736"/>
                  </a:lnTo>
                  <a:lnTo>
                    <a:pt x="2253" y="9714"/>
                  </a:lnTo>
                  <a:lnTo>
                    <a:pt x="2263" y="9692"/>
                  </a:lnTo>
                  <a:lnTo>
                    <a:pt x="2273" y="9670"/>
                  </a:lnTo>
                  <a:lnTo>
                    <a:pt x="2284" y="9648"/>
                  </a:lnTo>
                  <a:lnTo>
                    <a:pt x="2296" y="9626"/>
                  </a:lnTo>
                  <a:lnTo>
                    <a:pt x="2308" y="9604"/>
                  </a:lnTo>
                  <a:lnTo>
                    <a:pt x="2321" y="9583"/>
                  </a:lnTo>
                  <a:lnTo>
                    <a:pt x="2335" y="9561"/>
                  </a:lnTo>
                  <a:lnTo>
                    <a:pt x="2349" y="9539"/>
                  </a:lnTo>
                  <a:lnTo>
                    <a:pt x="2363" y="9518"/>
                  </a:lnTo>
                  <a:lnTo>
                    <a:pt x="2378" y="9498"/>
                  </a:lnTo>
                  <a:lnTo>
                    <a:pt x="2393" y="9478"/>
                  </a:lnTo>
                  <a:lnTo>
                    <a:pt x="2409" y="9458"/>
                  </a:lnTo>
                  <a:lnTo>
                    <a:pt x="2426" y="9438"/>
                  </a:lnTo>
                  <a:lnTo>
                    <a:pt x="2522" y="9374"/>
                  </a:lnTo>
                  <a:lnTo>
                    <a:pt x="2621" y="9314"/>
                  </a:lnTo>
                  <a:lnTo>
                    <a:pt x="2723" y="9260"/>
                  </a:lnTo>
                  <a:lnTo>
                    <a:pt x="2828" y="9211"/>
                  </a:lnTo>
                  <a:lnTo>
                    <a:pt x="2934" y="9169"/>
                  </a:lnTo>
                  <a:lnTo>
                    <a:pt x="3044" y="9131"/>
                  </a:lnTo>
                  <a:lnTo>
                    <a:pt x="3156" y="9099"/>
                  </a:lnTo>
                  <a:lnTo>
                    <a:pt x="3268" y="9072"/>
                  </a:lnTo>
                  <a:lnTo>
                    <a:pt x="3383" y="9051"/>
                  </a:lnTo>
                  <a:lnTo>
                    <a:pt x="3500" y="9034"/>
                  </a:lnTo>
                  <a:lnTo>
                    <a:pt x="3617" y="9024"/>
                  </a:lnTo>
                  <a:lnTo>
                    <a:pt x="3736" y="9018"/>
                  </a:lnTo>
                  <a:lnTo>
                    <a:pt x="3857" y="9018"/>
                  </a:lnTo>
                  <a:lnTo>
                    <a:pt x="3976" y="9023"/>
                  </a:lnTo>
                  <a:lnTo>
                    <a:pt x="4098" y="9033"/>
                  </a:lnTo>
                  <a:lnTo>
                    <a:pt x="4220" y="9049"/>
                  </a:lnTo>
                  <a:lnTo>
                    <a:pt x="4342" y="9070"/>
                  </a:lnTo>
                  <a:lnTo>
                    <a:pt x="4463" y="9096"/>
                  </a:lnTo>
                  <a:lnTo>
                    <a:pt x="4584" y="9127"/>
                  </a:lnTo>
                  <a:lnTo>
                    <a:pt x="4706" y="9164"/>
                  </a:lnTo>
                  <a:lnTo>
                    <a:pt x="4826" y="9206"/>
                  </a:lnTo>
                  <a:lnTo>
                    <a:pt x="4946" y="9252"/>
                  </a:lnTo>
                  <a:lnTo>
                    <a:pt x="5065" y="9305"/>
                  </a:lnTo>
                  <a:lnTo>
                    <a:pt x="5184" y="9363"/>
                  </a:lnTo>
                  <a:lnTo>
                    <a:pt x="5300" y="9425"/>
                  </a:lnTo>
                  <a:lnTo>
                    <a:pt x="5415" y="9493"/>
                  </a:lnTo>
                  <a:lnTo>
                    <a:pt x="5529" y="9566"/>
                  </a:lnTo>
                  <a:lnTo>
                    <a:pt x="5640" y="9644"/>
                  </a:lnTo>
                  <a:lnTo>
                    <a:pt x="5750" y="9727"/>
                  </a:lnTo>
                  <a:lnTo>
                    <a:pt x="5857" y="9815"/>
                  </a:lnTo>
                  <a:lnTo>
                    <a:pt x="5962" y="9909"/>
                  </a:lnTo>
                  <a:lnTo>
                    <a:pt x="6065" y="10007"/>
                  </a:lnTo>
                  <a:lnTo>
                    <a:pt x="6168" y="10115"/>
                  </a:lnTo>
                  <a:lnTo>
                    <a:pt x="6267" y="10226"/>
                  </a:lnTo>
                  <a:lnTo>
                    <a:pt x="6360" y="10339"/>
                  </a:lnTo>
                  <a:lnTo>
                    <a:pt x="6447" y="10456"/>
                  </a:lnTo>
                  <a:lnTo>
                    <a:pt x="6529" y="10574"/>
                  </a:lnTo>
                  <a:lnTo>
                    <a:pt x="6604" y="10695"/>
                  </a:lnTo>
                  <a:lnTo>
                    <a:pt x="6673" y="10816"/>
                  </a:lnTo>
                  <a:lnTo>
                    <a:pt x="6738" y="10941"/>
                  </a:lnTo>
                  <a:lnTo>
                    <a:pt x="6796" y="11065"/>
                  </a:lnTo>
                  <a:lnTo>
                    <a:pt x="6848" y="11191"/>
                  </a:lnTo>
                  <a:lnTo>
                    <a:pt x="6895" y="11318"/>
                  </a:lnTo>
                  <a:lnTo>
                    <a:pt x="6936" y="11446"/>
                  </a:lnTo>
                  <a:lnTo>
                    <a:pt x="6971" y="11574"/>
                  </a:lnTo>
                  <a:lnTo>
                    <a:pt x="7000" y="11702"/>
                  </a:lnTo>
                  <a:lnTo>
                    <a:pt x="7023" y="11831"/>
                  </a:lnTo>
                  <a:lnTo>
                    <a:pt x="7041" y="11959"/>
                  </a:lnTo>
                  <a:lnTo>
                    <a:pt x="7052" y="12087"/>
                  </a:lnTo>
                  <a:lnTo>
                    <a:pt x="7058" y="12214"/>
                  </a:lnTo>
                  <a:lnTo>
                    <a:pt x="7057" y="12341"/>
                  </a:lnTo>
                  <a:lnTo>
                    <a:pt x="7051" y="12466"/>
                  </a:lnTo>
                  <a:lnTo>
                    <a:pt x="7039" y="12589"/>
                  </a:lnTo>
                  <a:lnTo>
                    <a:pt x="7019" y="12712"/>
                  </a:lnTo>
                  <a:lnTo>
                    <a:pt x="6995" y="12832"/>
                  </a:lnTo>
                  <a:lnTo>
                    <a:pt x="6965" y="12952"/>
                  </a:lnTo>
                  <a:lnTo>
                    <a:pt x="6929" y="13068"/>
                  </a:lnTo>
                  <a:lnTo>
                    <a:pt x="6886" y="13183"/>
                  </a:lnTo>
                  <a:lnTo>
                    <a:pt x="6837" y="13294"/>
                  </a:lnTo>
                  <a:lnTo>
                    <a:pt x="6783" y="13402"/>
                  </a:lnTo>
                  <a:lnTo>
                    <a:pt x="6722" y="13508"/>
                  </a:lnTo>
                  <a:lnTo>
                    <a:pt x="6655" y="13610"/>
                  </a:lnTo>
                  <a:lnTo>
                    <a:pt x="6582" y="13710"/>
                  </a:lnTo>
                  <a:lnTo>
                    <a:pt x="6502" y="13805"/>
                  </a:lnTo>
                  <a:lnTo>
                    <a:pt x="6481" y="13816"/>
                  </a:lnTo>
                  <a:lnTo>
                    <a:pt x="6459" y="13827"/>
                  </a:lnTo>
                  <a:lnTo>
                    <a:pt x="6437" y="13838"/>
                  </a:lnTo>
                  <a:lnTo>
                    <a:pt x="6415" y="13848"/>
                  </a:lnTo>
                  <a:lnTo>
                    <a:pt x="6392" y="13858"/>
                  </a:lnTo>
                  <a:lnTo>
                    <a:pt x="6369" y="13867"/>
                  </a:lnTo>
                  <a:lnTo>
                    <a:pt x="6345" y="13876"/>
                  </a:lnTo>
                  <a:lnTo>
                    <a:pt x="6322" y="13884"/>
                  </a:lnTo>
                  <a:lnTo>
                    <a:pt x="4463" y="14370"/>
                  </a:lnTo>
                  <a:close/>
                  <a:moveTo>
                    <a:pt x="2096" y="14991"/>
                  </a:moveTo>
                  <a:lnTo>
                    <a:pt x="2070" y="14997"/>
                  </a:lnTo>
                  <a:lnTo>
                    <a:pt x="2036" y="15005"/>
                  </a:lnTo>
                  <a:lnTo>
                    <a:pt x="1995" y="15014"/>
                  </a:lnTo>
                  <a:lnTo>
                    <a:pt x="1949" y="15024"/>
                  </a:lnTo>
                  <a:lnTo>
                    <a:pt x="1899" y="15034"/>
                  </a:lnTo>
                  <a:lnTo>
                    <a:pt x="1849" y="15043"/>
                  </a:lnTo>
                  <a:lnTo>
                    <a:pt x="1825" y="15046"/>
                  </a:lnTo>
                  <a:lnTo>
                    <a:pt x="1801" y="15050"/>
                  </a:lnTo>
                  <a:lnTo>
                    <a:pt x="1777" y="15052"/>
                  </a:lnTo>
                  <a:lnTo>
                    <a:pt x="1755" y="15054"/>
                  </a:lnTo>
                  <a:lnTo>
                    <a:pt x="1716" y="15053"/>
                  </a:lnTo>
                  <a:lnTo>
                    <a:pt x="1679" y="15049"/>
                  </a:lnTo>
                  <a:lnTo>
                    <a:pt x="1641" y="15044"/>
                  </a:lnTo>
                  <a:lnTo>
                    <a:pt x="1604" y="15037"/>
                  </a:lnTo>
                  <a:lnTo>
                    <a:pt x="1568" y="15029"/>
                  </a:lnTo>
                  <a:lnTo>
                    <a:pt x="1532" y="15018"/>
                  </a:lnTo>
                  <a:lnTo>
                    <a:pt x="1498" y="15006"/>
                  </a:lnTo>
                  <a:lnTo>
                    <a:pt x="1464" y="14993"/>
                  </a:lnTo>
                  <a:lnTo>
                    <a:pt x="1430" y="14978"/>
                  </a:lnTo>
                  <a:lnTo>
                    <a:pt x="1398" y="14961"/>
                  </a:lnTo>
                  <a:lnTo>
                    <a:pt x="1367" y="14943"/>
                  </a:lnTo>
                  <a:lnTo>
                    <a:pt x="1336" y="14923"/>
                  </a:lnTo>
                  <a:lnTo>
                    <a:pt x="1307" y="14902"/>
                  </a:lnTo>
                  <a:lnTo>
                    <a:pt x="1279" y="14880"/>
                  </a:lnTo>
                  <a:lnTo>
                    <a:pt x="1251" y="14856"/>
                  </a:lnTo>
                  <a:lnTo>
                    <a:pt x="1225" y="14832"/>
                  </a:lnTo>
                  <a:lnTo>
                    <a:pt x="1201" y="14804"/>
                  </a:lnTo>
                  <a:lnTo>
                    <a:pt x="1177" y="14777"/>
                  </a:lnTo>
                  <a:lnTo>
                    <a:pt x="1155" y="14749"/>
                  </a:lnTo>
                  <a:lnTo>
                    <a:pt x="1134" y="14720"/>
                  </a:lnTo>
                  <a:lnTo>
                    <a:pt x="1115" y="14689"/>
                  </a:lnTo>
                  <a:lnTo>
                    <a:pt x="1096" y="14658"/>
                  </a:lnTo>
                  <a:lnTo>
                    <a:pt x="1080" y="14626"/>
                  </a:lnTo>
                  <a:lnTo>
                    <a:pt x="1065" y="14593"/>
                  </a:lnTo>
                  <a:lnTo>
                    <a:pt x="1051" y="14559"/>
                  </a:lnTo>
                  <a:lnTo>
                    <a:pt x="1040" y="14524"/>
                  </a:lnTo>
                  <a:lnTo>
                    <a:pt x="1030" y="14488"/>
                  </a:lnTo>
                  <a:lnTo>
                    <a:pt x="1021" y="14452"/>
                  </a:lnTo>
                  <a:lnTo>
                    <a:pt x="1015" y="14415"/>
                  </a:lnTo>
                  <a:lnTo>
                    <a:pt x="1010" y="14378"/>
                  </a:lnTo>
                  <a:lnTo>
                    <a:pt x="1007" y="14340"/>
                  </a:lnTo>
                  <a:lnTo>
                    <a:pt x="1006" y="14302"/>
                  </a:lnTo>
                  <a:lnTo>
                    <a:pt x="1009" y="14268"/>
                  </a:lnTo>
                  <a:lnTo>
                    <a:pt x="1015" y="14229"/>
                  </a:lnTo>
                  <a:lnTo>
                    <a:pt x="1022" y="14189"/>
                  </a:lnTo>
                  <a:lnTo>
                    <a:pt x="1029" y="14149"/>
                  </a:lnTo>
                  <a:lnTo>
                    <a:pt x="1037" y="14110"/>
                  </a:lnTo>
                  <a:lnTo>
                    <a:pt x="1045" y="14074"/>
                  </a:lnTo>
                  <a:lnTo>
                    <a:pt x="1051" y="14043"/>
                  </a:lnTo>
                  <a:lnTo>
                    <a:pt x="1056" y="14020"/>
                  </a:lnTo>
                  <a:lnTo>
                    <a:pt x="1586" y="12106"/>
                  </a:lnTo>
                  <a:lnTo>
                    <a:pt x="1641" y="12105"/>
                  </a:lnTo>
                  <a:lnTo>
                    <a:pt x="1695" y="12105"/>
                  </a:lnTo>
                  <a:lnTo>
                    <a:pt x="1749" y="12107"/>
                  </a:lnTo>
                  <a:lnTo>
                    <a:pt x="1804" y="12111"/>
                  </a:lnTo>
                  <a:lnTo>
                    <a:pt x="1858" y="12116"/>
                  </a:lnTo>
                  <a:lnTo>
                    <a:pt x="1913" y="12122"/>
                  </a:lnTo>
                  <a:lnTo>
                    <a:pt x="1968" y="12130"/>
                  </a:lnTo>
                  <a:lnTo>
                    <a:pt x="2023" y="12139"/>
                  </a:lnTo>
                  <a:lnTo>
                    <a:pt x="2077" y="12149"/>
                  </a:lnTo>
                  <a:lnTo>
                    <a:pt x="2133" y="12161"/>
                  </a:lnTo>
                  <a:lnTo>
                    <a:pt x="2187" y="12175"/>
                  </a:lnTo>
                  <a:lnTo>
                    <a:pt x="2242" y="12190"/>
                  </a:lnTo>
                  <a:lnTo>
                    <a:pt x="2297" y="12206"/>
                  </a:lnTo>
                  <a:lnTo>
                    <a:pt x="2351" y="12224"/>
                  </a:lnTo>
                  <a:lnTo>
                    <a:pt x="2405" y="12243"/>
                  </a:lnTo>
                  <a:lnTo>
                    <a:pt x="2460" y="12264"/>
                  </a:lnTo>
                  <a:lnTo>
                    <a:pt x="2513" y="12286"/>
                  </a:lnTo>
                  <a:lnTo>
                    <a:pt x="2566" y="12309"/>
                  </a:lnTo>
                  <a:lnTo>
                    <a:pt x="2619" y="12335"/>
                  </a:lnTo>
                  <a:lnTo>
                    <a:pt x="2673" y="12362"/>
                  </a:lnTo>
                  <a:lnTo>
                    <a:pt x="2725" y="12390"/>
                  </a:lnTo>
                  <a:lnTo>
                    <a:pt x="2776" y="12420"/>
                  </a:lnTo>
                  <a:lnTo>
                    <a:pt x="2829" y="12451"/>
                  </a:lnTo>
                  <a:lnTo>
                    <a:pt x="2879" y="12483"/>
                  </a:lnTo>
                  <a:lnTo>
                    <a:pt x="2930" y="12517"/>
                  </a:lnTo>
                  <a:lnTo>
                    <a:pt x="2980" y="12553"/>
                  </a:lnTo>
                  <a:lnTo>
                    <a:pt x="3029" y="12590"/>
                  </a:lnTo>
                  <a:lnTo>
                    <a:pt x="3078" y="12629"/>
                  </a:lnTo>
                  <a:lnTo>
                    <a:pt x="3126" y="12669"/>
                  </a:lnTo>
                  <a:lnTo>
                    <a:pt x="3174" y="12711"/>
                  </a:lnTo>
                  <a:lnTo>
                    <a:pt x="3220" y="12754"/>
                  </a:lnTo>
                  <a:lnTo>
                    <a:pt x="3266" y="12799"/>
                  </a:lnTo>
                  <a:lnTo>
                    <a:pt x="3312" y="12845"/>
                  </a:lnTo>
                  <a:lnTo>
                    <a:pt x="3356" y="12893"/>
                  </a:lnTo>
                  <a:lnTo>
                    <a:pt x="3398" y="12941"/>
                  </a:lnTo>
                  <a:lnTo>
                    <a:pt x="3439" y="12990"/>
                  </a:lnTo>
                  <a:lnTo>
                    <a:pt x="3479" y="13039"/>
                  </a:lnTo>
                  <a:lnTo>
                    <a:pt x="3517" y="13089"/>
                  </a:lnTo>
                  <a:lnTo>
                    <a:pt x="3553" y="13139"/>
                  </a:lnTo>
                  <a:lnTo>
                    <a:pt x="3588" y="13191"/>
                  </a:lnTo>
                  <a:lnTo>
                    <a:pt x="3621" y="13243"/>
                  </a:lnTo>
                  <a:lnTo>
                    <a:pt x="3653" y="13295"/>
                  </a:lnTo>
                  <a:lnTo>
                    <a:pt x="3683" y="13348"/>
                  </a:lnTo>
                  <a:lnTo>
                    <a:pt x="3712" y="13401"/>
                  </a:lnTo>
                  <a:lnTo>
                    <a:pt x="3739" y="13455"/>
                  </a:lnTo>
                  <a:lnTo>
                    <a:pt x="3765" y="13509"/>
                  </a:lnTo>
                  <a:lnTo>
                    <a:pt x="3788" y="13563"/>
                  </a:lnTo>
                  <a:lnTo>
                    <a:pt x="3811" y="13617"/>
                  </a:lnTo>
                  <a:lnTo>
                    <a:pt x="3833" y="13671"/>
                  </a:lnTo>
                  <a:lnTo>
                    <a:pt x="3852" y="13727"/>
                  </a:lnTo>
                  <a:lnTo>
                    <a:pt x="3870" y="13782"/>
                  </a:lnTo>
                  <a:lnTo>
                    <a:pt x="3887" y="13837"/>
                  </a:lnTo>
                  <a:lnTo>
                    <a:pt x="3902" y="13892"/>
                  </a:lnTo>
                  <a:lnTo>
                    <a:pt x="3915" y="13948"/>
                  </a:lnTo>
                  <a:lnTo>
                    <a:pt x="3927" y="14004"/>
                  </a:lnTo>
                  <a:lnTo>
                    <a:pt x="3938" y="14060"/>
                  </a:lnTo>
                  <a:lnTo>
                    <a:pt x="3946" y="14115"/>
                  </a:lnTo>
                  <a:lnTo>
                    <a:pt x="3954" y="14170"/>
                  </a:lnTo>
                  <a:lnTo>
                    <a:pt x="3960" y="14225"/>
                  </a:lnTo>
                  <a:lnTo>
                    <a:pt x="3964" y="14282"/>
                  </a:lnTo>
                  <a:lnTo>
                    <a:pt x="3967" y="14337"/>
                  </a:lnTo>
                  <a:lnTo>
                    <a:pt x="3968" y="14391"/>
                  </a:lnTo>
                  <a:lnTo>
                    <a:pt x="3968" y="14446"/>
                  </a:lnTo>
                  <a:lnTo>
                    <a:pt x="3967" y="14500"/>
                  </a:lnTo>
                  <a:lnTo>
                    <a:pt x="2096" y="14991"/>
                  </a:lnTo>
                  <a:close/>
                  <a:moveTo>
                    <a:pt x="5275" y="8311"/>
                  </a:moveTo>
                  <a:lnTo>
                    <a:pt x="5187" y="8277"/>
                  </a:lnTo>
                  <a:lnTo>
                    <a:pt x="5099" y="8245"/>
                  </a:lnTo>
                  <a:lnTo>
                    <a:pt x="5011" y="8215"/>
                  </a:lnTo>
                  <a:lnTo>
                    <a:pt x="4921" y="8186"/>
                  </a:lnTo>
                  <a:lnTo>
                    <a:pt x="4877" y="8173"/>
                  </a:lnTo>
                  <a:lnTo>
                    <a:pt x="4833" y="8159"/>
                  </a:lnTo>
                  <a:lnTo>
                    <a:pt x="4787" y="8147"/>
                  </a:lnTo>
                  <a:lnTo>
                    <a:pt x="4742" y="8135"/>
                  </a:lnTo>
                  <a:lnTo>
                    <a:pt x="4698" y="8124"/>
                  </a:lnTo>
                  <a:lnTo>
                    <a:pt x="4652" y="8113"/>
                  </a:lnTo>
                  <a:lnTo>
                    <a:pt x="4607" y="8103"/>
                  </a:lnTo>
                  <a:lnTo>
                    <a:pt x="4562" y="8093"/>
                  </a:lnTo>
                  <a:lnTo>
                    <a:pt x="4517" y="8084"/>
                  </a:lnTo>
                  <a:lnTo>
                    <a:pt x="4471" y="8075"/>
                  </a:lnTo>
                  <a:lnTo>
                    <a:pt x="4426" y="8067"/>
                  </a:lnTo>
                  <a:lnTo>
                    <a:pt x="4380" y="8059"/>
                  </a:lnTo>
                  <a:lnTo>
                    <a:pt x="4335" y="8052"/>
                  </a:lnTo>
                  <a:lnTo>
                    <a:pt x="4289" y="8045"/>
                  </a:lnTo>
                  <a:lnTo>
                    <a:pt x="4243" y="8039"/>
                  </a:lnTo>
                  <a:lnTo>
                    <a:pt x="4198" y="8034"/>
                  </a:lnTo>
                  <a:lnTo>
                    <a:pt x="4153" y="8029"/>
                  </a:lnTo>
                  <a:lnTo>
                    <a:pt x="4106" y="8025"/>
                  </a:lnTo>
                  <a:lnTo>
                    <a:pt x="4061" y="8021"/>
                  </a:lnTo>
                  <a:lnTo>
                    <a:pt x="4015" y="8018"/>
                  </a:lnTo>
                  <a:lnTo>
                    <a:pt x="3969" y="8015"/>
                  </a:lnTo>
                  <a:lnTo>
                    <a:pt x="3923" y="8013"/>
                  </a:lnTo>
                  <a:lnTo>
                    <a:pt x="3878" y="8011"/>
                  </a:lnTo>
                  <a:lnTo>
                    <a:pt x="3832" y="8011"/>
                  </a:lnTo>
                  <a:lnTo>
                    <a:pt x="7706" y="4116"/>
                  </a:lnTo>
                  <a:lnTo>
                    <a:pt x="7763" y="4063"/>
                  </a:lnTo>
                  <a:lnTo>
                    <a:pt x="7820" y="4012"/>
                  </a:lnTo>
                  <a:lnTo>
                    <a:pt x="7880" y="3964"/>
                  </a:lnTo>
                  <a:lnTo>
                    <a:pt x="7941" y="3918"/>
                  </a:lnTo>
                  <a:lnTo>
                    <a:pt x="8003" y="3875"/>
                  </a:lnTo>
                  <a:lnTo>
                    <a:pt x="8067" y="3834"/>
                  </a:lnTo>
                  <a:lnTo>
                    <a:pt x="8131" y="3796"/>
                  </a:lnTo>
                  <a:lnTo>
                    <a:pt x="8197" y="3760"/>
                  </a:lnTo>
                  <a:lnTo>
                    <a:pt x="8265" y="3725"/>
                  </a:lnTo>
                  <a:lnTo>
                    <a:pt x="8333" y="3694"/>
                  </a:lnTo>
                  <a:lnTo>
                    <a:pt x="8403" y="3665"/>
                  </a:lnTo>
                  <a:lnTo>
                    <a:pt x="8473" y="3638"/>
                  </a:lnTo>
                  <a:lnTo>
                    <a:pt x="8544" y="3613"/>
                  </a:lnTo>
                  <a:lnTo>
                    <a:pt x="8616" y="3591"/>
                  </a:lnTo>
                  <a:lnTo>
                    <a:pt x="8689" y="3571"/>
                  </a:lnTo>
                  <a:lnTo>
                    <a:pt x="8764" y="3554"/>
                  </a:lnTo>
                  <a:lnTo>
                    <a:pt x="8838" y="3539"/>
                  </a:lnTo>
                  <a:lnTo>
                    <a:pt x="8914" y="3526"/>
                  </a:lnTo>
                  <a:lnTo>
                    <a:pt x="8989" y="3515"/>
                  </a:lnTo>
                  <a:lnTo>
                    <a:pt x="9067" y="3507"/>
                  </a:lnTo>
                  <a:lnTo>
                    <a:pt x="9143" y="3501"/>
                  </a:lnTo>
                  <a:lnTo>
                    <a:pt x="9220" y="3497"/>
                  </a:lnTo>
                  <a:lnTo>
                    <a:pt x="9299" y="3496"/>
                  </a:lnTo>
                  <a:lnTo>
                    <a:pt x="9377" y="3497"/>
                  </a:lnTo>
                  <a:lnTo>
                    <a:pt x="9457" y="3500"/>
                  </a:lnTo>
                  <a:lnTo>
                    <a:pt x="9535" y="3505"/>
                  </a:lnTo>
                  <a:lnTo>
                    <a:pt x="9615" y="3512"/>
                  </a:lnTo>
                  <a:lnTo>
                    <a:pt x="9694" y="3522"/>
                  </a:lnTo>
                  <a:lnTo>
                    <a:pt x="9775" y="3534"/>
                  </a:lnTo>
                  <a:lnTo>
                    <a:pt x="9854" y="3548"/>
                  </a:lnTo>
                  <a:lnTo>
                    <a:pt x="9934" y="3565"/>
                  </a:lnTo>
                  <a:lnTo>
                    <a:pt x="10014" y="3583"/>
                  </a:lnTo>
                  <a:lnTo>
                    <a:pt x="5275" y="8311"/>
                  </a:lnTo>
                  <a:close/>
                  <a:moveTo>
                    <a:pt x="7441" y="10165"/>
                  </a:moveTo>
                  <a:lnTo>
                    <a:pt x="7406" y="10107"/>
                  </a:lnTo>
                  <a:lnTo>
                    <a:pt x="7369" y="10049"/>
                  </a:lnTo>
                  <a:lnTo>
                    <a:pt x="7332" y="9992"/>
                  </a:lnTo>
                  <a:lnTo>
                    <a:pt x="7295" y="9936"/>
                  </a:lnTo>
                  <a:lnTo>
                    <a:pt x="7257" y="9880"/>
                  </a:lnTo>
                  <a:lnTo>
                    <a:pt x="7218" y="9824"/>
                  </a:lnTo>
                  <a:lnTo>
                    <a:pt x="7177" y="9768"/>
                  </a:lnTo>
                  <a:lnTo>
                    <a:pt x="7137" y="9714"/>
                  </a:lnTo>
                  <a:lnTo>
                    <a:pt x="7096" y="9660"/>
                  </a:lnTo>
                  <a:lnTo>
                    <a:pt x="7053" y="9606"/>
                  </a:lnTo>
                  <a:lnTo>
                    <a:pt x="7009" y="9553"/>
                  </a:lnTo>
                  <a:lnTo>
                    <a:pt x="6965" y="9500"/>
                  </a:lnTo>
                  <a:lnTo>
                    <a:pt x="6919" y="9448"/>
                  </a:lnTo>
                  <a:lnTo>
                    <a:pt x="6873" y="9397"/>
                  </a:lnTo>
                  <a:lnTo>
                    <a:pt x="6824" y="9347"/>
                  </a:lnTo>
                  <a:lnTo>
                    <a:pt x="6776" y="9297"/>
                  </a:lnTo>
                  <a:lnTo>
                    <a:pt x="6718" y="9240"/>
                  </a:lnTo>
                  <a:lnTo>
                    <a:pt x="6658" y="9185"/>
                  </a:lnTo>
                  <a:lnTo>
                    <a:pt x="6598" y="9131"/>
                  </a:lnTo>
                  <a:lnTo>
                    <a:pt x="6538" y="9079"/>
                  </a:lnTo>
                  <a:lnTo>
                    <a:pt x="6475" y="9029"/>
                  </a:lnTo>
                  <a:lnTo>
                    <a:pt x="6412" y="8978"/>
                  </a:lnTo>
                  <a:lnTo>
                    <a:pt x="6348" y="8930"/>
                  </a:lnTo>
                  <a:lnTo>
                    <a:pt x="6284" y="8884"/>
                  </a:lnTo>
                  <a:lnTo>
                    <a:pt x="6220" y="8838"/>
                  </a:lnTo>
                  <a:lnTo>
                    <a:pt x="6153" y="8794"/>
                  </a:lnTo>
                  <a:lnTo>
                    <a:pt x="6087" y="8750"/>
                  </a:lnTo>
                  <a:lnTo>
                    <a:pt x="6021" y="8707"/>
                  </a:lnTo>
                  <a:lnTo>
                    <a:pt x="5953" y="8666"/>
                  </a:lnTo>
                  <a:lnTo>
                    <a:pt x="5885" y="8626"/>
                  </a:lnTo>
                  <a:lnTo>
                    <a:pt x="5816" y="8587"/>
                  </a:lnTo>
                  <a:lnTo>
                    <a:pt x="5748" y="8549"/>
                  </a:lnTo>
                  <a:lnTo>
                    <a:pt x="10542" y="3766"/>
                  </a:lnTo>
                  <a:lnTo>
                    <a:pt x="10613" y="3798"/>
                  </a:lnTo>
                  <a:lnTo>
                    <a:pt x="10683" y="3831"/>
                  </a:lnTo>
                  <a:lnTo>
                    <a:pt x="10752" y="3866"/>
                  </a:lnTo>
                  <a:lnTo>
                    <a:pt x="10821" y="3903"/>
                  </a:lnTo>
                  <a:lnTo>
                    <a:pt x="10889" y="3942"/>
                  </a:lnTo>
                  <a:lnTo>
                    <a:pt x="10958" y="3983"/>
                  </a:lnTo>
                  <a:lnTo>
                    <a:pt x="11025" y="4026"/>
                  </a:lnTo>
                  <a:lnTo>
                    <a:pt x="11091" y="4070"/>
                  </a:lnTo>
                  <a:lnTo>
                    <a:pt x="11157" y="4115"/>
                  </a:lnTo>
                  <a:lnTo>
                    <a:pt x="11222" y="4163"/>
                  </a:lnTo>
                  <a:lnTo>
                    <a:pt x="11287" y="4212"/>
                  </a:lnTo>
                  <a:lnTo>
                    <a:pt x="11351" y="4263"/>
                  </a:lnTo>
                  <a:lnTo>
                    <a:pt x="11413" y="4317"/>
                  </a:lnTo>
                  <a:lnTo>
                    <a:pt x="11476" y="4372"/>
                  </a:lnTo>
                  <a:lnTo>
                    <a:pt x="11537" y="4428"/>
                  </a:lnTo>
                  <a:lnTo>
                    <a:pt x="11597" y="4487"/>
                  </a:lnTo>
                  <a:lnTo>
                    <a:pt x="11648" y="4537"/>
                  </a:lnTo>
                  <a:lnTo>
                    <a:pt x="11696" y="4590"/>
                  </a:lnTo>
                  <a:lnTo>
                    <a:pt x="11743" y="4642"/>
                  </a:lnTo>
                  <a:lnTo>
                    <a:pt x="11790" y="4696"/>
                  </a:lnTo>
                  <a:lnTo>
                    <a:pt x="11835" y="4749"/>
                  </a:lnTo>
                  <a:lnTo>
                    <a:pt x="11878" y="4803"/>
                  </a:lnTo>
                  <a:lnTo>
                    <a:pt x="11919" y="4859"/>
                  </a:lnTo>
                  <a:lnTo>
                    <a:pt x="11961" y="4915"/>
                  </a:lnTo>
                  <a:lnTo>
                    <a:pt x="12000" y="4970"/>
                  </a:lnTo>
                  <a:lnTo>
                    <a:pt x="12038" y="5027"/>
                  </a:lnTo>
                  <a:lnTo>
                    <a:pt x="12075" y="5084"/>
                  </a:lnTo>
                  <a:lnTo>
                    <a:pt x="12110" y="5142"/>
                  </a:lnTo>
                  <a:lnTo>
                    <a:pt x="12145" y="5200"/>
                  </a:lnTo>
                  <a:lnTo>
                    <a:pt x="12178" y="5258"/>
                  </a:lnTo>
                  <a:lnTo>
                    <a:pt x="12210" y="5316"/>
                  </a:lnTo>
                  <a:lnTo>
                    <a:pt x="12241" y="5375"/>
                  </a:lnTo>
                  <a:lnTo>
                    <a:pt x="7441" y="10165"/>
                  </a:lnTo>
                  <a:close/>
                  <a:moveTo>
                    <a:pt x="8055" y="11941"/>
                  </a:moveTo>
                  <a:lnTo>
                    <a:pt x="8045" y="11856"/>
                  </a:lnTo>
                  <a:lnTo>
                    <a:pt x="8035" y="11772"/>
                  </a:lnTo>
                  <a:lnTo>
                    <a:pt x="8022" y="11687"/>
                  </a:lnTo>
                  <a:lnTo>
                    <a:pt x="8008" y="11603"/>
                  </a:lnTo>
                  <a:lnTo>
                    <a:pt x="7991" y="11519"/>
                  </a:lnTo>
                  <a:lnTo>
                    <a:pt x="7973" y="11435"/>
                  </a:lnTo>
                  <a:lnTo>
                    <a:pt x="7953" y="11352"/>
                  </a:lnTo>
                  <a:lnTo>
                    <a:pt x="7931" y="11270"/>
                  </a:lnTo>
                  <a:lnTo>
                    <a:pt x="7907" y="11187"/>
                  </a:lnTo>
                  <a:lnTo>
                    <a:pt x="7882" y="11105"/>
                  </a:lnTo>
                  <a:lnTo>
                    <a:pt x="7854" y="11024"/>
                  </a:lnTo>
                  <a:lnTo>
                    <a:pt x="7825" y="10943"/>
                  </a:lnTo>
                  <a:lnTo>
                    <a:pt x="7795" y="10861"/>
                  </a:lnTo>
                  <a:lnTo>
                    <a:pt x="7763" y="10781"/>
                  </a:lnTo>
                  <a:lnTo>
                    <a:pt x="7729" y="10702"/>
                  </a:lnTo>
                  <a:lnTo>
                    <a:pt x="7693" y="10622"/>
                  </a:lnTo>
                  <a:lnTo>
                    <a:pt x="12448" y="5878"/>
                  </a:lnTo>
                  <a:lnTo>
                    <a:pt x="12475" y="5965"/>
                  </a:lnTo>
                  <a:lnTo>
                    <a:pt x="12499" y="6051"/>
                  </a:lnTo>
                  <a:lnTo>
                    <a:pt x="12519" y="6137"/>
                  </a:lnTo>
                  <a:lnTo>
                    <a:pt x="12537" y="6223"/>
                  </a:lnTo>
                  <a:lnTo>
                    <a:pt x="12553" y="6310"/>
                  </a:lnTo>
                  <a:lnTo>
                    <a:pt x="12566" y="6396"/>
                  </a:lnTo>
                  <a:lnTo>
                    <a:pt x="12576" y="6482"/>
                  </a:lnTo>
                  <a:lnTo>
                    <a:pt x="12583" y="6568"/>
                  </a:lnTo>
                  <a:lnTo>
                    <a:pt x="12588" y="6654"/>
                  </a:lnTo>
                  <a:lnTo>
                    <a:pt x="12591" y="6739"/>
                  </a:lnTo>
                  <a:lnTo>
                    <a:pt x="12591" y="6824"/>
                  </a:lnTo>
                  <a:lnTo>
                    <a:pt x="12588" y="6908"/>
                  </a:lnTo>
                  <a:lnTo>
                    <a:pt x="12582" y="6992"/>
                  </a:lnTo>
                  <a:lnTo>
                    <a:pt x="12574" y="7075"/>
                  </a:lnTo>
                  <a:lnTo>
                    <a:pt x="12563" y="7158"/>
                  </a:lnTo>
                  <a:lnTo>
                    <a:pt x="12549" y="7239"/>
                  </a:lnTo>
                  <a:lnTo>
                    <a:pt x="12533" y="7320"/>
                  </a:lnTo>
                  <a:lnTo>
                    <a:pt x="12513" y="7400"/>
                  </a:lnTo>
                  <a:lnTo>
                    <a:pt x="12492" y="7479"/>
                  </a:lnTo>
                  <a:lnTo>
                    <a:pt x="12467" y="7557"/>
                  </a:lnTo>
                  <a:lnTo>
                    <a:pt x="12439" y="7635"/>
                  </a:lnTo>
                  <a:lnTo>
                    <a:pt x="12409" y="7710"/>
                  </a:lnTo>
                  <a:lnTo>
                    <a:pt x="12376" y="7784"/>
                  </a:lnTo>
                  <a:lnTo>
                    <a:pt x="12340" y="7857"/>
                  </a:lnTo>
                  <a:lnTo>
                    <a:pt x="12302" y="7930"/>
                  </a:lnTo>
                  <a:lnTo>
                    <a:pt x="12260" y="8000"/>
                  </a:lnTo>
                  <a:lnTo>
                    <a:pt x="12216" y="8069"/>
                  </a:lnTo>
                  <a:lnTo>
                    <a:pt x="12169" y="8136"/>
                  </a:lnTo>
                  <a:lnTo>
                    <a:pt x="12120" y="8203"/>
                  </a:lnTo>
                  <a:lnTo>
                    <a:pt x="12066" y="8267"/>
                  </a:lnTo>
                  <a:lnTo>
                    <a:pt x="12011" y="8329"/>
                  </a:lnTo>
                  <a:lnTo>
                    <a:pt x="11953" y="8389"/>
                  </a:lnTo>
                  <a:lnTo>
                    <a:pt x="11947" y="8394"/>
                  </a:lnTo>
                  <a:lnTo>
                    <a:pt x="11940" y="8400"/>
                  </a:lnTo>
                  <a:lnTo>
                    <a:pt x="11948" y="8406"/>
                  </a:lnTo>
                  <a:lnTo>
                    <a:pt x="8060" y="12314"/>
                  </a:lnTo>
                  <a:lnTo>
                    <a:pt x="8061" y="12268"/>
                  </a:lnTo>
                  <a:lnTo>
                    <a:pt x="8061" y="12222"/>
                  </a:lnTo>
                  <a:lnTo>
                    <a:pt x="8062" y="12175"/>
                  </a:lnTo>
                  <a:lnTo>
                    <a:pt x="8062" y="12129"/>
                  </a:lnTo>
                  <a:lnTo>
                    <a:pt x="8062" y="12082"/>
                  </a:lnTo>
                  <a:lnTo>
                    <a:pt x="8061" y="12035"/>
                  </a:lnTo>
                  <a:lnTo>
                    <a:pt x="8059" y="11988"/>
                  </a:lnTo>
                  <a:lnTo>
                    <a:pt x="8055" y="11941"/>
                  </a:lnTo>
                  <a:close/>
                  <a:moveTo>
                    <a:pt x="14785" y="1295"/>
                  </a:moveTo>
                  <a:lnTo>
                    <a:pt x="14707" y="1218"/>
                  </a:lnTo>
                  <a:lnTo>
                    <a:pt x="14626" y="1144"/>
                  </a:lnTo>
                  <a:lnTo>
                    <a:pt x="14546" y="1072"/>
                  </a:lnTo>
                  <a:lnTo>
                    <a:pt x="14463" y="1003"/>
                  </a:lnTo>
                  <a:lnTo>
                    <a:pt x="14379" y="934"/>
                  </a:lnTo>
                  <a:lnTo>
                    <a:pt x="14294" y="869"/>
                  </a:lnTo>
                  <a:lnTo>
                    <a:pt x="14208" y="806"/>
                  </a:lnTo>
                  <a:lnTo>
                    <a:pt x="14119" y="745"/>
                  </a:lnTo>
                  <a:lnTo>
                    <a:pt x="14031" y="685"/>
                  </a:lnTo>
                  <a:lnTo>
                    <a:pt x="13941" y="629"/>
                  </a:lnTo>
                  <a:lnTo>
                    <a:pt x="13851" y="575"/>
                  </a:lnTo>
                  <a:lnTo>
                    <a:pt x="13758" y="523"/>
                  </a:lnTo>
                  <a:lnTo>
                    <a:pt x="13666" y="473"/>
                  </a:lnTo>
                  <a:lnTo>
                    <a:pt x="13572" y="426"/>
                  </a:lnTo>
                  <a:lnTo>
                    <a:pt x="13478" y="380"/>
                  </a:lnTo>
                  <a:lnTo>
                    <a:pt x="13382" y="338"/>
                  </a:lnTo>
                  <a:lnTo>
                    <a:pt x="13286" y="298"/>
                  </a:lnTo>
                  <a:lnTo>
                    <a:pt x="13190" y="260"/>
                  </a:lnTo>
                  <a:lnTo>
                    <a:pt x="13092" y="225"/>
                  </a:lnTo>
                  <a:lnTo>
                    <a:pt x="12995" y="193"/>
                  </a:lnTo>
                  <a:lnTo>
                    <a:pt x="12896" y="162"/>
                  </a:lnTo>
                  <a:lnTo>
                    <a:pt x="12798" y="134"/>
                  </a:lnTo>
                  <a:lnTo>
                    <a:pt x="12698" y="109"/>
                  </a:lnTo>
                  <a:lnTo>
                    <a:pt x="12598" y="86"/>
                  </a:lnTo>
                  <a:lnTo>
                    <a:pt x="12499" y="66"/>
                  </a:lnTo>
                  <a:lnTo>
                    <a:pt x="12398" y="49"/>
                  </a:lnTo>
                  <a:lnTo>
                    <a:pt x="12299" y="34"/>
                  </a:lnTo>
                  <a:lnTo>
                    <a:pt x="12198" y="22"/>
                  </a:lnTo>
                  <a:lnTo>
                    <a:pt x="12097" y="12"/>
                  </a:lnTo>
                  <a:lnTo>
                    <a:pt x="11996" y="5"/>
                  </a:lnTo>
                  <a:lnTo>
                    <a:pt x="11895" y="1"/>
                  </a:lnTo>
                  <a:lnTo>
                    <a:pt x="11795" y="0"/>
                  </a:lnTo>
                  <a:lnTo>
                    <a:pt x="11710" y="1"/>
                  </a:lnTo>
                  <a:lnTo>
                    <a:pt x="11626" y="4"/>
                  </a:lnTo>
                  <a:lnTo>
                    <a:pt x="11542" y="9"/>
                  </a:lnTo>
                  <a:lnTo>
                    <a:pt x="11459" y="16"/>
                  </a:lnTo>
                  <a:lnTo>
                    <a:pt x="11376" y="24"/>
                  </a:lnTo>
                  <a:lnTo>
                    <a:pt x="11294" y="35"/>
                  </a:lnTo>
                  <a:lnTo>
                    <a:pt x="11212" y="47"/>
                  </a:lnTo>
                  <a:lnTo>
                    <a:pt x="11131" y="62"/>
                  </a:lnTo>
                  <a:lnTo>
                    <a:pt x="11051" y="78"/>
                  </a:lnTo>
                  <a:lnTo>
                    <a:pt x="10971" y="96"/>
                  </a:lnTo>
                  <a:lnTo>
                    <a:pt x="10892" y="116"/>
                  </a:lnTo>
                  <a:lnTo>
                    <a:pt x="10814" y="139"/>
                  </a:lnTo>
                  <a:lnTo>
                    <a:pt x="10736" y="162"/>
                  </a:lnTo>
                  <a:lnTo>
                    <a:pt x="10660" y="187"/>
                  </a:lnTo>
                  <a:lnTo>
                    <a:pt x="10584" y="215"/>
                  </a:lnTo>
                  <a:lnTo>
                    <a:pt x="10509" y="243"/>
                  </a:lnTo>
                  <a:lnTo>
                    <a:pt x="10435" y="274"/>
                  </a:lnTo>
                  <a:lnTo>
                    <a:pt x="10361" y="307"/>
                  </a:lnTo>
                  <a:lnTo>
                    <a:pt x="10289" y="341"/>
                  </a:lnTo>
                  <a:lnTo>
                    <a:pt x="10217" y="377"/>
                  </a:lnTo>
                  <a:lnTo>
                    <a:pt x="10147" y="416"/>
                  </a:lnTo>
                  <a:lnTo>
                    <a:pt x="10078" y="455"/>
                  </a:lnTo>
                  <a:lnTo>
                    <a:pt x="10010" y="496"/>
                  </a:lnTo>
                  <a:lnTo>
                    <a:pt x="9943" y="539"/>
                  </a:lnTo>
                  <a:lnTo>
                    <a:pt x="9876" y="583"/>
                  </a:lnTo>
                  <a:lnTo>
                    <a:pt x="9811" y="629"/>
                  </a:lnTo>
                  <a:lnTo>
                    <a:pt x="9748" y="677"/>
                  </a:lnTo>
                  <a:lnTo>
                    <a:pt x="9684" y="727"/>
                  </a:lnTo>
                  <a:lnTo>
                    <a:pt x="9623" y="778"/>
                  </a:lnTo>
                  <a:lnTo>
                    <a:pt x="9562" y="831"/>
                  </a:lnTo>
                  <a:lnTo>
                    <a:pt x="9503" y="885"/>
                  </a:lnTo>
                  <a:lnTo>
                    <a:pt x="9446" y="941"/>
                  </a:lnTo>
                  <a:lnTo>
                    <a:pt x="6997" y="3403"/>
                  </a:lnTo>
                  <a:lnTo>
                    <a:pt x="6986" y="3412"/>
                  </a:lnTo>
                  <a:lnTo>
                    <a:pt x="6974" y="3422"/>
                  </a:lnTo>
                  <a:lnTo>
                    <a:pt x="6969" y="3428"/>
                  </a:lnTo>
                  <a:lnTo>
                    <a:pt x="6964" y="3435"/>
                  </a:lnTo>
                  <a:lnTo>
                    <a:pt x="6965" y="3436"/>
                  </a:lnTo>
                  <a:lnTo>
                    <a:pt x="1769" y="8659"/>
                  </a:lnTo>
                  <a:lnTo>
                    <a:pt x="1747" y="8681"/>
                  </a:lnTo>
                  <a:lnTo>
                    <a:pt x="1725" y="8704"/>
                  </a:lnTo>
                  <a:lnTo>
                    <a:pt x="1704" y="8728"/>
                  </a:lnTo>
                  <a:lnTo>
                    <a:pt x="1683" y="8751"/>
                  </a:lnTo>
                  <a:lnTo>
                    <a:pt x="1642" y="8799"/>
                  </a:lnTo>
                  <a:lnTo>
                    <a:pt x="1602" y="8847"/>
                  </a:lnTo>
                  <a:lnTo>
                    <a:pt x="1564" y="8897"/>
                  </a:lnTo>
                  <a:lnTo>
                    <a:pt x="1528" y="8949"/>
                  </a:lnTo>
                  <a:lnTo>
                    <a:pt x="1494" y="9002"/>
                  </a:lnTo>
                  <a:lnTo>
                    <a:pt x="1461" y="9055"/>
                  </a:lnTo>
                  <a:lnTo>
                    <a:pt x="1429" y="9109"/>
                  </a:lnTo>
                  <a:lnTo>
                    <a:pt x="1400" y="9165"/>
                  </a:lnTo>
                  <a:lnTo>
                    <a:pt x="1372" y="9221"/>
                  </a:lnTo>
                  <a:lnTo>
                    <a:pt x="1347" y="9279"/>
                  </a:lnTo>
                  <a:lnTo>
                    <a:pt x="1322" y="9336"/>
                  </a:lnTo>
                  <a:lnTo>
                    <a:pt x="1300" y="9395"/>
                  </a:lnTo>
                  <a:lnTo>
                    <a:pt x="1279" y="9454"/>
                  </a:lnTo>
                  <a:lnTo>
                    <a:pt x="1260" y="9514"/>
                  </a:lnTo>
                  <a:lnTo>
                    <a:pt x="78" y="13784"/>
                  </a:lnTo>
                  <a:lnTo>
                    <a:pt x="74" y="13803"/>
                  </a:lnTo>
                  <a:lnTo>
                    <a:pt x="65" y="13846"/>
                  </a:lnTo>
                  <a:lnTo>
                    <a:pt x="53" y="13908"/>
                  </a:lnTo>
                  <a:lnTo>
                    <a:pt x="38" y="13984"/>
                  </a:lnTo>
                  <a:lnTo>
                    <a:pt x="31" y="14025"/>
                  </a:lnTo>
                  <a:lnTo>
                    <a:pt x="24" y="14066"/>
                  </a:lnTo>
                  <a:lnTo>
                    <a:pt x="18" y="14109"/>
                  </a:lnTo>
                  <a:lnTo>
                    <a:pt x="12" y="14151"/>
                  </a:lnTo>
                  <a:lnTo>
                    <a:pt x="7" y="14192"/>
                  </a:lnTo>
                  <a:lnTo>
                    <a:pt x="3" y="14231"/>
                  </a:lnTo>
                  <a:lnTo>
                    <a:pt x="1" y="14268"/>
                  </a:lnTo>
                  <a:lnTo>
                    <a:pt x="0" y="14302"/>
                  </a:lnTo>
                  <a:lnTo>
                    <a:pt x="2" y="14392"/>
                  </a:lnTo>
                  <a:lnTo>
                    <a:pt x="9" y="14481"/>
                  </a:lnTo>
                  <a:lnTo>
                    <a:pt x="20" y="14569"/>
                  </a:lnTo>
                  <a:lnTo>
                    <a:pt x="36" y="14656"/>
                  </a:lnTo>
                  <a:lnTo>
                    <a:pt x="55" y="14740"/>
                  </a:lnTo>
                  <a:lnTo>
                    <a:pt x="79" y="14824"/>
                  </a:lnTo>
                  <a:lnTo>
                    <a:pt x="107" y="14906"/>
                  </a:lnTo>
                  <a:lnTo>
                    <a:pt x="139" y="14985"/>
                  </a:lnTo>
                  <a:lnTo>
                    <a:pt x="174" y="15063"/>
                  </a:lnTo>
                  <a:lnTo>
                    <a:pt x="212" y="15139"/>
                  </a:lnTo>
                  <a:lnTo>
                    <a:pt x="256" y="15212"/>
                  </a:lnTo>
                  <a:lnTo>
                    <a:pt x="301" y="15283"/>
                  </a:lnTo>
                  <a:lnTo>
                    <a:pt x="350" y="15352"/>
                  </a:lnTo>
                  <a:lnTo>
                    <a:pt x="402" y="15419"/>
                  </a:lnTo>
                  <a:lnTo>
                    <a:pt x="458" y="15483"/>
                  </a:lnTo>
                  <a:lnTo>
                    <a:pt x="516" y="15543"/>
                  </a:lnTo>
                  <a:lnTo>
                    <a:pt x="577" y="15601"/>
                  </a:lnTo>
                  <a:lnTo>
                    <a:pt x="642" y="15657"/>
                  </a:lnTo>
                  <a:lnTo>
                    <a:pt x="708" y="15709"/>
                  </a:lnTo>
                  <a:lnTo>
                    <a:pt x="778" y="15758"/>
                  </a:lnTo>
                  <a:lnTo>
                    <a:pt x="849" y="15804"/>
                  </a:lnTo>
                  <a:lnTo>
                    <a:pt x="922" y="15846"/>
                  </a:lnTo>
                  <a:lnTo>
                    <a:pt x="999" y="15884"/>
                  </a:lnTo>
                  <a:lnTo>
                    <a:pt x="1076" y="15919"/>
                  </a:lnTo>
                  <a:lnTo>
                    <a:pt x="1157" y="15952"/>
                  </a:lnTo>
                  <a:lnTo>
                    <a:pt x="1238" y="15979"/>
                  </a:lnTo>
                  <a:lnTo>
                    <a:pt x="1323" y="16003"/>
                  </a:lnTo>
                  <a:lnTo>
                    <a:pt x="1407" y="16022"/>
                  </a:lnTo>
                  <a:lnTo>
                    <a:pt x="1495" y="16038"/>
                  </a:lnTo>
                  <a:lnTo>
                    <a:pt x="1582" y="16049"/>
                  </a:lnTo>
                  <a:lnTo>
                    <a:pt x="1672" y="16056"/>
                  </a:lnTo>
                  <a:lnTo>
                    <a:pt x="1763" y="16058"/>
                  </a:lnTo>
                  <a:lnTo>
                    <a:pt x="1801" y="16057"/>
                  </a:lnTo>
                  <a:lnTo>
                    <a:pt x="1843" y="16054"/>
                  </a:lnTo>
                  <a:lnTo>
                    <a:pt x="1887" y="16049"/>
                  </a:lnTo>
                  <a:lnTo>
                    <a:pt x="1933" y="16044"/>
                  </a:lnTo>
                  <a:lnTo>
                    <a:pt x="1981" y="16037"/>
                  </a:lnTo>
                  <a:lnTo>
                    <a:pt x="2028" y="16029"/>
                  </a:lnTo>
                  <a:lnTo>
                    <a:pt x="2075" y="16020"/>
                  </a:lnTo>
                  <a:lnTo>
                    <a:pt x="2122" y="16012"/>
                  </a:lnTo>
                  <a:lnTo>
                    <a:pt x="2205" y="15995"/>
                  </a:lnTo>
                  <a:lnTo>
                    <a:pt x="2275" y="15980"/>
                  </a:lnTo>
                  <a:lnTo>
                    <a:pt x="2324" y="15969"/>
                  </a:lnTo>
                  <a:lnTo>
                    <a:pt x="2345" y="15964"/>
                  </a:lnTo>
                  <a:lnTo>
                    <a:pt x="6609" y="14846"/>
                  </a:lnTo>
                  <a:lnTo>
                    <a:pt x="6669" y="14827"/>
                  </a:lnTo>
                  <a:lnTo>
                    <a:pt x="6729" y="14805"/>
                  </a:lnTo>
                  <a:lnTo>
                    <a:pt x="6788" y="14783"/>
                  </a:lnTo>
                  <a:lnTo>
                    <a:pt x="6845" y="14759"/>
                  </a:lnTo>
                  <a:lnTo>
                    <a:pt x="6903" y="14733"/>
                  </a:lnTo>
                  <a:lnTo>
                    <a:pt x="6960" y="14705"/>
                  </a:lnTo>
                  <a:lnTo>
                    <a:pt x="7015" y="14675"/>
                  </a:lnTo>
                  <a:lnTo>
                    <a:pt x="7070" y="14644"/>
                  </a:lnTo>
                  <a:lnTo>
                    <a:pt x="7123" y="14612"/>
                  </a:lnTo>
                  <a:lnTo>
                    <a:pt x="7175" y="14577"/>
                  </a:lnTo>
                  <a:lnTo>
                    <a:pt x="7227" y="14541"/>
                  </a:lnTo>
                  <a:lnTo>
                    <a:pt x="7277" y="14502"/>
                  </a:lnTo>
                  <a:lnTo>
                    <a:pt x="7326" y="14463"/>
                  </a:lnTo>
                  <a:lnTo>
                    <a:pt x="7375" y="14422"/>
                  </a:lnTo>
                  <a:lnTo>
                    <a:pt x="7421" y="14380"/>
                  </a:lnTo>
                  <a:lnTo>
                    <a:pt x="7466" y="14336"/>
                  </a:lnTo>
                  <a:lnTo>
                    <a:pt x="15143" y="6617"/>
                  </a:lnTo>
                  <a:lnTo>
                    <a:pt x="15270" y="6483"/>
                  </a:lnTo>
                  <a:lnTo>
                    <a:pt x="15387" y="6344"/>
                  </a:lnTo>
                  <a:lnTo>
                    <a:pt x="15495" y="6200"/>
                  </a:lnTo>
                  <a:lnTo>
                    <a:pt x="15594" y="6053"/>
                  </a:lnTo>
                  <a:lnTo>
                    <a:pt x="15685" y="5900"/>
                  </a:lnTo>
                  <a:lnTo>
                    <a:pt x="15766" y="5744"/>
                  </a:lnTo>
                  <a:lnTo>
                    <a:pt x="15837" y="5584"/>
                  </a:lnTo>
                  <a:lnTo>
                    <a:pt x="15901" y="5421"/>
                  </a:lnTo>
                  <a:lnTo>
                    <a:pt x="15955" y="5254"/>
                  </a:lnTo>
                  <a:lnTo>
                    <a:pt x="16000" y="5084"/>
                  </a:lnTo>
                  <a:lnTo>
                    <a:pt x="16037" y="4913"/>
                  </a:lnTo>
                  <a:lnTo>
                    <a:pt x="16065" y="4739"/>
                  </a:lnTo>
                  <a:lnTo>
                    <a:pt x="16083" y="4563"/>
                  </a:lnTo>
                  <a:lnTo>
                    <a:pt x="16093" y="4387"/>
                  </a:lnTo>
                  <a:lnTo>
                    <a:pt x="16094" y="4208"/>
                  </a:lnTo>
                  <a:lnTo>
                    <a:pt x="16087" y="4030"/>
                  </a:lnTo>
                  <a:lnTo>
                    <a:pt x="16070" y="3850"/>
                  </a:lnTo>
                  <a:lnTo>
                    <a:pt x="16045" y="3669"/>
                  </a:lnTo>
                  <a:lnTo>
                    <a:pt x="16011" y="3490"/>
                  </a:lnTo>
                  <a:lnTo>
                    <a:pt x="15968" y="3310"/>
                  </a:lnTo>
                  <a:lnTo>
                    <a:pt x="15917" y="3131"/>
                  </a:lnTo>
                  <a:lnTo>
                    <a:pt x="15857" y="2953"/>
                  </a:lnTo>
                  <a:lnTo>
                    <a:pt x="15788" y="2776"/>
                  </a:lnTo>
                  <a:lnTo>
                    <a:pt x="15711" y="2601"/>
                  </a:lnTo>
                  <a:lnTo>
                    <a:pt x="15625" y="2428"/>
                  </a:lnTo>
                  <a:lnTo>
                    <a:pt x="15531" y="2257"/>
                  </a:lnTo>
                  <a:lnTo>
                    <a:pt x="15428" y="2089"/>
                  </a:lnTo>
                  <a:lnTo>
                    <a:pt x="15316" y="1923"/>
                  </a:lnTo>
                  <a:lnTo>
                    <a:pt x="15196" y="1760"/>
                  </a:lnTo>
                  <a:lnTo>
                    <a:pt x="15067" y="1602"/>
                  </a:lnTo>
                  <a:lnTo>
                    <a:pt x="14930" y="1446"/>
                  </a:lnTo>
                  <a:lnTo>
                    <a:pt x="14785" y="129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36" name="ïṥḷïḑè">
              <a:extLst>
                <a:ext uri="{FF2B5EF4-FFF2-40B4-BE49-F238E27FC236}">
                  <a16:creationId xmlns:a16="http://schemas.microsoft.com/office/drawing/2014/main" id="{BEE78D8F-CCA7-4A55-B977-5391FA01627E}"/>
                </a:ext>
              </a:extLst>
            </p:cNvPr>
            <p:cNvSpPr/>
            <p:nvPr/>
          </p:nvSpPr>
          <p:spPr bwMode="auto">
            <a:xfrm>
              <a:off x="8578756" y="2031654"/>
              <a:ext cx="265624" cy="385553"/>
            </a:xfrm>
            <a:custGeom>
              <a:avLst/>
              <a:gdLst>
                <a:gd name="T0" fmla="*/ 2887 w 11063"/>
                <a:gd name="T1" fmla="*/ 9929 h 16058"/>
                <a:gd name="T2" fmla="*/ 2451 w 11063"/>
                <a:gd name="T3" fmla="*/ 9123 h 16058"/>
                <a:gd name="T4" fmla="*/ 1855 w 11063"/>
                <a:gd name="T5" fmla="*/ 8041 h 16058"/>
                <a:gd name="T6" fmla="*/ 1427 w 11063"/>
                <a:gd name="T7" fmla="*/ 7165 h 16058"/>
                <a:gd name="T8" fmla="*/ 1122 w 11063"/>
                <a:gd name="T9" fmla="*/ 6318 h 16058"/>
                <a:gd name="T10" fmla="*/ 1006 w 11063"/>
                <a:gd name="T11" fmla="*/ 5520 h 16058"/>
                <a:gd name="T12" fmla="*/ 1362 w 11063"/>
                <a:gd name="T13" fmla="*/ 3764 h 16058"/>
                <a:gd name="T14" fmla="*/ 2332 w 11063"/>
                <a:gd name="T15" fmla="*/ 2327 h 16058"/>
                <a:gd name="T16" fmla="*/ 3771 w 11063"/>
                <a:gd name="T17" fmla="*/ 1359 h 16058"/>
                <a:gd name="T18" fmla="*/ 5532 w 11063"/>
                <a:gd name="T19" fmla="*/ 1004 h 16058"/>
                <a:gd name="T20" fmla="*/ 7292 w 11063"/>
                <a:gd name="T21" fmla="*/ 1359 h 16058"/>
                <a:gd name="T22" fmla="*/ 8731 w 11063"/>
                <a:gd name="T23" fmla="*/ 2327 h 16058"/>
                <a:gd name="T24" fmla="*/ 9701 w 11063"/>
                <a:gd name="T25" fmla="*/ 3764 h 16058"/>
                <a:gd name="T26" fmla="*/ 10057 w 11063"/>
                <a:gd name="T27" fmla="*/ 5520 h 16058"/>
                <a:gd name="T28" fmla="*/ 9941 w 11063"/>
                <a:gd name="T29" fmla="*/ 6314 h 16058"/>
                <a:gd name="T30" fmla="*/ 9636 w 11063"/>
                <a:gd name="T31" fmla="*/ 7163 h 16058"/>
                <a:gd name="T32" fmla="*/ 9207 w 11063"/>
                <a:gd name="T33" fmla="*/ 8042 h 16058"/>
                <a:gd name="T34" fmla="*/ 8612 w 11063"/>
                <a:gd name="T35" fmla="*/ 9129 h 16058"/>
                <a:gd name="T36" fmla="*/ 8179 w 11063"/>
                <a:gd name="T37" fmla="*/ 9932 h 16058"/>
                <a:gd name="T38" fmla="*/ 5484 w 11063"/>
                <a:gd name="T39" fmla="*/ 15054 h 16058"/>
                <a:gd name="T40" fmla="*/ 5160 w 11063"/>
                <a:gd name="T41" fmla="*/ 15030 h 16058"/>
                <a:gd name="T42" fmla="*/ 4907 w 11063"/>
                <a:gd name="T43" fmla="*/ 14937 h 16058"/>
                <a:gd name="T44" fmla="*/ 4698 w 11063"/>
                <a:gd name="T45" fmla="*/ 14732 h 16058"/>
                <a:gd name="T46" fmla="*/ 6658 w 11063"/>
                <a:gd name="T47" fmla="*/ 14161 h 16058"/>
                <a:gd name="T48" fmla="*/ 6436 w 11063"/>
                <a:gd name="T49" fmla="*/ 14651 h 16058"/>
                <a:gd name="T50" fmla="*/ 6202 w 11063"/>
                <a:gd name="T51" fmla="*/ 14919 h 16058"/>
                <a:gd name="T52" fmla="*/ 5915 w 11063"/>
                <a:gd name="T53" fmla="*/ 15031 h 16058"/>
                <a:gd name="T54" fmla="*/ 5532 w 11063"/>
                <a:gd name="T55" fmla="*/ 15054 h 16058"/>
                <a:gd name="T56" fmla="*/ 3763 w 11063"/>
                <a:gd name="T57" fmla="*/ 12094 h 16058"/>
                <a:gd name="T58" fmla="*/ 3603 w 11063"/>
                <a:gd name="T59" fmla="*/ 11605 h 16058"/>
                <a:gd name="T60" fmla="*/ 7351 w 11063"/>
                <a:gd name="T61" fmla="*/ 11943 h 16058"/>
                <a:gd name="T62" fmla="*/ 4290 w 11063"/>
                <a:gd name="T63" fmla="*/ 13799 h 16058"/>
                <a:gd name="T64" fmla="*/ 4145 w 11063"/>
                <a:gd name="T65" fmla="*/ 13340 h 16058"/>
                <a:gd name="T66" fmla="*/ 7149 w 11063"/>
                <a:gd name="T67" fmla="*/ 12594 h 16058"/>
                <a:gd name="T68" fmla="*/ 7016 w 11063"/>
                <a:gd name="T69" fmla="*/ 13038 h 16058"/>
                <a:gd name="T70" fmla="*/ 6835 w 11063"/>
                <a:gd name="T71" fmla="*/ 13637 h 16058"/>
                <a:gd name="T72" fmla="*/ 3630 w 11063"/>
                <a:gd name="T73" fmla="*/ 335 h 16058"/>
                <a:gd name="T74" fmla="*/ 1812 w 11063"/>
                <a:gd name="T75" fmla="*/ 1434 h 16058"/>
                <a:gd name="T76" fmla="*/ 545 w 11063"/>
                <a:gd name="T77" fmla="*/ 3127 h 16058"/>
                <a:gd name="T78" fmla="*/ 7 w 11063"/>
                <a:gd name="T79" fmla="*/ 5236 h 16058"/>
                <a:gd name="T80" fmla="*/ 234 w 11063"/>
                <a:gd name="T81" fmla="*/ 6861 h 16058"/>
                <a:gd name="T82" fmla="*/ 910 w 11063"/>
                <a:gd name="T83" fmla="*/ 8405 h 16058"/>
                <a:gd name="T84" fmla="*/ 1748 w 11063"/>
                <a:gd name="T85" fmla="*/ 9927 h 16058"/>
                <a:gd name="T86" fmla="*/ 2463 w 11063"/>
                <a:gd name="T87" fmla="*/ 11392 h 16058"/>
                <a:gd name="T88" fmla="*/ 3065 w 11063"/>
                <a:gd name="T89" fmla="*/ 13245 h 16058"/>
                <a:gd name="T90" fmla="*/ 3552 w 11063"/>
                <a:gd name="T91" fmla="*/ 14718 h 16058"/>
                <a:gd name="T92" fmla="*/ 4207 w 11063"/>
                <a:gd name="T93" fmla="*/ 15672 h 16058"/>
                <a:gd name="T94" fmla="*/ 5340 w 11063"/>
                <a:gd name="T95" fmla="*/ 16053 h 16058"/>
                <a:gd name="T96" fmla="*/ 6643 w 11063"/>
                <a:gd name="T97" fmla="*/ 15823 h 16058"/>
                <a:gd name="T98" fmla="*/ 7387 w 11063"/>
                <a:gd name="T99" fmla="*/ 15011 h 16058"/>
                <a:gd name="T100" fmla="*/ 7880 w 11063"/>
                <a:gd name="T101" fmla="*/ 13666 h 16058"/>
                <a:gd name="T102" fmla="*/ 8442 w 11063"/>
                <a:gd name="T103" fmla="*/ 11841 h 16058"/>
                <a:gd name="T104" fmla="*/ 9115 w 11063"/>
                <a:gd name="T105" fmla="*/ 10307 h 16058"/>
                <a:gd name="T106" fmla="*/ 9949 w 11063"/>
                <a:gd name="T107" fmla="*/ 8788 h 16058"/>
                <a:gd name="T108" fmla="*/ 10691 w 11063"/>
                <a:gd name="T109" fmla="*/ 7241 h 16058"/>
                <a:gd name="T110" fmla="*/ 11058 w 11063"/>
                <a:gd name="T111" fmla="*/ 5709 h 16058"/>
                <a:gd name="T112" fmla="*/ 10727 w 11063"/>
                <a:gd name="T113" fmla="*/ 3622 h 16058"/>
                <a:gd name="T114" fmla="*/ 9626 w 11063"/>
                <a:gd name="T115" fmla="*/ 1809 h 16058"/>
                <a:gd name="T116" fmla="*/ 7929 w 11063"/>
                <a:gd name="T117" fmla="*/ 544 h 16058"/>
                <a:gd name="T118" fmla="*/ 5816 w 11063"/>
                <a:gd name="T119" fmla="*/ 7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063" h="16058">
                  <a:moveTo>
                    <a:pt x="7881" y="10538"/>
                  </a:moveTo>
                  <a:lnTo>
                    <a:pt x="3187" y="10538"/>
                  </a:lnTo>
                  <a:lnTo>
                    <a:pt x="3140" y="10437"/>
                  </a:lnTo>
                  <a:lnTo>
                    <a:pt x="3092" y="10335"/>
                  </a:lnTo>
                  <a:lnTo>
                    <a:pt x="3041" y="10234"/>
                  </a:lnTo>
                  <a:lnTo>
                    <a:pt x="2991" y="10132"/>
                  </a:lnTo>
                  <a:lnTo>
                    <a:pt x="2940" y="10030"/>
                  </a:lnTo>
                  <a:lnTo>
                    <a:pt x="2887" y="9929"/>
                  </a:lnTo>
                  <a:lnTo>
                    <a:pt x="2835" y="9827"/>
                  </a:lnTo>
                  <a:lnTo>
                    <a:pt x="2781" y="9727"/>
                  </a:lnTo>
                  <a:lnTo>
                    <a:pt x="2728" y="9626"/>
                  </a:lnTo>
                  <a:lnTo>
                    <a:pt x="2672" y="9524"/>
                  </a:lnTo>
                  <a:lnTo>
                    <a:pt x="2618" y="9424"/>
                  </a:lnTo>
                  <a:lnTo>
                    <a:pt x="2563" y="9324"/>
                  </a:lnTo>
                  <a:lnTo>
                    <a:pt x="2507" y="9223"/>
                  </a:lnTo>
                  <a:lnTo>
                    <a:pt x="2451" y="9123"/>
                  </a:lnTo>
                  <a:lnTo>
                    <a:pt x="2396" y="9024"/>
                  </a:lnTo>
                  <a:lnTo>
                    <a:pt x="2340" y="8924"/>
                  </a:lnTo>
                  <a:lnTo>
                    <a:pt x="2217" y="8703"/>
                  </a:lnTo>
                  <a:lnTo>
                    <a:pt x="2094" y="8483"/>
                  </a:lnTo>
                  <a:lnTo>
                    <a:pt x="2034" y="8372"/>
                  </a:lnTo>
                  <a:lnTo>
                    <a:pt x="1973" y="8262"/>
                  </a:lnTo>
                  <a:lnTo>
                    <a:pt x="1914" y="8151"/>
                  </a:lnTo>
                  <a:lnTo>
                    <a:pt x="1855" y="8041"/>
                  </a:lnTo>
                  <a:lnTo>
                    <a:pt x="1796" y="7931"/>
                  </a:lnTo>
                  <a:lnTo>
                    <a:pt x="1740" y="7820"/>
                  </a:lnTo>
                  <a:lnTo>
                    <a:pt x="1684" y="7711"/>
                  </a:lnTo>
                  <a:lnTo>
                    <a:pt x="1629" y="7600"/>
                  </a:lnTo>
                  <a:lnTo>
                    <a:pt x="1576" y="7491"/>
                  </a:lnTo>
                  <a:lnTo>
                    <a:pt x="1525" y="7383"/>
                  </a:lnTo>
                  <a:lnTo>
                    <a:pt x="1475" y="7273"/>
                  </a:lnTo>
                  <a:lnTo>
                    <a:pt x="1427" y="7165"/>
                  </a:lnTo>
                  <a:lnTo>
                    <a:pt x="1381" y="7057"/>
                  </a:lnTo>
                  <a:lnTo>
                    <a:pt x="1337" y="6950"/>
                  </a:lnTo>
                  <a:lnTo>
                    <a:pt x="1294" y="6843"/>
                  </a:lnTo>
                  <a:lnTo>
                    <a:pt x="1255" y="6736"/>
                  </a:lnTo>
                  <a:lnTo>
                    <a:pt x="1218" y="6631"/>
                  </a:lnTo>
                  <a:lnTo>
                    <a:pt x="1183" y="6526"/>
                  </a:lnTo>
                  <a:lnTo>
                    <a:pt x="1151" y="6421"/>
                  </a:lnTo>
                  <a:lnTo>
                    <a:pt x="1122" y="6318"/>
                  </a:lnTo>
                  <a:lnTo>
                    <a:pt x="1095" y="6214"/>
                  </a:lnTo>
                  <a:lnTo>
                    <a:pt x="1072" y="6112"/>
                  </a:lnTo>
                  <a:lnTo>
                    <a:pt x="1053" y="6012"/>
                  </a:lnTo>
                  <a:lnTo>
                    <a:pt x="1036" y="5911"/>
                  </a:lnTo>
                  <a:lnTo>
                    <a:pt x="1023" y="5812"/>
                  </a:lnTo>
                  <a:lnTo>
                    <a:pt x="1014" y="5714"/>
                  </a:lnTo>
                  <a:lnTo>
                    <a:pt x="1008" y="5616"/>
                  </a:lnTo>
                  <a:lnTo>
                    <a:pt x="1006" y="5520"/>
                  </a:lnTo>
                  <a:lnTo>
                    <a:pt x="1012" y="5288"/>
                  </a:lnTo>
                  <a:lnTo>
                    <a:pt x="1029" y="5059"/>
                  </a:lnTo>
                  <a:lnTo>
                    <a:pt x="1058" y="4833"/>
                  </a:lnTo>
                  <a:lnTo>
                    <a:pt x="1098" y="4611"/>
                  </a:lnTo>
                  <a:lnTo>
                    <a:pt x="1149" y="4393"/>
                  </a:lnTo>
                  <a:lnTo>
                    <a:pt x="1210" y="4178"/>
                  </a:lnTo>
                  <a:lnTo>
                    <a:pt x="1280" y="3968"/>
                  </a:lnTo>
                  <a:lnTo>
                    <a:pt x="1362" y="3764"/>
                  </a:lnTo>
                  <a:lnTo>
                    <a:pt x="1452" y="3564"/>
                  </a:lnTo>
                  <a:lnTo>
                    <a:pt x="1553" y="3369"/>
                  </a:lnTo>
                  <a:lnTo>
                    <a:pt x="1661" y="3179"/>
                  </a:lnTo>
                  <a:lnTo>
                    <a:pt x="1779" y="2997"/>
                  </a:lnTo>
                  <a:lnTo>
                    <a:pt x="1906" y="2819"/>
                  </a:lnTo>
                  <a:lnTo>
                    <a:pt x="2041" y="2649"/>
                  </a:lnTo>
                  <a:lnTo>
                    <a:pt x="2182" y="2485"/>
                  </a:lnTo>
                  <a:lnTo>
                    <a:pt x="2332" y="2327"/>
                  </a:lnTo>
                  <a:lnTo>
                    <a:pt x="2490" y="2178"/>
                  </a:lnTo>
                  <a:lnTo>
                    <a:pt x="2654" y="2036"/>
                  </a:lnTo>
                  <a:lnTo>
                    <a:pt x="2825" y="1902"/>
                  </a:lnTo>
                  <a:lnTo>
                    <a:pt x="3003" y="1776"/>
                  </a:lnTo>
                  <a:lnTo>
                    <a:pt x="3186" y="1658"/>
                  </a:lnTo>
                  <a:lnTo>
                    <a:pt x="3376" y="1550"/>
                  </a:lnTo>
                  <a:lnTo>
                    <a:pt x="3571" y="1449"/>
                  </a:lnTo>
                  <a:lnTo>
                    <a:pt x="3771" y="1359"/>
                  </a:lnTo>
                  <a:lnTo>
                    <a:pt x="3977" y="1279"/>
                  </a:lnTo>
                  <a:lnTo>
                    <a:pt x="4187" y="1207"/>
                  </a:lnTo>
                  <a:lnTo>
                    <a:pt x="4402" y="1146"/>
                  </a:lnTo>
                  <a:lnTo>
                    <a:pt x="4620" y="1096"/>
                  </a:lnTo>
                  <a:lnTo>
                    <a:pt x="4843" y="1056"/>
                  </a:lnTo>
                  <a:lnTo>
                    <a:pt x="5069" y="1027"/>
                  </a:lnTo>
                  <a:lnTo>
                    <a:pt x="5299" y="1010"/>
                  </a:lnTo>
                  <a:lnTo>
                    <a:pt x="5532" y="1004"/>
                  </a:lnTo>
                  <a:lnTo>
                    <a:pt x="5764" y="1010"/>
                  </a:lnTo>
                  <a:lnTo>
                    <a:pt x="5993" y="1027"/>
                  </a:lnTo>
                  <a:lnTo>
                    <a:pt x="6219" y="1056"/>
                  </a:lnTo>
                  <a:lnTo>
                    <a:pt x="6443" y="1096"/>
                  </a:lnTo>
                  <a:lnTo>
                    <a:pt x="6661" y="1146"/>
                  </a:lnTo>
                  <a:lnTo>
                    <a:pt x="6876" y="1207"/>
                  </a:lnTo>
                  <a:lnTo>
                    <a:pt x="7086" y="1279"/>
                  </a:lnTo>
                  <a:lnTo>
                    <a:pt x="7292" y="1359"/>
                  </a:lnTo>
                  <a:lnTo>
                    <a:pt x="7492" y="1449"/>
                  </a:lnTo>
                  <a:lnTo>
                    <a:pt x="7687" y="1550"/>
                  </a:lnTo>
                  <a:lnTo>
                    <a:pt x="7877" y="1658"/>
                  </a:lnTo>
                  <a:lnTo>
                    <a:pt x="8060" y="1776"/>
                  </a:lnTo>
                  <a:lnTo>
                    <a:pt x="8238" y="1902"/>
                  </a:lnTo>
                  <a:lnTo>
                    <a:pt x="8409" y="2036"/>
                  </a:lnTo>
                  <a:lnTo>
                    <a:pt x="8573" y="2178"/>
                  </a:lnTo>
                  <a:lnTo>
                    <a:pt x="8731" y="2327"/>
                  </a:lnTo>
                  <a:lnTo>
                    <a:pt x="8881" y="2485"/>
                  </a:lnTo>
                  <a:lnTo>
                    <a:pt x="9022" y="2649"/>
                  </a:lnTo>
                  <a:lnTo>
                    <a:pt x="9157" y="2819"/>
                  </a:lnTo>
                  <a:lnTo>
                    <a:pt x="9283" y="2997"/>
                  </a:lnTo>
                  <a:lnTo>
                    <a:pt x="9402" y="3179"/>
                  </a:lnTo>
                  <a:lnTo>
                    <a:pt x="9510" y="3369"/>
                  </a:lnTo>
                  <a:lnTo>
                    <a:pt x="9611" y="3564"/>
                  </a:lnTo>
                  <a:lnTo>
                    <a:pt x="9701" y="3764"/>
                  </a:lnTo>
                  <a:lnTo>
                    <a:pt x="9783" y="3968"/>
                  </a:lnTo>
                  <a:lnTo>
                    <a:pt x="9853" y="4178"/>
                  </a:lnTo>
                  <a:lnTo>
                    <a:pt x="9914" y="4393"/>
                  </a:lnTo>
                  <a:lnTo>
                    <a:pt x="9965" y="4611"/>
                  </a:lnTo>
                  <a:lnTo>
                    <a:pt x="10005" y="4833"/>
                  </a:lnTo>
                  <a:lnTo>
                    <a:pt x="10034" y="5059"/>
                  </a:lnTo>
                  <a:lnTo>
                    <a:pt x="10051" y="5288"/>
                  </a:lnTo>
                  <a:lnTo>
                    <a:pt x="10057" y="5520"/>
                  </a:lnTo>
                  <a:lnTo>
                    <a:pt x="10055" y="5615"/>
                  </a:lnTo>
                  <a:lnTo>
                    <a:pt x="10049" y="5713"/>
                  </a:lnTo>
                  <a:lnTo>
                    <a:pt x="10040" y="5810"/>
                  </a:lnTo>
                  <a:lnTo>
                    <a:pt x="10027" y="5908"/>
                  </a:lnTo>
                  <a:lnTo>
                    <a:pt x="10010" y="6009"/>
                  </a:lnTo>
                  <a:lnTo>
                    <a:pt x="9990" y="6110"/>
                  </a:lnTo>
                  <a:lnTo>
                    <a:pt x="9967" y="6211"/>
                  </a:lnTo>
                  <a:lnTo>
                    <a:pt x="9941" y="6314"/>
                  </a:lnTo>
                  <a:lnTo>
                    <a:pt x="9911" y="6418"/>
                  </a:lnTo>
                  <a:lnTo>
                    <a:pt x="9880" y="6523"/>
                  </a:lnTo>
                  <a:lnTo>
                    <a:pt x="9845" y="6627"/>
                  </a:lnTo>
                  <a:lnTo>
                    <a:pt x="9808" y="6733"/>
                  </a:lnTo>
                  <a:lnTo>
                    <a:pt x="9769" y="6840"/>
                  </a:lnTo>
                  <a:lnTo>
                    <a:pt x="9726" y="6947"/>
                  </a:lnTo>
                  <a:lnTo>
                    <a:pt x="9682" y="7054"/>
                  </a:lnTo>
                  <a:lnTo>
                    <a:pt x="9636" y="7163"/>
                  </a:lnTo>
                  <a:lnTo>
                    <a:pt x="9588" y="7271"/>
                  </a:lnTo>
                  <a:lnTo>
                    <a:pt x="9538" y="7381"/>
                  </a:lnTo>
                  <a:lnTo>
                    <a:pt x="9486" y="7490"/>
                  </a:lnTo>
                  <a:lnTo>
                    <a:pt x="9433" y="7599"/>
                  </a:lnTo>
                  <a:lnTo>
                    <a:pt x="9378" y="7710"/>
                  </a:lnTo>
                  <a:lnTo>
                    <a:pt x="9323" y="7820"/>
                  </a:lnTo>
                  <a:lnTo>
                    <a:pt x="9266" y="7932"/>
                  </a:lnTo>
                  <a:lnTo>
                    <a:pt x="9207" y="8042"/>
                  </a:lnTo>
                  <a:lnTo>
                    <a:pt x="9149" y="8153"/>
                  </a:lnTo>
                  <a:lnTo>
                    <a:pt x="9089" y="8264"/>
                  </a:lnTo>
                  <a:lnTo>
                    <a:pt x="9028" y="8375"/>
                  </a:lnTo>
                  <a:lnTo>
                    <a:pt x="8968" y="8487"/>
                  </a:lnTo>
                  <a:lnTo>
                    <a:pt x="8845" y="8708"/>
                  </a:lnTo>
                  <a:lnTo>
                    <a:pt x="8722" y="8930"/>
                  </a:lnTo>
                  <a:lnTo>
                    <a:pt x="8667" y="9029"/>
                  </a:lnTo>
                  <a:lnTo>
                    <a:pt x="8612" y="9129"/>
                  </a:lnTo>
                  <a:lnTo>
                    <a:pt x="8557" y="9228"/>
                  </a:lnTo>
                  <a:lnTo>
                    <a:pt x="8501" y="9329"/>
                  </a:lnTo>
                  <a:lnTo>
                    <a:pt x="8447" y="9429"/>
                  </a:lnTo>
                  <a:lnTo>
                    <a:pt x="8392" y="9529"/>
                  </a:lnTo>
                  <a:lnTo>
                    <a:pt x="8338" y="9630"/>
                  </a:lnTo>
                  <a:lnTo>
                    <a:pt x="8284" y="9730"/>
                  </a:lnTo>
                  <a:lnTo>
                    <a:pt x="8231" y="9831"/>
                  </a:lnTo>
                  <a:lnTo>
                    <a:pt x="8179" y="9932"/>
                  </a:lnTo>
                  <a:lnTo>
                    <a:pt x="8127" y="10033"/>
                  </a:lnTo>
                  <a:lnTo>
                    <a:pt x="8076" y="10134"/>
                  </a:lnTo>
                  <a:lnTo>
                    <a:pt x="8026" y="10235"/>
                  </a:lnTo>
                  <a:lnTo>
                    <a:pt x="7976" y="10336"/>
                  </a:lnTo>
                  <a:lnTo>
                    <a:pt x="7928" y="10437"/>
                  </a:lnTo>
                  <a:lnTo>
                    <a:pt x="7881" y="10538"/>
                  </a:lnTo>
                  <a:close/>
                  <a:moveTo>
                    <a:pt x="5532" y="15054"/>
                  </a:moveTo>
                  <a:lnTo>
                    <a:pt x="5484" y="15054"/>
                  </a:lnTo>
                  <a:lnTo>
                    <a:pt x="5439" y="15053"/>
                  </a:lnTo>
                  <a:lnTo>
                    <a:pt x="5395" y="15052"/>
                  </a:lnTo>
                  <a:lnTo>
                    <a:pt x="5352" y="15050"/>
                  </a:lnTo>
                  <a:lnTo>
                    <a:pt x="5311" y="15048"/>
                  </a:lnTo>
                  <a:lnTo>
                    <a:pt x="5272" y="15045"/>
                  </a:lnTo>
                  <a:lnTo>
                    <a:pt x="5234" y="15041"/>
                  </a:lnTo>
                  <a:lnTo>
                    <a:pt x="5197" y="15036"/>
                  </a:lnTo>
                  <a:lnTo>
                    <a:pt x="5160" y="15030"/>
                  </a:lnTo>
                  <a:lnTo>
                    <a:pt x="5125" y="15023"/>
                  </a:lnTo>
                  <a:lnTo>
                    <a:pt x="5091" y="15015"/>
                  </a:lnTo>
                  <a:lnTo>
                    <a:pt x="5059" y="15006"/>
                  </a:lnTo>
                  <a:lnTo>
                    <a:pt x="5027" y="14995"/>
                  </a:lnTo>
                  <a:lnTo>
                    <a:pt x="4995" y="14983"/>
                  </a:lnTo>
                  <a:lnTo>
                    <a:pt x="4965" y="14969"/>
                  </a:lnTo>
                  <a:lnTo>
                    <a:pt x="4936" y="14954"/>
                  </a:lnTo>
                  <a:lnTo>
                    <a:pt x="4907" y="14937"/>
                  </a:lnTo>
                  <a:lnTo>
                    <a:pt x="4880" y="14919"/>
                  </a:lnTo>
                  <a:lnTo>
                    <a:pt x="4852" y="14898"/>
                  </a:lnTo>
                  <a:lnTo>
                    <a:pt x="4825" y="14876"/>
                  </a:lnTo>
                  <a:lnTo>
                    <a:pt x="4799" y="14852"/>
                  </a:lnTo>
                  <a:lnTo>
                    <a:pt x="4773" y="14825"/>
                  </a:lnTo>
                  <a:lnTo>
                    <a:pt x="4748" y="14796"/>
                  </a:lnTo>
                  <a:lnTo>
                    <a:pt x="4723" y="14765"/>
                  </a:lnTo>
                  <a:lnTo>
                    <a:pt x="4698" y="14732"/>
                  </a:lnTo>
                  <a:lnTo>
                    <a:pt x="4673" y="14696"/>
                  </a:lnTo>
                  <a:lnTo>
                    <a:pt x="4648" y="14658"/>
                  </a:lnTo>
                  <a:lnTo>
                    <a:pt x="4624" y="14618"/>
                  </a:lnTo>
                  <a:lnTo>
                    <a:pt x="4600" y="14574"/>
                  </a:lnTo>
                  <a:lnTo>
                    <a:pt x="4576" y="14527"/>
                  </a:lnTo>
                  <a:lnTo>
                    <a:pt x="4552" y="14479"/>
                  </a:lnTo>
                  <a:lnTo>
                    <a:pt x="4527" y="14427"/>
                  </a:lnTo>
                  <a:lnTo>
                    <a:pt x="6658" y="14161"/>
                  </a:lnTo>
                  <a:lnTo>
                    <a:pt x="6630" y="14236"/>
                  </a:lnTo>
                  <a:lnTo>
                    <a:pt x="6602" y="14308"/>
                  </a:lnTo>
                  <a:lnTo>
                    <a:pt x="6573" y="14375"/>
                  </a:lnTo>
                  <a:lnTo>
                    <a:pt x="6546" y="14438"/>
                  </a:lnTo>
                  <a:lnTo>
                    <a:pt x="6518" y="14496"/>
                  </a:lnTo>
                  <a:lnTo>
                    <a:pt x="6491" y="14552"/>
                  </a:lnTo>
                  <a:lnTo>
                    <a:pt x="6464" y="14603"/>
                  </a:lnTo>
                  <a:lnTo>
                    <a:pt x="6436" y="14651"/>
                  </a:lnTo>
                  <a:lnTo>
                    <a:pt x="6408" y="14695"/>
                  </a:lnTo>
                  <a:lnTo>
                    <a:pt x="6380" y="14736"/>
                  </a:lnTo>
                  <a:lnTo>
                    <a:pt x="6352" y="14773"/>
                  </a:lnTo>
                  <a:lnTo>
                    <a:pt x="6323" y="14808"/>
                  </a:lnTo>
                  <a:lnTo>
                    <a:pt x="6294" y="14841"/>
                  </a:lnTo>
                  <a:lnTo>
                    <a:pt x="6264" y="14869"/>
                  </a:lnTo>
                  <a:lnTo>
                    <a:pt x="6233" y="14895"/>
                  </a:lnTo>
                  <a:lnTo>
                    <a:pt x="6202" y="14919"/>
                  </a:lnTo>
                  <a:lnTo>
                    <a:pt x="6170" y="14940"/>
                  </a:lnTo>
                  <a:lnTo>
                    <a:pt x="6137" y="14959"/>
                  </a:lnTo>
                  <a:lnTo>
                    <a:pt x="6103" y="14976"/>
                  </a:lnTo>
                  <a:lnTo>
                    <a:pt x="6068" y="14990"/>
                  </a:lnTo>
                  <a:lnTo>
                    <a:pt x="6031" y="15003"/>
                  </a:lnTo>
                  <a:lnTo>
                    <a:pt x="5994" y="15014"/>
                  </a:lnTo>
                  <a:lnTo>
                    <a:pt x="5955" y="15023"/>
                  </a:lnTo>
                  <a:lnTo>
                    <a:pt x="5915" y="15031"/>
                  </a:lnTo>
                  <a:lnTo>
                    <a:pt x="5873" y="15038"/>
                  </a:lnTo>
                  <a:lnTo>
                    <a:pt x="5829" y="15043"/>
                  </a:lnTo>
                  <a:lnTo>
                    <a:pt x="5785" y="15047"/>
                  </a:lnTo>
                  <a:lnTo>
                    <a:pt x="5738" y="15050"/>
                  </a:lnTo>
                  <a:lnTo>
                    <a:pt x="5689" y="15052"/>
                  </a:lnTo>
                  <a:lnTo>
                    <a:pt x="5638" y="15053"/>
                  </a:lnTo>
                  <a:lnTo>
                    <a:pt x="5586" y="15054"/>
                  </a:lnTo>
                  <a:lnTo>
                    <a:pt x="5532" y="15054"/>
                  </a:lnTo>
                  <a:close/>
                  <a:moveTo>
                    <a:pt x="3890" y="12499"/>
                  </a:moveTo>
                  <a:lnTo>
                    <a:pt x="3873" y="12442"/>
                  </a:lnTo>
                  <a:lnTo>
                    <a:pt x="3855" y="12386"/>
                  </a:lnTo>
                  <a:lnTo>
                    <a:pt x="3838" y="12328"/>
                  </a:lnTo>
                  <a:lnTo>
                    <a:pt x="3820" y="12269"/>
                  </a:lnTo>
                  <a:lnTo>
                    <a:pt x="3802" y="12211"/>
                  </a:lnTo>
                  <a:lnTo>
                    <a:pt x="3783" y="12153"/>
                  </a:lnTo>
                  <a:lnTo>
                    <a:pt x="3763" y="12094"/>
                  </a:lnTo>
                  <a:lnTo>
                    <a:pt x="3744" y="12033"/>
                  </a:lnTo>
                  <a:lnTo>
                    <a:pt x="3725" y="11974"/>
                  </a:lnTo>
                  <a:lnTo>
                    <a:pt x="3705" y="11913"/>
                  </a:lnTo>
                  <a:lnTo>
                    <a:pt x="3685" y="11853"/>
                  </a:lnTo>
                  <a:lnTo>
                    <a:pt x="3665" y="11792"/>
                  </a:lnTo>
                  <a:lnTo>
                    <a:pt x="3645" y="11729"/>
                  </a:lnTo>
                  <a:lnTo>
                    <a:pt x="3624" y="11667"/>
                  </a:lnTo>
                  <a:lnTo>
                    <a:pt x="3603" y="11605"/>
                  </a:lnTo>
                  <a:lnTo>
                    <a:pt x="3581" y="11542"/>
                  </a:lnTo>
                  <a:lnTo>
                    <a:pt x="7487" y="11542"/>
                  </a:lnTo>
                  <a:lnTo>
                    <a:pt x="7464" y="11609"/>
                  </a:lnTo>
                  <a:lnTo>
                    <a:pt x="7440" y="11677"/>
                  </a:lnTo>
                  <a:lnTo>
                    <a:pt x="7417" y="11744"/>
                  </a:lnTo>
                  <a:lnTo>
                    <a:pt x="7395" y="11811"/>
                  </a:lnTo>
                  <a:lnTo>
                    <a:pt x="7373" y="11878"/>
                  </a:lnTo>
                  <a:lnTo>
                    <a:pt x="7351" y="11943"/>
                  </a:lnTo>
                  <a:lnTo>
                    <a:pt x="7330" y="12008"/>
                  </a:lnTo>
                  <a:lnTo>
                    <a:pt x="7309" y="12074"/>
                  </a:lnTo>
                  <a:lnTo>
                    <a:pt x="3890" y="12499"/>
                  </a:lnTo>
                  <a:close/>
                  <a:moveTo>
                    <a:pt x="6835" y="13637"/>
                  </a:moveTo>
                  <a:lnTo>
                    <a:pt x="4342" y="13948"/>
                  </a:lnTo>
                  <a:lnTo>
                    <a:pt x="4325" y="13899"/>
                  </a:lnTo>
                  <a:lnTo>
                    <a:pt x="4309" y="13850"/>
                  </a:lnTo>
                  <a:lnTo>
                    <a:pt x="4290" y="13799"/>
                  </a:lnTo>
                  <a:lnTo>
                    <a:pt x="4273" y="13747"/>
                  </a:lnTo>
                  <a:lnTo>
                    <a:pt x="4256" y="13693"/>
                  </a:lnTo>
                  <a:lnTo>
                    <a:pt x="4238" y="13638"/>
                  </a:lnTo>
                  <a:lnTo>
                    <a:pt x="4220" y="13582"/>
                  </a:lnTo>
                  <a:lnTo>
                    <a:pt x="4202" y="13524"/>
                  </a:lnTo>
                  <a:lnTo>
                    <a:pt x="4183" y="13465"/>
                  </a:lnTo>
                  <a:lnTo>
                    <a:pt x="4164" y="13403"/>
                  </a:lnTo>
                  <a:lnTo>
                    <a:pt x="4145" y="13340"/>
                  </a:lnTo>
                  <a:lnTo>
                    <a:pt x="4124" y="13276"/>
                  </a:lnTo>
                  <a:lnTo>
                    <a:pt x="4104" y="13210"/>
                  </a:lnTo>
                  <a:lnTo>
                    <a:pt x="4083" y="13141"/>
                  </a:lnTo>
                  <a:lnTo>
                    <a:pt x="4062" y="13070"/>
                  </a:lnTo>
                  <a:lnTo>
                    <a:pt x="4041" y="12998"/>
                  </a:lnTo>
                  <a:lnTo>
                    <a:pt x="4038" y="12990"/>
                  </a:lnTo>
                  <a:lnTo>
                    <a:pt x="4036" y="12983"/>
                  </a:lnTo>
                  <a:lnTo>
                    <a:pt x="7149" y="12594"/>
                  </a:lnTo>
                  <a:lnTo>
                    <a:pt x="7132" y="12651"/>
                  </a:lnTo>
                  <a:lnTo>
                    <a:pt x="7116" y="12707"/>
                  </a:lnTo>
                  <a:lnTo>
                    <a:pt x="7098" y="12763"/>
                  </a:lnTo>
                  <a:lnTo>
                    <a:pt x="7081" y="12819"/>
                  </a:lnTo>
                  <a:lnTo>
                    <a:pt x="7064" y="12876"/>
                  </a:lnTo>
                  <a:lnTo>
                    <a:pt x="7047" y="12931"/>
                  </a:lnTo>
                  <a:lnTo>
                    <a:pt x="7031" y="12985"/>
                  </a:lnTo>
                  <a:lnTo>
                    <a:pt x="7016" y="13038"/>
                  </a:lnTo>
                  <a:lnTo>
                    <a:pt x="6992" y="13121"/>
                  </a:lnTo>
                  <a:lnTo>
                    <a:pt x="6968" y="13202"/>
                  </a:lnTo>
                  <a:lnTo>
                    <a:pt x="6945" y="13280"/>
                  </a:lnTo>
                  <a:lnTo>
                    <a:pt x="6921" y="13355"/>
                  </a:lnTo>
                  <a:lnTo>
                    <a:pt x="6899" y="13429"/>
                  </a:lnTo>
                  <a:lnTo>
                    <a:pt x="6878" y="13500"/>
                  </a:lnTo>
                  <a:lnTo>
                    <a:pt x="6856" y="13570"/>
                  </a:lnTo>
                  <a:lnTo>
                    <a:pt x="6835" y="13637"/>
                  </a:lnTo>
                  <a:close/>
                  <a:moveTo>
                    <a:pt x="5532" y="0"/>
                  </a:moveTo>
                  <a:lnTo>
                    <a:pt x="5247" y="7"/>
                  </a:lnTo>
                  <a:lnTo>
                    <a:pt x="4966" y="28"/>
                  </a:lnTo>
                  <a:lnTo>
                    <a:pt x="4689" y="63"/>
                  </a:lnTo>
                  <a:lnTo>
                    <a:pt x="4417" y="112"/>
                  </a:lnTo>
                  <a:lnTo>
                    <a:pt x="4149" y="174"/>
                  </a:lnTo>
                  <a:lnTo>
                    <a:pt x="3886" y="248"/>
                  </a:lnTo>
                  <a:lnTo>
                    <a:pt x="3630" y="335"/>
                  </a:lnTo>
                  <a:lnTo>
                    <a:pt x="3378" y="434"/>
                  </a:lnTo>
                  <a:lnTo>
                    <a:pt x="3133" y="544"/>
                  </a:lnTo>
                  <a:lnTo>
                    <a:pt x="2894" y="666"/>
                  </a:lnTo>
                  <a:lnTo>
                    <a:pt x="2663" y="799"/>
                  </a:lnTo>
                  <a:lnTo>
                    <a:pt x="2439" y="942"/>
                  </a:lnTo>
                  <a:lnTo>
                    <a:pt x="2222" y="1097"/>
                  </a:lnTo>
                  <a:lnTo>
                    <a:pt x="2013" y="1261"/>
                  </a:lnTo>
                  <a:lnTo>
                    <a:pt x="1812" y="1434"/>
                  </a:lnTo>
                  <a:lnTo>
                    <a:pt x="1620" y="1617"/>
                  </a:lnTo>
                  <a:lnTo>
                    <a:pt x="1437" y="1809"/>
                  </a:lnTo>
                  <a:lnTo>
                    <a:pt x="1263" y="2009"/>
                  </a:lnTo>
                  <a:lnTo>
                    <a:pt x="1099" y="2217"/>
                  </a:lnTo>
                  <a:lnTo>
                    <a:pt x="944" y="2434"/>
                  </a:lnTo>
                  <a:lnTo>
                    <a:pt x="801" y="2658"/>
                  </a:lnTo>
                  <a:lnTo>
                    <a:pt x="668" y="2888"/>
                  </a:lnTo>
                  <a:lnTo>
                    <a:pt x="545" y="3127"/>
                  </a:lnTo>
                  <a:lnTo>
                    <a:pt x="434" y="3371"/>
                  </a:lnTo>
                  <a:lnTo>
                    <a:pt x="336" y="3622"/>
                  </a:lnTo>
                  <a:lnTo>
                    <a:pt x="248" y="3879"/>
                  </a:lnTo>
                  <a:lnTo>
                    <a:pt x="174" y="4141"/>
                  </a:lnTo>
                  <a:lnTo>
                    <a:pt x="113" y="4408"/>
                  </a:lnTo>
                  <a:lnTo>
                    <a:pt x="63" y="4679"/>
                  </a:lnTo>
                  <a:lnTo>
                    <a:pt x="28" y="4956"/>
                  </a:lnTo>
                  <a:lnTo>
                    <a:pt x="7" y="5236"/>
                  </a:lnTo>
                  <a:lnTo>
                    <a:pt x="0" y="5520"/>
                  </a:lnTo>
                  <a:lnTo>
                    <a:pt x="5" y="5710"/>
                  </a:lnTo>
                  <a:lnTo>
                    <a:pt x="21" y="5900"/>
                  </a:lnTo>
                  <a:lnTo>
                    <a:pt x="46" y="6092"/>
                  </a:lnTo>
                  <a:lnTo>
                    <a:pt x="81" y="6284"/>
                  </a:lnTo>
                  <a:lnTo>
                    <a:pt x="125" y="6475"/>
                  </a:lnTo>
                  <a:lnTo>
                    <a:pt x="176" y="6668"/>
                  </a:lnTo>
                  <a:lnTo>
                    <a:pt x="234" y="6861"/>
                  </a:lnTo>
                  <a:lnTo>
                    <a:pt x="301" y="7053"/>
                  </a:lnTo>
                  <a:lnTo>
                    <a:pt x="373" y="7247"/>
                  </a:lnTo>
                  <a:lnTo>
                    <a:pt x="451" y="7440"/>
                  </a:lnTo>
                  <a:lnTo>
                    <a:pt x="534" y="7634"/>
                  </a:lnTo>
                  <a:lnTo>
                    <a:pt x="623" y="7826"/>
                  </a:lnTo>
                  <a:lnTo>
                    <a:pt x="715" y="8020"/>
                  </a:lnTo>
                  <a:lnTo>
                    <a:pt x="811" y="8213"/>
                  </a:lnTo>
                  <a:lnTo>
                    <a:pt x="910" y="8405"/>
                  </a:lnTo>
                  <a:lnTo>
                    <a:pt x="1012" y="8597"/>
                  </a:lnTo>
                  <a:lnTo>
                    <a:pt x="1115" y="8789"/>
                  </a:lnTo>
                  <a:lnTo>
                    <a:pt x="1221" y="8980"/>
                  </a:lnTo>
                  <a:lnTo>
                    <a:pt x="1327" y="9171"/>
                  </a:lnTo>
                  <a:lnTo>
                    <a:pt x="1433" y="9361"/>
                  </a:lnTo>
                  <a:lnTo>
                    <a:pt x="1539" y="9550"/>
                  </a:lnTo>
                  <a:lnTo>
                    <a:pt x="1644" y="9739"/>
                  </a:lnTo>
                  <a:lnTo>
                    <a:pt x="1748" y="9927"/>
                  </a:lnTo>
                  <a:lnTo>
                    <a:pt x="1850" y="10115"/>
                  </a:lnTo>
                  <a:lnTo>
                    <a:pt x="1949" y="10300"/>
                  </a:lnTo>
                  <a:lnTo>
                    <a:pt x="2046" y="10485"/>
                  </a:lnTo>
                  <a:lnTo>
                    <a:pt x="2138" y="10670"/>
                  </a:lnTo>
                  <a:lnTo>
                    <a:pt x="2228" y="10852"/>
                  </a:lnTo>
                  <a:lnTo>
                    <a:pt x="2311" y="11033"/>
                  </a:lnTo>
                  <a:lnTo>
                    <a:pt x="2391" y="11214"/>
                  </a:lnTo>
                  <a:lnTo>
                    <a:pt x="2463" y="11392"/>
                  </a:lnTo>
                  <a:lnTo>
                    <a:pt x="2529" y="11569"/>
                  </a:lnTo>
                  <a:lnTo>
                    <a:pt x="2621" y="11829"/>
                  </a:lnTo>
                  <a:lnTo>
                    <a:pt x="2706" y="12083"/>
                  </a:lnTo>
                  <a:lnTo>
                    <a:pt x="2787" y="12329"/>
                  </a:lnTo>
                  <a:lnTo>
                    <a:pt x="2861" y="12568"/>
                  </a:lnTo>
                  <a:lnTo>
                    <a:pt x="2933" y="12801"/>
                  </a:lnTo>
                  <a:lnTo>
                    <a:pt x="3000" y="13026"/>
                  </a:lnTo>
                  <a:lnTo>
                    <a:pt x="3065" y="13245"/>
                  </a:lnTo>
                  <a:lnTo>
                    <a:pt x="3128" y="13456"/>
                  </a:lnTo>
                  <a:lnTo>
                    <a:pt x="3188" y="13658"/>
                  </a:lnTo>
                  <a:lnTo>
                    <a:pt x="3248" y="13855"/>
                  </a:lnTo>
                  <a:lnTo>
                    <a:pt x="3308" y="14043"/>
                  </a:lnTo>
                  <a:lnTo>
                    <a:pt x="3367" y="14223"/>
                  </a:lnTo>
                  <a:lnTo>
                    <a:pt x="3428" y="14396"/>
                  </a:lnTo>
                  <a:lnTo>
                    <a:pt x="3489" y="14562"/>
                  </a:lnTo>
                  <a:lnTo>
                    <a:pt x="3552" y="14718"/>
                  </a:lnTo>
                  <a:lnTo>
                    <a:pt x="3619" y="14867"/>
                  </a:lnTo>
                  <a:lnTo>
                    <a:pt x="3688" y="15007"/>
                  </a:lnTo>
                  <a:lnTo>
                    <a:pt x="3761" y="15140"/>
                  </a:lnTo>
                  <a:lnTo>
                    <a:pt x="3839" y="15263"/>
                  </a:lnTo>
                  <a:lnTo>
                    <a:pt x="3922" y="15379"/>
                  </a:lnTo>
                  <a:lnTo>
                    <a:pt x="4011" y="15485"/>
                  </a:lnTo>
                  <a:lnTo>
                    <a:pt x="4105" y="15582"/>
                  </a:lnTo>
                  <a:lnTo>
                    <a:pt x="4207" y="15672"/>
                  </a:lnTo>
                  <a:lnTo>
                    <a:pt x="4316" y="15752"/>
                  </a:lnTo>
                  <a:lnTo>
                    <a:pt x="4433" y="15822"/>
                  </a:lnTo>
                  <a:lnTo>
                    <a:pt x="4559" y="15884"/>
                  </a:lnTo>
                  <a:lnTo>
                    <a:pt x="4694" y="15937"/>
                  </a:lnTo>
                  <a:lnTo>
                    <a:pt x="4840" y="15981"/>
                  </a:lnTo>
                  <a:lnTo>
                    <a:pt x="4995" y="16014"/>
                  </a:lnTo>
                  <a:lnTo>
                    <a:pt x="5161" y="16038"/>
                  </a:lnTo>
                  <a:lnTo>
                    <a:pt x="5340" y="16053"/>
                  </a:lnTo>
                  <a:lnTo>
                    <a:pt x="5532" y="16058"/>
                  </a:lnTo>
                  <a:lnTo>
                    <a:pt x="5726" y="16053"/>
                  </a:lnTo>
                  <a:lnTo>
                    <a:pt x="5907" y="16039"/>
                  </a:lnTo>
                  <a:lnTo>
                    <a:pt x="6076" y="16014"/>
                  </a:lnTo>
                  <a:lnTo>
                    <a:pt x="6232" y="15981"/>
                  </a:lnTo>
                  <a:lnTo>
                    <a:pt x="6379" y="15938"/>
                  </a:lnTo>
                  <a:lnTo>
                    <a:pt x="6516" y="15885"/>
                  </a:lnTo>
                  <a:lnTo>
                    <a:pt x="6643" y="15823"/>
                  </a:lnTo>
                  <a:lnTo>
                    <a:pt x="6760" y="15753"/>
                  </a:lnTo>
                  <a:lnTo>
                    <a:pt x="6870" y="15673"/>
                  </a:lnTo>
                  <a:lnTo>
                    <a:pt x="6972" y="15584"/>
                  </a:lnTo>
                  <a:lnTo>
                    <a:pt x="7066" y="15487"/>
                  </a:lnTo>
                  <a:lnTo>
                    <a:pt x="7155" y="15381"/>
                  </a:lnTo>
                  <a:lnTo>
                    <a:pt x="7237" y="15266"/>
                  </a:lnTo>
                  <a:lnTo>
                    <a:pt x="7315" y="15143"/>
                  </a:lnTo>
                  <a:lnTo>
                    <a:pt x="7387" y="15011"/>
                  </a:lnTo>
                  <a:lnTo>
                    <a:pt x="7455" y="14871"/>
                  </a:lnTo>
                  <a:lnTo>
                    <a:pt x="7521" y="14723"/>
                  </a:lnTo>
                  <a:lnTo>
                    <a:pt x="7584" y="14567"/>
                  </a:lnTo>
                  <a:lnTo>
                    <a:pt x="7645" y="14402"/>
                  </a:lnTo>
                  <a:lnTo>
                    <a:pt x="7704" y="14229"/>
                  </a:lnTo>
                  <a:lnTo>
                    <a:pt x="7762" y="14050"/>
                  </a:lnTo>
                  <a:lnTo>
                    <a:pt x="7821" y="13862"/>
                  </a:lnTo>
                  <a:lnTo>
                    <a:pt x="7880" y="13666"/>
                  </a:lnTo>
                  <a:lnTo>
                    <a:pt x="7939" y="13464"/>
                  </a:lnTo>
                  <a:lnTo>
                    <a:pt x="8002" y="13253"/>
                  </a:lnTo>
                  <a:lnTo>
                    <a:pt x="8065" y="13035"/>
                  </a:lnTo>
                  <a:lnTo>
                    <a:pt x="8132" y="12810"/>
                  </a:lnTo>
                  <a:lnTo>
                    <a:pt x="8203" y="12578"/>
                  </a:lnTo>
                  <a:lnTo>
                    <a:pt x="8277" y="12340"/>
                  </a:lnTo>
                  <a:lnTo>
                    <a:pt x="8357" y="12094"/>
                  </a:lnTo>
                  <a:lnTo>
                    <a:pt x="8442" y="11841"/>
                  </a:lnTo>
                  <a:lnTo>
                    <a:pt x="8534" y="11581"/>
                  </a:lnTo>
                  <a:lnTo>
                    <a:pt x="8600" y="11403"/>
                  </a:lnTo>
                  <a:lnTo>
                    <a:pt x="8673" y="11224"/>
                  </a:lnTo>
                  <a:lnTo>
                    <a:pt x="8752" y="11043"/>
                  </a:lnTo>
                  <a:lnTo>
                    <a:pt x="8836" y="10861"/>
                  </a:lnTo>
                  <a:lnTo>
                    <a:pt x="8926" y="10678"/>
                  </a:lnTo>
                  <a:lnTo>
                    <a:pt x="9018" y="10493"/>
                  </a:lnTo>
                  <a:lnTo>
                    <a:pt x="9115" y="10307"/>
                  </a:lnTo>
                  <a:lnTo>
                    <a:pt x="9214" y="10121"/>
                  </a:lnTo>
                  <a:lnTo>
                    <a:pt x="9316" y="9932"/>
                  </a:lnTo>
                  <a:lnTo>
                    <a:pt x="9421" y="9743"/>
                  </a:lnTo>
                  <a:lnTo>
                    <a:pt x="9525" y="9554"/>
                  </a:lnTo>
                  <a:lnTo>
                    <a:pt x="9632" y="9363"/>
                  </a:lnTo>
                  <a:lnTo>
                    <a:pt x="9737" y="9172"/>
                  </a:lnTo>
                  <a:lnTo>
                    <a:pt x="9844" y="8980"/>
                  </a:lnTo>
                  <a:lnTo>
                    <a:pt x="9949" y="8788"/>
                  </a:lnTo>
                  <a:lnTo>
                    <a:pt x="10052" y="8596"/>
                  </a:lnTo>
                  <a:lnTo>
                    <a:pt x="10154" y="8402"/>
                  </a:lnTo>
                  <a:lnTo>
                    <a:pt x="10253" y="8210"/>
                  </a:lnTo>
                  <a:lnTo>
                    <a:pt x="10349" y="8016"/>
                  </a:lnTo>
                  <a:lnTo>
                    <a:pt x="10441" y="7822"/>
                  </a:lnTo>
                  <a:lnTo>
                    <a:pt x="10529" y="7629"/>
                  </a:lnTo>
                  <a:lnTo>
                    <a:pt x="10612" y="7435"/>
                  </a:lnTo>
                  <a:lnTo>
                    <a:pt x="10691" y="7241"/>
                  </a:lnTo>
                  <a:lnTo>
                    <a:pt x="10763" y="7048"/>
                  </a:lnTo>
                  <a:lnTo>
                    <a:pt x="10829" y="6856"/>
                  </a:lnTo>
                  <a:lnTo>
                    <a:pt x="10888" y="6663"/>
                  </a:lnTo>
                  <a:lnTo>
                    <a:pt x="10939" y="6470"/>
                  </a:lnTo>
                  <a:lnTo>
                    <a:pt x="10983" y="6280"/>
                  </a:lnTo>
                  <a:lnTo>
                    <a:pt x="11017" y="6088"/>
                  </a:lnTo>
                  <a:lnTo>
                    <a:pt x="11042" y="5898"/>
                  </a:lnTo>
                  <a:lnTo>
                    <a:pt x="11058" y="5709"/>
                  </a:lnTo>
                  <a:lnTo>
                    <a:pt x="11063" y="5520"/>
                  </a:lnTo>
                  <a:lnTo>
                    <a:pt x="11056" y="5236"/>
                  </a:lnTo>
                  <a:lnTo>
                    <a:pt x="11035" y="4956"/>
                  </a:lnTo>
                  <a:lnTo>
                    <a:pt x="11000" y="4679"/>
                  </a:lnTo>
                  <a:lnTo>
                    <a:pt x="10950" y="4408"/>
                  </a:lnTo>
                  <a:lnTo>
                    <a:pt x="10889" y="4141"/>
                  </a:lnTo>
                  <a:lnTo>
                    <a:pt x="10815" y="3879"/>
                  </a:lnTo>
                  <a:lnTo>
                    <a:pt x="10727" y="3622"/>
                  </a:lnTo>
                  <a:lnTo>
                    <a:pt x="10629" y="3371"/>
                  </a:lnTo>
                  <a:lnTo>
                    <a:pt x="10518" y="3127"/>
                  </a:lnTo>
                  <a:lnTo>
                    <a:pt x="10395" y="2888"/>
                  </a:lnTo>
                  <a:lnTo>
                    <a:pt x="10262" y="2658"/>
                  </a:lnTo>
                  <a:lnTo>
                    <a:pt x="10119" y="2434"/>
                  </a:lnTo>
                  <a:lnTo>
                    <a:pt x="9964" y="2217"/>
                  </a:lnTo>
                  <a:lnTo>
                    <a:pt x="9800" y="2009"/>
                  </a:lnTo>
                  <a:lnTo>
                    <a:pt x="9626" y="1809"/>
                  </a:lnTo>
                  <a:lnTo>
                    <a:pt x="9443" y="1617"/>
                  </a:lnTo>
                  <a:lnTo>
                    <a:pt x="9251" y="1434"/>
                  </a:lnTo>
                  <a:lnTo>
                    <a:pt x="9050" y="1261"/>
                  </a:lnTo>
                  <a:lnTo>
                    <a:pt x="8841" y="1097"/>
                  </a:lnTo>
                  <a:lnTo>
                    <a:pt x="8624" y="942"/>
                  </a:lnTo>
                  <a:lnTo>
                    <a:pt x="8400" y="799"/>
                  </a:lnTo>
                  <a:lnTo>
                    <a:pt x="8169" y="666"/>
                  </a:lnTo>
                  <a:lnTo>
                    <a:pt x="7929" y="544"/>
                  </a:lnTo>
                  <a:lnTo>
                    <a:pt x="7685" y="434"/>
                  </a:lnTo>
                  <a:lnTo>
                    <a:pt x="7433" y="335"/>
                  </a:lnTo>
                  <a:lnTo>
                    <a:pt x="7176" y="248"/>
                  </a:lnTo>
                  <a:lnTo>
                    <a:pt x="6913" y="174"/>
                  </a:lnTo>
                  <a:lnTo>
                    <a:pt x="6646" y="112"/>
                  </a:lnTo>
                  <a:lnTo>
                    <a:pt x="6374" y="63"/>
                  </a:lnTo>
                  <a:lnTo>
                    <a:pt x="6097" y="28"/>
                  </a:lnTo>
                  <a:lnTo>
                    <a:pt x="5816" y="7"/>
                  </a:lnTo>
                  <a:lnTo>
                    <a:pt x="55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37" name="işļîḓê">
              <a:extLst>
                <a:ext uri="{FF2B5EF4-FFF2-40B4-BE49-F238E27FC236}">
                  <a16:creationId xmlns:a16="http://schemas.microsoft.com/office/drawing/2014/main" id="{FC05229E-D210-4A12-9423-B7A3BB98B3C4}"/>
                </a:ext>
              </a:extLst>
            </p:cNvPr>
            <p:cNvSpPr/>
            <p:nvPr/>
          </p:nvSpPr>
          <p:spPr bwMode="auto">
            <a:xfrm>
              <a:off x="8639165" y="2092063"/>
              <a:ext cx="78177" cy="78177"/>
            </a:xfrm>
            <a:custGeom>
              <a:avLst/>
              <a:gdLst>
                <a:gd name="T0" fmla="*/ 2559 w 3269"/>
                <a:gd name="T1" fmla="*/ 35 h 3262"/>
                <a:gd name="T2" fmla="*/ 1981 w 3269"/>
                <a:gd name="T3" fmla="*/ 183 h 3262"/>
                <a:gd name="T4" fmla="*/ 1455 w 3269"/>
                <a:gd name="T5" fmla="*/ 437 h 3262"/>
                <a:gd name="T6" fmla="*/ 990 w 3269"/>
                <a:gd name="T7" fmla="*/ 783 h 3262"/>
                <a:gd name="T8" fmla="*/ 601 w 3269"/>
                <a:gd name="T9" fmla="*/ 1210 h 3262"/>
                <a:gd name="T10" fmla="*/ 298 w 3269"/>
                <a:gd name="T11" fmla="*/ 1706 h 3262"/>
                <a:gd name="T12" fmla="*/ 96 w 3269"/>
                <a:gd name="T13" fmla="*/ 2259 h 3262"/>
                <a:gd name="T14" fmla="*/ 4 w 3269"/>
                <a:gd name="T15" fmla="*/ 2856 h 3262"/>
                <a:gd name="T16" fmla="*/ 3 w 3269"/>
                <a:gd name="T17" fmla="*/ 3049 h 3262"/>
                <a:gd name="T18" fmla="*/ 15 w 3269"/>
                <a:gd name="T19" fmla="*/ 3097 h 3262"/>
                <a:gd name="T20" fmla="*/ 37 w 3269"/>
                <a:gd name="T21" fmla="*/ 3141 h 3262"/>
                <a:gd name="T22" fmla="*/ 66 w 3269"/>
                <a:gd name="T23" fmla="*/ 3180 h 3262"/>
                <a:gd name="T24" fmla="*/ 101 w 3269"/>
                <a:gd name="T25" fmla="*/ 3212 h 3262"/>
                <a:gd name="T26" fmla="*/ 143 w 3269"/>
                <a:gd name="T27" fmla="*/ 3237 h 3262"/>
                <a:gd name="T28" fmla="*/ 189 w 3269"/>
                <a:gd name="T29" fmla="*/ 3254 h 3262"/>
                <a:gd name="T30" fmla="*/ 239 w 3269"/>
                <a:gd name="T31" fmla="*/ 3262 h 3262"/>
                <a:gd name="T32" fmla="*/ 290 w 3269"/>
                <a:gd name="T33" fmla="*/ 3259 h 3262"/>
                <a:gd name="T34" fmla="*/ 338 w 3269"/>
                <a:gd name="T35" fmla="*/ 3247 h 3262"/>
                <a:gd name="T36" fmla="*/ 382 w 3269"/>
                <a:gd name="T37" fmla="*/ 3226 h 3262"/>
                <a:gd name="T38" fmla="*/ 421 w 3269"/>
                <a:gd name="T39" fmla="*/ 3197 h 3262"/>
                <a:gd name="T40" fmla="*/ 453 w 3269"/>
                <a:gd name="T41" fmla="*/ 3161 h 3262"/>
                <a:gd name="T42" fmla="*/ 478 w 3269"/>
                <a:gd name="T43" fmla="*/ 3119 h 3262"/>
                <a:gd name="T44" fmla="*/ 495 w 3269"/>
                <a:gd name="T45" fmla="*/ 3073 h 3262"/>
                <a:gd name="T46" fmla="*/ 503 w 3269"/>
                <a:gd name="T47" fmla="*/ 3024 h 3262"/>
                <a:gd name="T48" fmla="*/ 532 w 3269"/>
                <a:gd name="T49" fmla="*/ 2630 h 3262"/>
                <a:gd name="T50" fmla="*/ 656 w 3269"/>
                <a:gd name="T51" fmla="*/ 2149 h 3262"/>
                <a:gd name="T52" fmla="*/ 867 w 3269"/>
                <a:gd name="T53" fmla="*/ 1711 h 3262"/>
                <a:gd name="T54" fmla="*/ 1157 w 3269"/>
                <a:gd name="T55" fmla="*/ 1325 h 3262"/>
                <a:gd name="T56" fmla="*/ 1514 w 3269"/>
                <a:gd name="T57" fmla="*/ 1001 h 3262"/>
                <a:gd name="T58" fmla="*/ 1928 w 3269"/>
                <a:gd name="T59" fmla="*/ 750 h 3262"/>
                <a:gd name="T60" fmla="*/ 2390 w 3269"/>
                <a:gd name="T61" fmla="*/ 581 h 3262"/>
                <a:gd name="T62" fmla="*/ 2889 w 3269"/>
                <a:gd name="T63" fmla="*/ 505 h 3262"/>
                <a:gd name="T64" fmla="*/ 3056 w 3269"/>
                <a:gd name="T65" fmla="*/ 499 h 3262"/>
                <a:gd name="T66" fmla="*/ 3104 w 3269"/>
                <a:gd name="T67" fmla="*/ 487 h 3262"/>
                <a:gd name="T68" fmla="*/ 3148 w 3269"/>
                <a:gd name="T69" fmla="*/ 466 h 3262"/>
                <a:gd name="T70" fmla="*/ 3186 w 3269"/>
                <a:gd name="T71" fmla="*/ 437 h 3262"/>
                <a:gd name="T72" fmla="*/ 3219 w 3269"/>
                <a:gd name="T73" fmla="*/ 402 h 3262"/>
                <a:gd name="T74" fmla="*/ 3244 w 3269"/>
                <a:gd name="T75" fmla="*/ 359 h 3262"/>
                <a:gd name="T76" fmla="*/ 3261 w 3269"/>
                <a:gd name="T77" fmla="*/ 314 h 3262"/>
                <a:gd name="T78" fmla="*/ 3269 w 3269"/>
                <a:gd name="T79" fmla="*/ 264 h 3262"/>
                <a:gd name="T80" fmla="*/ 3266 w 3269"/>
                <a:gd name="T81" fmla="*/ 213 h 3262"/>
                <a:gd name="T82" fmla="*/ 3254 w 3269"/>
                <a:gd name="T83" fmla="*/ 165 h 3262"/>
                <a:gd name="T84" fmla="*/ 3233 w 3269"/>
                <a:gd name="T85" fmla="*/ 120 h 3262"/>
                <a:gd name="T86" fmla="*/ 3204 w 3269"/>
                <a:gd name="T87" fmla="*/ 82 h 3262"/>
                <a:gd name="T88" fmla="*/ 3168 w 3269"/>
                <a:gd name="T89" fmla="*/ 50 h 3262"/>
                <a:gd name="T90" fmla="*/ 3126 w 3269"/>
                <a:gd name="T91" fmla="*/ 25 h 3262"/>
                <a:gd name="T92" fmla="*/ 3080 w 3269"/>
                <a:gd name="T93" fmla="*/ 8 h 3262"/>
                <a:gd name="T94" fmla="*/ 3031 w 3269"/>
                <a:gd name="T95" fmla="*/ 0 h 3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269" h="3262">
                  <a:moveTo>
                    <a:pt x="3018" y="0"/>
                  </a:moveTo>
                  <a:lnTo>
                    <a:pt x="2863" y="4"/>
                  </a:lnTo>
                  <a:lnTo>
                    <a:pt x="2710" y="15"/>
                  </a:lnTo>
                  <a:lnTo>
                    <a:pt x="2559" y="35"/>
                  </a:lnTo>
                  <a:lnTo>
                    <a:pt x="2410" y="61"/>
                  </a:lnTo>
                  <a:lnTo>
                    <a:pt x="2264" y="95"/>
                  </a:lnTo>
                  <a:lnTo>
                    <a:pt x="2121" y="136"/>
                  </a:lnTo>
                  <a:lnTo>
                    <a:pt x="1981" y="183"/>
                  </a:lnTo>
                  <a:lnTo>
                    <a:pt x="1844" y="237"/>
                  </a:lnTo>
                  <a:lnTo>
                    <a:pt x="1710" y="297"/>
                  </a:lnTo>
                  <a:lnTo>
                    <a:pt x="1580" y="364"/>
                  </a:lnTo>
                  <a:lnTo>
                    <a:pt x="1455" y="437"/>
                  </a:lnTo>
                  <a:lnTo>
                    <a:pt x="1332" y="515"/>
                  </a:lnTo>
                  <a:lnTo>
                    <a:pt x="1213" y="599"/>
                  </a:lnTo>
                  <a:lnTo>
                    <a:pt x="1100" y="689"/>
                  </a:lnTo>
                  <a:lnTo>
                    <a:pt x="990" y="783"/>
                  </a:lnTo>
                  <a:lnTo>
                    <a:pt x="885" y="883"/>
                  </a:lnTo>
                  <a:lnTo>
                    <a:pt x="785" y="988"/>
                  </a:lnTo>
                  <a:lnTo>
                    <a:pt x="690" y="1097"/>
                  </a:lnTo>
                  <a:lnTo>
                    <a:pt x="601" y="1210"/>
                  </a:lnTo>
                  <a:lnTo>
                    <a:pt x="516" y="1329"/>
                  </a:lnTo>
                  <a:lnTo>
                    <a:pt x="438" y="1450"/>
                  </a:lnTo>
                  <a:lnTo>
                    <a:pt x="365" y="1577"/>
                  </a:lnTo>
                  <a:lnTo>
                    <a:pt x="298" y="1706"/>
                  </a:lnTo>
                  <a:lnTo>
                    <a:pt x="238" y="1840"/>
                  </a:lnTo>
                  <a:lnTo>
                    <a:pt x="183" y="1976"/>
                  </a:lnTo>
                  <a:lnTo>
                    <a:pt x="136" y="2117"/>
                  </a:lnTo>
                  <a:lnTo>
                    <a:pt x="96" y="2259"/>
                  </a:lnTo>
                  <a:lnTo>
                    <a:pt x="62" y="2405"/>
                  </a:lnTo>
                  <a:lnTo>
                    <a:pt x="36" y="2553"/>
                  </a:lnTo>
                  <a:lnTo>
                    <a:pt x="16" y="2704"/>
                  </a:lnTo>
                  <a:lnTo>
                    <a:pt x="4" y="2856"/>
                  </a:lnTo>
                  <a:lnTo>
                    <a:pt x="0" y="3011"/>
                  </a:lnTo>
                  <a:lnTo>
                    <a:pt x="0" y="3024"/>
                  </a:lnTo>
                  <a:lnTo>
                    <a:pt x="1" y="3037"/>
                  </a:lnTo>
                  <a:lnTo>
                    <a:pt x="3" y="3049"/>
                  </a:lnTo>
                  <a:lnTo>
                    <a:pt x="5" y="3061"/>
                  </a:lnTo>
                  <a:lnTo>
                    <a:pt x="8" y="3073"/>
                  </a:lnTo>
                  <a:lnTo>
                    <a:pt x="11" y="3085"/>
                  </a:lnTo>
                  <a:lnTo>
                    <a:pt x="15" y="3097"/>
                  </a:lnTo>
                  <a:lnTo>
                    <a:pt x="20" y="3108"/>
                  </a:lnTo>
                  <a:lnTo>
                    <a:pt x="25" y="3119"/>
                  </a:lnTo>
                  <a:lnTo>
                    <a:pt x="30" y="3130"/>
                  </a:lnTo>
                  <a:lnTo>
                    <a:pt x="37" y="3141"/>
                  </a:lnTo>
                  <a:lnTo>
                    <a:pt x="44" y="3151"/>
                  </a:lnTo>
                  <a:lnTo>
                    <a:pt x="51" y="3161"/>
                  </a:lnTo>
                  <a:lnTo>
                    <a:pt x="58" y="3171"/>
                  </a:lnTo>
                  <a:lnTo>
                    <a:pt x="66" y="3180"/>
                  </a:lnTo>
                  <a:lnTo>
                    <a:pt x="74" y="3189"/>
                  </a:lnTo>
                  <a:lnTo>
                    <a:pt x="83" y="3197"/>
                  </a:lnTo>
                  <a:lnTo>
                    <a:pt x="92" y="3205"/>
                  </a:lnTo>
                  <a:lnTo>
                    <a:pt x="101" y="3212"/>
                  </a:lnTo>
                  <a:lnTo>
                    <a:pt x="111" y="3219"/>
                  </a:lnTo>
                  <a:lnTo>
                    <a:pt x="121" y="3226"/>
                  </a:lnTo>
                  <a:lnTo>
                    <a:pt x="132" y="3232"/>
                  </a:lnTo>
                  <a:lnTo>
                    <a:pt x="143" y="3237"/>
                  </a:lnTo>
                  <a:lnTo>
                    <a:pt x="154" y="3242"/>
                  </a:lnTo>
                  <a:lnTo>
                    <a:pt x="165" y="3247"/>
                  </a:lnTo>
                  <a:lnTo>
                    <a:pt x="177" y="3251"/>
                  </a:lnTo>
                  <a:lnTo>
                    <a:pt x="189" y="3254"/>
                  </a:lnTo>
                  <a:lnTo>
                    <a:pt x="201" y="3257"/>
                  </a:lnTo>
                  <a:lnTo>
                    <a:pt x="214" y="3259"/>
                  </a:lnTo>
                  <a:lnTo>
                    <a:pt x="227" y="3261"/>
                  </a:lnTo>
                  <a:lnTo>
                    <a:pt x="239" y="3262"/>
                  </a:lnTo>
                  <a:lnTo>
                    <a:pt x="252" y="3262"/>
                  </a:lnTo>
                  <a:lnTo>
                    <a:pt x="265" y="3262"/>
                  </a:lnTo>
                  <a:lnTo>
                    <a:pt x="278" y="3261"/>
                  </a:lnTo>
                  <a:lnTo>
                    <a:pt x="290" y="3259"/>
                  </a:lnTo>
                  <a:lnTo>
                    <a:pt x="302" y="3257"/>
                  </a:lnTo>
                  <a:lnTo>
                    <a:pt x="315" y="3254"/>
                  </a:lnTo>
                  <a:lnTo>
                    <a:pt x="326" y="3251"/>
                  </a:lnTo>
                  <a:lnTo>
                    <a:pt x="338" y="3247"/>
                  </a:lnTo>
                  <a:lnTo>
                    <a:pt x="349" y="3242"/>
                  </a:lnTo>
                  <a:lnTo>
                    <a:pt x="360" y="3237"/>
                  </a:lnTo>
                  <a:lnTo>
                    <a:pt x="371" y="3232"/>
                  </a:lnTo>
                  <a:lnTo>
                    <a:pt x="382" y="3226"/>
                  </a:lnTo>
                  <a:lnTo>
                    <a:pt x="393" y="3219"/>
                  </a:lnTo>
                  <a:lnTo>
                    <a:pt x="403" y="3212"/>
                  </a:lnTo>
                  <a:lnTo>
                    <a:pt x="412" y="3205"/>
                  </a:lnTo>
                  <a:lnTo>
                    <a:pt x="421" y="3197"/>
                  </a:lnTo>
                  <a:lnTo>
                    <a:pt x="430" y="3189"/>
                  </a:lnTo>
                  <a:lnTo>
                    <a:pt x="438" y="3180"/>
                  </a:lnTo>
                  <a:lnTo>
                    <a:pt x="446" y="3171"/>
                  </a:lnTo>
                  <a:lnTo>
                    <a:pt x="453" y="3161"/>
                  </a:lnTo>
                  <a:lnTo>
                    <a:pt x="460" y="3151"/>
                  </a:lnTo>
                  <a:lnTo>
                    <a:pt x="467" y="3141"/>
                  </a:lnTo>
                  <a:lnTo>
                    <a:pt x="473" y="3130"/>
                  </a:lnTo>
                  <a:lnTo>
                    <a:pt x="478" y="3119"/>
                  </a:lnTo>
                  <a:lnTo>
                    <a:pt x="483" y="3108"/>
                  </a:lnTo>
                  <a:lnTo>
                    <a:pt x="488" y="3097"/>
                  </a:lnTo>
                  <a:lnTo>
                    <a:pt x="492" y="3085"/>
                  </a:lnTo>
                  <a:lnTo>
                    <a:pt x="495" y="3073"/>
                  </a:lnTo>
                  <a:lnTo>
                    <a:pt x="498" y="3061"/>
                  </a:lnTo>
                  <a:lnTo>
                    <a:pt x="500" y="3049"/>
                  </a:lnTo>
                  <a:lnTo>
                    <a:pt x="502" y="3037"/>
                  </a:lnTo>
                  <a:lnTo>
                    <a:pt x="503" y="3024"/>
                  </a:lnTo>
                  <a:lnTo>
                    <a:pt x="503" y="3011"/>
                  </a:lnTo>
                  <a:lnTo>
                    <a:pt x="506" y="2882"/>
                  </a:lnTo>
                  <a:lnTo>
                    <a:pt x="516" y="2755"/>
                  </a:lnTo>
                  <a:lnTo>
                    <a:pt x="532" y="2630"/>
                  </a:lnTo>
                  <a:lnTo>
                    <a:pt x="554" y="2506"/>
                  </a:lnTo>
                  <a:lnTo>
                    <a:pt x="583" y="2385"/>
                  </a:lnTo>
                  <a:lnTo>
                    <a:pt x="617" y="2265"/>
                  </a:lnTo>
                  <a:lnTo>
                    <a:pt x="656" y="2149"/>
                  </a:lnTo>
                  <a:lnTo>
                    <a:pt x="701" y="2035"/>
                  </a:lnTo>
                  <a:lnTo>
                    <a:pt x="752" y="1924"/>
                  </a:lnTo>
                  <a:lnTo>
                    <a:pt x="807" y="1816"/>
                  </a:lnTo>
                  <a:lnTo>
                    <a:pt x="867" y="1711"/>
                  </a:lnTo>
                  <a:lnTo>
                    <a:pt x="934" y="1609"/>
                  </a:lnTo>
                  <a:lnTo>
                    <a:pt x="1003" y="1511"/>
                  </a:lnTo>
                  <a:lnTo>
                    <a:pt x="1078" y="1416"/>
                  </a:lnTo>
                  <a:lnTo>
                    <a:pt x="1157" y="1325"/>
                  </a:lnTo>
                  <a:lnTo>
                    <a:pt x="1240" y="1238"/>
                  </a:lnTo>
                  <a:lnTo>
                    <a:pt x="1328" y="1154"/>
                  </a:lnTo>
                  <a:lnTo>
                    <a:pt x="1419" y="1076"/>
                  </a:lnTo>
                  <a:lnTo>
                    <a:pt x="1514" y="1001"/>
                  </a:lnTo>
                  <a:lnTo>
                    <a:pt x="1612" y="931"/>
                  </a:lnTo>
                  <a:lnTo>
                    <a:pt x="1715" y="865"/>
                  </a:lnTo>
                  <a:lnTo>
                    <a:pt x="1820" y="805"/>
                  </a:lnTo>
                  <a:lnTo>
                    <a:pt x="1928" y="750"/>
                  </a:lnTo>
                  <a:lnTo>
                    <a:pt x="2040" y="700"/>
                  </a:lnTo>
                  <a:lnTo>
                    <a:pt x="2154" y="654"/>
                  </a:lnTo>
                  <a:lnTo>
                    <a:pt x="2270" y="615"/>
                  </a:lnTo>
                  <a:lnTo>
                    <a:pt x="2390" y="581"/>
                  </a:lnTo>
                  <a:lnTo>
                    <a:pt x="2512" y="553"/>
                  </a:lnTo>
                  <a:lnTo>
                    <a:pt x="2635" y="531"/>
                  </a:lnTo>
                  <a:lnTo>
                    <a:pt x="2761" y="515"/>
                  </a:lnTo>
                  <a:lnTo>
                    <a:pt x="2889" y="505"/>
                  </a:lnTo>
                  <a:lnTo>
                    <a:pt x="3018" y="502"/>
                  </a:lnTo>
                  <a:lnTo>
                    <a:pt x="3031" y="502"/>
                  </a:lnTo>
                  <a:lnTo>
                    <a:pt x="3044" y="501"/>
                  </a:lnTo>
                  <a:lnTo>
                    <a:pt x="3056" y="499"/>
                  </a:lnTo>
                  <a:lnTo>
                    <a:pt x="3068" y="497"/>
                  </a:lnTo>
                  <a:lnTo>
                    <a:pt x="3080" y="494"/>
                  </a:lnTo>
                  <a:lnTo>
                    <a:pt x="3092" y="491"/>
                  </a:lnTo>
                  <a:lnTo>
                    <a:pt x="3104" y="487"/>
                  </a:lnTo>
                  <a:lnTo>
                    <a:pt x="3115" y="482"/>
                  </a:lnTo>
                  <a:lnTo>
                    <a:pt x="3126" y="477"/>
                  </a:lnTo>
                  <a:lnTo>
                    <a:pt x="3137" y="472"/>
                  </a:lnTo>
                  <a:lnTo>
                    <a:pt x="3148" y="466"/>
                  </a:lnTo>
                  <a:lnTo>
                    <a:pt x="3158" y="459"/>
                  </a:lnTo>
                  <a:lnTo>
                    <a:pt x="3168" y="452"/>
                  </a:lnTo>
                  <a:lnTo>
                    <a:pt x="3177" y="445"/>
                  </a:lnTo>
                  <a:lnTo>
                    <a:pt x="3186" y="437"/>
                  </a:lnTo>
                  <a:lnTo>
                    <a:pt x="3196" y="429"/>
                  </a:lnTo>
                  <a:lnTo>
                    <a:pt x="3204" y="420"/>
                  </a:lnTo>
                  <a:lnTo>
                    <a:pt x="3212" y="411"/>
                  </a:lnTo>
                  <a:lnTo>
                    <a:pt x="3219" y="402"/>
                  </a:lnTo>
                  <a:lnTo>
                    <a:pt x="3226" y="391"/>
                  </a:lnTo>
                  <a:lnTo>
                    <a:pt x="3233" y="381"/>
                  </a:lnTo>
                  <a:lnTo>
                    <a:pt x="3239" y="370"/>
                  </a:lnTo>
                  <a:lnTo>
                    <a:pt x="3244" y="359"/>
                  </a:lnTo>
                  <a:lnTo>
                    <a:pt x="3249" y="348"/>
                  </a:lnTo>
                  <a:lnTo>
                    <a:pt x="3254" y="337"/>
                  </a:lnTo>
                  <a:lnTo>
                    <a:pt x="3258" y="325"/>
                  </a:lnTo>
                  <a:lnTo>
                    <a:pt x="3261" y="314"/>
                  </a:lnTo>
                  <a:lnTo>
                    <a:pt x="3264" y="301"/>
                  </a:lnTo>
                  <a:lnTo>
                    <a:pt x="3266" y="289"/>
                  </a:lnTo>
                  <a:lnTo>
                    <a:pt x="3268" y="277"/>
                  </a:lnTo>
                  <a:lnTo>
                    <a:pt x="3269" y="264"/>
                  </a:lnTo>
                  <a:lnTo>
                    <a:pt x="3269" y="251"/>
                  </a:lnTo>
                  <a:lnTo>
                    <a:pt x="3269" y="238"/>
                  </a:lnTo>
                  <a:lnTo>
                    <a:pt x="3268" y="226"/>
                  </a:lnTo>
                  <a:lnTo>
                    <a:pt x="3266" y="213"/>
                  </a:lnTo>
                  <a:lnTo>
                    <a:pt x="3264" y="201"/>
                  </a:lnTo>
                  <a:lnTo>
                    <a:pt x="3261" y="189"/>
                  </a:lnTo>
                  <a:lnTo>
                    <a:pt x="3258" y="177"/>
                  </a:lnTo>
                  <a:lnTo>
                    <a:pt x="3254" y="165"/>
                  </a:lnTo>
                  <a:lnTo>
                    <a:pt x="3249" y="154"/>
                  </a:lnTo>
                  <a:lnTo>
                    <a:pt x="3244" y="143"/>
                  </a:lnTo>
                  <a:lnTo>
                    <a:pt x="3239" y="132"/>
                  </a:lnTo>
                  <a:lnTo>
                    <a:pt x="3233" y="120"/>
                  </a:lnTo>
                  <a:lnTo>
                    <a:pt x="3226" y="110"/>
                  </a:lnTo>
                  <a:lnTo>
                    <a:pt x="3219" y="100"/>
                  </a:lnTo>
                  <a:lnTo>
                    <a:pt x="3212" y="91"/>
                  </a:lnTo>
                  <a:lnTo>
                    <a:pt x="3204" y="82"/>
                  </a:lnTo>
                  <a:lnTo>
                    <a:pt x="3196" y="73"/>
                  </a:lnTo>
                  <a:lnTo>
                    <a:pt x="3186" y="65"/>
                  </a:lnTo>
                  <a:lnTo>
                    <a:pt x="3177" y="57"/>
                  </a:lnTo>
                  <a:lnTo>
                    <a:pt x="3168" y="50"/>
                  </a:lnTo>
                  <a:lnTo>
                    <a:pt x="3158" y="43"/>
                  </a:lnTo>
                  <a:lnTo>
                    <a:pt x="3148" y="36"/>
                  </a:lnTo>
                  <a:lnTo>
                    <a:pt x="3137" y="30"/>
                  </a:lnTo>
                  <a:lnTo>
                    <a:pt x="3126" y="25"/>
                  </a:lnTo>
                  <a:lnTo>
                    <a:pt x="3115" y="20"/>
                  </a:lnTo>
                  <a:lnTo>
                    <a:pt x="3104" y="15"/>
                  </a:lnTo>
                  <a:lnTo>
                    <a:pt x="3092" y="11"/>
                  </a:lnTo>
                  <a:lnTo>
                    <a:pt x="3080" y="8"/>
                  </a:lnTo>
                  <a:lnTo>
                    <a:pt x="3068" y="5"/>
                  </a:lnTo>
                  <a:lnTo>
                    <a:pt x="3056" y="3"/>
                  </a:lnTo>
                  <a:lnTo>
                    <a:pt x="3044" y="1"/>
                  </a:lnTo>
                  <a:lnTo>
                    <a:pt x="3031" y="0"/>
                  </a:lnTo>
                  <a:lnTo>
                    <a:pt x="30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38" name="ïs1iḓè">
              <a:extLst>
                <a:ext uri="{FF2B5EF4-FFF2-40B4-BE49-F238E27FC236}">
                  <a16:creationId xmlns:a16="http://schemas.microsoft.com/office/drawing/2014/main" id="{7FD84465-66CE-4BF1-A88F-37536783EA39}"/>
                </a:ext>
              </a:extLst>
            </p:cNvPr>
            <p:cNvSpPr/>
            <p:nvPr/>
          </p:nvSpPr>
          <p:spPr bwMode="auto">
            <a:xfrm>
              <a:off x="9484711" y="1127861"/>
              <a:ext cx="459652" cy="611928"/>
            </a:xfrm>
            <a:custGeom>
              <a:avLst/>
              <a:gdLst>
                <a:gd name="T0" fmla="*/ 10946 w 12062"/>
                <a:gd name="T1" fmla="*/ 12419 h 16058"/>
                <a:gd name="T2" fmla="*/ 10253 w 12062"/>
                <a:gd name="T3" fmla="*/ 13775 h 16058"/>
                <a:gd name="T4" fmla="*/ 9063 w 12062"/>
                <a:gd name="T5" fmla="*/ 14707 h 16058"/>
                <a:gd name="T6" fmla="*/ 7539 w 12062"/>
                <a:gd name="T7" fmla="*/ 15054 h 16058"/>
                <a:gd name="T8" fmla="*/ 3155 w 12062"/>
                <a:gd name="T9" fmla="*/ 14778 h 16058"/>
                <a:gd name="T10" fmla="*/ 1920 w 12062"/>
                <a:gd name="T11" fmla="*/ 13902 h 16058"/>
                <a:gd name="T12" fmla="*/ 1164 w 12062"/>
                <a:gd name="T13" fmla="*/ 12585 h 16058"/>
                <a:gd name="T14" fmla="*/ 1005 w 12062"/>
                <a:gd name="T15" fmla="*/ 9534 h 16058"/>
                <a:gd name="T16" fmla="*/ 1044 w 12062"/>
                <a:gd name="T17" fmla="*/ 7834 h 16058"/>
                <a:gd name="T18" fmla="*/ 1170 w 12062"/>
                <a:gd name="T19" fmla="*/ 7658 h 16058"/>
                <a:gd name="T20" fmla="*/ 1358 w 12062"/>
                <a:gd name="T21" fmla="*/ 7550 h 16058"/>
                <a:gd name="T22" fmla="*/ 10554 w 12062"/>
                <a:gd name="T23" fmla="*/ 7527 h 16058"/>
                <a:gd name="T24" fmla="*/ 10772 w 12062"/>
                <a:gd name="T25" fmla="*/ 7576 h 16058"/>
                <a:gd name="T26" fmla="*/ 10942 w 12062"/>
                <a:gd name="T27" fmla="*/ 7710 h 16058"/>
                <a:gd name="T28" fmla="*/ 11041 w 12062"/>
                <a:gd name="T29" fmla="*/ 7904 h 16058"/>
                <a:gd name="T30" fmla="*/ 8041 w 12062"/>
                <a:gd name="T31" fmla="*/ 6524 h 16058"/>
                <a:gd name="T32" fmla="*/ 4111 w 12062"/>
                <a:gd name="T33" fmla="*/ 3919 h 16058"/>
                <a:gd name="T34" fmla="*/ 4543 w 12062"/>
                <a:gd name="T35" fmla="*/ 3166 h 16058"/>
                <a:gd name="T36" fmla="*/ 5248 w 12062"/>
                <a:gd name="T37" fmla="*/ 2667 h 16058"/>
                <a:gd name="T38" fmla="*/ 6135 w 12062"/>
                <a:gd name="T39" fmla="*/ 2512 h 16058"/>
                <a:gd name="T40" fmla="*/ 6989 w 12062"/>
                <a:gd name="T41" fmla="*/ 2751 h 16058"/>
                <a:gd name="T42" fmla="*/ 7642 w 12062"/>
                <a:gd name="T43" fmla="*/ 3315 h 16058"/>
                <a:gd name="T44" fmla="*/ 8000 w 12062"/>
                <a:gd name="T45" fmla="*/ 4112 h 16058"/>
                <a:gd name="T46" fmla="*/ 2584 w 12062"/>
                <a:gd name="T47" fmla="*/ 3809 h 16058"/>
                <a:gd name="T48" fmla="*/ 3212 w 12062"/>
                <a:gd name="T49" fmla="*/ 2415 h 16058"/>
                <a:gd name="T50" fmla="*/ 4354 w 12062"/>
                <a:gd name="T51" fmla="*/ 1427 h 16058"/>
                <a:gd name="T52" fmla="*/ 5850 w 12062"/>
                <a:gd name="T53" fmla="*/ 1009 h 16058"/>
                <a:gd name="T54" fmla="*/ 7400 w 12062"/>
                <a:gd name="T55" fmla="*/ 1280 h 16058"/>
                <a:gd name="T56" fmla="*/ 8635 w 12062"/>
                <a:gd name="T57" fmla="*/ 2155 h 16058"/>
                <a:gd name="T58" fmla="*/ 9391 w 12062"/>
                <a:gd name="T59" fmla="*/ 3472 h 16058"/>
                <a:gd name="T60" fmla="*/ 8544 w 12062"/>
                <a:gd name="T61" fmla="*/ 4518 h 16058"/>
                <a:gd name="T62" fmla="*/ 8297 w 12062"/>
                <a:gd name="T63" fmla="*/ 3430 h 16058"/>
                <a:gd name="T64" fmla="*/ 7629 w 12062"/>
                <a:gd name="T65" fmla="*/ 2581 h 16058"/>
                <a:gd name="T66" fmla="*/ 6659 w 12062"/>
                <a:gd name="T67" fmla="*/ 2088 h 16058"/>
                <a:gd name="T68" fmla="*/ 5524 w 12062"/>
                <a:gd name="T69" fmla="*/ 2059 h 16058"/>
                <a:gd name="T70" fmla="*/ 4527 w 12062"/>
                <a:gd name="T71" fmla="*/ 2507 h 16058"/>
                <a:gd name="T72" fmla="*/ 3822 w 12062"/>
                <a:gd name="T73" fmla="*/ 3322 h 16058"/>
                <a:gd name="T74" fmla="*/ 3521 w 12062"/>
                <a:gd name="T75" fmla="*/ 4389 h 16058"/>
                <a:gd name="T76" fmla="*/ 10502 w 12062"/>
                <a:gd name="T77" fmla="*/ 3829 h 16058"/>
                <a:gd name="T78" fmla="*/ 9782 w 12062"/>
                <a:gd name="T79" fmla="*/ 1991 h 16058"/>
                <a:gd name="T80" fmla="*/ 8376 w 12062"/>
                <a:gd name="T81" fmla="*/ 653 h 16058"/>
                <a:gd name="T82" fmla="*/ 6493 w 12062"/>
                <a:gd name="T83" fmla="*/ 23 h 16058"/>
                <a:gd name="T84" fmla="*/ 4476 w 12062"/>
                <a:gd name="T85" fmla="*/ 274 h 16058"/>
                <a:gd name="T86" fmla="*/ 2833 w 12062"/>
                <a:gd name="T87" fmla="*/ 1323 h 16058"/>
                <a:gd name="T88" fmla="*/ 1782 w 12062"/>
                <a:gd name="T89" fmla="*/ 2964 h 16058"/>
                <a:gd name="T90" fmla="*/ 1430 w 12062"/>
                <a:gd name="T91" fmla="*/ 6526 h 16058"/>
                <a:gd name="T92" fmla="*/ 789 w 12062"/>
                <a:gd name="T93" fmla="*/ 6705 h 16058"/>
                <a:gd name="T94" fmla="*/ 300 w 12062"/>
                <a:gd name="T95" fmla="*/ 7129 h 16058"/>
                <a:gd name="T96" fmla="*/ 30 w 12062"/>
                <a:gd name="T97" fmla="*/ 7726 h 16058"/>
                <a:gd name="T98" fmla="*/ 6 w 12062"/>
                <a:gd name="T99" fmla="*/ 11775 h 16058"/>
                <a:gd name="T100" fmla="*/ 546 w 12062"/>
                <a:gd name="T101" fmla="*/ 13694 h 16058"/>
                <a:gd name="T102" fmla="*/ 1817 w 12062"/>
                <a:gd name="T103" fmla="*/ 15161 h 16058"/>
                <a:gd name="T104" fmla="*/ 3612 w 12062"/>
                <a:gd name="T105" fmla="*/ 15967 h 16058"/>
                <a:gd name="T106" fmla="*/ 8450 w 12062"/>
                <a:gd name="T107" fmla="*/ 15967 h 16058"/>
                <a:gd name="T108" fmla="*/ 10245 w 12062"/>
                <a:gd name="T109" fmla="*/ 15161 h 16058"/>
                <a:gd name="T110" fmla="*/ 11516 w 12062"/>
                <a:gd name="T111" fmla="*/ 13694 h 16058"/>
                <a:gd name="T112" fmla="*/ 12056 w 12062"/>
                <a:gd name="T113" fmla="*/ 11775 h 16058"/>
                <a:gd name="T114" fmla="*/ 12032 w 12062"/>
                <a:gd name="T115" fmla="*/ 7726 h 16058"/>
                <a:gd name="T116" fmla="*/ 11762 w 12062"/>
                <a:gd name="T117" fmla="*/ 7129 h 16058"/>
                <a:gd name="T118" fmla="*/ 11273 w 12062"/>
                <a:gd name="T119" fmla="*/ 6705 h 16058"/>
                <a:gd name="T120" fmla="*/ 10632 w 12062"/>
                <a:gd name="T121" fmla="*/ 6526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062" h="16058">
                  <a:moveTo>
                    <a:pt x="11057" y="9534"/>
                  </a:moveTo>
                  <a:lnTo>
                    <a:pt x="11057" y="10036"/>
                  </a:lnTo>
                  <a:lnTo>
                    <a:pt x="11057" y="11040"/>
                  </a:lnTo>
                  <a:lnTo>
                    <a:pt x="11057" y="11542"/>
                  </a:lnTo>
                  <a:lnTo>
                    <a:pt x="11052" y="11722"/>
                  </a:lnTo>
                  <a:lnTo>
                    <a:pt x="11039" y="11900"/>
                  </a:lnTo>
                  <a:lnTo>
                    <a:pt x="11017" y="12076"/>
                  </a:lnTo>
                  <a:lnTo>
                    <a:pt x="10985" y="12248"/>
                  </a:lnTo>
                  <a:lnTo>
                    <a:pt x="10946" y="12419"/>
                  </a:lnTo>
                  <a:lnTo>
                    <a:pt x="10898" y="12585"/>
                  </a:lnTo>
                  <a:lnTo>
                    <a:pt x="10843" y="12748"/>
                  </a:lnTo>
                  <a:lnTo>
                    <a:pt x="10780" y="12908"/>
                  </a:lnTo>
                  <a:lnTo>
                    <a:pt x="10709" y="13063"/>
                  </a:lnTo>
                  <a:lnTo>
                    <a:pt x="10632" y="13215"/>
                  </a:lnTo>
                  <a:lnTo>
                    <a:pt x="10547" y="13361"/>
                  </a:lnTo>
                  <a:lnTo>
                    <a:pt x="10455" y="13504"/>
                  </a:lnTo>
                  <a:lnTo>
                    <a:pt x="10357" y="13642"/>
                  </a:lnTo>
                  <a:lnTo>
                    <a:pt x="10253" y="13775"/>
                  </a:lnTo>
                  <a:lnTo>
                    <a:pt x="10142" y="13902"/>
                  </a:lnTo>
                  <a:lnTo>
                    <a:pt x="10026" y="14025"/>
                  </a:lnTo>
                  <a:lnTo>
                    <a:pt x="9903" y="14141"/>
                  </a:lnTo>
                  <a:lnTo>
                    <a:pt x="9775" y="14251"/>
                  </a:lnTo>
                  <a:lnTo>
                    <a:pt x="9643" y="14356"/>
                  </a:lnTo>
                  <a:lnTo>
                    <a:pt x="9504" y="14453"/>
                  </a:lnTo>
                  <a:lnTo>
                    <a:pt x="9361" y="14546"/>
                  </a:lnTo>
                  <a:lnTo>
                    <a:pt x="9214" y="14630"/>
                  </a:lnTo>
                  <a:lnTo>
                    <a:pt x="9063" y="14707"/>
                  </a:lnTo>
                  <a:lnTo>
                    <a:pt x="8907" y="14778"/>
                  </a:lnTo>
                  <a:lnTo>
                    <a:pt x="8747" y="14841"/>
                  </a:lnTo>
                  <a:lnTo>
                    <a:pt x="8583" y="14896"/>
                  </a:lnTo>
                  <a:lnTo>
                    <a:pt x="8416" y="14944"/>
                  </a:lnTo>
                  <a:lnTo>
                    <a:pt x="8246" y="14983"/>
                  </a:lnTo>
                  <a:lnTo>
                    <a:pt x="8073" y="15014"/>
                  </a:lnTo>
                  <a:lnTo>
                    <a:pt x="7898" y="15036"/>
                  </a:lnTo>
                  <a:lnTo>
                    <a:pt x="7720" y="15049"/>
                  </a:lnTo>
                  <a:lnTo>
                    <a:pt x="7539" y="15054"/>
                  </a:lnTo>
                  <a:lnTo>
                    <a:pt x="4523" y="15054"/>
                  </a:lnTo>
                  <a:lnTo>
                    <a:pt x="4342" y="15049"/>
                  </a:lnTo>
                  <a:lnTo>
                    <a:pt x="4164" y="15036"/>
                  </a:lnTo>
                  <a:lnTo>
                    <a:pt x="3989" y="15014"/>
                  </a:lnTo>
                  <a:lnTo>
                    <a:pt x="3816" y="14983"/>
                  </a:lnTo>
                  <a:lnTo>
                    <a:pt x="3645" y="14944"/>
                  </a:lnTo>
                  <a:lnTo>
                    <a:pt x="3478" y="14896"/>
                  </a:lnTo>
                  <a:lnTo>
                    <a:pt x="3315" y="14841"/>
                  </a:lnTo>
                  <a:lnTo>
                    <a:pt x="3155" y="14778"/>
                  </a:lnTo>
                  <a:lnTo>
                    <a:pt x="2999" y="14707"/>
                  </a:lnTo>
                  <a:lnTo>
                    <a:pt x="2848" y="14630"/>
                  </a:lnTo>
                  <a:lnTo>
                    <a:pt x="2701" y="14546"/>
                  </a:lnTo>
                  <a:lnTo>
                    <a:pt x="2558" y="14453"/>
                  </a:lnTo>
                  <a:lnTo>
                    <a:pt x="2419" y="14356"/>
                  </a:lnTo>
                  <a:lnTo>
                    <a:pt x="2287" y="14251"/>
                  </a:lnTo>
                  <a:lnTo>
                    <a:pt x="2159" y="14141"/>
                  </a:lnTo>
                  <a:lnTo>
                    <a:pt x="2036" y="14025"/>
                  </a:lnTo>
                  <a:lnTo>
                    <a:pt x="1920" y="13902"/>
                  </a:lnTo>
                  <a:lnTo>
                    <a:pt x="1809" y="13775"/>
                  </a:lnTo>
                  <a:lnTo>
                    <a:pt x="1705" y="13642"/>
                  </a:lnTo>
                  <a:lnTo>
                    <a:pt x="1607" y="13504"/>
                  </a:lnTo>
                  <a:lnTo>
                    <a:pt x="1515" y="13361"/>
                  </a:lnTo>
                  <a:lnTo>
                    <a:pt x="1430" y="13215"/>
                  </a:lnTo>
                  <a:lnTo>
                    <a:pt x="1353" y="13063"/>
                  </a:lnTo>
                  <a:lnTo>
                    <a:pt x="1282" y="12908"/>
                  </a:lnTo>
                  <a:lnTo>
                    <a:pt x="1219" y="12748"/>
                  </a:lnTo>
                  <a:lnTo>
                    <a:pt x="1164" y="12585"/>
                  </a:lnTo>
                  <a:lnTo>
                    <a:pt x="1116" y="12419"/>
                  </a:lnTo>
                  <a:lnTo>
                    <a:pt x="1077" y="12248"/>
                  </a:lnTo>
                  <a:lnTo>
                    <a:pt x="1045" y="12076"/>
                  </a:lnTo>
                  <a:lnTo>
                    <a:pt x="1023" y="11900"/>
                  </a:lnTo>
                  <a:lnTo>
                    <a:pt x="1010" y="11722"/>
                  </a:lnTo>
                  <a:lnTo>
                    <a:pt x="1005" y="11542"/>
                  </a:lnTo>
                  <a:lnTo>
                    <a:pt x="1005" y="11040"/>
                  </a:lnTo>
                  <a:lnTo>
                    <a:pt x="1005" y="10036"/>
                  </a:lnTo>
                  <a:lnTo>
                    <a:pt x="1005" y="9534"/>
                  </a:lnTo>
                  <a:lnTo>
                    <a:pt x="1005" y="8029"/>
                  </a:lnTo>
                  <a:lnTo>
                    <a:pt x="1006" y="8003"/>
                  </a:lnTo>
                  <a:lnTo>
                    <a:pt x="1008" y="7978"/>
                  </a:lnTo>
                  <a:lnTo>
                    <a:pt x="1011" y="7953"/>
                  </a:lnTo>
                  <a:lnTo>
                    <a:pt x="1015" y="7928"/>
                  </a:lnTo>
                  <a:lnTo>
                    <a:pt x="1021" y="7904"/>
                  </a:lnTo>
                  <a:lnTo>
                    <a:pt x="1027" y="7879"/>
                  </a:lnTo>
                  <a:lnTo>
                    <a:pt x="1035" y="7856"/>
                  </a:lnTo>
                  <a:lnTo>
                    <a:pt x="1044" y="7834"/>
                  </a:lnTo>
                  <a:lnTo>
                    <a:pt x="1054" y="7811"/>
                  </a:lnTo>
                  <a:lnTo>
                    <a:pt x="1065" y="7790"/>
                  </a:lnTo>
                  <a:lnTo>
                    <a:pt x="1078" y="7769"/>
                  </a:lnTo>
                  <a:lnTo>
                    <a:pt x="1091" y="7749"/>
                  </a:lnTo>
                  <a:lnTo>
                    <a:pt x="1105" y="7729"/>
                  </a:lnTo>
                  <a:lnTo>
                    <a:pt x="1120" y="7710"/>
                  </a:lnTo>
                  <a:lnTo>
                    <a:pt x="1136" y="7692"/>
                  </a:lnTo>
                  <a:lnTo>
                    <a:pt x="1152" y="7675"/>
                  </a:lnTo>
                  <a:lnTo>
                    <a:pt x="1170" y="7658"/>
                  </a:lnTo>
                  <a:lnTo>
                    <a:pt x="1188" y="7642"/>
                  </a:lnTo>
                  <a:lnTo>
                    <a:pt x="1207" y="7627"/>
                  </a:lnTo>
                  <a:lnTo>
                    <a:pt x="1226" y="7612"/>
                  </a:lnTo>
                  <a:lnTo>
                    <a:pt x="1247" y="7599"/>
                  </a:lnTo>
                  <a:lnTo>
                    <a:pt x="1269" y="7587"/>
                  </a:lnTo>
                  <a:lnTo>
                    <a:pt x="1290" y="7576"/>
                  </a:lnTo>
                  <a:lnTo>
                    <a:pt x="1312" y="7566"/>
                  </a:lnTo>
                  <a:lnTo>
                    <a:pt x="1335" y="7557"/>
                  </a:lnTo>
                  <a:lnTo>
                    <a:pt x="1358" y="7550"/>
                  </a:lnTo>
                  <a:lnTo>
                    <a:pt x="1382" y="7543"/>
                  </a:lnTo>
                  <a:lnTo>
                    <a:pt x="1406" y="7537"/>
                  </a:lnTo>
                  <a:lnTo>
                    <a:pt x="1431" y="7533"/>
                  </a:lnTo>
                  <a:lnTo>
                    <a:pt x="1456" y="7530"/>
                  </a:lnTo>
                  <a:lnTo>
                    <a:pt x="1482" y="7528"/>
                  </a:lnTo>
                  <a:lnTo>
                    <a:pt x="1508" y="7527"/>
                  </a:lnTo>
                  <a:lnTo>
                    <a:pt x="2513" y="7527"/>
                  </a:lnTo>
                  <a:lnTo>
                    <a:pt x="9549" y="7527"/>
                  </a:lnTo>
                  <a:lnTo>
                    <a:pt x="10554" y="7527"/>
                  </a:lnTo>
                  <a:lnTo>
                    <a:pt x="10580" y="7528"/>
                  </a:lnTo>
                  <a:lnTo>
                    <a:pt x="10606" y="7530"/>
                  </a:lnTo>
                  <a:lnTo>
                    <a:pt x="10631" y="7533"/>
                  </a:lnTo>
                  <a:lnTo>
                    <a:pt x="10656" y="7537"/>
                  </a:lnTo>
                  <a:lnTo>
                    <a:pt x="10680" y="7543"/>
                  </a:lnTo>
                  <a:lnTo>
                    <a:pt x="10704" y="7550"/>
                  </a:lnTo>
                  <a:lnTo>
                    <a:pt x="10727" y="7557"/>
                  </a:lnTo>
                  <a:lnTo>
                    <a:pt x="10750" y="7566"/>
                  </a:lnTo>
                  <a:lnTo>
                    <a:pt x="10772" y="7576"/>
                  </a:lnTo>
                  <a:lnTo>
                    <a:pt x="10793" y="7587"/>
                  </a:lnTo>
                  <a:lnTo>
                    <a:pt x="10815" y="7599"/>
                  </a:lnTo>
                  <a:lnTo>
                    <a:pt x="10836" y="7612"/>
                  </a:lnTo>
                  <a:lnTo>
                    <a:pt x="10855" y="7627"/>
                  </a:lnTo>
                  <a:lnTo>
                    <a:pt x="10874" y="7642"/>
                  </a:lnTo>
                  <a:lnTo>
                    <a:pt x="10892" y="7658"/>
                  </a:lnTo>
                  <a:lnTo>
                    <a:pt x="10909" y="7675"/>
                  </a:lnTo>
                  <a:lnTo>
                    <a:pt x="10926" y="7692"/>
                  </a:lnTo>
                  <a:lnTo>
                    <a:pt x="10942" y="7710"/>
                  </a:lnTo>
                  <a:lnTo>
                    <a:pt x="10957" y="7729"/>
                  </a:lnTo>
                  <a:lnTo>
                    <a:pt x="10971" y="7749"/>
                  </a:lnTo>
                  <a:lnTo>
                    <a:pt x="10984" y="7769"/>
                  </a:lnTo>
                  <a:lnTo>
                    <a:pt x="10997" y="7790"/>
                  </a:lnTo>
                  <a:lnTo>
                    <a:pt x="11008" y="7811"/>
                  </a:lnTo>
                  <a:lnTo>
                    <a:pt x="11018" y="7834"/>
                  </a:lnTo>
                  <a:lnTo>
                    <a:pt x="11027" y="7856"/>
                  </a:lnTo>
                  <a:lnTo>
                    <a:pt x="11035" y="7879"/>
                  </a:lnTo>
                  <a:lnTo>
                    <a:pt x="11041" y="7904"/>
                  </a:lnTo>
                  <a:lnTo>
                    <a:pt x="11047" y="7928"/>
                  </a:lnTo>
                  <a:lnTo>
                    <a:pt x="11051" y="7953"/>
                  </a:lnTo>
                  <a:lnTo>
                    <a:pt x="11054" y="7978"/>
                  </a:lnTo>
                  <a:lnTo>
                    <a:pt x="11056" y="8003"/>
                  </a:lnTo>
                  <a:lnTo>
                    <a:pt x="11057" y="8029"/>
                  </a:lnTo>
                  <a:lnTo>
                    <a:pt x="11057" y="9534"/>
                  </a:lnTo>
                  <a:close/>
                  <a:moveTo>
                    <a:pt x="8041" y="4516"/>
                  </a:moveTo>
                  <a:lnTo>
                    <a:pt x="8041" y="4518"/>
                  </a:lnTo>
                  <a:lnTo>
                    <a:pt x="8041" y="6524"/>
                  </a:lnTo>
                  <a:lnTo>
                    <a:pt x="4021" y="6524"/>
                  </a:lnTo>
                  <a:lnTo>
                    <a:pt x="4021" y="4518"/>
                  </a:lnTo>
                  <a:lnTo>
                    <a:pt x="4021" y="4516"/>
                  </a:lnTo>
                  <a:lnTo>
                    <a:pt x="4024" y="4413"/>
                  </a:lnTo>
                  <a:lnTo>
                    <a:pt x="4031" y="4312"/>
                  </a:lnTo>
                  <a:lnTo>
                    <a:pt x="4044" y="4210"/>
                  </a:lnTo>
                  <a:lnTo>
                    <a:pt x="4062" y="4112"/>
                  </a:lnTo>
                  <a:lnTo>
                    <a:pt x="4084" y="4015"/>
                  </a:lnTo>
                  <a:lnTo>
                    <a:pt x="4111" y="3919"/>
                  </a:lnTo>
                  <a:lnTo>
                    <a:pt x="4142" y="3826"/>
                  </a:lnTo>
                  <a:lnTo>
                    <a:pt x="4178" y="3735"/>
                  </a:lnTo>
                  <a:lnTo>
                    <a:pt x="4219" y="3646"/>
                  </a:lnTo>
                  <a:lnTo>
                    <a:pt x="4263" y="3560"/>
                  </a:lnTo>
                  <a:lnTo>
                    <a:pt x="4312" y="3476"/>
                  </a:lnTo>
                  <a:lnTo>
                    <a:pt x="4364" y="3394"/>
                  </a:lnTo>
                  <a:lnTo>
                    <a:pt x="4420" y="3315"/>
                  </a:lnTo>
                  <a:lnTo>
                    <a:pt x="4480" y="3240"/>
                  </a:lnTo>
                  <a:lnTo>
                    <a:pt x="4543" y="3166"/>
                  </a:lnTo>
                  <a:lnTo>
                    <a:pt x="4610" y="3097"/>
                  </a:lnTo>
                  <a:lnTo>
                    <a:pt x="4679" y="3031"/>
                  </a:lnTo>
                  <a:lnTo>
                    <a:pt x="4752" y="2968"/>
                  </a:lnTo>
                  <a:lnTo>
                    <a:pt x="4828" y="2908"/>
                  </a:lnTo>
                  <a:lnTo>
                    <a:pt x="4907" y="2852"/>
                  </a:lnTo>
                  <a:lnTo>
                    <a:pt x="4989" y="2800"/>
                  </a:lnTo>
                  <a:lnTo>
                    <a:pt x="5073" y="2751"/>
                  </a:lnTo>
                  <a:lnTo>
                    <a:pt x="5160" y="2707"/>
                  </a:lnTo>
                  <a:lnTo>
                    <a:pt x="5248" y="2667"/>
                  </a:lnTo>
                  <a:lnTo>
                    <a:pt x="5339" y="2631"/>
                  </a:lnTo>
                  <a:lnTo>
                    <a:pt x="5433" y="2599"/>
                  </a:lnTo>
                  <a:lnTo>
                    <a:pt x="5528" y="2572"/>
                  </a:lnTo>
                  <a:lnTo>
                    <a:pt x="5626" y="2550"/>
                  </a:lnTo>
                  <a:lnTo>
                    <a:pt x="5724" y="2532"/>
                  </a:lnTo>
                  <a:lnTo>
                    <a:pt x="5825" y="2519"/>
                  </a:lnTo>
                  <a:lnTo>
                    <a:pt x="5927" y="2512"/>
                  </a:lnTo>
                  <a:lnTo>
                    <a:pt x="6031" y="2509"/>
                  </a:lnTo>
                  <a:lnTo>
                    <a:pt x="6135" y="2512"/>
                  </a:lnTo>
                  <a:lnTo>
                    <a:pt x="6236" y="2519"/>
                  </a:lnTo>
                  <a:lnTo>
                    <a:pt x="6338" y="2532"/>
                  </a:lnTo>
                  <a:lnTo>
                    <a:pt x="6436" y="2550"/>
                  </a:lnTo>
                  <a:lnTo>
                    <a:pt x="6534" y="2572"/>
                  </a:lnTo>
                  <a:lnTo>
                    <a:pt x="6629" y="2599"/>
                  </a:lnTo>
                  <a:lnTo>
                    <a:pt x="6723" y="2631"/>
                  </a:lnTo>
                  <a:lnTo>
                    <a:pt x="6813" y="2667"/>
                  </a:lnTo>
                  <a:lnTo>
                    <a:pt x="6902" y="2707"/>
                  </a:lnTo>
                  <a:lnTo>
                    <a:pt x="6989" y="2751"/>
                  </a:lnTo>
                  <a:lnTo>
                    <a:pt x="7073" y="2800"/>
                  </a:lnTo>
                  <a:lnTo>
                    <a:pt x="7155" y="2852"/>
                  </a:lnTo>
                  <a:lnTo>
                    <a:pt x="7234" y="2908"/>
                  </a:lnTo>
                  <a:lnTo>
                    <a:pt x="7310" y="2968"/>
                  </a:lnTo>
                  <a:lnTo>
                    <a:pt x="7383" y="3031"/>
                  </a:lnTo>
                  <a:lnTo>
                    <a:pt x="7452" y="3097"/>
                  </a:lnTo>
                  <a:lnTo>
                    <a:pt x="7519" y="3166"/>
                  </a:lnTo>
                  <a:lnTo>
                    <a:pt x="7582" y="3240"/>
                  </a:lnTo>
                  <a:lnTo>
                    <a:pt x="7642" y="3315"/>
                  </a:lnTo>
                  <a:lnTo>
                    <a:pt x="7698" y="3394"/>
                  </a:lnTo>
                  <a:lnTo>
                    <a:pt x="7750" y="3476"/>
                  </a:lnTo>
                  <a:lnTo>
                    <a:pt x="7799" y="3560"/>
                  </a:lnTo>
                  <a:lnTo>
                    <a:pt x="7843" y="3646"/>
                  </a:lnTo>
                  <a:lnTo>
                    <a:pt x="7884" y="3735"/>
                  </a:lnTo>
                  <a:lnTo>
                    <a:pt x="7920" y="3826"/>
                  </a:lnTo>
                  <a:lnTo>
                    <a:pt x="7951" y="3919"/>
                  </a:lnTo>
                  <a:lnTo>
                    <a:pt x="7978" y="4015"/>
                  </a:lnTo>
                  <a:lnTo>
                    <a:pt x="8000" y="4112"/>
                  </a:lnTo>
                  <a:lnTo>
                    <a:pt x="8018" y="4210"/>
                  </a:lnTo>
                  <a:lnTo>
                    <a:pt x="8031" y="4312"/>
                  </a:lnTo>
                  <a:lnTo>
                    <a:pt x="8038" y="4413"/>
                  </a:lnTo>
                  <a:lnTo>
                    <a:pt x="8041" y="4516"/>
                  </a:lnTo>
                  <a:close/>
                  <a:moveTo>
                    <a:pt x="2513" y="4516"/>
                  </a:moveTo>
                  <a:lnTo>
                    <a:pt x="2517" y="4336"/>
                  </a:lnTo>
                  <a:lnTo>
                    <a:pt x="2531" y="4157"/>
                  </a:lnTo>
                  <a:lnTo>
                    <a:pt x="2553" y="3981"/>
                  </a:lnTo>
                  <a:lnTo>
                    <a:pt x="2584" y="3809"/>
                  </a:lnTo>
                  <a:lnTo>
                    <a:pt x="2623" y="3638"/>
                  </a:lnTo>
                  <a:lnTo>
                    <a:pt x="2671" y="3472"/>
                  </a:lnTo>
                  <a:lnTo>
                    <a:pt x="2726" y="3309"/>
                  </a:lnTo>
                  <a:lnTo>
                    <a:pt x="2789" y="3149"/>
                  </a:lnTo>
                  <a:lnTo>
                    <a:pt x="2860" y="2994"/>
                  </a:lnTo>
                  <a:lnTo>
                    <a:pt x="2937" y="2842"/>
                  </a:lnTo>
                  <a:lnTo>
                    <a:pt x="3023" y="2695"/>
                  </a:lnTo>
                  <a:lnTo>
                    <a:pt x="3114" y="2552"/>
                  </a:lnTo>
                  <a:lnTo>
                    <a:pt x="3212" y="2415"/>
                  </a:lnTo>
                  <a:lnTo>
                    <a:pt x="3316" y="2282"/>
                  </a:lnTo>
                  <a:lnTo>
                    <a:pt x="3427" y="2155"/>
                  </a:lnTo>
                  <a:lnTo>
                    <a:pt x="3543" y="2032"/>
                  </a:lnTo>
                  <a:lnTo>
                    <a:pt x="3666" y="1916"/>
                  </a:lnTo>
                  <a:lnTo>
                    <a:pt x="3793" y="1806"/>
                  </a:lnTo>
                  <a:lnTo>
                    <a:pt x="3926" y="1701"/>
                  </a:lnTo>
                  <a:lnTo>
                    <a:pt x="4064" y="1604"/>
                  </a:lnTo>
                  <a:lnTo>
                    <a:pt x="4207" y="1512"/>
                  </a:lnTo>
                  <a:lnTo>
                    <a:pt x="4354" y="1427"/>
                  </a:lnTo>
                  <a:lnTo>
                    <a:pt x="4505" y="1350"/>
                  </a:lnTo>
                  <a:lnTo>
                    <a:pt x="4662" y="1280"/>
                  </a:lnTo>
                  <a:lnTo>
                    <a:pt x="4821" y="1216"/>
                  </a:lnTo>
                  <a:lnTo>
                    <a:pt x="4985" y="1161"/>
                  </a:lnTo>
                  <a:lnTo>
                    <a:pt x="5151" y="1114"/>
                  </a:lnTo>
                  <a:lnTo>
                    <a:pt x="5322" y="1075"/>
                  </a:lnTo>
                  <a:lnTo>
                    <a:pt x="5495" y="1044"/>
                  </a:lnTo>
                  <a:lnTo>
                    <a:pt x="5671" y="1022"/>
                  </a:lnTo>
                  <a:lnTo>
                    <a:pt x="5850" y="1009"/>
                  </a:lnTo>
                  <a:lnTo>
                    <a:pt x="6031" y="1004"/>
                  </a:lnTo>
                  <a:lnTo>
                    <a:pt x="6212" y="1009"/>
                  </a:lnTo>
                  <a:lnTo>
                    <a:pt x="6391" y="1022"/>
                  </a:lnTo>
                  <a:lnTo>
                    <a:pt x="6567" y="1044"/>
                  </a:lnTo>
                  <a:lnTo>
                    <a:pt x="6740" y="1075"/>
                  </a:lnTo>
                  <a:lnTo>
                    <a:pt x="6911" y="1114"/>
                  </a:lnTo>
                  <a:lnTo>
                    <a:pt x="7077" y="1161"/>
                  </a:lnTo>
                  <a:lnTo>
                    <a:pt x="7240" y="1216"/>
                  </a:lnTo>
                  <a:lnTo>
                    <a:pt x="7400" y="1280"/>
                  </a:lnTo>
                  <a:lnTo>
                    <a:pt x="7556" y="1350"/>
                  </a:lnTo>
                  <a:lnTo>
                    <a:pt x="7708" y="1427"/>
                  </a:lnTo>
                  <a:lnTo>
                    <a:pt x="7855" y="1512"/>
                  </a:lnTo>
                  <a:lnTo>
                    <a:pt x="7998" y="1604"/>
                  </a:lnTo>
                  <a:lnTo>
                    <a:pt x="8136" y="1701"/>
                  </a:lnTo>
                  <a:lnTo>
                    <a:pt x="8269" y="1806"/>
                  </a:lnTo>
                  <a:lnTo>
                    <a:pt x="8396" y="1916"/>
                  </a:lnTo>
                  <a:lnTo>
                    <a:pt x="8519" y="2032"/>
                  </a:lnTo>
                  <a:lnTo>
                    <a:pt x="8635" y="2155"/>
                  </a:lnTo>
                  <a:lnTo>
                    <a:pt x="8746" y="2282"/>
                  </a:lnTo>
                  <a:lnTo>
                    <a:pt x="8850" y="2415"/>
                  </a:lnTo>
                  <a:lnTo>
                    <a:pt x="8948" y="2552"/>
                  </a:lnTo>
                  <a:lnTo>
                    <a:pt x="9039" y="2695"/>
                  </a:lnTo>
                  <a:lnTo>
                    <a:pt x="9125" y="2842"/>
                  </a:lnTo>
                  <a:lnTo>
                    <a:pt x="9202" y="2994"/>
                  </a:lnTo>
                  <a:lnTo>
                    <a:pt x="9273" y="3149"/>
                  </a:lnTo>
                  <a:lnTo>
                    <a:pt x="9336" y="3309"/>
                  </a:lnTo>
                  <a:lnTo>
                    <a:pt x="9391" y="3472"/>
                  </a:lnTo>
                  <a:lnTo>
                    <a:pt x="9439" y="3638"/>
                  </a:lnTo>
                  <a:lnTo>
                    <a:pt x="9478" y="3809"/>
                  </a:lnTo>
                  <a:lnTo>
                    <a:pt x="9509" y="3981"/>
                  </a:lnTo>
                  <a:lnTo>
                    <a:pt x="9531" y="4157"/>
                  </a:lnTo>
                  <a:lnTo>
                    <a:pt x="9544" y="4336"/>
                  </a:lnTo>
                  <a:lnTo>
                    <a:pt x="9549" y="4516"/>
                  </a:lnTo>
                  <a:lnTo>
                    <a:pt x="9549" y="6524"/>
                  </a:lnTo>
                  <a:lnTo>
                    <a:pt x="8544" y="6524"/>
                  </a:lnTo>
                  <a:lnTo>
                    <a:pt x="8544" y="4518"/>
                  </a:lnTo>
                  <a:lnTo>
                    <a:pt x="8541" y="4389"/>
                  </a:lnTo>
                  <a:lnTo>
                    <a:pt x="8531" y="4261"/>
                  </a:lnTo>
                  <a:lnTo>
                    <a:pt x="8515" y="4136"/>
                  </a:lnTo>
                  <a:lnTo>
                    <a:pt x="8493" y="4012"/>
                  </a:lnTo>
                  <a:lnTo>
                    <a:pt x="8465" y="3891"/>
                  </a:lnTo>
                  <a:lnTo>
                    <a:pt x="8431" y="3772"/>
                  </a:lnTo>
                  <a:lnTo>
                    <a:pt x="8391" y="3655"/>
                  </a:lnTo>
                  <a:lnTo>
                    <a:pt x="8347" y="3541"/>
                  </a:lnTo>
                  <a:lnTo>
                    <a:pt x="8297" y="3430"/>
                  </a:lnTo>
                  <a:lnTo>
                    <a:pt x="8240" y="3322"/>
                  </a:lnTo>
                  <a:lnTo>
                    <a:pt x="8180" y="3217"/>
                  </a:lnTo>
                  <a:lnTo>
                    <a:pt x="8115" y="3115"/>
                  </a:lnTo>
                  <a:lnTo>
                    <a:pt x="8044" y="3017"/>
                  </a:lnTo>
                  <a:lnTo>
                    <a:pt x="7970" y="2922"/>
                  </a:lnTo>
                  <a:lnTo>
                    <a:pt x="7892" y="2830"/>
                  </a:lnTo>
                  <a:lnTo>
                    <a:pt x="7808" y="2744"/>
                  </a:lnTo>
                  <a:lnTo>
                    <a:pt x="7721" y="2661"/>
                  </a:lnTo>
                  <a:lnTo>
                    <a:pt x="7629" y="2581"/>
                  </a:lnTo>
                  <a:lnTo>
                    <a:pt x="7535" y="2507"/>
                  </a:lnTo>
                  <a:lnTo>
                    <a:pt x="7436" y="2437"/>
                  </a:lnTo>
                  <a:lnTo>
                    <a:pt x="7334" y="2372"/>
                  </a:lnTo>
                  <a:lnTo>
                    <a:pt x="7229" y="2311"/>
                  </a:lnTo>
                  <a:lnTo>
                    <a:pt x="7121" y="2256"/>
                  </a:lnTo>
                  <a:lnTo>
                    <a:pt x="7009" y="2206"/>
                  </a:lnTo>
                  <a:lnTo>
                    <a:pt x="6895" y="2161"/>
                  </a:lnTo>
                  <a:lnTo>
                    <a:pt x="6779" y="2122"/>
                  </a:lnTo>
                  <a:lnTo>
                    <a:pt x="6659" y="2088"/>
                  </a:lnTo>
                  <a:lnTo>
                    <a:pt x="6538" y="2059"/>
                  </a:lnTo>
                  <a:lnTo>
                    <a:pt x="6414" y="2037"/>
                  </a:lnTo>
                  <a:lnTo>
                    <a:pt x="6288" y="2021"/>
                  </a:lnTo>
                  <a:lnTo>
                    <a:pt x="6161" y="2012"/>
                  </a:lnTo>
                  <a:lnTo>
                    <a:pt x="6031" y="2009"/>
                  </a:lnTo>
                  <a:lnTo>
                    <a:pt x="5901" y="2012"/>
                  </a:lnTo>
                  <a:lnTo>
                    <a:pt x="5774" y="2021"/>
                  </a:lnTo>
                  <a:lnTo>
                    <a:pt x="5648" y="2037"/>
                  </a:lnTo>
                  <a:lnTo>
                    <a:pt x="5524" y="2059"/>
                  </a:lnTo>
                  <a:lnTo>
                    <a:pt x="5403" y="2088"/>
                  </a:lnTo>
                  <a:lnTo>
                    <a:pt x="5283" y="2122"/>
                  </a:lnTo>
                  <a:lnTo>
                    <a:pt x="5167" y="2161"/>
                  </a:lnTo>
                  <a:lnTo>
                    <a:pt x="5053" y="2206"/>
                  </a:lnTo>
                  <a:lnTo>
                    <a:pt x="4941" y="2256"/>
                  </a:lnTo>
                  <a:lnTo>
                    <a:pt x="4833" y="2311"/>
                  </a:lnTo>
                  <a:lnTo>
                    <a:pt x="4727" y="2372"/>
                  </a:lnTo>
                  <a:lnTo>
                    <a:pt x="4626" y="2437"/>
                  </a:lnTo>
                  <a:lnTo>
                    <a:pt x="4527" y="2507"/>
                  </a:lnTo>
                  <a:lnTo>
                    <a:pt x="4433" y="2581"/>
                  </a:lnTo>
                  <a:lnTo>
                    <a:pt x="4341" y="2661"/>
                  </a:lnTo>
                  <a:lnTo>
                    <a:pt x="4254" y="2744"/>
                  </a:lnTo>
                  <a:lnTo>
                    <a:pt x="4170" y="2830"/>
                  </a:lnTo>
                  <a:lnTo>
                    <a:pt x="4092" y="2922"/>
                  </a:lnTo>
                  <a:lnTo>
                    <a:pt x="4017" y="3017"/>
                  </a:lnTo>
                  <a:lnTo>
                    <a:pt x="3947" y="3115"/>
                  </a:lnTo>
                  <a:lnTo>
                    <a:pt x="3882" y="3217"/>
                  </a:lnTo>
                  <a:lnTo>
                    <a:pt x="3822" y="3322"/>
                  </a:lnTo>
                  <a:lnTo>
                    <a:pt x="3765" y="3430"/>
                  </a:lnTo>
                  <a:lnTo>
                    <a:pt x="3715" y="3541"/>
                  </a:lnTo>
                  <a:lnTo>
                    <a:pt x="3671" y="3655"/>
                  </a:lnTo>
                  <a:lnTo>
                    <a:pt x="3631" y="3772"/>
                  </a:lnTo>
                  <a:lnTo>
                    <a:pt x="3597" y="3891"/>
                  </a:lnTo>
                  <a:lnTo>
                    <a:pt x="3569" y="4012"/>
                  </a:lnTo>
                  <a:lnTo>
                    <a:pt x="3547" y="4136"/>
                  </a:lnTo>
                  <a:lnTo>
                    <a:pt x="3531" y="4261"/>
                  </a:lnTo>
                  <a:lnTo>
                    <a:pt x="3521" y="4389"/>
                  </a:lnTo>
                  <a:lnTo>
                    <a:pt x="3518" y="4518"/>
                  </a:lnTo>
                  <a:lnTo>
                    <a:pt x="3518" y="6524"/>
                  </a:lnTo>
                  <a:lnTo>
                    <a:pt x="2513" y="6524"/>
                  </a:lnTo>
                  <a:lnTo>
                    <a:pt x="2513" y="4516"/>
                  </a:lnTo>
                  <a:close/>
                  <a:moveTo>
                    <a:pt x="10554" y="6524"/>
                  </a:moveTo>
                  <a:lnTo>
                    <a:pt x="10554" y="4516"/>
                  </a:lnTo>
                  <a:lnTo>
                    <a:pt x="10548" y="4283"/>
                  </a:lnTo>
                  <a:lnTo>
                    <a:pt x="10531" y="4055"/>
                  </a:lnTo>
                  <a:lnTo>
                    <a:pt x="10502" y="3829"/>
                  </a:lnTo>
                  <a:lnTo>
                    <a:pt x="10463" y="3606"/>
                  </a:lnTo>
                  <a:lnTo>
                    <a:pt x="10412" y="3387"/>
                  </a:lnTo>
                  <a:lnTo>
                    <a:pt x="10351" y="3173"/>
                  </a:lnTo>
                  <a:lnTo>
                    <a:pt x="10280" y="2964"/>
                  </a:lnTo>
                  <a:lnTo>
                    <a:pt x="10198" y="2758"/>
                  </a:lnTo>
                  <a:lnTo>
                    <a:pt x="10108" y="2558"/>
                  </a:lnTo>
                  <a:lnTo>
                    <a:pt x="10008" y="2364"/>
                  </a:lnTo>
                  <a:lnTo>
                    <a:pt x="9900" y="2175"/>
                  </a:lnTo>
                  <a:lnTo>
                    <a:pt x="9782" y="1991"/>
                  </a:lnTo>
                  <a:lnTo>
                    <a:pt x="9656" y="1815"/>
                  </a:lnTo>
                  <a:lnTo>
                    <a:pt x="9521" y="1643"/>
                  </a:lnTo>
                  <a:lnTo>
                    <a:pt x="9379" y="1479"/>
                  </a:lnTo>
                  <a:lnTo>
                    <a:pt x="9229" y="1323"/>
                  </a:lnTo>
                  <a:lnTo>
                    <a:pt x="9073" y="1173"/>
                  </a:lnTo>
                  <a:lnTo>
                    <a:pt x="8908" y="1032"/>
                  </a:lnTo>
                  <a:lnTo>
                    <a:pt x="8737" y="897"/>
                  </a:lnTo>
                  <a:lnTo>
                    <a:pt x="8560" y="771"/>
                  </a:lnTo>
                  <a:lnTo>
                    <a:pt x="8376" y="653"/>
                  </a:lnTo>
                  <a:lnTo>
                    <a:pt x="8187" y="545"/>
                  </a:lnTo>
                  <a:lnTo>
                    <a:pt x="7992" y="446"/>
                  </a:lnTo>
                  <a:lnTo>
                    <a:pt x="7792" y="355"/>
                  </a:lnTo>
                  <a:lnTo>
                    <a:pt x="7586" y="274"/>
                  </a:lnTo>
                  <a:lnTo>
                    <a:pt x="7376" y="203"/>
                  </a:lnTo>
                  <a:lnTo>
                    <a:pt x="7162" y="143"/>
                  </a:lnTo>
                  <a:lnTo>
                    <a:pt x="6943" y="91"/>
                  </a:lnTo>
                  <a:lnTo>
                    <a:pt x="6720" y="52"/>
                  </a:lnTo>
                  <a:lnTo>
                    <a:pt x="6493" y="23"/>
                  </a:lnTo>
                  <a:lnTo>
                    <a:pt x="6264" y="6"/>
                  </a:lnTo>
                  <a:lnTo>
                    <a:pt x="6031" y="0"/>
                  </a:lnTo>
                  <a:lnTo>
                    <a:pt x="5798" y="6"/>
                  </a:lnTo>
                  <a:lnTo>
                    <a:pt x="5569" y="23"/>
                  </a:lnTo>
                  <a:lnTo>
                    <a:pt x="5342" y="52"/>
                  </a:lnTo>
                  <a:lnTo>
                    <a:pt x="5119" y="91"/>
                  </a:lnTo>
                  <a:lnTo>
                    <a:pt x="4900" y="143"/>
                  </a:lnTo>
                  <a:lnTo>
                    <a:pt x="4686" y="203"/>
                  </a:lnTo>
                  <a:lnTo>
                    <a:pt x="4476" y="274"/>
                  </a:lnTo>
                  <a:lnTo>
                    <a:pt x="4270" y="355"/>
                  </a:lnTo>
                  <a:lnTo>
                    <a:pt x="4070" y="446"/>
                  </a:lnTo>
                  <a:lnTo>
                    <a:pt x="3875" y="545"/>
                  </a:lnTo>
                  <a:lnTo>
                    <a:pt x="3685" y="653"/>
                  </a:lnTo>
                  <a:lnTo>
                    <a:pt x="3502" y="771"/>
                  </a:lnTo>
                  <a:lnTo>
                    <a:pt x="3324" y="897"/>
                  </a:lnTo>
                  <a:lnTo>
                    <a:pt x="3153" y="1032"/>
                  </a:lnTo>
                  <a:lnTo>
                    <a:pt x="2989" y="1173"/>
                  </a:lnTo>
                  <a:lnTo>
                    <a:pt x="2833" y="1323"/>
                  </a:lnTo>
                  <a:lnTo>
                    <a:pt x="2683" y="1479"/>
                  </a:lnTo>
                  <a:lnTo>
                    <a:pt x="2540" y="1643"/>
                  </a:lnTo>
                  <a:lnTo>
                    <a:pt x="2406" y="1815"/>
                  </a:lnTo>
                  <a:lnTo>
                    <a:pt x="2280" y="1991"/>
                  </a:lnTo>
                  <a:lnTo>
                    <a:pt x="2162" y="2175"/>
                  </a:lnTo>
                  <a:lnTo>
                    <a:pt x="2054" y="2364"/>
                  </a:lnTo>
                  <a:lnTo>
                    <a:pt x="1954" y="2558"/>
                  </a:lnTo>
                  <a:lnTo>
                    <a:pt x="1864" y="2758"/>
                  </a:lnTo>
                  <a:lnTo>
                    <a:pt x="1782" y="2964"/>
                  </a:lnTo>
                  <a:lnTo>
                    <a:pt x="1711" y="3173"/>
                  </a:lnTo>
                  <a:lnTo>
                    <a:pt x="1650" y="3387"/>
                  </a:lnTo>
                  <a:lnTo>
                    <a:pt x="1599" y="3606"/>
                  </a:lnTo>
                  <a:lnTo>
                    <a:pt x="1560" y="3829"/>
                  </a:lnTo>
                  <a:lnTo>
                    <a:pt x="1531" y="4055"/>
                  </a:lnTo>
                  <a:lnTo>
                    <a:pt x="1514" y="4283"/>
                  </a:lnTo>
                  <a:lnTo>
                    <a:pt x="1508" y="4516"/>
                  </a:lnTo>
                  <a:lnTo>
                    <a:pt x="1508" y="6524"/>
                  </a:lnTo>
                  <a:lnTo>
                    <a:pt x="1430" y="6526"/>
                  </a:lnTo>
                  <a:lnTo>
                    <a:pt x="1354" y="6532"/>
                  </a:lnTo>
                  <a:lnTo>
                    <a:pt x="1278" y="6541"/>
                  </a:lnTo>
                  <a:lnTo>
                    <a:pt x="1204" y="6555"/>
                  </a:lnTo>
                  <a:lnTo>
                    <a:pt x="1131" y="6571"/>
                  </a:lnTo>
                  <a:lnTo>
                    <a:pt x="1059" y="6592"/>
                  </a:lnTo>
                  <a:lnTo>
                    <a:pt x="989" y="6615"/>
                  </a:lnTo>
                  <a:lnTo>
                    <a:pt x="921" y="6642"/>
                  </a:lnTo>
                  <a:lnTo>
                    <a:pt x="854" y="6672"/>
                  </a:lnTo>
                  <a:lnTo>
                    <a:pt x="789" y="6705"/>
                  </a:lnTo>
                  <a:lnTo>
                    <a:pt x="726" y="6741"/>
                  </a:lnTo>
                  <a:lnTo>
                    <a:pt x="664" y="6780"/>
                  </a:lnTo>
                  <a:lnTo>
                    <a:pt x="605" y="6823"/>
                  </a:lnTo>
                  <a:lnTo>
                    <a:pt x="549" y="6868"/>
                  </a:lnTo>
                  <a:lnTo>
                    <a:pt x="494" y="6915"/>
                  </a:lnTo>
                  <a:lnTo>
                    <a:pt x="441" y="6964"/>
                  </a:lnTo>
                  <a:lnTo>
                    <a:pt x="392" y="7016"/>
                  </a:lnTo>
                  <a:lnTo>
                    <a:pt x="344" y="7072"/>
                  </a:lnTo>
                  <a:lnTo>
                    <a:pt x="300" y="7129"/>
                  </a:lnTo>
                  <a:lnTo>
                    <a:pt x="257" y="7187"/>
                  </a:lnTo>
                  <a:lnTo>
                    <a:pt x="218" y="7248"/>
                  </a:lnTo>
                  <a:lnTo>
                    <a:pt x="182" y="7311"/>
                  </a:lnTo>
                  <a:lnTo>
                    <a:pt x="149" y="7377"/>
                  </a:lnTo>
                  <a:lnTo>
                    <a:pt x="119" y="7443"/>
                  </a:lnTo>
                  <a:lnTo>
                    <a:pt x="91" y="7511"/>
                  </a:lnTo>
                  <a:lnTo>
                    <a:pt x="67" y="7581"/>
                  </a:lnTo>
                  <a:lnTo>
                    <a:pt x="47" y="7653"/>
                  </a:lnTo>
                  <a:lnTo>
                    <a:pt x="30" y="7726"/>
                  </a:lnTo>
                  <a:lnTo>
                    <a:pt x="17" y="7800"/>
                  </a:lnTo>
                  <a:lnTo>
                    <a:pt x="8" y="7875"/>
                  </a:lnTo>
                  <a:lnTo>
                    <a:pt x="2" y="7952"/>
                  </a:lnTo>
                  <a:lnTo>
                    <a:pt x="0" y="8029"/>
                  </a:lnTo>
                  <a:lnTo>
                    <a:pt x="0" y="9534"/>
                  </a:lnTo>
                  <a:lnTo>
                    <a:pt x="0" y="10036"/>
                  </a:lnTo>
                  <a:lnTo>
                    <a:pt x="0" y="11040"/>
                  </a:lnTo>
                  <a:lnTo>
                    <a:pt x="0" y="11542"/>
                  </a:lnTo>
                  <a:lnTo>
                    <a:pt x="6" y="11775"/>
                  </a:lnTo>
                  <a:lnTo>
                    <a:pt x="23" y="12003"/>
                  </a:lnTo>
                  <a:lnTo>
                    <a:pt x="52" y="12229"/>
                  </a:lnTo>
                  <a:lnTo>
                    <a:pt x="91" y="12452"/>
                  </a:lnTo>
                  <a:lnTo>
                    <a:pt x="143" y="12671"/>
                  </a:lnTo>
                  <a:lnTo>
                    <a:pt x="203" y="12885"/>
                  </a:lnTo>
                  <a:lnTo>
                    <a:pt x="274" y="13094"/>
                  </a:lnTo>
                  <a:lnTo>
                    <a:pt x="356" y="13300"/>
                  </a:lnTo>
                  <a:lnTo>
                    <a:pt x="446" y="13500"/>
                  </a:lnTo>
                  <a:lnTo>
                    <a:pt x="546" y="13694"/>
                  </a:lnTo>
                  <a:lnTo>
                    <a:pt x="654" y="13884"/>
                  </a:lnTo>
                  <a:lnTo>
                    <a:pt x="772" y="14067"/>
                  </a:lnTo>
                  <a:lnTo>
                    <a:pt x="899" y="14243"/>
                  </a:lnTo>
                  <a:lnTo>
                    <a:pt x="1032" y="14415"/>
                  </a:lnTo>
                  <a:lnTo>
                    <a:pt x="1175" y="14579"/>
                  </a:lnTo>
                  <a:lnTo>
                    <a:pt x="1325" y="14735"/>
                  </a:lnTo>
                  <a:lnTo>
                    <a:pt x="1482" y="14885"/>
                  </a:lnTo>
                  <a:lnTo>
                    <a:pt x="1646" y="15027"/>
                  </a:lnTo>
                  <a:lnTo>
                    <a:pt x="1817" y="15161"/>
                  </a:lnTo>
                  <a:lnTo>
                    <a:pt x="1994" y="15287"/>
                  </a:lnTo>
                  <a:lnTo>
                    <a:pt x="2177" y="15405"/>
                  </a:lnTo>
                  <a:lnTo>
                    <a:pt x="2367" y="15513"/>
                  </a:lnTo>
                  <a:lnTo>
                    <a:pt x="2562" y="15612"/>
                  </a:lnTo>
                  <a:lnTo>
                    <a:pt x="2762" y="15703"/>
                  </a:lnTo>
                  <a:lnTo>
                    <a:pt x="2968" y="15784"/>
                  </a:lnTo>
                  <a:lnTo>
                    <a:pt x="3178" y="15855"/>
                  </a:lnTo>
                  <a:lnTo>
                    <a:pt x="3392" y="15915"/>
                  </a:lnTo>
                  <a:lnTo>
                    <a:pt x="3612" y="15967"/>
                  </a:lnTo>
                  <a:lnTo>
                    <a:pt x="3835" y="16006"/>
                  </a:lnTo>
                  <a:lnTo>
                    <a:pt x="4061" y="16035"/>
                  </a:lnTo>
                  <a:lnTo>
                    <a:pt x="4290" y="16052"/>
                  </a:lnTo>
                  <a:lnTo>
                    <a:pt x="4523" y="16058"/>
                  </a:lnTo>
                  <a:lnTo>
                    <a:pt x="7539" y="16058"/>
                  </a:lnTo>
                  <a:lnTo>
                    <a:pt x="7771" y="16052"/>
                  </a:lnTo>
                  <a:lnTo>
                    <a:pt x="8001" y="16035"/>
                  </a:lnTo>
                  <a:lnTo>
                    <a:pt x="8227" y="16006"/>
                  </a:lnTo>
                  <a:lnTo>
                    <a:pt x="8450" y="15967"/>
                  </a:lnTo>
                  <a:lnTo>
                    <a:pt x="8670" y="15915"/>
                  </a:lnTo>
                  <a:lnTo>
                    <a:pt x="8884" y="15855"/>
                  </a:lnTo>
                  <a:lnTo>
                    <a:pt x="9094" y="15784"/>
                  </a:lnTo>
                  <a:lnTo>
                    <a:pt x="9300" y="15703"/>
                  </a:lnTo>
                  <a:lnTo>
                    <a:pt x="9500" y="15612"/>
                  </a:lnTo>
                  <a:lnTo>
                    <a:pt x="9695" y="15513"/>
                  </a:lnTo>
                  <a:lnTo>
                    <a:pt x="9884" y="15405"/>
                  </a:lnTo>
                  <a:lnTo>
                    <a:pt x="10068" y="15287"/>
                  </a:lnTo>
                  <a:lnTo>
                    <a:pt x="10245" y="15161"/>
                  </a:lnTo>
                  <a:lnTo>
                    <a:pt x="10416" y="15027"/>
                  </a:lnTo>
                  <a:lnTo>
                    <a:pt x="10580" y="14885"/>
                  </a:lnTo>
                  <a:lnTo>
                    <a:pt x="10737" y="14735"/>
                  </a:lnTo>
                  <a:lnTo>
                    <a:pt x="10887" y="14579"/>
                  </a:lnTo>
                  <a:lnTo>
                    <a:pt x="11029" y="14415"/>
                  </a:lnTo>
                  <a:lnTo>
                    <a:pt x="11163" y="14243"/>
                  </a:lnTo>
                  <a:lnTo>
                    <a:pt x="11290" y="14067"/>
                  </a:lnTo>
                  <a:lnTo>
                    <a:pt x="11408" y="13884"/>
                  </a:lnTo>
                  <a:lnTo>
                    <a:pt x="11516" y="13694"/>
                  </a:lnTo>
                  <a:lnTo>
                    <a:pt x="11616" y="13500"/>
                  </a:lnTo>
                  <a:lnTo>
                    <a:pt x="11706" y="13300"/>
                  </a:lnTo>
                  <a:lnTo>
                    <a:pt x="11788" y="13094"/>
                  </a:lnTo>
                  <a:lnTo>
                    <a:pt x="11859" y="12885"/>
                  </a:lnTo>
                  <a:lnTo>
                    <a:pt x="11919" y="12671"/>
                  </a:lnTo>
                  <a:lnTo>
                    <a:pt x="11971" y="12452"/>
                  </a:lnTo>
                  <a:lnTo>
                    <a:pt x="12010" y="12229"/>
                  </a:lnTo>
                  <a:lnTo>
                    <a:pt x="12039" y="12003"/>
                  </a:lnTo>
                  <a:lnTo>
                    <a:pt x="12056" y="11775"/>
                  </a:lnTo>
                  <a:lnTo>
                    <a:pt x="12062" y="11542"/>
                  </a:lnTo>
                  <a:lnTo>
                    <a:pt x="12062" y="11040"/>
                  </a:lnTo>
                  <a:lnTo>
                    <a:pt x="12062" y="10036"/>
                  </a:lnTo>
                  <a:lnTo>
                    <a:pt x="12062" y="9534"/>
                  </a:lnTo>
                  <a:lnTo>
                    <a:pt x="12062" y="8029"/>
                  </a:lnTo>
                  <a:lnTo>
                    <a:pt x="12060" y="7952"/>
                  </a:lnTo>
                  <a:lnTo>
                    <a:pt x="12054" y="7875"/>
                  </a:lnTo>
                  <a:lnTo>
                    <a:pt x="12045" y="7800"/>
                  </a:lnTo>
                  <a:lnTo>
                    <a:pt x="12032" y="7726"/>
                  </a:lnTo>
                  <a:lnTo>
                    <a:pt x="12015" y="7653"/>
                  </a:lnTo>
                  <a:lnTo>
                    <a:pt x="11995" y="7581"/>
                  </a:lnTo>
                  <a:lnTo>
                    <a:pt x="11971" y="7511"/>
                  </a:lnTo>
                  <a:lnTo>
                    <a:pt x="11943" y="7443"/>
                  </a:lnTo>
                  <a:lnTo>
                    <a:pt x="11913" y="7377"/>
                  </a:lnTo>
                  <a:lnTo>
                    <a:pt x="11880" y="7311"/>
                  </a:lnTo>
                  <a:lnTo>
                    <a:pt x="11844" y="7248"/>
                  </a:lnTo>
                  <a:lnTo>
                    <a:pt x="11805" y="7187"/>
                  </a:lnTo>
                  <a:lnTo>
                    <a:pt x="11762" y="7129"/>
                  </a:lnTo>
                  <a:lnTo>
                    <a:pt x="11717" y="7072"/>
                  </a:lnTo>
                  <a:lnTo>
                    <a:pt x="11670" y="7016"/>
                  </a:lnTo>
                  <a:lnTo>
                    <a:pt x="11621" y="6964"/>
                  </a:lnTo>
                  <a:lnTo>
                    <a:pt x="11568" y="6915"/>
                  </a:lnTo>
                  <a:lnTo>
                    <a:pt x="11513" y="6868"/>
                  </a:lnTo>
                  <a:lnTo>
                    <a:pt x="11456" y="6823"/>
                  </a:lnTo>
                  <a:lnTo>
                    <a:pt x="11398" y="6780"/>
                  </a:lnTo>
                  <a:lnTo>
                    <a:pt x="11336" y="6741"/>
                  </a:lnTo>
                  <a:lnTo>
                    <a:pt x="11273" y="6705"/>
                  </a:lnTo>
                  <a:lnTo>
                    <a:pt x="11208" y="6672"/>
                  </a:lnTo>
                  <a:lnTo>
                    <a:pt x="11141" y="6642"/>
                  </a:lnTo>
                  <a:lnTo>
                    <a:pt x="11073" y="6615"/>
                  </a:lnTo>
                  <a:lnTo>
                    <a:pt x="11003" y="6592"/>
                  </a:lnTo>
                  <a:lnTo>
                    <a:pt x="10931" y="6571"/>
                  </a:lnTo>
                  <a:lnTo>
                    <a:pt x="10858" y="6555"/>
                  </a:lnTo>
                  <a:lnTo>
                    <a:pt x="10783" y="6541"/>
                  </a:lnTo>
                  <a:lnTo>
                    <a:pt x="10708" y="6532"/>
                  </a:lnTo>
                  <a:lnTo>
                    <a:pt x="10632" y="6526"/>
                  </a:lnTo>
                  <a:lnTo>
                    <a:pt x="10554" y="65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39" name="ïşľíḋê">
              <a:extLst>
                <a:ext uri="{FF2B5EF4-FFF2-40B4-BE49-F238E27FC236}">
                  <a16:creationId xmlns:a16="http://schemas.microsoft.com/office/drawing/2014/main" id="{BDEE2489-F6D0-48A2-8B48-6142AB5E9721}"/>
                </a:ext>
              </a:extLst>
            </p:cNvPr>
            <p:cNvSpPr/>
            <p:nvPr/>
          </p:nvSpPr>
          <p:spPr bwMode="auto">
            <a:xfrm>
              <a:off x="9676468" y="1491634"/>
              <a:ext cx="76139" cy="114208"/>
            </a:xfrm>
            <a:custGeom>
              <a:avLst/>
              <a:gdLst>
                <a:gd name="T0" fmla="*/ 902 w 2010"/>
                <a:gd name="T1" fmla="*/ 5 h 3011"/>
                <a:gd name="T2" fmla="*/ 754 w 2010"/>
                <a:gd name="T3" fmla="*/ 33 h 3011"/>
                <a:gd name="T4" fmla="*/ 614 w 2010"/>
                <a:gd name="T5" fmla="*/ 80 h 3011"/>
                <a:gd name="T6" fmla="*/ 484 w 2010"/>
                <a:gd name="T7" fmla="*/ 146 h 3011"/>
                <a:gd name="T8" fmla="*/ 366 w 2010"/>
                <a:gd name="T9" fmla="*/ 229 h 3011"/>
                <a:gd name="T10" fmla="*/ 261 w 2010"/>
                <a:gd name="T11" fmla="*/ 330 h 3011"/>
                <a:gd name="T12" fmla="*/ 172 w 2010"/>
                <a:gd name="T13" fmla="*/ 443 h 3011"/>
                <a:gd name="T14" fmla="*/ 99 w 2010"/>
                <a:gd name="T15" fmla="*/ 569 h 3011"/>
                <a:gd name="T16" fmla="*/ 45 w 2010"/>
                <a:gd name="T17" fmla="*/ 706 h 3011"/>
                <a:gd name="T18" fmla="*/ 11 w 2010"/>
                <a:gd name="T19" fmla="*/ 852 h 3011"/>
                <a:gd name="T20" fmla="*/ 0 w 2010"/>
                <a:gd name="T21" fmla="*/ 1004 h 3011"/>
                <a:gd name="T22" fmla="*/ 4 w 2010"/>
                <a:gd name="T23" fmla="*/ 1096 h 3011"/>
                <a:gd name="T24" fmla="*/ 16 w 2010"/>
                <a:gd name="T25" fmla="*/ 1202 h 3011"/>
                <a:gd name="T26" fmla="*/ 44 w 2010"/>
                <a:gd name="T27" fmla="*/ 1358 h 3011"/>
                <a:gd name="T28" fmla="*/ 104 w 2010"/>
                <a:gd name="T29" fmla="*/ 1617 h 3011"/>
                <a:gd name="T30" fmla="*/ 183 w 2010"/>
                <a:gd name="T31" fmla="*/ 1892 h 3011"/>
                <a:gd name="T32" fmla="*/ 272 w 2010"/>
                <a:gd name="T33" fmla="*/ 2168 h 3011"/>
                <a:gd name="T34" fmla="*/ 361 w 2010"/>
                <a:gd name="T35" fmla="*/ 2414 h 3011"/>
                <a:gd name="T36" fmla="*/ 417 w 2010"/>
                <a:gd name="T37" fmla="*/ 2545 h 3011"/>
                <a:gd name="T38" fmla="*/ 462 w 2010"/>
                <a:gd name="T39" fmla="*/ 2636 h 3011"/>
                <a:gd name="T40" fmla="*/ 511 w 2010"/>
                <a:gd name="T41" fmla="*/ 2719 h 3011"/>
                <a:gd name="T42" fmla="*/ 567 w 2010"/>
                <a:gd name="T43" fmla="*/ 2795 h 3011"/>
                <a:gd name="T44" fmla="*/ 626 w 2010"/>
                <a:gd name="T45" fmla="*/ 2860 h 3011"/>
                <a:gd name="T46" fmla="*/ 693 w 2010"/>
                <a:gd name="T47" fmla="*/ 2916 h 3011"/>
                <a:gd name="T48" fmla="*/ 767 w 2010"/>
                <a:gd name="T49" fmla="*/ 2959 h 3011"/>
                <a:gd name="T50" fmla="*/ 849 w 2010"/>
                <a:gd name="T51" fmla="*/ 2990 h 3011"/>
                <a:gd name="T52" fmla="*/ 940 w 2010"/>
                <a:gd name="T53" fmla="*/ 3007 h 3011"/>
                <a:gd name="T54" fmla="*/ 1041 w 2010"/>
                <a:gd name="T55" fmla="*/ 3010 h 3011"/>
                <a:gd name="T56" fmla="*/ 1141 w 2010"/>
                <a:gd name="T57" fmla="*/ 2997 h 3011"/>
                <a:gd name="T58" fmla="*/ 1229 w 2010"/>
                <a:gd name="T59" fmla="*/ 2971 h 3011"/>
                <a:gd name="T60" fmla="*/ 1307 w 2010"/>
                <a:gd name="T61" fmla="*/ 2932 h 3011"/>
                <a:gd name="T62" fmla="*/ 1375 w 2010"/>
                <a:gd name="T63" fmla="*/ 2881 h 3011"/>
                <a:gd name="T64" fmla="*/ 1436 w 2010"/>
                <a:gd name="T65" fmla="*/ 2820 h 3011"/>
                <a:gd name="T66" fmla="*/ 1489 w 2010"/>
                <a:gd name="T67" fmla="*/ 2747 h 3011"/>
                <a:gd name="T68" fmla="*/ 1538 w 2010"/>
                <a:gd name="T69" fmla="*/ 2667 h 3011"/>
                <a:gd name="T70" fmla="*/ 1582 w 2010"/>
                <a:gd name="T71" fmla="*/ 2580 h 3011"/>
                <a:gd name="T72" fmla="*/ 1623 w 2010"/>
                <a:gd name="T73" fmla="*/ 2484 h 3011"/>
                <a:gd name="T74" fmla="*/ 1708 w 2010"/>
                <a:gd name="T75" fmla="*/ 2263 h 3011"/>
                <a:gd name="T76" fmla="*/ 1799 w 2010"/>
                <a:gd name="T77" fmla="*/ 1990 h 3011"/>
                <a:gd name="T78" fmla="*/ 1883 w 2010"/>
                <a:gd name="T79" fmla="*/ 1711 h 3011"/>
                <a:gd name="T80" fmla="*/ 1949 w 2010"/>
                <a:gd name="T81" fmla="*/ 1444 h 3011"/>
                <a:gd name="T82" fmla="*/ 1988 w 2010"/>
                <a:gd name="T83" fmla="*/ 1240 h 3011"/>
                <a:gd name="T84" fmla="*/ 2003 w 2010"/>
                <a:gd name="T85" fmla="*/ 1132 h 3011"/>
                <a:gd name="T86" fmla="*/ 2009 w 2010"/>
                <a:gd name="T87" fmla="*/ 1033 h 3011"/>
                <a:gd name="T88" fmla="*/ 2005 w 2010"/>
                <a:gd name="T89" fmla="*/ 902 h 3011"/>
                <a:gd name="T90" fmla="*/ 1978 w 2010"/>
                <a:gd name="T91" fmla="*/ 753 h 3011"/>
                <a:gd name="T92" fmla="*/ 1931 w 2010"/>
                <a:gd name="T93" fmla="*/ 614 h 3011"/>
                <a:gd name="T94" fmla="*/ 1864 w 2010"/>
                <a:gd name="T95" fmla="*/ 484 h 3011"/>
                <a:gd name="T96" fmla="*/ 1780 w 2010"/>
                <a:gd name="T97" fmla="*/ 366 h 3011"/>
                <a:gd name="T98" fmla="*/ 1680 w 2010"/>
                <a:gd name="T99" fmla="*/ 261 h 3011"/>
                <a:gd name="T100" fmla="*/ 1567 w 2010"/>
                <a:gd name="T101" fmla="*/ 172 h 3011"/>
                <a:gd name="T102" fmla="*/ 1440 w 2010"/>
                <a:gd name="T103" fmla="*/ 100 h 3011"/>
                <a:gd name="T104" fmla="*/ 1304 w 2010"/>
                <a:gd name="T105" fmla="*/ 46 h 3011"/>
                <a:gd name="T106" fmla="*/ 1158 w 2010"/>
                <a:gd name="T107" fmla="*/ 11 h 3011"/>
                <a:gd name="T108" fmla="*/ 1005 w 2010"/>
                <a:gd name="T109" fmla="*/ 0 h 30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10" h="3011">
                  <a:moveTo>
                    <a:pt x="1005" y="0"/>
                  </a:moveTo>
                  <a:lnTo>
                    <a:pt x="953" y="1"/>
                  </a:lnTo>
                  <a:lnTo>
                    <a:pt x="902" y="5"/>
                  </a:lnTo>
                  <a:lnTo>
                    <a:pt x="852" y="11"/>
                  </a:lnTo>
                  <a:lnTo>
                    <a:pt x="803" y="21"/>
                  </a:lnTo>
                  <a:lnTo>
                    <a:pt x="754" y="33"/>
                  </a:lnTo>
                  <a:lnTo>
                    <a:pt x="706" y="46"/>
                  </a:lnTo>
                  <a:lnTo>
                    <a:pt x="659" y="62"/>
                  </a:lnTo>
                  <a:lnTo>
                    <a:pt x="614" y="80"/>
                  </a:lnTo>
                  <a:lnTo>
                    <a:pt x="570" y="100"/>
                  </a:lnTo>
                  <a:lnTo>
                    <a:pt x="526" y="122"/>
                  </a:lnTo>
                  <a:lnTo>
                    <a:pt x="484" y="146"/>
                  </a:lnTo>
                  <a:lnTo>
                    <a:pt x="443" y="172"/>
                  </a:lnTo>
                  <a:lnTo>
                    <a:pt x="404" y="200"/>
                  </a:lnTo>
                  <a:lnTo>
                    <a:pt x="366" y="229"/>
                  </a:lnTo>
                  <a:lnTo>
                    <a:pt x="330" y="261"/>
                  </a:lnTo>
                  <a:lnTo>
                    <a:pt x="294" y="294"/>
                  </a:lnTo>
                  <a:lnTo>
                    <a:pt x="261" y="330"/>
                  </a:lnTo>
                  <a:lnTo>
                    <a:pt x="229" y="366"/>
                  </a:lnTo>
                  <a:lnTo>
                    <a:pt x="200" y="404"/>
                  </a:lnTo>
                  <a:lnTo>
                    <a:pt x="172" y="443"/>
                  </a:lnTo>
                  <a:lnTo>
                    <a:pt x="146" y="484"/>
                  </a:lnTo>
                  <a:lnTo>
                    <a:pt x="121" y="526"/>
                  </a:lnTo>
                  <a:lnTo>
                    <a:pt x="99" y="569"/>
                  </a:lnTo>
                  <a:lnTo>
                    <a:pt x="79" y="614"/>
                  </a:lnTo>
                  <a:lnTo>
                    <a:pt x="61" y="659"/>
                  </a:lnTo>
                  <a:lnTo>
                    <a:pt x="45" y="706"/>
                  </a:lnTo>
                  <a:lnTo>
                    <a:pt x="31" y="753"/>
                  </a:lnTo>
                  <a:lnTo>
                    <a:pt x="20" y="802"/>
                  </a:lnTo>
                  <a:lnTo>
                    <a:pt x="11" y="852"/>
                  </a:lnTo>
                  <a:lnTo>
                    <a:pt x="5" y="902"/>
                  </a:lnTo>
                  <a:lnTo>
                    <a:pt x="1" y="953"/>
                  </a:lnTo>
                  <a:lnTo>
                    <a:pt x="0" y="1004"/>
                  </a:lnTo>
                  <a:lnTo>
                    <a:pt x="0" y="1033"/>
                  </a:lnTo>
                  <a:lnTo>
                    <a:pt x="2" y="1064"/>
                  </a:lnTo>
                  <a:lnTo>
                    <a:pt x="4" y="1096"/>
                  </a:lnTo>
                  <a:lnTo>
                    <a:pt x="7" y="1131"/>
                  </a:lnTo>
                  <a:lnTo>
                    <a:pt x="12" y="1166"/>
                  </a:lnTo>
                  <a:lnTo>
                    <a:pt x="16" y="1202"/>
                  </a:lnTo>
                  <a:lnTo>
                    <a:pt x="22" y="1239"/>
                  </a:lnTo>
                  <a:lnTo>
                    <a:pt x="29" y="1278"/>
                  </a:lnTo>
                  <a:lnTo>
                    <a:pt x="44" y="1358"/>
                  </a:lnTo>
                  <a:lnTo>
                    <a:pt x="61" y="1442"/>
                  </a:lnTo>
                  <a:lnTo>
                    <a:pt x="82" y="1528"/>
                  </a:lnTo>
                  <a:lnTo>
                    <a:pt x="104" y="1617"/>
                  </a:lnTo>
                  <a:lnTo>
                    <a:pt x="128" y="1708"/>
                  </a:lnTo>
                  <a:lnTo>
                    <a:pt x="156" y="1800"/>
                  </a:lnTo>
                  <a:lnTo>
                    <a:pt x="183" y="1892"/>
                  </a:lnTo>
                  <a:lnTo>
                    <a:pt x="212" y="1986"/>
                  </a:lnTo>
                  <a:lnTo>
                    <a:pt x="242" y="2078"/>
                  </a:lnTo>
                  <a:lnTo>
                    <a:pt x="272" y="2168"/>
                  </a:lnTo>
                  <a:lnTo>
                    <a:pt x="303" y="2258"/>
                  </a:lnTo>
                  <a:lnTo>
                    <a:pt x="335" y="2345"/>
                  </a:lnTo>
                  <a:lnTo>
                    <a:pt x="361" y="2414"/>
                  </a:lnTo>
                  <a:lnTo>
                    <a:pt x="388" y="2480"/>
                  </a:lnTo>
                  <a:lnTo>
                    <a:pt x="402" y="2513"/>
                  </a:lnTo>
                  <a:lnTo>
                    <a:pt x="417" y="2545"/>
                  </a:lnTo>
                  <a:lnTo>
                    <a:pt x="431" y="2576"/>
                  </a:lnTo>
                  <a:lnTo>
                    <a:pt x="446" y="2606"/>
                  </a:lnTo>
                  <a:lnTo>
                    <a:pt x="462" y="2636"/>
                  </a:lnTo>
                  <a:lnTo>
                    <a:pt x="478" y="2664"/>
                  </a:lnTo>
                  <a:lnTo>
                    <a:pt x="494" y="2692"/>
                  </a:lnTo>
                  <a:lnTo>
                    <a:pt x="511" y="2719"/>
                  </a:lnTo>
                  <a:lnTo>
                    <a:pt x="530" y="2745"/>
                  </a:lnTo>
                  <a:lnTo>
                    <a:pt x="548" y="2770"/>
                  </a:lnTo>
                  <a:lnTo>
                    <a:pt x="567" y="2795"/>
                  </a:lnTo>
                  <a:lnTo>
                    <a:pt x="586" y="2818"/>
                  </a:lnTo>
                  <a:lnTo>
                    <a:pt x="606" y="2840"/>
                  </a:lnTo>
                  <a:lnTo>
                    <a:pt x="626" y="2860"/>
                  </a:lnTo>
                  <a:lnTo>
                    <a:pt x="648" y="2880"/>
                  </a:lnTo>
                  <a:lnTo>
                    <a:pt x="670" y="2898"/>
                  </a:lnTo>
                  <a:lnTo>
                    <a:pt x="693" y="2916"/>
                  </a:lnTo>
                  <a:lnTo>
                    <a:pt x="717" y="2931"/>
                  </a:lnTo>
                  <a:lnTo>
                    <a:pt x="742" y="2946"/>
                  </a:lnTo>
                  <a:lnTo>
                    <a:pt x="767" y="2959"/>
                  </a:lnTo>
                  <a:lnTo>
                    <a:pt x="793" y="2971"/>
                  </a:lnTo>
                  <a:lnTo>
                    <a:pt x="821" y="2981"/>
                  </a:lnTo>
                  <a:lnTo>
                    <a:pt x="849" y="2990"/>
                  </a:lnTo>
                  <a:lnTo>
                    <a:pt x="878" y="2997"/>
                  </a:lnTo>
                  <a:lnTo>
                    <a:pt x="909" y="3003"/>
                  </a:lnTo>
                  <a:lnTo>
                    <a:pt x="940" y="3007"/>
                  </a:lnTo>
                  <a:lnTo>
                    <a:pt x="972" y="3010"/>
                  </a:lnTo>
                  <a:lnTo>
                    <a:pt x="1005" y="3011"/>
                  </a:lnTo>
                  <a:lnTo>
                    <a:pt x="1041" y="3010"/>
                  </a:lnTo>
                  <a:lnTo>
                    <a:pt x="1075" y="3007"/>
                  </a:lnTo>
                  <a:lnTo>
                    <a:pt x="1109" y="3003"/>
                  </a:lnTo>
                  <a:lnTo>
                    <a:pt x="1141" y="2997"/>
                  </a:lnTo>
                  <a:lnTo>
                    <a:pt x="1172" y="2990"/>
                  </a:lnTo>
                  <a:lnTo>
                    <a:pt x="1201" y="2981"/>
                  </a:lnTo>
                  <a:lnTo>
                    <a:pt x="1229" y="2971"/>
                  </a:lnTo>
                  <a:lnTo>
                    <a:pt x="1256" y="2960"/>
                  </a:lnTo>
                  <a:lnTo>
                    <a:pt x="1281" y="2947"/>
                  </a:lnTo>
                  <a:lnTo>
                    <a:pt x="1307" y="2932"/>
                  </a:lnTo>
                  <a:lnTo>
                    <a:pt x="1331" y="2916"/>
                  </a:lnTo>
                  <a:lnTo>
                    <a:pt x="1354" y="2899"/>
                  </a:lnTo>
                  <a:lnTo>
                    <a:pt x="1375" y="2881"/>
                  </a:lnTo>
                  <a:lnTo>
                    <a:pt x="1396" y="2862"/>
                  </a:lnTo>
                  <a:lnTo>
                    <a:pt x="1416" y="2841"/>
                  </a:lnTo>
                  <a:lnTo>
                    <a:pt x="1436" y="2820"/>
                  </a:lnTo>
                  <a:lnTo>
                    <a:pt x="1454" y="2797"/>
                  </a:lnTo>
                  <a:lnTo>
                    <a:pt x="1472" y="2772"/>
                  </a:lnTo>
                  <a:lnTo>
                    <a:pt x="1489" y="2747"/>
                  </a:lnTo>
                  <a:lnTo>
                    <a:pt x="1507" y="2722"/>
                  </a:lnTo>
                  <a:lnTo>
                    <a:pt x="1523" y="2695"/>
                  </a:lnTo>
                  <a:lnTo>
                    <a:pt x="1538" y="2667"/>
                  </a:lnTo>
                  <a:lnTo>
                    <a:pt x="1554" y="2639"/>
                  </a:lnTo>
                  <a:lnTo>
                    <a:pt x="1568" y="2610"/>
                  </a:lnTo>
                  <a:lnTo>
                    <a:pt x="1582" y="2580"/>
                  </a:lnTo>
                  <a:lnTo>
                    <a:pt x="1596" y="2549"/>
                  </a:lnTo>
                  <a:lnTo>
                    <a:pt x="1610" y="2517"/>
                  </a:lnTo>
                  <a:lnTo>
                    <a:pt x="1623" y="2484"/>
                  </a:lnTo>
                  <a:lnTo>
                    <a:pt x="1649" y="2418"/>
                  </a:lnTo>
                  <a:lnTo>
                    <a:pt x="1675" y="2350"/>
                  </a:lnTo>
                  <a:lnTo>
                    <a:pt x="1708" y="2263"/>
                  </a:lnTo>
                  <a:lnTo>
                    <a:pt x="1739" y="2173"/>
                  </a:lnTo>
                  <a:lnTo>
                    <a:pt x="1769" y="2082"/>
                  </a:lnTo>
                  <a:lnTo>
                    <a:pt x="1799" y="1990"/>
                  </a:lnTo>
                  <a:lnTo>
                    <a:pt x="1828" y="1896"/>
                  </a:lnTo>
                  <a:lnTo>
                    <a:pt x="1856" y="1803"/>
                  </a:lnTo>
                  <a:lnTo>
                    <a:pt x="1883" y="1711"/>
                  </a:lnTo>
                  <a:lnTo>
                    <a:pt x="1907" y="1620"/>
                  </a:lnTo>
                  <a:lnTo>
                    <a:pt x="1929" y="1531"/>
                  </a:lnTo>
                  <a:lnTo>
                    <a:pt x="1949" y="1444"/>
                  </a:lnTo>
                  <a:lnTo>
                    <a:pt x="1967" y="1359"/>
                  </a:lnTo>
                  <a:lnTo>
                    <a:pt x="1982" y="1279"/>
                  </a:lnTo>
                  <a:lnTo>
                    <a:pt x="1988" y="1240"/>
                  </a:lnTo>
                  <a:lnTo>
                    <a:pt x="1994" y="1203"/>
                  </a:lnTo>
                  <a:lnTo>
                    <a:pt x="1998" y="1167"/>
                  </a:lnTo>
                  <a:lnTo>
                    <a:pt x="2003" y="1132"/>
                  </a:lnTo>
                  <a:lnTo>
                    <a:pt x="2006" y="1097"/>
                  </a:lnTo>
                  <a:lnTo>
                    <a:pt x="2008" y="1064"/>
                  </a:lnTo>
                  <a:lnTo>
                    <a:pt x="2009" y="1033"/>
                  </a:lnTo>
                  <a:lnTo>
                    <a:pt x="2010" y="1004"/>
                  </a:lnTo>
                  <a:lnTo>
                    <a:pt x="2009" y="953"/>
                  </a:lnTo>
                  <a:lnTo>
                    <a:pt x="2005" y="902"/>
                  </a:lnTo>
                  <a:lnTo>
                    <a:pt x="1998" y="852"/>
                  </a:lnTo>
                  <a:lnTo>
                    <a:pt x="1990" y="802"/>
                  </a:lnTo>
                  <a:lnTo>
                    <a:pt x="1978" y="753"/>
                  </a:lnTo>
                  <a:lnTo>
                    <a:pt x="1965" y="706"/>
                  </a:lnTo>
                  <a:lnTo>
                    <a:pt x="1949" y="659"/>
                  </a:lnTo>
                  <a:lnTo>
                    <a:pt x="1931" y="614"/>
                  </a:lnTo>
                  <a:lnTo>
                    <a:pt x="1911" y="569"/>
                  </a:lnTo>
                  <a:lnTo>
                    <a:pt x="1889" y="526"/>
                  </a:lnTo>
                  <a:lnTo>
                    <a:pt x="1864" y="484"/>
                  </a:lnTo>
                  <a:lnTo>
                    <a:pt x="1838" y="443"/>
                  </a:lnTo>
                  <a:lnTo>
                    <a:pt x="1810" y="404"/>
                  </a:lnTo>
                  <a:lnTo>
                    <a:pt x="1780" y="366"/>
                  </a:lnTo>
                  <a:lnTo>
                    <a:pt x="1749" y="330"/>
                  </a:lnTo>
                  <a:lnTo>
                    <a:pt x="1716" y="294"/>
                  </a:lnTo>
                  <a:lnTo>
                    <a:pt x="1680" y="261"/>
                  </a:lnTo>
                  <a:lnTo>
                    <a:pt x="1644" y="229"/>
                  </a:lnTo>
                  <a:lnTo>
                    <a:pt x="1606" y="200"/>
                  </a:lnTo>
                  <a:lnTo>
                    <a:pt x="1567" y="172"/>
                  </a:lnTo>
                  <a:lnTo>
                    <a:pt x="1526" y="146"/>
                  </a:lnTo>
                  <a:lnTo>
                    <a:pt x="1484" y="122"/>
                  </a:lnTo>
                  <a:lnTo>
                    <a:pt x="1440" y="100"/>
                  </a:lnTo>
                  <a:lnTo>
                    <a:pt x="1396" y="80"/>
                  </a:lnTo>
                  <a:lnTo>
                    <a:pt x="1351" y="62"/>
                  </a:lnTo>
                  <a:lnTo>
                    <a:pt x="1304" y="46"/>
                  </a:lnTo>
                  <a:lnTo>
                    <a:pt x="1256" y="33"/>
                  </a:lnTo>
                  <a:lnTo>
                    <a:pt x="1207" y="21"/>
                  </a:lnTo>
                  <a:lnTo>
                    <a:pt x="1158" y="11"/>
                  </a:lnTo>
                  <a:lnTo>
                    <a:pt x="1108" y="5"/>
                  </a:lnTo>
                  <a:lnTo>
                    <a:pt x="1056" y="1"/>
                  </a:lnTo>
                  <a:lnTo>
                    <a:pt x="10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40" name="iṩḻíḑe">
              <a:extLst>
                <a:ext uri="{FF2B5EF4-FFF2-40B4-BE49-F238E27FC236}">
                  <a16:creationId xmlns:a16="http://schemas.microsoft.com/office/drawing/2014/main" id="{D182D4E8-1F02-4EAB-9BBD-C3707ED46C79}"/>
                </a:ext>
              </a:extLst>
            </p:cNvPr>
            <p:cNvSpPr/>
            <p:nvPr/>
          </p:nvSpPr>
          <p:spPr bwMode="auto">
            <a:xfrm>
              <a:off x="8930021" y="1306442"/>
              <a:ext cx="171982" cy="249634"/>
            </a:xfrm>
            <a:custGeom>
              <a:avLst/>
              <a:gdLst>
                <a:gd name="T0" fmla="*/ 1009 w 11063"/>
                <a:gd name="T1" fmla="*/ 1454 h 16058"/>
                <a:gd name="T2" fmla="*/ 1036 w 11063"/>
                <a:gd name="T3" fmla="*/ 1334 h 16058"/>
                <a:gd name="T4" fmla="*/ 1091 w 11063"/>
                <a:gd name="T5" fmla="*/ 1225 h 16058"/>
                <a:gd name="T6" fmla="*/ 1171 w 11063"/>
                <a:gd name="T7" fmla="*/ 1134 h 16058"/>
                <a:gd name="T8" fmla="*/ 1268 w 11063"/>
                <a:gd name="T9" fmla="*/ 1065 h 16058"/>
                <a:gd name="T10" fmla="*/ 1383 w 11063"/>
                <a:gd name="T11" fmla="*/ 1020 h 16058"/>
                <a:gd name="T12" fmla="*/ 1509 w 11063"/>
                <a:gd name="T13" fmla="*/ 1004 h 16058"/>
                <a:gd name="T14" fmla="*/ 9655 w 11063"/>
                <a:gd name="T15" fmla="*/ 1014 h 16058"/>
                <a:gd name="T16" fmla="*/ 9772 w 11063"/>
                <a:gd name="T17" fmla="*/ 1053 h 16058"/>
                <a:gd name="T18" fmla="*/ 9874 w 11063"/>
                <a:gd name="T19" fmla="*/ 1118 h 16058"/>
                <a:gd name="T20" fmla="*/ 9957 w 11063"/>
                <a:gd name="T21" fmla="*/ 1205 h 16058"/>
                <a:gd name="T22" fmla="*/ 10018 w 11063"/>
                <a:gd name="T23" fmla="*/ 1310 h 16058"/>
                <a:gd name="T24" fmla="*/ 10051 w 11063"/>
                <a:gd name="T25" fmla="*/ 1429 h 16058"/>
                <a:gd name="T26" fmla="*/ 10057 w 11063"/>
                <a:gd name="T27" fmla="*/ 13044 h 16058"/>
                <a:gd name="T28" fmla="*/ 10057 w 11063"/>
                <a:gd name="T29" fmla="*/ 14553 h 16058"/>
                <a:gd name="T30" fmla="*/ 10041 w 11063"/>
                <a:gd name="T31" fmla="*/ 14677 h 16058"/>
                <a:gd name="T32" fmla="*/ 9996 w 11063"/>
                <a:gd name="T33" fmla="*/ 14791 h 16058"/>
                <a:gd name="T34" fmla="*/ 9927 w 11063"/>
                <a:gd name="T35" fmla="*/ 14890 h 16058"/>
                <a:gd name="T36" fmla="*/ 9835 w 11063"/>
                <a:gd name="T37" fmla="*/ 14968 h 16058"/>
                <a:gd name="T38" fmla="*/ 9727 w 11063"/>
                <a:gd name="T39" fmla="*/ 15023 h 16058"/>
                <a:gd name="T40" fmla="*/ 9606 w 11063"/>
                <a:gd name="T41" fmla="*/ 15051 h 16058"/>
                <a:gd name="T42" fmla="*/ 1457 w 11063"/>
                <a:gd name="T43" fmla="*/ 15051 h 16058"/>
                <a:gd name="T44" fmla="*/ 1336 w 11063"/>
                <a:gd name="T45" fmla="*/ 15024 h 16058"/>
                <a:gd name="T46" fmla="*/ 1227 w 11063"/>
                <a:gd name="T47" fmla="*/ 14969 h 16058"/>
                <a:gd name="T48" fmla="*/ 1136 w 11063"/>
                <a:gd name="T49" fmla="*/ 14890 h 16058"/>
                <a:gd name="T50" fmla="*/ 1066 w 11063"/>
                <a:gd name="T51" fmla="*/ 14791 h 16058"/>
                <a:gd name="T52" fmla="*/ 1022 w 11063"/>
                <a:gd name="T53" fmla="*/ 14678 h 16058"/>
                <a:gd name="T54" fmla="*/ 1006 w 11063"/>
                <a:gd name="T55" fmla="*/ 14553 h 16058"/>
                <a:gd name="T56" fmla="*/ 1509 w 11063"/>
                <a:gd name="T57" fmla="*/ 1 h 16058"/>
                <a:gd name="T58" fmla="*/ 1131 w 11063"/>
                <a:gd name="T59" fmla="*/ 48 h 16058"/>
                <a:gd name="T60" fmla="*/ 789 w 11063"/>
                <a:gd name="T61" fmla="*/ 183 h 16058"/>
                <a:gd name="T62" fmla="*/ 494 w 11063"/>
                <a:gd name="T63" fmla="*/ 391 h 16058"/>
                <a:gd name="T64" fmla="*/ 257 w 11063"/>
                <a:gd name="T65" fmla="*/ 664 h 16058"/>
                <a:gd name="T66" fmla="*/ 92 w 11063"/>
                <a:gd name="T67" fmla="*/ 989 h 16058"/>
                <a:gd name="T68" fmla="*/ 8 w 11063"/>
                <a:gd name="T69" fmla="*/ 1352 h 16058"/>
                <a:gd name="T70" fmla="*/ 8 w 11063"/>
                <a:gd name="T71" fmla="*/ 14706 h 16058"/>
                <a:gd name="T72" fmla="*/ 92 w 11063"/>
                <a:gd name="T73" fmla="*/ 15070 h 16058"/>
                <a:gd name="T74" fmla="*/ 257 w 11063"/>
                <a:gd name="T75" fmla="*/ 15395 h 16058"/>
                <a:gd name="T76" fmla="*/ 494 w 11063"/>
                <a:gd name="T77" fmla="*/ 15667 h 16058"/>
                <a:gd name="T78" fmla="*/ 789 w 11063"/>
                <a:gd name="T79" fmla="*/ 15876 h 16058"/>
                <a:gd name="T80" fmla="*/ 1131 w 11063"/>
                <a:gd name="T81" fmla="*/ 16011 h 16058"/>
                <a:gd name="T82" fmla="*/ 1509 w 11063"/>
                <a:gd name="T83" fmla="*/ 16058 h 16058"/>
                <a:gd name="T84" fmla="*/ 9858 w 11063"/>
                <a:gd name="T85" fmla="*/ 16027 h 16058"/>
                <a:gd name="T86" fmla="*/ 10208 w 11063"/>
                <a:gd name="T87" fmla="*/ 15909 h 16058"/>
                <a:gd name="T88" fmla="*/ 10514 w 11063"/>
                <a:gd name="T89" fmla="*/ 15714 h 16058"/>
                <a:gd name="T90" fmla="*/ 10763 w 11063"/>
                <a:gd name="T91" fmla="*/ 15453 h 16058"/>
                <a:gd name="T92" fmla="*/ 10944 w 11063"/>
                <a:gd name="T93" fmla="*/ 15138 h 16058"/>
                <a:gd name="T94" fmla="*/ 11046 w 11063"/>
                <a:gd name="T95" fmla="*/ 14781 h 16058"/>
                <a:gd name="T96" fmla="*/ 11061 w 11063"/>
                <a:gd name="T97" fmla="*/ 1428 h 16058"/>
                <a:gd name="T98" fmla="*/ 10996 w 11063"/>
                <a:gd name="T99" fmla="*/ 1058 h 16058"/>
                <a:gd name="T100" fmla="*/ 10845 w 11063"/>
                <a:gd name="T101" fmla="*/ 725 h 16058"/>
                <a:gd name="T102" fmla="*/ 10620 w 11063"/>
                <a:gd name="T103" fmla="*/ 441 h 16058"/>
                <a:gd name="T104" fmla="*/ 10337 w 11063"/>
                <a:gd name="T105" fmla="*/ 218 h 16058"/>
                <a:gd name="T106" fmla="*/ 10003 w 11063"/>
                <a:gd name="T107" fmla="*/ 67 h 16058"/>
                <a:gd name="T108" fmla="*/ 9632 w 11063"/>
                <a:gd name="T109" fmla="*/ 2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063" h="16058">
                  <a:moveTo>
                    <a:pt x="10057" y="2509"/>
                  </a:moveTo>
                  <a:lnTo>
                    <a:pt x="1006" y="2510"/>
                  </a:lnTo>
                  <a:lnTo>
                    <a:pt x="1006" y="1505"/>
                  </a:lnTo>
                  <a:lnTo>
                    <a:pt x="1007" y="1480"/>
                  </a:lnTo>
                  <a:lnTo>
                    <a:pt x="1009" y="1454"/>
                  </a:lnTo>
                  <a:lnTo>
                    <a:pt x="1012" y="1429"/>
                  </a:lnTo>
                  <a:lnTo>
                    <a:pt x="1016" y="1405"/>
                  </a:lnTo>
                  <a:lnTo>
                    <a:pt x="1022" y="1381"/>
                  </a:lnTo>
                  <a:lnTo>
                    <a:pt x="1028" y="1357"/>
                  </a:lnTo>
                  <a:lnTo>
                    <a:pt x="1036" y="1334"/>
                  </a:lnTo>
                  <a:lnTo>
                    <a:pt x="1045" y="1311"/>
                  </a:lnTo>
                  <a:lnTo>
                    <a:pt x="1055" y="1289"/>
                  </a:lnTo>
                  <a:lnTo>
                    <a:pt x="1066" y="1267"/>
                  </a:lnTo>
                  <a:lnTo>
                    <a:pt x="1078" y="1245"/>
                  </a:lnTo>
                  <a:lnTo>
                    <a:pt x="1091" y="1225"/>
                  </a:lnTo>
                  <a:lnTo>
                    <a:pt x="1105" y="1205"/>
                  </a:lnTo>
                  <a:lnTo>
                    <a:pt x="1120" y="1186"/>
                  </a:lnTo>
                  <a:lnTo>
                    <a:pt x="1136" y="1168"/>
                  </a:lnTo>
                  <a:lnTo>
                    <a:pt x="1153" y="1151"/>
                  </a:lnTo>
                  <a:lnTo>
                    <a:pt x="1171" y="1134"/>
                  </a:lnTo>
                  <a:lnTo>
                    <a:pt x="1189" y="1119"/>
                  </a:lnTo>
                  <a:lnTo>
                    <a:pt x="1208" y="1104"/>
                  </a:lnTo>
                  <a:lnTo>
                    <a:pt x="1227" y="1090"/>
                  </a:lnTo>
                  <a:lnTo>
                    <a:pt x="1248" y="1077"/>
                  </a:lnTo>
                  <a:lnTo>
                    <a:pt x="1268" y="1065"/>
                  </a:lnTo>
                  <a:lnTo>
                    <a:pt x="1290" y="1054"/>
                  </a:lnTo>
                  <a:lnTo>
                    <a:pt x="1312" y="1044"/>
                  </a:lnTo>
                  <a:lnTo>
                    <a:pt x="1336" y="1035"/>
                  </a:lnTo>
                  <a:lnTo>
                    <a:pt x="1359" y="1027"/>
                  </a:lnTo>
                  <a:lnTo>
                    <a:pt x="1383" y="1020"/>
                  </a:lnTo>
                  <a:lnTo>
                    <a:pt x="1407" y="1015"/>
                  </a:lnTo>
                  <a:lnTo>
                    <a:pt x="1432" y="1010"/>
                  </a:lnTo>
                  <a:lnTo>
                    <a:pt x="1457" y="1007"/>
                  </a:lnTo>
                  <a:lnTo>
                    <a:pt x="1482" y="1005"/>
                  </a:lnTo>
                  <a:lnTo>
                    <a:pt x="1509" y="1004"/>
                  </a:lnTo>
                  <a:lnTo>
                    <a:pt x="9554" y="1004"/>
                  </a:lnTo>
                  <a:lnTo>
                    <a:pt x="9581" y="1005"/>
                  </a:lnTo>
                  <a:lnTo>
                    <a:pt x="9606" y="1007"/>
                  </a:lnTo>
                  <a:lnTo>
                    <a:pt x="9631" y="1010"/>
                  </a:lnTo>
                  <a:lnTo>
                    <a:pt x="9655" y="1014"/>
                  </a:lnTo>
                  <a:lnTo>
                    <a:pt x="9680" y="1020"/>
                  </a:lnTo>
                  <a:lnTo>
                    <a:pt x="9703" y="1027"/>
                  </a:lnTo>
                  <a:lnTo>
                    <a:pt x="9727" y="1034"/>
                  </a:lnTo>
                  <a:lnTo>
                    <a:pt x="9750" y="1043"/>
                  </a:lnTo>
                  <a:lnTo>
                    <a:pt x="9772" y="1053"/>
                  </a:lnTo>
                  <a:lnTo>
                    <a:pt x="9794" y="1064"/>
                  </a:lnTo>
                  <a:lnTo>
                    <a:pt x="9815" y="1076"/>
                  </a:lnTo>
                  <a:lnTo>
                    <a:pt x="9835" y="1089"/>
                  </a:lnTo>
                  <a:lnTo>
                    <a:pt x="9855" y="1103"/>
                  </a:lnTo>
                  <a:lnTo>
                    <a:pt x="9874" y="1118"/>
                  </a:lnTo>
                  <a:lnTo>
                    <a:pt x="9892" y="1134"/>
                  </a:lnTo>
                  <a:lnTo>
                    <a:pt x="9909" y="1151"/>
                  </a:lnTo>
                  <a:lnTo>
                    <a:pt x="9927" y="1168"/>
                  </a:lnTo>
                  <a:lnTo>
                    <a:pt x="9943" y="1186"/>
                  </a:lnTo>
                  <a:lnTo>
                    <a:pt x="9957" y="1205"/>
                  </a:lnTo>
                  <a:lnTo>
                    <a:pt x="9971" y="1225"/>
                  </a:lnTo>
                  <a:lnTo>
                    <a:pt x="9984" y="1245"/>
                  </a:lnTo>
                  <a:lnTo>
                    <a:pt x="9996" y="1267"/>
                  </a:lnTo>
                  <a:lnTo>
                    <a:pt x="10008" y="1288"/>
                  </a:lnTo>
                  <a:lnTo>
                    <a:pt x="10018" y="1310"/>
                  </a:lnTo>
                  <a:lnTo>
                    <a:pt x="10026" y="1333"/>
                  </a:lnTo>
                  <a:lnTo>
                    <a:pt x="10034" y="1356"/>
                  </a:lnTo>
                  <a:lnTo>
                    <a:pt x="10041" y="1380"/>
                  </a:lnTo>
                  <a:lnTo>
                    <a:pt x="10047" y="1404"/>
                  </a:lnTo>
                  <a:lnTo>
                    <a:pt x="10051" y="1429"/>
                  </a:lnTo>
                  <a:lnTo>
                    <a:pt x="10054" y="1454"/>
                  </a:lnTo>
                  <a:lnTo>
                    <a:pt x="10056" y="1479"/>
                  </a:lnTo>
                  <a:lnTo>
                    <a:pt x="10057" y="1505"/>
                  </a:lnTo>
                  <a:lnTo>
                    <a:pt x="10057" y="2509"/>
                  </a:lnTo>
                  <a:close/>
                  <a:moveTo>
                    <a:pt x="10057" y="13044"/>
                  </a:moveTo>
                  <a:lnTo>
                    <a:pt x="1006" y="13045"/>
                  </a:lnTo>
                  <a:lnTo>
                    <a:pt x="1006" y="3011"/>
                  </a:lnTo>
                  <a:lnTo>
                    <a:pt x="10057" y="3011"/>
                  </a:lnTo>
                  <a:lnTo>
                    <a:pt x="10057" y="13044"/>
                  </a:lnTo>
                  <a:close/>
                  <a:moveTo>
                    <a:pt x="10057" y="14553"/>
                  </a:moveTo>
                  <a:lnTo>
                    <a:pt x="10056" y="14578"/>
                  </a:lnTo>
                  <a:lnTo>
                    <a:pt x="10054" y="14604"/>
                  </a:lnTo>
                  <a:lnTo>
                    <a:pt x="10051" y="14629"/>
                  </a:lnTo>
                  <a:lnTo>
                    <a:pt x="10047" y="14653"/>
                  </a:lnTo>
                  <a:lnTo>
                    <a:pt x="10041" y="14677"/>
                  </a:lnTo>
                  <a:lnTo>
                    <a:pt x="10034" y="14701"/>
                  </a:lnTo>
                  <a:lnTo>
                    <a:pt x="10026" y="14724"/>
                  </a:lnTo>
                  <a:lnTo>
                    <a:pt x="10018" y="14747"/>
                  </a:lnTo>
                  <a:lnTo>
                    <a:pt x="10008" y="14769"/>
                  </a:lnTo>
                  <a:lnTo>
                    <a:pt x="9996" y="14791"/>
                  </a:lnTo>
                  <a:lnTo>
                    <a:pt x="9984" y="14813"/>
                  </a:lnTo>
                  <a:lnTo>
                    <a:pt x="9971" y="14833"/>
                  </a:lnTo>
                  <a:lnTo>
                    <a:pt x="9957" y="14853"/>
                  </a:lnTo>
                  <a:lnTo>
                    <a:pt x="9943" y="14872"/>
                  </a:lnTo>
                  <a:lnTo>
                    <a:pt x="9927" y="14890"/>
                  </a:lnTo>
                  <a:lnTo>
                    <a:pt x="9909" y="14907"/>
                  </a:lnTo>
                  <a:lnTo>
                    <a:pt x="9892" y="14924"/>
                  </a:lnTo>
                  <a:lnTo>
                    <a:pt x="9874" y="14939"/>
                  </a:lnTo>
                  <a:lnTo>
                    <a:pt x="9855" y="14954"/>
                  </a:lnTo>
                  <a:lnTo>
                    <a:pt x="9835" y="14968"/>
                  </a:lnTo>
                  <a:lnTo>
                    <a:pt x="9815" y="14981"/>
                  </a:lnTo>
                  <a:lnTo>
                    <a:pt x="9794" y="14993"/>
                  </a:lnTo>
                  <a:lnTo>
                    <a:pt x="9772" y="15004"/>
                  </a:lnTo>
                  <a:lnTo>
                    <a:pt x="9750" y="15014"/>
                  </a:lnTo>
                  <a:lnTo>
                    <a:pt x="9727" y="15023"/>
                  </a:lnTo>
                  <a:lnTo>
                    <a:pt x="9703" y="15031"/>
                  </a:lnTo>
                  <a:lnTo>
                    <a:pt x="9680" y="15038"/>
                  </a:lnTo>
                  <a:lnTo>
                    <a:pt x="9655" y="15043"/>
                  </a:lnTo>
                  <a:lnTo>
                    <a:pt x="9631" y="15048"/>
                  </a:lnTo>
                  <a:lnTo>
                    <a:pt x="9606" y="15051"/>
                  </a:lnTo>
                  <a:lnTo>
                    <a:pt x="9581" y="15053"/>
                  </a:lnTo>
                  <a:lnTo>
                    <a:pt x="9554" y="15054"/>
                  </a:lnTo>
                  <a:lnTo>
                    <a:pt x="1509" y="15054"/>
                  </a:lnTo>
                  <a:lnTo>
                    <a:pt x="1482" y="15053"/>
                  </a:lnTo>
                  <a:lnTo>
                    <a:pt x="1457" y="15051"/>
                  </a:lnTo>
                  <a:lnTo>
                    <a:pt x="1432" y="15048"/>
                  </a:lnTo>
                  <a:lnTo>
                    <a:pt x="1407" y="15044"/>
                  </a:lnTo>
                  <a:lnTo>
                    <a:pt x="1383" y="15038"/>
                  </a:lnTo>
                  <a:lnTo>
                    <a:pt x="1359" y="15031"/>
                  </a:lnTo>
                  <a:lnTo>
                    <a:pt x="1336" y="15024"/>
                  </a:lnTo>
                  <a:lnTo>
                    <a:pt x="1312" y="15015"/>
                  </a:lnTo>
                  <a:lnTo>
                    <a:pt x="1290" y="15005"/>
                  </a:lnTo>
                  <a:lnTo>
                    <a:pt x="1268" y="14994"/>
                  </a:lnTo>
                  <a:lnTo>
                    <a:pt x="1248" y="14982"/>
                  </a:lnTo>
                  <a:lnTo>
                    <a:pt x="1227" y="14969"/>
                  </a:lnTo>
                  <a:lnTo>
                    <a:pt x="1208" y="14955"/>
                  </a:lnTo>
                  <a:lnTo>
                    <a:pt x="1189" y="14940"/>
                  </a:lnTo>
                  <a:lnTo>
                    <a:pt x="1171" y="14924"/>
                  </a:lnTo>
                  <a:lnTo>
                    <a:pt x="1153" y="14907"/>
                  </a:lnTo>
                  <a:lnTo>
                    <a:pt x="1136" y="14890"/>
                  </a:lnTo>
                  <a:lnTo>
                    <a:pt x="1120" y="14872"/>
                  </a:lnTo>
                  <a:lnTo>
                    <a:pt x="1105" y="14853"/>
                  </a:lnTo>
                  <a:lnTo>
                    <a:pt x="1091" y="14833"/>
                  </a:lnTo>
                  <a:lnTo>
                    <a:pt x="1078" y="14813"/>
                  </a:lnTo>
                  <a:lnTo>
                    <a:pt x="1066" y="14791"/>
                  </a:lnTo>
                  <a:lnTo>
                    <a:pt x="1055" y="14770"/>
                  </a:lnTo>
                  <a:lnTo>
                    <a:pt x="1045" y="14748"/>
                  </a:lnTo>
                  <a:lnTo>
                    <a:pt x="1036" y="14725"/>
                  </a:lnTo>
                  <a:lnTo>
                    <a:pt x="1028" y="14702"/>
                  </a:lnTo>
                  <a:lnTo>
                    <a:pt x="1022" y="14678"/>
                  </a:lnTo>
                  <a:lnTo>
                    <a:pt x="1016" y="14654"/>
                  </a:lnTo>
                  <a:lnTo>
                    <a:pt x="1012" y="14629"/>
                  </a:lnTo>
                  <a:lnTo>
                    <a:pt x="1009" y="14604"/>
                  </a:lnTo>
                  <a:lnTo>
                    <a:pt x="1007" y="14579"/>
                  </a:lnTo>
                  <a:lnTo>
                    <a:pt x="1006" y="14553"/>
                  </a:lnTo>
                  <a:lnTo>
                    <a:pt x="1006" y="13547"/>
                  </a:lnTo>
                  <a:lnTo>
                    <a:pt x="10057" y="13546"/>
                  </a:lnTo>
                  <a:lnTo>
                    <a:pt x="10057" y="14553"/>
                  </a:lnTo>
                  <a:close/>
                  <a:moveTo>
                    <a:pt x="9554" y="0"/>
                  </a:moveTo>
                  <a:lnTo>
                    <a:pt x="1509" y="1"/>
                  </a:lnTo>
                  <a:lnTo>
                    <a:pt x="1431" y="3"/>
                  </a:lnTo>
                  <a:lnTo>
                    <a:pt x="1354" y="8"/>
                  </a:lnTo>
                  <a:lnTo>
                    <a:pt x="1278" y="18"/>
                  </a:lnTo>
                  <a:lnTo>
                    <a:pt x="1204" y="31"/>
                  </a:lnTo>
                  <a:lnTo>
                    <a:pt x="1131" y="48"/>
                  </a:lnTo>
                  <a:lnTo>
                    <a:pt x="1060" y="68"/>
                  </a:lnTo>
                  <a:lnTo>
                    <a:pt x="990" y="92"/>
                  </a:lnTo>
                  <a:lnTo>
                    <a:pt x="921" y="118"/>
                  </a:lnTo>
                  <a:lnTo>
                    <a:pt x="854" y="149"/>
                  </a:lnTo>
                  <a:lnTo>
                    <a:pt x="789" y="183"/>
                  </a:lnTo>
                  <a:lnTo>
                    <a:pt x="726" y="219"/>
                  </a:lnTo>
                  <a:lnTo>
                    <a:pt x="665" y="258"/>
                  </a:lnTo>
                  <a:lnTo>
                    <a:pt x="605" y="300"/>
                  </a:lnTo>
                  <a:lnTo>
                    <a:pt x="549" y="344"/>
                  </a:lnTo>
                  <a:lnTo>
                    <a:pt x="494" y="391"/>
                  </a:lnTo>
                  <a:lnTo>
                    <a:pt x="442" y="442"/>
                  </a:lnTo>
                  <a:lnTo>
                    <a:pt x="391" y="494"/>
                  </a:lnTo>
                  <a:lnTo>
                    <a:pt x="344" y="548"/>
                  </a:lnTo>
                  <a:lnTo>
                    <a:pt x="300" y="605"/>
                  </a:lnTo>
                  <a:lnTo>
                    <a:pt x="257" y="664"/>
                  </a:lnTo>
                  <a:lnTo>
                    <a:pt x="218" y="726"/>
                  </a:lnTo>
                  <a:lnTo>
                    <a:pt x="182" y="789"/>
                  </a:lnTo>
                  <a:lnTo>
                    <a:pt x="149" y="853"/>
                  </a:lnTo>
                  <a:lnTo>
                    <a:pt x="119" y="920"/>
                  </a:lnTo>
                  <a:lnTo>
                    <a:pt x="92" y="989"/>
                  </a:lnTo>
                  <a:lnTo>
                    <a:pt x="67" y="1058"/>
                  </a:lnTo>
                  <a:lnTo>
                    <a:pt x="47" y="1130"/>
                  </a:lnTo>
                  <a:lnTo>
                    <a:pt x="30" y="1202"/>
                  </a:lnTo>
                  <a:lnTo>
                    <a:pt x="17" y="1277"/>
                  </a:lnTo>
                  <a:lnTo>
                    <a:pt x="8" y="1352"/>
                  </a:lnTo>
                  <a:lnTo>
                    <a:pt x="2" y="1428"/>
                  </a:lnTo>
                  <a:lnTo>
                    <a:pt x="0" y="1505"/>
                  </a:lnTo>
                  <a:lnTo>
                    <a:pt x="0" y="14553"/>
                  </a:lnTo>
                  <a:lnTo>
                    <a:pt x="2" y="14630"/>
                  </a:lnTo>
                  <a:lnTo>
                    <a:pt x="8" y="14706"/>
                  </a:lnTo>
                  <a:lnTo>
                    <a:pt x="17" y="14781"/>
                  </a:lnTo>
                  <a:lnTo>
                    <a:pt x="30" y="14856"/>
                  </a:lnTo>
                  <a:lnTo>
                    <a:pt x="47" y="14929"/>
                  </a:lnTo>
                  <a:lnTo>
                    <a:pt x="67" y="15000"/>
                  </a:lnTo>
                  <a:lnTo>
                    <a:pt x="92" y="15070"/>
                  </a:lnTo>
                  <a:lnTo>
                    <a:pt x="119" y="15139"/>
                  </a:lnTo>
                  <a:lnTo>
                    <a:pt x="149" y="15205"/>
                  </a:lnTo>
                  <a:lnTo>
                    <a:pt x="182" y="15270"/>
                  </a:lnTo>
                  <a:lnTo>
                    <a:pt x="218" y="15333"/>
                  </a:lnTo>
                  <a:lnTo>
                    <a:pt x="257" y="15395"/>
                  </a:lnTo>
                  <a:lnTo>
                    <a:pt x="300" y="15453"/>
                  </a:lnTo>
                  <a:lnTo>
                    <a:pt x="344" y="15510"/>
                  </a:lnTo>
                  <a:lnTo>
                    <a:pt x="391" y="15565"/>
                  </a:lnTo>
                  <a:lnTo>
                    <a:pt x="442" y="15617"/>
                  </a:lnTo>
                  <a:lnTo>
                    <a:pt x="494" y="15667"/>
                  </a:lnTo>
                  <a:lnTo>
                    <a:pt x="549" y="15714"/>
                  </a:lnTo>
                  <a:lnTo>
                    <a:pt x="605" y="15759"/>
                  </a:lnTo>
                  <a:lnTo>
                    <a:pt x="665" y="15801"/>
                  </a:lnTo>
                  <a:lnTo>
                    <a:pt x="726" y="15840"/>
                  </a:lnTo>
                  <a:lnTo>
                    <a:pt x="789" y="15876"/>
                  </a:lnTo>
                  <a:lnTo>
                    <a:pt x="854" y="15909"/>
                  </a:lnTo>
                  <a:lnTo>
                    <a:pt x="921" y="15940"/>
                  </a:lnTo>
                  <a:lnTo>
                    <a:pt x="990" y="15967"/>
                  </a:lnTo>
                  <a:lnTo>
                    <a:pt x="1060" y="15991"/>
                  </a:lnTo>
                  <a:lnTo>
                    <a:pt x="1131" y="16011"/>
                  </a:lnTo>
                  <a:lnTo>
                    <a:pt x="1204" y="16028"/>
                  </a:lnTo>
                  <a:lnTo>
                    <a:pt x="1278" y="16041"/>
                  </a:lnTo>
                  <a:lnTo>
                    <a:pt x="1354" y="16050"/>
                  </a:lnTo>
                  <a:lnTo>
                    <a:pt x="1431" y="16056"/>
                  </a:lnTo>
                  <a:lnTo>
                    <a:pt x="1509" y="16058"/>
                  </a:lnTo>
                  <a:lnTo>
                    <a:pt x="9554" y="16057"/>
                  </a:lnTo>
                  <a:lnTo>
                    <a:pt x="9632" y="16055"/>
                  </a:lnTo>
                  <a:lnTo>
                    <a:pt x="9708" y="16050"/>
                  </a:lnTo>
                  <a:lnTo>
                    <a:pt x="9784" y="16040"/>
                  </a:lnTo>
                  <a:lnTo>
                    <a:pt x="9858" y="16027"/>
                  </a:lnTo>
                  <a:lnTo>
                    <a:pt x="9932" y="16010"/>
                  </a:lnTo>
                  <a:lnTo>
                    <a:pt x="10003" y="15990"/>
                  </a:lnTo>
                  <a:lnTo>
                    <a:pt x="10073" y="15966"/>
                  </a:lnTo>
                  <a:lnTo>
                    <a:pt x="10142" y="15940"/>
                  </a:lnTo>
                  <a:lnTo>
                    <a:pt x="10208" y="15909"/>
                  </a:lnTo>
                  <a:lnTo>
                    <a:pt x="10274" y="15875"/>
                  </a:lnTo>
                  <a:lnTo>
                    <a:pt x="10337" y="15839"/>
                  </a:lnTo>
                  <a:lnTo>
                    <a:pt x="10397" y="15800"/>
                  </a:lnTo>
                  <a:lnTo>
                    <a:pt x="10457" y="15758"/>
                  </a:lnTo>
                  <a:lnTo>
                    <a:pt x="10514" y="15714"/>
                  </a:lnTo>
                  <a:lnTo>
                    <a:pt x="10568" y="15667"/>
                  </a:lnTo>
                  <a:lnTo>
                    <a:pt x="10620" y="15616"/>
                  </a:lnTo>
                  <a:lnTo>
                    <a:pt x="10671" y="15564"/>
                  </a:lnTo>
                  <a:lnTo>
                    <a:pt x="10718" y="15510"/>
                  </a:lnTo>
                  <a:lnTo>
                    <a:pt x="10763" y="15453"/>
                  </a:lnTo>
                  <a:lnTo>
                    <a:pt x="10806" y="15394"/>
                  </a:lnTo>
                  <a:lnTo>
                    <a:pt x="10845" y="15332"/>
                  </a:lnTo>
                  <a:lnTo>
                    <a:pt x="10881" y="15269"/>
                  </a:lnTo>
                  <a:lnTo>
                    <a:pt x="10914" y="15205"/>
                  </a:lnTo>
                  <a:lnTo>
                    <a:pt x="10944" y="15138"/>
                  </a:lnTo>
                  <a:lnTo>
                    <a:pt x="10971" y="15069"/>
                  </a:lnTo>
                  <a:lnTo>
                    <a:pt x="10996" y="15000"/>
                  </a:lnTo>
                  <a:lnTo>
                    <a:pt x="11016" y="14928"/>
                  </a:lnTo>
                  <a:lnTo>
                    <a:pt x="11032" y="14856"/>
                  </a:lnTo>
                  <a:lnTo>
                    <a:pt x="11046" y="14781"/>
                  </a:lnTo>
                  <a:lnTo>
                    <a:pt x="11055" y="14706"/>
                  </a:lnTo>
                  <a:lnTo>
                    <a:pt x="11061" y="14630"/>
                  </a:lnTo>
                  <a:lnTo>
                    <a:pt x="11063" y="14553"/>
                  </a:lnTo>
                  <a:lnTo>
                    <a:pt x="11063" y="1505"/>
                  </a:lnTo>
                  <a:lnTo>
                    <a:pt x="11061" y="1428"/>
                  </a:lnTo>
                  <a:lnTo>
                    <a:pt x="11055" y="1352"/>
                  </a:lnTo>
                  <a:lnTo>
                    <a:pt x="11046" y="1277"/>
                  </a:lnTo>
                  <a:lnTo>
                    <a:pt x="11032" y="1202"/>
                  </a:lnTo>
                  <a:lnTo>
                    <a:pt x="11016" y="1129"/>
                  </a:lnTo>
                  <a:lnTo>
                    <a:pt x="10996" y="1058"/>
                  </a:lnTo>
                  <a:lnTo>
                    <a:pt x="10971" y="988"/>
                  </a:lnTo>
                  <a:lnTo>
                    <a:pt x="10944" y="919"/>
                  </a:lnTo>
                  <a:lnTo>
                    <a:pt x="10914" y="853"/>
                  </a:lnTo>
                  <a:lnTo>
                    <a:pt x="10881" y="788"/>
                  </a:lnTo>
                  <a:lnTo>
                    <a:pt x="10845" y="725"/>
                  </a:lnTo>
                  <a:lnTo>
                    <a:pt x="10806" y="663"/>
                  </a:lnTo>
                  <a:lnTo>
                    <a:pt x="10763" y="605"/>
                  </a:lnTo>
                  <a:lnTo>
                    <a:pt x="10718" y="548"/>
                  </a:lnTo>
                  <a:lnTo>
                    <a:pt x="10671" y="493"/>
                  </a:lnTo>
                  <a:lnTo>
                    <a:pt x="10620" y="441"/>
                  </a:lnTo>
                  <a:lnTo>
                    <a:pt x="10568" y="391"/>
                  </a:lnTo>
                  <a:lnTo>
                    <a:pt x="10514" y="344"/>
                  </a:lnTo>
                  <a:lnTo>
                    <a:pt x="10457" y="299"/>
                  </a:lnTo>
                  <a:lnTo>
                    <a:pt x="10397" y="257"/>
                  </a:lnTo>
                  <a:lnTo>
                    <a:pt x="10337" y="218"/>
                  </a:lnTo>
                  <a:lnTo>
                    <a:pt x="10274" y="182"/>
                  </a:lnTo>
                  <a:lnTo>
                    <a:pt x="10208" y="149"/>
                  </a:lnTo>
                  <a:lnTo>
                    <a:pt x="10142" y="118"/>
                  </a:lnTo>
                  <a:lnTo>
                    <a:pt x="10073" y="91"/>
                  </a:lnTo>
                  <a:lnTo>
                    <a:pt x="10003" y="67"/>
                  </a:lnTo>
                  <a:lnTo>
                    <a:pt x="9932" y="47"/>
                  </a:lnTo>
                  <a:lnTo>
                    <a:pt x="9858" y="30"/>
                  </a:lnTo>
                  <a:lnTo>
                    <a:pt x="9784" y="17"/>
                  </a:lnTo>
                  <a:lnTo>
                    <a:pt x="9708" y="8"/>
                  </a:lnTo>
                  <a:lnTo>
                    <a:pt x="9632" y="2"/>
                  </a:lnTo>
                  <a:lnTo>
                    <a:pt x="955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41" name="ïŝlïḍè">
              <a:extLst>
                <a:ext uri="{FF2B5EF4-FFF2-40B4-BE49-F238E27FC236}">
                  <a16:creationId xmlns:a16="http://schemas.microsoft.com/office/drawing/2014/main" id="{2776C2EF-931A-4972-85F8-09EDD3D1D218}"/>
                </a:ext>
              </a:extLst>
            </p:cNvPr>
            <p:cNvSpPr/>
            <p:nvPr/>
          </p:nvSpPr>
          <p:spPr bwMode="auto">
            <a:xfrm>
              <a:off x="9000194" y="1330025"/>
              <a:ext cx="31635" cy="7478"/>
            </a:xfrm>
            <a:custGeom>
              <a:avLst/>
              <a:gdLst>
                <a:gd name="T0" fmla="*/ 2010 w 2011"/>
                <a:gd name="T1" fmla="*/ 276 h 502"/>
                <a:gd name="T2" fmla="*/ 2003 w 2011"/>
                <a:gd name="T3" fmla="*/ 314 h 502"/>
                <a:gd name="T4" fmla="*/ 1991 w 2011"/>
                <a:gd name="T5" fmla="*/ 349 h 502"/>
                <a:gd name="T6" fmla="*/ 1975 w 2011"/>
                <a:gd name="T7" fmla="*/ 382 h 502"/>
                <a:gd name="T8" fmla="*/ 1954 w 2011"/>
                <a:gd name="T9" fmla="*/ 411 h 502"/>
                <a:gd name="T10" fmla="*/ 1929 w 2011"/>
                <a:gd name="T11" fmla="*/ 437 h 502"/>
                <a:gd name="T12" fmla="*/ 1900 w 2011"/>
                <a:gd name="T13" fmla="*/ 459 h 502"/>
                <a:gd name="T14" fmla="*/ 1868 w 2011"/>
                <a:gd name="T15" fmla="*/ 477 h 502"/>
                <a:gd name="T16" fmla="*/ 1834 w 2011"/>
                <a:gd name="T17" fmla="*/ 491 h 502"/>
                <a:gd name="T18" fmla="*/ 1798 w 2011"/>
                <a:gd name="T19" fmla="*/ 499 h 502"/>
                <a:gd name="T20" fmla="*/ 1760 w 2011"/>
                <a:gd name="T21" fmla="*/ 502 h 502"/>
                <a:gd name="T22" fmla="*/ 225 w 2011"/>
                <a:gd name="T23" fmla="*/ 501 h 502"/>
                <a:gd name="T24" fmla="*/ 188 w 2011"/>
                <a:gd name="T25" fmla="*/ 494 h 502"/>
                <a:gd name="T26" fmla="*/ 153 w 2011"/>
                <a:gd name="T27" fmla="*/ 482 h 502"/>
                <a:gd name="T28" fmla="*/ 120 w 2011"/>
                <a:gd name="T29" fmla="*/ 466 h 502"/>
                <a:gd name="T30" fmla="*/ 91 w 2011"/>
                <a:gd name="T31" fmla="*/ 445 h 502"/>
                <a:gd name="T32" fmla="*/ 65 w 2011"/>
                <a:gd name="T33" fmla="*/ 420 h 502"/>
                <a:gd name="T34" fmla="*/ 43 w 2011"/>
                <a:gd name="T35" fmla="*/ 392 h 502"/>
                <a:gd name="T36" fmla="*/ 25 w 2011"/>
                <a:gd name="T37" fmla="*/ 360 h 502"/>
                <a:gd name="T38" fmla="*/ 11 w 2011"/>
                <a:gd name="T39" fmla="*/ 326 h 502"/>
                <a:gd name="T40" fmla="*/ 3 w 2011"/>
                <a:gd name="T41" fmla="*/ 289 h 502"/>
                <a:gd name="T42" fmla="*/ 0 w 2011"/>
                <a:gd name="T43" fmla="*/ 251 h 502"/>
                <a:gd name="T44" fmla="*/ 3 w 2011"/>
                <a:gd name="T45" fmla="*/ 213 h 502"/>
                <a:gd name="T46" fmla="*/ 11 w 2011"/>
                <a:gd name="T47" fmla="*/ 177 h 502"/>
                <a:gd name="T48" fmla="*/ 25 w 2011"/>
                <a:gd name="T49" fmla="*/ 143 h 502"/>
                <a:gd name="T50" fmla="*/ 43 w 2011"/>
                <a:gd name="T51" fmla="*/ 111 h 502"/>
                <a:gd name="T52" fmla="*/ 65 w 2011"/>
                <a:gd name="T53" fmla="*/ 83 h 502"/>
                <a:gd name="T54" fmla="*/ 91 w 2011"/>
                <a:gd name="T55" fmla="*/ 58 h 502"/>
                <a:gd name="T56" fmla="*/ 120 w 2011"/>
                <a:gd name="T57" fmla="*/ 37 h 502"/>
                <a:gd name="T58" fmla="*/ 153 w 2011"/>
                <a:gd name="T59" fmla="*/ 21 h 502"/>
                <a:gd name="T60" fmla="*/ 188 w 2011"/>
                <a:gd name="T61" fmla="*/ 8 h 502"/>
                <a:gd name="T62" fmla="*/ 225 w 2011"/>
                <a:gd name="T63" fmla="*/ 1 h 502"/>
                <a:gd name="T64" fmla="*/ 1760 w 2011"/>
                <a:gd name="T65" fmla="*/ 0 h 502"/>
                <a:gd name="T66" fmla="*/ 1798 w 2011"/>
                <a:gd name="T67" fmla="*/ 3 h 502"/>
                <a:gd name="T68" fmla="*/ 1834 w 2011"/>
                <a:gd name="T69" fmla="*/ 11 h 502"/>
                <a:gd name="T70" fmla="*/ 1868 w 2011"/>
                <a:gd name="T71" fmla="*/ 26 h 502"/>
                <a:gd name="T72" fmla="*/ 1900 w 2011"/>
                <a:gd name="T73" fmla="*/ 44 h 502"/>
                <a:gd name="T74" fmla="*/ 1929 w 2011"/>
                <a:gd name="T75" fmla="*/ 66 h 502"/>
                <a:gd name="T76" fmla="*/ 1954 w 2011"/>
                <a:gd name="T77" fmla="*/ 92 h 502"/>
                <a:gd name="T78" fmla="*/ 1975 w 2011"/>
                <a:gd name="T79" fmla="*/ 121 h 502"/>
                <a:gd name="T80" fmla="*/ 1991 w 2011"/>
                <a:gd name="T81" fmla="*/ 154 h 502"/>
                <a:gd name="T82" fmla="*/ 2003 w 2011"/>
                <a:gd name="T83" fmla="*/ 189 h 502"/>
                <a:gd name="T84" fmla="*/ 2010 w 2011"/>
                <a:gd name="T85" fmla="*/ 225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11" h="502">
                  <a:moveTo>
                    <a:pt x="2011" y="251"/>
                  </a:moveTo>
                  <a:lnTo>
                    <a:pt x="2011" y="264"/>
                  </a:lnTo>
                  <a:lnTo>
                    <a:pt x="2010" y="276"/>
                  </a:lnTo>
                  <a:lnTo>
                    <a:pt x="2008" y="289"/>
                  </a:lnTo>
                  <a:lnTo>
                    <a:pt x="2006" y="302"/>
                  </a:lnTo>
                  <a:lnTo>
                    <a:pt x="2003" y="314"/>
                  </a:lnTo>
                  <a:lnTo>
                    <a:pt x="2000" y="326"/>
                  </a:lnTo>
                  <a:lnTo>
                    <a:pt x="1996" y="338"/>
                  </a:lnTo>
                  <a:lnTo>
                    <a:pt x="1991" y="349"/>
                  </a:lnTo>
                  <a:lnTo>
                    <a:pt x="1986" y="360"/>
                  </a:lnTo>
                  <a:lnTo>
                    <a:pt x="1981" y="371"/>
                  </a:lnTo>
                  <a:lnTo>
                    <a:pt x="1975" y="382"/>
                  </a:lnTo>
                  <a:lnTo>
                    <a:pt x="1968" y="392"/>
                  </a:lnTo>
                  <a:lnTo>
                    <a:pt x="1961" y="402"/>
                  </a:lnTo>
                  <a:lnTo>
                    <a:pt x="1954" y="411"/>
                  </a:lnTo>
                  <a:lnTo>
                    <a:pt x="1946" y="420"/>
                  </a:lnTo>
                  <a:lnTo>
                    <a:pt x="1938" y="429"/>
                  </a:lnTo>
                  <a:lnTo>
                    <a:pt x="1929" y="437"/>
                  </a:lnTo>
                  <a:lnTo>
                    <a:pt x="1920" y="445"/>
                  </a:lnTo>
                  <a:lnTo>
                    <a:pt x="1910" y="452"/>
                  </a:lnTo>
                  <a:lnTo>
                    <a:pt x="1900" y="459"/>
                  </a:lnTo>
                  <a:lnTo>
                    <a:pt x="1890" y="466"/>
                  </a:lnTo>
                  <a:lnTo>
                    <a:pt x="1879" y="472"/>
                  </a:lnTo>
                  <a:lnTo>
                    <a:pt x="1868" y="477"/>
                  </a:lnTo>
                  <a:lnTo>
                    <a:pt x="1857" y="482"/>
                  </a:lnTo>
                  <a:lnTo>
                    <a:pt x="1846" y="487"/>
                  </a:lnTo>
                  <a:lnTo>
                    <a:pt x="1834" y="491"/>
                  </a:lnTo>
                  <a:lnTo>
                    <a:pt x="1822" y="494"/>
                  </a:lnTo>
                  <a:lnTo>
                    <a:pt x="1810" y="497"/>
                  </a:lnTo>
                  <a:lnTo>
                    <a:pt x="1798" y="499"/>
                  </a:lnTo>
                  <a:lnTo>
                    <a:pt x="1785" y="501"/>
                  </a:lnTo>
                  <a:lnTo>
                    <a:pt x="1773" y="502"/>
                  </a:lnTo>
                  <a:lnTo>
                    <a:pt x="1760" y="502"/>
                  </a:lnTo>
                  <a:lnTo>
                    <a:pt x="251" y="502"/>
                  </a:lnTo>
                  <a:lnTo>
                    <a:pt x="238" y="502"/>
                  </a:lnTo>
                  <a:lnTo>
                    <a:pt x="225" y="501"/>
                  </a:lnTo>
                  <a:lnTo>
                    <a:pt x="213" y="499"/>
                  </a:lnTo>
                  <a:lnTo>
                    <a:pt x="200" y="497"/>
                  </a:lnTo>
                  <a:lnTo>
                    <a:pt x="188" y="494"/>
                  </a:lnTo>
                  <a:lnTo>
                    <a:pt x="176" y="491"/>
                  </a:lnTo>
                  <a:lnTo>
                    <a:pt x="165" y="487"/>
                  </a:lnTo>
                  <a:lnTo>
                    <a:pt x="153" y="482"/>
                  </a:lnTo>
                  <a:lnTo>
                    <a:pt x="142" y="477"/>
                  </a:lnTo>
                  <a:lnTo>
                    <a:pt x="132" y="472"/>
                  </a:lnTo>
                  <a:lnTo>
                    <a:pt x="120" y="466"/>
                  </a:lnTo>
                  <a:lnTo>
                    <a:pt x="110" y="459"/>
                  </a:lnTo>
                  <a:lnTo>
                    <a:pt x="100" y="452"/>
                  </a:lnTo>
                  <a:lnTo>
                    <a:pt x="91" y="445"/>
                  </a:lnTo>
                  <a:lnTo>
                    <a:pt x="82" y="437"/>
                  </a:lnTo>
                  <a:lnTo>
                    <a:pt x="73" y="429"/>
                  </a:lnTo>
                  <a:lnTo>
                    <a:pt x="65" y="420"/>
                  </a:lnTo>
                  <a:lnTo>
                    <a:pt x="57" y="411"/>
                  </a:lnTo>
                  <a:lnTo>
                    <a:pt x="49" y="402"/>
                  </a:lnTo>
                  <a:lnTo>
                    <a:pt x="43" y="392"/>
                  </a:lnTo>
                  <a:lnTo>
                    <a:pt x="36" y="382"/>
                  </a:lnTo>
                  <a:lnTo>
                    <a:pt x="30" y="371"/>
                  </a:lnTo>
                  <a:lnTo>
                    <a:pt x="25" y="360"/>
                  </a:lnTo>
                  <a:lnTo>
                    <a:pt x="20" y="349"/>
                  </a:lnTo>
                  <a:lnTo>
                    <a:pt x="15" y="338"/>
                  </a:lnTo>
                  <a:lnTo>
                    <a:pt x="11" y="326"/>
                  </a:lnTo>
                  <a:lnTo>
                    <a:pt x="8" y="314"/>
                  </a:lnTo>
                  <a:lnTo>
                    <a:pt x="5" y="302"/>
                  </a:lnTo>
                  <a:lnTo>
                    <a:pt x="3" y="289"/>
                  </a:lnTo>
                  <a:lnTo>
                    <a:pt x="1" y="276"/>
                  </a:lnTo>
                  <a:lnTo>
                    <a:pt x="0" y="264"/>
                  </a:lnTo>
                  <a:lnTo>
                    <a:pt x="0" y="251"/>
                  </a:lnTo>
                  <a:lnTo>
                    <a:pt x="0" y="238"/>
                  </a:lnTo>
                  <a:lnTo>
                    <a:pt x="1" y="225"/>
                  </a:lnTo>
                  <a:lnTo>
                    <a:pt x="3" y="213"/>
                  </a:lnTo>
                  <a:lnTo>
                    <a:pt x="5" y="201"/>
                  </a:lnTo>
                  <a:lnTo>
                    <a:pt x="8" y="189"/>
                  </a:lnTo>
                  <a:lnTo>
                    <a:pt x="11" y="177"/>
                  </a:lnTo>
                  <a:lnTo>
                    <a:pt x="15" y="165"/>
                  </a:lnTo>
                  <a:lnTo>
                    <a:pt x="20" y="154"/>
                  </a:lnTo>
                  <a:lnTo>
                    <a:pt x="25" y="143"/>
                  </a:lnTo>
                  <a:lnTo>
                    <a:pt x="30" y="132"/>
                  </a:lnTo>
                  <a:lnTo>
                    <a:pt x="36" y="121"/>
                  </a:lnTo>
                  <a:lnTo>
                    <a:pt x="43" y="111"/>
                  </a:lnTo>
                  <a:lnTo>
                    <a:pt x="49" y="101"/>
                  </a:lnTo>
                  <a:lnTo>
                    <a:pt x="57" y="92"/>
                  </a:lnTo>
                  <a:lnTo>
                    <a:pt x="65" y="83"/>
                  </a:lnTo>
                  <a:lnTo>
                    <a:pt x="73" y="74"/>
                  </a:lnTo>
                  <a:lnTo>
                    <a:pt x="82" y="66"/>
                  </a:lnTo>
                  <a:lnTo>
                    <a:pt x="91" y="58"/>
                  </a:lnTo>
                  <a:lnTo>
                    <a:pt x="100" y="51"/>
                  </a:lnTo>
                  <a:lnTo>
                    <a:pt x="110" y="44"/>
                  </a:lnTo>
                  <a:lnTo>
                    <a:pt x="120" y="37"/>
                  </a:lnTo>
                  <a:lnTo>
                    <a:pt x="132" y="31"/>
                  </a:lnTo>
                  <a:lnTo>
                    <a:pt x="142" y="26"/>
                  </a:lnTo>
                  <a:lnTo>
                    <a:pt x="153" y="21"/>
                  </a:lnTo>
                  <a:lnTo>
                    <a:pt x="165" y="15"/>
                  </a:lnTo>
                  <a:lnTo>
                    <a:pt x="176" y="11"/>
                  </a:lnTo>
                  <a:lnTo>
                    <a:pt x="188" y="8"/>
                  </a:lnTo>
                  <a:lnTo>
                    <a:pt x="200" y="5"/>
                  </a:lnTo>
                  <a:lnTo>
                    <a:pt x="213" y="3"/>
                  </a:lnTo>
                  <a:lnTo>
                    <a:pt x="225" y="1"/>
                  </a:lnTo>
                  <a:lnTo>
                    <a:pt x="238" y="0"/>
                  </a:lnTo>
                  <a:lnTo>
                    <a:pt x="251" y="0"/>
                  </a:lnTo>
                  <a:lnTo>
                    <a:pt x="1760" y="0"/>
                  </a:lnTo>
                  <a:lnTo>
                    <a:pt x="1773" y="0"/>
                  </a:lnTo>
                  <a:lnTo>
                    <a:pt x="1785" y="1"/>
                  </a:lnTo>
                  <a:lnTo>
                    <a:pt x="1798" y="3"/>
                  </a:lnTo>
                  <a:lnTo>
                    <a:pt x="1810" y="5"/>
                  </a:lnTo>
                  <a:lnTo>
                    <a:pt x="1822" y="8"/>
                  </a:lnTo>
                  <a:lnTo>
                    <a:pt x="1834" y="11"/>
                  </a:lnTo>
                  <a:lnTo>
                    <a:pt x="1846" y="15"/>
                  </a:lnTo>
                  <a:lnTo>
                    <a:pt x="1857" y="21"/>
                  </a:lnTo>
                  <a:lnTo>
                    <a:pt x="1868" y="26"/>
                  </a:lnTo>
                  <a:lnTo>
                    <a:pt x="1879" y="31"/>
                  </a:lnTo>
                  <a:lnTo>
                    <a:pt x="1890" y="37"/>
                  </a:lnTo>
                  <a:lnTo>
                    <a:pt x="1900" y="44"/>
                  </a:lnTo>
                  <a:lnTo>
                    <a:pt x="1910" y="51"/>
                  </a:lnTo>
                  <a:lnTo>
                    <a:pt x="1920" y="58"/>
                  </a:lnTo>
                  <a:lnTo>
                    <a:pt x="1929" y="66"/>
                  </a:lnTo>
                  <a:lnTo>
                    <a:pt x="1938" y="74"/>
                  </a:lnTo>
                  <a:lnTo>
                    <a:pt x="1946" y="83"/>
                  </a:lnTo>
                  <a:lnTo>
                    <a:pt x="1954" y="92"/>
                  </a:lnTo>
                  <a:lnTo>
                    <a:pt x="1961" y="101"/>
                  </a:lnTo>
                  <a:lnTo>
                    <a:pt x="1968" y="111"/>
                  </a:lnTo>
                  <a:lnTo>
                    <a:pt x="1975" y="121"/>
                  </a:lnTo>
                  <a:lnTo>
                    <a:pt x="1981" y="132"/>
                  </a:lnTo>
                  <a:lnTo>
                    <a:pt x="1986" y="143"/>
                  </a:lnTo>
                  <a:lnTo>
                    <a:pt x="1991" y="154"/>
                  </a:lnTo>
                  <a:lnTo>
                    <a:pt x="1996" y="165"/>
                  </a:lnTo>
                  <a:lnTo>
                    <a:pt x="2000" y="177"/>
                  </a:lnTo>
                  <a:lnTo>
                    <a:pt x="2003" y="189"/>
                  </a:lnTo>
                  <a:lnTo>
                    <a:pt x="2006" y="201"/>
                  </a:lnTo>
                  <a:lnTo>
                    <a:pt x="2008" y="213"/>
                  </a:lnTo>
                  <a:lnTo>
                    <a:pt x="2010" y="225"/>
                  </a:lnTo>
                  <a:lnTo>
                    <a:pt x="2011" y="238"/>
                  </a:lnTo>
                  <a:lnTo>
                    <a:pt x="2011" y="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42" name="îsļîďê">
              <a:extLst>
                <a:ext uri="{FF2B5EF4-FFF2-40B4-BE49-F238E27FC236}">
                  <a16:creationId xmlns:a16="http://schemas.microsoft.com/office/drawing/2014/main" id="{BA7F275D-3B2C-4E2F-ABAA-C07C8DF9791C}"/>
                </a:ext>
              </a:extLst>
            </p:cNvPr>
            <p:cNvSpPr/>
            <p:nvPr/>
          </p:nvSpPr>
          <p:spPr bwMode="auto">
            <a:xfrm>
              <a:off x="9008247" y="1525016"/>
              <a:ext cx="15530" cy="7478"/>
            </a:xfrm>
            <a:custGeom>
              <a:avLst/>
              <a:gdLst>
                <a:gd name="T0" fmla="*/ 1004 w 1005"/>
                <a:gd name="T1" fmla="*/ 277 h 503"/>
                <a:gd name="T2" fmla="*/ 997 w 1005"/>
                <a:gd name="T3" fmla="*/ 314 h 503"/>
                <a:gd name="T4" fmla="*/ 985 w 1005"/>
                <a:gd name="T5" fmla="*/ 349 h 503"/>
                <a:gd name="T6" fmla="*/ 969 w 1005"/>
                <a:gd name="T7" fmla="*/ 381 h 503"/>
                <a:gd name="T8" fmla="*/ 948 w 1005"/>
                <a:gd name="T9" fmla="*/ 411 h 503"/>
                <a:gd name="T10" fmla="*/ 923 w 1005"/>
                <a:gd name="T11" fmla="*/ 437 h 503"/>
                <a:gd name="T12" fmla="*/ 894 w 1005"/>
                <a:gd name="T13" fmla="*/ 459 h 503"/>
                <a:gd name="T14" fmla="*/ 863 w 1005"/>
                <a:gd name="T15" fmla="*/ 477 h 503"/>
                <a:gd name="T16" fmla="*/ 828 w 1005"/>
                <a:gd name="T17" fmla="*/ 491 h 503"/>
                <a:gd name="T18" fmla="*/ 792 w 1005"/>
                <a:gd name="T19" fmla="*/ 500 h 503"/>
                <a:gd name="T20" fmla="*/ 754 w 1005"/>
                <a:gd name="T21" fmla="*/ 503 h 503"/>
                <a:gd name="T22" fmla="*/ 225 w 1005"/>
                <a:gd name="T23" fmla="*/ 501 h 503"/>
                <a:gd name="T24" fmla="*/ 188 w 1005"/>
                <a:gd name="T25" fmla="*/ 495 h 503"/>
                <a:gd name="T26" fmla="*/ 153 w 1005"/>
                <a:gd name="T27" fmla="*/ 482 h 503"/>
                <a:gd name="T28" fmla="*/ 120 w 1005"/>
                <a:gd name="T29" fmla="*/ 465 h 503"/>
                <a:gd name="T30" fmla="*/ 91 w 1005"/>
                <a:gd name="T31" fmla="*/ 444 h 503"/>
                <a:gd name="T32" fmla="*/ 65 w 1005"/>
                <a:gd name="T33" fmla="*/ 420 h 503"/>
                <a:gd name="T34" fmla="*/ 43 w 1005"/>
                <a:gd name="T35" fmla="*/ 391 h 503"/>
                <a:gd name="T36" fmla="*/ 25 w 1005"/>
                <a:gd name="T37" fmla="*/ 360 h 503"/>
                <a:gd name="T38" fmla="*/ 11 w 1005"/>
                <a:gd name="T39" fmla="*/ 326 h 503"/>
                <a:gd name="T40" fmla="*/ 3 w 1005"/>
                <a:gd name="T41" fmla="*/ 290 h 503"/>
                <a:gd name="T42" fmla="*/ 0 w 1005"/>
                <a:gd name="T43" fmla="*/ 252 h 503"/>
                <a:gd name="T44" fmla="*/ 3 w 1005"/>
                <a:gd name="T45" fmla="*/ 214 h 503"/>
                <a:gd name="T46" fmla="*/ 11 w 1005"/>
                <a:gd name="T47" fmla="*/ 176 h 503"/>
                <a:gd name="T48" fmla="*/ 25 w 1005"/>
                <a:gd name="T49" fmla="*/ 142 h 503"/>
                <a:gd name="T50" fmla="*/ 43 w 1005"/>
                <a:gd name="T51" fmla="*/ 111 h 503"/>
                <a:gd name="T52" fmla="*/ 65 w 1005"/>
                <a:gd name="T53" fmla="*/ 82 h 503"/>
                <a:gd name="T54" fmla="*/ 91 w 1005"/>
                <a:gd name="T55" fmla="*/ 58 h 503"/>
                <a:gd name="T56" fmla="*/ 120 w 1005"/>
                <a:gd name="T57" fmla="*/ 37 h 503"/>
                <a:gd name="T58" fmla="*/ 153 w 1005"/>
                <a:gd name="T59" fmla="*/ 20 h 503"/>
                <a:gd name="T60" fmla="*/ 188 w 1005"/>
                <a:gd name="T61" fmla="*/ 8 h 503"/>
                <a:gd name="T62" fmla="*/ 225 w 1005"/>
                <a:gd name="T63" fmla="*/ 2 h 503"/>
                <a:gd name="T64" fmla="*/ 754 w 1005"/>
                <a:gd name="T65" fmla="*/ 0 h 503"/>
                <a:gd name="T66" fmla="*/ 792 w 1005"/>
                <a:gd name="T67" fmla="*/ 3 h 503"/>
                <a:gd name="T68" fmla="*/ 828 w 1005"/>
                <a:gd name="T69" fmla="*/ 12 h 503"/>
                <a:gd name="T70" fmla="*/ 863 w 1005"/>
                <a:gd name="T71" fmla="*/ 25 h 503"/>
                <a:gd name="T72" fmla="*/ 894 w 1005"/>
                <a:gd name="T73" fmla="*/ 43 h 503"/>
                <a:gd name="T74" fmla="*/ 923 w 1005"/>
                <a:gd name="T75" fmla="*/ 65 h 503"/>
                <a:gd name="T76" fmla="*/ 948 w 1005"/>
                <a:gd name="T77" fmla="*/ 92 h 503"/>
                <a:gd name="T78" fmla="*/ 969 w 1005"/>
                <a:gd name="T79" fmla="*/ 121 h 503"/>
                <a:gd name="T80" fmla="*/ 985 w 1005"/>
                <a:gd name="T81" fmla="*/ 153 h 503"/>
                <a:gd name="T82" fmla="*/ 997 w 1005"/>
                <a:gd name="T83" fmla="*/ 188 h 503"/>
                <a:gd name="T84" fmla="*/ 1004 w 1005"/>
                <a:gd name="T85" fmla="*/ 226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" h="503">
                  <a:moveTo>
                    <a:pt x="1005" y="252"/>
                  </a:moveTo>
                  <a:lnTo>
                    <a:pt x="1005" y="264"/>
                  </a:lnTo>
                  <a:lnTo>
                    <a:pt x="1004" y="277"/>
                  </a:lnTo>
                  <a:lnTo>
                    <a:pt x="1002" y="290"/>
                  </a:lnTo>
                  <a:lnTo>
                    <a:pt x="1000" y="302"/>
                  </a:lnTo>
                  <a:lnTo>
                    <a:pt x="997" y="314"/>
                  </a:lnTo>
                  <a:lnTo>
                    <a:pt x="994" y="326"/>
                  </a:lnTo>
                  <a:lnTo>
                    <a:pt x="990" y="337"/>
                  </a:lnTo>
                  <a:lnTo>
                    <a:pt x="985" y="349"/>
                  </a:lnTo>
                  <a:lnTo>
                    <a:pt x="980" y="360"/>
                  </a:lnTo>
                  <a:lnTo>
                    <a:pt x="975" y="371"/>
                  </a:lnTo>
                  <a:lnTo>
                    <a:pt x="969" y="381"/>
                  </a:lnTo>
                  <a:lnTo>
                    <a:pt x="962" y="391"/>
                  </a:lnTo>
                  <a:lnTo>
                    <a:pt x="955" y="401"/>
                  </a:lnTo>
                  <a:lnTo>
                    <a:pt x="948" y="411"/>
                  </a:lnTo>
                  <a:lnTo>
                    <a:pt x="940" y="420"/>
                  </a:lnTo>
                  <a:lnTo>
                    <a:pt x="932" y="428"/>
                  </a:lnTo>
                  <a:lnTo>
                    <a:pt x="923" y="437"/>
                  </a:lnTo>
                  <a:lnTo>
                    <a:pt x="914" y="444"/>
                  </a:lnTo>
                  <a:lnTo>
                    <a:pt x="904" y="452"/>
                  </a:lnTo>
                  <a:lnTo>
                    <a:pt x="894" y="459"/>
                  </a:lnTo>
                  <a:lnTo>
                    <a:pt x="884" y="465"/>
                  </a:lnTo>
                  <a:lnTo>
                    <a:pt x="874" y="471"/>
                  </a:lnTo>
                  <a:lnTo>
                    <a:pt x="863" y="477"/>
                  </a:lnTo>
                  <a:lnTo>
                    <a:pt x="851" y="482"/>
                  </a:lnTo>
                  <a:lnTo>
                    <a:pt x="840" y="486"/>
                  </a:lnTo>
                  <a:lnTo>
                    <a:pt x="828" y="491"/>
                  </a:lnTo>
                  <a:lnTo>
                    <a:pt x="816" y="495"/>
                  </a:lnTo>
                  <a:lnTo>
                    <a:pt x="804" y="497"/>
                  </a:lnTo>
                  <a:lnTo>
                    <a:pt x="792" y="500"/>
                  </a:lnTo>
                  <a:lnTo>
                    <a:pt x="779" y="501"/>
                  </a:lnTo>
                  <a:lnTo>
                    <a:pt x="767" y="502"/>
                  </a:lnTo>
                  <a:lnTo>
                    <a:pt x="754" y="503"/>
                  </a:lnTo>
                  <a:lnTo>
                    <a:pt x="251" y="503"/>
                  </a:lnTo>
                  <a:lnTo>
                    <a:pt x="238" y="502"/>
                  </a:lnTo>
                  <a:lnTo>
                    <a:pt x="225" y="501"/>
                  </a:lnTo>
                  <a:lnTo>
                    <a:pt x="213" y="500"/>
                  </a:lnTo>
                  <a:lnTo>
                    <a:pt x="200" y="497"/>
                  </a:lnTo>
                  <a:lnTo>
                    <a:pt x="188" y="495"/>
                  </a:lnTo>
                  <a:lnTo>
                    <a:pt x="176" y="491"/>
                  </a:lnTo>
                  <a:lnTo>
                    <a:pt x="165" y="486"/>
                  </a:lnTo>
                  <a:lnTo>
                    <a:pt x="153" y="482"/>
                  </a:lnTo>
                  <a:lnTo>
                    <a:pt x="141" y="477"/>
                  </a:lnTo>
                  <a:lnTo>
                    <a:pt x="131" y="471"/>
                  </a:lnTo>
                  <a:lnTo>
                    <a:pt x="120" y="465"/>
                  </a:lnTo>
                  <a:lnTo>
                    <a:pt x="110" y="459"/>
                  </a:lnTo>
                  <a:lnTo>
                    <a:pt x="100" y="452"/>
                  </a:lnTo>
                  <a:lnTo>
                    <a:pt x="91" y="444"/>
                  </a:lnTo>
                  <a:lnTo>
                    <a:pt x="82" y="437"/>
                  </a:lnTo>
                  <a:lnTo>
                    <a:pt x="73" y="428"/>
                  </a:lnTo>
                  <a:lnTo>
                    <a:pt x="65" y="420"/>
                  </a:lnTo>
                  <a:lnTo>
                    <a:pt x="57" y="411"/>
                  </a:lnTo>
                  <a:lnTo>
                    <a:pt x="49" y="401"/>
                  </a:lnTo>
                  <a:lnTo>
                    <a:pt x="43" y="391"/>
                  </a:lnTo>
                  <a:lnTo>
                    <a:pt x="36" y="381"/>
                  </a:lnTo>
                  <a:lnTo>
                    <a:pt x="30" y="371"/>
                  </a:lnTo>
                  <a:lnTo>
                    <a:pt x="25" y="360"/>
                  </a:lnTo>
                  <a:lnTo>
                    <a:pt x="20" y="349"/>
                  </a:lnTo>
                  <a:lnTo>
                    <a:pt x="15" y="337"/>
                  </a:lnTo>
                  <a:lnTo>
                    <a:pt x="11" y="326"/>
                  </a:lnTo>
                  <a:lnTo>
                    <a:pt x="8" y="314"/>
                  </a:lnTo>
                  <a:lnTo>
                    <a:pt x="5" y="302"/>
                  </a:lnTo>
                  <a:lnTo>
                    <a:pt x="3" y="290"/>
                  </a:lnTo>
                  <a:lnTo>
                    <a:pt x="1" y="277"/>
                  </a:lnTo>
                  <a:lnTo>
                    <a:pt x="0" y="264"/>
                  </a:lnTo>
                  <a:lnTo>
                    <a:pt x="0" y="252"/>
                  </a:lnTo>
                  <a:lnTo>
                    <a:pt x="0" y="239"/>
                  </a:lnTo>
                  <a:lnTo>
                    <a:pt x="1" y="226"/>
                  </a:lnTo>
                  <a:lnTo>
                    <a:pt x="3" y="214"/>
                  </a:lnTo>
                  <a:lnTo>
                    <a:pt x="5" y="200"/>
                  </a:lnTo>
                  <a:lnTo>
                    <a:pt x="8" y="188"/>
                  </a:lnTo>
                  <a:lnTo>
                    <a:pt x="11" y="176"/>
                  </a:lnTo>
                  <a:lnTo>
                    <a:pt x="15" y="165"/>
                  </a:lnTo>
                  <a:lnTo>
                    <a:pt x="20" y="153"/>
                  </a:lnTo>
                  <a:lnTo>
                    <a:pt x="25" y="142"/>
                  </a:lnTo>
                  <a:lnTo>
                    <a:pt x="30" y="131"/>
                  </a:lnTo>
                  <a:lnTo>
                    <a:pt x="36" y="121"/>
                  </a:lnTo>
                  <a:lnTo>
                    <a:pt x="43" y="111"/>
                  </a:lnTo>
                  <a:lnTo>
                    <a:pt x="49" y="101"/>
                  </a:lnTo>
                  <a:lnTo>
                    <a:pt x="57" y="92"/>
                  </a:lnTo>
                  <a:lnTo>
                    <a:pt x="65" y="82"/>
                  </a:lnTo>
                  <a:lnTo>
                    <a:pt x="73" y="74"/>
                  </a:lnTo>
                  <a:lnTo>
                    <a:pt x="82" y="65"/>
                  </a:lnTo>
                  <a:lnTo>
                    <a:pt x="91" y="58"/>
                  </a:lnTo>
                  <a:lnTo>
                    <a:pt x="100" y="50"/>
                  </a:lnTo>
                  <a:lnTo>
                    <a:pt x="110" y="43"/>
                  </a:lnTo>
                  <a:lnTo>
                    <a:pt x="120" y="37"/>
                  </a:lnTo>
                  <a:lnTo>
                    <a:pt x="131" y="31"/>
                  </a:lnTo>
                  <a:lnTo>
                    <a:pt x="141" y="25"/>
                  </a:lnTo>
                  <a:lnTo>
                    <a:pt x="153" y="20"/>
                  </a:lnTo>
                  <a:lnTo>
                    <a:pt x="165" y="16"/>
                  </a:lnTo>
                  <a:lnTo>
                    <a:pt x="176" y="12"/>
                  </a:lnTo>
                  <a:lnTo>
                    <a:pt x="188" y="8"/>
                  </a:lnTo>
                  <a:lnTo>
                    <a:pt x="200" y="6"/>
                  </a:lnTo>
                  <a:lnTo>
                    <a:pt x="213" y="3"/>
                  </a:lnTo>
                  <a:lnTo>
                    <a:pt x="225" y="2"/>
                  </a:lnTo>
                  <a:lnTo>
                    <a:pt x="238" y="1"/>
                  </a:lnTo>
                  <a:lnTo>
                    <a:pt x="251" y="0"/>
                  </a:lnTo>
                  <a:lnTo>
                    <a:pt x="754" y="0"/>
                  </a:lnTo>
                  <a:lnTo>
                    <a:pt x="767" y="1"/>
                  </a:lnTo>
                  <a:lnTo>
                    <a:pt x="779" y="2"/>
                  </a:lnTo>
                  <a:lnTo>
                    <a:pt x="792" y="3"/>
                  </a:lnTo>
                  <a:lnTo>
                    <a:pt x="804" y="6"/>
                  </a:lnTo>
                  <a:lnTo>
                    <a:pt x="816" y="8"/>
                  </a:lnTo>
                  <a:lnTo>
                    <a:pt x="828" y="12"/>
                  </a:lnTo>
                  <a:lnTo>
                    <a:pt x="840" y="16"/>
                  </a:lnTo>
                  <a:lnTo>
                    <a:pt x="851" y="20"/>
                  </a:lnTo>
                  <a:lnTo>
                    <a:pt x="863" y="25"/>
                  </a:lnTo>
                  <a:lnTo>
                    <a:pt x="874" y="31"/>
                  </a:lnTo>
                  <a:lnTo>
                    <a:pt x="884" y="37"/>
                  </a:lnTo>
                  <a:lnTo>
                    <a:pt x="894" y="43"/>
                  </a:lnTo>
                  <a:lnTo>
                    <a:pt x="904" y="50"/>
                  </a:lnTo>
                  <a:lnTo>
                    <a:pt x="914" y="58"/>
                  </a:lnTo>
                  <a:lnTo>
                    <a:pt x="923" y="65"/>
                  </a:lnTo>
                  <a:lnTo>
                    <a:pt x="932" y="74"/>
                  </a:lnTo>
                  <a:lnTo>
                    <a:pt x="940" y="82"/>
                  </a:lnTo>
                  <a:lnTo>
                    <a:pt x="948" y="92"/>
                  </a:lnTo>
                  <a:lnTo>
                    <a:pt x="955" y="101"/>
                  </a:lnTo>
                  <a:lnTo>
                    <a:pt x="962" y="111"/>
                  </a:lnTo>
                  <a:lnTo>
                    <a:pt x="969" y="121"/>
                  </a:lnTo>
                  <a:lnTo>
                    <a:pt x="975" y="131"/>
                  </a:lnTo>
                  <a:lnTo>
                    <a:pt x="980" y="142"/>
                  </a:lnTo>
                  <a:lnTo>
                    <a:pt x="985" y="153"/>
                  </a:lnTo>
                  <a:lnTo>
                    <a:pt x="990" y="165"/>
                  </a:lnTo>
                  <a:lnTo>
                    <a:pt x="994" y="176"/>
                  </a:lnTo>
                  <a:lnTo>
                    <a:pt x="997" y="188"/>
                  </a:lnTo>
                  <a:lnTo>
                    <a:pt x="1000" y="200"/>
                  </a:lnTo>
                  <a:lnTo>
                    <a:pt x="1002" y="214"/>
                  </a:lnTo>
                  <a:lnTo>
                    <a:pt x="1004" y="226"/>
                  </a:lnTo>
                  <a:lnTo>
                    <a:pt x="1005" y="239"/>
                  </a:lnTo>
                  <a:lnTo>
                    <a:pt x="1005" y="2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43" name="íS1idê">
              <a:extLst>
                <a:ext uri="{FF2B5EF4-FFF2-40B4-BE49-F238E27FC236}">
                  <a16:creationId xmlns:a16="http://schemas.microsoft.com/office/drawing/2014/main" id="{60171F36-3A6B-4F51-85DD-05DFC5BB1967}"/>
                </a:ext>
              </a:extLst>
            </p:cNvPr>
            <p:cNvSpPr/>
            <p:nvPr/>
          </p:nvSpPr>
          <p:spPr bwMode="auto">
            <a:xfrm>
              <a:off x="8197203" y="2640891"/>
              <a:ext cx="200484" cy="200483"/>
            </a:xfrm>
            <a:custGeom>
              <a:avLst/>
              <a:gdLst>
                <a:gd name="T0" fmla="*/ 11128 w 16095"/>
                <a:gd name="T1" fmla="*/ 11977 h 16095"/>
                <a:gd name="T2" fmla="*/ 11777 w 16095"/>
                <a:gd name="T3" fmla="*/ 9543 h 16095"/>
                <a:gd name="T4" fmla="*/ 13241 w 16095"/>
                <a:gd name="T5" fmla="*/ 8457 h 16095"/>
                <a:gd name="T6" fmla="*/ 13492 w 16095"/>
                <a:gd name="T7" fmla="*/ 6286 h 16095"/>
                <a:gd name="T8" fmla="*/ 12358 w 16095"/>
                <a:gd name="T9" fmla="*/ 4722 h 16095"/>
                <a:gd name="T10" fmla="*/ 10731 w 16095"/>
                <a:gd name="T11" fmla="*/ 2943 h 16095"/>
                <a:gd name="T12" fmla="*/ 12110 w 16095"/>
                <a:gd name="T13" fmla="*/ 1109 h 16095"/>
                <a:gd name="T14" fmla="*/ 14079 w 16095"/>
                <a:gd name="T15" fmla="*/ 2205 h 16095"/>
                <a:gd name="T16" fmla="*/ 15086 w 16095"/>
                <a:gd name="T17" fmla="*/ 6731 h 16095"/>
                <a:gd name="T18" fmla="*/ 14265 w 16095"/>
                <a:gd name="T19" fmla="*/ 11509 h 16095"/>
                <a:gd name="T20" fmla="*/ 6539 w 16095"/>
                <a:gd name="T21" fmla="*/ 8550 h 16095"/>
                <a:gd name="T22" fmla="*/ 5762 w 16095"/>
                <a:gd name="T23" fmla="*/ 8001 h 16095"/>
                <a:gd name="T24" fmla="*/ 5553 w 16095"/>
                <a:gd name="T25" fmla="*/ 6738 h 16095"/>
                <a:gd name="T26" fmla="*/ 6059 w 16095"/>
                <a:gd name="T27" fmla="*/ 5715 h 16095"/>
                <a:gd name="T28" fmla="*/ 7265 w 16095"/>
                <a:gd name="T29" fmla="*/ 5480 h 16095"/>
                <a:gd name="T30" fmla="*/ 8743 w 16095"/>
                <a:gd name="T31" fmla="*/ 4899 h 16095"/>
                <a:gd name="T32" fmla="*/ 9075 w 16095"/>
                <a:gd name="T33" fmla="*/ 6240 h 16095"/>
                <a:gd name="T34" fmla="*/ 9198 w 16095"/>
                <a:gd name="T35" fmla="*/ 9111 h 16095"/>
                <a:gd name="T36" fmla="*/ 8106 w 16095"/>
                <a:gd name="T37" fmla="*/ 8857 h 16095"/>
                <a:gd name="T38" fmla="*/ 6033 w 16095"/>
                <a:gd name="T39" fmla="*/ 15089 h 16095"/>
                <a:gd name="T40" fmla="*/ 3950 w 16095"/>
                <a:gd name="T41" fmla="*/ 10033 h 16095"/>
                <a:gd name="T42" fmla="*/ 4102 w 16095"/>
                <a:gd name="T43" fmla="*/ 9562 h 16095"/>
                <a:gd name="T44" fmla="*/ 5530 w 16095"/>
                <a:gd name="T45" fmla="*/ 13580 h 16095"/>
                <a:gd name="T46" fmla="*/ 5719 w 16095"/>
                <a:gd name="T47" fmla="*/ 14249 h 16095"/>
                <a:gd name="T48" fmla="*/ 1011 w 16095"/>
                <a:gd name="T49" fmla="*/ 6888 h 16095"/>
                <a:gd name="T50" fmla="*/ 1450 w 16095"/>
                <a:gd name="T51" fmla="*/ 5790 h 16095"/>
                <a:gd name="T52" fmla="*/ 5402 w 16095"/>
                <a:gd name="T53" fmla="*/ 5717 h 16095"/>
                <a:gd name="T54" fmla="*/ 5075 w 16095"/>
                <a:gd name="T55" fmla="*/ 6548 h 16095"/>
                <a:gd name="T56" fmla="*/ 5075 w 16095"/>
                <a:gd name="T57" fmla="*/ 7536 h 16095"/>
                <a:gd name="T58" fmla="*/ 5402 w 16095"/>
                <a:gd name="T59" fmla="*/ 8367 h 16095"/>
                <a:gd name="T60" fmla="*/ 1450 w 16095"/>
                <a:gd name="T61" fmla="*/ 8293 h 16095"/>
                <a:gd name="T62" fmla="*/ 1011 w 16095"/>
                <a:gd name="T63" fmla="*/ 7196 h 16095"/>
                <a:gd name="T64" fmla="*/ 10133 w 16095"/>
                <a:gd name="T65" fmla="*/ 5623 h 16095"/>
                <a:gd name="T66" fmla="*/ 12279 w 16095"/>
                <a:gd name="T67" fmla="*/ 5974 h 16095"/>
                <a:gd name="T68" fmla="*/ 12569 w 16095"/>
                <a:gd name="T69" fmla="*/ 7196 h 16095"/>
                <a:gd name="T70" fmla="*/ 12131 w 16095"/>
                <a:gd name="T71" fmla="*/ 8293 h 16095"/>
                <a:gd name="T72" fmla="*/ 10100 w 16095"/>
                <a:gd name="T73" fmla="*/ 8092 h 16095"/>
                <a:gd name="T74" fmla="*/ 12017 w 16095"/>
                <a:gd name="T75" fmla="*/ 72 h 16095"/>
                <a:gd name="T76" fmla="*/ 10628 w 16095"/>
                <a:gd name="T77" fmla="*/ 1060 h 16095"/>
                <a:gd name="T78" fmla="*/ 9332 w 16095"/>
                <a:gd name="T79" fmla="*/ 3046 h 16095"/>
                <a:gd name="T80" fmla="*/ 7289 w 16095"/>
                <a:gd name="T81" fmla="*/ 4450 h 16095"/>
                <a:gd name="T82" fmla="*/ 1045 w 16095"/>
                <a:gd name="T83" fmla="*/ 4826 h 16095"/>
                <a:gd name="T84" fmla="*/ 40 w 16095"/>
                <a:gd name="T85" fmla="*/ 6529 h 16095"/>
                <a:gd name="T86" fmla="*/ 454 w 16095"/>
                <a:gd name="T87" fmla="*/ 8650 h 16095"/>
                <a:gd name="T88" fmla="*/ 2012 w 16095"/>
                <a:gd name="T89" fmla="*/ 9556 h 16095"/>
                <a:gd name="T90" fmla="*/ 2785 w 16095"/>
                <a:gd name="T91" fmla="*/ 9924 h 16095"/>
                <a:gd name="T92" fmla="*/ 3026 w 16095"/>
                <a:gd name="T93" fmla="*/ 15242 h 16095"/>
                <a:gd name="T94" fmla="*/ 3500 w 16095"/>
                <a:gd name="T95" fmla="*/ 15949 h 16095"/>
                <a:gd name="T96" fmla="*/ 6332 w 16095"/>
                <a:gd name="T97" fmla="*/ 16050 h 16095"/>
                <a:gd name="T98" fmla="*/ 6960 w 16095"/>
                <a:gd name="T99" fmla="*/ 15480 h 16095"/>
                <a:gd name="T100" fmla="*/ 6942 w 16095"/>
                <a:gd name="T101" fmla="*/ 14220 h 16095"/>
                <a:gd name="T102" fmla="*/ 6548 w 16095"/>
                <a:gd name="T103" fmla="*/ 13658 h 16095"/>
                <a:gd name="T104" fmla="*/ 6615 w 16095"/>
                <a:gd name="T105" fmla="*/ 9807 h 16095"/>
                <a:gd name="T106" fmla="*/ 6860 w 16095"/>
                <a:gd name="T107" fmla="*/ 9606 h 16095"/>
                <a:gd name="T108" fmla="*/ 8713 w 16095"/>
                <a:gd name="T109" fmla="*/ 10411 h 16095"/>
                <a:gd name="T110" fmla="*/ 10205 w 16095"/>
                <a:gd name="T111" fmla="*/ 12386 h 16095"/>
                <a:gd name="T112" fmla="*/ 11427 w 16095"/>
                <a:gd name="T113" fmla="*/ 13755 h 16095"/>
                <a:gd name="T114" fmla="*/ 13576 w 16095"/>
                <a:gd name="T115" fmla="*/ 13838 h 16095"/>
                <a:gd name="T116" fmla="*/ 15810 w 16095"/>
                <a:gd name="T117" fmla="*/ 9925 h 16095"/>
                <a:gd name="T118" fmla="*/ 15810 w 16095"/>
                <a:gd name="T119" fmla="*/ 4159 h 16095"/>
                <a:gd name="T120" fmla="*/ 13576 w 16095"/>
                <a:gd name="T121" fmla="*/ 245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095" h="16095">
                  <a:moveTo>
                    <a:pt x="12574" y="13077"/>
                  </a:moveTo>
                  <a:lnTo>
                    <a:pt x="12480" y="13073"/>
                  </a:lnTo>
                  <a:lnTo>
                    <a:pt x="12386" y="13060"/>
                  </a:lnTo>
                  <a:lnTo>
                    <a:pt x="12293" y="13040"/>
                  </a:lnTo>
                  <a:lnTo>
                    <a:pt x="12201" y="13011"/>
                  </a:lnTo>
                  <a:lnTo>
                    <a:pt x="12110" y="12975"/>
                  </a:lnTo>
                  <a:lnTo>
                    <a:pt x="12021" y="12930"/>
                  </a:lnTo>
                  <a:lnTo>
                    <a:pt x="11932" y="12878"/>
                  </a:lnTo>
                  <a:lnTo>
                    <a:pt x="11845" y="12819"/>
                  </a:lnTo>
                  <a:lnTo>
                    <a:pt x="11759" y="12752"/>
                  </a:lnTo>
                  <a:lnTo>
                    <a:pt x="11675" y="12679"/>
                  </a:lnTo>
                  <a:lnTo>
                    <a:pt x="11591" y="12598"/>
                  </a:lnTo>
                  <a:lnTo>
                    <a:pt x="11510" y="12511"/>
                  </a:lnTo>
                  <a:lnTo>
                    <a:pt x="11430" y="12416"/>
                  </a:lnTo>
                  <a:lnTo>
                    <a:pt x="11352" y="12316"/>
                  </a:lnTo>
                  <a:lnTo>
                    <a:pt x="11276" y="12209"/>
                  </a:lnTo>
                  <a:lnTo>
                    <a:pt x="11201" y="12095"/>
                  </a:lnTo>
                  <a:lnTo>
                    <a:pt x="11128" y="11977"/>
                  </a:lnTo>
                  <a:lnTo>
                    <a:pt x="11056" y="11851"/>
                  </a:lnTo>
                  <a:lnTo>
                    <a:pt x="10988" y="11720"/>
                  </a:lnTo>
                  <a:lnTo>
                    <a:pt x="10920" y="11583"/>
                  </a:lnTo>
                  <a:lnTo>
                    <a:pt x="10855" y="11441"/>
                  </a:lnTo>
                  <a:lnTo>
                    <a:pt x="10792" y="11294"/>
                  </a:lnTo>
                  <a:lnTo>
                    <a:pt x="10731" y="11141"/>
                  </a:lnTo>
                  <a:lnTo>
                    <a:pt x="10672" y="10983"/>
                  </a:lnTo>
                  <a:lnTo>
                    <a:pt x="10616" y="10820"/>
                  </a:lnTo>
                  <a:lnTo>
                    <a:pt x="10561" y="10653"/>
                  </a:lnTo>
                  <a:lnTo>
                    <a:pt x="10510" y="10481"/>
                  </a:lnTo>
                  <a:lnTo>
                    <a:pt x="10461" y="10304"/>
                  </a:lnTo>
                  <a:lnTo>
                    <a:pt x="10414" y="10123"/>
                  </a:lnTo>
                  <a:lnTo>
                    <a:pt x="10370" y="9939"/>
                  </a:lnTo>
                  <a:lnTo>
                    <a:pt x="10329" y="9750"/>
                  </a:lnTo>
                  <a:lnTo>
                    <a:pt x="10291" y="9556"/>
                  </a:lnTo>
                  <a:lnTo>
                    <a:pt x="11568" y="9556"/>
                  </a:lnTo>
                  <a:lnTo>
                    <a:pt x="11673" y="9553"/>
                  </a:lnTo>
                  <a:lnTo>
                    <a:pt x="11777" y="9543"/>
                  </a:lnTo>
                  <a:lnTo>
                    <a:pt x="11878" y="9528"/>
                  </a:lnTo>
                  <a:lnTo>
                    <a:pt x="11979" y="9506"/>
                  </a:lnTo>
                  <a:lnTo>
                    <a:pt x="12076" y="9479"/>
                  </a:lnTo>
                  <a:lnTo>
                    <a:pt x="12173" y="9445"/>
                  </a:lnTo>
                  <a:lnTo>
                    <a:pt x="12266" y="9407"/>
                  </a:lnTo>
                  <a:lnTo>
                    <a:pt x="12358" y="9362"/>
                  </a:lnTo>
                  <a:lnTo>
                    <a:pt x="12447" y="9312"/>
                  </a:lnTo>
                  <a:lnTo>
                    <a:pt x="12535" y="9258"/>
                  </a:lnTo>
                  <a:lnTo>
                    <a:pt x="12618" y="9197"/>
                  </a:lnTo>
                  <a:lnTo>
                    <a:pt x="12700" y="9133"/>
                  </a:lnTo>
                  <a:lnTo>
                    <a:pt x="12779" y="9063"/>
                  </a:lnTo>
                  <a:lnTo>
                    <a:pt x="12855" y="8989"/>
                  </a:lnTo>
                  <a:lnTo>
                    <a:pt x="12927" y="8911"/>
                  </a:lnTo>
                  <a:lnTo>
                    <a:pt x="12997" y="8828"/>
                  </a:lnTo>
                  <a:lnTo>
                    <a:pt x="13063" y="8742"/>
                  </a:lnTo>
                  <a:lnTo>
                    <a:pt x="13126" y="8650"/>
                  </a:lnTo>
                  <a:lnTo>
                    <a:pt x="13186" y="8555"/>
                  </a:lnTo>
                  <a:lnTo>
                    <a:pt x="13241" y="8457"/>
                  </a:lnTo>
                  <a:lnTo>
                    <a:pt x="13292" y="8355"/>
                  </a:lnTo>
                  <a:lnTo>
                    <a:pt x="13341" y="8250"/>
                  </a:lnTo>
                  <a:lnTo>
                    <a:pt x="13385" y="8141"/>
                  </a:lnTo>
                  <a:lnTo>
                    <a:pt x="13424" y="8029"/>
                  </a:lnTo>
                  <a:lnTo>
                    <a:pt x="13460" y="7915"/>
                  </a:lnTo>
                  <a:lnTo>
                    <a:pt x="13492" y="7798"/>
                  </a:lnTo>
                  <a:lnTo>
                    <a:pt x="13518" y="7677"/>
                  </a:lnTo>
                  <a:lnTo>
                    <a:pt x="13540" y="7555"/>
                  </a:lnTo>
                  <a:lnTo>
                    <a:pt x="13557" y="7430"/>
                  </a:lnTo>
                  <a:lnTo>
                    <a:pt x="13570" y="7302"/>
                  </a:lnTo>
                  <a:lnTo>
                    <a:pt x="13577" y="7173"/>
                  </a:lnTo>
                  <a:lnTo>
                    <a:pt x="13580" y="7042"/>
                  </a:lnTo>
                  <a:lnTo>
                    <a:pt x="13577" y="6911"/>
                  </a:lnTo>
                  <a:lnTo>
                    <a:pt x="13570" y="6781"/>
                  </a:lnTo>
                  <a:lnTo>
                    <a:pt x="13557" y="6653"/>
                  </a:lnTo>
                  <a:lnTo>
                    <a:pt x="13540" y="6529"/>
                  </a:lnTo>
                  <a:lnTo>
                    <a:pt x="13518" y="6406"/>
                  </a:lnTo>
                  <a:lnTo>
                    <a:pt x="13492" y="6286"/>
                  </a:lnTo>
                  <a:lnTo>
                    <a:pt x="13460" y="6168"/>
                  </a:lnTo>
                  <a:lnTo>
                    <a:pt x="13424" y="6054"/>
                  </a:lnTo>
                  <a:lnTo>
                    <a:pt x="13385" y="5942"/>
                  </a:lnTo>
                  <a:lnTo>
                    <a:pt x="13341" y="5833"/>
                  </a:lnTo>
                  <a:lnTo>
                    <a:pt x="13292" y="5728"/>
                  </a:lnTo>
                  <a:lnTo>
                    <a:pt x="13241" y="5626"/>
                  </a:lnTo>
                  <a:lnTo>
                    <a:pt x="13186" y="5528"/>
                  </a:lnTo>
                  <a:lnTo>
                    <a:pt x="13126" y="5433"/>
                  </a:lnTo>
                  <a:lnTo>
                    <a:pt x="13063" y="5343"/>
                  </a:lnTo>
                  <a:lnTo>
                    <a:pt x="12997" y="5255"/>
                  </a:lnTo>
                  <a:lnTo>
                    <a:pt x="12927" y="5173"/>
                  </a:lnTo>
                  <a:lnTo>
                    <a:pt x="12855" y="5094"/>
                  </a:lnTo>
                  <a:lnTo>
                    <a:pt x="12779" y="5020"/>
                  </a:lnTo>
                  <a:lnTo>
                    <a:pt x="12700" y="4950"/>
                  </a:lnTo>
                  <a:lnTo>
                    <a:pt x="12618" y="4886"/>
                  </a:lnTo>
                  <a:lnTo>
                    <a:pt x="12535" y="4826"/>
                  </a:lnTo>
                  <a:lnTo>
                    <a:pt x="12447" y="4771"/>
                  </a:lnTo>
                  <a:lnTo>
                    <a:pt x="12358" y="4722"/>
                  </a:lnTo>
                  <a:lnTo>
                    <a:pt x="12266" y="4677"/>
                  </a:lnTo>
                  <a:lnTo>
                    <a:pt x="12173" y="4638"/>
                  </a:lnTo>
                  <a:lnTo>
                    <a:pt x="12076" y="4604"/>
                  </a:lnTo>
                  <a:lnTo>
                    <a:pt x="11979" y="4577"/>
                  </a:lnTo>
                  <a:lnTo>
                    <a:pt x="11878" y="4555"/>
                  </a:lnTo>
                  <a:lnTo>
                    <a:pt x="11777" y="4540"/>
                  </a:lnTo>
                  <a:lnTo>
                    <a:pt x="11673" y="4530"/>
                  </a:lnTo>
                  <a:lnTo>
                    <a:pt x="11568" y="4527"/>
                  </a:lnTo>
                  <a:lnTo>
                    <a:pt x="10291" y="4527"/>
                  </a:lnTo>
                  <a:lnTo>
                    <a:pt x="10329" y="4334"/>
                  </a:lnTo>
                  <a:lnTo>
                    <a:pt x="10370" y="4145"/>
                  </a:lnTo>
                  <a:lnTo>
                    <a:pt x="10414" y="3960"/>
                  </a:lnTo>
                  <a:lnTo>
                    <a:pt x="10461" y="3779"/>
                  </a:lnTo>
                  <a:lnTo>
                    <a:pt x="10510" y="3603"/>
                  </a:lnTo>
                  <a:lnTo>
                    <a:pt x="10561" y="3431"/>
                  </a:lnTo>
                  <a:lnTo>
                    <a:pt x="10616" y="3263"/>
                  </a:lnTo>
                  <a:lnTo>
                    <a:pt x="10672" y="3101"/>
                  </a:lnTo>
                  <a:lnTo>
                    <a:pt x="10731" y="2943"/>
                  </a:lnTo>
                  <a:lnTo>
                    <a:pt x="10792" y="2790"/>
                  </a:lnTo>
                  <a:lnTo>
                    <a:pt x="10855" y="2643"/>
                  </a:lnTo>
                  <a:lnTo>
                    <a:pt x="10920" y="2501"/>
                  </a:lnTo>
                  <a:lnTo>
                    <a:pt x="10988" y="2364"/>
                  </a:lnTo>
                  <a:lnTo>
                    <a:pt x="11056" y="2232"/>
                  </a:lnTo>
                  <a:lnTo>
                    <a:pt x="11128" y="2107"/>
                  </a:lnTo>
                  <a:lnTo>
                    <a:pt x="11201" y="1988"/>
                  </a:lnTo>
                  <a:lnTo>
                    <a:pt x="11276" y="1874"/>
                  </a:lnTo>
                  <a:lnTo>
                    <a:pt x="11352" y="1767"/>
                  </a:lnTo>
                  <a:lnTo>
                    <a:pt x="11430" y="1667"/>
                  </a:lnTo>
                  <a:lnTo>
                    <a:pt x="11510" y="1572"/>
                  </a:lnTo>
                  <a:lnTo>
                    <a:pt x="11591" y="1485"/>
                  </a:lnTo>
                  <a:lnTo>
                    <a:pt x="11675" y="1404"/>
                  </a:lnTo>
                  <a:lnTo>
                    <a:pt x="11759" y="1331"/>
                  </a:lnTo>
                  <a:lnTo>
                    <a:pt x="11845" y="1264"/>
                  </a:lnTo>
                  <a:lnTo>
                    <a:pt x="11932" y="1205"/>
                  </a:lnTo>
                  <a:lnTo>
                    <a:pt x="12021" y="1153"/>
                  </a:lnTo>
                  <a:lnTo>
                    <a:pt x="12110" y="1109"/>
                  </a:lnTo>
                  <a:lnTo>
                    <a:pt x="12201" y="1072"/>
                  </a:lnTo>
                  <a:lnTo>
                    <a:pt x="12293" y="1043"/>
                  </a:lnTo>
                  <a:lnTo>
                    <a:pt x="12386" y="1023"/>
                  </a:lnTo>
                  <a:lnTo>
                    <a:pt x="12480" y="1010"/>
                  </a:lnTo>
                  <a:lnTo>
                    <a:pt x="12574" y="1006"/>
                  </a:lnTo>
                  <a:lnTo>
                    <a:pt x="12704" y="1014"/>
                  </a:lnTo>
                  <a:lnTo>
                    <a:pt x="12832" y="1037"/>
                  </a:lnTo>
                  <a:lnTo>
                    <a:pt x="12957" y="1075"/>
                  </a:lnTo>
                  <a:lnTo>
                    <a:pt x="13081" y="1129"/>
                  </a:lnTo>
                  <a:lnTo>
                    <a:pt x="13203" y="1196"/>
                  </a:lnTo>
                  <a:lnTo>
                    <a:pt x="13323" y="1278"/>
                  </a:lnTo>
                  <a:lnTo>
                    <a:pt x="13439" y="1372"/>
                  </a:lnTo>
                  <a:lnTo>
                    <a:pt x="13553" y="1480"/>
                  </a:lnTo>
                  <a:lnTo>
                    <a:pt x="13665" y="1601"/>
                  </a:lnTo>
                  <a:lnTo>
                    <a:pt x="13773" y="1734"/>
                  </a:lnTo>
                  <a:lnTo>
                    <a:pt x="13878" y="1880"/>
                  </a:lnTo>
                  <a:lnTo>
                    <a:pt x="13981" y="2037"/>
                  </a:lnTo>
                  <a:lnTo>
                    <a:pt x="14079" y="2205"/>
                  </a:lnTo>
                  <a:lnTo>
                    <a:pt x="14174" y="2384"/>
                  </a:lnTo>
                  <a:lnTo>
                    <a:pt x="14265" y="2574"/>
                  </a:lnTo>
                  <a:lnTo>
                    <a:pt x="14353" y="2773"/>
                  </a:lnTo>
                  <a:lnTo>
                    <a:pt x="14436" y="2984"/>
                  </a:lnTo>
                  <a:lnTo>
                    <a:pt x="14515" y="3202"/>
                  </a:lnTo>
                  <a:lnTo>
                    <a:pt x="14589" y="3430"/>
                  </a:lnTo>
                  <a:lnTo>
                    <a:pt x="14660" y="3667"/>
                  </a:lnTo>
                  <a:lnTo>
                    <a:pt x="14725" y="3912"/>
                  </a:lnTo>
                  <a:lnTo>
                    <a:pt x="14785" y="4165"/>
                  </a:lnTo>
                  <a:lnTo>
                    <a:pt x="14841" y="4425"/>
                  </a:lnTo>
                  <a:lnTo>
                    <a:pt x="14892" y="4693"/>
                  </a:lnTo>
                  <a:lnTo>
                    <a:pt x="14936" y="4966"/>
                  </a:lnTo>
                  <a:lnTo>
                    <a:pt x="14976" y="5247"/>
                  </a:lnTo>
                  <a:lnTo>
                    <a:pt x="15010" y="5534"/>
                  </a:lnTo>
                  <a:lnTo>
                    <a:pt x="15038" y="5825"/>
                  </a:lnTo>
                  <a:lnTo>
                    <a:pt x="15060" y="6122"/>
                  </a:lnTo>
                  <a:lnTo>
                    <a:pt x="15076" y="6425"/>
                  </a:lnTo>
                  <a:lnTo>
                    <a:pt x="15086" y="6731"/>
                  </a:lnTo>
                  <a:lnTo>
                    <a:pt x="15089" y="7042"/>
                  </a:lnTo>
                  <a:lnTo>
                    <a:pt x="15086" y="7352"/>
                  </a:lnTo>
                  <a:lnTo>
                    <a:pt x="15076" y="7658"/>
                  </a:lnTo>
                  <a:lnTo>
                    <a:pt x="15060" y="7961"/>
                  </a:lnTo>
                  <a:lnTo>
                    <a:pt x="15038" y="8258"/>
                  </a:lnTo>
                  <a:lnTo>
                    <a:pt x="15010" y="8549"/>
                  </a:lnTo>
                  <a:lnTo>
                    <a:pt x="14976" y="8836"/>
                  </a:lnTo>
                  <a:lnTo>
                    <a:pt x="14936" y="9117"/>
                  </a:lnTo>
                  <a:lnTo>
                    <a:pt x="14892" y="9390"/>
                  </a:lnTo>
                  <a:lnTo>
                    <a:pt x="14841" y="9658"/>
                  </a:lnTo>
                  <a:lnTo>
                    <a:pt x="14785" y="9919"/>
                  </a:lnTo>
                  <a:lnTo>
                    <a:pt x="14725" y="10171"/>
                  </a:lnTo>
                  <a:lnTo>
                    <a:pt x="14660" y="10416"/>
                  </a:lnTo>
                  <a:lnTo>
                    <a:pt x="14589" y="10653"/>
                  </a:lnTo>
                  <a:lnTo>
                    <a:pt x="14515" y="10880"/>
                  </a:lnTo>
                  <a:lnTo>
                    <a:pt x="14436" y="11100"/>
                  </a:lnTo>
                  <a:lnTo>
                    <a:pt x="14353" y="11310"/>
                  </a:lnTo>
                  <a:lnTo>
                    <a:pt x="14265" y="11509"/>
                  </a:lnTo>
                  <a:lnTo>
                    <a:pt x="14174" y="11699"/>
                  </a:lnTo>
                  <a:lnTo>
                    <a:pt x="14079" y="11878"/>
                  </a:lnTo>
                  <a:lnTo>
                    <a:pt x="13981" y="12046"/>
                  </a:lnTo>
                  <a:lnTo>
                    <a:pt x="13878" y="12203"/>
                  </a:lnTo>
                  <a:lnTo>
                    <a:pt x="13773" y="12349"/>
                  </a:lnTo>
                  <a:lnTo>
                    <a:pt x="13665" y="12482"/>
                  </a:lnTo>
                  <a:lnTo>
                    <a:pt x="13553" y="12602"/>
                  </a:lnTo>
                  <a:lnTo>
                    <a:pt x="13439" y="12711"/>
                  </a:lnTo>
                  <a:lnTo>
                    <a:pt x="13323" y="12806"/>
                  </a:lnTo>
                  <a:lnTo>
                    <a:pt x="13203" y="12887"/>
                  </a:lnTo>
                  <a:lnTo>
                    <a:pt x="13081" y="12954"/>
                  </a:lnTo>
                  <a:lnTo>
                    <a:pt x="12957" y="13008"/>
                  </a:lnTo>
                  <a:lnTo>
                    <a:pt x="12832" y="13046"/>
                  </a:lnTo>
                  <a:lnTo>
                    <a:pt x="12704" y="13069"/>
                  </a:lnTo>
                  <a:lnTo>
                    <a:pt x="12574" y="13077"/>
                  </a:lnTo>
                  <a:close/>
                  <a:moveTo>
                    <a:pt x="6652" y="8557"/>
                  </a:moveTo>
                  <a:lnTo>
                    <a:pt x="6539" y="8557"/>
                  </a:lnTo>
                  <a:lnTo>
                    <a:pt x="6539" y="8550"/>
                  </a:lnTo>
                  <a:lnTo>
                    <a:pt x="6487" y="8548"/>
                  </a:lnTo>
                  <a:lnTo>
                    <a:pt x="6436" y="8542"/>
                  </a:lnTo>
                  <a:lnTo>
                    <a:pt x="6386" y="8533"/>
                  </a:lnTo>
                  <a:lnTo>
                    <a:pt x="6335" y="8520"/>
                  </a:lnTo>
                  <a:lnTo>
                    <a:pt x="6287" y="8503"/>
                  </a:lnTo>
                  <a:lnTo>
                    <a:pt x="6240" y="8483"/>
                  </a:lnTo>
                  <a:lnTo>
                    <a:pt x="6193" y="8459"/>
                  </a:lnTo>
                  <a:lnTo>
                    <a:pt x="6147" y="8432"/>
                  </a:lnTo>
                  <a:lnTo>
                    <a:pt x="6102" y="8402"/>
                  </a:lnTo>
                  <a:lnTo>
                    <a:pt x="6059" y="8368"/>
                  </a:lnTo>
                  <a:lnTo>
                    <a:pt x="6017" y="8332"/>
                  </a:lnTo>
                  <a:lnTo>
                    <a:pt x="5976" y="8293"/>
                  </a:lnTo>
                  <a:lnTo>
                    <a:pt x="5937" y="8251"/>
                  </a:lnTo>
                  <a:lnTo>
                    <a:pt x="5899" y="8206"/>
                  </a:lnTo>
                  <a:lnTo>
                    <a:pt x="5863" y="8158"/>
                  </a:lnTo>
                  <a:lnTo>
                    <a:pt x="5827" y="8109"/>
                  </a:lnTo>
                  <a:lnTo>
                    <a:pt x="5794" y="8057"/>
                  </a:lnTo>
                  <a:lnTo>
                    <a:pt x="5762" y="8001"/>
                  </a:lnTo>
                  <a:lnTo>
                    <a:pt x="5733" y="7945"/>
                  </a:lnTo>
                  <a:lnTo>
                    <a:pt x="5705" y="7886"/>
                  </a:lnTo>
                  <a:lnTo>
                    <a:pt x="5679" y="7824"/>
                  </a:lnTo>
                  <a:lnTo>
                    <a:pt x="5654" y="7761"/>
                  </a:lnTo>
                  <a:lnTo>
                    <a:pt x="5632" y="7696"/>
                  </a:lnTo>
                  <a:lnTo>
                    <a:pt x="5611" y="7629"/>
                  </a:lnTo>
                  <a:lnTo>
                    <a:pt x="5594" y="7561"/>
                  </a:lnTo>
                  <a:lnTo>
                    <a:pt x="5578" y="7490"/>
                  </a:lnTo>
                  <a:lnTo>
                    <a:pt x="5564" y="7419"/>
                  </a:lnTo>
                  <a:lnTo>
                    <a:pt x="5553" y="7345"/>
                  </a:lnTo>
                  <a:lnTo>
                    <a:pt x="5544" y="7272"/>
                  </a:lnTo>
                  <a:lnTo>
                    <a:pt x="5538" y="7196"/>
                  </a:lnTo>
                  <a:lnTo>
                    <a:pt x="5534" y="7119"/>
                  </a:lnTo>
                  <a:lnTo>
                    <a:pt x="5533" y="7042"/>
                  </a:lnTo>
                  <a:lnTo>
                    <a:pt x="5534" y="6964"/>
                  </a:lnTo>
                  <a:lnTo>
                    <a:pt x="5538" y="6888"/>
                  </a:lnTo>
                  <a:lnTo>
                    <a:pt x="5544" y="6812"/>
                  </a:lnTo>
                  <a:lnTo>
                    <a:pt x="5553" y="6738"/>
                  </a:lnTo>
                  <a:lnTo>
                    <a:pt x="5564" y="6664"/>
                  </a:lnTo>
                  <a:lnTo>
                    <a:pt x="5578" y="6593"/>
                  </a:lnTo>
                  <a:lnTo>
                    <a:pt x="5594" y="6522"/>
                  </a:lnTo>
                  <a:lnTo>
                    <a:pt x="5611" y="6454"/>
                  </a:lnTo>
                  <a:lnTo>
                    <a:pt x="5632" y="6388"/>
                  </a:lnTo>
                  <a:lnTo>
                    <a:pt x="5654" y="6322"/>
                  </a:lnTo>
                  <a:lnTo>
                    <a:pt x="5679" y="6259"/>
                  </a:lnTo>
                  <a:lnTo>
                    <a:pt x="5705" y="6199"/>
                  </a:lnTo>
                  <a:lnTo>
                    <a:pt x="5733" y="6139"/>
                  </a:lnTo>
                  <a:lnTo>
                    <a:pt x="5762" y="6082"/>
                  </a:lnTo>
                  <a:lnTo>
                    <a:pt x="5794" y="6028"/>
                  </a:lnTo>
                  <a:lnTo>
                    <a:pt x="5827" y="5974"/>
                  </a:lnTo>
                  <a:lnTo>
                    <a:pt x="5863" y="5925"/>
                  </a:lnTo>
                  <a:lnTo>
                    <a:pt x="5899" y="5878"/>
                  </a:lnTo>
                  <a:lnTo>
                    <a:pt x="5937" y="5832"/>
                  </a:lnTo>
                  <a:lnTo>
                    <a:pt x="5976" y="5790"/>
                  </a:lnTo>
                  <a:lnTo>
                    <a:pt x="6017" y="5751"/>
                  </a:lnTo>
                  <a:lnTo>
                    <a:pt x="6059" y="5715"/>
                  </a:lnTo>
                  <a:lnTo>
                    <a:pt x="6102" y="5682"/>
                  </a:lnTo>
                  <a:lnTo>
                    <a:pt x="6147" y="5651"/>
                  </a:lnTo>
                  <a:lnTo>
                    <a:pt x="6193" y="5624"/>
                  </a:lnTo>
                  <a:lnTo>
                    <a:pt x="6240" y="5600"/>
                  </a:lnTo>
                  <a:lnTo>
                    <a:pt x="6287" y="5580"/>
                  </a:lnTo>
                  <a:lnTo>
                    <a:pt x="6335" y="5563"/>
                  </a:lnTo>
                  <a:lnTo>
                    <a:pt x="6386" y="5550"/>
                  </a:lnTo>
                  <a:lnTo>
                    <a:pt x="6436" y="5541"/>
                  </a:lnTo>
                  <a:lnTo>
                    <a:pt x="6487" y="5535"/>
                  </a:lnTo>
                  <a:lnTo>
                    <a:pt x="6539" y="5533"/>
                  </a:lnTo>
                  <a:lnTo>
                    <a:pt x="6652" y="5533"/>
                  </a:lnTo>
                  <a:lnTo>
                    <a:pt x="6741" y="5532"/>
                  </a:lnTo>
                  <a:lnTo>
                    <a:pt x="6829" y="5529"/>
                  </a:lnTo>
                  <a:lnTo>
                    <a:pt x="6917" y="5523"/>
                  </a:lnTo>
                  <a:lnTo>
                    <a:pt x="7004" y="5516"/>
                  </a:lnTo>
                  <a:lnTo>
                    <a:pt x="7092" y="5505"/>
                  </a:lnTo>
                  <a:lnTo>
                    <a:pt x="7178" y="5493"/>
                  </a:lnTo>
                  <a:lnTo>
                    <a:pt x="7265" y="5480"/>
                  </a:lnTo>
                  <a:lnTo>
                    <a:pt x="7351" y="5464"/>
                  </a:lnTo>
                  <a:lnTo>
                    <a:pt x="7437" y="5446"/>
                  </a:lnTo>
                  <a:lnTo>
                    <a:pt x="7522" y="5426"/>
                  </a:lnTo>
                  <a:lnTo>
                    <a:pt x="7607" y="5405"/>
                  </a:lnTo>
                  <a:lnTo>
                    <a:pt x="7691" y="5381"/>
                  </a:lnTo>
                  <a:lnTo>
                    <a:pt x="7775" y="5355"/>
                  </a:lnTo>
                  <a:lnTo>
                    <a:pt x="7858" y="5327"/>
                  </a:lnTo>
                  <a:lnTo>
                    <a:pt x="7941" y="5297"/>
                  </a:lnTo>
                  <a:lnTo>
                    <a:pt x="8023" y="5266"/>
                  </a:lnTo>
                  <a:lnTo>
                    <a:pt x="8106" y="5232"/>
                  </a:lnTo>
                  <a:lnTo>
                    <a:pt x="8187" y="5197"/>
                  </a:lnTo>
                  <a:lnTo>
                    <a:pt x="8268" y="5159"/>
                  </a:lnTo>
                  <a:lnTo>
                    <a:pt x="8348" y="5121"/>
                  </a:lnTo>
                  <a:lnTo>
                    <a:pt x="8429" y="5080"/>
                  </a:lnTo>
                  <a:lnTo>
                    <a:pt x="8508" y="5038"/>
                  </a:lnTo>
                  <a:lnTo>
                    <a:pt x="8587" y="4993"/>
                  </a:lnTo>
                  <a:lnTo>
                    <a:pt x="8665" y="4947"/>
                  </a:lnTo>
                  <a:lnTo>
                    <a:pt x="8743" y="4899"/>
                  </a:lnTo>
                  <a:lnTo>
                    <a:pt x="8820" y="4850"/>
                  </a:lnTo>
                  <a:lnTo>
                    <a:pt x="8897" y="4798"/>
                  </a:lnTo>
                  <a:lnTo>
                    <a:pt x="8973" y="4745"/>
                  </a:lnTo>
                  <a:lnTo>
                    <a:pt x="9048" y="4691"/>
                  </a:lnTo>
                  <a:lnTo>
                    <a:pt x="9123" y="4634"/>
                  </a:lnTo>
                  <a:lnTo>
                    <a:pt x="9197" y="4577"/>
                  </a:lnTo>
                  <a:lnTo>
                    <a:pt x="9271" y="4518"/>
                  </a:lnTo>
                  <a:lnTo>
                    <a:pt x="9245" y="4670"/>
                  </a:lnTo>
                  <a:lnTo>
                    <a:pt x="9220" y="4823"/>
                  </a:lnTo>
                  <a:lnTo>
                    <a:pt x="9197" y="4977"/>
                  </a:lnTo>
                  <a:lnTo>
                    <a:pt x="9176" y="5133"/>
                  </a:lnTo>
                  <a:lnTo>
                    <a:pt x="9156" y="5289"/>
                  </a:lnTo>
                  <a:lnTo>
                    <a:pt x="9139" y="5446"/>
                  </a:lnTo>
                  <a:lnTo>
                    <a:pt x="9123" y="5604"/>
                  </a:lnTo>
                  <a:lnTo>
                    <a:pt x="9108" y="5762"/>
                  </a:lnTo>
                  <a:lnTo>
                    <a:pt x="9096" y="5921"/>
                  </a:lnTo>
                  <a:lnTo>
                    <a:pt x="9085" y="6080"/>
                  </a:lnTo>
                  <a:lnTo>
                    <a:pt x="9075" y="6240"/>
                  </a:lnTo>
                  <a:lnTo>
                    <a:pt x="9068" y="6400"/>
                  </a:lnTo>
                  <a:lnTo>
                    <a:pt x="9061" y="6560"/>
                  </a:lnTo>
                  <a:lnTo>
                    <a:pt x="9056" y="6721"/>
                  </a:lnTo>
                  <a:lnTo>
                    <a:pt x="9054" y="6881"/>
                  </a:lnTo>
                  <a:lnTo>
                    <a:pt x="9053" y="7042"/>
                  </a:lnTo>
                  <a:lnTo>
                    <a:pt x="9054" y="7203"/>
                  </a:lnTo>
                  <a:lnTo>
                    <a:pt x="9056" y="7363"/>
                  </a:lnTo>
                  <a:lnTo>
                    <a:pt x="9061" y="7524"/>
                  </a:lnTo>
                  <a:lnTo>
                    <a:pt x="9068" y="7685"/>
                  </a:lnTo>
                  <a:lnTo>
                    <a:pt x="9075" y="7846"/>
                  </a:lnTo>
                  <a:lnTo>
                    <a:pt x="9085" y="8006"/>
                  </a:lnTo>
                  <a:lnTo>
                    <a:pt x="9096" y="8166"/>
                  </a:lnTo>
                  <a:lnTo>
                    <a:pt x="9108" y="8325"/>
                  </a:lnTo>
                  <a:lnTo>
                    <a:pt x="9123" y="8484"/>
                  </a:lnTo>
                  <a:lnTo>
                    <a:pt x="9139" y="8642"/>
                  </a:lnTo>
                  <a:lnTo>
                    <a:pt x="9157" y="8799"/>
                  </a:lnTo>
                  <a:lnTo>
                    <a:pt x="9176" y="8956"/>
                  </a:lnTo>
                  <a:lnTo>
                    <a:pt x="9198" y="9111"/>
                  </a:lnTo>
                  <a:lnTo>
                    <a:pt x="9220" y="9266"/>
                  </a:lnTo>
                  <a:lnTo>
                    <a:pt x="9246" y="9420"/>
                  </a:lnTo>
                  <a:lnTo>
                    <a:pt x="9272" y="9571"/>
                  </a:lnTo>
                  <a:lnTo>
                    <a:pt x="9198" y="9512"/>
                  </a:lnTo>
                  <a:lnTo>
                    <a:pt x="9124" y="9455"/>
                  </a:lnTo>
                  <a:lnTo>
                    <a:pt x="9049" y="9398"/>
                  </a:lnTo>
                  <a:lnTo>
                    <a:pt x="8974" y="9344"/>
                  </a:lnTo>
                  <a:lnTo>
                    <a:pt x="8898" y="9291"/>
                  </a:lnTo>
                  <a:lnTo>
                    <a:pt x="8821" y="9240"/>
                  </a:lnTo>
                  <a:lnTo>
                    <a:pt x="8744" y="9190"/>
                  </a:lnTo>
                  <a:lnTo>
                    <a:pt x="8666" y="9142"/>
                  </a:lnTo>
                  <a:lnTo>
                    <a:pt x="8588" y="9097"/>
                  </a:lnTo>
                  <a:lnTo>
                    <a:pt x="8508" y="9051"/>
                  </a:lnTo>
                  <a:lnTo>
                    <a:pt x="8429" y="9009"/>
                  </a:lnTo>
                  <a:lnTo>
                    <a:pt x="8349" y="8968"/>
                  </a:lnTo>
                  <a:lnTo>
                    <a:pt x="8269" y="8930"/>
                  </a:lnTo>
                  <a:lnTo>
                    <a:pt x="8187" y="8892"/>
                  </a:lnTo>
                  <a:lnTo>
                    <a:pt x="8106" y="8857"/>
                  </a:lnTo>
                  <a:lnTo>
                    <a:pt x="8024" y="8823"/>
                  </a:lnTo>
                  <a:lnTo>
                    <a:pt x="7942" y="8792"/>
                  </a:lnTo>
                  <a:lnTo>
                    <a:pt x="7858" y="8762"/>
                  </a:lnTo>
                  <a:lnTo>
                    <a:pt x="7775" y="8735"/>
                  </a:lnTo>
                  <a:lnTo>
                    <a:pt x="7691" y="8708"/>
                  </a:lnTo>
                  <a:lnTo>
                    <a:pt x="7607" y="8684"/>
                  </a:lnTo>
                  <a:lnTo>
                    <a:pt x="7522" y="8662"/>
                  </a:lnTo>
                  <a:lnTo>
                    <a:pt x="7437" y="8643"/>
                  </a:lnTo>
                  <a:lnTo>
                    <a:pt x="7351" y="8625"/>
                  </a:lnTo>
                  <a:lnTo>
                    <a:pt x="7265" y="8609"/>
                  </a:lnTo>
                  <a:lnTo>
                    <a:pt x="7178" y="8595"/>
                  </a:lnTo>
                  <a:lnTo>
                    <a:pt x="7092" y="8584"/>
                  </a:lnTo>
                  <a:lnTo>
                    <a:pt x="7004" y="8574"/>
                  </a:lnTo>
                  <a:lnTo>
                    <a:pt x="6917" y="8567"/>
                  </a:lnTo>
                  <a:lnTo>
                    <a:pt x="6829" y="8561"/>
                  </a:lnTo>
                  <a:lnTo>
                    <a:pt x="6741" y="8558"/>
                  </a:lnTo>
                  <a:lnTo>
                    <a:pt x="6652" y="8557"/>
                  </a:lnTo>
                  <a:close/>
                  <a:moveTo>
                    <a:pt x="6033" y="15089"/>
                  </a:moveTo>
                  <a:lnTo>
                    <a:pt x="4021" y="15089"/>
                  </a:lnTo>
                  <a:lnTo>
                    <a:pt x="4021" y="10562"/>
                  </a:lnTo>
                  <a:lnTo>
                    <a:pt x="4021" y="10528"/>
                  </a:lnTo>
                  <a:lnTo>
                    <a:pt x="4020" y="10494"/>
                  </a:lnTo>
                  <a:lnTo>
                    <a:pt x="4018" y="10460"/>
                  </a:lnTo>
                  <a:lnTo>
                    <a:pt x="4016" y="10426"/>
                  </a:lnTo>
                  <a:lnTo>
                    <a:pt x="4014" y="10392"/>
                  </a:lnTo>
                  <a:lnTo>
                    <a:pt x="4011" y="10359"/>
                  </a:lnTo>
                  <a:lnTo>
                    <a:pt x="4007" y="10325"/>
                  </a:lnTo>
                  <a:lnTo>
                    <a:pt x="4003" y="10292"/>
                  </a:lnTo>
                  <a:lnTo>
                    <a:pt x="3998" y="10260"/>
                  </a:lnTo>
                  <a:lnTo>
                    <a:pt x="3993" y="10226"/>
                  </a:lnTo>
                  <a:lnTo>
                    <a:pt x="3987" y="10193"/>
                  </a:lnTo>
                  <a:lnTo>
                    <a:pt x="3980" y="10161"/>
                  </a:lnTo>
                  <a:lnTo>
                    <a:pt x="3973" y="10129"/>
                  </a:lnTo>
                  <a:lnTo>
                    <a:pt x="3966" y="10097"/>
                  </a:lnTo>
                  <a:lnTo>
                    <a:pt x="3958" y="10064"/>
                  </a:lnTo>
                  <a:lnTo>
                    <a:pt x="3950" y="10033"/>
                  </a:lnTo>
                  <a:lnTo>
                    <a:pt x="3941" y="10002"/>
                  </a:lnTo>
                  <a:lnTo>
                    <a:pt x="3932" y="9970"/>
                  </a:lnTo>
                  <a:lnTo>
                    <a:pt x="3922" y="9940"/>
                  </a:lnTo>
                  <a:lnTo>
                    <a:pt x="3912" y="9908"/>
                  </a:lnTo>
                  <a:lnTo>
                    <a:pt x="3901" y="9877"/>
                  </a:lnTo>
                  <a:lnTo>
                    <a:pt x="3890" y="9847"/>
                  </a:lnTo>
                  <a:lnTo>
                    <a:pt x="3878" y="9817"/>
                  </a:lnTo>
                  <a:lnTo>
                    <a:pt x="3866" y="9787"/>
                  </a:lnTo>
                  <a:lnTo>
                    <a:pt x="3853" y="9758"/>
                  </a:lnTo>
                  <a:lnTo>
                    <a:pt x="3840" y="9728"/>
                  </a:lnTo>
                  <a:lnTo>
                    <a:pt x="3826" y="9698"/>
                  </a:lnTo>
                  <a:lnTo>
                    <a:pt x="3811" y="9670"/>
                  </a:lnTo>
                  <a:lnTo>
                    <a:pt x="3797" y="9641"/>
                  </a:lnTo>
                  <a:lnTo>
                    <a:pt x="3782" y="9613"/>
                  </a:lnTo>
                  <a:lnTo>
                    <a:pt x="3766" y="9585"/>
                  </a:lnTo>
                  <a:lnTo>
                    <a:pt x="3750" y="9556"/>
                  </a:lnTo>
                  <a:lnTo>
                    <a:pt x="4102" y="9556"/>
                  </a:lnTo>
                  <a:lnTo>
                    <a:pt x="4102" y="9562"/>
                  </a:lnTo>
                  <a:lnTo>
                    <a:pt x="5615" y="9562"/>
                  </a:lnTo>
                  <a:lnTo>
                    <a:pt x="5605" y="9592"/>
                  </a:lnTo>
                  <a:lnTo>
                    <a:pt x="5596" y="9622"/>
                  </a:lnTo>
                  <a:lnTo>
                    <a:pt x="5587" y="9651"/>
                  </a:lnTo>
                  <a:lnTo>
                    <a:pt x="5579" y="9681"/>
                  </a:lnTo>
                  <a:lnTo>
                    <a:pt x="5572" y="9711"/>
                  </a:lnTo>
                  <a:lnTo>
                    <a:pt x="5565" y="9743"/>
                  </a:lnTo>
                  <a:lnTo>
                    <a:pt x="5558" y="9773"/>
                  </a:lnTo>
                  <a:lnTo>
                    <a:pt x="5552" y="9804"/>
                  </a:lnTo>
                  <a:lnTo>
                    <a:pt x="5547" y="9835"/>
                  </a:lnTo>
                  <a:lnTo>
                    <a:pt x="5543" y="9866"/>
                  </a:lnTo>
                  <a:lnTo>
                    <a:pt x="5539" y="9897"/>
                  </a:lnTo>
                  <a:lnTo>
                    <a:pt x="5536" y="9930"/>
                  </a:lnTo>
                  <a:lnTo>
                    <a:pt x="5533" y="9962"/>
                  </a:lnTo>
                  <a:lnTo>
                    <a:pt x="5531" y="9994"/>
                  </a:lnTo>
                  <a:lnTo>
                    <a:pt x="5530" y="10026"/>
                  </a:lnTo>
                  <a:lnTo>
                    <a:pt x="5530" y="10059"/>
                  </a:lnTo>
                  <a:lnTo>
                    <a:pt x="5530" y="13580"/>
                  </a:lnTo>
                  <a:lnTo>
                    <a:pt x="5531" y="13625"/>
                  </a:lnTo>
                  <a:lnTo>
                    <a:pt x="5533" y="13669"/>
                  </a:lnTo>
                  <a:lnTo>
                    <a:pt x="5537" y="13712"/>
                  </a:lnTo>
                  <a:lnTo>
                    <a:pt x="5542" y="13754"/>
                  </a:lnTo>
                  <a:lnTo>
                    <a:pt x="5548" y="13795"/>
                  </a:lnTo>
                  <a:lnTo>
                    <a:pt x="5556" y="13836"/>
                  </a:lnTo>
                  <a:lnTo>
                    <a:pt x="5565" y="13875"/>
                  </a:lnTo>
                  <a:lnTo>
                    <a:pt x="5575" y="13913"/>
                  </a:lnTo>
                  <a:lnTo>
                    <a:pt x="5585" y="13951"/>
                  </a:lnTo>
                  <a:lnTo>
                    <a:pt x="5597" y="13988"/>
                  </a:lnTo>
                  <a:lnTo>
                    <a:pt x="5610" y="14024"/>
                  </a:lnTo>
                  <a:lnTo>
                    <a:pt x="5624" y="14058"/>
                  </a:lnTo>
                  <a:lnTo>
                    <a:pt x="5638" y="14092"/>
                  </a:lnTo>
                  <a:lnTo>
                    <a:pt x="5653" y="14125"/>
                  </a:lnTo>
                  <a:lnTo>
                    <a:pt x="5669" y="14158"/>
                  </a:lnTo>
                  <a:lnTo>
                    <a:pt x="5686" y="14189"/>
                  </a:lnTo>
                  <a:lnTo>
                    <a:pt x="5702" y="14220"/>
                  </a:lnTo>
                  <a:lnTo>
                    <a:pt x="5719" y="14249"/>
                  </a:lnTo>
                  <a:lnTo>
                    <a:pt x="5737" y="14278"/>
                  </a:lnTo>
                  <a:lnTo>
                    <a:pt x="5754" y="14306"/>
                  </a:lnTo>
                  <a:lnTo>
                    <a:pt x="5772" y="14334"/>
                  </a:lnTo>
                  <a:lnTo>
                    <a:pt x="5790" y="14360"/>
                  </a:lnTo>
                  <a:lnTo>
                    <a:pt x="5808" y="14385"/>
                  </a:lnTo>
                  <a:lnTo>
                    <a:pt x="5826" y="14410"/>
                  </a:lnTo>
                  <a:lnTo>
                    <a:pt x="5863" y="14457"/>
                  </a:lnTo>
                  <a:lnTo>
                    <a:pt x="5897" y="14501"/>
                  </a:lnTo>
                  <a:lnTo>
                    <a:pt x="5931" y="14542"/>
                  </a:lnTo>
                  <a:lnTo>
                    <a:pt x="5962" y="14579"/>
                  </a:lnTo>
                  <a:lnTo>
                    <a:pt x="5979" y="14599"/>
                  </a:lnTo>
                  <a:lnTo>
                    <a:pt x="5997" y="14620"/>
                  </a:lnTo>
                  <a:lnTo>
                    <a:pt x="6016" y="14641"/>
                  </a:lnTo>
                  <a:lnTo>
                    <a:pt x="6033" y="14663"/>
                  </a:lnTo>
                  <a:lnTo>
                    <a:pt x="6033" y="15089"/>
                  </a:lnTo>
                  <a:close/>
                  <a:moveTo>
                    <a:pt x="1006" y="7042"/>
                  </a:moveTo>
                  <a:lnTo>
                    <a:pt x="1007" y="6964"/>
                  </a:lnTo>
                  <a:lnTo>
                    <a:pt x="1011" y="6888"/>
                  </a:lnTo>
                  <a:lnTo>
                    <a:pt x="1017" y="6812"/>
                  </a:lnTo>
                  <a:lnTo>
                    <a:pt x="1026" y="6738"/>
                  </a:lnTo>
                  <a:lnTo>
                    <a:pt x="1037" y="6664"/>
                  </a:lnTo>
                  <a:lnTo>
                    <a:pt x="1051" y="6593"/>
                  </a:lnTo>
                  <a:lnTo>
                    <a:pt x="1067" y="6522"/>
                  </a:lnTo>
                  <a:lnTo>
                    <a:pt x="1085" y="6454"/>
                  </a:lnTo>
                  <a:lnTo>
                    <a:pt x="1106" y="6388"/>
                  </a:lnTo>
                  <a:lnTo>
                    <a:pt x="1128" y="6322"/>
                  </a:lnTo>
                  <a:lnTo>
                    <a:pt x="1152" y="6259"/>
                  </a:lnTo>
                  <a:lnTo>
                    <a:pt x="1178" y="6199"/>
                  </a:lnTo>
                  <a:lnTo>
                    <a:pt x="1206" y="6139"/>
                  </a:lnTo>
                  <a:lnTo>
                    <a:pt x="1235" y="6082"/>
                  </a:lnTo>
                  <a:lnTo>
                    <a:pt x="1267" y="6028"/>
                  </a:lnTo>
                  <a:lnTo>
                    <a:pt x="1301" y="5974"/>
                  </a:lnTo>
                  <a:lnTo>
                    <a:pt x="1336" y="5925"/>
                  </a:lnTo>
                  <a:lnTo>
                    <a:pt x="1372" y="5878"/>
                  </a:lnTo>
                  <a:lnTo>
                    <a:pt x="1410" y="5832"/>
                  </a:lnTo>
                  <a:lnTo>
                    <a:pt x="1450" y="5790"/>
                  </a:lnTo>
                  <a:lnTo>
                    <a:pt x="1490" y="5751"/>
                  </a:lnTo>
                  <a:lnTo>
                    <a:pt x="1532" y="5715"/>
                  </a:lnTo>
                  <a:lnTo>
                    <a:pt x="1575" y="5682"/>
                  </a:lnTo>
                  <a:lnTo>
                    <a:pt x="1621" y="5651"/>
                  </a:lnTo>
                  <a:lnTo>
                    <a:pt x="1666" y="5624"/>
                  </a:lnTo>
                  <a:lnTo>
                    <a:pt x="1713" y="5600"/>
                  </a:lnTo>
                  <a:lnTo>
                    <a:pt x="1760" y="5580"/>
                  </a:lnTo>
                  <a:lnTo>
                    <a:pt x="1809" y="5563"/>
                  </a:lnTo>
                  <a:lnTo>
                    <a:pt x="1859" y="5550"/>
                  </a:lnTo>
                  <a:lnTo>
                    <a:pt x="1909" y="5541"/>
                  </a:lnTo>
                  <a:lnTo>
                    <a:pt x="1960" y="5535"/>
                  </a:lnTo>
                  <a:lnTo>
                    <a:pt x="2012" y="5533"/>
                  </a:lnTo>
                  <a:lnTo>
                    <a:pt x="5540" y="5533"/>
                  </a:lnTo>
                  <a:lnTo>
                    <a:pt x="5511" y="5568"/>
                  </a:lnTo>
                  <a:lnTo>
                    <a:pt x="5482" y="5603"/>
                  </a:lnTo>
                  <a:lnTo>
                    <a:pt x="5455" y="5640"/>
                  </a:lnTo>
                  <a:lnTo>
                    <a:pt x="5428" y="5678"/>
                  </a:lnTo>
                  <a:lnTo>
                    <a:pt x="5402" y="5717"/>
                  </a:lnTo>
                  <a:lnTo>
                    <a:pt x="5377" y="5756"/>
                  </a:lnTo>
                  <a:lnTo>
                    <a:pt x="5352" y="5796"/>
                  </a:lnTo>
                  <a:lnTo>
                    <a:pt x="5328" y="5837"/>
                  </a:lnTo>
                  <a:lnTo>
                    <a:pt x="5305" y="5880"/>
                  </a:lnTo>
                  <a:lnTo>
                    <a:pt x="5283" y="5922"/>
                  </a:lnTo>
                  <a:lnTo>
                    <a:pt x="5262" y="5966"/>
                  </a:lnTo>
                  <a:lnTo>
                    <a:pt x="5241" y="6010"/>
                  </a:lnTo>
                  <a:lnTo>
                    <a:pt x="5222" y="6056"/>
                  </a:lnTo>
                  <a:lnTo>
                    <a:pt x="5203" y="6102"/>
                  </a:lnTo>
                  <a:lnTo>
                    <a:pt x="5185" y="6148"/>
                  </a:lnTo>
                  <a:lnTo>
                    <a:pt x="5168" y="6196"/>
                  </a:lnTo>
                  <a:lnTo>
                    <a:pt x="5151" y="6244"/>
                  </a:lnTo>
                  <a:lnTo>
                    <a:pt x="5136" y="6293"/>
                  </a:lnTo>
                  <a:lnTo>
                    <a:pt x="5122" y="6342"/>
                  </a:lnTo>
                  <a:lnTo>
                    <a:pt x="5109" y="6393"/>
                  </a:lnTo>
                  <a:lnTo>
                    <a:pt x="5096" y="6444"/>
                  </a:lnTo>
                  <a:lnTo>
                    <a:pt x="5085" y="6495"/>
                  </a:lnTo>
                  <a:lnTo>
                    <a:pt x="5075" y="6548"/>
                  </a:lnTo>
                  <a:lnTo>
                    <a:pt x="5066" y="6600"/>
                  </a:lnTo>
                  <a:lnTo>
                    <a:pt x="5057" y="6653"/>
                  </a:lnTo>
                  <a:lnTo>
                    <a:pt x="5050" y="6708"/>
                  </a:lnTo>
                  <a:lnTo>
                    <a:pt x="5044" y="6762"/>
                  </a:lnTo>
                  <a:lnTo>
                    <a:pt x="5039" y="6816"/>
                  </a:lnTo>
                  <a:lnTo>
                    <a:pt x="5035" y="6873"/>
                  </a:lnTo>
                  <a:lnTo>
                    <a:pt x="5032" y="6928"/>
                  </a:lnTo>
                  <a:lnTo>
                    <a:pt x="5031" y="6984"/>
                  </a:lnTo>
                  <a:lnTo>
                    <a:pt x="5030" y="7042"/>
                  </a:lnTo>
                  <a:lnTo>
                    <a:pt x="5031" y="7099"/>
                  </a:lnTo>
                  <a:lnTo>
                    <a:pt x="5032" y="7155"/>
                  </a:lnTo>
                  <a:lnTo>
                    <a:pt x="5035" y="7212"/>
                  </a:lnTo>
                  <a:lnTo>
                    <a:pt x="5039" y="7267"/>
                  </a:lnTo>
                  <a:lnTo>
                    <a:pt x="5044" y="7322"/>
                  </a:lnTo>
                  <a:lnTo>
                    <a:pt x="5050" y="7377"/>
                  </a:lnTo>
                  <a:lnTo>
                    <a:pt x="5057" y="7431"/>
                  </a:lnTo>
                  <a:lnTo>
                    <a:pt x="5066" y="7484"/>
                  </a:lnTo>
                  <a:lnTo>
                    <a:pt x="5075" y="7536"/>
                  </a:lnTo>
                  <a:lnTo>
                    <a:pt x="5085" y="7589"/>
                  </a:lnTo>
                  <a:lnTo>
                    <a:pt x="5096" y="7640"/>
                  </a:lnTo>
                  <a:lnTo>
                    <a:pt x="5109" y="7691"/>
                  </a:lnTo>
                  <a:lnTo>
                    <a:pt x="5122" y="7742"/>
                  </a:lnTo>
                  <a:lnTo>
                    <a:pt x="5136" y="7791"/>
                  </a:lnTo>
                  <a:lnTo>
                    <a:pt x="5151" y="7840"/>
                  </a:lnTo>
                  <a:lnTo>
                    <a:pt x="5168" y="7888"/>
                  </a:lnTo>
                  <a:lnTo>
                    <a:pt x="5185" y="7936"/>
                  </a:lnTo>
                  <a:lnTo>
                    <a:pt x="5203" y="7982"/>
                  </a:lnTo>
                  <a:lnTo>
                    <a:pt x="5222" y="8028"/>
                  </a:lnTo>
                  <a:lnTo>
                    <a:pt x="5241" y="8074"/>
                  </a:lnTo>
                  <a:lnTo>
                    <a:pt x="5262" y="8118"/>
                  </a:lnTo>
                  <a:lnTo>
                    <a:pt x="5283" y="8161"/>
                  </a:lnTo>
                  <a:lnTo>
                    <a:pt x="5305" y="8204"/>
                  </a:lnTo>
                  <a:lnTo>
                    <a:pt x="5328" y="8247"/>
                  </a:lnTo>
                  <a:lnTo>
                    <a:pt x="5352" y="8288"/>
                  </a:lnTo>
                  <a:lnTo>
                    <a:pt x="5377" y="8328"/>
                  </a:lnTo>
                  <a:lnTo>
                    <a:pt x="5402" y="8367"/>
                  </a:lnTo>
                  <a:lnTo>
                    <a:pt x="5428" y="8406"/>
                  </a:lnTo>
                  <a:lnTo>
                    <a:pt x="5455" y="8443"/>
                  </a:lnTo>
                  <a:lnTo>
                    <a:pt x="5482" y="8480"/>
                  </a:lnTo>
                  <a:lnTo>
                    <a:pt x="5511" y="8515"/>
                  </a:lnTo>
                  <a:lnTo>
                    <a:pt x="5540" y="8550"/>
                  </a:lnTo>
                  <a:lnTo>
                    <a:pt x="2012" y="8550"/>
                  </a:lnTo>
                  <a:lnTo>
                    <a:pt x="1960" y="8548"/>
                  </a:lnTo>
                  <a:lnTo>
                    <a:pt x="1909" y="8542"/>
                  </a:lnTo>
                  <a:lnTo>
                    <a:pt x="1859" y="8533"/>
                  </a:lnTo>
                  <a:lnTo>
                    <a:pt x="1809" y="8520"/>
                  </a:lnTo>
                  <a:lnTo>
                    <a:pt x="1760" y="8503"/>
                  </a:lnTo>
                  <a:lnTo>
                    <a:pt x="1713" y="8483"/>
                  </a:lnTo>
                  <a:lnTo>
                    <a:pt x="1666" y="8459"/>
                  </a:lnTo>
                  <a:lnTo>
                    <a:pt x="1621" y="8432"/>
                  </a:lnTo>
                  <a:lnTo>
                    <a:pt x="1575" y="8402"/>
                  </a:lnTo>
                  <a:lnTo>
                    <a:pt x="1532" y="8368"/>
                  </a:lnTo>
                  <a:lnTo>
                    <a:pt x="1490" y="8332"/>
                  </a:lnTo>
                  <a:lnTo>
                    <a:pt x="1450" y="8293"/>
                  </a:lnTo>
                  <a:lnTo>
                    <a:pt x="1410" y="8251"/>
                  </a:lnTo>
                  <a:lnTo>
                    <a:pt x="1372" y="8206"/>
                  </a:lnTo>
                  <a:lnTo>
                    <a:pt x="1336" y="8158"/>
                  </a:lnTo>
                  <a:lnTo>
                    <a:pt x="1301" y="8109"/>
                  </a:lnTo>
                  <a:lnTo>
                    <a:pt x="1267" y="8057"/>
                  </a:lnTo>
                  <a:lnTo>
                    <a:pt x="1235" y="8001"/>
                  </a:lnTo>
                  <a:lnTo>
                    <a:pt x="1206" y="7945"/>
                  </a:lnTo>
                  <a:lnTo>
                    <a:pt x="1178" y="7886"/>
                  </a:lnTo>
                  <a:lnTo>
                    <a:pt x="1152" y="7824"/>
                  </a:lnTo>
                  <a:lnTo>
                    <a:pt x="1128" y="7761"/>
                  </a:lnTo>
                  <a:lnTo>
                    <a:pt x="1106" y="7696"/>
                  </a:lnTo>
                  <a:lnTo>
                    <a:pt x="1085" y="7629"/>
                  </a:lnTo>
                  <a:lnTo>
                    <a:pt x="1067" y="7561"/>
                  </a:lnTo>
                  <a:lnTo>
                    <a:pt x="1051" y="7490"/>
                  </a:lnTo>
                  <a:lnTo>
                    <a:pt x="1037" y="7419"/>
                  </a:lnTo>
                  <a:lnTo>
                    <a:pt x="1026" y="7345"/>
                  </a:lnTo>
                  <a:lnTo>
                    <a:pt x="1017" y="7272"/>
                  </a:lnTo>
                  <a:lnTo>
                    <a:pt x="1011" y="7196"/>
                  </a:lnTo>
                  <a:lnTo>
                    <a:pt x="1007" y="7119"/>
                  </a:lnTo>
                  <a:lnTo>
                    <a:pt x="1006" y="7042"/>
                  </a:lnTo>
                  <a:close/>
                  <a:moveTo>
                    <a:pt x="10059" y="7042"/>
                  </a:moveTo>
                  <a:lnTo>
                    <a:pt x="10059" y="6944"/>
                  </a:lnTo>
                  <a:lnTo>
                    <a:pt x="10060" y="6846"/>
                  </a:lnTo>
                  <a:lnTo>
                    <a:pt x="10062" y="6750"/>
                  </a:lnTo>
                  <a:lnTo>
                    <a:pt x="10064" y="6653"/>
                  </a:lnTo>
                  <a:lnTo>
                    <a:pt x="10068" y="6558"/>
                  </a:lnTo>
                  <a:lnTo>
                    <a:pt x="10071" y="6462"/>
                  </a:lnTo>
                  <a:lnTo>
                    <a:pt x="10076" y="6368"/>
                  </a:lnTo>
                  <a:lnTo>
                    <a:pt x="10082" y="6273"/>
                  </a:lnTo>
                  <a:lnTo>
                    <a:pt x="10087" y="6178"/>
                  </a:lnTo>
                  <a:lnTo>
                    <a:pt x="10093" y="6085"/>
                  </a:lnTo>
                  <a:lnTo>
                    <a:pt x="10100" y="5991"/>
                  </a:lnTo>
                  <a:lnTo>
                    <a:pt x="10107" y="5899"/>
                  </a:lnTo>
                  <a:lnTo>
                    <a:pt x="10115" y="5806"/>
                  </a:lnTo>
                  <a:lnTo>
                    <a:pt x="10124" y="5715"/>
                  </a:lnTo>
                  <a:lnTo>
                    <a:pt x="10133" y="5623"/>
                  </a:lnTo>
                  <a:lnTo>
                    <a:pt x="10142" y="5533"/>
                  </a:lnTo>
                  <a:lnTo>
                    <a:pt x="11568" y="5533"/>
                  </a:lnTo>
                  <a:lnTo>
                    <a:pt x="11620" y="5535"/>
                  </a:lnTo>
                  <a:lnTo>
                    <a:pt x="11671" y="5541"/>
                  </a:lnTo>
                  <a:lnTo>
                    <a:pt x="11721" y="5550"/>
                  </a:lnTo>
                  <a:lnTo>
                    <a:pt x="11770" y="5563"/>
                  </a:lnTo>
                  <a:lnTo>
                    <a:pt x="11820" y="5580"/>
                  </a:lnTo>
                  <a:lnTo>
                    <a:pt x="11867" y="5600"/>
                  </a:lnTo>
                  <a:lnTo>
                    <a:pt x="11914" y="5624"/>
                  </a:lnTo>
                  <a:lnTo>
                    <a:pt x="11960" y="5651"/>
                  </a:lnTo>
                  <a:lnTo>
                    <a:pt x="12004" y="5682"/>
                  </a:lnTo>
                  <a:lnTo>
                    <a:pt x="12047" y="5715"/>
                  </a:lnTo>
                  <a:lnTo>
                    <a:pt x="12089" y="5751"/>
                  </a:lnTo>
                  <a:lnTo>
                    <a:pt x="12131" y="5790"/>
                  </a:lnTo>
                  <a:lnTo>
                    <a:pt x="12170" y="5832"/>
                  </a:lnTo>
                  <a:lnTo>
                    <a:pt x="12208" y="5878"/>
                  </a:lnTo>
                  <a:lnTo>
                    <a:pt x="12244" y="5925"/>
                  </a:lnTo>
                  <a:lnTo>
                    <a:pt x="12279" y="5974"/>
                  </a:lnTo>
                  <a:lnTo>
                    <a:pt x="12313" y="6028"/>
                  </a:lnTo>
                  <a:lnTo>
                    <a:pt x="12344" y="6082"/>
                  </a:lnTo>
                  <a:lnTo>
                    <a:pt x="12374" y="6139"/>
                  </a:lnTo>
                  <a:lnTo>
                    <a:pt x="12402" y="6199"/>
                  </a:lnTo>
                  <a:lnTo>
                    <a:pt x="12428" y="6259"/>
                  </a:lnTo>
                  <a:lnTo>
                    <a:pt x="12453" y="6322"/>
                  </a:lnTo>
                  <a:lnTo>
                    <a:pt x="12475" y="6388"/>
                  </a:lnTo>
                  <a:lnTo>
                    <a:pt x="12495" y="6454"/>
                  </a:lnTo>
                  <a:lnTo>
                    <a:pt x="12513" y="6522"/>
                  </a:lnTo>
                  <a:lnTo>
                    <a:pt x="12529" y="6593"/>
                  </a:lnTo>
                  <a:lnTo>
                    <a:pt x="12542" y="6664"/>
                  </a:lnTo>
                  <a:lnTo>
                    <a:pt x="12554" y="6738"/>
                  </a:lnTo>
                  <a:lnTo>
                    <a:pt x="12562" y="6812"/>
                  </a:lnTo>
                  <a:lnTo>
                    <a:pt x="12569" y="6888"/>
                  </a:lnTo>
                  <a:lnTo>
                    <a:pt x="12573" y="6964"/>
                  </a:lnTo>
                  <a:lnTo>
                    <a:pt x="12574" y="7042"/>
                  </a:lnTo>
                  <a:lnTo>
                    <a:pt x="12573" y="7119"/>
                  </a:lnTo>
                  <a:lnTo>
                    <a:pt x="12569" y="7196"/>
                  </a:lnTo>
                  <a:lnTo>
                    <a:pt x="12562" y="7272"/>
                  </a:lnTo>
                  <a:lnTo>
                    <a:pt x="12554" y="7345"/>
                  </a:lnTo>
                  <a:lnTo>
                    <a:pt x="12542" y="7419"/>
                  </a:lnTo>
                  <a:lnTo>
                    <a:pt x="12529" y="7490"/>
                  </a:lnTo>
                  <a:lnTo>
                    <a:pt x="12513" y="7561"/>
                  </a:lnTo>
                  <a:lnTo>
                    <a:pt x="12495" y="7629"/>
                  </a:lnTo>
                  <a:lnTo>
                    <a:pt x="12475" y="7696"/>
                  </a:lnTo>
                  <a:lnTo>
                    <a:pt x="12453" y="7761"/>
                  </a:lnTo>
                  <a:lnTo>
                    <a:pt x="12428" y="7824"/>
                  </a:lnTo>
                  <a:lnTo>
                    <a:pt x="12402" y="7886"/>
                  </a:lnTo>
                  <a:lnTo>
                    <a:pt x="12374" y="7945"/>
                  </a:lnTo>
                  <a:lnTo>
                    <a:pt x="12344" y="8001"/>
                  </a:lnTo>
                  <a:lnTo>
                    <a:pt x="12313" y="8057"/>
                  </a:lnTo>
                  <a:lnTo>
                    <a:pt x="12279" y="8109"/>
                  </a:lnTo>
                  <a:lnTo>
                    <a:pt x="12244" y="8158"/>
                  </a:lnTo>
                  <a:lnTo>
                    <a:pt x="12208" y="8206"/>
                  </a:lnTo>
                  <a:lnTo>
                    <a:pt x="12170" y="8251"/>
                  </a:lnTo>
                  <a:lnTo>
                    <a:pt x="12131" y="8293"/>
                  </a:lnTo>
                  <a:lnTo>
                    <a:pt x="12089" y="8332"/>
                  </a:lnTo>
                  <a:lnTo>
                    <a:pt x="12047" y="8368"/>
                  </a:lnTo>
                  <a:lnTo>
                    <a:pt x="12004" y="8402"/>
                  </a:lnTo>
                  <a:lnTo>
                    <a:pt x="11960" y="8432"/>
                  </a:lnTo>
                  <a:lnTo>
                    <a:pt x="11914" y="8459"/>
                  </a:lnTo>
                  <a:lnTo>
                    <a:pt x="11867" y="8483"/>
                  </a:lnTo>
                  <a:lnTo>
                    <a:pt x="11820" y="8503"/>
                  </a:lnTo>
                  <a:lnTo>
                    <a:pt x="11770" y="8520"/>
                  </a:lnTo>
                  <a:lnTo>
                    <a:pt x="11721" y="8533"/>
                  </a:lnTo>
                  <a:lnTo>
                    <a:pt x="11671" y="8542"/>
                  </a:lnTo>
                  <a:lnTo>
                    <a:pt x="11620" y="8548"/>
                  </a:lnTo>
                  <a:lnTo>
                    <a:pt x="11568" y="8550"/>
                  </a:lnTo>
                  <a:lnTo>
                    <a:pt x="10142" y="8550"/>
                  </a:lnTo>
                  <a:lnTo>
                    <a:pt x="10133" y="8460"/>
                  </a:lnTo>
                  <a:lnTo>
                    <a:pt x="10124" y="8368"/>
                  </a:lnTo>
                  <a:lnTo>
                    <a:pt x="10115" y="8277"/>
                  </a:lnTo>
                  <a:lnTo>
                    <a:pt x="10107" y="8184"/>
                  </a:lnTo>
                  <a:lnTo>
                    <a:pt x="10100" y="8092"/>
                  </a:lnTo>
                  <a:lnTo>
                    <a:pt x="10093" y="7998"/>
                  </a:lnTo>
                  <a:lnTo>
                    <a:pt x="10087" y="7905"/>
                  </a:lnTo>
                  <a:lnTo>
                    <a:pt x="10082" y="7811"/>
                  </a:lnTo>
                  <a:lnTo>
                    <a:pt x="10076" y="7717"/>
                  </a:lnTo>
                  <a:lnTo>
                    <a:pt x="10071" y="7621"/>
                  </a:lnTo>
                  <a:lnTo>
                    <a:pt x="10068" y="7525"/>
                  </a:lnTo>
                  <a:lnTo>
                    <a:pt x="10064" y="7430"/>
                  </a:lnTo>
                  <a:lnTo>
                    <a:pt x="10062" y="7333"/>
                  </a:lnTo>
                  <a:lnTo>
                    <a:pt x="10060" y="7237"/>
                  </a:lnTo>
                  <a:lnTo>
                    <a:pt x="10059" y="7139"/>
                  </a:lnTo>
                  <a:lnTo>
                    <a:pt x="10059" y="7042"/>
                  </a:lnTo>
                  <a:close/>
                  <a:moveTo>
                    <a:pt x="12574" y="0"/>
                  </a:moveTo>
                  <a:lnTo>
                    <a:pt x="12478" y="2"/>
                  </a:lnTo>
                  <a:lnTo>
                    <a:pt x="12383" y="8"/>
                  </a:lnTo>
                  <a:lnTo>
                    <a:pt x="12290" y="18"/>
                  </a:lnTo>
                  <a:lnTo>
                    <a:pt x="12197" y="32"/>
                  </a:lnTo>
                  <a:lnTo>
                    <a:pt x="12106" y="50"/>
                  </a:lnTo>
                  <a:lnTo>
                    <a:pt x="12017" y="72"/>
                  </a:lnTo>
                  <a:lnTo>
                    <a:pt x="11928" y="99"/>
                  </a:lnTo>
                  <a:lnTo>
                    <a:pt x="11841" y="128"/>
                  </a:lnTo>
                  <a:lnTo>
                    <a:pt x="11755" y="161"/>
                  </a:lnTo>
                  <a:lnTo>
                    <a:pt x="11671" y="198"/>
                  </a:lnTo>
                  <a:lnTo>
                    <a:pt x="11588" y="238"/>
                  </a:lnTo>
                  <a:lnTo>
                    <a:pt x="11506" y="282"/>
                  </a:lnTo>
                  <a:lnTo>
                    <a:pt x="11425" y="329"/>
                  </a:lnTo>
                  <a:lnTo>
                    <a:pt x="11347" y="380"/>
                  </a:lnTo>
                  <a:lnTo>
                    <a:pt x="11269" y="435"/>
                  </a:lnTo>
                  <a:lnTo>
                    <a:pt x="11192" y="491"/>
                  </a:lnTo>
                  <a:lnTo>
                    <a:pt x="11117" y="552"/>
                  </a:lnTo>
                  <a:lnTo>
                    <a:pt x="11043" y="616"/>
                  </a:lnTo>
                  <a:lnTo>
                    <a:pt x="10971" y="682"/>
                  </a:lnTo>
                  <a:lnTo>
                    <a:pt x="10899" y="752"/>
                  </a:lnTo>
                  <a:lnTo>
                    <a:pt x="10829" y="825"/>
                  </a:lnTo>
                  <a:lnTo>
                    <a:pt x="10761" y="900"/>
                  </a:lnTo>
                  <a:lnTo>
                    <a:pt x="10693" y="979"/>
                  </a:lnTo>
                  <a:lnTo>
                    <a:pt x="10628" y="1060"/>
                  </a:lnTo>
                  <a:lnTo>
                    <a:pt x="10562" y="1144"/>
                  </a:lnTo>
                  <a:lnTo>
                    <a:pt x="10500" y="1230"/>
                  </a:lnTo>
                  <a:lnTo>
                    <a:pt x="10438" y="1320"/>
                  </a:lnTo>
                  <a:lnTo>
                    <a:pt x="10377" y="1412"/>
                  </a:lnTo>
                  <a:lnTo>
                    <a:pt x="10318" y="1506"/>
                  </a:lnTo>
                  <a:lnTo>
                    <a:pt x="10260" y="1602"/>
                  </a:lnTo>
                  <a:lnTo>
                    <a:pt x="10203" y="1702"/>
                  </a:lnTo>
                  <a:lnTo>
                    <a:pt x="10148" y="1804"/>
                  </a:lnTo>
                  <a:lnTo>
                    <a:pt x="10137" y="1798"/>
                  </a:lnTo>
                  <a:lnTo>
                    <a:pt x="10056" y="1952"/>
                  </a:lnTo>
                  <a:lnTo>
                    <a:pt x="9974" y="2101"/>
                  </a:lnTo>
                  <a:lnTo>
                    <a:pt x="9888" y="2247"/>
                  </a:lnTo>
                  <a:lnTo>
                    <a:pt x="9801" y="2390"/>
                  </a:lnTo>
                  <a:lnTo>
                    <a:pt x="9711" y="2529"/>
                  </a:lnTo>
                  <a:lnTo>
                    <a:pt x="9620" y="2665"/>
                  </a:lnTo>
                  <a:lnTo>
                    <a:pt x="9525" y="2796"/>
                  </a:lnTo>
                  <a:lnTo>
                    <a:pt x="9430" y="2923"/>
                  </a:lnTo>
                  <a:lnTo>
                    <a:pt x="9332" y="3046"/>
                  </a:lnTo>
                  <a:lnTo>
                    <a:pt x="9231" y="3165"/>
                  </a:lnTo>
                  <a:lnTo>
                    <a:pt x="9130" y="3279"/>
                  </a:lnTo>
                  <a:lnTo>
                    <a:pt x="9026" y="3389"/>
                  </a:lnTo>
                  <a:lnTo>
                    <a:pt x="8921" y="3495"/>
                  </a:lnTo>
                  <a:lnTo>
                    <a:pt x="8814" y="3595"/>
                  </a:lnTo>
                  <a:lnTo>
                    <a:pt x="8705" y="3692"/>
                  </a:lnTo>
                  <a:lnTo>
                    <a:pt x="8595" y="3783"/>
                  </a:lnTo>
                  <a:lnTo>
                    <a:pt x="8483" y="3870"/>
                  </a:lnTo>
                  <a:lnTo>
                    <a:pt x="8369" y="3951"/>
                  </a:lnTo>
                  <a:lnTo>
                    <a:pt x="8255" y="4029"/>
                  </a:lnTo>
                  <a:lnTo>
                    <a:pt x="8138" y="4100"/>
                  </a:lnTo>
                  <a:lnTo>
                    <a:pt x="8020" y="4167"/>
                  </a:lnTo>
                  <a:lnTo>
                    <a:pt x="7902" y="4227"/>
                  </a:lnTo>
                  <a:lnTo>
                    <a:pt x="7781" y="4283"/>
                  </a:lnTo>
                  <a:lnTo>
                    <a:pt x="7659" y="4334"/>
                  </a:lnTo>
                  <a:lnTo>
                    <a:pt x="7537" y="4378"/>
                  </a:lnTo>
                  <a:lnTo>
                    <a:pt x="7414" y="4417"/>
                  </a:lnTo>
                  <a:lnTo>
                    <a:pt x="7289" y="4450"/>
                  </a:lnTo>
                  <a:lnTo>
                    <a:pt x="7163" y="4477"/>
                  </a:lnTo>
                  <a:lnTo>
                    <a:pt x="7037" y="4499"/>
                  </a:lnTo>
                  <a:lnTo>
                    <a:pt x="6909" y="4515"/>
                  </a:lnTo>
                  <a:lnTo>
                    <a:pt x="6781" y="4524"/>
                  </a:lnTo>
                  <a:lnTo>
                    <a:pt x="6652" y="4527"/>
                  </a:lnTo>
                  <a:lnTo>
                    <a:pt x="6318" y="4527"/>
                  </a:lnTo>
                  <a:lnTo>
                    <a:pt x="4102" y="4527"/>
                  </a:lnTo>
                  <a:lnTo>
                    <a:pt x="2012" y="4527"/>
                  </a:lnTo>
                  <a:lnTo>
                    <a:pt x="1907" y="4530"/>
                  </a:lnTo>
                  <a:lnTo>
                    <a:pt x="1804" y="4540"/>
                  </a:lnTo>
                  <a:lnTo>
                    <a:pt x="1701" y="4555"/>
                  </a:lnTo>
                  <a:lnTo>
                    <a:pt x="1601" y="4577"/>
                  </a:lnTo>
                  <a:lnTo>
                    <a:pt x="1503" y="4604"/>
                  </a:lnTo>
                  <a:lnTo>
                    <a:pt x="1407" y="4638"/>
                  </a:lnTo>
                  <a:lnTo>
                    <a:pt x="1313" y="4677"/>
                  </a:lnTo>
                  <a:lnTo>
                    <a:pt x="1221" y="4722"/>
                  </a:lnTo>
                  <a:lnTo>
                    <a:pt x="1132" y="4771"/>
                  </a:lnTo>
                  <a:lnTo>
                    <a:pt x="1045" y="4826"/>
                  </a:lnTo>
                  <a:lnTo>
                    <a:pt x="961" y="4886"/>
                  </a:lnTo>
                  <a:lnTo>
                    <a:pt x="879" y="4950"/>
                  </a:lnTo>
                  <a:lnTo>
                    <a:pt x="801" y="5020"/>
                  </a:lnTo>
                  <a:lnTo>
                    <a:pt x="725" y="5094"/>
                  </a:lnTo>
                  <a:lnTo>
                    <a:pt x="652" y="5173"/>
                  </a:lnTo>
                  <a:lnTo>
                    <a:pt x="582" y="5255"/>
                  </a:lnTo>
                  <a:lnTo>
                    <a:pt x="516" y="5343"/>
                  </a:lnTo>
                  <a:lnTo>
                    <a:pt x="454" y="5433"/>
                  </a:lnTo>
                  <a:lnTo>
                    <a:pt x="394" y="5528"/>
                  </a:lnTo>
                  <a:lnTo>
                    <a:pt x="339" y="5626"/>
                  </a:lnTo>
                  <a:lnTo>
                    <a:pt x="288" y="5728"/>
                  </a:lnTo>
                  <a:lnTo>
                    <a:pt x="239" y="5833"/>
                  </a:lnTo>
                  <a:lnTo>
                    <a:pt x="195" y="5942"/>
                  </a:lnTo>
                  <a:lnTo>
                    <a:pt x="156" y="6054"/>
                  </a:lnTo>
                  <a:lnTo>
                    <a:pt x="120" y="6168"/>
                  </a:lnTo>
                  <a:lnTo>
                    <a:pt x="89" y="6286"/>
                  </a:lnTo>
                  <a:lnTo>
                    <a:pt x="62" y="6406"/>
                  </a:lnTo>
                  <a:lnTo>
                    <a:pt x="40" y="6529"/>
                  </a:lnTo>
                  <a:lnTo>
                    <a:pt x="23" y="6653"/>
                  </a:lnTo>
                  <a:lnTo>
                    <a:pt x="10" y="6781"/>
                  </a:lnTo>
                  <a:lnTo>
                    <a:pt x="3" y="6911"/>
                  </a:lnTo>
                  <a:lnTo>
                    <a:pt x="0" y="7042"/>
                  </a:lnTo>
                  <a:lnTo>
                    <a:pt x="3" y="7173"/>
                  </a:lnTo>
                  <a:lnTo>
                    <a:pt x="10" y="7302"/>
                  </a:lnTo>
                  <a:lnTo>
                    <a:pt x="23" y="7430"/>
                  </a:lnTo>
                  <a:lnTo>
                    <a:pt x="40" y="7555"/>
                  </a:lnTo>
                  <a:lnTo>
                    <a:pt x="62" y="7677"/>
                  </a:lnTo>
                  <a:lnTo>
                    <a:pt x="89" y="7798"/>
                  </a:lnTo>
                  <a:lnTo>
                    <a:pt x="120" y="7915"/>
                  </a:lnTo>
                  <a:lnTo>
                    <a:pt x="156" y="8029"/>
                  </a:lnTo>
                  <a:lnTo>
                    <a:pt x="195" y="8141"/>
                  </a:lnTo>
                  <a:lnTo>
                    <a:pt x="239" y="8250"/>
                  </a:lnTo>
                  <a:lnTo>
                    <a:pt x="288" y="8355"/>
                  </a:lnTo>
                  <a:lnTo>
                    <a:pt x="339" y="8457"/>
                  </a:lnTo>
                  <a:lnTo>
                    <a:pt x="394" y="8555"/>
                  </a:lnTo>
                  <a:lnTo>
                    <a:pt x="454" y="8650"/>
                  </a:lnTo>
                  <a:lnTo>
                    <a:pt x="516" y="8742"/>
                  </a:lnTo>
                  <a:lnTo>
                    <a:pt x="582" y="8828"/>
                  </a:lnTo>
                  <a:lnTo>
                    <a:pt x="652" y="8911"/>
                  </a:lnTo>
                  <a:lnTo>
                    <a:pt x="725" y="8989"/>
                  </a:lnTo>
                  <a:lnTo>
                    <a:pt x="801" y="9063"/>
                  </a:lnTo>
                  <a:lnTo>
                    <a:pt x="879" y="9133"/>
                  </a:lnTo>
                  <a:lnTo>
                    <a:pt x="961" y="9197"/>
                  </a:lnTo>
                  <a:lnTo>
                    <a:pt x="1045" y="9258"/>
                  </a:lnTo>
                  <a:lnTo>
                    <a:pt x="1132" y="9312"/>
                  </a:lnTo>
                  <a:lnTo>
                    <a:pt x="1221" y="9362"/>
                  </a:lnTo>
                  <a:lnTo>
                    <a:pt x="1313" y="9407"/>
                  </a:lnTo>
                  <a:lnTo>
                    <a:pt x="1407" y="9445"/>
                  </a:lnTo>
                  <a:lnTo>
                    <a:pt x="1503" y="9479"/>
                  </a:lnTo>
                  <a:lnTo>
                    <a:pt x="1601" y="9506"/>
                  </a:lnTo>
                  <a:lnTo>
                    <a:pt x="1701" y="9528"/>
                  </a:lnTo>
                  <a:lnTo>
                    <a:pt x="1804" y="9543"/>
                  </a:lnTo>
                  <a:lnTo>
                    <a:pt x="1907" y="9553"/>
                  </a:lnTo>
                  <a:lnTo>
                    <a:pt x="2012" y="9556"/>
                  </a:lnTo>
                  <a:lnTo>
                    <a:pt x="2063" y="9557"/>
                  </a:lnTo>
                  <a:lnTo>
                    <a:pt x="2114" y="9561"/>
                  </a:lnTo>
                  <a:lnTo>
                    <a:pt x="2165" y="9568"/>
                  </a:lnTo>
                  <a:lnTo>
                    <a:pt x="2214" y="9578"/>
                  </a:lnTo>
                  <a:lnTo>
                    <a:pt x="2262" y="9589"/>
                  </a:lnTo>
                  <a:lnTo>
                    <a:pt x="2311" y="9603"/>
                  </a:lnTo>
                  <a:lnTo>
                    <a:pt x="2357" y="9618"/>
                  </a:lnTo>
                  <a:lnTo>
                    <a:pt x="2402" y="9636"/>
                  </a:lnTo>
                  <a:lnTo>
                    <a:pt x="2446" y="9656"/>
                  </a:lnTo>
                  <a:lnTo>
                    <a:pt x="2490" y="9679"/>
                  </a:lnTo>
                  <a:lnTo>
                    <a:pt x="2532" y="9703"/>
                  </a:lnTo>
                  <a:lnTo>
                    <a:pt x="2573" y="9729"/>
                  </a:lnTo>
                  <a:lnTo>
                    <a:pt x="2612" y="9758"/>
                  </a:lnTo>
                  <a:lnTo>
                    <a:pt x="2650" y="9787"/>
                  </a:lnTo>
                  <a:lnTo>
                    <a:pt x="2686" y="9819"/>
                  </a:lnTo>
                  <a:lnTo>
                    <a:pt x="2721" y="9852"/>
                  </a:lnTo>
                  <a:lnTo>
                    <a:pt x="2754" y="9886"/>
                  </a:lnTo>
                  <a:lnTo>
                    <a:pt x="2785" y="9924"/>
                  </a:lnTo>
                  <a:lnTo>
                    <a:pt x="2816" y="9961"/>
                  </a:lnTo>
                  <a:lnTo>
                    <a:pt x="2844" y="10000"/>
                  </a:lnTo>
                  <a:lnTo>
                    <a:pt x="2870" y="10041"/>
                  </a:lnTo>
                  <a:lnTo>
                    <a:pt x="2894" y="10084"/>
                  </a:lnTo>
                  <a:lnTo>
                    <a:pt x="2916" y="10127"/>
                  </a:lnTo>
                  <a:lnTo>
                    <a:pt x="2936" y="10171"/>
                  </a:lnTo>
                  <a:lnTo>
                    <a:pt x="2953" y="10216"/>
                  </a:lnTo>
                  <a:lnTo>
                    <a:pt x="2970" y="10264"/>
                  </a:lnTo>
                  <a:lnTo>
                    <a:pt x="2984" y="10311"/>
                  </a:lnTo>
                  <a:lnTo>
                    <a:pt x="2995" y="10360"/>
                  </a:lnTo>
                  <a:lnTo>
                    <a:pt x="3003" y="10409"/>
                  </a:lnTo>
                  <a:lnTo>
                    <a:pt x="3010" y="10460"/>
                  </a:lnTo>
                  <a:lnTo>
                    <a:pt x="3014" y="10510"/>
                  </a:lnTo>
                  <a:lnTo>
                    <a:pt x="3015" y="10562"/>
                  </a:lnTo>
                  <a:lnTo>
                    <a:pt x="3015" y="15089"/>
                  </a:lnTo>
                  <a:lnTo>
                    <a:pt x="3016" y="15140"/>
                  </a:lnTo>
                  <a:lnTo>
                    <a:pt x="3020" y="15192"/>
                  </a:lnTo>
                  <a:lnTo>
                    <a:pt x="3026" y="15242"/>
                  </a:lnTo>
                  <a:lnTo>
                    <a:pt x="3035" y="15292"/>
                  </a:lnTo>
                  <a:lnTo>
                    <a:pt x="3046" y="15341"/>
                  </a:lnTo>
                  <a:lnTo>
                    <a:pt x="3060" y="15388"/>
                  </a:lnTo>
                  <a:lnTo>
                    <a:pt x="3076" y="15435"/>
                  </a:lnTo>
                  <a:lnTo>
                    <a:pt x="3094" y="15480"/>
                  </a:lnTo>
                  <a:lnTo>
                    <a:pt x="3114" y="15526"/>
                  </a:lnTo>
                  <a:lnTo>
                    <a:pt x="3137" y="15569"/>
                  </a:lnTo>
                  <a:lnTo>
                    <a:pt x="3161" y="15611"/>
                  </a:lnTo>
                  <a:lnTo>
                    <a:pt x="3187" y="15651"/>
                  </a:lnTo>
                  <a:lnTo>
                    <a:pt x="3215" y="15691"/>
                  </a:lnTo>
                  <a:lnTo>
                    <a:pt x="3245" y="15729"/>
                  </a:lnTo>
                  <a:lnTo>
                    <a:pt x="3276" y="15765"/>
                  </a:lnTo>
                  <a:lnTo>
                    <a:pt x="3310" y="15800"/>
                  </a:lnTo>
                  <a:lnTo>
                    <a:pt x="3345" y="15833"/>
                  </a:lnTo>
                  <a:lnTo>
                    <a:pt x="3381" y="15866"/>
                  </a:lnTo>
                  <a:lnTo>
                    <a:pt x="3419" y="15895"/>
                  </a:lnTo>
                  <a:lnTo>
                    <a:pt x="3458" y="15923"/>
                  </a:lnTo>
                  <a:lnTo>
                    <a:pt x="3500" y="15949"/>
                  </a:lnTo>
                  <a:lnTo>
                    <a:pt x="3542" y="15973"/>
                  </a:lnTo>
                  <a:lnTo>
                    <a:pt x="3585" y="15995"/>
                  </a:lnTo>
                  <a:lnTo>
                    <a:pt x="3629" y="16016"/>
                  </a:lnTo>
                  <a:lnTo>
                    <a:pt x="3675" y="16034"/>
                  </a:lnTo>
                  <a:lnTo>
                    <a:pt x="3722" y="16050"/>
                  </a:lnTo>
                  <a:lnTo>
                    <a:pt x="3769" y="16064"/>
                  </a:lnTo>
                  <a:lnTo>
                    <a:pt x="3819" y="16075"/>
                  </a:lnTo>
                  <a:lnTo>
                    <a:pt x="3868" y="16083"/>
                  </a:lnTo>
                  <a:lnTo>
                    <a:pt x="3918" y="16090"/>
                  </a:lnTo>
                  <a:lnTo>
                    <a:pt x="3969" y="16094"/>
                  </a:lnTo>
                  <a:lnTo>
                    <a:pt x="4021" y="16095"/>
                  </a:lnTo>
                  <a:lnTo>
                    <a:pt x="6033" y="16095"/>
                  </a:lnTo>
                  <a:lnTo>
                    <a:pt x="6085" y="16094"/>
                  </a:lnTo>
                  <a:lnTo>
                    <a:pt x="6135" y="16090"/>
                  </a:lnTo>
                  <a:lnTo>
                    <a:pt x="6186" y="16083"/>
                  </a:lnTo>
                  <a:lnTo>
                    <a:pt x="6236" y="16075"/>
                  </a:lnTo>
                  <a:lnTo>
                    <a:pt x="6284" y="16064"/>
                  </a:lnTo>
                  <a:lnTo>
                    <a:pt x="6332" y="16050"/>
                  </a:lnTo>
                  <a:lnTo>
                    <a:pt x="6379" y="16034"/>
                  </a:lnTo>
                  <a:lnTo>
                    <a:pt x="6425" y="16016"/>
                  </a:lnTo>
                  <a:lnTo>
                    <a:pt x="6469" y="15995"/>
                  </a:lnTo>
                  <a:lnTo>
                    <a:pt x="6512" y="15973"/>
                  </a:lnTo>
                  <a:lnTo>
                    <a:pt x="6555" y="15949"/>
                  </a:lnTo>
                  <a:lnTo>
                    <a:pt x="6595" y="15923"/>
                  </a:lnTo>
                  <a:lnTo>
                    <a:pt x="6635" y="15895"/>
                  </a:lnTo>
                  <a:lnTo>
                    <a:pt x="6672" y="15866"/>
                  </a:lnTo>
                  <a:lnTo>
                    <a:pt x="6710" y="15833"/>
                  </a:lnTo>
                  <a:lnTo>
                    <a:pt x="6744" y="15800"/>
                  </a:lnTo>
                  <a:lnTo>
                    <a:pt x="6778" y="15765"/>
                  </a:lnTo>
                  <a:lnTo>
                    <a:pt x="6809" y="15729"/>
                  </a:lnTo>
                  <a:lnTo>
                    <a:pt x="6839" y="15691"/>
                  </a:lnTo>
                  <a:lnTo>
                    <a:pt x="6867" y="15651"/>
                  </a:lnTo>
                  <a:lnTo>
                    <a:pt x="6893" y="15611"/>
                  </a:lnTo>
                  <a:lnTo>
                    <a:pt x="6917" y="15569"/>
                  </a:lnTo>
                  <a:lnTo>
                    <a:pt x="6940" y="15526"/>
                  </a:lnTo>
                  <a:lnTo>
                    <a:pt x="6960" y="15480"/>
                  </a:lnTo>
                  <a:lnTo>
                    <a:pt x="6977" y="15435"/>
                  </a:lnTo>
                  <a:lnTo>
                    <a:pt x="6993" y="15388"/>
                  </a:lnTo>
                  <a:lnTo>
                    <a:pt x="7007" y="15341"/>
                  </a:lnTo>
                  <a:lnTo>
                    <a:pt x="7018" y="15292"/>
                  </a:lnTo>
                  <a:lnTo>
                    <a:pt x="7027" y="15242"/>
                  </a:lnTo>
                  <a:lnTo>
                    <a:pt x="7034" y="15192"/>
                  </a:lnTo>
                  <a:lnTo>
                    <a:pt x="7038" y="15140"/>
                  </a:lnTo>
                  <a:lnTo>
                    <a:pt x="7039" y="15089"/>
                  </a:lnTo>
                  <a:lnTo>
                    <a:pt x="7039" y="14586"/>
                  </a:lnTo>
                  <a:lnTo>
                    <a:pt x="7038" y="14540"/>
                  </a:lnTo>
                  <a:lnTo>
                    <a:pt x="7033" y="14495"/>
                  </a:lnTo>
                  <a:lnTo>
                    <a:pt x="7026" y="14451"/>
                  </a:lnTo>
                  <a:lnTo>
                    <a:pt x="7017" y="14410"/>
                  </a:lnTo>
                  <a:lnTo>
                    <a:pt x="7005" y="14370"/>
                  </a:lnTo>
                  <a:lnTo>
                    <a:pt x="6992" y="14331"/>
                  </a:lnTo>
                  <a:lnTo>
                    <a:pt x="6977" y="14292"/>
                  </a:lnTo>
                  <a:lnTo>
                    <a:pt x="6960" y="14256"/>
                  </a:lnTo>
                  <a:lnTo>
                    <a:pt x="6942" y="14220"/>
                  </a:lnTo>
                  <a:lnTo>
                    <a:pt x="6922" y="14186"/>
                  </a:lnTo>
                  <a:lnTo>
                    <a:pt x="6901" y="14153"/>
                  </a:lnTo>
                  <a:lnTo>
                    <a:pt x="6880" y="14120"/>
                  </a:lnTo>
                  <a:lnTo>
                    <a:pt x="6857" y="14088"/>
                  </a:lnTo>
                  <a:lnTo>
                    <a:pt x="6834" y="14058"/>
                  </a:lnTo>
                  <a:lnTo>
                    <a:pt x="6810" y="14028"/>
                  </a:lnTo>
                  <a:lnTo>
                    <a:pt x="6787" y="13999"/>
                  </a:lnTo>
                  <a:lnTo>
                    <a:pt x="6740" y="13942"/>
                  </a:lnTo>
                  <a:lnTo>
                    <a:pt x="6695" y="13888"/>
                  </a:lnTo>
                  <a:lnTo>
                    <a:pt x="6673" y="13862"/>
                  </a:lnTo>
                  <a:lnTo>
                    <a:pt x="6652" y="13836"/>
                  </a:lnTo>
                  <a:lnTo>
                    <a:pt x="6632" y="13810"/>
                  </a:lnTo>
                  <a:lnTo>
                    <a:pt x="6614" y="13784"/>
                  </a:lnTo>
                  <a:lnTo>
                    <a:pt x="6597" y="13758"/>
                  </a:lnTo>
                  <a:lnTo>
                    <a:pt x="6582" y="13733"/>
                  </a:lnTo>
                  <a:lnTo>
                    <a:pt x="6569" y="13708"/>
                  </a:lnTo>
                  <a:lnTo>
                    <a:pt x="6558" y="13683"/>
                  </a:lnTo>
                  <a:lnTo>
                    <a:pt x="6548" y="13658"/>
                  </a:lnTo>
                  <a:lnTo>
                    <a:pt x="6542" y="13631"/>
                  </a:lnTo>
                  <a:lnTo>
                    <a:pt x="6537" y="13606"/>
                  </a:lnTo>
                  <a:lnTo>
                    <a:pt x="6536" y="13580"/>
                  </a:lnTo>
                  <a:lnTo>
                    <a:pt x="6536" y="10059"/>
                  </a:lnTo>
                  <a:lnTo>
                    <a:pt x="6537" y="10051"/>
                  </a:lnTo>
                  <a:lnTo>
                    <a:pt x="6540" y="10043"/>
                  </a:lnTo>
                  <a:lnTo>
                    <a:pt x="6543" y="10036"/>
                  </a:lnTo>
                  <a:lnTo>
                    <a:pt x="6545" y="10028"/>
                  </a:lnTo>
                  <a:lnTo>
                    <a:pt x="6547" y="10001"/>
                  </a:lnTo>
                  <a:lnTo>
                    <a:pt x="6551" y="9975"/>
                  </a:lnTo>
                  <a:lnTo>
                    <a:pt x="6556" y="9950"/>
                  </a:lnTo>
                  <a:lnTo>
                    <a:pt x="6563" y="9925"/>
                  </a:lnTo>
                  <a:lnTo>
                    <a:pt x="6571" y="9899"/>
                  </a:lnTo>
                  <a:lnTo>
                    <a:pt x="6580" y="9875"/>
                  </a:lnTo>
                  <a:lnTo>
                    <a:pt x="6590" y="9852"/>
                  </a:lnTo>
                  <a:lnTo>
                    <a:pt x="6601" y="9829"/>
                  </a:lnTo>
                  <a:lnTo>
                    <a:pt x="6608" y="9818"/>
                  </a:lnTo>
                  <a:lnTo>
                    <a:pt x="6615" y="9807"/>
                  </a:lnTo>
                  <a:lnTo>
                    <a:pt x="6623" y="9796"/>
                  </a:lnTo>
                  <a:lnTo>
                    <a:pt x="6631" y="9785"/>
                  </a:lnTo>
                  <a:lnTo>
                    <a:pt x="6646" y="9764"/>
                  </a:lnTo>
                  <a:lnTo>
                    <a:pt x="6663" y="9743"/>
                  </a:lnTo>
                  <a:lnTo>
                    <a:pt x="6680" y="9722"/>
                  </a:lnTo>
                  <a:lnTo>
                    <a:pt x="6699" y="9703"/>
                  </a:lnTo>
                  <a:lnTo>
                    <a:pt x="6719" y="9685"/>
                  </a:lnTo>
                  <a:lnTo>
                    <a:pt x="6739" y="9669"/>
                  </a:lnTo>
                  <a:lnTo>
                    <a:pt x="6760" y="9653"/>
                  </a:lnTo>
                  <a:lnTo>
                    <a:pt x="6783" y="9638"/>
                  </a:lnTo>
                  <a:lnTo>
                    <a:pt x="6787" y="9634"/>
                  </a:lnTo>
                  <a:lnTo>
                    <a:pt x="6790" y="9631"/>
                  </a:lnTo>
                  <a:lnTo>
                    <a:pt x="6793" y="9630"/>
                  </a:lnTo>
                  <a:lnTo>
                    <a:pt x="6796" y="9629"/>
                  </a:lnTo>
                  <a:lnTo>
                    <a:pt x="6811" y="9622"/>
                  </a:lnTo>
                  <a:lnTo>
                    <a:pt x="6827" y="9615"/>
                  </a:lnTo>
                  <a:lnTo>
                    <a:pt x="6844" y="9610"/>
                  </a:lnTo>
                  <a:lnTo>
                    <a:pt x="6860" y="9606"/>
                  </a:lnTo>
                  <a:lnTo>
                    <a:pt x="6895" y="9598"/>
                  </a:lnTo>
                  <a:lnTo>
                    <a:pt x="6929" y="9589"/>
                  </a:lnTo>
                  <a:lnTo>
                    <a:pt x="7048" y="9604"/>
                  </a:lnTo>
                  <a:lnTo>
                    <a:pt x="7166" y="9624"/>
                  </a:lnTo>
                  <a:lnTo>
                    <a:pt x="7283" y="9650"/>
                  </a:lnTo>
                  <a:lnTo>
                    <a:pt x="7400" y="9680"/>
                  </a:lnTo>
                  <a:lnTo>
                    <a:pt x="7514" y="9715"/>
                  </a:lnTo>
                  <a:lnTo>
                    <a:pt x="7629" y="9756"/>
                  </a:lnTo>
                  <a:lnTo>
                    <a:pt x="7743" y="9801"/>
                  </a:lnTo>
                  <a:lnTo>
                    <a:pt x="7855" y="9851"/>
                  </a:lnTo>
                  <a:lnTo>
                    <a:pt x="7967" y="9905"/>
                  </a:lnTo>
                  <a:lnTo>
                    <a:pt x="8077" y="9964"/>
                  </a:lnTo>
                  <a:lnTo>
                    <a:pt x="8186" y="10028"/>
                  </a:lnTo>
                  <a:lnTo>
                    <a:pt x="8294" y="10096"/>
                  </a:lnTo>
                  <a:lnTo>
                    <a:pt x="8401" y="10169"/>
                  </a:lnTo>
                  <a:lnTo>
                    <a:pt x="8506" y="10245"/>
                  </a:lnTo>
                  <a:lnTo>
                    <a:pt x="8611" y="10327"/>
                  </a:lnTo>
                  <a:lnTo>
                    <a:pt x="8713" y="10411"/>
                  </a:lnTo>
                  <a:lnTo>
                    <a:pt x="8815" y="10501"/>
                  </a:lnTo>
                  <a:lnTo>
                    <a:pt x="8915" y="10595"/>
                  </a:lnTo>
                  <a:lnTo>
                    <a:pt x="9013" y="10692"/>
                  </a:lnTo>
                  <a:lnTo>
                    <a:pt x="9110" y="10794"/>
                  </a:lnTo>
                  <a:lnTo>
                    <a:pt x="9205" y="10898"/>
                  </a:lnTo>
                  <a:lnTo>
                    <a:pt x="9299" y="11008"/>
                  </a:lnTo>
                  <a:lnTo>
                    <a:pt x="9391" y="11121"/>
                  </a:lnTo>
                  <a:lnTo>
                    <a:pt x="9481" y="11237"/>
                  </a:lnTo>
                  <a:lnTo>
                    <a:pt x="9570" y="11357"/>
                  </a:lnTo>
                  <a:lnTo>
                    <a:pt x="9657" y="11481"/>
                  </a:lnTo>
                  <a:lnTo>
                    <a:pt x="9741" y="11608"/>
                  </a:lnTo>
                  <a:lnTo>
                    <a:pt x="9825" y="11737"/>
                  </a:lnTo>
                  <a:lnTo>
                    <a:pt x="9905" y="11871"/>
                  </a:lnTo>
                  <a:lnTo>
                    <a:pt x="9985" y="12008"/>
                  </a:lnTo>
                  <a:lnTo>
                    <a:pt x="10061" y="12149"/>
                  </a:lnTo>
                  <a:lnTo>
                    <a:pt x="10137" y="12292"/>
                  </a:lnTo>
                  <a:lnTo>
                    <a:pt x="10150" y="12286"/>
                  </a:lnTo>
                  <a:lnTo>
                    <a:pt x="10205" y="12386"/>
                  </a:lnTo>
                  <a:lnTo>
                    <a:pt x="10262" y="12486"/>
                  </a:lnTo>
                  <a:lnTo>
                    <a:pt x="10320" y="12581"/>
                  </a:lnTo>
                  <a:lnTo>
                    <a:pt x="10379" y="12676"/>
                  </a:lnTo>
                  <a:lnTo>
                    <a:pt x="10440" y="12767"/>
                  </a:lnTo>
                  <a:lnTo>
                    <a:pt x="10502" y="12856"/>
                  </a:lnTo>
                  <a:lnTo>
                    <a:pt x="10565" y="12942"/>
                  </a:lnTo>
                  <a:lnTo>
                    <a:pt x="10630" y="13026"/>
                  </a:lnTo>
                  <a:lnTo>
                    <a:pt x="10696" y="13107"/>
                  </a:lnTo>
                  <a:lnTo>
                    <a:pt x="10763" y="13186"/>
                  </a:lnTo>
                  <a:lnTo>
                    <a:pt x="10832" y="13261"/>
                  </a:lnTo>
                  <a:lnTo>
                    <a:pt x="10901" y="13334"/>
                  </a:lnTo>
                  <a:lnTo>
                    <a:pt x="10973" y="13403"/>
                  </a:lnTo>
                  <a:lnTo>
                    <a:pt x="11045" y="13470"/>
                  </a:lnTo>
                  <a:lnTo>
                    <a:pt x="11119" y="13533"/>
                  </a:lnTo>
                  <a:lnTo>
                    <a:pt x="11194" y="13593"/>
                  </a:lnTo>
                  <a:lnTo>
                    <a:pt x="11271" y="13651"/>
                  </a:lnTo>
                  <a:lnTo>
                    <a:pt x="11348" y="13704"/>
                  </a:lnTo>
                  <a:lnTo>
                    <a:pt x="11427" y="13755"/>
                  </a:lnTo>
                  <a:lnTo>
                    <a:pt x="11508" y="13801"/>
                  </a:lnTo>
                  <a:lnTo>
                    <a:pt x="11589" y="13846"/>
                  </a:lnTo>
                  <a:lnTo>
                    <a:pt x="11672" y="13886"/>
                  </a:lnTo>
                  <a:lnTo>
                    <a:pt x="11756" y="13922"/>
                  </a:lnTo>
                  <a:lnTo>
                    <a:pt x="11842" y="13955"/>
                  </a:lnTo>
                  <a:lnTo>
                    <a:pt x="11929" y="13986"/>
                  </a:lnTo>
                  <a:lnTo>
                    <a:pt x="12017" y="14011"/>
                  </a:lnTo>
                  <a:lnTo>
                    <a:pt x="12106" y="14033"/>
                  </a:lnTo>
                  <a:lnTo>
                    <a:pt x="12198" y="14051"/>
                  </a:lnTo>
                  <a:lnTo>
                    <a:pt x="12290" y="14065"/>
                  </a:lnTo>
                  <a:lnTo>
                    <a:pt x="12383" y="14075"/>
                  </a:lnTo>
                  <a:lnTo>
                    <a:pt x="12478" y="14081"/>
                  </a:lnTo>
                  <a:lnTo>
                    <a:pt x="12574" y="14083"/>
                  </a:lnTo>
                  <a:lnTo>
                    <a:pt x="12787" y="14073"/>
                  </a:lnTo>
                  <a:lnTo>
                    <a:pt x="12995" y="14043"/>
                  </a:lnTo>
                  <a:lnTo>
                    <a:pt x="13195" y="13993"/>
                  </a:lnTo>
                  <a:lnTo>
                    <a:pt x="13389" y="13924"/>
                  </a:lnTo>
                  <a:lnTo>
                    <a:pt x="13576" y="13838"/>
                  </a:lnTo>
                  <a:lnTo>
                    <a:pt x="13757" y="13733"/>
                  </a:lnTo>
                  <a:lnTo>
                    <a:pt x="13932" y="13612"/>
                  </a:lnTo>
                  <a:lnTo>
                    <a:pt x="14099" y="13475"/>
                  </a:lnTo>
                  <a:lnTo>
                    <a:pt x="14260" y="13323"/>
                  </a:lnTo>
                  <a:lnTo>
                    <a:pt x="14415" y="13155"/>
                  </a:lnTo>
                  <a:lnTo>
                    <a:pt x="14563" y="12973"/>
                  </a:lnTo>
                  <a:lnTo>
                    <a:pt x="14704" y="12777"/>
                  </a:lnTo>
                  <a:lnTo>
                    <a:pt x="14839" y="12569"/>
                  </a:lnTo>
                  <a:lnTo>
                    <a:pt x="14966" y="12349"/>
                  </a:lnTo>
                  <a:lnTo>
                    <a:pt x="15087" y="12118"/>
                  </a:lnTo>
                  <a:lnTo>
                    <a:pt x="15202" y="11874"/>
                  </a:lnTo>
                  <a:lnTo>
                    <a:pt x="15309" y="11622"/>
                  </a:lnTo>
                  <a:lnTo>
                    <a:pt x="15410" y="11359"/>
                  </a:lnTo>
                  <a:lnTo>
                    <a:pt x="15504" y="11087"/>
                  </a:lnTo>
                  <a:lnTo>
                    <a:pt x="15590" y="10807"/>
                  </a:lnTo>
                  <a:lnTo>
                    <a:pt x="15670" y="10520"/>
                  </a:lnTo>
                  <a:lnTo>
                    <a:pt x="15744" y="10225"/>
                  </a:lnTo>
                  <a:lnTo>
                    <a:pt x="15810" y="9925"/>
                  </a:lnTo>
                  <a:lnTo>
                    <a:pt x="15870" y="9618"/>
                  </a:lnTo>
                  <a:lnTo>
                    <a:pt x="15923" y="9307"/>
                  </a:lnTo>
                  <a:lnTo>
                    <a:pt x="15968" y="8991"/>
                  </a:lnTo>
                  <a:lnTo>
                    <a:pt x="16006" y="8671"/>
                  </a:lnTo>
                  <a:lnTo>
                    <a:pt x="16039" y="8349"/>
                  </a:lnTo>
                  <a:lnTo>
                    <a:pt x="16063" y="8024"/>
                  </a:lnTo>
                  <a:lnTo>
                    <a:pt x="16081" y="7697"/>
                  </a:lnTo>
                  <a:lnTo>
                    <a:pt x="16091" y="7369"/>
                  </a:lnTo>
                  <a:lnTo>
                    <a:pt x="16095" y="7042"/>
                  </a:lnTo>
                  <a:lnTo>
                    <a:pt x="16091" y="6714"/>
                  </a:lnTo>
                  <a:lnTo>
                    <a:pt x="16081" y="6386"/>
                  </a:lnTo>
                  <a:lnTo>
                    <a:pt x="16063" y="6060"/>
                  </a:lnTo>
                  <a:lnTo>
                    <a:pt x="16039" y="5735"/>
                  </a:lnTo>
                  <a:lnTo>
                    <a:pt x="16006" y="5412"/>
                  </a:lnTo>
                  <a:lnTo>
                    <a:pt x="15968" y="5092"/>
                  </a:lnTo>
                  <a:lnTo>
                    <a:pt x="15923" y="4776"/>
                  </a:lnTo>
                  <a:lnTo>
                    <a:pt x="15870" y="4465"/>
                  </a:lnTo>
                  <a:lnTo>
                    <a:pt x="15810" y="4159"/>
                  </a:lnTo>
                  <a:lnTo>
                    <a:pt x="15744" y="3858"/>
                  </a:lnTo>
                  <a:lnTo>
                    <a:pt x="15670" y="3563"/>
                  </a:lnTo>
                  <a:lnTo>
                    <a:pt x="15590" y="3276"/>
                  </a:lnTo>
                  <a:lnTo>
                    <a:pt x="15504" y="2996"/>
                  </a:lnTo>
                  <a:lnTo>
                    <a:pt x="15410" y="2724"/>
                  </a:lnTo>
                  <a:lnTo>
                    <a:pt x="15309" y="2462"/>
                  </a:lnTo>
                  <a:lnTo>
                    <a:pt x="15202" y="2209"/>
                  </a:lnTo>
                  <a:lnTo>
                    <a:pt x="15087" y="1966"/>
                  </a:lnTo>
                  <a:lnTo>
                    <a:pt x="14966" y="1734"/>
                  </a:lnTo>
                  <a:lnTo>
                    <a:pt x="14839" y="1514"/>
                  </a:lnTo>
                  <a:lnTo>
                    <a:pt x="14704" y="1306"/>
                  </a:lnTo>
                  <a:lnTo>
                    <a:pt x="14563" y="1111"/>
                  </a:lnTo>
                  <a:lnTo>
                    <a:pt x="14415" y="928"/>
                  </a:lnTo>
                  <a:lnTo>
                    <a:pt x="14260" y="760"/>
                  </a:lnTo>
                  <a:lnTo>
                    <a:pt x="14099" y="609"/>
                  </a:lnTo>
                  <a:lnTo>
                    <a:pt x="13932" y="471"/>
                  </a:lnTo>
                  <a:lnTo>
                    <a:pt x="13757" y="350"/>
                  </a:lnTo>
                  <a:lnTo>
                    <a:pt x="13576" y="245"/>
                  </a:lnTo>
                  <a:lnTo>
                    <a:pt x="13389" y="159"/>
                  </a:lnTo>
                  <a:lnTo>
                    <a:pt x="13195" y="91"/>
                  </a:lnTo>
                  <a:lnTo>
                    <a:pt x="12995" y="40"/>
                  </a:lnTo>
                  <a:lnTo>
                    <a:pt x="12787" y="10"/>
                  </a:lnTo>
                  <a:lnTo>
                    <a:pt x="1257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3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44" name="íṡlîďê">
              <a:extLst>
                <a:ext uri="{FF2B5EF4-FFF2-40B4-BE49-F238E27FC236}">
                  <a16:creationId xmlns:a16="http://schemas.microsoft.com/office/drawing/2014/main" id="{5109D0EE-E438-4F4F-BBBB-C536CCCBDE62}"/>
                </a:ext>
              </a:extLst>
            </p:cNvPr>
            <p:cNvSpPr/>
            <p:nvPr/>
          </p:nvSpPr>
          <p:spPr bwMode="auto">
            <a:xfrm>
              <a:off x="8279204" y="2368522"/>
              <a:ext cx="231062" cy="231062"/>
            </a:xfrm>
            <a:custGeom>
              <a:avLst/>
              <a:gdLst>
                <a:gd name="T0" fmla="*/ 15044 w 16095"/>
                <a:gd name="T1" fmla="*/ 14382 h 16095"/>
                <a:gd name="T2" fmla="*/ 14889 w 16095"/>
                <a:gd name="T3" fmla="*/ 14685 h 16095"/>
                <a:gd name="T4" fmla="*/ 14645 w 16095"/>
                <a:gd name="T5" fmla="*/ 14917 h 16095"/>
                <a:gd name="T6" fmla="*/ 14335 w 16095"/>
                <a:gd name="T7" fmla="*/ 15057 h 16095"/>
                <a:gd name="T8" fmla="*/ 1961 w 16095"/>
                <a:gd name="T9" fmla="*/ 15088 h 16095"/>
                <a:gd name="T10" fmla="*/ 1621 w 16095"/>
                <a:gd name="T11" fmla="*/ 15010 h 16095"/>
                <a:gd name="T12" fmla="*/ 1336 w 16095"/>
                <a:gd name="T13" fmla="*/ 14828 h 16095"/>
                <a:gd name="T14" fmla="*/ 1128 w 16095"/>
                <a:gd name="T15" fmla="*/ 14562 h 16095"/>
                <a:gd name="T16" fmla="*/ 1017 w 16095"/>
                <a:gd name="T17" fmla="*/ 14236 h 16095"/>
                <a:gd name="T18" fmla="*/ 1012 w 16095"/>
                <a:gd name="T19" fmla="*/ 3947 h 16095"/>
                <a:gd name="T20" fmla="*/ 1066 w 16095"/>
                <a:gd name="T21" fmla="*/ 3784 h 16095"/>
                <a:gd name="T22" fmla="*/ 1171 w 16095"/>
                <a:gd name="T23" fmla="*/ 3652 h 16095"/>
                <a:gd name="T24" fmla="*/ 1313 w 16095"/>
                <a:gd name="T25" fmla="*/ 3560 h 16095"/>
                <a:gd name="T26" fmla="*/ 1483 w 16095"/>
                <a:gd name="T27" fmla="*/ 3522 h 16095"/>
                <a:gd name="T28" fmla="*/ 2022 w 16095"/>
                <a:gd name="T29" fmla="*/ 13682 h 16095"/>
                <a:gd name="T30" fmla="*/ 2084 w 16095"/>
                <a:gd name="T31" fmla="*/ 13841 h 16095"/>
                <a:gd name="T32" fmla="*/ 2195 w 16095"/>
                <a:gd name="T33" fmla="*/ 13968 h 16095"/>
                <a:gd name="T34" fmla="*/ 2342 w 16095"/>
                <a:gd name="T35" fmla="*/ 14053 h 16095"/>
                <a:gd name="T36" fmla="*/ 2515 w 16095"/>
                <a:gd name="T37" fmla="*/ 14083 h 16095"/>
                <a:gd name="T38" fmla="*/ 2688 w 16095"/>
                <a:gd name="T39" fmla="*/ 14053 h 16095"/>
                <a:gd name="T40" fmla="*/ 2835 w 16095"/>
                <a:gd name="T41" fmla="*/ 13968 h 16095"/>
                <a:gd name="T42" fmla="*/ 2945 w 16095"/>
                <a:gd name="T43" fmla="*/ 13841 h 16095"/>
                <a:gd name="T44" fmla="*/ 3008 w 16095"/>
                <a:gd name="T45" fmla="*/ 13682 h 16095"/>
                <a:gd name="T46" fmla="*/ 3021 w 16095"/>
                <a:gd name="T47" fmla="*/ 1458 h 16095"/>
                <a:gd name="T48" fmla="*/ 3067 w 16095"/>
                <a:gd name="T49" fmla="*/ 1291 h 16095"/>
                <a:gd name="T50" fmla="*/ 3166 w 16095"/>
                <a:gd name="T51" fmla="*/ 1154 h 16095"/>
                <a:gd name="T52" fmla="*/ 3302 w 16095"/>
                <a:gd name="T53" fmla="*/ 1055 h 16095"/>
                <a:gd name="T54" fmla="*/ 3469 w 16095"/>
                <a:gd name="T55" fmla="*/ 1009 h 16095"/>
                <a:gd name="T56" fmla="*/ 14688 w 16095"/>
                <a:gd name="T57" fmla="*/ 1016 h 16095"/>
                <a:gd name="T58" fmla="*/ 14847 w 16095"/>
                <a:gd name="T59" fmla="*/ 1079 h 16095"/>
                <a:gd name="T60" fmla="*/ 14974 w 16095"/>
                <a:gd name="T61" fmla="*/ 1189 h 16095"/>
                <a:gd name="T62" fmla="*/ 15059 w 16095"/>
                <a:gd name="T63" fmla="*/ 1336 h 16095"/>
                <a:gd name="T64" fmla="*/ 15089 w 16095"/>
                <a:gd name="T65" fmla="*/ 1509 h 16095"/>
                <a:gd name="T66" fmla="*/ 3217 w 16095"/>
                <a:gd name="T67" fmla="*/ 30 h 16095"/>
                <a:gd name="T68" fmla="*/ 2738 w 16095"/>
                <a:gd name="T69" fmla="*/ 218 h 16095"/>
                <a:gd name="T70" fmla="*/ 2356 w 16095"/>
                <a:gd name="T71" fmla="*/ 549 h 16095"/>
                <a:gd name="T72" fmla="*/ 2103 w 16095"/>
                <a:gd name="T73" fmla="*/ 990 h 16095"/>
                <a:gd name="T74" fmla="*/ 2012 w 16095"/>
                <a:gd name="T75" fmla="*/ 1509 h 16095"/>
                <a:gd name="T76" fmla="*/ 1132 w 16095"/>
                <a:gd name="T77" fmla="*/ 2562 h 16095"/>
                <a:gd name="T78" fmla="*/ 665 w 16095"/>
                <a:gd name="T79" fmla="*/ 2772 h 16095"/>
                <a:gd name="T80" fmla="*/ 300 w 16095"/>
                <a:gd name="T81" fmla="*/ 3120 h 16095"/>
                <a:gd name="T82" fmla="*/ 67 w 16095"/>
                <a:gd name="T83" fmla="*/ 3575 h 16095"/>
                <a:gd name="T84" fmla="*/ 0 w 16095"/>
                <a:gd name="T85" fmla="*/ 14083 h 16095"/>
                <a:gd name="T86" fmla="*/ 122 w 16095"/>
                <a:gd name="T87" fmla="*/ 14775 h 16095"/>
                <a:gd name="T88" fmla="*/ 460 w 16095"/>
                <a:gd name="T89" fmla="*/ 15363 h 16095"/>
                <a:gd name="T90" fmla="*/ 969 w 16095"/>
                <a:gd name="T91" fmla="*/ 15803 h 16095"/>
                <a:gd name="T92" fmla="*/ 1606 w 16095"/>
                <a:gd name="T93" fmla="*/ 16054 h 16095"/>
                <a:gd name="T94" fmla="*/ 14289 w 16095"/>
                <a:gd name="T95" fmla="*/ 16085 h 16095"/>
                <a:gd name="T96" fmla="*/ 14955 w 16095"/>
                <a:gd name="T97" fmla="*/ 15897 h 16095"/>
                <a:gd name="T98" fmla="*/ 15506 w 16095"/>
                <a:gd name="T99" fmla="*/ 15506 h 16095"/>
                <a:gd name="T100" fmla="*/ 15897 w 16095"/>
                <a:gd name="T101" fmla="*/ 14955 h 16095"/>
                <a:gd name="T102" fmla="*/ 16085 w 16095"/>
                <a:gd name="T103" fmla="*/ 14289 h 16095"/>
                <a:gd name="T104" fmla="*/ 16065 w 16095"/>
                <a:gd name="T105" fmla="*/ 1204 h 16095"/>
                <a:gd name="T106" fmla="*/ 15877 w 16095"/>
                <a:gd name="T107" fmla="*/ 726 h 16095"/>
                <a:gd name="T108" fmla="*/ 15546 w 16095"/>
                <a:gd name="T109" fmla="*/ 344 h 16095"/>
                <a:gd name="T110" fmla="*/ 15105 w 16095"/>
                <a:gd name="T111" fmla="*/ 92 h 16095"/>
                <a:gd name="T112" fmla="*/ 14586 w 16095"/>
                <a:gd name="T113" fmla="*/ 0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6095">
                  <a:moveTo>
                    <a:pt x="15089" y="14083"/>
                  </a:moveTo>
                  <a:lnTo>
                    <a:pt x="15088" y="14134"/>
                  </a:lnTo>
                  <a:lnTo>
                    <a:pt x="15084" y="14186"/>
                  </a:lnTo>
                  <a:lnTo>
                    <a:pt x="15077" y="14236"/>
                  </a:lnTo>
                  <a:lnTo>
                    <a:pt x="15069" y="14285"/>
                  </a:lnTo>
                  <a:lnTo>
                    <a:pt x="15057" y="14334"/>
                  </a:lnTo>
                  <a:lnTo>
                    <a:pt x="15044" y="14382"/>
                  </a:lnTo>
                  <a:lnTo>
                    <a:pt x="15028" y="14428"/>
                  </a:lnTo>
                  <a:lnTo>
                    <a:pt x="15010" y="14474"/>
                  </a:lnTo>
                  <a:lnTo>
                    <a:pt x="14989" y="14519"/>
                  </a:lnTo>
                  <a:lnTo>
                    <a:pt x="14967" y="14562"/>
                  </a:lnTo>
                  <a:lnTo>
                    <a:pt x="14943" y="14604"/>
                  </a:lnTo>
                  <a:lnTo>
                    <a:pt x="14917" y="14645"/>
                  </a:lnTo>
                  <a:lnTo>
                    <a:pt x="14889" y="14685"/>
                  </a:lnTo>
                  <a:lnTo>
                    <a:pt x="14859" y="14723"/>
                  </a:lnTo>
                  <a:lnTo>
                    <a:pt x="14828" y="14759"/>
                  </a:lnTo>
                  <a:lnTo>
                    <a:pt x="14794" y="14794"/>
                  </a:lnTo>
                  <a:lnTo>
                    <a:pt x="14759" y="14828"/>
                  </a:lnTo>
                  <a:lnTo>
                    <a:pt x="14723" y="14859"/>
                  </a:lnTo>
                  <a:lnTo>
                    <a:pt x="14685" y="14889"/>
                  </a:lnTo>
                  <a:lnTo>
                    <a:pt x="14645" y="14917"/>
                  </a:lnTo>
                  <a:lnTo>
                    <a:pt x="14604" y="14943"/>
                  </a:lnTo>
                  <a:lnTo>
                    <a:pt x="14562" y="14967"/>
                  </a:lnTo>
                  <a:lnTo>
                    <a:pt x="14519" y="14989"/>
                  </a:lnTo>
                  <a:lnTo>
                    <a:pt x="14474" y="15010"/>
                  </a:lnTo>
                  <a:lnTo>
                    <a:pt x="14429" y="15028"/>
                  </a:lnTo>
                  <a:lnTo>
                    <a:pt x="14382" y="15044"/>
                  </a:lnTo>
                  <a:lnTo>
                    <a:pt x="14335" y="15057"/>
                  </a:lnTo>
                  <a:lnTo>
                    <a:pt x="14285" y="15069"/>
                  </a:lnTo>
                  <a:lnTo>
                    <a:pt x="14236" y="15077"/>
                  </a:lnTo>
                  <a:lnTo>
                    <a:pt x="14186" y="15084"/>
                  </a:lnTo>
                  <a:lnTo>
                    <a:pt x="14134" y="15088"/>
                  </a:lnTo>
                  <a:lnTo>
                    <a:pt x="14083" y="15089"/>
                  </a:lnTo>
                  <a:lnTo>
                    <a:pt x="2012" y="15089"/>
                  </a:lnTo>
                  <a:lnTo>
                    <a:pt x="1961" y="15088"/>
                  </a:lnTo>
                  <a:lnTo>
                    <a:pt x="1909" y="15084"/>
                  </a:lnTo>
                  <a:lnTo>
                    <a:pt x="1859" y="15077"/>
                  </a:lnTo>
                  <a:lnTo>
                    <a:pt x="1810" y="15069"/>
                  </a:lnTo>
                  <a:lnTo>
                    <a:pt x="1760" y="15057"/>
                  </a:lnTo>
                  <a:lnTo>
                    <a:pt x="1713" y="15044"/>
                  </a:lnTo>
                  <a:lnTo>
                    <a:pt x="1666" y="15028"/>
                  </a:lnTo>
                  <a:lnTo>
                    <a:pt x="1621" y="15010"/>
                  </a:lnTo>
                  <a:lnTo>
                    <a:pt x="1576" y="14989"/>
                  </a:lnTo>
                  <a:lnTo>
                    <a:pt x="1533" y="14967"/>
                  </a:lnTo>
                  <a:lnTo>
                    <a:pt x="1491" y="14943"/>
                  </a:lnTo>
                  <a:lnTo>
                    <a:pt x="1450" y="14917"/>
                  </a:lnTo>
                  <a:lnTo>
                    <a:pt x="1410" y="14889"/>
                  </a:lnTo>
                  <a:lnTo>
                    <a:pt x="1372" y="14859"/>
                  </a:lnTo>
                  <a:lnTo>
                    <a:pt x="1336" y="14828"/>
                  </a:lnTo>
                  <a:lnTo>
                    <a:pt x="1301" y="14794"/>
                  </a:lnTo>
                  <a:lnTo>
                    <a:pt x="1267" y="14759"/>
                  </a:lnTo>
                  <a:lnTo>
                    <a:pt x="1236" y="14723"/>
                  </a:lnTo>
                  <a:lnTo>
                    <a:pt x="1206" y="14685"/>
                  </a:lnTo>
                  <a:lnTo>
                    <a:pt x="1178" y="14645"/>
                  </a:lnTo>
                  <a:lnTo>
                    <a:pt x="1152" y="14604"/>
                  </a:lnTo>
                  <a:lnTo>
                    <a:pt x="1128" y="14562"/>
                  </a:lnTo>
                  <a:lnTo>
                    <a:pt x="1106" y="14519"/>
                  </a:lnTo>
                  <a:lnTo>
                    <a:pt x="1085" y="14474"/>
                  </a:lnTo>
                  <a:lnTo>
                    <a:pt x="1067" y="14428"/>
                  </a:lnTo>
                  <a:lnTo>
                    <a:pt x="1051" y="14382"/>
                  </a:lnTo>
                  <a:lnTo>
                    <a:pt x="1037" y="14334"/>
                  </a:lnTo>
                  <a:lnTo>
                    <a:pt x="1026" y="14285"/>
                  </a:lnTo>
                  <a:lnTo>
                    <a:pt x="1017" y="14236"/>
                  </a:lnTo>
                  <a:lnTo>
                    <a:pt x="1011" y="14186"/>
                  </a:lnTo>
                  <a:lnTo>
                    <a:pt x="1007" y="14134"/>
                  </a:lnTo>
                  <a:lnTo>
                    <a:pt x="1006" y="14083"/>
                  </a:lnTo>
                  <a:lnTo>
                    <a:pt x="1006" y="4024"/>
                  </a:lnTo>
                  <a:lnTo>
                    <a:pt x="1007" y="3998"/>
                  </a:lnTo>
                  <a:lnTo>
                    <a:pt x="1009" y="3972"/>
                  </a:lnTo>
                  <a:lnTo>
                    <a:pt x="1012" y="3947"/>
                  </a:lnTo>
                  <a:lnTo>
                    <a:pt x="1016" y="3922"/>
                  </a:lnTo>
                  <a:lnTo>
                    <a:pt x="1022" y="3898"/>
                  </a:lnTo>
                  <a:lnTo>
                    <a:pt x="1028" y="3874"/>
                  </a:lnTo>
                  <a:lnTo>
                    <a:pt x="1036" y="3851"/>
                  </a:lnTo>
                  <a:lnTo>
                    <a:pt x="1045" y="3828"/>
                  </a:lnTo>
                  <a:lnTo>
                    <a:pt x="1055" y="3805"/>
                  </a:lnTo>
                  <a:lnTo>
                    <a:pt x="1066" y="3784"/>
                  </a:lnTo>
                  <a:lnTo>
                    <a:pt x="1078" y="3763"/>
                  </a:lnTo>
                  <a:lnTo>
                    <a:pt x="1091" y="3743"/>
                  </a:lnTo>
                  <a:lnTo>
                    <a:pt x="1106" y="3723"/>
                  </a:lnTo>
                  <a:lnTo>
                    <a:pt x="1121" y="3704"/>
                  </a:lnTo>
                  <a:lnTo>
                    <a:pt x="1137" y="3686"/>
                  </a:lnTo>
                  <a:lnTo>
                    <a:pt x="1153" y="3669"/>
                  </a:lnTo>
                  <a:lnTo>
                    <a:pt x="1171" y="3652"/>
                  </a:lnTo>
                  <a:lnTo>
                    <a:pt x="1189" y="3635"/>
                  </a:lnTo>
                  <a:lnTo>
                    <a:pt x="1208" y="3620"/>
                  </a:lnTo>
                  <a:lnTo>
                    <a:pt x="1227" y="3606"/>
                  </a:lnTo>
                  <a:lnTo>
                    <a:pt x="1248" y="3593"/>
                  </a:lnTo>
                  <a:lnTo>
                    <a:pt x="1269" y="3581"/>
                  </a:lnTo>
                  <a:lnTo>
                    <a:pt x="1291" y="3570"/>
                  </a:lnTo>
                  <a:lnTo>
                    <a:pt x="1313" y="3560"/>
                  </a:lnTo>
                  <a:lnTo>
                    <a:pt x="1336" y="3551"/>
                  </a:lnTo>
                  <a:lnTo>
                    <a:pt x="1359" y="3544"/>
                  </a:lnTo>
                  <a:lnTo>
                    <a:pt x="1383" y="3537"/>
                  </a:lnTo>
                  <a:lnTo>
                    <a:pt x="1407" y="3531"/>
                  </a:lnTo>
                  <a:lnTo>
                    <a:pt x="1432" y="3527"/>
                  </a:lnTo>
                  <a:lnTo>
                    <a:pt x="1458" y="3524"/>
                  </a:lnTo>
                  <a:lnTo>
                    <a:pt x="1483" y="3522"/>
                  </a:lnTo>
                  <a:lnTo>
                    <a:pt x="1509" y="3521"/>
                  </a:lnTo>
                  <a:lnTo>
                    <a:pt x="2012" y="3521"/>
                  </a:lnTo>
                  <a:lnTo>
                    <a:pt x="2012" y="13580"/>
                  </a:lnTo>
                  <a:lnTo>
                    <a:pt x="2013" y="13606"/>
                  </a:lnTo>
                  <a:lnTo>
                    <a:pt x="2015" y="13631"/>
                  </a:lnTo>
                  <a:lnTo>
                    <a:pt x="2018" y="13657"/>
                  </a:lnTo>
                  <a:lnTo>
                    <a:pt x="2022" y="13682"/>
                  </a:lnTo>
                  <a:lnTo>
                    <a:pt x="2028" y="13706"/>
                  </a:lnTo>
                  <a:lnTo>
                    <a:pt x="2034" y="13730"/>
                  </a:lnTo>
                  <a:lnTo>
                    <a:pt x="2042" y="13753"/>
                  </a:lnTo>
                  <a:lnTo>
                    <a:pt x="2051" y="13776"/>
                  </a:lnTo>
                  <a:lnTo>
                    <a:pt x="2061" y="13798"/>
                  </a:lnTo>
                  <a:lnTo>
                    <a:pt x="2072" y="13821"/>
                  </a:lnTo>
                  <a:lnTo>
                    <a:pt x="2084" y="13841"/>
                  </a:lnTo>
                  <a:lnTo>
                    <a:pt x="2097" y="13862"/>
                  </a:lnTo>
                  <a:lnTo>
                    <a:pt x="2111" y="13881"/>
                  </a:lnTo>
                  <a:lnTo>
                    <a:pt x="2127" y="13900"/>
                  </a:lnTo>
                  <a:lnTo>
                    <a:pt x="2143" y="13918"/>
                  </a:lnTo>
                  <a:lnTo>
                    <a:pt x="2159" y="13936"/>
                  </a:lnTo>
                  <a:lnTo>
                    <a:pt x="2177" y="13952"/>
                  </a:lnTo>
                  <a:lnTo>
                    <a:pt x="2195" y="13968"/>
                  </a:lnTo>
                  <a:lnTo>
                    <a:pt x="2214" y="13984"/>
                  </a:lnTo>
                  <a:lnTo>
                    <a:pt x="2233" y="13998"/>
                  </a:lnTo>
                  <a:lnTo>
                    <a:pt x="2254" y="14011"/>
                  </a:lnTo>
                  <a:lnTo>
                    <a:pt x="2275" y="14023"/>
                  </a:lnTo>
                  <a:lnTo>
                    <a:pt x="2297" y="14034"/>
                  </a:lnTo>
                  <a:lnTo>
                    <a:pt x="2319" y="14044"/>
                  </a:lnTo>
                  <a:lnTo>
                    <a:pt x="2342" y="14053"/>
                  </a:lnTo>
                  <a:lnTo>
                    <a:pt x="2365" y="14061"/>
                  </a:lnTo>
                  <a:lnTo>
                    <a:pt x="2389" y="14067"/>
                  </a:lnTo>
                  <a:lnTo>
                    <a:pt x="2413" y="14073"/>
                  </a:lnTo>
                  <a:lnTo>
                    <a:pt x="2438" y="14077"/>
                  </a:lnTo>
                  <a:lnTo>
                    <a:pt x="2464" y="14080"/>
                  </a:lnTo>
                  <a:lnTo>
                    <a:pt x="2489" y="14082"/>
                  </a:lnTo>
                  <a:lnTo>
                    <a:pt x="2515" y="14083"/>
                  </a:lnTo>
                  <a:lnTo>
                    <a:pt x="2541" y="14082"/>
                  </a:lnTo>
                  <a:lnTo>
                    <a:pt x="2566" y="14080"/>
                  </a:lnTo>
                  <a:lnTo>
                    <a:pt x="2591" y="14077"/>
                  </a:lnTo>
                  <a:lnTo>
                    <a:pt x="2616" y="14073"/>
                  </a:lnTo>
                  <a:lnTo>
                    <a:pt x="2641" y="14067"/>
                  </a:lnTo>
                  <a:lnTo>
                    <a:pt x="2665" y="14061"/>
                  </a:lnTo>
                  <a:lnTo>
                    <a:pt x="2688" y="14053"/>
                  </a:lnTo>
                  <a:lnTo>
                    <a:pt x="2711" y="14044"/>
                  </a:lnTo>
                  <a:lnTo>
                    <a:pt x="2733" y="14034"/>
                  </a:lnTo>
                  <a:lnTo>
                    <a:pt x="2755" y="14023"/>
                  </a:lnTo>
                  <a:lnTo>
                    <a:pt x="2775" y="14011"/>
                  </a:lnTo>
                  <a:lnTo>
                    <a:pt x="2797" y="13998"/>
                  </a:lnTo>
                  <a:lnTo>
                    <a:pt x="2816" y="13984"/>
                  </a:lnTo>
                  <a:lnTo>
                    <a:pt x="2835" y="13968"/>
                  </a:lnTo>
                  <a:lnTo>
                    <a:pt x="2853" y="13952"/>
                  </a:lnTo>
                  <a:lnTo>
                    <a:pt x="2871" y="13936"/>
                  </a:lnTo>
                  <a:lnTo>
                    <a:pt x="2887" y="13918"/>
                  </a:lnTo>
                  <a:lnTo>
                    <a:pt x="2903" y="13900"/>
                  </a:lnTo>
                  <a:lnTo>
                    <a:pt x="2918" y="13881"/>
                  </a:lnTo>
                  <a:lnTo>
                    <a:pt x="2932" y="13862"/>
                  </a:lnTo>
                  <a:lnTo>
                    <a:pt x="2945" y="13841"/>
                  </a:lnTo>
                  <a:lnTo>
                    <a:pt x="2957" y="13821"/>
                  </a:lnTo>
                  <a:lnTo>
                    <a:pt x="2969" y="13798"/>
                  </a:lnTo>
                  <a:lnTo>
                    <a:pt x="2979" y="13776"/>
                  </a:lnTo>
                  <a:lnTo>
                    <a:pt x="2988" y="13753"/>
                  </a:lnTo>
                  <a:lnTo>
                    <a:pt x="2996" y="13730"/>
                  </a:lnTo>
                  <a:lnTo>
                    <a:pt x="3002" y="13706"/>
                  </a:lnTo>
                  <a:lnTo>
                    <a:pt x="3008" y="13682"/>
                  </a:lnTo>
                  <a:lnTo>
                    <a:pt x="3012" y="13657"/>
                  </a:lnTo>
                  <a:lnTo>
                    <a:pt x="3015" y="13631"/>
                  </a:lnTo>
                  <a:lnTo>
                    <a:pt x="3017" y="13606"/>
                  </a:lnTo>
                  <a:lnTo>
                    <a:pt x="3018" y="13580"/>
                  </a:lnTo>
                  <a:lnTo>
                    <a:pt x="3018" y="1509"/>
                  </a:lnTo>
                  <a:lnTo>
                    <a:pt x="3019" y="1483"/>
                  </a:lnTo>
                  <a:lnTo>
                    <a:pt x="3021" y="1458"/>
                  </a:lnTo>
                  <a:lnTo>
                    <a:pt x="3024" y="1432"/>
                  </a:lnTo>
                  <a:lnTo>
                    <a:pt x="3028" y="1407"/>
                  </a:lnTo>
                  <a:lnTo>
                    <a:pt x="3034" y="1383"/>
                  </a:lnTo>
                  <a:lnTo>
                    <a:pt x="3041" y="1359"/>
                  </a:lnTo>
                  <a:lnTo>
                    <a:pt x="3048" y="1336"/>
                  </a:lnTo>
                  <a:lnTo>
                    <a:pt x="3057" y="1313"/>
                  </a:lnTo>
                  <a:lnTo>
                    <a:pt x="3067" y="1291"/>
                  </a:lnTo>
                  <a:lnTo>
                    <a:pt x="3078" y="1269"/>
                  </a:lnTo>
                  <a:lnTo>
                    <a:pt x="3090" y="1248"/>
                  </a:lnTo>
                  <a:lnTo>
                    <a:pt x="3103" y="1227"/>
                  </a:lnTo>
                  <a:lnTo>
                    <a:pt x="3117" y="1208"/>
                  </a:lnTo>
                  <a:lnTo>
                    <a:pt x="3132" y="1189"/>
                  </a:lnTo>
                  <a:lnTo>
                    <a:pt x="3149" y="1171"/>
                  </a:lnTo>
                  <a:lnTo>
                    <a:pt x="3166" y="1154"/>
                  </a:lnTo>
                  <a:lnTo>
                    <a:pt x="3183" y="1137"/>
                  </a:lnTo>
                  <a:lnTo>
                    <a:pt x="3201" y="1121"/>
                  </a:lnTo>
                  <a:lnTo>
                    <a:pt x="3220" y="1106"/>
                  </a:lnTo>
                  <a:lnTo>
                    <a:pt x="3240" y="1092"/>
                  </a:lnTo>
                  <a:lnTo>
                    <a:pt x="3260" y="1079"/>
                  </a:lnTo>
                  <a:lnTo>
                    <a:pt x="3281" y="1066"/>
                  </a:lnTo>
                  <a:lnTo>
                    <a:pt x="3302" y="1055"/>
                  </a:lnTo>
                  <a:lnTo>
                    <a:pt x="3325" y="1045"/>
                  </a:lnTo>
                  <a:lnTo>
                    <a:pt x="3348" y="1036"/>
                  </a:lnTo>
                  <a:lnTo>
                    <a:pt x="3371" y="1029"/>
                  </a:lnTo>
                  <a:lnTo>
                    <a:pt x="3395" y="1022"/>
                  </a:lnTo>
                  <a:lnTo>
                    <a:pt x="3419" y="1016"/>
                  </a:lnTo>
                  <a:lnTo>
                    <a:pt x="3444" y="1012"/>
                  </a:lnTo>
                  <a:lnTo>
                    <a:pt x="3469" y="1009"/>
                  </a:lnTo>
                  <a:lnTo>
                    <a:pt x="3495" y="1007"/>
                  </a:lnTo>
                  <a:lnTo>
                    <a:pt x="3521" y="1006"/>
                  </a:lnTo>
                  <a:lnTo>
                    <a:pt x="14586" y="1006"/>
                  </a:lnTo>
                  <a:lnTo>
                    <a:pt x="14612" y="1007"/>
                  </a:lnTo>
                  <a:lnTo>
                    <a:pt x="14637" y="1009"/>
                  </a:lnTo>
                  <a:lnTo>
                    <a:pt x="14663" y="1012"/>
                  </a:lnTo>
                  <a:lnTo>
                    <a:pt x="14688" y="1016"/>
                  </a:lnTo>
                  <a:lnTo>
                    <a:pt x="14712" y="1022"/>
                  </a:lnTo>
                  <a:lnTo>
                    <a:pt x="14736" y="1029"/>
                  </a:lnTo>
                  <a:lnTo>
                    <a:pt x="14759" y="1036"/>
                  </a:lnTo>
                  <a:lnTo>
                    <a:pt x="14782" y="1045"/>
                  </a:lnTo>
                  <a:lnTo>
                    <a:pt x="14804" y="1055"/>
                  </a:lnTo>
                  <a:lnTo>
                    <a:pt x="14826" y="1066"/>
                  </a:lnTo>
                  <a:lnTo>
                    <a:pt x="14847" y="1079"/>
                  </a:lnTo>
                  <a:lnTo>
                    <a:pt x="14867" y="1092"/>
                  </a:lnTo>
                  <a:lnTo>
                    <a:pt x="14887" y="1106"/>
                  </a:lnTo>
                  <a:lnTo>
                    <a:pt x="14906" y="1121"/>
                  </a:lnTo>
                  <a:lnTo>
                    <a:pt x="14924" y="1137"/>
                  </a:lnTo>
                  <a:lnTo>
                    <a:pt x="14942" y="1154"/>
                  </a:lnTo>
                  <a:lnTo>
                    <a:pt x="14958" y="1171"/>
                  </a:lnTo>
                  <a:lnTo>
                    <a:pt x="14974" y="1189"/>
                  </a:lnTo>
                  <a:lnTo>
                    <a:pt x="14989" y="1208"/>
                  </a:lnTo>
                  <a:lnTo>
                    <a:pt x="15004" y="1227"/>
                  </a:lnTo>
                  <a:lnTo>
                    <a:pt x="15017" y="1248"/>
                  </a:lnTo>
                  <a:lnTo>
                    <a:pt x="15029" y="1269"/>
                  </a:lnTo>
                  <a:lnTo>
                    <a:pt x="15040" y="1291"/>
                  </a:lnTo>
                  <a:lnTo>
                    <a:pt x="15050" y="1313"/>
                  </a:lnTo>
                  <a:lnTo>
                    <a:pt x="15059" y="1336"/>
                  </a:lnTo>
                  <a:lnTo>
                    <a:pt x="15066" y="1359"/>
                  </a:lnTo>
                  <a:lnTo>
                    <a:pt x="15073" y="1383"/>
                  </a:lnTo>
                  <a:lnTo>
                    <a:pt x="15079" y="1407"/>
                  </a:lnTo>
                  <a:lnTo>
                    <a:pt x="15083" y="1432"/>
                  </a:lnTo>
                  <a:lnTo>
                    <a:pt x="15086" y="1458"/>
                  </a:lnTo>
                  <a:lnTo>
                    <a:pt x="15088" y="1483"/>
                  </a:lnTo>
                  <a:lnTo>
                    <a:pt x="15089" y="1509"/>
                  </a:lnTo>
                  <a:lnTo>
                    <a:pt x="15089" y="14083"/>
                  </a:lnTo>
                  <a:close/>
                  <a:moveTo>
                    <a:pt x="14586" y="0"/>
                  </a:moveTo>
                  <a:lnTo>
                    <a:pt x="3521" y="0"/>
                  </a:lnTo>
                  <a:lnTo>
                    <a:pt x="3443" y="2"/>
                  </a:lnTo>
                  <a:lnTo>
                    <a:pt x="3367" y="8"/>
                  </a:lnTo>
                  <a:lnTo>
                    <a:pt x="3291" y="17"/>
                  </a:lnTo>
                  <a:lnTo>
                    <a:pt x="3217" y="30"/>
                  </a:lnTo>
                  <a:lnTo>
                    <a:pt x="3144" y="47"/>
                  </a:lnTo>
                  <a:lnTo>
                    <a:pt x="3072" y="67"/>
                  </a:lnTo>
                  <a:lnTo>
                    <a:pt x="3002" y="92"/>
                  </a:lnTo>
                  <a:lnTo>
                    <a:pt x="2933" y="119"/>
                  </a:lnTo>
                  <a:lnTo>
                    <a:pt x="2867" y="149"/>
                  </a:lnTo>
                  <a:lnTo>
                    <a:pt x="2802" y="182"/>
                  </a:lnTo>
                  <a:lnTo>
                    <a:pt x="2738" y="218"/>
                  </a:lnTo>
                  <a:lnTo>
                    <a:pt x="2677" y="258"/>
                  </a:lnTo>
                  <a:lnTo>
                    <a:pt x="2617" y="300"/>
                  </a:lnTo>
                  <a:lnTo>
                    <a:pt x="2561" y="344"/>
                  </a:lnTo>
                  <a:lnTo>
                    <a:pt x="2506" y="391"/>
                  </a:lnTo>
                  <a:lnTo>
                    <a:pt x="2453" y="442"/>
                  </a:lnTo>
                  <a:lnTo>
                    <a:pt x="2404" y="494"/>
                  </a:lnTo>
                  <a:lnTo>
                    <a:pt x="2356" y="549"/>
                  </a:lnTo>
                  <a:lnTo>
                    <a:pt x="2312" y="606"/>
                  </a:lnTo>
                  <a:lnTo>
                    <a:pt x="2269" y="665"/>
                  </a:lnTo>
                  <a:lnTo>
                    <a:pt x="2230" y="726"/>
                  </a:lnTo>
                  <a:lnTo>
                    <a:pt x="2194" y="790"/>
                  </a:lnTo>
                  <a:lnTo>
                    <a:pt x="2161" y="854"/>
                  </a:lnTo>
                  <a:lnTo>
                    <a:pt x="2131" y="921"/>
                  </a:lnTo>
                  <a:lnTo>
                    <a:pt x="2103" y="990"/>
                  </a:lnTo>
                  <a:lnTo>
                    <a:pt x="2079" y="1060"/>
                  </a:lnTo>
                  <a:lnTo>
                    <a:pt x="2059" y="1132"/>
                  </a:lnTo>
                  <a:lnTo>
                    <a:pt x="2042" y="1204"/>
                  </a:lnTo>
                  <a:lnTo>
                    <a:pt x="2029" y="1279"/>
                  </a:lnTo>
                  <a:lnTo>
                    <a:pt x="2020" y="1354"/>
                  </a:lnTo>
                  <a:lnTo>
                    <a:pt x="2014" y="1431"/>
                  </a:lnTo>
                  <a:lnTo>
                    <a:pt x="2012" y="1509"/>
                  </a:lnTo>
                  <a:lnTo>
                    <a:pt x="2012" y="2515"/>
                  </a:lnTo>
                  <a:lnTo>
                    <a:pt x="1509" y="2515"/>
                  </a:lnTo>
                  <a:lnTo>
                    <a:pt x="1431" y="2517"/>
                  </a:lnTo>
                  <a:lnTo>
                    <a:pt x="1355" y="2523"/>
                  </a:lnTo>
                  <a:lnTo>
                    <a:pt x="1280" y="2532"/>
                  </a:lnTo>
                  <a:lnTo>
                    <a:pt x="1205" y="2545"/>
                  </a:lnTo>
                  <a:lnTo>
                    <a:pt x="1132" y="2562"/>
                  </a:lnTo>
                  <a:lnTo>
                    <a:pt x="1060" y="2582"/>
                  </a:lnTo>
                  <a:lnTo>
                    <a:pt x="990" y="2606"/>
                  </a:lnTo>
                  <a:lnTo>
                    <a:pt x="921" y="2634"/>
                  </a:lnTo>
                  <a:lnTo>
                    <a:pt x="855" y="2664"/>
                  </a:lnTo>
                  <a:lnTo>
                    <a:pt x="790" y="2697"/>
                  </a:lnTo>
                  <a:lnTo>
                    <a:pt x="726" y="2733"/>
                  </a:lnTo>
                  <a:lnTo>
                    <a:pt x="665" y="2772"/>
                  </a:lnTo>
                  <a:lnTo>
                    <a:pt x="607" y="2815"/>
                  </a:lnTo>
                  <a:lnTo>
                    <a:pt x="549" y="2859"/>
                  </a:lnTo>
                  <a:lnTo>
                    <a:pt x="494" y="2907"/>
                  </a:lnTo>
                  <a:lnTo>
                    <a:pt x="442" y="2956"/>
                  </a:lnTo>
                  <a:lnTo>
                    <a:pt x="392" y="3009"/>
                  </a:lnTo>
                  <a:lnTo>
                    <a:pt x="345" y="3064"/>
                  </a:lnTo>
                  <a:lnTo>
                    <a:pt x="300" y="3120"/>
                  </a:lnTo>
                  <a:lnTo>
                    <a:pt x="258" y="3180"/>
                  </a:lnTo>
                  <a:lnTo>
                    <a:pt x="218" y="3241"/>
                  </a:lnTo>
                  <a:lnTo>
                    <a:pt x="182" y="3305"/>
                  </a:lnTo>
                  <a:lnTo>
                    <a:pt x="149" y="3369"/>
                  </a:lnTo>
                  <a:lnTo>
                    <a:pt x="119" y="3436"/>
                  </a:lnTo>
                  <a:lnTo>
                    <a:pt x="92" y="3505"/>
                  </a:lnTo>
                  <a:lnTo>
                    <a:pt x="67" y="3575"/>
                  </a:lnTo>
                  <a:lnTo>
                    <a:pt x="47" y="3647"/>
                  </a:lnTo>
                  <a:lnTo>
                    <a:pt x="30" y="3720"/>
                  </a:lnTo>
                  <a:lnTo>
                    <a:pt x="17" y="3793"/>
                  </a:lnTo>
                  <a:lnTo>
                    <a:pt x="8" y="3869"/>
                  </a:lnTo>
                  <a:lnTo>
                    <a:pt x="2" y="3946"/>
                  </a:lnTo>
                  <a:lnTo>
                    <a:pt x="0" y="4024"/>
                  </a:lnTo>
                  <a:lnTo>
                    <a:pt x="0" y="14083"/>
                  </a:lnTo>
                  <a:lnTo>
                    <a:pt x="3" y="14187"/>
                  </a:lnTo>
                  <a:lnTo>
                    <a:pt x="10" y="14289"/>
                  </a:lnTo>
                  <a:lnTo>
                    <a:pt x="23" y="14390"/>
                  </a:lnTo>
                  <a:lnTo>
                    <a:pt x="41" y="14489"/>
                  </a:lnTo>
                  <a:lnTo>
                    <a:pt x="63" y="14586"/>
                  </a:lnTo>
                  <a:lnTo>
                    <a:pt x="91" y="14682"/>
                  </a:lnTo>
                  <a:lnTo>
                    <a:pt x="122" y="14775"/>
                  </a:lnTo>
                  <a:lnTo>
                    <a:pt x="158" y="14867"/>
                  </a:lnTo>
                  <a:lnTo>
                    <a:pt x="198" y="14955"/>
                  </a:lnTo>
                  <a:lnTo>
                    <a:pt x="242" y="15042"/>
                  </a:lnTo>
                  <a:lnTo>
                    <a:pt x="292" y="15126"/>
                  </a:lnTo>
                  <a:lnTo>
                    <a:pt x="344" y="15208"/>
                  </a:lnTo>
                  <a:lnTo>
                    <a:pt x="399" y="15287"/>
                  </a:lnTo>
                  <a:lnTo>
                    <a:pt x="460" y="15363"/>
                  </a:lnTo>
                  <a:lnTo>
                    <a:pt x="523" y="15436"/>
                  </a:lnTo>
                  <a:lnTo>
                    <a:pt x="589" y="15506"/>
                  </a:lnTo>
                  <a:lnTo>
                    <a:pt x="659" y="15572"/>
                  </a:lnTo>
                  <a:lnTo>
                    <a:pt x="732" y="15635"/>
                  </a:lnTo>
                  <a:lnTo>
                    <a:pt x="808" y="15696"/>
                  </a:lnTo>
                  <a:lnTo>
                    <a:pt x="887" y="15751"/>
                  </a:lnTo>
                  <a:lnTo>
                    <a:pt x="969" y="15803"/>
                  </a:lnTo>
                  <a:lnTo>
                    <a:pt x="1053" y="15853"/>
                  </a:lnTo>
                  <a:lnTo>
                    <a:pt x="1140" y="15897"/>
                  </a:lnTo>
                  <a:lnTo>
                    <a:pt x="1228" y="15937"/>
                  </a:lnTo>
                  <a:lnTo>
                    <a:pt x="1320" y="15973"/>
                  </a:lnTo>
                  <a:lnTo>
                    <a:pt x="1413" y="16004"/>
                  </a:lnTo>
                  <a:lnTo>
                    <a:pt x="1509" y="16032"/>
                  </a:lnTo>
                  <a:lnTo>
                    <a:pt x="1606" y="16054"/>
                  </a:lnTo>
                  <a:lnTo>
                    <a:pt x="1705" y="16072"/>
                  </a:lnTo>
                  <a:lnTo>
                    <a:pt x="1806" y="16085"/>
                  </a:lnTo>
                  <a:lnTo>
                    <a:pt x="1908" y="16092"/>
                  </a:lnTo>
                  <a:lnTo>
                    <a:pt x="2012" y="16095"/>
                  </a:lnTo>
                  <a:lnTo>
                    <a:pt x="14083" y="16095"/>
                  </a:lnTo>
                  <a:lnTo>
                    <a:pt x="14187" y="16092"/>
                  </a:lnTo>
                  <a:lnTo>
                    <a:pt x="14289" y="16085"/>
                  </a:lnTo>
                  <a:lnTo>
                    <a:pt x="14390" y="16072"/>
                  </a:lnTo>
                  <a:lnTo>
                    <a:pt x="14489" y="16054"/>
                  </a:lnTo>
                  <a:lnTo>
                    <a:pt x="14586" y="16032"/>
                  </a:lnTo>
                  <a:lnTo>
                    <a:pt x="14682" y="16004"/>
                  </a:lnTo>
                  <a:lnTo>
                    <a:pt x="14775" y="15973"/>
                  </a:lnTo>
                  <a:lnTo>
                    <a:pt x="14867" y="15937"/>
                  </a:lnTo>
                  <a:lnTo>
                    <a:pt x="14955" y="15897"/>
                  </a:lnTo>
                  <a:lnTo>
                    <a:pt x="15042" y="15853"/>
                  </a:lnTo>
                  <a:lnTo>
                    <a:pt x="15126" y="15803"/>
                  </a:lnTo>
                  <a:lnTo>
                    <a:pt x="15208" y="15751"/>
                  </a:lnTo>
                  <a:lnTo>
                    <a:pt x="15287" y="15696"/>
                  </a:lnTo>
                  <a:lnTo>
                    <a:pt x="15363" y="15635"/>
                  </a:lnTo>
                  <a:lnTo>
                    <a:pt x="15436" y="15572"/>
                  </a:lnTo>
                  <a:lnTo>
                    <a:pt x="15506" y="15506"/>
                  </a:lnTo>
                  <a:lnTo>
                    <a:pt x="15572" y="15436"/>
                  </a:lnTo>
                  <a:lnTo>
                    <a:pt x="15635" y="15363"/>
                  </a:lnTo>
                  <a:lnTo>
                    <a:pt x="15696" y="15287"/>
                  </a:lnTo>
                  <a:lnTo>
                    <a:pt x="15751" y="15208"/>
                  </a:lnTo>
                  <a:lnTo>
                    <a:pt x="15803" y="15126"/>
                  </a:lnTo>
                  <a:lnTo>
                    <a:pt x="15853" y="15042"/>
                  </a:lnTo>
                  <a:lnTo>
                    <a:pt x="15897" y="14955"/>
                  </a:lnTo>
                  <a:lnTo>
                    <a:pt x="15937" y="14867"/>
                  </a:lnTo>
                  <a:lnTo>
                    <a:pt x="15973" y="14775"/>
                  </a:lnTo>
                  <a:lnTo>
                    <a:pt x="16004" y="14682"/>
                  </a:lnTo>
                  <a:lnTo>
                    <a:pt x="16032" y="14586"/>
                  </a:lnTo>
                  <a:lnTo>
                    <a:pt x="16054" y="14489"/>
                  </a:lnTo>
                  <a:lnTo>
                    <a:pt x="16072" y="14390"/>
                  </a:lnTo>
                  <a:lnTo>
                    <a:pt x="16085" y="14289"/>
                  </a:lnTo>
                  <a:lnTo>
                    <a:pt x="16092" y="14187"/>
                  </a:lnTo>
                  <a:lnTo>
                    <a:pt x="16095" y="14083"/>
                  </a:lnTo>
                  <a:lnTo>
                    <a:pt x="16095" y="1509"/>
                  </a:lnTo>
                  <a:lnTo>
                    <a:pt x="16093" y="1431"/>
                  </a:lnTo>
                  <a:lnTo>
                    <a:pt x="16087" y="1354"/>
                  </a:lnTo>
                  <a:lnTo>
                    <a:pt x="16078" y="1279"/>
                  </a:lnTo>
                  <a:lnTo>
                    <a:pt x="16065" y="1204"/>
                  </a:lnTo>
                  <a:lnTo>
                    <a:pt x="16048" y="1132"/>
                  </a:lnTo>
                  <a:lnTo>
                    <a:pt x="16028" y="1060"/>
                  </a:lnTo>
                  <a:lnTo>
                    <a:pt x="16003" y="990"/>
                  </a:lnTo>
                  <a:lnTo>
                    <a:pt x="15976" y="921"/>
                  </a:lnTo>
                  <a:lnTo>
                    <a:pt x="15946" y="854"/>
                  </a:lnTo>
                  <a:lnTo>
                    <a:pt x="15913" y="790"/>
                  </a:lnTo>
                  <a:lnTo>
                    <a:pt x="15877" y="726"/>
                  </a:lnTo>
                  <a:lnTo>
                    <a:pt x="15837" y="665"/>
                  </a:lnTo>
                  <a:lnTo>
                    <a:pt x="15795" y="606"/>
                  </a:lnTo>
                  <a:lnTo>
                    <a:pt x="15750" y="549"/>
                  </a:lnTo>
                  <a:lnTo>
                    <a:pt x="15703" y="494"/>
                  </a:lnTo>
                  <a:lnTo>
                    <a:pt x="15653" y="442"/>
                  </a:lnTo>
                  <a:lnTo>
                    <a:pt x="15601" y="391"/>
                  </a:lnTo>
                  <a:lnTo>
                    <a:pt x="15546" y="344"/>
                  </a:lnTo>
                  <a:lnTo>
                    <a:pt x="15488" y="300"/>
                  </a:lnTo>
                  <a:lnTo>
                    <a:pt x="15430" y="258"/>
                  </a:lnTo>
                  <a:lnTo>
                    <a:pt x="15369" y="218"/>
                  </a:lnTo>
                  <a:lnTo>
                    <a:pt x="15305" y="182"/>
                  </a:lnTo>
                  <a:lnTo>
                    <a:pt x="15240" y="149"/>
                  </a:lnTo>
                  <a:lnTo>
                    <a:pt x="15174" y="119"/>
                  </a:lnTo>
                  <a:lnTo>
                    <a:pt x="15105" y="92"/>
                  </a:lnTo>
                  <a:lnTo>
                    <a:pt x="15035" y="67"/>
                  </a:lnTo>
                  <a:lnTo>
                    <a:pt x="14963" y="47"/>
                  </a:lnTo>
                  <a:lnTo>
                    <a:pt x="14890" y="30"/>
                  </a:lnTo>
                  <a:lnTo>
                    <a:pt x="14815" y="17"/>
                  </a:lnTo>
                  <a:lnTo>
                    <a:pt x="14740" y="8"/>
                  </a:lnTo>
                  <a:lnTo>
                    <a:pt x="14664" y="2"/>
                  </a:lnTo>
                  <a:lnTo>
                    <a:pt x="145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45" name="ïṣliḑe">
              <a:extLst>
                <a:ext uri="{FF2B5EF4-FFF2-40B4-BE49-F238E27FC236}">
                  <a16:creationId xmlns:a16="http://schemas.microsoft.com/office/drawing/2014/main" id="{375E9627-0B4A-492D-80E7-86CE8BA1A58D}"/>
                </a:ext>
              </a:extLst>
            </p:cNvPr>
            <p:cNvSpPr/>
            <p:nvPr/>
          </p:nvSpPr>
          <p:spPr bwMode="auto">
            <a:xfrm>
              <a:off x="8416248" y="2455104"/>
              <a:ext cx="65335" cy="7436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1 h 503"/>
                <a:gd name="T8" fmla="*/ 4427 w 4527"/>
                <a:gd name="T9" fmla="*/ 452 h 503"/>
                <a:gd name="T10" fmla="*/ 4454 w 4527"/>
                <a:gd name="T11" fmla="*/ 428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1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0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1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89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1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5 h 503"/>
                <a:gd name="T80" fmla="*/ 154 w 4527"/>
                <a:gd name="T81" fmla="*/ 482 h 503"/>
                <a:gd name="T82" fmla="*/ 190 w 4527"/>
                <a:gd name="T83" fmla="*/ 495 h 503"/>
                <a:gd name="T84" fmla="*/ 227 w 4527"/>
                <a:gd name="T85" fmla="*/ 50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1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1"/>
                  </a:lnTo>
                  <a:lnTo>
                    <a:pt x="4362" y="488"/>
                  </a:lnTo>
                  <a:lnTo>
                    <a:pt x="4374" y="482"/>
                  </a:lnTo>
                  <a:lnTo>
                    <a:pt x="4385" y="477"/>
                  </a:lnTo>
                  <a:lnTo>
                    <a:pt x="4396" y="471"/>
                  </a:lnTo>
                  <a:lnTo>
                    <a:pt x="4406" y="465"/>
                  </a:lnTo>
                  <a:lnTo>
                    <a:pt x="4416" y="459"/>
                  </a:lnTo>
                  <a:lnTo>
                    <a:pt x="4427" y="452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8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1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3"/>
                  </a:lnTo>
                  <a:lnTo>
                    <a:pt x="4522" y="301"/>
                  </a:lnTo>
                  <a:lnTo>
                    <a:pt x="4525" y="289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1"/>
                  </a:lnTo>
                  <a:lnTo>
                    <a:pt x="4497" y="131"/>
                  </a:lnTo>
                  <a:lnTo>
                    <a:pt x="4491" y="120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0"/>
                  </a:lnTo>
                  <a:lnTo>
                    <a:pt x="32" y="131"/>
                  </a:lnTo>
                  <a:lnTo>
                    <a:pt x="26" y="141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6" y="301"/>
                  </a:lnTo>
                  <a:lnTo>
                    <a:pt x="8" y="313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1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8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2"/>
                  </a:lnTo>
                  <a:lnTo>
                    <a:pt x="112" y="459"/>
                  </a:lnTo>
                  <a:lnTo>
                    <a:pt x="122" y="465"/>
                  </a:lnTo>
                  <a:lnTo>
                    <a:pt x="132" y="471"/>
                  </a:lnTo>
                  <a:lnTo>
                    <a:pt x="143" y="477"/>
                  </a:lnTo>
                  <a:lnTo>
                    <a:pt x="154" y="482"/>
                  </a:lnTo>
                  <a:lnTo>
                    <a:pt x="166" y="488"/>
                  </a:lnTo>
                  <a:lnTo>
                    <a:pt x="177" y="491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1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46" name="íṣľíďê">
              <a:extLst>
                <a:ext uri="{FF2B5EF4-FFF2-40B4-BE49-F238E27FC236}">
                  <a16:creationId xmlns:a16="http://schemas.microsoft.com/office/drawing/2014/main" id="{C559CE72-F82B-4448-B5CE-0786F3837B20}"/>
                </a:ext>
              </a:extLst>
            </p:cNvPr>
            <p:cNvSpPr/>
            <p:nvPr/>
          </p:nvSpPr>
          <p:spPr bwMode="auto">
            <a:xfrm>
              <a:off x="8416248" y="2433326"/>
              <a:ext cx="65335" cy="7436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3 h 503"/>
                <a:gd name="T8" fmla="*/ 4427 w 4527"/>
                <a:gd name="T9" fmla="*/ 452 h 503"/>
                <a:gd name="T10" fmla="*/ 4454 w 4527"/>
                <a:gd name="T11" fmla="*/ 429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2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0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2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89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2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6 h 503"/>
                <a:gd name="T80" fmla="*/ 154 w 4527"/>
                <a:gd name="T81" fmla="*/ 483 h 503"/>
                <a:gd name="T82" fmla="*/ 190 w 4527"/>
                <a:gd name="T83" fmla="*/ 495 h 503"/>
                <a:gd name="T84" fmla="*/ 227 w 4527"/>
                <a:gd name="T85" fmla="*/ 50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1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1"/>
                  </a:lnTo>
                  <a:lnTo>
                    <a:pt x="4362" y="488"/>
                  </a:lnTo>
                  <a:lnTo>
                    <a:pt x="4374" y="483"/>
                  </a:lnTo>
                  <a:lnTo>
                    <a:pt x="4385" y="478"/>
                  </a:lnTo>
                  <a:lnTo>
                    <a:pt x="4396" y="473"/>
                  </a:lnTo>
                  <a:lnTo>
                    <a:pt x="4406" y="466"/>
                  </a:lnTo>
                  <a:lnTo>
                    <a:pt x="4416" y="459"/>
                  </a:lnTo>
                  <a:lnTo>
                    <a:pt x="4427" y="452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9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2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4"/>
                  </a:lnTo>
                  <a:lnTo>
                    <a:pt x="4522" y="302"/>
                  </a:lnTo>
                  <a:lnTo>
                    <a:pt x="4525" y="289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2"/>
                  </a:lnTo>
                  <a:lnTo>
                    <a:pt x="4497" y="132"/>
                  </a:lnTo>
                  <a:lnTo>
                    <a:pt x="4491" y="120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0"/>
                  </a:lnTo>
                  <a:lnTo>
                    <a:pt x="32" y="132"/>
                  </a:lnTo>
                  <a:lnTo>
                    <a:pt x="26" y="142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6" y="302"/>
                  </a:lnTo>
                  <a:lnTo>
                    <a:pt x="8" y="314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2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9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2"/>
                  </a:lnTo>
                  <a:lnTo>
                    <a:pt x="112" y="459"/>
                  </a:lnTo>
                  <a:lnTo>
                    <a:pt x="122" y="466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6" y="488"/>
                  </a:lnTo>
                  <a:lnTo>
                    <a:pt x="177" y="491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1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47" name="îSḷîḍé">
              <a:extLst>
                <a:ext uri="{FF2B5EF4-FFF2-40B4-BE49-F238E27FC236}">
                  <a16:creationId xmlns:a16="http://schemas.microsoft.com/office/drawing/2014/main" id="{18AB97EE-A53C-4741-AD76-99E4059D8293}"/>
                </a:ext>
              </a:extLst>
            </p:cNvPr>
            <p:cNvSpPr/>
            <p:nvPr/>
          </p:nvSpPr>
          <p:spPr bwMode="auto">
            <a:xfrm>
              <a:off x="8416248" y="2412078"/>
              <a:ext cx="65335" cy="6905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3 h 503"/>
                <a:gd name="T8" fmla="*/ 4427 w 4527"/>
                <a:gd name="T9" fmla="*/ 453 h 503"/>
                <a:gd name="T10" fmla="*/ 4454 w 4527"/>
                <a:gd name="T11" fmla="*/ 428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2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1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2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90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2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7 h 503"/>
                <a:gd name="T80" fmla="*/ 154 w 4527"/>
                <a:gd name="T81" fmla="*/ 483 h 503"/>
                <a:gd name="T82" fmla="*/ 190 w 4527"/>
                <a:gd name="T83" fmla="*/ 495 h 503"/>
                <a:gd name="T84" fmla="*/ 227 w 4527"/>
                <a:gd name="T85" fmla="*/ 50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2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2"/>
                  </a:lnTo>
                  <a:lnTo>
                    <a:pt x="4362" y="488"/>
                  </a:lnTo>
                  <a:lnTo>
                    <a:pt x="4374" y="483"/>
                  </a:lnTo>
                  <a:lnTo>
                    <a:pt x="4385" y="478"/>
                  </a:lnTo>
                  <a:lnTo>
                    <a:pt x="4396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8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2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4"/>
                  </a:lnTo>
                  <a:lnTo>
                    <a:pt x="4522" y="302"/>
                  </a:lnTo>
                  <a:lnTo>
                    <a:pt x="4525" y="290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2"/>
                  </a:lnTo>
                  <a:lnTo>
                    <a:pt x="4497" y="132"/>
                  </a:lnTo>
                  <a:lnTo>
                    <a:pt x="4491" y="121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1"/>
                  </a:lnTo>
                  <a:lnTo>
                    <a:pt x="32" y="132"/>
                  </a:lnTo>
                  <a:lnTo>
                    <a:pt x="26" y="142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90"/>
                  </a:lnTo>
                  <a:lnTo>
                    <a:pt x="6" y="302"/>
                  </a:lnTo>
                  <a:lnTo>
                    <a:pt x="8" y="314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2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8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3"/>
                  </a:lnTo>
                  <a:lnTo>
                    <a:pt x="112" y="460"/>
                  </a:lnTo>
                  <a:lnTo>
                    <a:pt x="122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6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48" name="ïsḻíďe">
              <a:extLst>
                <a:ext uri="{FF2B5EF4-FFF2-40B4-BE49-F238E27FC236}">
                  <a16:creationId xmlns:a16="http://schemas.microsoft.com/office/drawing/2014/main" id="{3285E2B9-14DF-49B5-A22C-A7BE58EBB110}"/>
                </a:ext>
              </a:extLst>
            </p:cNvPr>
            <p:cNvSpPr/>
            <p:nvPr/>
          </p:nvSpPr>
          <p:spPr bwMode="auto">
            <a:xfrm>
              <a:off x="8337102" y="2563464"/>
              <a:ext cx="64804" cy="7436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0 h 503"/>
                <a:gd name="T8" fmla="*/ 100 w 4526"/>
                <a:gd name="T9" fmla="*/ 50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1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50 h 503"/>
                <a:gd name="T28" fmla="*/ 36 w 4526"/>
                <a:gd name="T29" fmla="*/ 382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2 h 503"/>
                <a:gd name="T58" fmla="*/ 4501 w 4526"/>
                <a:gd name="T59" fmla="*/ 361 h 503"/>
                <a:gd name="T60" fmla="*/ 4515 w 4526"/>
                <a:gd name="T61" fmla="*/ 327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3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6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3"/>
                  </a:lnTo>
                  <a:lnTo>
                    <a:pt x="100" y="50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7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4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4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2"/>
                  </a:lnTo>
                  <a:lnTo>
                    <a:pt x="4490" y="382"/>
                  </a:lnTo>
                  <a:lnTo>
                    <a:pt x="4496" y="371"/>
                  </a:lnTo>
                  <a:lnTo>
                    <a:pt x="4501" y="361"/>
                  </a:lnTo>
                  <a:lnTo>
                    <a:pt x="4506" y="350"/>
                  </a:lnTo>
                  <a:lnTo>
                    <a:pt x="4511" y="338"/>
                  </a:lnTo>
                  <a:lnTo>
                    <a:pt x="4515" y="327"/>
                  </a:lnTo>
                  <a:lnTo>
                    <a:pt x="4518" y="315"/>
                  </a:lnTo>
                  <a:lnTo>
                    <a:pt x="4521" y="303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3"/>
                  </a:lnTo>
                  <a:lnTo>
                    <a:pt x="4521" y="201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0"/>
                  </a:lnTo>
                  <a:lnTo>
                    <a:pt x="4416" y="43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49" name="îSľide">
              <a:extLst>
                <a:ext uri="{FF2B5EF4-FFF2-40B4-BE49-F238E27FC236}">
                  <a16:creationId xmlns:a16="http://schemas.microsoft.com/office/drawing/2014/main" id="{426948E7-B4C2-470A-AA0E-ACF7E8C51189}"/>
                </a:ext>
              </a:extLst>
            </p:cNvPr>
            <p:cNvSpPr/>
            <p:nvPr/>
          </p:nvSpPr>
          <p:spPr bwMode="auto">
            <a:xfrm>
              <a:off x="8337102" y="2541686"/>
              <a:ext cx="64804" cy="7436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0 h 503"/>
                <a:gd name="T8" fmla="*/ 100 w 4526"/>
                <a:gd name="T9" fmla="*/ 51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1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49 h 503"/>
                <a:gd name="T28" fmla="*/ 36 w 4526"/>
                <a:gd name="T29" fmla="*/ 383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3 h 503"/>
                <a:gd name="T58" fmla="*/ 4501 w 4526"/>
                <a:gd name="T59" fmla="*/ 361 h 503"/>
                <a:gd name="T60" fmla="*/ 4515 w 4526"/>
                <a:gd name="T61" fmla="*/ 326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4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6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3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3"/>
                  </a:lnTo>
                  <a:lnTo>
                    <a:pt x="4490" y="383"/>
                  </a:lnTo>
                  <a:lnTo>
                    <a:pt x="4496" y="371"/>
                  </a:lnTo>
                  <a:lnTo>
                    <a:pt x="4501" y="361"/>
                  </a:lnTo>
                  <a:lnTo>
                    <a:pt x="4506" y="349"/>
                  </a:lnTo>
                  <a:lnTo>
                    <a:pt x="4511" y="338"/>
                  </a:lnTo>
                  <a:lnTo>
                    <a:pt x="4515" y="326"/>
                  </a:lnTo>
                  <a:lnTo>
                    <a:pt x="4518" y="315"/>
                  </a:lnTo>
                  <a:lnTo>
                    <a:pt x="4521" y="302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4"/>
                  </a:lnTo>
                  <a:lnTo>
                    <a:pt x="4521" y="201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1"/>
                  </a:lnTo>
                  <a:lnTo>
                    <a:pt x="4416" y="44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50" name="ïSḻídê">
              <a:extLst>
                <a:ext uri="{FF2B5EF4-FFF2-40B4-BE49-F238E27FC236}">
                  <a16:creationId xmlns:a16="http://schemas.microsoft.com/office/drawing/2014/main" id="{37DDF254-127A-4C28-ADC0-E7B49ED38767}"/>
                </a:ext>
              </a:extLst>
            </p:cNvPr>
            <p:cNvSpPr/>
            <p:nvPr/>
          </p:nvSpPr>
          <p:spPr bwMode="auto">
            <a:xfrm>
              <a:off x="8337102" y="2520439"/>
              <a:ext cx="64804" cy="6905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1 h 503"/>
                <a:gd name="T8" fmla="*/ 100 w 4526"/>
                <a:gd name="T9" fmla="*/ 51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2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50 h 503"/>
                <a:gd name="T28" fmla="*/ 36 w 4526"/>
                <a:gd name="T29" fmla="*/ 383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3 h 503"/>
                <a:gd name="T58" fmla="*/ 4501 w 4526"/>
                <a:gd name="T59" fmla="*/ 361 h 503"/>
                <a:gd name="T60" fmla="*/ 4515 w 4526"/>
                <a:gd name="T61" fmla="*/ 326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4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7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0" y="37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1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3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3"/>
                  </a:lnTo>
                  <a:lnTo>
                    <a:pt x="4490" y="383"/>
                  </a:lnTo>
                  <a:lnTo>
                    <a:pt x="4496" y="372"/>
                  </a:lnTo>
                  <a:lnTo>
                    <a:pt x="4501" y="361"/>
                  </a:lnTo>
                  <a:lnTo>
                    <a:pt x="4506" y="350"/>
                  </a:lnTo>
                  <a:lnTo>
                    <a:pt x="4511" y="338"/>
                  </a:lnTo>
                  <a:lnTo>
                    <a:pt x="4515" y="326"/>
                  </a:lnTo>
                  <a:lnTo>
                    <a:pt x="4518" y="315"/>
                  </a:lnTo>
                  <a:lnTo>
                    <a:pt x="4521" y="302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4"/>
                  </a:lnTo>
                  <a:lnTo>
                    <a:pt x="4521" y="202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1"/>
                  </a:lnTo>
                  <a:lnTo>
                    <a:pt x="4416" y="44"/>
                  </a:lnTo>
                  <a:lnTo>
                    <a:pt x="4406" y="37"/>
                  </a:lnTo>
                  <a:lnTo>
                    <a:pt x="4395" y="31"/>
                  </a:lnTo>
                  <a:lnTo>
                    <a:pt x="4384" y="26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51" name="iṥľíḍè">
              <a:extLst>
                <a:ext uri="{FF2B5EF4-FFF2-40B4-BE49-F238E27FC236}">
                  <a16:creationId xmlns:a16="http://schemas.microsoft.com/office/drawing/2014/main" id="{06A494C3-C7D2-4E59-9766-B9C897AA59EB}"/>
                </a:ext>
              </a:extLst>
            </p:cNvPr>
            <p:cNvSpPr/>
            <p:nvPr/>
          </p:nvSpPr>
          <p:spPr bwMode="auto">
            <a:xfrm>
              <a:off x="8416248" y="2563464"/>
              <a:ext cx="65335" cy="7436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0 h 503"/>
                <a:gd name="T8" fmla="*/ 102 w 4527"/>
                <a:gd name="T9" fmla="*/ 50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1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50 h 503"/>
                <a:gd name="T28" fmla="*/ 37 w 4527"/>
                <a:gd name="T29" fmla="*/ 382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2 h 503"/>
                <a:gd name="T58" fmla="*/ 4502 w 4527"/>
                <a:gd name="T59" fmla="*/ 361 h 503"/>
                <a:gd name="T60" fmla="*/ 4516 w 4527"/>
                <a:gd name="T61" fmla="*/ 327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3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6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3"/>
                  </a:lnTo>
                  <a:lnTo>
                    <a:pt x="102" y="50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7"/>
                  </a:lnTo>
                  <a:lnTo>
                    <a:pt x="15" y="338"/>
                  </a:lnTo>
                  <a:lnTo>
                    <a:pt x="21" y="350"/>
                  </a:lnTo>
                  <a:lnTo>
                    <a:pt x="26" y="361"/>
                  </a:lnTo>
                  <a:lnTo>
                    <a:pt x="31" y="371"/>
                  </a:lnTo>
                  <a:lnTo>
                    <a:pt x="37" y="382"/>
                  </a:lnTo>
                  <a:lnTo>
                    <a:pt x="44" y="392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4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4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2"/>
                  </a:lnTo>
                  <a:lnTo>
                    <a:pt x="4491" y="382"/>
                  </a:lnTo>
                  <a:lnTo>
                    <a:pt x="4497" y="371"/>
                  </a:lnTo>
                  <a:lnTo>
                    <a:pt x="4502" y="361"/>
                  </a:lnTo>
                  <a:lnTo>
                    <a:pt x="4507" y="350"/>
                  </a:lnTo>
                  <a:lnTo>
                    <a:pt x="4512" y="338"/>
                  </a:lnTo>
                  <a:lnTo>
                    <a:pt x="4516" y="327"/>
                  </a:lnTo>
                  <a:lnTo>
                    <a:pt x="4519" y="315"/>
                  </a:lnTo>
                  <a:lnTo>
                    <a:pt x="4522" y="303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3"/>
                  </a:lnTo>
                  <a:lnTo>
                    <a:pt x="4522" y="201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0"/>
                  </a:lnTo>
                  <a:lnTo>
                    <a:pt x="4416" y="43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52" name="îS1iḍe">
              <a:extLst>
                <a:ext uri="{FF2B5EF4-FFF2-40B4-BE49-F238E27FC236}">
                  <a16:creationId xmlns:a16="http://schemas.microsoft.com/office/drawing/2014/main" id="{57ADD0B2-91FA-4AF9-BD59-93E8FD0582BA}"/>
                </a:ext>
              </a:extLst>
            </p:cNvPr>
            <p:cNvSpPr/>
            <p:nvPr/>
          </p:nvSpPr>
          <p:spPr bwMode="auto">
            <a:xfrm>
              <a:off x="8416248" y="2541686"/>
              <a:ext cx="65335" cy="7436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0 h 503"/>
                <a:gd name="T8" fmla="*/ 102 w 4527"/>
                <a:gd name="T9" fmla="*/ 51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1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49 h 503"/>
                <a:gd name="T28" fmla="*/ 37 w 4527"/>
                <a:gd name="T29" fmla="*/ 383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3 h 503"/>
                <a:gd name="T58" fmla="*/ 4502 w 4527"/>
                <a:gd name="T59" fmla="*/ 361 h 503"/>
                <a:gd name="T60" fmla="*/ 4516 w 4527"/>
                <a:gd name="T61" fmla="*/ 326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4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6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4"/>
                  </a:lnTo>
                  <a:lnTo>
                    <a:pt x="102" y="51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1" y="349"/>
                  </a:lnTo>
                  <a:lnTo>
                    <a:pt x="26" y="361"/>
                  </a:lnTo>
                  <a:lnTo>
                    <a:pt x="31" y="371"/>
                  </a:lnTo>
                  <a:lnTo>
                    <a:pt x="37" y="383"/>
                  </a:lnTo>
                  <a:lnTo>
                    <a:pt x="44" y="393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3"/>
                  </a:lnTo>
                  <a:lnTo>
                    <a:pt x="4491" y="383"/>
                  </a:lnTo>
                  <a:lnTo>
                    <a:pt x="4497" y="371"/>
                  </a:lnTo>
                  <a:lnTo>
                    <a:pt x="4502" y="361"/>
                  </a:lnTo>
                  <a:lnTo>
                    <a:pt x="4507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19" y="315"/>
                  </a:lnTo>
                  <a:lnTo>
                    <a:pt x="4522" y="302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4"/>
                  </a:lnTo>
                  <a:lnTo>
                    <a:pt x="4522" y="201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1"/>
                  </a:lnTo>
                  <a:lnTo>
                    <a:pt x="4416" y="44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53" name="iṣḻîďê">
              <a:extLst>
                <a:ext uri="{FF2B5EF4-FFF2-40B4-BE49-F238E27FC236}">
                  <a16:creationId xmlns:a16="http://schemas.microsoft.com/office/drawing/2014/main" id="{29B37BF0-4B8E-41F7-B2F6-16CEAD875153}"/>
                </a:ext>
              </a:extLst>
            </p:cNvPr>
            <p:cNvSpPr/>
            <p:nvPr/>
          </p:nvSpPr>
          <p:spPr bwMode="auto">
            <a:xfrm>
              <a:off x="8416248" y="2520439"/>
              <a:ext cx="65335" cy="6905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1 h 503"/>
                <a:gd name="T8" fmla="*/ 102 w 4527"/>
                <a:gd name="T9" fmla="*/ 51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2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50 h 503"/>
                <a:gd name="T28" fmla="*/ 37 w 4527"/>
                <a:gd name="T29" fmla="*/ 383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3 h 503"/>
                <a:gd name="T58" fmla="*/ 4502 w 4527"/>
                <a:gd name="T59" fmla="*/ 361 h 503"/>
                <a:gd name="T60" fmla="*/ 4516 w 4527"/>
                <a:gd name="T61" fmla="*/ 326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4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7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1" y="37"/>
                  </a:lnTo>
                  <a:lnTo>
                    <a:pt x="111" y="44"/>
                  </a:lnTo>
                  <a:lnTo>
                    <a:pt x="102" y="51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1" y="350"/>
                  </a:lnTo>
                  <a:lnTo>
                    <a:pt x="26" y="361"/>
                  </a:lnTo>
                  <a:lnTo>
                    <a:pt x="31" y="372"/>
                  </a:lnTo>
                  <a:lnTo>
                    <a:pt x="37" y="383"/>
                  </a:lnTo>
                  <a:lnTo>
                    <a:pt x="44" y="393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3"/>
                  </a:lnTo>
                  <a:lnTo>
                    <a:pt x="4491" y="383"/>
                  </a:lnTo>
                  <a:lnTo>
                    <a:pt x="4497" y="372"/>
                  </a:lnTo>
                  <a:lnTo>
                    <a:pt x="4502" y="361"/>
                  </a:lnTo>
                  <a:lnTo>
                    <a:pt x="4507" y="350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19" y="315"/>
                  </a:lnTo>
                  <a:lnTo>
                    <a:pt x="4522" y="302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4"/>
                  </a:lnTo>
                  <a:lnTo>
                    <a:pt x="4522" y="202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1"/>
                  </a:lnTo>
                  <a:lnTo>
                    <a:pt x="4416" y="44"/>
                  </a:lnTo>
                  <a:lnTo>
                    <a:pt x="4406" y="37"/>
                  </a:lnTo>
                  <a:lnTo>
                    <a:pt x="4395" y="31"/>
                  </a:lnTo>
                  <a:lnTo>
                    <a:pt x="4384" y="26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54" name="ïṥḷiḍé">
              <a:extLst>
                <a:ext uri="{FF2B5EF4-FFF2-40B4-BE49-F238E27FC236}">
                  <a16:creationId xmlns:a16="http://schemas.microsoft.com/office/drawing/2014/main" id="{05B61AE6-D88A-46EF-A278-4D1E2F5BA7E8}"/>
                </a:ext>
              </a:extLst>
            </p:cNvPr>
            <p:cNvSpPr/>
            <p:nvPr/>
          </p:nvSpPr>
          <p:spPr bwMode="auto">
            <a:xfrm>
              <a:off x="8337102" y="2476882"/>
              <a:ext cx="144480" cy="7436"/>
            </a:xfrm>
            <a:custGeom>
              <a:avLst/>
              <a:gdLst>
                <a:gd name="T0" fmla="*/ 238 w 10059"/>
                <a:gd name="T1" fmla="*/ 1 h 503"/>
                <a:gd name="T2" fmla="*/ 201 w 10059"/>
                <a:gd name="T3" fmla="*/ 5 h 503"/>
                <a:gd name="T4" fmla="*/ 165 w 10059"/>
                <a:gd name="T5" fmla="*/ 15 h 503"/>
                <a:gd name="T6" fmla="*/ 132 w 10059"/>
                <a:gd name="T7" fmla="*/ 30 h 503"/>
                <a:gd name="T8" fmla="*/ 100 w 10059"/>
                <a:gd name="T9" fmla="*/ 50 h 503"/>
                <a:gd name="T10" fmla="*/ 73 w 10059"/>
                <a:gd name="T11" fmla="*/ 73 h 503"/>
                <a:gd name="T12" fmla="*/ 50 w 10059"/>
                <a:gd name="T13" fmla="*/ 101 h 503"/>
                <a:gd name="T14" fmla="*/ 30 w 10059"/>
                <a:gd name="T15" fmla="*/ 131 h 503"/>
                <a:gd name="T16" fmla="*/ 15 w 10059"/>
                <a:gd name="T17" fmla="*/ 165 h 503"/>
                <a:gd name="T18" fmla="*/ 5 w 10059"/>
                <a:gd name="T19" fmla="*/ 201 h 503"/>
                <a:gd name="T20" fmla="*/ 0 w 10059"/>
                <a:gd name="T21" fmla="*/ 238 h 503"/>
                <a:gd name="T22" fmla="*/ 1 w 10059"/>
                <a:gd name="T23" fmla="*/ 277 h 503"/>
                <a:gd name="T24" fmla="*/ 8 w 10059"/>
                <a:gd name="T25" fmla="*/ 314 h 503"/>
                <a:gd name="T26" fmla="*/ 20 w 10059"/>
                <a:gd name="T27" fmla="*/ 349 h 503"/>
                <a:gd name="T28" fmla="*/ 36 w 10059"/>
                <a:gd name="T29" fmla="*/ 382 h 503"/>
                <a:gd name="T30" fmla="*/ 57 w 10059"/>
                <a:gd name="T31" fmla="*/ 411 h 503"/>
                <a:gd name="T32" fmla="*/ 82 w 10059"/>
                <a:gd name="T33" fmla="*/ 437 h 503"/>
                <a:gd name="T34" fmla="*/ 110 w 10059"/>
                <a:gd name="T35" fmla="*/ 460 h 503"/>
                <a:gd name="T36" fmla="*/ 143 w 10059"/>
                <a:gd name="T37" fmla="*/ 478 h 503"/>
                <a:gd name="T38" fmla="*/ 177 w 10059"/>
                <a:gd name="T39" fmla="*/ 491 h 503"/>
                <a:gd name="T40" fmla="*/ 213 w 10059"/>
                <a:gd name="T41" fmla="*/ 499 h 503"/>
                <a:gd name="T42" fmla="*/ 251 w 10059"/>
                <a:gd name="T43" fmla="*/ 503 h 503"/>
                <a:gd name="T44" fmla="*/ 9834 w 10059"/>
                <a:gd name="T45" fmla="*/ 502 h 503"/>
                <a:gd name="T46" fmla="*/ 9870 w 10059"/>
                <a:gd name="T47" fmla="*/ 494 h 503"/>
                <a:gd name="T48" fmla="*/ 9905 w 10059"/>
                <a:gd name="T49" fmla="*/ 483 h 503"/>
                <a:gd name="T50" fmla="*/ 9938 w 10059"/>
                <a:gd name="T51" fmla="*/ 466 h 503"/>
                <a:gd name="T52" fmla="*/ 9968 w 10059"/>
                <a:gd name="T53" fmla="*/ 445 h 503"/>
                <a:gd name="T54" fmla="*/ 9994 w 10059"/>
                <a:gd name="T55" fmla="*/ 420 h 503"/>
                <a:gd name="T56" fmla="*/ 10016 w 10059"/>
                <a:gd name="T57" fmla="*/ 392 h 503"/>
                <a:gd name="T58" fmla="*/ 10034 w 10059"/>
                <a:gd name="T59" fmla="*/ 361 h 503"/>
                <a:gd name="T60" fmla="*/ 10048 w 10059"/>
                <a:gd name="T61" fmla="*/ 326 h 503"/>
                <a:gd name="T62" fmla="*/ 10056 w 10059"/>
                <a:gd name="T63" fmla="*/ 289 h 503"/>
                <a:gd name="T64" fmla="*/ 10059 w 10059"/>
                <a:gd name="T65" fmla="*/ 251 h 503"/>
                <a:gd name="T66" fmla="*/ 10056 w 10059"/>
                <a:gd name="T67" fmla="*/ 213 h 503"/>
                <a:gd name="T68" fmla="*/ 10048 w 10059"/>
                <a:gd name="T69" fmla="*/ 177 h 503"/>
                <a:gd name="T70" fmla="*/ 10034 w 10059"/>
                <a:gd name="T71" fmla="*/ 142 h 503"/>
                <a:gd name="T72" fmla="*/ 10016 w 10059"/>
                <a:gd name="T73" fmla="*/ 110 h 503"/>
                <a:gd name="T74" fmla="*/ 9994 w 10059"/>
                <a:gd name="T75" fmla="*/ 82 h 503"/>
                <a:gd name="T76" fmla="*/ 9968 w 10059"/>
                <a:gd name="T77" fmla="*/ 57 h 503"/>
                <a:gd name="T78" fmla="*/ 9938 w 10059"/>
                <a:gd name="T79" fmla="*/ 36 h 503"/>
                <a:gd name="T80" fmla="*/ 9905 w 10059"/>
                <a:gd name="T81" fmla="*/ 20 h 503"/>
                <a:gd name="T82" fmla="*/ 9870 w 10059"/>
                <a:gd name="T83" fmla="*/ 8 h 503"/>
                <a:gd name="T84" fmla="*/ 9834 w 10059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9" h="503">
                  <a:moveTo>
                    <a:pt x="9808" y="0"/>
                  </a:moveTo>
                  <a:lnTo>
                    <a:pt x="251" y="0"/>
                  </a:lnTo>
                  <a:lnTo>
                    <a:pt x="238" y="1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3"/>
                  </a:lnTo>
                  <a:lnTo>
                    <a:pt x="100" y="50"/>
                  </a:lnTo>
                  <a:lnTo>
                    <a:pt x="91" y="57"/>
                  </a:lnTo>
                  <a:lnTo>
                    <a:pt x="82" y="65"/>
                  </a:lnTo>
                  <a:lnTo>
                    <a:pt x="73" y="73"/>
                  </a:lnTo>
                  <a:lnTo>
                    <a:pt x="65" y="82"/>
                  </a:lnTo>
                  <a:lnTo>
                    <a:pt x="57" y="91"/>
                  </a:lnTo>
                  <a:lnTo>
                    <a:pt x="50" y="101"/>
                  </a:lnTo>
                  <a:lnTo>
                    <a:pt x="43" y="110"/>
                  </a:lnTo>
                  <a:lnTo>
                    <a:pt x="36" y="121"/>
                  </a:lnTo>
                  <a:lnTo>
                    <a:pt x="30" y="131"/>
                  </a:lnTo>
                  <a:lnTo>
                    <a:pt x="25" y="142"/>
                  </a:lnTo>
                  <a:lnTo>
                    <a:pt x="20" y="153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6"/>
                  </a:lnTo>
                  <a:lnTo>
                    <a:pt x="0" y="238"/>
                  </a:lnTo>
                  <a:lnTo>
                    <a:pt x="0" y="251"/>
                  </a:lnTo>
                  <a:lnTo>
                    <a:pt x="0" y="264"/>
                  </a:lnTo>
                  <a:lnTo>
                    <a:pt x="1" y="277"/>
                  </a:lnTo>
                  <a:lnTo>
                    <a:pt x="3" y="289"/>
                  </a:lnTo>
                  <a:lnTo>
                    <a:pt x="5" y="302"/>
                  </a:lnTo>
                  <a:lnTo>
                    <a:pt x="8" y="314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2"/>
                  </a:lnTo>
                  <a:lnTo>
                    <a:pt x="57" y="411"/>
                  </a:lnTo>
                  <a:lnTo>
                    <a:pt x="65" y="420"/>
                  </a:lnTo>
                  <a:lnTo>
                    <a:pt x="73" y="429"/>
                  </a:lnTo>
                  <a:lnTo>
                    <a:pt x="82" y="437"/>
                  </a:lnTo>
                  <a:lnTo>
                    <a:pt x="91" y="445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6"/>
                  </a:lnTo>
                  <a:lnTo>
                    <a:pt x="132" y="472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7"/>
                  </a:lnTo>
                  <a:lnTo>
                    <a:pt x="177" y="491"/>
                  </a:lnTo>
                  <a:lnTo>
                    <a:pt x="189" y="494"/>
                  </a:lnTo>
                  <a:lnTo>
                    <a:pt x="201" y="497"/>
                  </a:lnTo>
                  <a:lnTo>
                    <a:pt x="213" y="499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9808" y="503"/>
                  </a:lnTo>
                  <a:lnTo>
                    <a:pt x="9821" y="503"/>
                  </a:lnTo>
                  <a:lnTo>
                    <a:pt x="9834" y="502"/>
                  </a:lnTo>
                  <a:lnTo>
                    <a:pt x="9846" y="499"/>
                  </a:lnTo>
                  <a:lnTo>
                    <a:pt x="9858" y="497"/>
                  </a:lnTo>
                  <a:lnTo>
                    <a:pt x="9870" y="494"/>
                  </a:lnTo>
                  <a:lnTo>
                    <a:pt x="9882" y="491"/>
                  </a:lnTo>
                  <a:lnTo>
                    <a:pt x="9894" y="487"/>
                  </a:lnTo>
                  <a:lnTo>
                    <a:pt x="9905" y="483"/>
                  </a:lnTo>
                  <a:lnTo>
                    <a:pt x="9916" y="478"/>
                  </a:lnTo>
                  <a:lnTo>
                    <a:pt x="9927" y="472"/>
                  </a:lnTo>
                  <a:lnTo>
                    <a:pt x="9938" y="466"/>
                  </a:lnTo>
                  <a:lnTo>
                    <a:pt x="9948" y="460"/>
                  </a:lnTo>
                  <a:lnTo>
                    <a:pt x="9959" y="453"/>
                  </a:lnTo>
                  <a:lnTo>
                    <a:pt x="9968" y="445"/>
                  </a:lnTo>
                  <a:lnTo>
                    <a:pt x="9977" y="437"/>
                  </a:lnTo>
                  <a:lnTo>
                    <a:pt x="9986" y="429"/>
                  </a:lnTo>
                  <a:lnTo>
                    <a:pt x="9994" y="420"/>
                  </a:lnTo>
                  <a:lnTo>
                    <a:pt x="10002" y="411"/>
                  </a:lnTo>
                  <a:lnTo>
                    <a:pt x="10009" y="402"/>
                  </a:lnTo>
                  <a:lnTo>
                    <a:pt x="10016" y="392"/>
                  </a:lnTo>
                  <a:lnTo>
                    <a:pt x="10023" y="382"/>
                  </a:lnTo>
                  <a:lnTo>
                    <a:pt x="10029" y="371"/>
                  </a:lnTo>
                  <a:lnTo>
                    <a:pt x="10034" y="361"/>
                  </a:lnTo>
                  <a:lnTo>
                    <a:pt x="10039" y="349"/>
                  </a:lnTo>
                  <a:lnTo>
                    <a:pt x="10044" y="338"/>
                  </a:lnTo>
                  <a:lnTo>
                    <a:pt x="10048" y="326"/>
                  </a:lnTo>
                  <a:lnTo>
                    <a:pt x="10051" y="314"/>
                  </a:lnTo>
                  <a:lnTo>
                    <a:pt x="10054" y="302"/>
                  </a:lnTo>
                  <a:lnTo>
                    <a:pt x="10056" y="289"/>
                  </a:lnTo>
                  <a:lnTo>
                    <a:pt x="10058" y="277"/>
                  </a:lnTo>
                  <a:lnTo>
                    <a:pt x="10059" y="264"/>
                  </a:lnTo>
                  <a:lnTo>
                    <a:pt x="10059" y="251"/>
                  </a:lnTo>
                  <a:lnTo>
                    <a:pt x="10059" y="238"/>
                  </a:lnTo>
                  <a:lnTo>
                    <a:pt x="10058" y="226"/>
                  </a:lnTo>
                  <a:lnTo>
                    <a:pt x="10056" y="213"/>
                  </a:lnTo>
                  <a:lnTo>
                    <a:pt x="10054" y="201"/>
                  </a:lnTo>
                  <a:lnTo>
                    <a:pt x="10051" y="189"/>
                  </a:lnTo>
                  <a:lnTo>
                    <a:pt x="10048" y="177"/>
                  </a:lnTo>
                  <a:lnTo>
                    <a:pt x="10044" y="165"/>
                  </a:lnTo>
                  <a:lnTo>
                    <a:pt x="10039" y="153"/>
                  </a:lnTo>
                  <a:lnTo>
                    <a:pt x="10034" y="142"/>
                  </a:lnTo>
                  <a:lnTo>
                    <a:pt x="10029" y="131"/>
                  </a:lnTo>
                  <a:lnTo>
                    <a:pt x="10023" y="121"/>
                  </a:lnTo>
                  <a:lnTo>
                    <a:pt x="10016" y="110"/>
                  </a:lnTo>
                  <a:lnTo>
                    <a:pt x="10009" y="101"/>
                  </a:lnTo>
                  <a:lnTo>
                    <a:pt x="10002" y="91"/>
                  </a:lnTo>
                  <a:lnTo>
                    <a:pt x="9994" y="82"/>
                  </a:lnTo>
                  <a:lnTo>
                    <a:pt x="9986" y="73"/>
                  </a:lnTo>
                  <a:lnTo>
                    <a:pt x="9977" y="65"/>
                  </a:lnTo>
                  <a:lnTo>
                    <a:pt x="9968" y="57"/>
                  </a:lnTo>
                  <a:lnTo>
                    <a:pt x="9959" y="50"/>
                  </a:lnTo>
                  <a:lnTo>
                    <a:pt x="9948" y="43"/>
                  </a:lnTo>
                  <a:lnTo>
                    <a:pt x="9938" y="36"/>
                  </a:lnTo>
                  <a:lnTo>
                    <a:pt x="9927" y="30"/>
                  </a:lnTo>
                  <a:lnTo>
                    <a:pt x="9916" y="25"/>
                  </a:lnTo>
                  <a:lnTo>
                    <a:pt x="9905" y="20"/>
                  </a:lnTo>
                  <a:lnTo>
                    <a:pt x="9894" y="15"/>
                  </a:lnTo>
                  <a:lnTo>
                    <a:pt x="9882" y="11"/>
                  </a:lnTo>
                  <a:lnTo>
                    <a:pt x="9870" y="8"/>
                  </a:lnTo>
                  <a:lnTo>
                    <a:pt x="9858" y="5"/>
                  </a:lnTo>
                  <a:lnTo>
                    <a:pt x="9846" y="3"/>
                  </a:lnTo>
                  <a:lnTo>
                    <a:pt x="9834" y="1"/>
                  </a:lnTo>
                  <a:lnTo>
                    <a:pt x="9821" y="1"/>
                  </a:lnTo>
                  <a:lnTo>
                    <a:pt x="98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55" name="îsļiḍê">
              <a:extLst>
                <a:ext uri="{FF2B5EF4-FFF2-40B4-BE49-F238E27FC236}">
                  <a16:creationId xmlns:a16="http://schemas.microsoft.com/office/drawing/2014/main" id="{BE23FC33-E801-4D94-9296-C28309944AC5}"/>
                </a:ext>
              </a:extLst>
            </p:cNvPr>
            <p:cNvSpPr/>
            <p:nvPr/>
          </p:nvSpPr>
          <p:spPr bwMode="auto">
            <a:xfrm>
              <a:off x="8337102" y="2498660"/>
              <a:ext cx="144480" cy="6905"/>
            </a:xfrm>
            <a:custGeom>
              <a:avLst/>
              <a:gdLst>
                <a:gd name="T0" fmla="*/ 238 w 10059"/>
                <a:gd name="T1" fmla="*/ 0 h 503"/>
                <a:gd name="T2" fmla="*/ 201 w 10059"/>
                <a:gd name="T3" fmla="*/ 5 h 503"/>
                <a:gd name="T4" fmla="*/ 165 w 10059"/>
                <a:gd name="T5" fmla="*/ 16 h 503"/>
                <a:gd name="T6" fmla="*/ 132 w 10059"/>
                <a:gd name="T7" fmla="*/ 31 h 503"/>
                <a:gd name="T8" fmla="*/ 100 w 10059"/>
                <a:gd name="T9" fmla="*/ 51 h 503"/>
                <a:gd name="T10" fmla="*/ 73 w 10059"/>
                <a:gd name="T11" fmla="*/ 74 h 503"/>
                <a:gd name="T12" fmla="*/ 50 w 10059"/>
                <a:gd name="T13" fmla="*/ 102 h 503"/>
                <a:gd name="T14" fmla="*/ 30 w 10059"/>
                <a:gd name="T15" fmla="*/ 132 h 503"/>
                <a:gd name="T16" fmla="*/ 15 w 10059"/>
                <a:gd name="T17" fmla="*/ 165 h 503"/>
                <a:gd name="T18" fmla="*/ 5 w 10059"/>
                <a:gd name="T19" fmla="*/ 202 h 503"/>
                <a:gd name="T20" fmla="*/ 0 w 10059"/>
                <a:gd name="T21" fmla="*/ 239 h 503"/>
                <a:gd name="T22" fmla="*/ 1 w 10059"/>
                <a:gd name="T23" fmla="*/ 278 h 503"/>
                <a:gd name="T24" fmla="*/ 8 w 10059"/>
                <a:gd name="T25" fmla="*/ 315 h 503"/>
                <a:gd name="T26" fmla="*/ 20 w 10059"/>
                <a:gd name="T27" fmla="*/ 350 h 503"/>
                <a:gd name="T28" fmla="*/ 36 w 10059"/>
                <a:gd name="T29" fmla="*/ 383 h 503"/>
                <a:gd name="T30" fmla="*/ 57 w 10059"/>
                <a:gd name="T31" fmla="*/ 412 h 503"/>
                <a:gd name="T32" fmla="*/ 82 w 10059"/>
                <a:gd name="T33" fmla="*/ 438 h 503"/>
                <a:gd name="T34" fmla="*/ 110 w 10059"/>
                <a:gd name="T35" fmla="*/ 460 h 503"/>
                <a:gd name="T36" fmla="*/ 143 w 10059"/>
                <a:gd name="T37" fmla="*/ 478 h 503"/>
                <a:gd name="T38" fmla="*/ 177 w 10059"/>
                <a:gd name="T39" fmla="*/ 492 h 503"/>
                <a:gd name="T40" fmla="*/ 213 w 10059"/>
                <a:gd name="T41" fmla="*/ 500 h 503"/>
                <a:gd name="T42" fmla="*/ 251 w 10059"/>
                <a:gd name="T43" fmla="*/ 503 h 503"/>
                <a:gd name="T44" fmla="*/ 9834 w 10059"/>
                <a:gd name="T45" fmla="*/ 502 h 503"/>
                <a:gd name="T46" fmla="*/ 9870 w 10059"/>
                <a:gd name="T47" fmla="*/ 495 h 503"/>
                <a:gd name="T48" fmla="*/ 9905 w 10059"/>
                <a:gd name="T49" fmla="*/ 483 h 503"/>
                <a:gd name="T50" fmla="*/ 9938 w 10059"/>
                <a:gd name="T51" fmla="*/ 467 h 503"/>
                <a:gd name="T52" fmla="*/ 9968 w 10059"/>
                <a:gd name="T53" fmla="*/ 446 h 503"/>
                <a:gd name="T54" fmla="*/ 9994 w 10059"/>
                <a:gd name="T55" fmla="*/ 421 h 503"/>
                <a:gd name="T56" fmla="*/ 10016 w 10059"/>
                <a:gd name="T57" fmla="*/ 393 h 503"/>
                <a:gd name="T58" fmla="*/ 10034 w 10059"/>
                <a:gd name="T59" fmla="*/ 362 h 503"/>
                <a:gd name="T60" fmla="*/ 10048 w 10059"/>
                <a:gd name="T61" fmla="*/ 326 h 503"/>
                <a:gd name="T62" fmla="*/ 10056 w 10059"/>
                <a:gd name="T63" fmla="*/ 290 h 503"/>
                <a:gd name="T64" fmla="*/ 10059 w 10059"/>
                <a:gd name="T65" fmla="*/ 252 h 503"/>
                <a:gd name="T66" fmla="*/ 10056 w 10059"/>
                <a:gd name="T67" fmla="*/ 214 h 503"/>
                <a:gd name="T68" fmla="*/ 10048 w 10059"/>
                <a:gd name="T69" fmla="*/ 177 h 503"/>
                <a:gd name="T70" fmla="*/ 10034 w 10059"/>
                <a:gd name="T71" fmla="*/ 143 h 503"/>
                <a:gd name="T72" fmla="*/ 10016 w 10059"/>
                <a:gd name="T73" fmla="*/ 112 h 503"/>
                <a:gd name="T74" fmla="*/ 9994 w 10059"/>
                <a:gd name="T75" fmla="*/ 83 h 503"/>
                <a:gd name="T76" fmla="*/ 9968 w 10059"/>
                <a:gd name="T77" fmla="*/ 58 h 503"/>
                <a:gd name="T78" fmla="*/ 9938 w 10059"/>
                <a:gd name="T79" fmla="*/ 37 h 503"/>
                <a:gd name="T80" fmla="*/ 9905 w 10059"/>
                <a:gd name="T81" fmla="*/ 21 h 503"/>
                <a:gd name="T82" fmla="*/ 9870 w 10059"/>
                <a:gd name="T83" fmla="*/ 8 h 503"/>
                <a:gd name="T84" fmla="*/ 9834 w 10059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9" h="503">
                  <a:moveTo>
                    <a:pt x="9808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2"/>
                  </a:lnTo>
                  <a:lnTo>
                    <a:pt x="165" y="16"/>
                  </a:lnTo>
                  <a:lnTo>
                    <a:pt x="154" y="21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0" y="37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2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90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2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4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9808" y="503"/>
                  </a:lnTo>
                  <a:lnTo>
                    <a:pt x="9821" y="503"/>
                  </a:lnTo>
                  <a:lnTo>
                    <a:pt x="9834" y="502"/>
                  </a:lnTo>
                  <a:lnTo>
                    <a:pt x="9846" y="500"/>
                  </a:lnTo>
                  <a:lnTo>
                    <a:pt x="9858" y="498"/>
                  </a:lnTo>
                  <a:lnTo>
                    <a:pt x="9870" y="495"/>
                  </a:lnTo>
                  <a:lnTo>
                    <a:pt x="9882" y="492"/>
                  </a:lnTo>
                  <a:lnTo>
                    <a:pt x="9894" y="488"/>
                  </a:lnTo>
                  <a:lnTo>
                    <a:pt x="9905" y="483"/>
                  </a:lnTo>
                  <a:lnTo>
                    <a:pt x="9916" y="478"/>
                  </a:lnTo>
                  <a:lnTo>
                    <a:pt x="9927" y="473"/>
                  </a:lnTo>
                  <a:lnTo>
                    <a:pt x="9938" y="467"/>
                  </a:lnTo>
                  <a:lnTo>
                    <a:pt x="9948" y="460"/>
                  </a:lnTo>
                  <a:lnTo>
                    <a:pt x="9959" y="454"/>
                  </a:lnTo>
                  <a:lnTo>
                    <a:pt x="9968" y="446"/>
                  </a:lnTo>
                  <a:lnTo>
                    <a:pt x="9977" y="438"/>
                  </a:lnTo>
                  <a:lnTo>
                    <a:pt x="9986" y="430"/>
                  </a:lnTo>
                  <a:lnTo>
                    <a:pt x="9994" y="421"/>
                  </a:lnTo>
                  <a:lnTo>
                    <a:pt x="10002" y="412"/>
                  </a:lnTo>
                  <a:lnTo>
                    <a:pt x="10009" y="403"/>
                  </a:lnTo>
                  <a:lnTo>
                    <a:pt x="10016" y="393"/>
                  </a:lnTo>
                  <a:lnTo>
                    <a:pt x="10023" y="383"/>
                  </a:lnTo>
                  <a:lnTo>
                    <a:pt x="10029" y="372"/>
                  </a:lnTo>
                  <a:lnTo>
                    <a:pt x="10034" y="362"/>
                  </a:lnTo>
                  <a:lnTo>
                    <a:pt x="10039" y="350"/>
                  </a:lnTo>
                  <a:lnTo>
                    <a:pt x="10044" y="338"/>
                  </a:lnTo>
                  <a:lnTo>
                    <a:pt x="10048" y="326"/>
                  </a:lnTo>
                  <a:lnTo>
                    <a:pt x="10051" y="315"/>
                  </a:lnTo>
                  <a:lnTo>
                    <a:pt x="10054" y="302"/>
                  </a:lnTo>
                  <a:lnTo>
                    <a:pt x="10056" y="290"/>
                  </a:lnTo>
                  <a:lnTo>
                    <a:pt x="10058" y="278"/>
                  </a:lnTo>
                  <a:lnTo>
                    <a:pt x="10059" y="265"/>
                  </a:lnTo>
                  <a:lnTo>
                    <a:pt x="10059" y="252"/>
                  </a:lnTo>
                  <a:lnTo>
                    <a:pt x="10059" y="239"/>
                  </a:lnTo>
                  <a:lnTo>
                    <a:pt x="10058" y="227"/>
                  </a:lnTo>
                  <a:lnTo>
                    <a:pt x="10056" y="214"/>
                  </a:lnTo>
                  <a:lnTo>
                    <a:pt x="10054" y="202"/>
                  </a:lnTo>
                  <a:lnTo>
                    <a:pt x="10051" y="190"/>
                  </a:lnTo>
                  <a:lnTo>
                    <a:pt x="10048" y="177"/>
                  </a:lnTo>
                  <a:lnTo>
                    <a:pt x="10044" y="165"/>
                  </a:lnTo>
                  <a:lnTo>
                    <a:pt x="10039" y="154"/>
                  </a:lnTo>
                  <a:lnTo>
                    <a:pt x="10034" y="143"/>
                  </a:lnTo>
                  <a:lnTo>
                    <a:pt x="10029" y="132"/>
                  </a:lnTo>
                  <a:lnTo>
                    <a:pt x="10023" y="122"/>
                  </a:lnTo>
                  <a:lnTo>
                    <a:pt x="10016" y="112"/>
                  </a:lnTo>
                  <a:lnTo>
                    <a:pt x="10009" y="102"/>
                  </a:lnTo>
                  <a:lnTo>
                    <a:pt x="10002" y="92"/>
                  </a:lnTo>
                  <a:lnTo>
                    <a:pt x="9994" y="83"/>
                  </a:lnTo>
                  <a:lnTo>
                    <a:pt x="9986" y="74"/>
                  </a:lnTo>
                  <a:lnTo>
                    <a:pt x="9977" y="66"/>
                  </a:lnTo>
                  <a:lnTo>
                    <a:pt x="9968" y="58"/>
                  </a:lnTo>
                  <a:lnTo>
                    <a:pt x="9959" y="51"/>
                  </a:lnTo>
                  <a:lnTo>
                    <a:pt x="9948" y="44"/>
                  </a:lnTo>
                  <a:lnTo>
                    <a:pt x="9938" y="37"/>
                  </a:lnTo>
                  <a:lnTo>
                    <a:pt x="9927" y="31"/>
                  </a:lnTo>
                  <a:lnTo>
                    <a:pt x="9916" y="26"/>
                  </a:lnTo>
                  <a:lnTo>
                    <a:pt x="9905" y="21"/>
                  </a:lnTo>
                  <a:lnTo>
                    <a:pt x="9894" y="16"/>
                  </a:lnTo>
                  <a:lnTo>
                    <a:pt x="9882" y="12"/>
                  </a:lnTo>
                  <a:lnTo>
                    <a:pt x="9870" y="8"/>
                  </a:lnTo>
                  <a:lnTo>
                    <a:pt x="9858" y="5"/>
                  </a:lnTo>
                  <a:lnTo>
                    <a:pt x="9846" y="3"/>
                  </a:lnTo>
                  <a:lnTo>
                    <a:pt x="9834" y="1"/>
                  </a:lnTo>
                  <a:lnTo>
                    <a:pt x="9821" y="0"/>
                  </a:lnTo>
                  <a:lnTo>
                    <a:pt x="98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56" name="iṡḻïḓê">
              <a:extLst>
                <a:ext uri="{FF2B5EF4-FFF2-40B4-BE49-F238E27FC236}">
                  <a16:creationId xmlns:a16="http://schemas.microsoft.com/office/drawing/2014/main" id="{ED1CFC2F-7145-4945-BEB6-3EF6EDF24182}"/>
                </a:ext>
              </a:extLst>
            </p:cNvPr>
            <p:cNvSpPr/>
            <p:nvPr/>
          </p:nvSpPr>
          <p:spPr bwMode="auto">
            <a:xfrm>
              <a:off x="8337102" y="2397206"/>
              <a:ext cx="64804" cy="65335"/>
            </a:xfrm>
            <a:custGeom>
              <a:avLst/>
              <a:gdLst>
                <a:gd name="T0" fmla="*/ 3521 w 4526"/>
                <a:gd name="T1" fmla="*/ 3519 h 4525"/>
                <a:gd name="T2" fmla="*/ 503 w 4526"/>
                <a:gd name="T3" fmla="*/ 4525 h 4525"/>
                <a:gd name="T4" fmla="*/ 4075 w 4526"/>
                <a:gd name="T5" fmla="*/ 4522 h 4525"/>
                <a:gd name="T6" fmla="*/ 4149 w 4526"/>
                <a:gd name="T7" fmla="*/ 4508 h 4525"/>
                <a:gd name="T8" fmla="*/ 4220 w 4526"/>
                <a:gd name="T9" fmla="*/ 4485 h 4525"/>
                <a:gd name="T10" fmla="*/ 4284 w 4526"/>
                <a:gd name="T11" fmla="*/ 4452 h 4525"/>
                <a:gd name="T12" fmla="*/ 4343 w 4526"/>
                <a:gd name="T13" fmla="*/ 4410 h 4525"/>
                <a:gd name="T14" fmla="*/ 4396 w 4526"/>
                <a:gd name="T15" fmla="*/ 4360 h 4525"/>
                <a:gd name="T16" fmla="*/ 4441 w 4526"/>
                <a:gd name="T17" fmla="*/ 4302 h 4525"/>
                <a:gd name="T18" fmla="*/ 4477 w 4526"/>
                <a:gd name="T19" fmla="*/ 4240 h 4525"/>
                <a:gd name="T20" fmla="*/ 4504 w 4526"/>
                <a:gd name="T21" fmla="*/ 4172 h 4525"/>
                <a:gd name="T22" fmla="*/ 4520 w 4526"/>
                <a:gd name="T23" fmla="*/ 4098 h 4525"/>
                <a:gd name="T24" fmla="*/ 4526 w 4526"/>
                <a:gd name="T25" fmla="*/ 4022 h 4525"/>
                <a:gd name="T26" fmla="*/ 4523 w 4526"/>
                <a:gd name="T27" fmla="*/ 452 h 4525"/>
                <a:gd name="T28" fmla="*/ 4510 w 4526"/>
                <a:gd name="T29" fmla="*/ 377 h 4525"/>
                <a:gd name="T30" fmla="*/ 4487 w 4526"/>
                <a:gd name="T31" fmla="*/ 308 h 4525"/>
                <a:gd name="T32" fmla="*/ 4454 w 4526"/>
                <a:gd name="T33" fmla="*/ 242 h 4525"/>
                <a:gd name="T34" fmla="*/ 4412 w 4526"/>
                <a:gd name="T35" fmla="*/ 183 h 4525"/>
                <a:gd name="T36" fmla="*/ 4361 w 4526"/>
                <a:gd name="T37" fmla="*/ 131 h 4525"/>
                <a:gd name="T38" fmla="*/ 4305 w 4526"/>
                <a:gd name="T39" fmla="*/ 85 h 4525"/>
                <a:gd name="T40" fmla="*/ 4242 w 4526"/>
                <a:gd name="T41" fmla="*/ 49 h 4525"/>
                <a:gd name="T42" fmla="*/ 4173 w 4526"/>
                <a:gd name="T43" fmla="*/ 22 h 4525"/>
                <a:gd name="T44" fmla="*/ 4100 w 4526"/>
                <a:gd name="T45" fmla="*/ 6 h 4525"/>
                <a:gd name="T46" fmla="*/ 4024 w 4526"/>
                <a:gd name="T47" fmla="*/ 0 h 4525"/>
                <a:gd name="T48" fmla="*/ 451 w 4526"/>
                <a:gd name="T49" fmla="*/ 3 h 4525"/>
                <a:gd name="T50" fmla="*/ 377 w 4526"/>
                <a:gd name="T51" fmla="*/ 16 h 4525"/>
                <a:gd name="T52" fmla="*/ 307 w 4526"/>
                <a:gd name="T53" fmla="*/ 39 h 4525"/>
                <a:gd name="T54" fmla="*/ 242 w 4526"/>
                <a:gd name="T55" fmla="*/ 72 h 4525"/>
                <a:gd name="T56" fmla="*/ 183 w 4526"/>
                <a:gd name="T57" fmla="*/ 115 h 4525"/>
                <a:gd name="T58" fmla="*/ 131 w 4526"/>
                <a:gd name="T59" fmla="*/ 165 h 4525"/>
                <a:gd name="T60" fmla="*/ 85 w 4526"/>
                <a:gd name="T61" fmla="*/ 222 h 4525"/>
                <a:gd name="T62" fmla="*/ 49 w 4526"/>
                <a:gd name="T63" fmla="*/ 285 h 4525"/>
                <a:gd name="T64" fmla="*/ 22 w 4526"/>
                <a:gd name="T65" fmla="*/ 353 h 4525"/>
                <a:gd name="T66" fmla="*/ 6 w 4526"/>
                <a:gd name="T67" fmla="*/ 426 h 4525"/>
                <a:gd name="T68" fmla="*/ 0 w 4526"/>
                <a:gd name="T69" fmla="*/ 503 h 4525"/>
                <a:gd name="T70" fmla="*/ 3 w 4526"/>
                <a:gd name="T71" fmla="*/ 4073 h 4525"/>
                <a:gd name="T72" fmla="*/ 16 w 4526"/>
                <a:gd name="T73" fmla="*/ 4147 h 4525"/>
                <a:gd name="T74" fmla="*/ 39 w 4526"/>
                <a:gd name="T75" fmla="*/ 4218 h 4525"/>
                <a:gd name="T76" fmla="*/ 72 w 4526"/>
                <a:gd name="T77" fmla="*/ 4282 h 4525"/>
                <a:gd name="T78" fmla="*/ 114 w 4526"/>
                <a:gd name="T79" fmla="*/ 4342 h 4525"/>
                <a:gd name="T80" fmla="*/ 165 w 4526"/>
                <a:gd name="T81" fmla="*/ 4394 h 4525"/>
                <a:gd name="T82" fmla="*/ 221 w 4526"/>
                <a:gd name="T83" fmla="*/ 4439 h 4525"/>
                <a:gd name="T84" fmla="*/ 284 w 4526"/>
                <a:gd name="T85" fmla="*/ 4475 h 4525"/>
                <a:gd name="T86" fmla="*/ 353 w 4526"/>
                <a:gd name="T87" fmla="*/ 4501 h 4525"/>
                <a:gd name="T88" fmla="*/ 426 w 4526"/>
                <a:gd name="T89" fmla="*/ 4519 h 4525"/>
                <a:gd name="T90" fmla="*/ 503 w 4526"/>
                <a:gd name="T91" fmla="*/ 4525 h 4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526" h="4525">
                  <a:moveTo>
                    <a:pt x="1006" y="1004"/>
                  </a:moveTo>
                  <a:lnTo>
                    <a:pt x="3521" y="1004"/>
                  </a:lnTo>
                  <a:lnTo>
                    <a:pt x="3521" y="3519"/>
                  </a:lnTo>
                  <a:lnTo>
                    <a:pt x="1006" y="3519"/>
                  </a:lnTo>
                  <a:lnTo>
                    <a:pt x="1006" y="1004"/>
                  </a:lnTo>
                  <a:close/>
                  <a:moveTo>
                    <a:pt x="503" y="4525"/>
                  </a:moveTo>
                  <a:lnTo>
                    <a:pt x="4024" y="4525"/>
                  </a:lnTo>
                  <a:lnTo>
                    <a:pt x="4050" y="4524"/>
                  </a:lnTo>
                  <a:lnTo>
                    <a:pt x="4075" y="4522"/>
                  </a:lnTo>
                  <a:lnTo>
                    <a:pt x="4100" y="4519"/>
                  </a:lnTo>
                  <a:lnTo>
                    <a:pt x="4125" y="4515"/>
                  </a:lnTo>
                  <a:lnTo>
                    <a:pt x="4149" y="4508"/>
                  </a:lnTo>
                  <a:lnTo>
                    <a:pt x="4173" y="4501"/>
                  </a:lnTo>
                  <a:lnTo>
                    <a:pt x="4197" y="4494"/>
                  </a:lnTo>
                  <a:lnTo>
                    <a:pt x="4220" y="4485"/>
                  </a:lnTo>
                  <a:lnTo>
                    <a:pt x="4242" y="4475"/>
                  </a:lnTo>
                  <a:lnTo>
                    <a:pt x="4263" y="4464"/>
                  </a:lnTo>
                  <a:lnTo>
                    <a:pt x="4284" y="4452"/>
                  </a:lnTo>
                  <a:lnTo>
                    <a:pt x="4305" y="4439"/>
                  </a:lnTo>
                  <a:lnTo>
                    <a:pt x="4324" y="4425"/>
                  </a:lnTo>
                  <a:lnTo>
                    <a:pt x="4343" y="4410"/>
                  </a:lnTo>
                  <a:lnTo>
                    <a:pt x="4361" y="4394"/>
                  </a:lnTo>
                  <a:lnTo>
                    <a:pt x="4380" y="4378"/>
                  </a:lnTo>
                  <a:lnTo>
                    <a:pt x="4396" y="4360"/>
                  </a:lnTo>
                  <a:lnTo>
                    <a:pt x="4412" y="4342"/>
                  </a:lnTo>
                  <a:lnTo>
                    <a:pt x="4427" y="4322"/>
                  </a:lnTo>
                  <a:lnTo>
                    <a:pt x="4441" y="4302"/>
                  </a:lnTo>
                  <a:lnTo>
                    <a:pt x="4454" y="4282"/>
                  </a:lnTo>
                  <a:lnTo>
                    <a:pt x="4466" y="4261"/>
                  </a:lnTo>
                  <a:lnTo>
                    <a:pt x="4477" y="4240"/>
                  </a:lnTo>
                  <a:lnTo>
                    <a:pt x="4487" y="4218"/>
                  </a:lnTo>
                  <a:lnTo>
                    <a:pt x="4496" y="4195"/>
                  </a:lnTo>
                  <a:lnTo>
                    <a:pt x="4504" y="4172"/>
                  </a:lnTo>
                  <a:lnTo>
                    <a:pt x="4510" y="4147"/>
                  </a:lnTo>
                  <a:lnTo>
                    <a:pt x="4516" y="4123"/>
                  </a:lnTo>
                  <a:lnTo>
                    <a:pt x="4520" y="4098"/>
                  </a:lnTo>
                  <a:lnTo>
                    <a:pt x="4523" y="4073"/>
                  </a:lnTo>
                  <a:lnTo>
                    <a:pt x="4525" y="4048"/>
                  </a:lnTo>
                  <a:lnTo>
                    <a:pt x="4526" y="4022"/>
                  </a:lnTo>
                  <a:lnTo>
                    <a:pt x="4526" y="503"/>
                  </a:lnTo>
                  <a:lnTo>
                    <a:pt x="4525" y="477"/>
                  </a:lnTo>
                  <a:lnTo>
                    <a:pt x="4523" y="452"/>
                  </a:lnTo>
                  <a:lnTo>
                    <a:pt x="4520" y="426"/>
                  </a:lnTo>
                  <a:lnTo>
                    <a:pt x="4516" y="401"/>
                  </a:lnTo>
                  <a:lnTo>
                    <a:pt x="4510" y="377"/>
                  </a:lnTo>
                  <a:lnTo>
                    <a:pt x="4504" y="353"/>
                  </a:lnTo>
                  <a:lnTo>
                    <a:pt x="4496" y="330"/>
                  </a:lnTo>
                  <a:lnTo>
                    <a:pt x="4487" y="308"/>
                  </a:lnTo>
                  <a:lnTo>
                    <a:pt x="4477" y="285"/>
                  </a:lnTo>
                  <a:lnTo>
                    <a:pt x="4466" y="263"/>
                  </a:lnTo>
                  <a:lnTo>
                    <a:pt x="4454" y="242"/>
                  </a:lnTo>
                  <a:lnTo>
                    <a:pt x="4441" y="222"/>
                  </a:lnTo>
                  <a:lnTo>
                    <a:pt x="4427" y="202"/>
                  </a:lnTo>
                  <a:lnTo>
                    <a:pt x="4412" y="183"/>
                  </a:lnTo>
                  <a:lnTo>
                    <a:pt x="4396" y="165"/>
                  </a:lnTo>
                  <a:lnTo>
                    <a:pt x="4380" y="148"/>
                  </a:lnTo>
                  <a:lnTo>
                    <a:pt x="4361" y="131"/>
                  </a:lnTo>
                  <a:lnTo>
                    <a:pt x="4343" y="115"/>
                  </a:lnTo>
                  <a:lnTo>
                    <a:pt x="4324" y="99"/>
                  </a:lnTo>
                  <a:lnTo>
                    <a:pt x="4305" y="85"/>
                  </a:lnTo>
                  <a:lnTo>
                    <a:pt x="4284" y="72"/>
                  </a:lnTo>
                  <a:lnTo>
                    <a:pt x="4263" y="60"/>
                  </a:lnTo>
                  <a:lnTo>
                    <a:pt x="4242" y="49"/>
                  </a:lnTo>
                  <a:lnTo>
                    <a:pt x="4220" y="39"/>
                  </a:lnTo>
                  <a:lnTo>
                    <a:pt x="4197" y="30"/>
                  </a:lnTo>
                  <a:lnTo>
                    <a:pt x="4173" y="22"/>
                  </a:lnTo>
                  <a:lnTo>
                    <a:pt x="4149" y="16"/>
                  </a:lnTo>
                  <a:lnTo>
                    <a:pt x="4125" y="10"/>
                  </a:lnTo>
                  <a:lnTo>
                    <a:pt x="4100" y="6"/>
                  </a:lnTo>
                  <a:lnTo>
                    <a:pt x="4075" y="3"/>
                  </a:lnTo>
                  <a:lnTo>
                    <a:pt x="4050" y="1"/>
                  </a:lnTo>
                  <a:lnTo>
                    <a:pt x="4024" y="0"/>
                  </a:lnTo>
                  <a:lnTo>
                    <a:pt x="503" y="0"/>
                  </a:lnTo>
                  <a:lnTo>
                    <a:pt x="477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4" y="49"/>
                  </a:lnTo>
                  <a:lnTo>
                    <a:pt x="262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8"/>
                  </a:lnTo>
                  <a:lnTo>
                    <a:pt x="131" y="165"/>
                  </a:lnTo>
                  <a:lnTo>
                    <a:pt x="114" y="183"/>
                  </a:lnTo>
                  <a:lnTo>
                    <a:pt x="99" y="202"/>
                  </a:lnTo>
                  <a:lnTo>
                    <a:pt x="85" y="222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8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0" y="4022"/>
                  </a:lnTo>
                  <a:lnTo>
                    <a:pt x="1" y="4048"/>
                  </a:lnTo>
                  <a:lnTo>
                    <a:pt x="3" y="4073"/>
                  </a:lnTo>
                  <a:lnTo>
                    <a:pt x="6" y="4098"/>
                  </a:lnTo>
                  <a:lnTo>
                    <a:pt x="10" y="4123"/>
                  </a:lnTo>
                  <a:lnTo>
                    <a:pt x="16" y="4147"/>
                  </a:lnTo>
                  <a:lnTo>
                    <a:pt x="22" y="4172"/>
                  </a:lnTo>
                  <a:lnTo>
                    <a:pt x="30" y="4195"/>
                  </a:lnTo>
                  <a:lnTo>
                    <a:pt x="39" y="4218"/>
                  </a:lnTo>
                  <a:lnTo>
                    <a:pt x="49" y="4240"/>
                  </a:lnTo>
                  <a:lnTo>
                    <a:pt x="60" y="4261"/>
                  </a:lnTo>
                  <a:lnTo>
                    <a:pt x="72" y="4282"/>
                  </a:lnTo>
                  <a:lnTo>
                    <a:pt x="85" y="4302"/>
                  </a:lnTo>
                  <a:lnTo>
                    <a:pt x="99" y="4322"/>
                  </a:lnTo>
                  <a:lnTo>
                    <a:pt x="114" y="4342"/>
                  </a:lnTo>
                  <a:lnTo>
                    <a:pt x="131" y="4360"/>
                  </a:lnTo>
                  <a:lnTo>
                    <a:pt x="147" y="4378"/>
                  </a:lnTo>
                  <a:lnTo>
                    <a:pt x="165" y="4394"/>
                  </a:lnTo>
                  <a:lnTo>
                    <a:pt x="183" y="4410"/>
                  </a:lnTo>
                  <a:lnTo>
                    <a:pt x="202" y="4425"/>
                  </a:lnTo>
                  <a:lnTo>
                    <a:pt x="221" y="4439"/>
                  </a:lnTo>
                  <a:lnTo>
                    <a:pt x="242" y="4452"/>
                  </a:lnTo>
                  <a:lnTo>
                    <a:pt x="262" y="4464"/>
                  </a:lnTo>
                  <a:lnTo>
                    <a:pt x="284" y="4475"/>
                  </a:lnTo>
                  <a:lnTo>
                    <a:pt x="307" y="4485"/>
                  </a:lnTo>
                  <a:lnTo>
                    <a:pt x="330" y="4494"/>
                  </a:lnTo>
                  <a:lnTo>
                    <a:pt x="353" y="4501"/>
                  </a:lnTo>
                  <a:lnTo>
                    <a:pt x="377" y="4508"/>
                  </a:lnTo>
                  <a:lnTo>
                    <a:pt x="401" y="4515"/>
                  </a:lnTo>
                  <a:lnTo>
                    <a:pt x="426" y="4519"/>
                  </a:lnTo>
                  <a:lnTo>
                    <a:pt x="451" y="4522"/>
                  </a:lnTo>
                  <a:lnTo>
                    <a:pt x="477" y="4524"/>
                  </a:lnTo>
                  <a:lnTo>
                    <a:pt x="503" y="45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57" name="iṩḷîḓê">
              <a:extLst>
                <a:ext uri="{FF2B5EF4-FFF2-40B4-BE49-F238E27FC236}">
                  <a16:creationId xmlns:a16="http://schemas.microsoft.com/office/drawing/2014/main" id="{7923E032-0A0A-4FB1-B29C-018EEB61CA3B}"/>
                </a:ext>
              </a:extLst>
            </p:cNvPr>
            <p:cNvSpPr/>
            <p:nvPr/>
          </p:nvSpPr>
          <p:spPr bwMode="auto">
            <a:xfrm>
              <a:off x="7972072" y="2367656"/>
              <a:ext cx="238394" cy="347625"/>
            </a:xfrm>
            <a:custGeom>
              <a:avLst/>
              <a:gdLst>
                <a:gd name="T0" fmla="*/ 9581 w 11062"/>
                <a:gd name="T1" fmla="*/ 13339 h 16132"/>
                <a:gd name="T2" fmla="*/ 8775 w 11062"/>
                <a:gd name="T3" fmla="*/ 14325 h 16132"/>
                <a:gd name="T4" fmla="*/ 6999 w 11062"/>
                <a:gd name="T5" fmla="*/ 14980 h 16132"/>
                <a:gd name="T6" fmla="*/ 4346 w 11062"/>
                <a:gd name="T7" fmla="*/ 15077 h 16132"/>
                <a:gd name="T8" fmla="*/ 2649 w 11062"/>
                <a:gd name="T9" fmla="*/ 14454 h 16132"/>
                <a:gd name="T10" fmla="*/ 1519 w 11062"/>
                <a:gd name="T11" fmla="*/ 13302 h 16132"/>
                <a:gd name="T12" fmla="*/ 1023 w 11062"/>
                <a:gd name="T13" fmla="*/ 11870 h 16132"/>
                <a:gd name="T14" fmla="*/ 1038 w 11062"/>
                <a:gd name="T15" fmla="*/ 10686 h 16132"/>
                <a:gd name="T16" fmla="*/ 1161 w 11062"/>
                <a:gd name="T17" fmla="*/ 9659 h 16132"/>
                <a:gd name="T18" fmla="*/ 1368 w 11062"/>
                <a:gd name="T19" fmla="*/ 8565 h 16132"/>
                <a:gd name="T20" fmla="*/ 1751 w 11062"/>
                <a:gd name="T21" fmla="*/ 6782 h 16132"/>
                <a:gd name="T22" fmla="*/ 1969 w 11062"/>
                <a:gd name="T23" fmla="*/ 5444 h 16132"/>
                <a:gd name="T24" fmla="*/ 2066 w 11062"/>
                <a:gd name="T25" fmla="*/ 3973 h 16132"/>
                <a:gd name="T26" fmla="*/ 2442 w 11062"/>
                <a:gd name="T27" fmla="*/ 3510 h 16132"/>
                <a:gd name="T28" fmla="*/ 3378 w 11062"/>
                <a:gd name="T29" fmla="*/ 5418 h 16132"/>
                <a:gd name="T30" fmla="*/ 3921 w 11062"/>
                <a:gd name="T31" fmla="*/ 7026 h 16132"/>
                <a:gd name="T32" fmla="*/ 4134 w 11062"/>
                <a:gd name="T33" fmla="*/ 7893 h 16132"/>
                <a:gd name="T34" fmla="*/ 4981 w 11062"/>
                <a:gd name="T35" fmla="*/ 6640 h 16132"/>
                <a:gd name="T36" fmla="*/ 5652 w 11062"/>
                <a:gd name="T37" fmla="*/ 5541 h 16132"/>
                <a:gd name="T38" fmla="*/ 6048 w 11062"/>
                <a:gd name="T39" fmla="*/ 5124 h 16132"/>
                <a:gd name="T40" fmla="*/ 6276 w 11062"/>
                <a:gd name="T41" fmla="*/ 6127 h 16132"/>
                <a:gd name="T42" fmla="*/ 6449 w 11062"/>
                <a:gd name="T43" fmla="*/ 7550 h 16132"/>
                <a:gd name="T44" fmla="*/ 6532 w 11062"/>
                <a:gd name="T45" fmla="*/ 9200 h 16132"/>
                <a:gd name="T46" fmla="*/ 6940 w 11062"/>
                <a:gd name="T47" fmla="*/ 9209 h 16132"/>
                <a:gd name="T48" fmla="*/ 7692 w 11062"/>
                <a:gd name="T49" fmla="*/ 8420 h 16132"/>
                <a:gd name="T50" fmla="*/ 8583 w 11062"/>
                <a:gd name="T51" fmla="*/ 7268 h 16132"/>
                <a:gd name="T52" fmla="*/ 9393 w 11062"/>
                <a:gd name="T53" fmla="*/ 7890 h 16132"/>
                <a:gd name="T54" fmla="*/ 9897 w 11062"/>
                <a:gd name="T55" fmla="*/ 9499 h 16132"/>
                <a:gd name="T56" fmla="*/ 10055 w 11062"/>
                <a:gd name="T57" fmla="*/ 11059 h 16132"/>
                <a:gd name="T58" fmla="*/ 8546 w 11062"/>
                <a:gd name="T59" fmla="*/ 4537 h 16132"/>
                <a:gd name="T60" fmla="*/ 8332 w 11062"/>
                <a:gd name="T61" fmla="*/ 5604 h 16132"/>
                <a:gd name="T62" fmla="*/ 7919 w 11062"/>
                <a:gd name="T63" fmla="*/ 6448 h 16132"/>
                <a:gd name="T64" fmla="*/ 7572 w 11062"/>
                <a:gd name="T65" fmla="*/ 6944 h 16132"/>
                <a:gd name="T66" fmla="*/ 7322 w 11062"/>
                <a:gd name="T67" fmla="*/ 5677 h 16132"/>
                <a:gd name="T68" fmla="*/ 6610 w 11062"/>
                <a:gd name="T69" fmla="*/ 3988 h 16132"/>
                <a:gd name="T70" fmla="*/ 5839 w 11062"/>
                <a:gd name="T71" fmla="*/ 2871 h 16132"/>
                <a:gd name="T72" fmla="*/ 5524 w 11062"/>
                <a:gd name="T73" fmla="*/ 2624 h 16132"/>
                <a:gd name="T74" fmla="*/ 5435 w 11062"/>
                <a:gd name="T75" fmla="*/ 3254 h 16132"/>
                <a:gd name="T76" fmla="*/ 5137 w 11062"/>
                <a:gd name="T77" fmla="*/ 4285 h 16132"/>
                <a:gd name="T78" fmla="*/ 4503 w 11062"/>
                <a:gd name="T79" fmla="*/ 5519 h 16132"/>
                <a:gd name="T80" fmla="*/ 3295 w 11062"/>
                <a:gd name="T81" fmla="*/ 2924 h 16132"/>
                <a:gd name="T82" fmla="*/ 1805 w 11062"/>
                <a:gd name="T83" fmla="*/ 1110 h 16132"/>
                <a:gd name="T84" fmla="*/ 701 w 11062"/>
                <a:gd name="T85" fmla="*/ 145 h 16132"/>
                <a:gd name="T86" fmla="*/ 1011 w 11062"/>
                <a:gd name="T87" fmla="*/ 2771 h 16132"/>
                <a:gd name="T88" fmla="*/ 870 w 11062"/>
                <a:gd name="T89" fmla="*/ 6014 h 16132"/>
                <a:gd name="T90" fmla="*/ 290 w 11062"/>
                <a:gd name="T91" fmla="*/ 8820 h 16132"/>
                <a:gd name="T92" fmla="*/ 6 w 11062"/>
                <a:gd name="T93" fmla="*/ 11760 h 16132"/>
                <a:gd name="T94" fmla="*/ 554 w 11062"/>
                <a:gd name="T95" fmla="*/ 13649 h 16132"/>
                <a:gd name="T96" fmla="*/ 1906 w 11062"/>
                <a:gd name="T97" fmla="*/ 15167 h 16132"/>
                <a:gd name="T98" fmla="*/ 3939 w 11062"/>
                <a:gd name="T99" fmla="*/ 16031 h 16132"/>
                <a:gd name="T100" fmla="*/ 6884 w 11062"/>
                <a:gd name="T101" fmla="*/ 16016 h 16132"/>
                <a:gd name="T102" fmla="*/ 9121 w 11062"/>
                <a:gd name="T103" fmla="*/ 15301 h 16132"/>
                <a:gd name="T104" fmla="*/ 10305 w 11062"/>
                <a:gd name="T105" fmla="*/ 14100 h 16132"/>
                <a:gd name="T106" fmla="*/ 10866 w 11062"/>
                <a:gd name="T107" fmla="*/ 12606 h 16132"/>
                <a:gd name="T108" fmla="*/ 11039 w 11062"/>
                <a:gd name="T109" fmla="*/ 10358 h 16132"/>
                <a:gd name="T110" fmla="*/ 10527 w 11062"/>
                <a:gd name="T111" fmla="*/ 8031 h 16132"/>
                <a:gd name="T112" fmla="*/ 9405 w 11062"/>
                <a:gd name="T113" fmla="*/ 5745 h 16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062" h="16132">
                  <a:moveTo>
                    <a:pt x="9891" y="12362"/>
                  </a:moveTo>
                  <a:lnTo>
                    <a:pt x="9860" y="12483"/>
                  </a:lnTo>
                  <a:lnTo>
                    <a:pt x="9829" y="12606"/>
                  </a:lnTo>
                  <a:lnTo>
                    <a:pt x="9795" y="12729"/>
                  </a:lnTo>
                  <a:lnTo>
                    <a:pt x="9760" y="12852"/>
                  </a:lnTo>
                  <a:lnTo>
                    <a:pt x="9722" y="12975"/>
                  </a:lnTo>
                  <a:lnTo>
                    <a:pt x="9680" y="13097"/>
                  </a:lnTo>
                  <a:lnTo>
                    <a:pt x="9634" y="13219"/>
                  </a:lnTo>
                  <a:lnTo>
                    <a:pt x="9581" y="13339"/>
                  </a:lnTo>
                  <a:lnTo>
                    <a:pt x="9524" y="13458"/>
                  </a:lnTo>
                  <a:lnTo>
                    <a:pt x="9461" y="13576"/>
                  </a:lnTo>
                  <a:lnTo>
                    <a:pt x="9389" y="13691"/>
                  </a:lnTo>
                  <a:lnTo>
                    <a:pt x="9311" y="13805"/>
                  </a:lnTo>
                  <a:lnTo>
                    <a:pt x="9223" y="13915"/>
                  </a:lnTo>
                  <a:lnTo>
                    <a:pt x="9127" y="14023"/>
                  </a:lnTo>
                  <a:lnTo>
                    <a:pt x="9020" y="14128"/>
                  </a:lnTo>
                  <a:lnTo>
                    <a:pt x="8904" y="14228"/>
                  </a:lnTo>
                  <a:lnTo>
                    <a:pt x="8775" y="14325"/>
                  </a:lnTo>
                  <a:lnTo>
                    <a:pt x="8635" y="14419"/>
                  </a:lnTo>
                  <a:lnTo>
                    <a:pt x="8482" y="14508"/>
                  </a:lnTo>
                  <a:lnTo>
                    <a:pt x="8316" y="14591"/>
                  </a:lnTo>
                  <a:lnTo>
                    <a:pt x="8136" y="14670"/>
                  </a:lnTo>
                  <a:lnTo>
                    <a:pt x="7941" y="14744"/>
                  </a:lnTo>
                  <a:lnTo>
                    <a:pt x="7730" y="14812"/>
                  </a:lnTo>
                  <a:lnTo>
                    <a:pt x="7503" y="14875"/>
                  </a:lnTo>
                  <a:lnTo>
                    <a:pt x="7260" y="14930"/>
                  </a:lnTo>
                  <a:lnTo>
                    <a:pt x="6999" y="14980"/>
                  </a:lnTo>
                  <a:lnTo>
                    <a:pt x="6719" y="15023"/>
                  </a:lnTo>
                  <a:lnTo>
                    <a:pt x="6422" y="15058"/>
                  </a:lnTo>
                  <a:lnTo>
                    <a:pt x="6104" y="15086"/>
                  </a:lnTo>
                  <a:lnTo>
                    <a:pt x="5766" y="15107"/>
                  </a:lnTo>
                  <a:lnTo>
                    <a:pt x="5407" y="15120"/>
                  </a:lnTo>
                  <a:lnTo>
                    <a:pt x="5027" y="15124"/>
                  </a:lnTo>
                  <a:lnTo>
                    <a:pt x="4794" y="15119"/>
                  </a:lnTo>
                  <a:lnTo>
                    <a:pt x="4567" y="15103"/>
                  </a:lnTo>
                  <a:lnTo>
                    <a:pt x="4346" y="15077"/>
                  </a:lnTo>
                  <a:lnTo>
                    <a:pt x="4132" y="15042"/>
                  </a:lnTo>
                  <a:lnTo>
                    <a:pt x="3924" y="14998"/>
                  </a:lnTo>
                  <a:lnTo>
                    <a:pt x="3722" y="14944"/>
                  </a:lnTo>
                  <a:lnTo>
                    <a:pt x="3525" y="14882"/>
                  </a:lnTo>
                  <a:lnTo>
                    <a:pt x="3336" y="14811"/>
                  </a:lnTo>
                  <a:lnTo>
                    <a:pt x="3155" y="14734"/>
                  </a:lnTo>
                  <a:lnTo>
                    <a:pt x="2979" y="14648"/>
                  </a:lnTo>
                  <a:lnTo>
                    <a:pt x="2811" y="14554"/>
                  </a:lnTo>
                  <a:lnTo>
                    <a:pt x="2649" y="14454"/>
                  </a:lnTo>
                  <a:lnTo>
                    <a:pt x="2494" y="14347"/>
                  </a:lnTo>
                  <a:lnTo>
                    <a:pt x="2346" y="14235"/>
                  </a:lnTo>
                  <a:lnTo>
                    <a:pt x="2206" y="14117"/>
                  </a:lnTo>
                  <a:lnTo>
                    <a:pt x="2073" y="13992"/>
                  </a:lnTo>
                  <a:lnTo>
                    <a:pt x="1946" y="13863"/>
                  </a:lnTo>
                  <a:lnTo>
                    <a:pt x="1829" y="13729"/>
                  </a:lnTo>
                  <a:lnTo>
                    <a:pt x="1718" y="13590"/>
                  </a:lnTo>
                  <a:lnTo>
                    <a:pt x="1614" y="13448"/>
                  </a:lnTo>
                  <a:lnTo>
                    <a:pt x="1519" y="13302"/>
                  </a:lnTo>
                  <a:lnTo>
                    <a:pt x="1432" y="13152"/>
                  </a:lnTo>
                  <a:lnTo>
                    <a:pt x="1352" y="12998"/>
                  </a:lnTo>
                  <a:lnTo>
                    <a:pt x="1280" y="12843"/>
                  </a:lnTo>
                  <a:lnTo>
                    <a:pt x="1216" y="12685"/>
                  </a:lnTo>
                  <a:lnTo>
                    <a:pt x="1161" y="12524"/>
                  </a:lnTo>
                  <a:lnTo>
                    <a:pt x="1114" y="12363"/>
                  </a:lnTo>
                  <a:lnTo>
                    <a:pt x="1076" y="12200"/>
                  </a:lnTo>
                  <a:lnTo>
                    <a:pt x="1045" y="12035"/>
                  </a:lnTo>
                  <a:lnTo>
                    <a:pt x="1023" y="11870"/>
                  </a:lnTo>
                  <a:lnTo>
                    <a:pt x="1010" y="11706"/>
                  </a:lnTo>
                  <a:lnTo>
                    <a:pt x="1006" y="11540"/>
                  </a:lnTo>
                  <a:lnTo>
                    <a:pt x="1006" y="11414"/>
                  </a:lnTo>
                  <a:lnTo>
                    <a:pt x="1008" y="11289"/>
                  </a:lnTo>
                  <a:lnTo>
                    <a:pt x="1012" y="11166"/>
                  </a:lnTo>
                  <a:lnTo>
                    <a:pt x="1017" y="11044"/>
                  </a:lnTo>
                  <a:lnTo>
                    <a:pt x="1023" y="10924"/>
                  </a:lnTo>
                  <a:lnTo>
                    <a:pt x="1030" y="10804"/>
                  </a:lnTo>
                  <a:lnTo>
                    <a:pt x="1038" y="10686"/>
                  </a:lnTo>
                  <a:lnTo>
                    <a:pt x="1048" y="10568"/>
                  </a:lnTo>
                  <a:lnTo>
                    <a:pt x="1059" y="10453"/>
                  </a:lnTo>
                  <a:lnTo>
                    <a:pt x="1071" y="10337"/>
                  </a:lnTo>
                  <a:lnTo>
                    <a:pt x="1084" y="10222"/>
                  </a:lnTo>
                  <a:lnTo>
                    <a:pt x="1097" y="10108"/>
                  </a:lnTo>
                  <a:lnTo>
                    <a:pt x="1112" y="9995"/>
                  </a:lnTo>
                  <a:lnTo>
                    <a:pt x="1128" y="9883"/>
                  </a:lnTo>
                  <a:lnTo>
                    <a:pt x="1144" y="9771"/>
                  </a:lnTo>
                  <a:lnTo>
                    <a:pt x="1161" y="9659"/>
                  </a:lnTo>
                  <a:lnTo>
                    <a:pt x="1179" y="9548"/>
                  </a:lnTo>
                  <a:lnTo>
                    <a:pt x="1197" y="9438"/>
                  </a:lnTo>
                  <a:lnTo>
                    <a:pt x="1217" y="9328"/>
                  </a:lnTo>
                  <a:lnTo>
                    <a:pt x="1237" y="9218"/>
                  </a:lnTo>
                  <a:lnTo>
                    <a:pt x="1258" y="9110"/>
                  </a:lnTo>
                  <a:lnTo>
                    <a:pt x="1279" y="9001"/>
                  </a:lnTo>
                  <a:lnTo>
                    <a:pt x="1301" y="8892"/>
                  </a:lnTo>
                  <a:lnTo>
                    <a:pt x="1322" y="8783"/>
                  </a:lnTo>
                  <a:lnTo>
                    <a:pt x="1368" y="8565"/>
                  </a:lnTo>
                  <a:lnTo>
                    <a:pt x="1414" y="8348"/>
                  </a:lnTo>
                  <a:lnTo>
                    <a:pt x="1463" y="8130"/>
                  </a:lnTo>
                  <a:lnTo>
                    <a:pt x="1511" y="7911"/>
                  </a:lnTo>
                  <a:lnTo>
                    <a:pt x="1572" y="7631"/>
                  </a:lnTo>
                  <a:lnTo>
                    <a:pt x="1634" y="7351"/>
                  </a:lnTo>
                  <a:lnTo>
                    <a:pt x="1664" y="7210"/>
                  </a:lnTo>
                  <a:lnTo>
                    <a:pt x="1694" y="7068"/>
                  </a:lnTo>
                  <a:lnTo>
                    <a:pt x="1723" y="6926"/>
                  </a:lnTo>
                  <a:lnTo>
                    <a:pt x="1751" y="6782"/>
                  </a:lnTo>
                  <a:lnTo>
                    <a:pt x="1779" y="6638"/>
                  </a:lnTo>
                  <a:lnTo>
                    <a:pt x="1806" y="6493"/>
                  </a:lnTo>
                  <a:lnTo>
                    <a:pt x="1834" y="6347"/>
                  </a:lnTo>
                  <a:lnTo>
                    <a:pt x="1859" y="6200"/>
                  </a:lnTo>
                  <a:lnTo>
                    <a:pt x="1883" y="6051"/>
                  </a:lnTo>
                  <a:lnTo>
                    <a:pt x="1907" y="5901"/>
                  </a:lnTo>
                  <a:lnTo>
                    <a:pt x="1929" y="5750"/>
                  </a:lnTo>
                  <a:lnTo>
                    <a:pt x="1949" y="5598"/>
                  </a:lnTo>
                  <a:lnTo>
                    <a:pt x="1969" y="5444"/>
                  </a:lnTo>
                  <a:lnTo>
                    <a:pt x="1987" y="5287"/>
                  </a:lnTo>
                  <a:lnTo>
                    <a:pt x="2004" y="5130"/>
                  </a:lnTo>
                  <a:lnTo>
                    <a:pt x="2018" y="4971"/>
                  </a:lnTo>
                  <a:lnTo>
                    <a:pt x="2031" y="4809"/>
                  </a:lnTo>
                  <a:lnTo>
                    <a:pt x="2042" y="4646"/>
                  </a:lnTo>
                  <a:lnTo>
                    <a:pt x="2051" y="4482"/>
                  </a:lnTo>
                  <a:lnTo>
                    <a:pt x="2059" y="4314"/>
                  </a:lnTo>
                  <a:lnTo>
                    <a:pt x="2064" y="4145"/>
                  </a:lnTo>
                  <a:lnTo>
                    <a:pt x="2066" y="3973"/>
                  </a:lnTo>
                  <a:lnTo>
                    <a:pt x="2067" y="3798"/>
                  </a:lnTo>
                  <a:lnTo>
                    <a:pt x="2065" y="3622"/>
                  </a:lnTo>
                  <a:lnTo>
                    <a:pt x="2061" y="3443"/>
                  </a:lnTo>
                  <a:lnTo>
                    <a:pt x="2054" y="3261"/>
                  </a:lnTo>
                  <a:lnTo>
                    <a:pt x="2044" y="3076"/>
                  </a:lnTo>
                  <a:lnTo>
                    <a:pt x="2032" y="2890"/>
                  </a:lnTo>
                  <a:lnTo>
                    <a:pt x="2174" y="3093"/>
                  </a:lnTo>
                  <a:lnTo>
                    <a:pt x="2311" y="3300"/>
                  </a:lnTo>
                  <a:lnTo>
                    <a:pt x="2442" y="3510"/>
                  </a:lnTo>
                  <a:lnTo>
                    <a:pt x="2567" y="3722"/>
                  </a:lnTo>
                  <a:lnTo>
                    <a:pt x="2687" y="3935"/>
                  </a:lnTo>
                  <a:lnTo>
                    <a:pt x="2802" y="4150"/>
                  </a:lnTo>
                  <a:lnTo>
                    <a:pt x="2910" y="4365"/>
                  </a:lnTo>
                  <a:lnTo>
                    <a:pt x="3014" y="4578"/>
                  </a:lnTo>
                  <a:lnTo>
                    <a:pt x="3112" y="4792"/>
                  </a:lnTo>
                  <a:lnTo>
                    <a:pt x="3206" y="5003"/>
                  </a:lnTo>
                  <a:lnTo>
                    <a:pt x="3294" y="5213"/>
                  </a:lnTo>
                  <a:lnTo>
                    <a:pt x="3378" y="5418"/>
                  </a:lnTo>
                  <a:lnTo>
                    <a:pt x="3457" y="5620"/>
                  </a:lnTo>
                  <a:lnTo>
                    <a:pt x="3531" y="5818"/>
                  </a:lnTo>
                  <a:lnTo>
                    <a:pt x="3600" y="6011"/>
                  </a:lnTo>
                  <a:lnTo>
                    <a:pt x="3664" y="6198"/>
                  </a:lnTo>
                  <a:lnTo>
                    <a:pt x="3725" y="6379"/>
                  </a:lnTo>
                  <a:lnTo>
                    <a:pt x="3780" y="6553"/>
                  </a:lnTo>
                  <a:lnTo>
                    <a:pt x="3831" y="6719"/>
                  </a:lnTo>
                  <a:lnTo>
                    <a:pt x="3877" y="6877"/>
                  </a:lnTo>
                  <a:lnTo>
                    <a:pt x="3921" y="7026"/>
                  </a:lnTo>
                  <a:lnTo>
                    <a:pt x="3959" y="7166"/>
                  </a:lnTo>
                  <a:lnTo>
                    <a:pt x="3993" y="7295"/>
                  </a:lnTo>
                  <a:lnTo>
                    <a:pt x="4023" y="7414"/>
                  </a:lnTo>
                  <a:lnTo>
                    <a:pt x="4050" y="7521"/>
                  </a:lnTo>
                  <a:lnTo>
                    <a:pt x="4072" y="7615"/>
                  </a:lnTo>
                  <a:lnTo>
                    <a:pt x="4091" y="7697"/>
                  </a:lnTo>
                  <a:lnTo>
                    <a:pt x="4108" y="7766"/>
                  </a:lnTo>
                  <a:lnTo>
                    <a:pt x="4128" y="7860"/>
                  </a:lnTo>
                  <a:lnTo>
                    <a:pt x="4134" y="7893"/>
                  </a:lnTo>
                  <a:lnTo>
                    <a:pt x="4150" y="7869"/>
                  </a:lnTo>
                  <a:lnTo>
                    <a:pt x="4197" y="7804"/>
                  </a:lnTo>
                  <a:lnTo>
                    <a:pt x="4269" y="7699"/>
                  </a:lnTo>
                  <a:lnTo>
                    <a:pt x="4366" y="7560"/>
                  </a:lnTo>
                  <a:lnTo>
                    <a:pt x="4480" y="7392"/>
                  </a:lnTo>
                  <a:lnTo>
                    <a:pt x="4611" y="7200"/>
                  </a:lnTo>
                  <a:lnTo>
                    <a:pt x="4753" y="6987"/>
                  </a:lnTo>
                  <a:lnTo>
                    <a:pt x="4904" y="6758"/>
                  </a:lnTo>
                  <a:lnTo>
                    <a:pt x="4981" y="6640"/>
                  </a:lnTo>
                  <a:lnTo>
                    <a:pt x="5059" y="6519"/>
                  </a:lnTo>
                  <a:lnTo>
                    <a:pt x="5137" y="6396"/>
                  </a:lnTo>
                  <a:lnTo>
                    <a:pt x="5215" y="6273"/>
                  </a:lnTo>
                  <a:lnTo>
                    <a:pt x="5292" y="6149"/>
                  </a:lnTo>
                  <a:lnTo>
                    <a:pt x="5368" y="6025"/>
                  </a:lnTo>
                  <a:lnTo>
                    <a:pt x="5443" y="5901"/>
                  </a:lnTo>
                  <a:lnTo>
                    <a:pt x="5515" y="5779"/>
                  </a:lnTo>
                  <a:lnTo>
                    <a:pt x="5585" y="5659"/>
                  </a:lnTo>
                  <a:lnTo>
                    <a:pt x="5652" y="5541"/>
                  </a:lnTo>
                  <a:lnTo>
                    <a:pt x="5715" y="5426"/>
                  </a:lnTo>
                  <a:lnTo>
                    <a:pt x="5774" y="5315"/>
                  </a:lnTo>
                  <a:lnTo>
                    <a:pt x="5830" y="5208"/>
                  </a:lnTo>
                  <a:lnTo>
                    <a:pt x="5880" y="5106"/>
                  </a:lnTo>
                  <a:lnTo>
                    <a:pt x="5925" y="5008"/>
                  </a:lnTo>
                  <a:lnTo>
                    <a:pt x="5964" y="4916"/>
                  </a:lnTo>
                  <a:lnTo>
                    <a:pt x="5992" y="4978"/>
                  </a:lnTo>
                  <a:lnTo>
                    <a:pt x="6020" y="5046"/>
                  </a:lnTo>
                  <a:lnTo>
                    <a:pt x="6048" y="5124"/>
                  </a:lnTo>
                  <a:lnTo>
                    <a:pt x="6075" y="5209"/>
                  </a:lnTo>
                  <a:lnTo>
                    <a:pt x="6101" y="5300"/>
                  </a:lnTo>
                  <a:lnTo>
                    <a:pt x="6128" y="5399"/>
                  </a:lnTo>
                  <a:lnTo>
                    <a:pt x="6153" y="5505"/>
                  </a:lnTo>
                  <a:lnTo>
                    <a:pt x="6179" y="5617"/>
                  </a:lnTo>
                  <a:lnTo>
                    <a:pt x="6205" y="5736"/>
                  </a:lnTo>
                  <a:lnTo>
                    <a:pt x="6229" y="5861"/>
                  </a:lnTo>
                  <a:lnTo>
                    <a:pt x="6253" y="5991"/>
                  </a:lnTo>
                  <a:lnTo>
                    <a:pt x="6276" y="6127"/>
                  </a:lnTo>
                  <a:lnTo>
                    <a:pt x="6298" y="6267"/>
                  </a:lnTo>
                  <a:lnTo>
                    <a:pt x="6320" y="6413"/>
                  </a:lnTo>
                  <a:lnTo>
                    <a:pt x="6341" y="6564"/>
                  </a:lnTo>
                  <a:lnTo>
                    <a:pt x="6361" y="6719"/>
                  </a:lnTo>
                  <a:lnTo>
                    <a:pt x="6380" y="6878"/>
                  </a:lnTo>
                  <a:lnTo>
                    <a:pt x="6400" y="7041"/>
                  </a:lnTo>
                  <a:lnTo>
                    <a:pt x="6417" y="7208"/>
                  </a:lnTo>
                  <a:lnTo>
                    <a:pt x="6433" y="7377"/>
                  </a:lnTo>
                  <a:lnTo>
                    <a:pt x="6449" y="7550"/>
                  </a:lnTo>
                  <a:lnTo>
                    <a:pt x="6463" y="7726"/>
                  </a:lnTo>
                  <a:lnTo>
                    <a:pt x="6476" y="7904"/>
                  </a:lnTo>
                  <a:lnTo>
                    <a:pt x="6488" y="8085"/>
                  </a:lnTo>
                  <a:lnTo>
                    <a:pt x="6498" y="8268"/>
                  </a:lnTo>
                  <a:lnTo>
                    <a:pt x="6508" y="8451"/>
                  </a:lnTo>
                  <a:lnTo>
                    <a:pt x="6516" y="8637"/>
                  </a:lnTo>
                  <a:lnTo>
                    <a:pt x="6523" y="8824"/>
                  </a:lnTo>
                  <a:lnTo>
                    <a:pt x="6528" y="9012"/>
                  </a:lnTo>
                  <a:lnTo>
                    <a:pt x="6532" y="9200"/>
                  </a:lnTo>
                  <a:lnTo>
                    <a:pt x="6534" y="9390"/>
                  </a:lnTo>
                  <a:lnTo>
                    <a:pt x="6535" y="9578"/>
                  </a:lnTo>
                  <a:lnTo>
                    <a:pt x="6550" y="9565"/>
                  </a:lnTo>
                  <a:lnTo>
                    <a:pt x="6595" y="9528"/>
                  </a:lnTo>
                  <a:lnTo>
                    <a:pt x="6665" y="9465"/>
                  </a:lnTo>
                  <a:lnTo>
                    <a:pt x="6759" y="9380"/>
                  </a:lnTo>
                  <a:lnTo>
                    <a:pt x="6815" y="9329"/>
                  </a:lnTo>
                  <a:lnTo>
                    <a:pt x="6875" y="9272"/>
                  </a:lnTo>
                  <a:lnTo>
                    <a:pt x="6940" y="9209"/>
                  </a:lnTo>
                  <a:lnTo>
                    <a:pt x="7011" y="9142"/>
                  </a:lnTo>
                  <a:lnTo>
                    <a:pt x="7084" y="9069"/>
                  </a:lnTo>
                  <a:lnTo>
                    <a:pt x="7162" y="8991"/>
                  </a:lnTo>
                  <a:lnTo>
                    <a:pt x="7243" y="8908"/>
                  </a:lnTo>
                  <a:lnTo>
                    <a:pt x="7327" y="8819"/>
                  </a:lnTo>
                  <a:lnTo>
                    <a:pt x="7415" y="8726"/>
                  </a:lnTo>
                  <a:lnTo>
                    <a:pt x="7505" y="8629"/>
                  </a:lnTo>
                  <a:lnTo>
                    <a:pt x="7598" y="8527"/>
                  </a:lnTo>
                  <a:lnTo>
                    <a:pt x="7692" y="8420"/>
                  </a:lnTo>
                  <a:lnTo>
                    <a:pt x="7789" y="8308"/>
                  </a:lnTo>
                  <a:lnTo>
                    <a:pt x="7886" y="8192"/>
                  </a:lnTo>
                  <a:lnTo>
                    <a:pt x="7985" y="8072"/>
                  </a:lnTo>
                  <a:lnTo>
                    <a:pt x="8084" y="7948"/>
                  </a:lnTo>
                  <a:lnTo>
                    <a:pt x="8184" y="7820"/>
                  </a:lnTo>
                  <a:lnTo>
                    <a:pt x="8284" y="7688"/>
                  </a:lnTo>
                  <a:lnTo>
                    <a:pt x="8384" y="7552"/>
                  </a:lnTo>
                  <a:lnTo>
                    <a:pt x="8483" y="7412"/>
                  </a:lnTo>
                  <a:lnTo>
                    <a:pt x="8583" y="7268"/>
                  </a:lnTo>
                  <a:lnTo>
                    <a:pt x="8681" y="7121"/>
                  </a:lnTo>
                  <a:lnTo>
                    <a:pt x="8777" y="6971"/>
                  </a:lnTo>
                  <a:lnTo>
                    <a:pt x="8872" y="6817"/>
                  </a:lnTo>
                  <a:lnTo>
                    <a:pt x="8969" y="6995"/>
                  </a:lnTo>
                  <a:lnTo>
                    <a:pt x="9062" y="7174"/>
                  </a:lnTo>
                  <a:lnTo>
                    <a:pt x="9150" y="7352"/>
                  </a:lnTo>
                  <a:lnTo>
                    <a:pt x="9235" y="7532"/>
                  </a:lnTo>
                  <a:lnTo>
                    <a:pt x="9316" y="7710"/>
                  </a:lnTo>
                  <a:lnTo>
                    <a:pt x="9393" y="7890"/>
                  </a:lnTo>
                  <a:lnTo>
                    <a:pt x="9466" y="8069"/>
                  </a:lnTo>
                  <a:lnTo>
                    <a:pt x="9534" y="8248"/>
                  </a:lnTo>
                  <a:lnTo>
                    <a:pt x="9598" y="8428"/>
                  </a:lnTo>
                  <a:lnTo>
                    <a:pt x="9659" y="8607"/>
                  </a:lnTo>
                  <a:lnTo>
                    <a:pt x="9715" y="8787"/>
                  </a:lnTo>
                  <a:lnTo>
                    <a:pt x="9767" y="8965"/>
                  </a:lnTo>
                  <a:lnTo>
                    <a:pt x="9814" y="9144"/>
                  </a:lnTo>
                  <a:lnTo>
                    <a:pt x="9858" y="9321"/>
                  </a:lnTo>
                  <a:lnTo>
                    <a:pt x="9897" y="9499"/>
                  </a:lnTo>
                  <a:lnTo>
                    <a:pt x="9932" y="9675"/>
                  </a:lnTo>
                  <a:lnTo>
                    <a:pt x="9963" y="9852"/>
                  </a:lnTo>
                  <a:lnTo>
                    <a:pt x="9989" y="10027"/>
                  </a:lnTo>
                  <a:lnTo>
                    <a:pt x="10011" y="10201"/>
                  </a:lnTo>
                  <a:lnTo>
                    <a:pt x="10029" y="10375"/>
                  </a:lnTo>
                  <a:lnTo>
                    <a:pt x="10042" y="10547"/>
                  </a:lnTo>
                  <a:lnTo>
                    <a:pt x="10051" y="10720"/>
                  </a:lnTo>
                  <a:lnTo>
                    <a:pt x="10055" y="10890"/>
                  </a:lnTo>
                  <a:lnTo>
                    <a:pt x="10055" y="11059"/>
                  </a:lnTo>
                  <a:lnTo>
                    <a:pt x="10051" y="11227"/>
                  </a:lnTo>
                  <a:lnTo>
                    <a:pt x="10042" y="11394"/>
                  </a:lnTo>
                  <a:lnTo>
                    <a:pt x="10028" y="11559"/>
                  </a:lnTo>
                  <a:lnTo>
                    <a:pt x="10009" y="11723"/>
                  </a:lnTo>
                  <a:lnTo>
                    <a:pt x="9986" y="11885"/>
                  </a:lnTo>
                  <a:lnTo>
                    <a:pt x="9959" y="12046"/>
                  </a:lnTo>
                  <a:lnTo>
                    <a:pt x="9927" y="12205"/>
                  </a:lnTo>
                  <a:lnTo>
                    <a:pt x="9891" y="12362"/>
                  </a:lnTo>
                  <a:close/>
                  <a:moveTo>
                    <a:pt x="8546" y="4537"/>
                  </a:moveTo>
                  <a:lnTo>
                    <a:pt x="8540" y="4663"/>
                  </a:lnTo>
                  <a:lnTo>
                    <a:pt x="8529" y="4787"/>
                  </a:lnTo>
                  <a:lnTo>
                    <a:pt x="8513" y="4910"/>
                  </a:lnTo>
                  <a:lnTo>
                    <a:pt x="8492" y="5031"/>
                  </a:lnTo>
                  <a:lnTo>
                    <a:pt x="8467" y="5150"/>
                  </a:lnTo>
                  <a:lnTo>
                    <a:pt x="8438" y="5267"/>
                  </a:lnTo>
                  <a:lnTo>
                    <a:pt x="8406" y="5382"/>
                  </a:lnTo>
                  <a:lnTo>
                    <a:pt x="8370" y="5494"/>
                  </a:lnTo>
                  <a:lnTo>
                    <a:pt x="8332" y="5604"/>
                  </a:lnTo>
                  <a:lnTo>
                    <a:pt x="8290" y="5712"/>
                  </a:lnTo>
                  <a:lnTo>
                    <a:pt x="8247" y="5816"/>
                  </a:lnTo>
                  <a:lnTo>
                    <a:pt x="8203" y="5916"/>
                  </a:lnTo>
                  <a:lnTo>
                    <a:pt x="8157" y="6014"/>
                  </a:lnTo>
                  <a:lnTo>
                    <a:pt x="8110" y="6108"/>
                  </a:lnTo>
                  <a:lnTo>
                    <a:pt x="8061" y="6199"/>
                  </a:lnTo>
                  <a:lnTo>
                    <a:pt x="8014" y="6286"/>
                  </a:lnTo>
                  <a:lnTo>
                    <a:pt x="7966" y="6369"/>
                  </a:lnTo>
                  <a:lnTo>
                    <a:pt x="7919" y="6448"/>
                  </a:lnTo>
                  <a:lnTo>
                    <a:pt x="7871" y="6522"/>
                  </a:lnTo>
                  <a:lnTo>
                    <a:pt x="7826" y="6593"/>
                  </a:lnTo>
                  <a:lnTo>
                    <a:pt x="7782" y="6658"/>
                  </a:lnTo>
                  <a:lnTo>
                    <a:pt x="7741" y="6719"/>
                  </a:lnTo>
                  <a:lnTo>
                    <a:pt x="7700" y="6774"/>
                  </a:lnTo>
                  <a:lnTo>
                    <a:pt x="7663" y="6825"/>
                  </a:lnTo>
                  <a:lnTo>
                    <a:pt x="7629" y="6870"/>
                  </a:lnTo>
                  <a:lnTo>
                    <a:pt x="7599" y="6911"/>
                  </a:lnTo>
                  <a:lnTo>
                    <a:pt x="7572" y="6944"/>
                  </a:lnTo>
                  <a:lnTo>
                    <a:pt x="7549" y="6972"/>
                  </a:lnTo>
                  <a:lnTo>
                    <a:pt x="7516" y="7011"/>
                  </a:lnTo>
                  <a:lnTo>
                    <a:pt x="7505" y="7024"/>
                  </a:lnTo>
                  <a:lnTo>
                    <a:pt x="7499" y="6791"/>
                  </a:lnTo>
                  <a:lnTo>
                    <a:pt x="7483" y="6560"/>
                  </a:lnTo>
                  <a:lnTo>
                    <a:pt x="7456" y="6334"/>
                  </a:lnTo>
                  <a:lnTo>
                    <a:pt x="7420" y="6110"/>
                  </a:lnTo>
                  <a:lnTo>
                    <a:pt x="7376" y="5891"/>
                  </a:lnTo>
                  <a:lnTo>
                    <a:pt x="7322" y="5677"/>
                  </a:lnTo>
                  <a:lnTo>
                    <a:pt x="7263" y="5468"/>
                  </a:lnTo>
                  <a:lnTo>
                    <a:pt x="7197" y="5262"/>
                  </a:lnTo>
                  <a:lnTo>
                    <a:pt x="7124" y="5062"/>
                  </a:lnTo>
                  <a:lnTo>
                    <a:pt x="7047" y="4868"/>
                  </a:lnTo>
                  <a:lnTo>
                    <a:pt x="6966" y="4679"/>
                  </a:lnTo>
                  <a:lnTo>
                    <a:pt x="6880" y="4497"/>
                  </a:lnTo>
                  <a:lnTo>
                    <a:pt x="6792" y="4320"/>
                  </a:lnTo>
                  <a:lnTo>
                    <a:pt x="6702" y="4151"/>
                  </a:lnTo>
                  <a:lnTo>
                    <a:pt x="6610" y="3988"/>
                  </a:lnTo>
                  <a:lnTo>
                    <a:pt x="6517" y="3832"/>
                  </a:lnTo>
                  <a:lnTo>
                    <a:pt x="6425" y="3683"/>
                  </a:lnTo>
                  <a:lnTo>
                    <a:pt x="6333" y="3542"/>
                  </a:lnTo>
                  <a:lnTo>
                    <a:pt x="6243" y="3409"/>
                  </a:lnTo>
                  <a:lnTo>
                    <a:pt x="6154" y="3284"/>
                  </a:lnTo>
                  <a:lnTo>
                    <a:pt x="6070" y="3168"/>
                  </a:lnTo>
                  <a:lnTo>
                    <a:pt x="5987" y="3060"/>
                  </a:lnTo>
                  <a:lnTo>
                    <a:pt x="5911" y="2961"/>
                  </a:lnTo>
                  <a:lnTo>
                    <a:pt x="5839" y="2871"/>
                  </a:lnTo>
                  <a:lnTo>
                    <a:pt x="5772" y="2792"/>
                  </a:lnTo>
                  <a:lnTo>
                    <a:pt x="5712" y="2721"/>
                  </a:lnTo>
                  <a:lnTo>
                    <a:pt x="5660" y="2661"/>
                  </a:lnTo>
                  <a:lnTo>
                    <a:pt x="5614" y="2611"/>
                  </a:lnTo>
                  <a:lnTo>
                    <a:pt x="5552" y="2544"/>
                  </a:lnTo>
                  <a:lnTo>
                    <a:pt x="5530" y="2521"/>
                  </a:lnTo>
                  <a:lnTo>
                    <a:pt x="5529" y="2538"/>
                  </a:lnTo>
                  <a:lnTo>
                    <a:pt x="5527" y="2588"/>
                  </a:lnTo>
                  <a:lnTo>
                    <a:pt x="5524" y="2624"/>
                  </a:lnTo>
                  <a:lnTo>
                    <a:pt x="5521" y="2669"/>
                  </a:lnTo>
                  <a:lnTo>
                    <a:pt x="5516" y="2719"/>
                  </a:lnTo>
                  <a:lnTo>
                    <a:pt x="5510" y="2778"/>
                  </a:lnTo>
                  <a:lnTo>
                    <a:pt x="5503" y="2842"/>
                  </a:lnTo>
                  <a:lnTo>
                    <a:pt x="5493" y="2913"/>
                  </a:lnTo>
                  <a:lnTo>
                    <a:pt x="5482" y="2989"/>
                  </a:lnTo>
                  <a:lnTo>
                    <a:pt x="5469" y="3072"/>
                  </a:lnTo>
                  <a:lnTo>
                    <a:pt x="5453" y="3161"/>
                  </a:lnTo>
                  <a:lnTo>
                    <a:pt x="5435" y="3254"/>
                  </a:lnTo>
                  <a:lnTo>
                    <a:pt x="5414" y="3352"/>
                  </a:lnTo>
                  <a:lnTo>
                    <a:pt x="5391" y="3455"/>
                  </a:lnTo>
                  <a:lnTo>
                    <a:pt x="5365" y="3563"/>
                  </a:lnTo>
                  <a:lnTo>
                    <a:pt x="5336" y="3674"/>
                  </a:lnTo>
                  <a:lnTo>
                    <a:pt x="5304" y="3790"/>
                  </a:lnTo>
                  <a:lnTo>
                    <a:pt x="5268" y="3909"/>
                  </a:lnTo>
                  <a:lnTo>
                    <a:pt x="5227" y="4031"/>
                  </a:lnTo>
                  <a:lnTo>
                    <a:pt x="5184" y="4156"/>
                  </a:lnTo>
                  <a:lnTo>
                    <a:pt x="5137" y="4285"/>
                  </a:lnTo>
                  <a:lnTo>
                    <a:pt x="5086" y="4415"/>
                  </a:lnTo>
                  <a:lnTo>
                    <a:pt x="5029" y="4548"/>
                  </a:lnTo>
                  <a:lnTo>
                    <a:pt x="4969" y="4683"/>
                  </a:lnTo>
                  <a:lnTo>
                    <a:pt x="4904" y="4819"/>
                  </a:lnTo>
                  <a:lnTo>
                    <a:pt x="4834" y="4958"/>
                  </a:lnTo>
                  <a:lnTo>
                    <a:pt x="4759" y="5097"/>
                  </a:lnTo>
                  <a:lnTo>
                    <a:pt x="4680" y="5237"/>
                  </a:lnTo>
                  <a:lnTo>
                    <a:pt x="4594" y="5378"/>
                  </a:lnTo>
                  <a:lnTo>
                    <a:pt x="4503" y="5519"/>
                  </a:lnTo>
                  <a:lnTo>
                    <a:pt x="4403" y="5195"/>
                  </a:lnTo>
                  <a:lnTo>
                    <a:pt x="4293" y="4878"/>
                  </a:lnTo>
                  <a:lnTo>
                    <a:pt x="4173" y="4571"/>
                  </a:lnTo>
                  <a:lnTo>
                    <a:pt x="4043" y="4274"/>
                  </a:lnTo>
                  <a:lnTo>
                    <a:pt x="3906" y="3985"/>
                  </a:lnTo>
                  <a:lnTo>
                    <a:pt x="3762" y="3705"/>
                  </a:lnTo>
                  <a:lnTo>
                    <a:pt x="3611" y="3435"/>
                  </a:lnTo>
                  <a:lnTo>
                    <a:pt x="3455" y="3175"/>
                  </a:lnTo>
                  <a:lnTo>
                    <a:pt x="3295" y="2924"/>
                  </a:lnTo>
                  <a:lnTo>
                    <a:pt x="3131" y="2683"/>
                  </a:lnTo>
                  <a:lnTo>
                    <a:pt x="2965" y="2451"/>
                  </a:lnTo>
                  <a:lnTo>
                    <a:pt x="2797" y="2229"/>
                  </a:lnTo>
                  <a:lnTo>
                    <a:pt x="2628" y="2018"/>
                  </a:lnTo>
                  <a:lnTo>
                    <a:pt x="2459" y="1816"/>
                  </a:lnTo>
                  <a:lnTo>
                    <a:pt x="2292" y="1624"/>
                  </a:lnTo>
                  <a:lnTo>
                    <a:pt x="2126" y="1443"/>
                  </a:lnTo>
                  <a:lnTo>
                    <a:pt x="1964" y="1271"/>
                  </a:lnTo>
                  <a:lnTo>
                    <a:pt x="1805" y="1110"/>
                  </a:lnTo>
                  <a:lnTo>
                    <a:pt x="1651" y="960"/>
                  </a:lnTo>
                  <a:lnTo>
                    <a:pt x="1503" y="820"/>
                  </a:lnTo>
                  <a:lnTo>
                    <a:pt x="1361" y="691"/>
                  </a:lnTo>
                  <a:lnTo>
                    <a:pt x="1227" y="573"/>
                  </a:lnTo>
                  <a:lnTo>
                    <a:pt x="1102" y="465"/>
                  </a:lnTo>
                  <a:lnTo>
                    <a:pt x="985" y="368"/>
                  </a:lnTo>
                  <a:lnTo>
                    <a:pt x="879" y="283"/>
                  </a:lnTo>
                  <a:lnTo>
                    <a:pt x="784" y="209"/>
                  </a:lnTo>
                  <a:lnTo>
                    <a:pt x="701" y="145"/>
                  </a:lnTo>
                  <a:lnTo>
                    <a:pt x="631" y="93"/>
                  </a:lnTo>
                  <a:lnTo>
                    <a:pt x="534" y="23"/>
                  </a:lnTo>
                  <a:lnTo>
                    <a:pt x="501" y="0"/>
                  </a:lnTo>
                  <a:lnTo>
                    <a:pt x="630" y="507"/>
                  </a:lnTo>
                  <a:lnTo>
                    <a:pt x="742" y="995"/>
                  </a:lnTo>
                  <a:lnTo>
                    <a:pt x="834" y="1464"/>
                  </a:lnTo>
                  <a:lnTo>
                    <a:pt x="910" y="1916"/>
                  </a:lnTo>
                  <a:lnTo>
                    <a:pt x="968" y="2351"/>
                  </a:lnTo>
                  <a:lnTo>
                    <a:pt x="1011" y="2771"/>
                  </a:lnTo>
                  <a:lnTo>
                    <a:pt x="1040" y="3176"/>
                  </a:lnTo>
                  <a:lnTo>
                    <a:pt x="1056" y="3567"/>
                  </a:lnTo>
                  <a:lnTo>
                    <a:pt x="1059" y="3946"/>
                  </a:lnTo>
                  <a:lnTo>
                    <a:pt x="1050" y="4313"/>
                  </a:lnTo>
                  <a:lnTo>
                    <a:pt x="1030" y="4671"/>
                  </a:lnTo>
                  <a:lnTo>
                    <a:pt x="1001" y="5018"/>
                  </a:lnTo>
                  <a:lnTo>
                    <a:pt x="965" y="5358"/>
                  </a:lnTo>
                  <a:lnTo>
                    <a:pt x="920" y="5690"/>
                  </a:lnTo>
                  <a:lnTo>
                    <a:pt x="870" y="6014"/>
                  </a:lnTo>
                  <a:lnTo>
                    <a:pt x="813" y="6335"/>
                  </a:lnTo>
                  <a:lnTo>
                    <a:pt x="753" y="6650"/>
                  </a:lnTo>
                  <a:lnTo>
                    <a:pt x="689" y="6962"/>
                  </a:lnTo>
                  <a:lnTo>
                    <a:pt x="622" y="7271"/>
                  </a:lnTo>
                  <a:lnTo>
                    <a:pt x="554" y="7580"/>
                  </a:lnTo>
                  <a:lnTo>
                    <a:pt x="486" y="7888"/>
                  </a:lnTo>
                  <a:lnTo>
                    <a:pt x="418" y="8197"/>
                  </a:lnTo>
                  <a:lnTo>
                    <a:pt x="353" y="8507"/>
                  </a:lnTo>
                  <a:lnTo>
                    <a:pt x="290" y="8820"/>
                  </a:lnTo>
                  <a:lnTo>
                    <a:pt x="229" y="9137"/>
                  </a:lnTo>
                  <a:lnTo>
                    <a:pt x="175" y="9457"/>
                  </a:lnTo>
                  <a:lnTo>
                    <a:pt x="126" y="9784"/>
                  </a:lnTo>
                  <a:lnTo>
                    <a:pt x="83" y="10118"/>
                  </a:lnTo>
                  <a:lnTo>
                    <a:pt x="48" y="10460"/>
                  </a:lnTo>
                  <a:lnTo>
                    <a:pt x="22" y="10809"/>
                  </a:lnTo>
                  <a:lnTo>
                    <a:pt x="6" y="11169"/>
                  </a:lnTo>
                  <a:lnTo>
                    <a:pt x="0" y="11540"/>
                  </a:lnTo>
                  <a:lnTo>
                    <a:pt x="6" y="11760"/>
                  </a:lnTo>
                  <a:lnTo>
                    <a:pt x="23" y="11980"/>
                  </a:lnTo>
                  <a:lnTo>
                    <a:pt x="51" y="12198"/>
                  </a:lnTo>
                  <a:lnTo>
                    <a:pt x="91" y="12414"/>
                  </a:lnTo>
                  <a:lnTo>
                    <a:pt x="142" y="12627"/>
                  </a:lnTo>
                  <a:lnTo>
                    <a:pt x="203" y="12838"/>
                  </a:lnTo>
                  <a:lnTo>
                    <a:pt x="275" y="13047"/>
                  </a:lnTo>
                  <a:lnTo>
                    <a:pt x="358" y="13251"/>
                  </a:lnTo>
                  <a:lnTo>
                    <a:pt x="450" y="13452"/>
                  </a:lnTo>
                  <a:lnTo>
                    <a:pt x="554" y="13649"/>
                  </a:lnTo>
                  <a:lnTo>
                    <a:pt x="666" y="13841"/>
                  </a:lnTo>
                  <a:lnTo>
                    <a:pt x="789" y="14028"/>
                  </a:lnTo>
                  <a:lnTo>
                    <a:pt x="922" y="14210"/>
                  </a:lnTo>
                  <a:lnTo>
                    <a:pt x="1063" y="14386"/>
                  </a:lnTo>
                  <a:lnTo>
                    <a:pt x="1213" y="14556"/>
                  </a:lnTo>
                  <a:lnTo>
                    <a:pt x="1374" y="14719"/>
                  </a:lnTo>
                  <a:lnTo>
                    <a:pt x="1542" y="14876"/>
                  </a:lnTo>
                  <a:lnTo>
                    <a:pt x="1720" y="15025"/>
                  </a:lnTo>
                  <a:lnTo>
                    <a:pt x="1906" y="15167"/>
                  </a:lnTo>
                  <a:lnTo>
                    <a:pt x="2101" y="15300"/>
                  </a:lnTo>
                  <a:lnTo>
                    <a:pt x="2303" y="15425"/>
                  </a:lnTo>
                  <a:lnTo>
                    <a:pt x="2514" y="15541"/>
                  </a:lnTo>
                  <a:lnTo>
                    <a:pt x="2733" y="15648"/>
                  </a:lnTo>
                  <a:lnTo>
                    <a:pt x="2960" y="15746"/>
                  </a:lnTo>
                  <a:lnTo>
                    <a:pt x="3193" y="15834"/>
                  </a:lnTo>
                  <a:lnTo>
                    <a:pt x="3434" y="15910"/>
                  </a:lnTo>
                  <a:lnTo>
                    <a:pt x="3683" y="15977"/>
                  </a:lnTo>
                  <a:lnTo>
                    <a:pt x="3939" y="16031"/>
                  </a:lnTo>
                  <a:lnTo>
                    <a:pt x="4201" y="16075"/>
                  </a:lnTo>
                  <a:lnTo>
                    <a:pt x="4469" y="16107"/>
                  </a:lnTo>
                  <a:lnTo>
                    <a:pt x="4745" y="16126"/>
                  </a:lnTo>
                  <a:lnTo>
                    <a:pt x="5027" y="16132"/>
                  </a:lnTo>
                  <a:lnTo>
                    <a:pt x="5439" y="16127"/>
                  </a:lnTo>
                  <a:lnTo>
                    <a:pt x="5830" y="16113"/>
                  </a:lnTo>
                  <a:lnTo>
                    <a:pt x="6201" y="16090"/>
                  </a:lnTo>
                  <a:lnTo>
                    <a:pt x="6551" y="16057"/>
                  </a:lnTo>
                  <a:lnTo>
                    <a:pt x="6884" y="16016"/>
                  </a:lnTo>
                  <a:lnTo>
                    <a:pt x="7198" y="15967"/>
                  </a:lnTo>
                  <a:lnTo>
                    <a:pt x="7494" y="15909"/>
                  </a:lnTo>
                  <a:lnTo>
                    <a:pt x="7774" y="15844"/>
                  </a:lnTo>
                  <a:lnTo>
                    <a:pt x="8036" y="15771"/>
                  </a:lnTo>
                  <a:lnTo>
                    <a:pt x="8282" y="15690"/>
                  </a:lnTo>
                  <a:lnTo>
                    <a:pt x="8514" y="15603"/>
                  </a:lnTo>
                  <a:lnTo>
                    <a:pt x="8731" y="15509"/>
                  </a:lnTo>
                  <a:lnTo>
                    <a:pt x="8933" y="15408"/>
                  </a:lnTo>
                  <a:lnTo>
                    <a:pt x="9121" y="15301"/>
                  </a:lnTo>
                  <a:lnTo>
                    <a:pt x="9297" y="15188"/>
                  </a:lnTo>
                  <a:lnTo>
                    <a:pt x="9461" y="15069"/>
                  </a:lnTo>
                  <a:lnTo>
                    <a:pt x="9611" y="14945"/>
                  </a:lnTo>
                  <a:lnTo>
                    <a:pt x="9752" y="14816"/>
                  </a:lnTo>
                  <a:lnTo>
                    <a:pt x="9882" y="14681"/>
                  </a:lnTo>
                  <a:lnTo>
                    <a:pt x="10001" y="14543"/>
                  </a:lnTo>
                  <a:lnTo>
                    <a:pt x="10111" y="14399"/>
                  </a:lnTo>
                  <a:lnTo>
                    <a:pt x="10213" y="14252"/>
                  </a:lnTo>
                  <a:lnTo>
                    <a:pt x="10305" y="14100"/>
                  </a:lnTo>
                  <a:lnTo>
                    <a:pt x="10390" y="13945"/>
                  </a:lnTo>
                  <a:lnTo>
                    <a:pt x="10468" y="13787"/>
                  </a:lnTo>
                  <a:lnTo>
                    <a:pt x="10540" y="13625"/>
                  </a:lnTo>
                  <a:lnTo>
                    <a:pt x="10606" y="13461"/>
                  </a:lnTo>
                  <a:lnTo>
                    <a:pt x="10666" y="13294"/>
                  </a:lnTo>
                  <a:lnTo>
                    <a:pt x="10721" y="13124"/>
                  </a:lnTo>
                  <a:lnTo>
                    <a:pt x="10772" y="12954"/>
                  </a:lnTo>
                  <a:lnTo>
                    <a:pt x="10821" y="12781"/>
                  </a:lnTo>
                  <a:lnTo>
                    <a:pt x="10866" y="12606"/>
                  </a:lnTo>
                  <a:lnTo>
                    <a:pt x="10921" y="12364"/>
                  </a:lnTo>
                  <a:lnTo>
                    <a:pt x="10967" y="12119"/>
                  </a:lnTo>
                  <a:lnTo>
                    <a:pt x="11004" y="11873"/>
                  </a:lnTo>
                  <a:lnTo>
                    <a:pt x="11032" y="11624"/>
                  </a:lnTo>
                  <a:lnTo>
                    <a:pt x="11051" y="11374"/>
                  </a:lnTo>
                  <a:lnTo>
                    <a:pt x="11061" y="11122"/>
                  </a:lnTo>
                  <a:lnTo>
                    <a:pt x="11062" y="10868"/>
                  </a:lnTo>
                  <a:lnTo>
                    <a:pt x="11055" y="10614"/>
                  </a:lnTo>
                  <a:lnTo>
                    <a:pt x="11039" y="10358"/>
                  </a:lnTo>
                  <a:lnTo>
                    <a:pt x="11015" y="10101"/>
                  </a:lnTo>
                  <a:lnTo>
                    <a:pt x="10982" y="9843"/>
                  </a:lnTo>
                  <a:lnTo>
                    <a:pt x="10941" y="9584"/>
                  </a:lnTo>
                  <a:lnTo>
                    <a:pt x="10892" y="9325"/>
                  </a:lnTo>
                  <a:lnTo>
                    <a:pt x="10835" y="9066"/>
                  </a:lnTo>
                  <a:lnTo>
                    <a:pt x="10769" y="8807"/>
                  </a:lnTo>
                  <a:lnTo>
                    <a:pt x="10696" y="8548"/>
                  </a:lnTo>
                  <a:lnTo>
                    <a:pt x="10616" y="8289"/>
                  </a:lnTo>
                  <a:lnTo>
                    <a:pt x="10527" y="8031"/>
                  </a:lnTo>
                  <a:lnTo>
                    <a:pt x="10432" y="7772"/>
                  </a:lnTo>
                  <a:lnTo>
                    <a:pt x="10328" y="7514"/>
                  </a:lnTo>
                  <a:lnTo>
                    <a:pt x="10218" y="7257"/>
                  </a:lnTo>
                  <a:lnTo>
                    <a:pt x="10100" y="7002"/>
                  </a:lnTo>
                  <a:lnTo>
                    <a:pt x="9974" y="6747"/>
                  </a:lnTo>
                  <a:lnTo>
                    <a:pt x="9843" y="6494"/>
                  </a:lnTo>
                  <a:lnTo>
                    <a:pt x="9704" y="6243"/>
                  </a:lnTo>
                  <a:lnTo>
                    <a:pt x="9558" y="5993"/>
                  </a:lnTo>
                  <a:lnTo>
                    <a:pt x="9405" y="5745"/>
                  </a:lnTo>
                  <a:lnTo>
                    <a:pt x="9246" y="5498"/>
                  </a:lnTo>
                  <a:lnTo>
                    <a:pt x="9081" y="5254"/>
                  </a:lnTo>
                  <a:lnTo>
                    <a:pt x="8909" y="5013"/>
                  </a:lnTo>
                  <a:lnTo>
                    <a:pt x="8730" y="4774"/>
                  </a:lnTo>
                  <a:lnTo>
                    <a:pt x="8546" y="45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58" name="iṣļídè">
              <a:extLst>
                <a:ext uri="{FF2B5EF4-FFF2-40B4-BE49-F238E27FC236}">
                  <a16:creationId xmlns:a16="http://schemas.microsoft.com/office/drawing/2014/main" id="{FC4EA6FB-A4AF-448E-8A71-CC9FDA5FE7D7}"/>
                </a:ext>
              </a:extLst>
            </p:cNvPr>
            <p:cNvSpPr/>
            <p:nvPr/>
          </p:nvSpPr>
          <p:spPr bwMode="auto">
            <a:xfrm>
              <a:off x="8011140" y="2515955"/>
              <a:ext cx="153880" cy="124380"/>
            </a:xfrm>
            <a:custGeom>
              <a:avLst/>
              <a:gdLst>
                <a:gd name="T0" fmla="*/ 6161 w 7135"/>
                <a:gd name="T1" fmla="*/ 2475 h 5775"/>
                <a:gd name="T2" fmla="*/ 5762 w 7135"/>
                <a:gd name="T3" fmla="*/ 2876 h 5775"/>
                <a:gd name="T4" fmla="*/ 5263 w 7135"/>
                <a:gd name="T5" fmla="*/ 3283 h 5775"/>
                <a:gd name="T6" fmla="*/ 4610 w 7135"/>
                <a:gd name="T7" fmla="*/ 3704 h 5775"/>
                <a:gd name="T8" fmla="*/ 4041 w 7135"/>
                <a:gd name="T9" fmla="*/ 3621 h 5775"/>
                <a:gd name="T10" fmla="*/ 3918 w 7135"/>
                <a:gd name="T11" fmla="*/ 3141 h 5775"/>
                <a:gd name="T12" fmla="*/ 3836 w 7135"/>
                <a:gd name="T13" fmla="*/ 2666 h 5775"/>
                <a:gd name="T14" fmla="*/ 3788 w 7135"/>
                <a:gd name="T15" fmla="*/ 2122 h 5775"/>
                <a:gd name="T16" fmla="*/ 2970 w 7135"/>
                <a:gd name="T17" fmla="*/ 2186 h 5775"/>
                <a:gd name="T18" fmla="*/ 2646 w 7135"/>
                <a:gd name="T19" fmla="*/ 2694 h 5775"/>
                <a:gd name="T20" fmla="*/ 2288 w 7135"/>
                <a:gd name="T21" fmla="*/ 3226 h 5775"/>
                <a:gd name="T22" fmla="*/ 1744 w 7135"/>
                <a:gd name="T23" fmla="*/ 2191 h 5775"/>
                <a:gd name="T24" fmla="*/ 1302 w 7135"/>
                <a:gd name="T25" fmla="*/ 1101 h 5775"/>
                <a:gd name="T26" fmla="*/ 523 w 7135"/>
                <a:gd name="T27" fmla="*/ 1126 h 5775"/>
                <a:gd name="T28" fmla="*/ 322 w 7135"/>
                <a:gd name="T29" fmla="*/ 1803 h 5775"/>
                <a:gd name="T30" fmla="*/ 155 w 7135"/>
                <a:gd name="T31" fmla="*/ 2614 h 5775"/>
                <a:gd name="T32" fmla="*/ 42 w 7135"/>
                <a:gd name="T33" fmla="*/ 3654 h 5775"/>
                <a:gd name="T34" fmla="*/ 0 w 7135"/>
                <a:gd name="T35" fmla="*/ 5018 h 5775"/>
                <a:gd name="T36" fmla="*/ 15 w 7135"/>
                <a:gd name="T37" fmla="*/ 5105 h 5775"/>
                <a:gd name="T38" fmla="*/ 57 w 7135"/>
                <a:gd name="T39" fmla="*/ 5179 h 5775"/>
                <a:gd name="T40" fmla="*/ 120 w 7135"/>
                <a:gd name="T41" fmla="*/ 5234 h 5775"/>
                <a:gd name="T42" fmla="*/ 201 w 7135"/>
                <a:gd name="T43" fmla="*/ 5265 h 5775"/>
                <a:gd name="T44" fmla="*/ 289 w 7135"/>
                <a:gd name="T45" fmla="*/ 5267 h 5775"/>
                <a:gd name="T46" fmla="*/ 370 w 7135"/>
                <a:gd name="T47" fmla="*/ 5240 h 5775"/>
                <a:gd name="T48" fmla="*/ 437 w 7135"/>
                <a:gd name="T49" fmla="*/ 5188 h 5775"/>
                <a:gd name="T50" fmla="*/ 482 w 7135"/>
                <a:gd name="T51" fmla="*/ 5117 h 5775"/>
                <a:gd name="T52" fmla="*/ 502 w 7135"/>
                <a:gd name="T53" fmla="*/ 5032 h 5775"/>
                <a:gd name="T54" fmla="*/ 520 w 7135"/>
                <a:gd name="T55" fmla="*/ 4087 h 5775"/>
                <a:gd name="T56" fmla="*/ 584 w 7135"/>
                <a:gd name="T57" fmla="*/ 3203 h 5775"/>
                <a:gd name="T58" fmla="*/ 685 w 7135"/>
                <a:gd name="T59" fmla="*/ 2490 h 5775"/>
                <a:gd name="T60" fmla="*/ 816 w 7135"/>
                <a:gd name="T61" fmla="*/ 1897 h 5775"/>
                <a:gd name="T62" fmla="*/ 1026 w 7135"/>
                <a:gd name="T63" fmla="*/ 1774 h 5775"/>
                <a:gd name="T64" fmla="*/ 1436 w 7135"/>
                <a:gd name="T65" fmla="*/ 2753 h 5775"/>
                <a:gd name="T66" fmla="*/ 1949 w 7135"/>
                <a:gd name="T67" fmla="*/ 3914 h 5775"/>
                <a:gd name="T68" fmla="*/ 2728 w 7135"/>
                <a:gd name="T69" fmla="*/ 3474 h 5775"/>
                <a:gd name="T70" fmla="*/ 3116 w 7135"/>
                <a:gd name="T71" fmla="*/ 2895 h 5775"/>
                <a:gd name="T72" fmla="*/ 3343 w 7135"/>
                <a:gd name="T73" fmla="*/ 2782 h 5775"/>
                <a:gd name="T74" fmla="*/ 3419 w 7135"/>
                <a:gd name="T75" fmla="*/ 3221 h 5775"/>
                <a:gd name="T76" fmla="*/ 3595 w 7135"/>
                <a:gd name="T77" fmla="*/ 3883 h 5775"/>
                <a:gd name="T78" fmla="*/ 4108 w 7135"/>
                <a:gd name="T79" fmla="*/ 4532 h 5775"/>
                <a:gd name="T80" fmla="*/ 4902 w 7135"/>
                <a:gd name="T81" fmla="*/ 4116 h 5775"/>
                <a:gd name="T82" fmla="*/ 5527 w 7135"/>
                <a:gd name="T83" fmla="*/ 3714 h 5775"/>
                <a:gd name="T84" fmla="*/ 6017 w 7135"/>
                <a:gd name="T85" fmla="*/ 3324 h 5775"/>
                <a:gd name="T86" fmla="*/ 6411 w 7135"/>
                <a:gd name="T87" fmla="*/ 2943 h 5775"/>
                <a:gd name="T88" fmla="*/ 6624 w 7135"/>
                <a:gd name="T89" fmla="*/ 2997 h 5775"/>
                <a:gd name="T90" fmla="*/ 6623 w 7135"/>
                <a:gd name="T91" fmla="*/ 3626 h 5775"/>
                <a:gd name="T92" fmla="*/ 6567 w 7135"/>
                <a:gd name="T93" fmla="*/ 4245 h 5775"/>
                <a:gd name="T94" fmla="*/ 6457 w 7135"/>
                <a:gd name="T95" fmla="*/ 4831 h 5775"/>
                <a:gd name="T96" fmla="*/ 6297 w 7135"/>
                <a:gd name="T97" fmla="*/ 5360 h 5775"/>
                <a:gd name="T98" fmla="*/ 6251 w 7135"/>
                <a:gd name="T99" fmla="*/ 5502 h 5775"/>
                <a:gd name="T100" fmla="*/ 6259 w 7135"/>
                <a:gd name="T101" fmla="*/ 5587 h 5775"/>
                <a:gd name="T102" fmla="*/ 6295 w 7135"/>
                <a:gd name="T103" fmla="*/ 5664 h 5775"/>
                <a:gd name="T104" fmla="*/ 6353 w 7135"/>
                <a:gd name="T105" fmla="*/ 5726 h 5775"/>
                <a:gd name="T106" fmla="*/ 6431 w 7135"/>
                <a:gd name="T107" fmla="*/ 5765 h 5775"/>
                <a:gd name="T108" fmla="*/ 6522 w 7135"/>
                <a:gd name="T109" fmla="*/ 5775 h 5775"/>
                <a:gd name="T110" fmla="*/ 6641 w 7135"/>
                <a:gd name="T111" fmla="*/ 5733 h 5775"/>
                <a:gd name="T112" fmla="*/ 6728 w 7135"/>
                <a:gd name="T113" fmla="*/ 5635 h 5775"/>
                <a:gd name="T114" fmla="*/ 6926 w 7135"/>
                <a:gd name="T115" fmla="*/ 5033 h 5775"/>
                <a:gd name="T116" fmla="*/ 7072 w 7135"/>
                <a:gd name="T117" fmla="*/ 4273 h 5775"/>
                <a:gd name="T118" fmla="*/ 7134 w 7135"/>
                <a:gd name="T119" fmla="*/ 3469 h 5775"/>
                <a:gd name="T120" fmla="*/ 7108 w 7135"/>
                <a:gd name="T121" fmla="*/ 2658 h 5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135" h="5775">
                  <a:moveTo>
                    <a:pt x="6940" y="1575"/>
                  </a:moveTo>
                  <a:lnTo>
                    <a:pt x="6513" y="2072"/>
                  </a:lnTo>
                  <a:lnTo>
                    <a:pt x="6413" y="2188"/>
                  </a:lnTo>
                  <a:lnTo>
                    <a:pt x="6314" y="2303"/>
                  </a:lnTo>
                  <a:lnTo>
                    <a:pt x="6263" y="2361"/>
                  </a:lnTo>
                  <a:lnTo>
                    <a:pt x="6212" y="2418"/>
                  </a:lnTo>
                  <a:lnTo>
                    <a:pt x="6161" y="2475"/>
                  </a:lnTo>
                  <a:lnTo>
                    <a:pt x="6108" y="2532"/>
                  </a:lnTo>
                  <a:lnTo>
                    <a:pt x="6053" y="2590"/>
                  </a:lnTo>
                  <a:lnTo>
                    <a:pt x="5999" y="2647"/>
                  </a:lnTo>
                  <a:lnTo>
                    <a:pt x="5942" y="2704"/>
                  </a:lnTo>
                  <a:lnTo>
                    <a:pt x="5883" y="2761"/>
                  </a:lnTo>
                  <a:lnTo>
                    <a:pt x="5824" y="2818"/>
                  </a:lnTo>
                  <a:lnTo>
                    <a:pt x="5762" y="2876"/>
                  </a:lnTo>
                  <a:lnTo>
                    <a:pt x="5698" y="2933"/>
                  </a:lnTo>
                  <a:lnTo>
                    <a:pt x="5632" y="2992"/>
                  </a:lnTo>
                  <a:lnTo>
                    <a:pt x="5564" y="3049"/>
                  </a:lnTo>
                  <a:lnTo>
                    <a:pt x="5492" y="3108"/>
                  </a:lnTo>
                  <a:lnTo>
                    <a:pt x="5419" y="3166"/>
                  </a:lnTo>
                  <a:lnTo>
                    <a:pt x="5343" y="3225"/>
                  </a:lnTo>
                  <a:lnTo>
                    <a:pt x="5263" y="3283"/>
                  </a:lnTo>
                  <a:lnTo>
                    <a:pt x="5181" y="3343"/>
                  </a:lnTo>
                  <a:lnTo>
                    <a:pt x="5094" y="3402"/>
                  </a:lnTo>
                  <a:lnTo>
                    <a:pt x="5005" y="3462"/>
                  </a:lnTo>
                  <a:lnTo>
                    <a:pt x="4912" y="3521"/>
                  </a:lnTo>
                  <a:lnTo>
                    <a:pt x="4815" y="3582"/>
                  </a:lnTo>
                  <a:lnTo>
                    <a:pt x="4714" y="3642"/>
                  </a:lnTo>
                  <a:lnTo>
                    <a:pt x="4610" y="3704"/>
                  </a:lnTo>
                  <a:lnTo>
                    <a:pt x="4500" y="3765"/>
                  </a:lnTo>
                  <a:lnTo>
                    <a:pt x="4387" y="3828"/>
                  </a:lnTo>
                  <a:lnTo>
                    <a:pt x="4268" y="3890"/>
                  </a:lnTo>
                  <a:lnTo>
                    <a:pt x="4145" y="3953"/>
                  </a:lnTo>
                  <a:lnTo>
                    <a:pt x="4110" y="3844"/>
                  </a:lnTo>
                  <a:lnTo>
                    <a:pt x="4075" y="3734"/>
                  </a:lnTo>
                  <a:lnTo>
                    <a:pt x="4041" y="3621"/>
                  </a:lnTo>
                  <a:lnTo>
                    <a:pt x="4008" y="3506"/>
                  </a:lnTo>
                  <a:lnTo>
                    <a:pt x="3991" y="3448"/>
                  </a:lnTo>
                  <a:lnTo>
                    <a:pt x="3976" y="3388"/>
                  </a:lnTo>
                  <a:lnTo>
                    <a:pt x="3961" y="3328"/>
                  </a:lnTo>
                  <a:lnTo>
                    <a:pt x="3946" y="3266"/>
                  </a:lnTo>
                  <a:lnTo>
                    <a:pt x="3931" y="3204"/>
                  </a:lnTo>
                  <a:lnTo>
                    <a:pt x="3918" y="3141"/>
                  </a:lnTo>
                  <a:lnTo>
                    <a:pt x="3904" y="3077"/>
                  </a:lnTo>
                  <a:lnTo>
                    <a:pt x="3891" y="3011"/>
                  </a:lnTo>
                  <a:lnTo>
                    <a:pt x="3879" y="2944"/>
                  </a:lnTo>
                  <a:lnTo>
                    <a:pt x="3867" y="2877"/>
                  </a:lnTo>
                  <a:lnTo>
                    <a:pt x="3856" y="2807"/>
                  </a:lnTo>
                  <a:lnTo>
                    <a:pt x="3846" y="2738"/>
                  </a:lnTo>
                  <a:lnTo>
                    <a:pt x="3836" y="2666"/>
                  </a:lnTo>
                  <a:lnTo>
                    <a:pt x="3827" y="2593"/>
                  </a:lnTo>
                  <a:lnTo>
                    <a:pt x="3819" y="2518"/>
                  </a:lnTo>
                  <a:lnTo>
                    <a:pt x="3811" y="2442"/>
                  </a:lnTo>
                  <a:lnTo>
                    <a:pt x="3803" y="2365"/>
                  </a:lnTo>
                  <a:lnTo>
                    <a:pt x="3797" y="2285"/>
                  </a:lnTo>
                  <a:lnTo>
                    <a:pt x="3792" y="2204"/>
                  </a:lnTo>
                  <a:lnTo>
                    <a:pt x="3788" y="2122"/>
                  </a:lnTo>
                  <a:lnTo>
                    <a:pt x="3785" y="2038"/>
                  </a:lnTo>
                  <a:lnTo>
                    <a:pt x="3782" y="1951"/>
                  </a:lnTo>
                  <a:lnTo>
                    <a:pt x="3781" y="1864"/>
                  </a:lnTo>
                  <a:lnTo>
                    <a:pt x="3780" y="1774"/>
                  </a:lnTo>
                  <a:lnTo>
                    <a:pt x="3780" y="912"/>
                  </a:lnTo>
                  <a:lnTo>
                    <a:pt x="3017" y="2111"/>
                  </a:lnTo>
                  <a:lnTo>
                    <a:pt x="2970" y="2186"/>
                  </a:lnTo>
                  <a:lnTo>
                    <a:pt x="2923" y="2261"/>
                  </a:lnTo>
                  <a:lnTo>
                    <a:pt x="2877" y="2334"/>
                  </a:lnTo>
                  <a:lnTo>
                    <a:pt x="2830" y="2407"/>
                  </a:lnTo>
                  <a:lnTo>
                    <a:pt x="2785" y="2479"/>
                  </a:lnTo>
                  <a:lnTo>
                    <a:pt x="2739" y="2550"/>
                  </a:lnTo>
                  <a:lnTo>
                    <a:pt x="2693" y="2622"/>
                  </a:lnTo>
                  <a:lnTo>
                    <a:pt x="2646" y="2694"/>
                  </a:lnTo>
                  <a:lnTo>
                    <a:pt x="2599" y="2766"/>
                  </a:lnTo>
                  <a:lnTo>
                    <a:pt x="2551" y="2840"/>
                  </a:lnTo>
                  <a:lnTo>
                    <a:pt x="2502" y="2913"/>
                  </a:lnTo>
                  <a:lnTo>
                    <a:pt x="2450" y="2989"/>
                  </a:lnTo>
                  <a:lnTo>
                    <a:pt x="2398" y="3066"/>
                  </a:lnTo>
                  <a:lnTo>
                    <a:pt x="2344" y="3145"/>
                  </a:lnTo>
                  <a:lnTo>
                    <a:pt x="2288" y="3226"/>
                  </a:lnTo>
                  <a:lnTo>
                    <a:pt x="2229" y="3308"/>
                  </a:lnTo>
                  <a:lnTo>
                    <a:pt x="2141" y="3108"/>
                  </a:lnTo>
                  <a:lnTo>
                    <a:pt x="2055" y="2913"/>
                  </a:lnTo>
                  <a:lnTo>
                    <a:pt x="1973" y="2724"/>
                  </a:lnTo>
                  <a:lnTo>
                    <a:pt x="1893" y="2541"/>
                  </a:lnTo>
                  <a:lnTo>
                    <a:pt x="1817" y="2364"/>
                  </a:lnTo>
                  <a:lnTo>
                    <a:pt x="1744" y="2191"/>
                  </a:lnTo>
                  <a:lnTo>
                    <a:pt x="1672" y="2023"/>
                  </a:lnTo>
                  <a:lnTo>
                    <a:pt x="1605" y="1861"/>
                  </a:lnTo>
                  <a:lnTo>
                    <a:pt x="1540" y="1701"/>
                  </a:lnTo>
                  <a:lnTo>
                    <a:pt x="1476" y="1546"/>
                  </a:lnTo>
                  <a:lnTo>
                    <a:pt x="1416" y="1395"/>
                  </a:lnTo>
                  <a:lnTo>
                    <a:pt x="1358" y="1247"/>
                  </a:lnTo>
                  <a:lnTo>
                    <a:pt x="1302" y="1101"/>
                  </a:lnTo>
                  <a:lnTo>
                    <a:pt x="1249" y="959"/>
                  </a:lnTo>
                  <a:lnTo>
                    <a:pt x="1197" y="819"/>
                  </a:lnTo>
                  <a:lnTo>
                    <a:pt x="1148" y="681"/>
                  </a:lnTo>
                  <a:lnTo>
                    <a:pt x="907" y="0"/>
                  </a:lnTo>
                  <a:lnTo>
                    <a:pt x="646" y="762"/>
                  </a:lnTo>
                  <a:lnTo>
                    <a:pt x="584" y="943"/>
                  </a:lnTo>
                  <a:lnTo>
                    <a:pt x="523" y="1126"/>
                  </a:lnTo>
                  <a:lnTo>
                    <a:pt x="493" y="1217"/>
                  </a:lnTo>
                  <a:lnTo>
                    <a:pt x="463" y="1311"/>
                  </a:lnTo>
                  <a:lnTo>
                    <a:pt x="434" y="1406"/>
                  </a:lnTo>
                  <a:lnTo>
                    <a:pt x="405" y="1502"/>
                  </a:lnTo>
                  <a:lnTo>
                    <a:pt x="377" y="1599"/>
                  </a:lnTo>
                  <a:lnTo>
                    <a:pt x="348" y="1700"/>
                  </a:lnTo>
                  <a:lnTo>
                    <a:pt x="322" y="1803"/>
                  </a:lnTo>
                  <a:lnTo>
                    <a:pt x="295" y="1908"/>
                  </a:lnTo>
                  <a:lnTo>
                    <a:pt x="270" y="2017"/>
                  </a:lnTo>
                  <a:lnTo>
                    <a:pt x="245" y="2129"/>
                  </a:lnTo>
                  <a:lnTo>
                    <a:pt x="221" y="2244"/>
                  </a:lnTo>
                  <a:lnTo>
                    <a:pt x="199" y="2363"/>
                  </a:lnTo>
                  <a:lnTo>
                    <a:pt x="176" y="2487"/>
                  </a:lnTo>
                  <a:lnTo>
                    <a:pt x="155" y="2614"/>
                  </a:lnTo>
                  <a:lnTo>
                    <a:pt x="135" y="2747"/>
                  </a:lnTo>
                  <a:lnTo>
                    <a:pt x="116" y="2884"/>
                  </a:lnTo>
                  <a:lnTo>
                    <a:pt x="99" y="3026"/>
                  </a:lnTo>
                  <a:lnTo>
                    <a:pt x="83" y="3174"/>
                  </a:lnTo>
                  <a:lnTo>
                    <a:pt x="68" y="3329"/>
                  </a:lnTo>
                  <a:lnTo>
                    <a:pt x="54" y="3488"/>
                  </a:lnTo>
                  <a:lnTo>
                    <a:pt x="42" y="3654"/>
                  </a:lnTo>
                  <a:lnTo>
                    <a:pt x="31" y="3828"/>
                  </a:lnTo>
                  <a:lnTo>
                    <a:pt x="22" y="4007"/>
                  </a:lnTo>
                  <a:lnTo>
                    <a:pt x="14" y="4194"/>
                  </a:lnTo>
                  <a:lnTo>
                    <a:pt x="8" y="4388"/>
                  </a:lnTo>
                  <a:lnTo>
                    <a:pt x="4" y="4590"/>
                  </a:lnTo>
                  <a:lnTo>
                    <a:pt x="1" y="4801"/>
                  </a:lnTo>
                  <a:lnTo>
                    <a:pt x="0" y="5018"/>
                  </a:lnTo>
                  <a:lnTo>
                    <a:pt x="0" y="5032"/>
                  </a:lnTo>
                  <a:lnTo>
                    <a:pt x="1" y="5045"/>
                  </a:lnTo>
                  <a:lnTo>
                    <a:pt x="3" y="5057"/>
                  </a:lnTo>
                  <a:lnTo>
                    <a:pt x="5" y="5070"/>
                  </a:lnTo>
                  <a:lnTo>
                    <a:pt x="8" y="5082"/>
                  </a:lnTo>
                  <a:lnTo>
                    <a:pt x="11" y="5094"/>
                  </a:lnTo>
                  <a:lnTo>
                    <a:pt x="15" y="5105"/>
                  </a:lnTo>
                  <a:lnTo>
                    <a:pt x="20" y="5117"/>
                  </a:lnTo>
                  <a:lnTo>
                    <a:pt x="25" y="5128"/>
                  </a:lnTo>
                  <a:lnTo>
                    <a:pt x="30" y="5138"/>
                  </a:lnTo>
                  <a:lnTo>
                    <a:pt x="36" y="5150"/>
                  </a:lnTo>
                  <a:lnTo>
                    <a:pt x="43" y="5160"/>
                  </a:lnTo>
                  <a:lnTo>
                    <a:pt x="50" y="5170"/>
                  </a:lnTo>
                  <a:lnTo>
                    <a:pt x="57" y="5179"/>
                  </a:lnTo>
                  <a:lnTo>
                    <a:pt x="65" y="5188"/>
                  </a:lnTo>
                  <a:lnTo>
                    <a:pt x="73" y="5197"/>
                  </a:lnTo>
                  <a:lnTo>
                    <a:pt x="82" y="5205"/>
                  </a:lnTo>
                  <a:lnTo>
                    <a:pt x="91" y="5213"/>
                  </a:lnTo>
                  <a:lnTo>
                    <a:pt x="100" y="5221"/>
                  </a:lnTo>
                  <a:lnTo>
                    <a:pt x="110" y="5228"/>
                  </a:lnTo>
                  <a:lnTo>
                    <a:pt x="120" y="5234"/>
                  </a:lnTo>
                  <a:lnTo>
                    <a:pt x="131" y="5240"/>
                  </a:lnTo>
                  <a:lnTo>
                    <a:pt x="141" y="5246"/>
                  </a:lnTo>
                  <a:lnTo>
                    <a:pt x="152" y="5251"/>
                  </a:lnTo>
                  <a:lnTo>
                    <a:pt x="164" y="5255"/>
                  </a:lnTo>
                  <a:lnTo>
                    <a:pt x="176" y="5259"/>
                  </a:lnTo>
                  <a:lnTo>
                    <a:pt x="188" y="5262"/>
                  </a:lnTo>
                  <a:lnTo>
                    <a:pt x="201" y="5265"/>
                  </a:lnTo>
                  <a:lnTo>
                    <a:pt x="213" y="5267"/>
                  </a:lnTo>
                  <a:lnTo>
                    <a:pt x="225" y="5270"/>
                  </a:lnTo>
                  <a:lnTo>
                    <a:pt x="238" y="5271"/>
                  </a:lnTo>
                  <a:lnTo>
                    <a:pt x="251" y="5271"/>
                  </a:lnTo>
                  <a:lnTo>
                    <a:pt x="264" y="5271"/>
                  </a:lnTo>
                  <a:lnTo>
                    <a:pt x="277" y="5270"/>
                  </a:lnTo>
                  <a:lnTo>
                    <a:pt x="289" y="5267"/>
                  </a:lnTo>
                  <a:lnTo>
                    <a:pt x="301" y="5265"/>
                  </a:lnTo>
                  <a:lnTo>
                    <a:pt x="313" y="5262"/>
                  </a:lnTo>
                  <a:lnTo>
                    <a:pt x="325" y="5259"/>
                  </a:lnTo>
                  <a:lnTo>
                    <a:pt x="337" y="5255"/>
                  </a:lnTo>
                  <a:lnTo>
                    <a:pt x="348" y="5251"/>
                  </a:lnTo>
                  <a:lnTo>
                    <a:pt x="359" y="5246"/>
                  </a:lnTo>
                  <a:lnTo>
                    <a:pt x="370" y="5240"/>
                  </a:lnTo>
                  <a:lnTo>
                    <a:pt x="382" y="5234"/>
                  </a:lnTo>
                  <a:lnTo>
                    <a:pt x="392" y="5228"/>
                  </a:lnTo>
                  <a:lnTo>
                    <a:pt x="402" y="5221"/>
                  </a:lnTo>
                  <a:lnTo>
                    <a:pt x="411" y="5213"/>
                  </a:lnTo>
                  <a:lnTo>
                    <a:pt x="420" y="5205"/>
                  </a:lnTo>
                  <a:lnTo>
                    <a:pt x="429" y="5197"/>
                  </a:lnTo>
                  <a:lnTo>
                    <a:pt x="437" y="5188"/>
                  </a:lnTo>
                  <a:lnTo>
                    <a:pt x="445" y="5179"/>
                  </a:lnTo>
                  <a:lnTo>
                    <a:pt x="452" y="5170"/>
                  </a:lnTo>
                  <a:lnTo>
                    <a:pt x="459" y="5160"/>
                  </a:lnTo>
                  <a:lnTo>
                    <a:pt x="466" y="5150"/>
                  </a:lnTo>
                  <a:lnTo>
                    <a:pt x="472" y="5138"/>
                  </a:lnTo>
                  <a:lnTo>
                    <a:pt x="477" y="5128"/>
                  </a:lnTo>
                  <a:lnTo>
                    <a:pt x="482" y="5117"/>
                  </a:lnTo>
                  <a:lnTo>
                    <a:pt x="487" y="5105"/>
                  </a:lnTo>
                  <a:lnTo>
                    <a:pt x="491" y="5094"/>
                  </a:lnTo>
                  <a:lnTo>
                    <a:pt x="494" y="5082"/>
                  </a:lnTo>
                  <a:lnTo>
                    <a:pt x="497" y="5070"/>
                  </a:lnTo>
                  <a:lnTo>
                    <a:pt x="499" y="5057"/>
                  </a:lnTo>
                  <a:lnTo>
                    <a:pt x="501" y="5045"/>
                  </a:lnTo>
                  <a:lnTo>
                    <a:pt x="502" y="5032"/>
                  </a:lnTo>
                  <a:lnTo>
                    <a:pt x="502" y="5018"/>
                  </a:lnTo>
                  <a:lnTo>
                    <a:pt x="503" y="4851"/>
                  </a:lnTo>
                  <a:lnTo>
                    <a:pt x="504" y="4688"/>
                  </a:lnTo>
                  <a:lnTo>
                    <a:pt x="507" y="4530"/>
                  </a:lnTo>
                  <a:lnTo>
                    <a:pt x="510" y="4378"/>
                  </a:lnTo>
                  <a:lnTo>
                    <a:pt x="515" y="4230"/>
                  </a:lnTo>
                  <a:lnTo>
                    <a:pt x="520" y="4087"/>
                  </a:lnTo>
                  <a:lnTo>
                    <a:pt x="527" y="3949"/>
                  </a:lnTo>
                  <a:lnTo>
                    <a:pt x="534" y="3814"/>
                  </a:lnTo>
                  <a:lnTo>
                    <a:pt x="542" y="3684"/>
                  </a:lnTo>
                  <a:lnTo>
                    <a:pt x="551" y="3557"/>
                  </a:lnTo>
                  <a:lnTo>
                    <a:pt x="562" y="3435"/>
                  </a:lnTo>
                  <a:lnTo>
                    <a:pt x="573" y="3318"/>
                  </a:lnTo>
                  <a:lnTo>
                    <a:pt x="584" y="3203"/>
                  </a:lnTo>
                  <a:lnTo>
                    <a:pt x="596" y="3092"/>
                  </a:lnTo>
                  <a:lnTo>
                    <a:pt x="609" y="2984"/>
                  </a:lnTo>
                  <a:lnTo>
                    <a:pt x="623" y="2879"/>
                  </a:lnTo>
                  <a:lnTo>
                    <a:pt x="637" y="2777"/>
                  </a:lnTo>
                  <a:lnTo>
                    <a:pt x="653" y="2678"/>
                  </a:lnTo>
                  <a:lnTo>
                    <a:pt x="668" y="2583"/>
                  </a:lnTo>
                  <a:lnTo>
                    <a:pt x="685" y="2490"/>
                  </a:lnTo>
                  <a:lnTo>
                    <a:pt x="702" y="2398"/>
                  </a:lnTo>
                  <a:lnTo>
                    <a:pt x="719" y="2310"/>
                  </a:lnTo>
                  <a:lnTo>
                    <a:pt x="737" y="2224"/>
                  </a:lnTo>
                  <a:lnTo>
                    <a:pt x="757" y="2139"/>
                  </a:lnTo>
                  <a:lnTo>
                    <a:pt x="776" y="2056"/>
                  </a:lnTo>
                  <a:lnTo>
                    <a:pt x="796" y="1976"/>
                  </a:lnTo>
                  <a:lnTo>
                    <a:pt x="816" y="1897"/>
                  </a:lnTo>
                  <a:lnTo>
                    <a:pt x="837" y="1819"/>
                  </a:lnTo>
                  <a:lnTo>
                    <a:pt x="858" y="1743"/>
                  </a:lnTo>
                  <a:lnTo>
                    <a:pt x="880" y="1667"/>
                  </a:lnTo>
                  <a:lnTo>
                    <a:pt x="902" y="1593"/>
                  </a:lnTo>
                  <a:lnTo>
                    <a:pt x="924" y="1520"/>
                  </a:lnTo>
                  <a:lnTo>
                    <a:pt x="975" y="1646"/>
                  </a:lnTo>
                  <a:lnTo>
                    <a:pt x="1026" y="1774"/>
                  </a:lnTo>
                  <a:lnTo>
                    <a:pt x="1079" y="1905"/>
                  </a:lnTo>
                  <a:lnTo>
                    <a:pt x="1134" y="2038"/>
                  </a:lnTo>
                  <a:lnTo>
                    <a:pt x="1191" y="2175"/>
                  </a:lnTo>
                  <a:lnTo>
                    <a:pt x="1249" y="2314"/>
                  </a:lnTo>
                  <a:lnTo>
                    <a:pt x="1309" y="2456"/>
                  </a:lnTo>
                  <a:lnTo>
                    <a:pt x="1372" y="2603"/>
                  </a:lnTo>
                  <a:lnTo>
                    <a:pt x="1436" y="2753"/>
                  </a:lnTo>
                  <a:lnTo>
                    <a:pt x="1503" y="2906"/>
                  </a:lnTo>
                  <a:lnTo>
                    <a:pt x="1572" y="3063"/>
                  </a:lnTo>
                  <a:lnTo>
                    <a:pt x="1642" y="3225"/>
                  </a:lnTo>
                  <a:lnTo>
                    <a:pt x="1716" y="3390"/>
                  </a:lnTo>
                  <a:lnTo>
                    <a:pt x="1791" y="3561"/>
                  </a:lnTo>
                  <a:lnTo>
                    <a:pt x="1868" y="3735"/>
                  </a:lnTo>
                  <a:lnTo>
                    <a:pt x="1949" y="3914"/>
                  </a:lnTo>
                  <a:lnTo>
                    <a:pt x="2126" y="4310"/>
                  </a:lnTo>
                  <a:lnTo>
                    <a:pt x="2381" y="3960"/>
                  </a:lnTo>
                  <a:lnTo>
                    <a:pt x="2456" y="3856"/>
                  </a:lnTo>
                  <a:lnTo>
                    <a:pt x="2530" y="3755"/>
                  </a:lnTo>
                  <a:lnTo>
                    <a:pt x="2599" y="3658"/>
                  </a:lnTo>
                  <a:lnTo>
                    <a:pt x="2665" y="3565"/>
                  </a:lnTo>
                  <a:lnTo>
                    <a:pt x="2728" y="3474"/>
                  </a:lnTo>
                  <a:lnTo>
                    <a:pt x="2789" y="3386"/>
                  </a:lnTo>
                  <a:lnTo>
                    <a:pt x="2847" y="3300"/>
                  </a:lnTo>
                  <a:lnTo>
                    <a:pt x="2904" y="3217"/>
                  </a:lnTo>
                  <a:lnTo>
                    <a:pt x="2959" y="3135"/>
                  </a:lnTo>
                  <a:lnTo>
                    <a:pt x="3012" y="3054"/>
                  </a:lnTo>
                  <a:lnTo>
                    <a:pt x="3065" y="2974"/>
                  </a:lnTo>
                  <a:lnTo>
                    <a:pt x="3116" y="2895"/>
                  </a:lnTo>
                  <a:lnTo>
                    <a:pt x="3166" y="2816"/>
                  </a:lnTo>
                  <a:lnTo>
                    <a:pt x="3216" y="2737"/>
                  </a:lnTo>
                  <a:lnTo>
                    <a:pt x="3268" y="2657"/>
                  </a:lnTo>
                  <a:lnTo>
                    <a:pt x="3318" y="2577"/>
                  </a:lnTo>
                  <a:lnTo>
                    <a:pt x="3326" y="2647"/>
                  </a:lnTo>
                  <a:lnTo>
                    <a:pt x="3334" y="2715"/>
                  </a:lnTo>
                  <a:lnTo>
                    <a:pt x="3343" y="2782"/>
                  </a:lnTo>
                  <a:lnTo>
                    <a:pt x="3353" y="2848"/>
                  </a:lnTo>
                  <a:lnTo>
                    <a:pt x="3362" y="2912"/>
                  </a:lnTo>
                  <a:lnTo>
                    <a:pt x="3373" y="2976"/>
                  </a:lnTo>
                  <a:lnTo>
                    <a:pt x="3384" y="3038"/>
                  </a:lnTo>
                  <a:lnTo>
                    <a:pt x="3395" y="3101"/>
                  </a:lnTo>
                  <a:lnTo>
                    <a:pt x="3407" y="3161"/>
                  </a:lnTo>
                  <a:lnTo>
                    <a:pt x="3419" y="3221"/>
                  </a:lnTo>
                  <a:lnTo>
                    <a:pt x="3433" y="3280"/>
                  </a:lnTo>
                  <a:lnTo>
                    <a:pt x="3446" y="3339"/>
                  </a:lnTo>
                  <a:lnTo>
                    <a:pt x="3474" y="3453"/>
                  </a:lnTo>
                  <a:lnTo>
                    <a:pt x="3502" y="3564"/>
                  </a:lnTo>
                  <a:lnTo>
                    <a:pt x="3532" y="3672"/>
                  </a:lnTo>
                  <a:lnTo>
                    <a:pt x="3563" y="3778"/>
                  </a:lnTo>
                  <a:lnTo>
                    <a:pt x="3595" y="3883"/>
                  </a:lnTo>
                  <a:lnTo>
                    <a:pt x="3628" y="3986"/>
                  </a:lnTo>
                  <a:lnTo>
                    <a:pt x="3661" y="4088"/>
                  </a:lnTo>
                  <a:lnTo>
                    <a:pt x="3695" y="4188"/>
                  </a:lnTo>
                  <a:lnTo>
                    <a:pt x="3729" y="4287"/>
                  </a:lnTo>
                  <a:lnTo>
                    <a:pt x="3763" y="4387"/>
                  </a:lnTo>
                  <a:lnTo>
                    <a:pt x="3854" y="4653"/>
                  </a:lnTo>
                  <a:lnTo>
                    <a:pt x="4108" y="4532"/>
                  </a:lnTo>
                  <a:lnTo>
                    <a:pt x="4234" y="4472"/>
                  </a:lnTo>
                  <a:lnTo>
                    <a:pt x="4354" y="4412"/>
                  </a:lnTo>
                  <a:lnTo>
                    <a:pt x="4472" y="4352"/>
                  </a:lnTo>
                  <a:lnTo>
                    <a:pt x="4585" y="4293"/>
                  </a:lnTo>
                  <a:lnTo>
                    <a:pt x="4694" y="4233"/>
                  </a:lnTo>
                  <a:lnTo>
                    <a:pt x="4801" y="4175"/>
                  </a:lnTo>
                  <a:lnTo>
                    <a:pt x="4902" y="4116"/>
                  </a:lnTo>
                  <a:lnTo>
                    <a:pt x="5001" y="4058"/>
                  </a:lnTo>
                  <a:lnTo>
                    <a:pt x="5096" y="4000"/>
                  </a:lnTo>
                  <a:lnTo>
                    <a:pt x="5189" y="3942"/>
                  </a:lnTo>
                  <a:lnTo>
                    <a:pt x="5277" y="3884"/>
                  </a:lnTo>
                  <a:lnTo>
                    <a:pt x="5364" y="3828"/>
                  </a:lnTo>
                  <a:lnTo>
                    <a:pt x="5446" y="3770"/>
                  </a:lnTo>
                  <a:lnTo>
                    <a:pt x="5527" y="3714"/>
                  </a:lnTo>
                  <a:lnTo>
                    <a:pt x="5604" y="3657"/>
                  </a:lnTo>
                  <a:lnTo>
                    <a:pt x="5678" y="3601"/>
                  </a:lnTo>
                  <a:lnTo>
                    <a:pt x="5751" y="3545"/>
                  </a:lnTo>
                  <a:lnTo>
                    <a:pt x="5820" y="3489"/>
                  </a:lnTo>
                  <a:lnTo>
                    <a:pt x="5888" y="3433"/>
                  </a:lnTo>
                  <a:lnTo>
                    <a:pt x="5954" y="3379"/>
                  </a:lnTo>
                  <a:lnTo>
                    <a:pt x="6017" y="3324"/>
                  </a:lnTo>
                  <a:lnTo>
                    <a:pt x="6078" y="3269"/>
                  </a:lnTo>
                  <a:lnTo>
                    <a:pt x="6138" y="3214"/>
                  </a:lnTo>
                  <a:lnTo>
                    <a:pt x="6195" y="3159"/>
                  </a:lnTo>
                  <a:lnTo>
                    <a:pt x="6251" y="3106"/>
                  </a:lnTo>
                  <a:lnTo>
                    <a:pt x="6307" y="3051"/>
                  </a:lnTo>
                  <a:lnTo>
                    <a:pt x="6360" y="2998"/>
                  </a:lnTo>
                  <a:lnTo>
                    <a:pt x="6411" y="2943"/>
                  </a:lnTo>
                  <a:lnTo>
                    <a:pt x="6462" y="2890"/>
                  </a:lnTo>
                  <a:lnTo>
                    <a:pt x="6512" y="2837"/>
                  </a:lnTo>
                  <a:lnTo>
                    <a:pt x="6560" y="2783"/>
                  </a:lnTo>
                  <a:lnTo>
                    <a:pt x="6608" y="2731"/>
                  </a:lnTo>
                  <a:lnTo>
                    <a:pt x="6615" y="2818"/>
                  </a:lnTo>
                  <a:lnTo>
                    <a:pt x="6620" y="2907"/>
                  </a:lnTo>
                  <a:lnTo>
                    <a:pt x="6624" y="2997"/>
                  </a:lnTo>
                  <a:lnTo>
                    <a:pt x="6628" y="3087"/>
                  </a:lnTo>
                  <a:lnTo>
                    <a:pt x="6630" y="3176"/>
                  </a:lnTo>
                  <a:lnTo>
                    <a:pt x="6631" y="3266"/>
                  </a:lnTo>
                  <a:lnTo>
                    <a:pt x="6630" y="3356"/>
                  </a:lnTo>
                  <a:lnTo>
                    <a:pt x="6629" y="3446"/>
                  </a:lnTo>
                  <a:lnTo>
                    <a:pt x="6627" y="3535"/>
                  </a:lnTo>
                  <a:lnTo>
                    <a:pt x="6623" y="3626"/>
                  </a:lnTo>
                  <a:lnTo>
                    <a:pt x="6618" y="3715"/>
                  </a:lnTo>
                  <a:lnTo>
                    <a:pt x="6612" y="3805"/>
                  </a:lnTo>
                  <a:lnTo>
                    <a:pt x="6605" y="3893"/>
                  </a:lnTo>
                  <a:lnTo>
                    <a:pt x="6597" y="3982"/>
                  </a:lnTo>
                  <a:lnTo>
                    <a:pt x="6588" y="4071"/>
                  </a:lnTo>
                  <a:lnTo>
                    <a:pt x="6578" y="4158"/>
                  </a:lnTo>
                  <a:lnTo>
                    <a:pt x="6567" y="4245"/>
                  </a:lnTo>
                  <a:lnTo>
                    <a:pt x="6554" y="4332"/>
                  </a:lnTo>
                  <a:lnTo>
                    <a:pt x="6541" y="4418"/>
                  </a:lnTo>
                  <a:lnTo>
                    <a:pt x="6526" y="4502"/>
                  </a:lnTo>
                  <a:lnTo>
                    <a:pt x="6511" y="4586"/>
                  </a:lnTo>
                  <a:lnTo>
                    <a:pt x="6494" y="4669"/>
                  </a:lnTo>
                  <a:lnTo>
                    <a:pt x="6476" y="4750"/>
                  </a:lnTo>
                  <a:lnTo>
                    <a:pt x="6457" y="4831"/>
                  </a:lnTo>
                  <a:lnTo>
                    <a:pt x="6437" y="4911"/>
                  </a:lnTo>
                  <a:lnTo>
                    <a:pt x="6416" y="4989"/>
                  </a:lnTo>
                  <a:lnTo>
                    <a:pt x="6394" y="5067"/>
                  </a:lnTo>
                  <a:lnTo>
                    <a:pt x="6371" y="5142"/>
                  </a:lnTo>
                  <a:lnTo>
                    <a:pt x="6347" y="5216"/>
                  </a:lnTo>
                  <a:lnTo>
                    <a:pt x="6322" y="5289"/>
                  </a:lnTo>
                  <a:lnTo>
                    <a:pt x="6297" y="5360"/>
                  </a:lnTo>
                  <a:lnTo>
                    <a:pt x="6269" y="5429"/>
                  </a:lnTo>
                  <a:lnTo>
                    <a:pt x="6264" y="5441"/>
                  </a:lnTo>
                  <a:lnTo>
                    <a:pt x="6260" y="5453"/>
                  </a:lnTo>
                  <a:lnTo>
                    <a:pt x="6257" y="5466"/>
                  </a:lnTo>
                  <a:lnTo>
                    <a:pt x="6255" y="5478"/>
                  </a:lnTo>
                  <a:lnTo>
                    <a:pt x="6253" y="5490"/>
                  </a:lnTo>
                  <a:lnTo>
                    <a:pt x="6251" y="5502"/>
                  </a:lnTo>
                  <a:lnTo>
                    <a:pt x="6251" y="5515"/>
                  </a:lnTo>
                  <a:lnTo>
                    <a:pt x="6251" y="5528"/>
                  </a:lnTo>
                  <a:lnTo>
                    <a:pt x="6251" y="5540"/>
                  </a:lnTo>
                  <a:lnTo>
                    <a:pt x="6252" y="5552"/>
                  </a:lnTo>
                  <a:lnTo>
                    <a:pt x="6254" y="5564"/>
                  </a:lnTo>
                  <a:lnTo>
                    <a:pt x="6256" y="5575"/>
                  </a:lnTo>
                  <a:lnTo>
                    <a:pt x="6259" y="5587"/>
                  </a:lnTo>
                  <a:lnTo>
                    <a:pt x="6263" y="5599"/>
                  </a:lnTo>
                  <a:lnTo>
                    <a:pt x="6266" y="5610"/>
                  </a:lnTo>
                  <a:lnTo>
                    <a:pt x="6271" y="5621"/>
                  </a:lnTo>
                  <a:lnTo>
                    <a:pt x="6276" y="5632"/>
                  </a:lnTo>
                  <a:lnTo>
                    <a:pt x="6281" y="5644"/>
                  </a:lnTo>
                  <a:lnTo>
                    <a:pt x="6288" y="5654"/>
                  </a:lnTo>
                  <a:lnTo>
                    <a:pt x="6295" y="5664"/>
                  </a:lnTo>
                  <a:lnTo>
                    <a:pt x="6302" y="5674"/>
                  </a:lnTo>
                  <a:lnTo>
                    <a:pt x="6309" y="5683"/>
                  </a:lnTo>
                  <a:lnTo>
                    <a:pt x="6317" y="5693"/>
                  </a:lnTo>
                  <a:lnTo>
                    <a:pt x="6326" y="5702"/>
                  </a:lnTo>
                  <a:lnTo>
                    <a:pt x="6334" y="5710"/>
                  </a:lnTo>
                  <a:lnTo>
                    <a:pt x="6344" y="5718"/>
                  </a:lnTo>
                  <a:lnTo>
                    <a:pt x="6353" y="5726"/>
                  </a:lnTo>
                  <a:lnTo>
                    <a:pt x="6364" y="5733"/>
                  </a:lnTo>
                  <a:lnTo>
                    <a:pt x="6374" y="5739"/>
                  </a:lnTo>
                  <a:lnTo>
                    <a:pt x="6385" y="5745"/>
                  </a:lnTo>
                  <a:lnTo>
                    <a:pt x="6396" y="5751"/>
                  </a:lnTo>
                  <a:lnTo>
                    <a:pt x="6408" y="5756"/>
                  </a:lnTo>
                  <a:lnTo>
                    <a:pt x="6420" y="5761"/>
                  </a:lnTo>
                  <a:lnTo>
                    <a:pt x="6431" y="5765"/>
                  </a:lnTo>
                  <a:lnTo>
                    <a:pt x="6443" y="5768"/>
                  </a:lnTo>
                  <a:lnTo>
                    <a:pt x="6455" y="5771"/>
                  </a:lnTo>
                  <a:lnTo>
                    <a:pt x="6467" y="5773"/>
                  </a:lnTo>
                  <a:lnTo>
                    <a:pt x="6480" y="5774"/>
                  </a:lnTo>
                  <a:lnTo>
                    <a:pt x="6491" y="5775"/>
                  </a:lnTo>
                  <a:lnTo>
                    <a:pt x="6503" y="5775"/>
                  </a:lnTo>
                  <a:lnTo>
                    <a:pt x="6522" y="5775"/>
                  </a:lnTo>
                  <a:lnTo>
                    <a:pt x="6540" y="5773"/>
                  </a:lnTo>
                  <a:lnTo>
                    <a:pt x="6558" y="5769"/>
                  </a:lnTo>
                  <a:lnTo>
                    <a:pt x="6576" y="5765"/>
                  </a:lnTo>
                  <a:lnTo>
                    <a:pt x="6593" y="5759"/>
                  </a:lnTo>
                  <a:lnTo>
                    <a:pt x="6610" y="5750"/>
                  </a:lnTo>
                  <a:lnTo>
                    <a:pt x="6626" y="5742"/>
                  </a:lnTo>
                  <a:lnTo>
                    <a:pt x="6641" y="5733"/>
                  </a:lnTo>
                  <a:lnTo>
                    <a:pt x="6656" y="5722"/>
                  </a:lnTo>
                  <a:lnTo>
                    <a:pt x="6671" y="5710"/>
                  </a:lnTo>
                  <a:lnTo>
                    <a:pt x="6685" y="5697"/>
                  </a:lnTo>
                  <a:lnTo>
                    <a:pt x="6697" y="5683"/>
                  </a:lnTo>
                  <a:lnTo>
                    <a:pt x="6708" y="5668"/>
                  </a:lnTo>
                  <a:lnTo>
                    <a:pt x="6719" y="5652"/>
                  </a:lnTo>
                  <a:lnTo>
                    <a:pt x="6728" y="5635"/>
                  </a:lnTo>
                  <a:lnTo>
                    <a:pt x="6736" y="5617"/>
                  </a:lnTo>
                  <a:lnTo>
                    <a:pt x="6771" y="5525"/>
                  </a:lnTo>
                  <a:lnTo>
                    <a:pt x="6805" y="5431"/>
                  </a:lnTo>
                  <a:lnTo>
                    <a:pt x="6838" y="5334"/>
                  </a:lnTo>
                  <a:lnTo>
                    <a:pt x="6869" y="5235"/>
                  </a:lnTo>
                  <a:lnTo>
                    <a:pt x="6898" y="5134"/>
                  </a:lnTo>
                  <a:lnTo>
                    <a:pt x="6926" y="5033"/>
                  </a:lnTo>
                  <a:lnTo>
                    <a:pt x="6952" y="4928"/>
                  </a:lnTo>
                  <a:lnTo>
                    <a:pt x="6976" y="4822"/>
                  </a:lnTo>
                  <a:lnTo>
                    <a:pt x="6998" y="4715"/>
                  </a:lnTo>
                  <a:lnTo>
                    <a:pt x="7019" y="4606"/>
                  </a:lnTo>
                  <a:lnTo>
                    <a:pt x="7038" y="4496"/>
                  </a:lnTo>
                  <a:lnTo>
                    <a:pt x="7057" y="4385"/>
                  </a:lnTo>
                  <a:lnTo>
                    <a:pt x="7072" y="4273"/>
                  </a:lnTo>
                  <a:lnTo>
                    <a:pt x="7086" y="4160"/>
                  </a:lnTo>
                  <a:lnTo>
                    <a:pt x="7099" y="4046"/>
                  </a:lnTo>
                  <a:lnTo>
                    <a:pt x="7109" y="3932"/>
                  </a:lnTo>
                  <a:lnTo>
                    <a:pt x="7118" y="3817"/>
                  </a:lnTo>
                  <a:lnTo>
                    <a:pt x="7125" y="3701"/>
                  </a:lnTo>
                  <a:lnTo>
                    <a:pt x="7130" y="3585"/>
                  </a:lnTo>
                  <a:lnTo>
                    <a:pt x="7134" y="3469"/>
                  </a:lnTo>
                  <a:lnTo>
                    <a:pt x="7135" y="3353"/>
                  </a:lnTo>
                  <a:lnTo>
                    <a:pt x="7135" y="3236"/>
                  </a:lnTo>
                  <a:lnTo>
                    <a:pt x="7133" y="3120"/>
                  </a:lnTo>
                  <a:lnTo>
                    <a:pt x="7130" y="3004"/>
                  </a:lnTo>
                  <a:lnTo>
                    <a:pt x="7124" y="2888"/>
                  </a:lnTo>
                  <a:lnTo>
                    <a:pt x="7117" y="2773"/>
                  </a:lnTo>
                  <a:lnTo>
                    <a:pt x="7108" y="2658"/>
                  </a:lnTo>
                  <a:lnTo>
                    <a:pt x="7097" y="2544"/>
                  </a:lnTo>
                  <a:lnTo>
                    <a:pt x="7084" y="2430"/>
                  </a:lnTo>
                  <a:lnTo>
                    <a:pt x="7069" y="2318"/>
                  </a:lnTo>
                  <a:lnTo>
                    <a:pt x="7052" y="2207"/>
                  </a:lnTo>
                  <a:lnTo>
                    <a:pt x="7033" y="2097"/>
                  </a:lnTo>
                  <a:lnTo>
                    <a:pt x="6940" y="15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59" name="iśliḍè">
              <a:extLst>
                <a:ext uri="{FF2B5EF4-FFF2-40B4-BE49-F238E27FC236}">
                  <a16:creationId xmlns:a16="http://schemas.microsoft.com/office/drawing/2014/main" id="{E6C7606D-640C-48A4-A64C-28AFB5AF2906}"/>
                </a:ext>
              </a:extLst>
            </p:cNvPr>
            <p:cNvSpPr/>
            <p:nvPr/>
          </p:nvSpPr>
          <p:spPr bwMode="auto">
            <a:xfrm>
              <a:off x="9865371" y="883005"/>
              <a:ext cx="464950" cy="466054"/>
            </a:xfrm>
            <a:custGeom>
              <a:avLst/>
              <a:gdLst>
                <a:gd name="T0" fmla="*/ 11438 w 16419"/>
                <a:gd name="T1" fmla="*/ 11992 h 16036"/>
                <a:gd name="T2" fmla="*/ 12051 w 16419"/>
                <a:gd name="T3" fmla="*/ 9611 h 16036"/>
                <a:gd name="T4" fmla="*/ 15080 w 16419"/>
                <a:gd name="T5" fmla="*/ 9931 h 16036"/>
                <a:gd name="T6" fmla="*/ 13248 w 16419"/>
                <a:gd name="T7" fmla="*/ 12967 h 16036"/>
                <a:gd name="T8" fmla="*/ 4590 w 16419"/>
                <a:gd name="T9" fmla="*/ 10655 h 16036"/>
                <a:gd name="T10" fmla="*/ 4429 w 16419"/>
                <a:gd name="T11" fmla="*/ 12231 h 16036"/>
                <a:gd name="T12" fmla="*/ 2147 w 16419"/>
                <a:gd name="T13" fmla="*/ 11712 h 16036"/>
                <a:gd name="T14" fmla="*/ 1073 w 16419"/>
                <a:gd name="T15" fmla="*/ 8277 h 16036"/>
                <a:gd name="T16" fmla="*/ 4139 w 16419"/>
                <a:gd name="T17" fmla="*/ 4183 h 16036"/>
                <a:gd name="T18" fmla="*/ 4533 w 16419"/>
                <a:gd name="T19" fmla="*/ 5582 h 16036"/>
                <a:gd name="T20" fmla="*/ 1073 w 16419"/>
                <a:gd name="T21" fmla="*/ 7759 h 16036"/>
                <a:gd name="T22" fmla="*/ 1997 w 16419"/>
                <a:gd name="T23" fmla="*/ 4578 h 16036"/>
                <a:gd name="T24" fmla="*/ 9313 w 16419"/>
                <a:gd name="T25" fmla="*/ 5095 h 16036"/>
                <a:gd name="T26" fmla="*/ 11066 w 16419"/>
                <a:gd name="T27" fmla="*/ 4695 h 16036"/>
                <a:gd name="T28" fmla="*/ 11565 w 16419"/>
                <a:gd name="T29" fmla="*/ 6759 h 16036"/>
                <a:gd name="T30" fmla="*/ 10152 w 16419"/>
                <a:gd name="T31" fmla="*/ 11598 h 16036"/>
                <a:gd name="T32" fmla="*/ 8474 w 16419"/>
                <a:gd name="T33" fmla="*/ 11394 h 16036"/>
                <a:gd name="T34" fmla="*/ 11313 w 16419"/>
                <a:gd name="T35" fmla="*/ 10543 h 16036"/>
                <a:gd name="T36" fmla="*/ 12142 w 16419"/>
                <a:gd name="T37" fmla="*/ 12889 h 16036"/>
                <a:gd name="T38" fmla="*/ 11354 w 16419"/>
                <a:gd name="T39" fmla="*/ 14282 h 16036"/>
                <a:gd name="T40" fmla="*/ 9710 w 16419"/>
                <a:gd name="T41" fmla="*/ 14564 h 16036"/>
                <a:gd name="T42" fmla="*/ 10935 w 16419"/>
                <a:gd name="T43" fmla="*/ 12871 h 16036"/>
                <a:gd name="T44" fmla="*/ 9524 w 16419"/>
                <a:gd name="T45" fmla="*/ 12005 h 16036"/>
                <a:gd name="T46" fmla="*/ 10393 w 16419"/>
                <a:gd name="T47" fmla="*/ 12757 h 16036"/>
                <a:gd name="T48" fmla="*/ 8904 w 16419"/>
                <a:gd name="T49" fmla="*/ 14636 h 16036"/>
                <a:gd name="T50" fmla="*/ 5284 w 16419"/>
                <a:gd name="T51" fmla="*/ 14382 h 16036"/>
                <a:gd name="T52" fmla="*/ 4071 w 16419"/>
                <a:gd name="T53" fmla="*/ 13005 h 16036"/>
                <a:gd name="T54" fmla="*/ 5783 w 16419"/>
                <a:gd name="T55" fmla="*/ 13367 h 16036"/>
                <a:gd name="T56" fmla="*/ 7945 w 16419"/>
                <a:gd name="T57" fmla="*/ 8277 h 16036"/>
                <a:gd name="T58" fmla="*/ 6342 w 16419"/>
                <a:gd name="T59" fmla="*/ 11582 h 16036"/>
                <a:gd name="T60" fmla="*/ 5136 w 16419"/>
                <a:gd name="T61" fmla="*/ 10650 h 16036"/>
                <a:gd name="T62" fmla="*/ 7945 w 16419"/>
                <a:gd name="T63" fmla="*/ 8277 h 16036"/>
                <a:gd name="T64" fmla="*/ 7024 w 16419"/>
                <a:gd name="T65" fmla="*/ 5084 h 16036"/>
                <a:gd name="T66" fmla="*/ 4843 w 16419"/>
                <a:gd name="T67" fmla="*/ 6857 h 16036"/>
                <a:gd name="T68" fmla="*/ 5321 w 16419"/>
                <a:gd name="T69" fmla="*/ 4784 h 16036"/>
                <a:gd name="T70" fmla="*/ 3667 w 16419"/>
                <a:gd name="T71" fmla="*/ 3305 h 16036"/>
                <a:gd name="T72" fmla="*/ 5215 w 16419"/>
                <a:gd name="T73" fmla="*/ 1684 h 16036"/>
                <a:gd name="T74" fmla="*/ 6448 w 16419"/>
                <a:gd name="T75" fmla="*/ 1771 h 16036"/>
                <a:gd name="T76" fmla="*/ 5148 w 16419"/>
                <a:gd name="T77" fmla="*/ 3833 h 16036"/>
                <a:gd name="T78" fmla="*/ 6569 w 16419"/>
                <a:gd name="T79" fmla="*/ 4486 h 16036"/>
                <a:gd name="T80" fmla="*/ 6014 w 16419"/>
                <a:gd name="T81" fmla="*/ 3301 h 16036"/>
                <a:gd name="T82" fmla="*/ 7732 w 16419"/>
                <a:gd name="T83" fmla="*/ 1205 h 16036"/>
                <a:gd name="T84" fmla="*/ 11565 w 16419"/>
                <a:gd name="T85" fmla="*/ 1859 h 16036"/>
                <a:gd name="T86" fmla="*/ 12421 w 16419"/>
                <a:gd name="T87" fmla="*/ 3513 h 16036"/>
                <a:gd name="T88" fmla="*/ 11123 w 16419"/>
                <a:gd name="T89" fmla="*/ 3527 h 16036"/>
                <a:gd name="T90" fmla="*/ 9758 w 16419"/>
                <a:gd name="T91" fmla="*/ 1525 h 16036"/>
                <a:gd name="T92" fmla="*/ 9852 w 16419"/>
                <a:gd name="T93" fmla="*/ 2463 h 16036"/>
                <a:gd name="T94" fmla="*/ 10437 w 16419"/>
                <a:gd name="T95" fmla="*/ 4348 h 16036"/>
                <a:gd name="T96" fmla="*/ 8786 w 16419"/>
                <a:gd name="T97" fmla="*/ 4626 h 16036"/>
                <a:gd name="T98" fmla="*/ 6848 w 16419"/>
                <a:gd name="T99" fmla="*/ 13930 h 16036"/>
                <a:gd name="T100" fmla="*/ 6020 w 16419"/>
                <a:gd name="T101" fmla="*/ 12187 h 16036"/>
                <a:gd name="T102" fmla="*/ 7521 w 16419"/>
                <a:gd name="T103" fmla="*/ 11934 h 16036"/>
                <a:gd name="T104" fmla="*/ 12063 w 16419"/>
                <a:gd name="T105" fmla="*/ 6494 h 16036"/>
                <a:gd name="T106" fmla="*/ 11695 w 16419"/>
                <a:gd name="T107" fmla="*/ 4461 h 16036"/>
                <a:gd name="T108" fmla="*/ 13078 w 16419"/>
                <a:gd name="T109" fmla="*/ 3710 h 16036"/>
                <a:gd name="T110" fmla="*/ 14700 w 16419"/>
                <a:gd name="T111" fmla="*/ 5106 h 16036"/>
                <a:gd name="T112" fmla="*/ 6960 w 16419"/>
                <a:gd name="T113" fmla="*/ 92 h 16036"/>
                <a:gd name="T114" fmla="*/ 498 w 16419"/>
                <a:gd name="T115" fmla="*/ 5261 h 16036"/>
                <a:gd name="T116" fmla="*/ 2132 w 16419"/>
                <a:gd name="T117" fmla="*/ 13409 h 16036"/>
                <a:gd name="T118" fmla="*/ 10261 w 16419"/>
                <a:gd name="T119" fmla="*/ 15783 h 16036"/>
                <a:gd name="T120" fmla="*/ 16160 w 16419"/>
                <a:gd name="T121" fmla="*/ 10021 h 16036"/>
                <a:gd name="T122" fmla="*/ 13729 w 16419"/>
                <a:gd name="T123" fmla="*/ 2083 h 160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19" h="16036">
                  <a:moveTo>
                    <a:pt x="13248" y="12967"/>
                  </a:moveTo>
                  <a:lnTo>
                    <a:pt x="13139" y="12892"/>
                  </a:lnTo>
                  <a:lnTo>
                    <a:pt x="13030" y="12819"/>
                  </a:lnTo>
                  <a:lnTo>
                    <a:pt x="12919" y="12748"/>
                  </a:lnTo>
                  <a:lnTo>
                    <a:pt x="12807" y="12676"/>
                  </a:lnTo>
                  <a:lnTo>
                    <a:pt x="12693" y="12608"/>
                  </a:lnTo>
                  <a:lnTo>
                    <a:pt x="12579" y="12541"/>
                  </a:lnTo>
                  <a:lnTo>
                    <a:pt x="12463" y="12476"/>
                  </a:lnTo>
                  <a:lnTo>
                    <a:pt x="12347" y="12413"/>
                  </a:lnTo>
                  <a:lnTo>
                    <a:pt x="12229" y="12351"/>
                  </a:lnTo>
                  <a:lnTo>
                    <a:pt x="12110" y="12291"/>
                  </a:lnTo>
                  <a:lnTo>
                    <a:pt x="12051" y="12261"/>
                  </a:lnTo>
                  <a:lnTo>
                    <a:pt x="11990" y="12231"/>
                  </a:lnTo>
                  <a:lnTo>
                    <a:pt x="11930" y="12203"/>
                  </a:lnTo>
                  <a:lnTo>
                    <a:pt x="11869" y="12175"/>
                  </a:lnTo>
                  <a:lnTo>
                    <a:pt x="11808" y="12147"/>
                  </a:lnTo>
                  <a:lnTo>
                    <a:pt x="11747" y="12120"/>
                  </a:lnTo>
                  <a:lnTo>
                    <a:pt x="11686" y="12094"/>
                  </a:lnTo>
                  <a:lnTo>
                    <a:pt x="11625" y="12068"/>
                  </a:lnTo>
                  <a:lnTo>
                    <a:pt x="11562" y="12042"/>
                  </a:lnTo>
                  <a:lnTo>
                    <a:pt x="11499" y="12017"/>
                  </a:lnTo>
                  <a:lnTo>
                    <a:pt x="11438" y="11992"/>
                  </a:lnTo>
                  <a:lnTo>
                    <a:pt x="11374" y="11968"/>
                  </a:lnTo>
                  <a:lnTo>
                    <a:pt x="11419" y="11863"/>
                  </a:lnTo>
                  <a:lnTo>
                    <a:pt x="11463" y="11756"/>
                  </a:lnTo>
                  <a:lnTo>
                    <a:pt x="11505" y="11649"/>
                  </a:lnTo>
                  <a:lnTo>
                    <a:pt x="11546" y="11541"/>
                  </a:lnTo>
                  <a:lnTo>
                    <a:pt x="11585" y="11433"/>
                  </a:lnTo>
                  <a:lnTo>
                    <a:pt x="11624" y="11323"/>
                  </a:lnTo>
                  <a:lnTo>
                    <a:pt x="11661" y="11214"/>
                  </a:lnTo>
                  <a:lnTo>
                    <a:pt x="11696" y="11104"/>
                  </a:lnTo>
                  <a:lnTo>
                    <a:pt x="11731" y="10993"/>
                  </a:lnTo>
                  <a:lnTo>
                    <a:pt x="11765" y="10880"/>
                  </a:lnTo>
                  <a:lnTo>
                    <a:pt x="11798" y="10768"/>
                  </a:lnTo>
                  <a:lnTo>
                    <a:pt x="11829" y="10655"/>
                  </a:lnTo>
                  <a:lnTo>
                    <a:pt x="11859" y="10542"/>
                  </a:lnTo>
                  <a:lnTo>
                    <a:pt x="11887" y="10427"/>
                  </a:lnTo>
                  <a:lnTo>
                    <a:pt x="11914" y="10312"/>
                  </a:lnTo>
                  <a:lnTo>
                    <a:pt x="11941" y="10197"/>
                  </a:lnTo>
                  <a:lnTo>
                    <a:pt x="11965" y="10081"/>
                  </a:lnTo>
                  <a:lnTo>
                    <a:pt x="11988" y="9964"/>
                  </a:lnTo>
                  <a:lnTo>
                    <a:pt x="12010" y="9847"/>
                  </a:lnTo>
                  <a:lnTo>
                    <a:pt x="12031" y="9729"/>
                  </a:lnTo>
                  <a:lnTo>
                    <a:pt x="12051" y="9611"/>
                  </a:lnTo>
                  <a:lnTo>
                    <a:pt x="12068" y="9492"/>
                  </a:lnTo>
                  <a:lnTo>
                    <a:pt x="12084" y="9373"/>
                  </a:lnTo>
                  <a:lnTo>
                    <a:pt x="12100" y="9253"/>
                  </a:lnTo>
                  <a:lnTo>
                    <a:pt x="12113" y="9133"/>
                  </a:lnTo>
                  <a:lnTo>
                    <a:pt x="12126" y="9011"/>
                  </a:lnTo>
                  <a:lnTo>
                    <a:pt x="12137" y="8890"/>
                  </a:lnTo>
                  <a:lnTo>
                    <a:pt x="12147" y="8769"/>
                  </a:lnTo>
                  <a:lnTo>
                    <a:pt x="12155" y="8646"/>
                  </a:lnTo>
                  <a:lnTo>
                    <a:pt x="12161" y="8523"/>
                  </a:lnTo>
                  <a:lnTo>
                    <a:pt x="12166" y="8400"/>
                  </a:lnTo>
                  <a:lnTo>
                    <a:pt x="12171" y="8277"/>
                  </a:lnTo>
                  <a:lnTo>
                    <a:pt x="15347" y="8277"/>
                  </a:lnTo>
                  <a:lnTo>
                    <a:pt x="15337" y="8448"/>
                  </a:lnTo>
                  <a:lnTo>
                    <a:pt x="15325" y="8617"/>
                  </a:lnTo>
                  <a:lnTo>
                    <a:pt x="15309" y="8786"/>
                  </a:lnTo>
                  <a:lnTo>
                    <a:pt x="15287" y="8954"/>
                  </a:lnTo>
                  <a:lnTo>
                    <a:pt x="15262" y="9119"/>
                  </a:lnTo>
                  <a:lnTo>
                    <a:pt x="15234" y="9285"/>
                  </a:lnTo>
                  <a:lnTo>
                    <a:pt x="15201" y="9449"/>
                  </a:lnTo>
                  <a:lnTo>
                    <a:pt x="15164" y="9612"/>
                  </a:lnTo>
                  <a:lnTo>
                    <a:pt x="15124" y="9772"/>
                  </a:lnTo>
                  <a:lnTo>
                    <a:pt x="15080" y="9931"/>
                  </a:lnTo>
                  <a:lnTo>
                    <a:pt x="15032" y="10090"/>
                  </a:lnTo>
                  <a:lnTo>
                    <a:pt x="14980" y="10246"/>
                  </a:lnTo>
                  <a:lnTo>
                    <a:pt x="14925" y="10400"/>
                  </a:lnTo>
                  <a:lnTo>
                    <a:pt x="14866" y="10554"/>
                  </a:lnTo>
                  <a:lnTo>
                    <a:pt x="14804" y="10705"/>
                  </a:lnTo>
                  <a:lnTo>
                    <a:pt x="14738" y="10854"/>
                  </a:lnTo>
                  <a:lnTo>
                    <a:pt x="14668" y="11002"/>
                  </a:lnTo>
                  <a:lnTo>
                    <a:pt x="14596" y="11148"/>
                  </a:lnTo>
                  <a:lnTo>
                    <a:pt x="14521" y="11292"/>
                  </a:lnTo>
                  <a:lnTo>
                    <a:pt x="14441" y="11434"/>
                  </a:lnTo>
                  <a:lnTo>
                    <a:pt x="14358" y="11574"/>
                  </a:lnTo>
                  <a:lnTo>
                    <a:pt x="14272" y="11712"/>
                  </a:lnTo>
                  <a:lnTo>
                    <a:pt x="14183" y="11848"/>
                  </a:lnTo>
                  <a:lnTo>
                    <a:pt x="14092" y="11981"/>
                  </a:lnTo>
                  <a:lnTo>
                    <a:pt x="13996" y="12113"/>
                  </a:lnTo>
                  <a:lnTo>
                    <a:pt x="13898" y="12241"/>
                  </a:lnTo>
                  <a:lnTo>
                    <a:pt x="13797" y="12369"/>
                  </a:lnTo>
                  <a:lnTo>
                    <a:pt x="13693" y="12493"/>
                  </a:lnTo>
                  <a:lnTo>
                    <a:pt x="13586" y="12615"/>
                  </a:lnTo>
                  <a:lnTo>
                    <a:pt x="13476" y="12735"/>
                  </a:lnTo>
                  <a:lnTo>
                    <a:pt x="13364" y="12852"/>
                  </a:lnTo>
                  <a:lnTo>
                    <a:pt x="13248" y="12967"/>
                  </a:lnTo>
                  <a:close/>
                  <a:moveTo>
                    <a:pt x="1073" y="8277"/>
                  </a:moveTo>
                  <a:lnTo>
                    <a:pt x="4248" y="8277"/>
                  </a:lnTo>
                  <a:lnTo>
                    <a:pt x="4253" y="8400"/>
                  </a:lnTo>
                  <a:lnTo>
                    <a:pt x="4258" y="8523"/>
                  </a:lnTo>
                  <a:lnTo>
                    <a:pt x="4265" y="8646"/>
                  </a:lnTo>
                  <a:lnTo>
                    <a:pt x="4273" y="8769"/>
                  </a:lnTo>
                  <a:lnTo>
                    <a:pt x="4282" y="8890"/>
                  </a:lnTo>
                  <a:lnTo>
                    <a:pt x="4294" y="9011"/>
                  </a:lnTo>
                  <a:lnTo>
                    <a:pt x="4306" y="9133"/>
                  </a:lnTo>
                  <a:lnTo>
                    <a:pt x="4319" y="9253"/>
                  </a:lnTo>
                  <a:lnTo>
                    <a:pt x="4335" y="9373"/>
                  </a:lnTo>
                  <a:lnTo>
                    <a:pt x="4351" y="9492"/>
                  </a:lnTo>
                  <a:lnTo>
                    <a:pt x="4370" y="9611"/>
                  </a:lnTo>
                  <a:lnTo>
                    <a:pt x="4388" y="9729"/>
                  </a:lnTo>
                  <a:lnTo>
                    <a:pt x="4410" y="9847"/>
                  </a:lnTo>
                  <a:lnTo>
                    <a:pt x="4431" y="9964"/>
                  </a:lnTo>
                  <a:lnTo>
                    <a:pt x="4455" y="10081"/>
                  </a:lnTo>
                  <a:lnTo>
                    <a:pt x="4479" y="10197"/>
                  </a:lnTo>
                  <a:lnTo>
                    <a:pt x="4505" y="10312"/>
                  </a:lnTo>
                  <a:lnTo>
                    <a:pt x="4533" y="10427"/>
                  </a:lnTo>
                  <a:lnTo>
                    <a:pt x="4560" y="10542"/>
                  </a:lnTo>
                  <a:lnTo>
                    <a:pt x="4590" y="10655"/>
                  </a:lnTo>
                  <a:lnTo>
                    <a:pt x="4622" y="10768"/>
                  </a:lnTo>
                  <a:lnTo>
                    <a:pt x="4654" y="10880"/>
                  </a:lnTo>
                  <a:lnTo>
                    <a:pt x="4688" y="10993"/>
                  </a:lnTo>
                  <a:lnTo>
                    <a:pt x="4723" y="11104"/>
                  </a:lnTo>
                  <a:lnTo>
                    <a:pt x="4758" y="11214"/>
                  </a:lnTo>
                  <a:lnTo>
                    <a:pt x="4795" y="11323"/>
                  </a:lnTo>
                  <a:lnTo>
                    <a:pt x="4834" y="11433"/>
                  </a:lnTo>
                  <a:lnTo>
                    <a:pt x="4874" y="11541"/>
                  </a:lnTo>
                  <a:lnTo>
                    <a:pt x="4915" y="11649"/>
                  </a:lnTo>
                  <a:lnTo>
                    <a:pt x="4958" y="11756"/>
                  </a:lnTo>
                  <a:lnTo>
                    <a:pt x="5001" y="11863"/>
                  </a:lnTo>
                  <a:lnTo>
                    <a:pt x="5045" y="11968"/>
                  </a:lnTo>
                  <a:lnTo>
                    <a:pt x="4982" y="11992"/>
                  </a:lnTo>
                  <a:lnTo>
                    <a:pt x="4920" y="12017"/>
                  </a:lnTo>
                  <a:lnTo>
                    <a:pt x="4857" y="12042"/>
                  </a:lnTo>
                  <a:lnTo>
                    <a:pt x="4795" y="12068"/>
                  </a:lnTo>
                  <a:lnTo>
                    <a:pt x="4734" y="12094"/>
                  </a:lnTo>
                  <a:lnTo>
                    <a:pt x="4672" y="12120"/>
                  </a:lnTo>
                  <a:lnTo>
                    <a:pt x="4611" y="12147"/>
                  </a:lnTo>
                  <a:lnTo>
                    <a:pt x="4550" y="12175"/>
                  </a:lnTo>
                  <a:lnTo>
                    <a:pt x="4490" y="12203"/>
                  </a:lnTo>
                  <a:lnTo>
                    <a:pt x="4429" y="12231"/>
                  </a:lnTo>
                  <a:lnTo>
                    <a:pt x="4370" y="12261"/>
                  </a:lnTo>
                  <a:lnTo>
                    <a:pt x="4309" y="12291"/>
                  </a:lnTo>
                  <a:lnTo>
                    <a:pt x="4191" y="12351"/>
                  </a:lnTo>
                  <a:lnTo>
                    <a:pt x="4073" y="12413"/>
                  </a:lnTo>
                  <a:lnTo>
                    <a:pt x="3956" y="12476"/>
                  </a:lnTo>
                  <a:lnTo>
                    <a:pt x="3841" y="12541"/>
                  </a:lnTo>
                  <a:lnTo>
                    <a:pt x="3726" y="12608"/>
                  </a:lnTo>
                  <a:lnTo>
                    <a:pt x="3613" y="12676"/>
                  </a:lnTo>
                  <a:lnTo>
                    <a:pt x="3501" y="12748"/>
                  </a:lnTo>
                  <a:lnTo>
                    <a:pt x="3389" y="12819"/>
                  </a:lnTo>
                  <a:lnTo>
                    <a:pt x="3280" y="12892"/>
                  </a:lnTo>
                  <a:lnTo>
                    <a:pt x="3171" y="12967"/>
                  </a:lnTo>
                  <a:lnTo>
                    <a:pt x="3056" y="12852"/>
                  </a:lnTo>
                  <a:lnTo>
                    <a:pt x="2943" y="12735"/>
                  </a:lnTo>
                  <a:lnTo>
                    <a:pt x="2833" y="12615"/>
                  </a:lnTo>
                  <a:lnTo>
                    <a:pt x="2727" y="12493"/>
                  </a:lnTo>
                  <a:lnTo>
                    <a:pt x="2623" y="12369"/>
                  </a:lnTo>
                  <a:lnTo>
                    <a:pt x="2521" y="12241"/>
                  </a:lnTo>
                  <a:lnTo>
                    <a:pt x="2423" y="12113"/>
                  </a:lnTo>
                  <a:lnTo>
                    <a:pt x="2328" y="11981"/>
                  </a:lnTo>
                  <a:lnTo>
                    <a:pt x="2236" y="11848"/>
                  </a:lnTo>
                  <a:lnTo>
                    <a:pt x="2147" y="11712"/>
                  </a:lnTo>
                  <a:lnTo>
                    <a:pt x="2062" y="11574"/>
                  </a:lnTo>
                  <a:lnTo>
                    <a:pt x="1978" y="11434"/>
                  </a:lnTo>
                  <a:lnTo>
                    <a:pt x="1899" y="11292"/>
                  </a:lnTo>
                  <a:lnTo>
                    <a:pt x="1824" y="11148"/>
                  </a:lnTo>
                  <a:lnTo>
                    <a:pt x="1751" y="11002"/>
                  </a:lnTo>
                  <a:lnTo>
                    <a:pt x="1682" y="10854"/>
                  </a:lnTo>
                  <a:lnTo>
                    <a:pt x="1615" y="10705"/>
                  </a:lnTo>
                  <a:lnTo>
                    <a:pt x="1554" y="10554"/>
                  </a:lnTo>
                  <a:lnTo>
                    <a:pt x="1494" y="10400"/>
                  </a:lnTo>
                  <a:lnTo>
                    <a:pt x="1440" y="10246"/>
                  </a:lnTo>
                  <a:lnTo>
                    <a:pt x="1387" y="10090"/>
                  </a:lnTo>
                  <a:lnTo>
                    <a:pt x="1340" y="9931"/>
                  </a:lnTo>
                  <a:lnTo>
                    <a:pt x="1296" y="9772"/>
                  </a:lnTo>
                  <a:lnTo>
                    <a:pt x="1255" y="9612"/>
                  </a:lnTo>
                  <a:lnTo>
                    <a:pt x="1219" y="9449"/>
                  </a:lnTo>
                  <a:lnTo>
                    <a:pt x="1186" y="9285"/>
                  </a:lnTo>
                  <a:lnTo>
                    <a:pt x="1158" y="9119"/>
                  </a:lnTo>
                  <a:lnTo>
                    <a:pt x="1132" y="8954"/>
                  </a:lnTo>
                  <a:lnTo>
                    <a:pt x="1111" y="8786"/>
                  </a:lnTo>
                  <a:lnTo>
                    <a:pt x="1095" y="8617"/>
                  </a:lnTo>
                  <a:lnTo>
                    <a:pt x="1082" y="8448"/>
                  </a:lnTo>
                  <a:lnTo>
                    <a:pt x="1073" y="8277"/>
                  </a:lnTo>
                  <a:close/>
                  <a:moveTo>
                    <a:pt x="2878" y="3381"/>
                  </a:moveTo>
                  <a:lnTo>
                    <a:pt x="2935" y="3423"/>
                  </a:lnTo>
                  <a:lnTo>
                    <a:pt x="2992" y="3466"/>
                  </a:lnTo>
                  <a:lnTo>
                    <a:pt x="3050" y="3507"/>
                  </a:lnTo>
                  <a:lnTo>
                    <a:pt x="3107" y="3549"/>
                  </a:lnTo>
                  <a:lnTo>
                    <a:pt x="3165" y="3590"/>
                  </a:lnTo>
                  <a:lnTo>
                    <a:pt x="3223" y="3630"/>
                  </a:lnTo>
                  <a:lnTo>
                    <a:pt x="3282" y="3670"/>
                  </a:lnTo>
                  <a:lnTo>
                    <a:pt x="3341" y="3710"/>
                  </a:lnTo>
                  <a:lnTo>
                    <a:pt x="3401" y="3749"/>
                  </a:lnTo>
                  <a:lnTo>
                    <a:pt x="3460" y="3789"/>
                  </a:lnTo>
                  <a:lnTo>
                    <a:pt x="3521" y="3827"/>
                  </a:lnTo>
                  <a:lnTo>
                    <a:pt x="3581" y="3865"/>
                  </a:lnTo>
                  <a:lnTo>
                    <a:pt x="3642" y="3902"/>
                  </a:lnTo>
                  <a:lnTo>
                    <a:pt x="3702" y="3939"/>
                  </a:lnTo>
                  <a:lnTo>
                    <a:pt x="3764" y="3975"/>
                  </a:lnTo>
                  <a:lnTo>
                    <a:pt x="3826" y="4011"/>
                  </a:lnTo>
                  <a:lnTo>
                    <a:pt x="3887" y="4046"/>
                  </a:lnTo>
                  <a:lnTo>
                    <a:pt x="3950" y="4081"/>
                  </a:lnTo>
                  <a:lnTo>
                    <a:pt x="4012" y="4116"/>
                  </a:lnTo>
                  <a:lnTo>
                    <a:pt x="4076" y="4150"/>
                  </a:lnTo>
                  <a:lnTo>
                    <a:pt x="4139" y="4183"/>
                  </a:lnTo>
                  <a:lnTo>
                    <a:pt x="4202" y="4216"/>
                  </a:lnTo>
                  <a:lnTo>
                    <a:pt x="4267" y="4249"/>
                  </a:lnTo>
                  <a:lnTo>
                    <a:pt x="4331" y="4281"/>
                  </a:lnTo>
                  <a:lnTo>
                    <a:pt x="4395" y="4312"/>
                  </a:lnTo>
                  <a:lnTo>
                    <a:pt x="4461" y="4343"/>
                  </a:lnTo>
                  <a:lnTo>
                    <a:pt x="4525" y="4374"/>
                  </a:lnTo>
                  <a:lnTo>
                    <a:pt x="4591" y="4403"/>
                  </a:lnTo>
                  <a:lnTo>
                    <a:pt x="4657" y="4432"/>
                  </a:lnTo>
                  <a:lnTo>
                    <a:pt x="4724" y="4461"/>
                  </a:lnTo>
                  <a:lnTo>
                    <a:pt x="4789" y="4489"/>
                  </a:lnTo>
                  <a:lnTo>
                    <a:pt x="4856" y="4517"/>
                  </a:lnTo>
                  <a:lnTo>
                    <a:pt x="4822" y="4611"/>
                  </a:lnTo>
                  <a:lnTo>
                    <a:pt x="4789" y="4706"/>
                  </a:lnTo>
                  <a:lnTo>
                    <a:pt x="4756" y="4801"/>
                  </a:lnTo>
                  <a:lnTo>
                    <a:pt x="4726" y="4897"/>
                  </a:lnTo>
                  <a:lnTo>
                    <a:pt x="4695" y="4993"/>
                  </a:lnTo>
                  <a:lnTo>
                    <a:pt x="4665" y="5090"/>
                  </a:lnTo>
                  <a:lnTo>
                    <a:pt x="4637" y="5188"/>
                  </a:lnTo>
                  <a:lnTo>
                    <a:pt x="4610" y="5285"/>
                  </a:lnTo>
                  <a:lnTo>
                    <a:pt x="4583" y="5383"/>
                  </a:lnTo>
                  <a:lnTo>
                    <a:pt x="4557" y="5482"/>
                  </a:lnTo>
                  <a:lnTo>
                    <a:pt x="4533" y="5582"/>
                  </a:lnTo>
                  <a:lnTo>
                    <a:pt x="4509" y="5681"/>
                  </a:lnTo>
                  <a:lnTo>
                    <a:pt x="4486" y="5781"/>
                  </a:lnTo>
                  <a:lnTo>
                    <a:pt x="4465" y="5881"/>
                  </a:lnTo>
                  <a:lnTo>
                    <a:pt x="4444" y="5982"/>
                  </a:lnTo>
                  <a:lnTo>
                    <a:pt x="4425" y="6084"/>
                  </a:lnTo>
                  <a:lnTo>
                    <a:pt x="4406" y="6186"/>
                  </a:lnTo>
                  <a:lnTo>
                    <a:pt x="4388" y="6288"/>
                  </a:lnTo>
                  <a:lnTo>
                    <a:pt x="4372" y="6391"/>
                  </a:lnTo>
                  <a:lnTo>
                    <a:pt x="4356" y="6494"/>
                  </a:lnTo>
                  <a:lnTo>
                    <a:pt x="4342" y="6598"/>
                  </a:lnTo>
                  <a:lnTo>
                    <a:pt x="4328" y="6701"/>
                  </a:lnTo>
                  <a:lnTo>
                    <a:pt x="4315" y="6805"/>
                  </a:lnTo>
                  <a:lnTo>
                    <a:pt x="4304" y="6911"/>
                  </a:lnTo>
                  <a:lnTo>
                    <a:pt x="4294" y="7015"/>
                  </a:lnTo>
                  <a:lnTo>
                    <a:pt x="4284" y="7120"/>
                  </a:lnTo>
                  <a:lnTo>
                    <a:pt x="4275" y="7226"/>
                  </a:lnTo>
                  <a:lnTo>
                    <a:pt x="4268" y="7332"/>
                  </a:lnTo>
                  <a:lnTo>
                    <a:pt x="4262" y="7439"/>
                  </a:lnTo>
                  <a:lnTo>
                    <a:pt x="4257" y="7545"/>
                  </a:lnTo>
                  <a:lnTo>
                    <a:pt x="4253" y="7652"/>
                  </a:lnTo>
                  <a:lnTo>
                    <a:pt x="4248" y="7759"/>
                  </a:lnTo>
                  <a:lnTo>
                    <a:pt x="1073" y="7759"/>
                  </a:lnTo>
                  <a:lnTo>
                    <a:pt x="1081" y="7602"/>
                  </a:lnTo>
                  <a:lnTo>
                    <a:pt x="1092" y="7446"/>
                  </a:lnTo>
                  <a:lnTo>
                    <a:pt x="1107" y="7291"/>
                  </a:lnTo>
                  <a:lnTo>
                    <a:pt x="1125" y="7137"/>
                  </a:lnTo>
                  <a:lnTo>
                    <a:pt x="1146" y="6984"/>
                  </a:lnTo>
                  <a:lnTo>
                    <a:pt x="1171" y="6832"/>
                  </a:lnTo>
                  <a:lnTo>
                    <a:pt x="1200" y="6681"/>
                  </a:lnTo>
                  <a:lnTo>
                    <a:pt x="1231" y="6532"/>
                  </a:lnTo>
                  <a:lnTo>
                    <a:pt x="1265" y="6383"/>
                  </a:lnTo>
                  <a:lnTo>
                    <a:pt x="1304" y="6236"/>
                  </a:lnTo>
                  <a:lnTo>
                    <a:pt x="1345" y="6090"/>
                  </a:lnTo>
                  <a:lnTo>
                    <a:pt x="1389" y="5945"/>
                  </a:lnTo>
                  <a:lnTo>
                    <a:pt x="1437" y="5802"/>
                  </a:lnTo>
                  <a:lnTo>
                    <a:pt x="1487" y="5660"/>
                  </a:lnTo>
                  <a:lnTo>
                    <a:pt x="1540" y="5519"/>
                  </a:lnTo>
                  <a:lnTo>
                    <a:pt x="1597" y="5380"/>
                  </a:lnTo>
                  <a:lnTo>
                    <a:pt x="1656" y="5243"/>
                  </a:lnTo>
                  <a:lnTo>
                    <a:pt x="1719" y="5106"/>
                  </a:lnTo>
                  <a:lnTo>
                    <a:pt x="1785" y="4972"/>
                  </a:lnTo>
                  <a:lnTo>
                    <a:pt x="1852" y="4839"/>
                  </a:lnTo>
                  <a:lnTo>
                    <a:pt x="1923" y="4708"/>
                  </a:lnTo>
                  <a:lnTo>
                    <a:pt x="1997" y="4578"/>
                  </a:lnTo>
                  <a:lnTo>
                    <a:pt x="2074" y="4450"/>
                  </a:lnTo>
                  <a:lnTo>
                    <a:pt x="2153" y="4324"/>
                  </a:lnTo>
                  <a:lnTo>
                    <a:pt x="2234" y="4199"/>
                  </a:lnTo>
                  <a:lnTo>
                    <a:pt x="2319" y="4076"/>
                  </a:lnTo>
                  <a:lnTo>
                    <a:pt x="2405" y="3956"/>
                  </a:lnTo>
                  <a:lnTo>
                    <a:pt x="2496" y="3837"/>
                  </a:lnTo>
                  <a:lnTo>
                    <a:pt x="2587" y="3719"/>
                  </a:lnTo>
                  <a:lnTo>
                    <a:pt x="2681" y="3605"/>
                  </a:lnTo>
                  <a:lnTo>
                    <a:pt x="2779" y="3492"/>
                  </a:lnTo>
                  <a:lnTo>
                    <a:pt x="2878" y="3381"/>
                  </a:lnTo>
                  <a:close/>
                  <a:moveTo>
                    <a:pt x="8474" y="7759"/>
                  </a:moveTo>
                  <a:lnTo>
                    <a:pt x="8474" y="5160"/>
                  </a:lnTo>
                  <a:lnTo>
                    <a:pt x="8559" y="5157"/>
                  </a:lnTo>
                  <a:lnTo>
                    <a:pt x="8644" y="5153"/>
                  </a:lnTo>
                  <a:lnTo>
                    <a:pt x="8728" y="5149"/>
                  </a:lnTo>
                  <a:lnTo>
                    <a:pt x="8812" y="5143"/>
                  </a:lnTo>
                  <a:lnTo>
                    <a:pt x="8896" y="5137"/>
                  </a:lnTo>
                  <a:lnTo>
                    <a:pt x="8980" y="5131"/>
                  </a:lnTo>
                  <a:lnTo>
                    <a:pt x="9063" y="5122"/>
                  </a:lnTo>
                  <a:lnTo>
                    <a:pt x="9146" y="5114"/>
                  </a:lnTo>
                  <a:lnTo>
                    <a:pt x="9230" y="5105"/>
                  </a:lnTo>
                  <a:lnTo>
                    <a:pt x="9313" y="5095"/>
                  </a:lnTo>
                  <a:lnTo>
                    <a:pt x="9395" y="5084"/>
                  </a:lnTo>
                  <a:lnTo>
                    <a:pt x="9477" y="5073"/>
                  </a:lnTo>
                  <a:lnTo>
                    <a:pt x="9559" y="5061"/>
                  </a:lnTo>
                  <a:lnTo>
                    <a:pt x="9641" y="5048"/>
                  </a:lnTo>
                  <a:lnTo>
                    <a:pt x="9723" y="5035"/>
                  </a:lnTo>
                  <a:lnTo>
                    <a:pt x="9804" y="5020"/>
                  </a:lnTo>
                  <a:lnTo>
                    <a:pt x="9885" y="5005"/>
                  </a:lnTo>
                  <a:lnTo>
                    <a:pt x="9965" y="4990"/>
                  </a:lnTo>
                  <a:lnTo>
                    <a:pt x="10046" y="4973"/>
                  </a:lnTo>
                  <a:lnTo>
                    <a:pt x="10126" y="4956"/>
                  </a:lnTo>
                  <a:lnTo>
                    <a:pt x="10206" y="4938"/>
                  </a:lnTo>
                  <a:lnTo>
                    <a:pt x="10287" y="4920"/>
                  </a:lnTo>
                  <a:lnTo>
                    <a:pt x="10366" y="4900"/>
                  </a:lnTo>
                  <a:lnTo>
                    <a:pt x="10445" y="4880"/>
                  </a:lnTo>
                  <a:lnTo>
                    <a:pt x="10524" y="4860"/>
                  </a:lnTo>
                  <a:lnTo>
                    <a:pt x="10602" y="4838"/>
                  </a:lnTo>
                  <a:lnTo>
                    <a:pt x="10681" y="4816"/>
                  </a:lnTo>
                  <a:lnTo>
                    <a:pt x="10759" y="4793"/>
                  </a:lnTo>
                  <a:lnTo>
                    <a:pt x="10836" y="4770"/>
                  </a:lnTo>
                  <a:lnTo>
                    <a:pt x="10914" y="4746"/>
                  </a:lnTo>
                  <a:lnTo>
                    <a:pt x="10990" y="4721"/>
                  </a:lnTo>
                  <a:lnTo>
                    <a:pt x="11066" y="4695"/>
                  </a:lnTo>
                  <a:lnTo>
                    <a:pt x="11099" y="4784"/>
                  </a:lnTo>
                  <a:lnTo>
                    <a:pt x="11130" y="4873"/>
                  </a:lnTo>
                  <a:lnTo>
                    <a:pt x="11161" y="4963"/>
                  </a:lnTo>
                  <a:lnTo>
                    <a:pt x="11191" y="5053"/>
                  </a:lnTo>
                  <a:lnTo>
                    <a:pt x="11219" y="5145"/>
                  </a:lnTo>
                  <a:lnTo>
                    <a:pt x="11247" y="5236"/>
                  </a:lnTo>
                  <a:lnTo>
                    <a:pt x="11274" y="5328"/>
                  </a:lnTo>
                  <a:lnTo>
                    <a:pt x="11299" y="5420"/>
                  </a:lnTo>
                  <a:lnTo>
                    <a:pt x="11325" y="5513"/>
                  </a:lnTo>
                  <a:lnTo>
                    <a:pt x="11349" y="5607"/>
                  </a:lnTo>
                  <a:lnTo>
                    <a:pt x="11372" y="5701"/>
                  </a:lnTo>
                  <a:lnTo>
                    <a:pt x="11395" y="5795"/>
                  </a:lnTo>
                  <a:lnTo>
                    <a:pt x="11415" y="5889"/>
                  </a:lnTo>
                  <a:lnTo>
                    <a:pt x="11436" y="5984"/>
                  </a:lnTo>
                  <a:lnTo>
                    <a:pt x="11455" y="6080"/>
                  </a:lnTo>
                  <a:lnTo>
                    <a:pt x="11474" y="6176"/>
                  </a:lnTo>
                  <a:lnTo>
                    <a:pt x="11491" y="6272"/>
                  </a:lnTo>
                  <a:lnTo>
                    <a:pt x="11509" y="6368"/>
                  </a:lnTo>
                  <a:lnTo>
                    <a:pt x="11524" y="6466"/>
                  </a:lnTo>
                  <a:lnTo>
                    <a:pt x="11538" y="6563"/>
                  </a:lnTo>
                  <a:lnTo>
                    <a:pt x="11553" y="6661"/>
                  </a:lnTo>
                  <a:lnTo>
                    <a:pt x="11565" y="6759"/>
                  </a:lnTo>
                  <a:lnTo>
                    <a:pt x="11577" y="6857"/>
                  </a:lnTo>
                  <a:lnTo>
                    <a:pt x="11589" y="6957"/>
                  </a:lnTo>
                  <a:lnTo>
                    <a:pt x="11598" y="7056"/>
                  </a:lnTo>
                  <a:lnTo>
                    <a:pt x="11607" y="7155"/>
                  </a:lnTo>
                  <a:lnTo>
                    <a:pt x="11615" y="7255"/>
                  </a:lnTo>
                  <a:lnTo>
                    <a:pt x="11623" y="7356"/>
                  </a:lnTo>
                  <a:lnTo>
                    <a:pt x="11629" y="7456"/>
                  </a:lnTo>
                  <a:lnTo>
                    <a:pt x="11634" y="7557"/>
                  </a:lnTo>
                  <a:lnTo>
                    <a:pt x="11638" y="7658"/>
                  </a:lnTo>
                  <a:lnTo>
                    <a:pt x="11641" y="7759"/>
                  </a:lnTo>
                  <a:lnTo>
                    <a:pt x="8474" y="7759"/>
                  </a:lnTo>
                  <a:close/>
                  <a:moveTo>
                    <a:pt x="10879" y="11791"/>
                  </a:moveTo>
                  <a:lnTo>
                    <a:pt x="10807" y="11768"/>
                  </a:lnTo>
                  <a:lnTo>
                    <a:pt x="10735" y="11747"/>
                  </a:lnTo>
                  <a:lnTo>
                    <a:pt x="10663" y="11726"/>
                  </a:lnTo>
                  <a:lnTo>
                    <a:pt x="10590" y="11706"/>
                  </a:lnTo>
                  <a:lnTo>
                    <a:pt x="10518" y="11686"/>
                  </a:lnTo>
                  <a:lnTo>
                    <a:pt x="10446" y="11667"/>
                  </a:lnTo>
                  <a:lnTo>
                    <a:pt x="10373" y="11649"/>
                  </a:lnTo>
                  <a:lnTo>
                    <a:pt x="10299" y="11631"/>
                  </a:lnTo>
                  <a:lnTo>
                    <a:pt x="10226" y="11614"/>
                  </a:lnTo>
                  <a:lnTo>
                    <a:pt x="10152" y="11598"/>
                  </a:lnTo>
                  <a:lnTo>
                    <a:pt x="10078" y="11582"/>
                  </a:lnTo>
                  <a:lnTo>
                    <a:pt x="10003" y="11566"/>
                  </a:lnTo>
                  <a:lnTo>
                    <a:pt x="9929" y="11552"/>
                  </a:lnTo>
                  <a:lnTo>
                    <a:pt x="9854" y="11538"/>
                  </a:lnTo>
                  <a:lnTo>
                    <a:pt x="9780" y="11525"/>
                  </a:lnTo>
                  <a:lnTo>
                    <a:pt x="9704" y="11512"/>
                  </a:lnTo>
                  <a:lnTo>
                    <a:pt x="9629" y="11500"/>
                  </a:lnTo>
                  <a:lnTo>
                    <a:pt x="9553" y="11488"/>
                  </a:lnTo>
                  <a:lnTo>
                    <a:pt x="9477" y="11477"/>
                  </a:lnTo>
                  <a:lnTo>
                    <a:pt x="9401" y="11467"/>
                  </a:lnTo>
                  <a:lnTo>
                    <a:pt x="9325" y="11458"/>
                  </a:lnTo>
                  <a:lnTo>
                    <a:pt x="9249" y="11449"/>
                  </a:lnTo>
                  <a:lnTo>
                    <a:pt x="9172" y="11440"/>
                  </a:lnTo>
                  <a:lnTo>
                    <a:pt x="9095" y="11433"/>
                  </a:lnTo>
                  <a:lnTo>
                    <a:pt x="9018" y="11425"/>
                  </a:lnTo>
                  <a:lnTo>
                    <a:pt x="8941" y="11419"/>
                  </a:lnTo>
                  <a:lnTo>
                    <a:pt x="8864" y="11413"/>
                  </a:lnTo>
                  <a:lnTo>
                    <a:pt x="8786" y="11408"/>
                  </a:lnTo>
                  <a:lnTo>
                    <a:pt x="8708" y="11404"/>
                  </a:lnTo>
                  <a:lnTo>
                    <a:pt x="8630" y="11400"/>
                  </a:lnTo>
                  <a:lnTo>
                    <a:pt x="8552" y="11396"/>
                  </a:lnTo>
                  <a:lnTo>
                    <a:pt x="8474" y="11394"/>
                  </a:lnTo>
                  <a:lnTo>
                    <a:pt x="8474" y="8277"/>
                  </a:lnTo>
                  <a:lnTo>
                    <a:pt x="11641" y="8277"/>
                  </a:lnTo>
                  <a:lnTo>
                    <a:pt x="11637" y="8394"/>
                  </a:lnTo>
                  <a:lnTo>
                    <a:pt x="11632" y="8512"/>
                  </a:lnTo>
                  <a:lnTo>
                    <a:pt x="11626" y="8628"/>
                  </a:lnTo>
                  <a:lnTo>
                    <a:pt x="11617" y="8746"/>
                  </a:lnTo>
                  <a:lnTo>
                    <a:pt x="11608" y="8862"/>
                  </a:lnTo>
                  <a:lnTo>
                    <a:pt x="11598" y="8977"/>
                  </a:lnTo>
                  <a:lnTo>
                    <a:pt x="11586" y="9092"/>
                  </a:lnTo>
                  <a:lnTo>
                    <a:pt x="11572" y="9207"/>
                  </a:lnTo>
                  <a:lnTo>
                    <a:pt x="11558" y="9321"/>
                  </a:lnTo>
                  <a:lnTo>
                    <a:pt x="11542" y="9435"/>
                  </a:lnTo>
                  <a:lnTo>
                    <a:pt x="11525" y="9548"/>
                  </a:lnTo>
                  <a:lnTo>
                    <a:pt x="11506" y="9661"/>
                  </a:lnTo>
                  <a:lnTo>
                    <a:pt x="11486" y="9773"/>
                  </a:lnTo>
                  <a:lnTo>
                    <a:pt x="11466" y="9884"/>
                  </a:lnTo>
                  <a:lnTo>
                    <a:pt x="11443" y="9995"/>
                  </a:lnTo>
                  <a:lnTo>
                    <a:pt x="11419" y="10106"/>
                  </a:lnTo>
                  <a:lnTo>
                    <a:pt x="11395" y="10216"/>
                  </a:lnTo>
                  <a:lnTo>
                    <a:pt x="11368" y="10325"/>
                  </a:lnTo>
                  <a:lnTo>
                    <a:pt x="11341" y="10434"/>
                  </a:lnTo>
                  <a:lnTo>
                    <a:pt x="11313" y="10543"/>
                  </a:lnTo>
                  <a:lnTo>
                    <a:pt x="11283" y="10650"/>
                  </a:lnTo>
                  <a:lnTo>
                    <a:pt x="11252" y="10757"/>
                  </a:lnTo>
                  <a:lnTo>
                    <a:pt x="11220" y="10863"/>
                  </a:lnTo>
                  <a:lnTo>
                    <a:pt x="11186" y="10969"/>
                  </a:lnTo>
                  <a:lnTo>
                    <a:pt x="11152" y="11074"/>
                  </a:lnTo>
                  <a:lnTo>
                    <a:pt x="11117" y="11178"/>
                  </a:lnTo>
                  <a:lnTo>
                    <a:pt x="11080" y="11282"/>
                  </a:lnTo>
                  <a:lnTo>
                    <a:pt x="11042" y="11386"/>
                  </a:lnTo>
                  <a:lnTo>
                    <a:pt x="11003" y="11488"/>
                  </a:lnTo>
                  <a:lnTo>
                    <a:pt x="10962" y="11590"/>
                  </a:lnTo>
                  <a:lnTo>
                    <a:pt x="10921" y="11690"/>
                  </a:lnTo>
                  <a:lnTo>
                    <a:pt x="10879" y="11791"/>
                  </a:lnTo>
                  <a:close/>
                  <a:moveTo>
                    <a:pt x="11162" y="12440"/>
                  </a:moveTo>
                  <a:lnTo>
                    <a:pt x="11275" y="12484"/>
                  </a:lnTo>
                  <a:lnTo>
                    <a:pt x="11387" y="12529"/>
                  </a:lnTo>
                  <a:lnTo>
                    <a:pt x="11497" y="12575"/>
                  </a:lnTo>
                  <a:lnTo>
                    <a:pt x="11606" y="12624"/>
                  </a:lnTo>
                  <a:lnTo>
                    <a:pt x="11715" y="12674"/>
                  </a:lnTo>
                  <a:lnTo>
                    <a:pt x="11824" y="12726"/>
                  </a:lnTo>
                  <a:lnTo>
                    <a:pt x="11930" y="12779"/>
                  </a:lnTo>
                  <a:lnTo>
                    <a:pt x="12036" y="12833"/>
                  </a:lnTo>
                  <a:lnTo>
                    <a:pt x="12142" y="12889"/>
                  </a:lnTo>
                  <a:lnTo>
                    <a:pt x="12245" y="12946"/>
                  </a:lnTo>
                  <a:lnTo>
                    <a:pt x="12349" y="13005"/>
                  </a:lnTo>
                  <a:lnTo>
                    <a:pt x="12451" y="13065"/>
                  </a:lnTo>
                  <a:lnTo>
                    <a:pt x="12552" y="13127"/>
                  </a:lnTo>
                  <a:lnTo>
                    <a:pt x="12653" y="13191"/>
                  </a:lnTo>
                  <a:lnTo>
                    <a:pt x="12751" y="13255"/>
                  </a:lnTo>
                  <a:lnTo>
                    <a:pt x="12850" y="13320"/>
                  </a:lnTo>
                  <a:lnTo>
                    <a:pt x="12759" y="13395"/>
                  </a:lnTo>
                  <a:lnTo>
                    <a:pt x="12666" y="13469"/>
                  </a:lnTo>
                  <a:lnTo>
                    <a:pt x="12573" y="13540"/>
                  </a:lnTo>
                  <a:lnTo>
                    <a:pt x="12477" y="13612"/>
                  </a:lnTo>
                  <a:lnTo>
                    <a:pt x="12381" y="13681"/>
                  </a:lnTo>
                  <a:lnTo>
                    <a:pt x="12283" y="13748"/>
                  </a:lnTo>
                  <a:lnTo>
                    <a:pt x="12185" y="13814"/>
                  </a:lnTo>
                  <a:lnTo>
                    <a:pt x="12084" y="13878"/>
                  </a:lnTo>
                  <a:lnTo>
                    <a:pt x="11984" y="13940"/>
                  </a:lnTo>
                  <a:lnTo>
                    <a:pt x="11881" y="14001"/>
                  </a:lnTo>
                  <a:lnTo>
                    <a:pt x="11779" y="14062"/>
                  </a:lnTo>
                  <a:lnTo>
                    <a:pt x="11674" y="14119"/>
                  </a:lnTo>
                  <a:lnTo>
                    <a:pt x="11568" y="14175"/>
                  </a:lnTo>
                  <a:lnTo>
                    <a:pt x="11461" y="14229"/>
                  </a:lnTo>
                  <a:lnTo>
                    <a:pt x="11354" y="14282"/>
                  </a:lnTo>
                  <a:lnTo>
                    <a:pt x="11245" y="14333"/>
                  </a:lnTo>
                  <a:lnTo>
                    <a:pt x="11136" y="14382"/>
                  </a:lnTo>
                  <a:lnTo>
                    <a:pt x="11025" y="14429"/>
                  </a:lnTo>
                  <a:lnTo>
                    <a:pt x="10914" y="14475"/>
                  </a:lnTo>
                  <a:lnTo>
                    <a:pt x="10802" y="14519"/>
                  </a:lnTo>
                  <a:lnTo>
                    <a:pt x="10688" y="14561"/>
                  </a:lnTo>
                  <a:lnTo>
                    <a:pt x="10573" y="14601"/>
                  </a:lnTo>
                  <a:lnTo>
                    <a:pt x="10458" y="14639"/>
                  </a:lnTo>
                  <a:lnTo>
                    <a:pt x="10342" y="14676"/>
                  </a:lnTo>
                  <a:lnTo>
                    <a:pt x="10225" y="14710"/>
                  </a:lnTo>
                  <a:lnTo>
                    <a:pt x="10107" y="14743"/>
                  </a:lnTo>
                  <a:lnTo>
                    <a:pt x="9989" y="14774"/>
                  </a:lnTo>
                  <a:lnTo>
                    <a:pt x="9869" y="14802"/>
                  </a:lnTo>
                  <a:lnTo>
                    <a:pt x="9749" y="14829"/>
                  </a:lnTo>
                  <a:lnTo>
                    <a:pt x="9628" y="14854"/>
                  </a:lnTo>
                  <a:lnTo>
                    <a:pt x="9507" y="14877"/>
                  </a:lnTo>
                  <a:lnTo>
                    <a:pt x="9383" y="14898"/>
                  </a:lnTo>
                  <a:lnTo>
                    <a:pt x="9450" y="14833"/>
                  </a:lnTo>
                  <a:lnTo>
                    <a:pt x="9516" y="14767"/>
                  </a:lnTo>
                  <a:lnTo>
                    <a:pt x="9582" y="14700"/>
                  </a:lnTo>
                  <a:lnTo>
                    <a:pt x="9645" y="14633"/>
                  </a:lnTo>
                  <a:lnTo>
                    <a:pt x="9710" y="14564"/>
                  </a:lnTo>
                  <a:lnTo>
                    <a:pt x="9772" y="14495"/>
                  </a:lnTo>
                  <a:lnTo>
                    <a:pt x="9835" y="14424"/>
                  </a:lnTo>
                  <a:lnTo>
                    <a:pt x="9897" y="14354"/>
                  </a:lnTo>
                  <a:lnTo>
                    <a:pt x="9958" y="14282"/>
                  </a:lnTo>
                  <a:lnTo>
                    <a:pt x="10019" y="14210"/>
                  </a:lnTo>
                  <a:lnTo>
                    <a:pt x="10078" y="14137"/>
                  </a:lnTo>
                  <a:lnTo>
                    <a:pt x="10138" y="14064"/>
                  </a:lnTo>
                  <a:lnTo>
                    <a:pt x="10195" y="13988"/>
                  </a:lnTo>
                  <a:lnTo>
                    <a:pt x="10254" y="13913"/>
                  </a:lnTo>
                  <a:lnTo>
                    <a:pt x="10310" y="13837"/>
                  </a:lnTo>
                  <a:lnTo>
                    <a:pt x="10367" y="13761"/>
                  </a:lnTo>
                  <a:lnTo>
                    <a:pt x="10422" y="13684"/>
                  </a:lnTo>
                  <a:lnTo>
                    <a:pt x="10476" y="13606"/>
                  </a:lnTo>
                  <a:lnTo>
                    <a:pt x="10531" y="13526"/>
                  </a:lnTo>
                  <a:lnTo>
                    <a:pt x="10584" y="13447"/>
                  </a:lnTo>
                  <a:lnTo>
                    <a:pt x="10636" y="13367"/>
                  </a:lnTo>
                  <a:lnTo>
                    <a:pt x="10688" y="13286"/>
                  </a:lnTo>
                  <a:lnTo>
                    <a:pt x="10739" y="13204"/>
                  </a:lnTo>
                  <a:lnTo>
                    <a:pt x="10789" y="13121"/>
                  </a:lnTo>
                  <a:lnTo>
                    <a:pt x="10839" y="13039"/>
                  </a:lnTo>
                  <a:lnTo>
                    <a:pt x="10888" y="12955"/>
                  </a:lnTo>
                  <a:lnTo>
                    <a:pt x="10935" y="12871"/>
                  </a:lnTo>
                  <a:lnTo>
                    <a:pt x="10982" y="12786"/>
                  </a:lnTo>
                  <a:lnTo>
                    <a:pt x="11028" y="12701"/>
                  </a:lnTo>
                  <a:lnTo>
                    <a:pt x="11074" y="12614"/>
                  </a:lnTo>
                  <a:lnTo>
                    <a:pt x="11119" y="12528"/>
                  </a:lnTo>
                  <a:lnTo>
                    <a:pt x="11162" y="12440"/>
                  </a:lnTo>
                  <a:close/>
                  <a:moveTo>
                    <a:pt x="8474" y="14988"/>
                  </a:moveTo>
                  <a:lnTo>
                    <a:pt x="8474" y="11911"/>
                  </a:lnTo>
                  <a:lnTo>
                    <a:pt x="8545" y="11913"/>
                  </a:lnTo>
                  <a:lnTo>
                    <a:pt x="8616" y="11916"/>
                  </a:lnTo>
                  <a:lnTo>
                    <a:pt x="8687" y="11920"/>
                  </a:lnTo>
                  <a:lnTo>
                    <a:pt x="8757" y="11924"/>
                  </a:lnTo>
                  <a:lnTo>
                    <a:pt x="8828" y="11929"/>
                  </a:lnTo>
                  <a:lnTo>
                    <a:pt x="8899" y="11934"/>
                  </a:lnTo>
                  <a:lnTo>
                    <a:pt x="8969" y="11940"/>
                  </a:lnTo>
                  <a:lnTo>
                    <a:pt x="9039" y="11946"/>
                  </a:lnTo>
                  <a:lnTo>
                    <a:pt x="9108" y="11953"/>
                  </a:lnTo>
                  <a:lnTo>
                    <a:pt x="9178" y="11960"/>
                  </a:lnTo>
                  <a:lnTo>
                    <a:pt x="9248" y="11968"/>
                  </a:lnTo>
                  <a:lnTo>
                    <a:pt x="9317" y="11976"/>
                  </a:lnTo>
                  <a:lnTo>
                    <a:pt x="9387" y="11986"/>
                  </a:lnTo>
                  <a:lnTo>
                    <a:pt x="9455" y="11995"/>
                  </a:lnTo>
                  <a:lnTo>
                    <a:pt x="9524" y="12005"/>
                  </a:lnTo>
                  <a:lnTo>
                    <a:pt x="9593" y="12016"/>
                  </a:lnTo>
                  <a:lnTo>
                    <a:pt x="9661" y="12027"/>
                  </a:lnTo>
                  <a:lnTo>
                    <a:pt x="9729" y="12039"/>
                  </a:lnTo>
                  <a:lnTo>
                    <a:pt x="9797" y="12051"/>
                  </a:lnTo>
                  <a:lnTo>
                    <a:pt x="9865" y="12064"/>
                  </a:lnTo>
                  <a:lnTo>
                    <a:pt x="9932" y="12077"/>
                  </a:lnTo>
                  <a:lnTo>
                    <a:pt x="10000" y="12091"/>
                  </a:lnTo>
                  <a:lnTo>
                    <a:pt x="10067" y="12106"/>
                  </a:lnTo>
                  <a:lnTo>
                    <a:pt x="10134" y="12121"/>
                  </a:lnTo>
                  <a:lnTo>
                    <a:pt x="10200" y="12136"/>
                  </a:lnTo>
                  <a:lnTo>
                    <a:pt x="10267" y="12153"/>
                  </a:lnTo>
                  <a:lnTo>
                    <a:pt x="10334" y="12169"/>
                  </a:lnTo>
                  <a:lnTo>
                    <a:pt x="10399" y="12187"/>
                  </a:lnTo>
                  <a:lnTo>
                    <a:pt x="10465" y="12204"/>
                  </a:lnTo>
                  <a:lnTo>
                    <a:pt x="10531" y="12223"/>
                  </a:lnTo>
                  <a:lnTo>
                    <a:pt x="10596" y="12242"/>
                  </a:lnTo>
                  <a:lnTo>
                    <a:pt x="10661" y="12262"/>
                  </a:lnTo>
                  <a:lnTo>
                    <a:pt x="10610" y="12363"/>
                  </a:lnTo>
                  <a:lnTo>
                    <a:pt x="10557" y="12462"/>
                  </a:lnTo>
                  <a:lnTo>
                    <a:pt x="10504" y="12561"/>
                  </a:lnTo>
                  <a:lnTo>
                    <a:pt x="10450" y="12659"/>
                  </a:lnTo>
                  <a:lnTo>
                    <a:pt x="10393" y="12757"/>
                  </a:lnTo>
                  <a:lnTo>
                    <a:pt x="10337" y="12853"/>
                  </a:lnTo>
                  <a:lnTo>
                    <a:pt x="10279" y="12948"/>
                  </a:lnTo>
                  <a:lnTo>
                    <a:pt x="10220" y="13042"/>
                  </a:lnTo>
                  <a:lnTo>
                    <a:pt x="10159" y="13135"/>
                  </a:lnTo>
                  <a:lnTo>
                    <a:pt x="10099" y="13228"/>
                  </a:lnTo>
                  <a:lnTo>
                    <a:pt x="10036" y="13319"/>
                  </a:lnTo>
                  <a:lnTo>
                    <a:pt x="9972" y="13410"/>
                  </a:lnTo>
                  <a:lnTo>
                    <a:pt x="9909" y="13499"/>
                  </a:lnTo>
                  <a:lnTo>
                    <a:pt x="9843" y="13588"/>
                  </a:lnTo>
                  <a:lnTo>
                    <a:pt x="9776" y="13675"/>
                  </a:lnTo>
                  <a:lnTo>
                    <a:pt x="9710" y="13761"/>
                  </a:lnTo>
                  <a:lnTo>
                    <a:pt x="9641" y="13846"/>
                  </a:lnTo>
                  <a:lnTo>
                    <a:pt x="9571" y="13930"/>
                  </a:lnTo>
                  <a:lnTo>
                    <a:pt x="9501" y="14012"/>
                  </a:lnTo>
                  <a:lnTo>
                    <a:pt x="9430" y="14095"/>
                  </a:lnTo>
                  <a:lnTo>
                    <a:pt x="9358" y="14175"/>
                  </a:lnTo>
                  <a:lnTo>
                    <a:pt x="9284" y="14255"/>
                  </a:lnTo>
                  <a:lnTo>
                    <a:pt x="9210" y="14333"/>
                  </a:lnTo>
                  <a:lnTo>
                    <a:pt x="9135" y="14410"/>
                  </a:lnTo>
                  <a:lnTo>
                    <a:pt x="9059" y="14487"/>
                  </a:lnTo>
                  <a:lnTo>
                    <a:pt x="8982" y="14562"/>
                  </a:lnTo>
                  <a:lnTo>
                    <a:pt x="8904" y="14636"/>
                  </a:lnTo>
                  <a:lnTo>
                    <a:pt x="8825" y="14708"/>
                  </a:lnTo>
                  <a:lnTo>
                    <a:pt x="8746" y="14779"/>
                  </a:lnTo>
                  <a:lnTo>
                    <a:pt x="8666" y="14850"/>
                  </a:lnTo>
                  <a:lnTo>
                    <a:pt x="8584" y="14918"/>
                  </a:lnTo>
                  <a:lnTo>
                    <a:pt x="8502" y="14987"/>
                  </a:lnTo>
                  <a:lnTo>
                    <a:pt x="8474" y="14988"/>
                  </a:lnTo>
                  <a:close/>
                  <a:moveTo>
                    <a:pt x="7036" y="14898"/>
                  </a:moveTo>
                  <a:lnTo>
                    <a:pt x="6913" y="14877"/>
                  </a:lnTo>
                  <a:lnTo>
                    <a:pt x="6791" y="14854"/>
                  </a:lnTo>
                  <a:lnTo>
                    <a:pt x="6670" y="14829"/>
                  </a:lnTo>
                  <a:lnTo>
                    <a:pt x="6550" y="14802"/>
                  </a:lnTo>
                  <a:lnTo>
                    <a:pt x="6431" y="14774"/>
                  </a:lnTo>
                  <a:lnTo>
                    <a:pt x="6312" y="14743"/>
                  </a:lnTo>
                  <a:lnTo>
                    <a:pt x="6194" y="14710"/>
                  </a:lnTo>
                  <a:lnTo>
                    <a:pt x="6077" y="14676"/>
                  </a:lnTo>
                  <a:lnTo>
                    <a:pt x="5961" y="14639"/>
                  </a:lnTo>
                  <a:lnTo>
                    <a:pt x="5846" y="14601"/>
                  </a:lnTo>
                  <a:lnTo>
                    <a:pt x="5731" y="14561"/>
                  </a:lnTo>
                  <a:lnTo>
                    <a:pt x="5618" y="14519"/>
                  </a:lnTo>
                  <a:lnTo>
                    <a:pt x="5505" y="14475"/>
                  </a:lnTo>
                  <a:lnTo>
                    <a:pt x="5395" y="14429"/>
                  </a:lnTo>
                  <a:lnTo>
                    <a:pt x="5284" y="14382"/>
                  </a:lnTo>
                  <a:lnTo>
                    <a:pt x="5174" y="14333"/>
                  </a:lnTo>
                  <a:lnTo>
                    <a:pt x="5065" y="14282"/>
                  </a:lnTo>
                  <a:lnTo>
                    <a:pt x="4958" y="14229"/>
                  </a:lnTo>
                  <a:lnTo>
                    <a:pt x="4851" y="14175"/>
                  </a:lnTo>
                  <a:lnTo>
                    <a:pt x="4746" y="14119"/>
                  </a:lnTo>
                  <a:lnTo>
                    <a:pt x="4641" y="14062"/>
                  </a:lnTo>
                  <a:lnTo>
                    <a:pt x="4538" y="14001"/>
                  </a:lnTo>
                  <a:lnTo>
                    <a:pt x="4436" y="13940"/>
                  </a:lnTo>
                  <a:lnTo>
                    <a:pt x="4335" y="13878"/>
                  </a:lnTo>
                  <a:lnTo>
                    <a:pt x="4235" y="13814"/>
                  </a:lnTo>
                  <a:lnTo>
                    <a:pt x="4137" y="13748"/>
                  </a:lnTo>
                  <a:lnTo>
                    <a:pt x="4038" y="13681"/>
                  </a:lnTo>
                  <a:lnTo>
                    <a:pt x="3943" y="13612"/>
                  </a:lnTo>
                  <a:lnTo>
                    <a:pt x="3847" y="13540"/>
                  </a:lnTo>
                  <a:lnTo>
                    <a:pt x="3753" y="13469"/>
                  </a:lnTo>
                  <a:lnTo>
                    <a:pt x="3660" y="13395"/>
                  </a:lnTo>
                  <a:lnTo>
                    <a:pt x="3569" y="13320"/>
                  </a:lnTo>
                  <a:lnTo>
                    <a:pt x="3668" y="13255"/>
                  </a:lnTo>
                  <a:lnTo>
                    <a:pt x="3767" y="13191"/>
                  </a:lnTo>
                  <a:lnTo>
                    <a:pt x="3867" y="13127"/>
                  </a:lnTo>
                  <a:lnTo>
                    <a:pt x="3968" y="13065"/>
                  </a:lnTo>
                  <a:lnTo>
                    <a:pt x="4071" y="13005"/>
                  </a:lnTo>
                  <a:lnTo>
                    <a:pt x="4174" y="12946"/>
                  </a:lnTo>
                  <a:lnTo>
                    <a:pt x="4278" y="12889"/>
                  </a:lnTo>
                  <a:lnTo>
                    <a:pt x="4383" y="12833"/>
                  </a:lnTo>
                  <a:lnTo>
                    <a:pt x="4489" y="12779"/>
                  </a:lnTo>
                  <a:lnTo>
                    <a:pt x="4596" y="12726"/>
                  </a:lnTo>
                  <a:lnTo>
                    <a:pt x="4704" y="12674"/>
                  </a:lnTo>
                  <a:lnTo>
                    <a:pt x="4813" y="12624"/>
                  </a:lnTo>
                  <a:lnTo>
                    <a:pt x="4923" y="12575"/>
                  </a:lnTo>
                  <a:lnTo>
                    <a:pt x="5033" y="12529"/>
                  </a:lnTo>
                  <a:lnTo>
                    <a:pt x="5144" y="12484"/>
                  </a:lnTo>
                  <a:lnTo>
                    <a:pt x="5257" y="12440"/>
                  </a:lnTo>
                  <a:lnTo>
                    <a:pt x="5301" y="12528"/>
                  </a:lnTo>
                  <a:lnTo>
                    <a:pt x="5345" y="12614"/>
                  </a:lnTo>
                  <a:lnTo>
                    <a:pt x="5391" y="12701"/>
                  </a:lnTo>
                  <a:lnTo>
                    <a:pt x="5437" y="12786"/>
                  </a:lnTo>
                  <a:lnTo>
                    <a:pt x="5484" y="12871"/>
                  </a:lnTo>
                  <a:lnTo>
                    <a:pt x="5532" y="12955"/>
                  </a:lnTo>
                  <a:lnTo>
                    <a:pt x="5580" y="13039"/>
                  </a:lnTo>
                  <a:lnTo>
                    <a:pt x="5630" y="13121"/>
                  </a:lnTo>
                  <a:lnTo>
                    <a:pt x="5680" y="13204"/>
                  </a:lnTo>
                  <a:lnTo>
                    <a:pt x="5731" y="13286"/>
                  </a:lnTo>
                  <a:lnTo>
                    <a:pt x="5783" y="13367"/>
                  </a:lnTo>
                  <a:lnTo>
                    <a:pt x="5835" y="13447"/>
                  </a:lnTo>
                  <a:lnTo>
                    <a:pt x="5888" y="13526"/>
                  </a:lnTo>
                  <a:lnTo>
                    <a:pt x="5943" y="13606"/>
                  </a:lnTo>
                  <a:lnTo>
                    <a:pt x="5997" y="13684"/>
                  </a:lnTo>
                  <a:lnTo>
                    <a:pt x="6052" y="13761"/>
                  </a:lnTo>
                  <a:lnTo>
                    <a:pt x="6109" y="13837"/>
                  </a:lnTo>
                  <a:lnTo>
                    <a:pt x="6166" y="13913"/>
                  </a:lnTo>
                  <a:lnTo>
                    <a:pt x="6224" y="13988"/>
                  </a:lnTo>
                  <a:lnTo>
                    <a:pt x="6282" y="14064"/>
                  </a:lnTo>
                  <a:lnTo>
                    <a:pt x="6341" y="14137"/>
                  </a:lnTo>
                  <a:lnTo>
                    <a:pt x="6400" y="14210"/>
                  </a:lnTo>
                  <a:lnTo>
                    <a:pt x="6461" y="14282"/>
                  </a:lnTo>
                  <a:lnTo>
                    <a:pt x="6522" y="14354"/>
                  </a:lnTo>
                  <a:lnTo>
                    <a:pt x="6584" y="14424"/>
                  </a:lnTo>
                  <a:lnTo>
                    <a:pt x="6647" y="14495"/>
                  </a:lnTo>
                  <a:lnTo>
                    <a:pt x="6710" y="14564"/>
                  </a:lnTo>
                  <a:lnTo>
                    <a:pt x="6774" y="14633"/>
                  </a:lnTo>
                  <a:lnTo>
                    <a:pt x="6839" y="14700"/>
                  </a:lnTo>
                  <a:lnTo>
                    <a:pt x="6903" y="14767"/>
                  </a:lnTo>
                  <a:lnTo>
                    <a:pt x="6969" y="14833"/>
                  </a:lnTo>
                  <a:lnTo>
                    <a:pt x="7036" y="14898"/>
                  </a:lnTo>
                  <a:close/>
                  <a:moveTo>
                    <a:pt x="7945" y="8277"/>
                  </a:moveTo>
                  <a:lnTo>
                    <a:pt x="7945" y="11394"/>
                  </a:lnTo>
                  <a:lnTo>
                    <a:pt x="7867" y="11396"/>
                  </a:lnTo>
                  <a:lnTo>
                    <a:pt x="7789" y="11400"/>
                  </a:lnTo>
                  <a:lnTo>
                    <a:pt x="7711" y="11404"/>
                  </a:lnTo>
                  <a:lnTo>
                    <a:pt x="7633" y="11408"/>
                  </a:lnTo>
                  <a:lnTo>
                    <a:pt x="7555" y="11413"/>
                  </a:lnTo>
                  <a:lnTo>
                    <a:pt x="7478" y="11419"/>
                  </a:lnTo>
                  <a:lnTo>
                    <a:pt x="7401" y="11425"/>
                  </a:lnTo>
                  <a:lnTo>
                    <a:pt x="7324" y="11433"/>
                  </a:lnTo>
                  <a:lnTo>
                    <a:pt x="7247" y="11440"/>
                  </a:lnTo>
                  <a:lnTo>
                    <a:pt x="7170" y="11449"/>
                  </a:lnTo>
                  <a:lnTo>
                    <a:pt x="7094" y="11458"/>
                  </a:lnTo>
                  <a:lnTo>
                    <a:pt x="7018" y="11467"/>
                  </a:lnTo>
                  <a:lnTo>
                    <a:pt x="6942" y="11477"/>
                  </a:lnTo>
                  <a:lnTo>
                    <a:pt x="6866" y="11488"/>
                  </a:lnTo>
                  <a:lnTo>
                    <a:pt x="6790" y="11500"/>
                  </a:lnTo>
                  <a:lnTo>
                    <a:pt x="6715" y="11512"/>
                  </a:lnTo>
                  <a:lnTo>
                    <a:pt x="6640" y="11525"/>
                  </a:lnTo>
                  <a:lnTo>
                    <a:pt x="6565" y="11538"/>
                  </a:lnTo>
                  <a:lnTo>
                    <a:pt x="6491" y="11552"/>
                  </a:lnTo>
                  <a:lnTo>
                    <a:pt x="6416" y="11566"/>
                  </a:lnTo>
                  <a:lnTo>
                    <a:pt x="6342" y="11582"/>
                  </a:lnTo>
                  <a:lnTo>
                    <a:pt x="6268" y="11598"/>
                  </a:lnTo>
                  <a:lnTo>
                    <a:pt x="6194" y="11614"/>
                  </a:lnTo>
                  <a:lnTo>
                    <a:pt x="6120" y="11631"/>
                  </a:lnTo>
                  <a:lnTo>
                    <a:pt x="6047" y="11649"/>
                  </a:lnTo>
                  <a:lnTo>
                    <a:pt x="5973" y="11667"/>
                  </a:lnTo>
                  <a:lnTo>
                    <a:pt x="5901" y="11686"/>
                  </a:lnTo>
                  <a:lnTo>
                    <a:pt x="5829" y="11706"/>
                  </a:lnTo>
                  <a:lnTo>
                    <a:pt x="5756" y="11726"/>
                  </a:lnTo>
                  <a:lnTo>
                    <a:pt x="5684" y="11747"/>
                  </a:lnTo>
                  <a:lnTo>
                    <a:pt x="5612" y="11768"/>
                  </a:lnTo>
                  <a:lnTo>
                    <a:pt x="5540" y="11791"/>
                  </a:lnTo>
                  <a:lnTo>
                    <a:pt x="5498" y="11690"/>
                  </a:lnTo>
                  <a:lnTo>
                    <a:pt x="5457" y="11590"/>
                  </a:lnTo>
                  <a:lnTo>
                    <a:pt x="5417" y="11488"/>
                  </a:lnTo>
                  <a:lnTo>
                    <a:pt x="5377" y="11386"/>
                  </a:lnTo>
                  <a:lnTo>
                    <a:pt x="5339" y="11282"/>
                  </a:lnTo>
                  <a:lnTo>
                    <a:pt x="5303" y="11178"/>
                  </a:lnTo>
                  <a:lnTo>
                    <a:pt x="5267" y="11074"/>
                  </a:lnTo>
                  <a:lnTo>
                    <a:pt x="5233" y="10969"/>
                  </a:lnTo>
                  <a:lnTo>
                    <a:pt x="5200" y="10863"/>
                  </a:lnTo>
                  <a:lnTo>
                    <a:pt x="5167" y="10757"/>
                  </a:lnTo>
                  <a:lnTo>
                    <a:pt x="5136" y="10650"/>
                  </a:lnTo>
                  <a:lnTo>
                    <a:pt x="5106" y="10543"/>
                  </a:lnTo>
                  <a:lnTo>
                    <a:pt x="5079" y="10434"/>
                  </a:lnTo>
                  <a:lnTo>
                    <a:pt x="5051" y="10325"/>
                  </a:lnTo>
                  <a:lnTo>
                    <a:pt x="5025" y="10216"/>
                  </a:lnTo>
                  <a:lnTo>
                    <a:pt x="5000" y="10106"/>
                  </a:lnTo>
                  <a:lnTo>
                    <a:pt x="4976" y="9995"/>
                  </a:lnTo>
                  <a:lnTo>
                    <a:pt x="4954" y="9884"/>
                  </a:lnTo>
                  <a:lnTo>
                    <a:pt x="4933" y="9773"/>
                  </a:lnTo>
                  <a:lnTo>
                    <a:pt x="4913" y="9661"/>
                  </a:lnTo>
                  <a:lnTo>
                    <a:pt x="4895" y="9548"/>
                  </a:lnTo>
                  <a:lnTo>
                    <a:pt x="4877" y="9435"/>
                  </a:lnTo>
                  <a:lnTo>
                    <a:pt x="4861" y="9321"/>
                  </a:lnTo>
                  <a:lnTo>
                    <a:pt x="4847" y="9207"/>
                  </a:lnTo>
                  <a:lnTo>
                    <a:pt x="4833" y="9092"/>
                  </a:lnTo>
                  <a:lnTo>
                    <a:pt x="4822" y="8977"/>
                  </a:lnTo>
                  <a:lnTo>
                    <a:pt x="4811" y="8862"/>
                  </a:lnTo>
                  <a:lnTo>
                    <a:pt x="4802" y="8746"/>
                  </a:lnTo>
                  <a:lnTo>
                    <a:pt x="4794" y="8628"/>
                  </a:lnTo>
                  <a:lnTo>
                    <a:pt x="4787" y="8512"/>
                  </a:lnTo>
                  <a:lnTo>
                    <a:pt x="4782" y="8394"/>
                  </a:lnTo>
                  <a:lnTo>
                    <a:pt x="4779" y="8277"/>
                  </a:lnTo>
                  <a:lnTo>
                    <a:pt x="7945" y="8277"/>
                  </a:lnTo>
                  <a:close/>
                  <a:moveTo>
                    <a:pt x="5353" y="4695"/>
                  </a:moveTo>
                  <a:lnTo>
                    <a:pt x="5430" y="4721"/>
                  </a:lnTo>
                  <a:lnTo>
                    <a:pt x="5507" y="4746"/>
                  </a:lnTo>
                  <a:lnTo>
                    <a:pt x="5583" y="4770"/>
                  </a:lnTo>
                  <a:lnTo>
                    <a:pt x="5661" y="4793"/>
                  </a:lnTo>
                  <a:lnTo>
                    <a:pt x="5739" y="4816"/>
                  </a:lnTo>
                  <a:lnTo>
                    <a:pt x="5817" y="4838"/>
                  </a:lnTo>
                  <a:lnTo>
                    <a:pt x="5896" y="4860"/>
                  </a:lnTo>
                  <a:lnTo>
                    <a:pt x="5974" y="4880"/>
                  </a:lnTo>
                  <a:lnTo>
                    <a:pt x="6053" y="4900"/>
                  </a:lnTo>
                  <a:lnTo>
                    <a:pt x="6134" y="4920"/>
                  </a:lnTo>
                  <a:lnTo>
                    <a:pt x="6213" y="4938"/>
                  </a:lnTo>
                  <a:lnTo>
                    <a:pt x="6293" y="4956"/>
                  </a:lnTo>
                  <a:lnTo>
                    <a:pt x="6373" y="4973"/>
                  </a:lnTo>
                  <a:lnTo>
                    <a:pt x="6454" y="4990"/>
                  </a:lnTo>
                  <a:lnTo>
                    <a:pt x="6535" y="5005"/>
                  </a:lnTo>
                  <a:lnTo>
                    <a:pt x="6615" y="5020"/>
                  </a:lnTo>
                  <a:lnTo>
                    <a:pt x="6697" y="5035"/>
                  </a:lnTo>
                  <a:lnTo>
                    <a:pt x="6778" y="5048"/>
                  </a:lnTo>
                  <a:lnTo>
                    <a:pt x="6860" y="5061"/>
                  </a:lnTo>
                  <a:lnTo>
                    <a:pt x="6942" y="5073"/>
                  </a:lnTo>
                  <a:lnTo>
                    <a:pt x="7024" y="5084"/>
                  </a:lnTo>
                  <a:lnTo>
                    <a:pt x="7106" y="5095"/>
                  </a:lnTo>
                  <a:lnTo>
                    <a:pt x="7189" y="5105"/>
                  </a:lnTo>
                  <a:lnTo>
                    <a:pt x="7273" y="5114"/>
                  </a:lnTo>
                  <a:lnTo>
                    <a:pt x="7356" y="5122"/>
                  </a:lnTo>
                  <a:lnTo>
                    <a:pt x="7439" y="5131"/>
                  </a:lnTo>
                  <a:lnTo>
                    <a:pt x="7523" y="5137"/>
                  </a:lnTo>
                  <a:lnTo>
                    <a:pt x="7607" y="5143"/>
                  </a:lnTo>
                  <a:lnTo>
                    <a:pt x="7691" y="5149"/>
                  </a:lnTo>
                  <a:lnTo>
                    <a:pt x="7775" y="5153"/>
                  </a:lnTo>
                  <a:lnTo>
                    <a:pt x="7860" y="5157"/>
                  </a:lnTo>
                  <a:lnTo>
                    <a:pt x="7945" y="5160"/>
                  </a:lnTo>
                  <a:lnTo>
                    <a:pt x="7945" y="7759"/>
                  </a:lnTo>
                  <a:lnTo>
                    <a:pt x="4779" y="7759"/>
                  </a:lnTo>
                  <a:lnTo>
                    <a:pt x="4782" y="7658"/>
                  </a:lnTo>
                  <a:lnTo>
                    <a:pt x="4786" y="7557"/>
                  </a:lnTo>
                  <a:lnTo>
                    <a:pt x="4791" y="7456"/>
                  </a:lnTo>
                  <a:lnTo>
                    <a:pt x="4797" y="7356"/>
                  </a:lnTo>
                  <a:lnTo>
                    <a:pt x="4805" y="7255"/>
                  </a:lnTo>
                  <a:lnTo>
                    <a:pt x="4812" y="7155"/>
                  </a:lnTo>
                  <a:lnTo>
                    <a:pt x="4821" y="7056"/>
                  </a:lnTo>
                  <a:lnTo>
                    <a:pt x="4831" y="6957"/>
                  </a:lnTo>
                  <a:lnTo>
                    <a:pt x="4843" y="6857"/>
                  </a:lnTo>
                  <a:lnTo>
                    <a:pt x="4854" y="6759"/>
                  </a:lnTo>
                  <a:lnTo>
                    <a:pt x="4867" y="6661"/>
                  </a:lnTo>
                  <a:lnTo>
                    <a:pt x="4881" y="6563"/>
                  </a:lnTo>
                  <a:lnTo>
                    <a:pt x="4896" y="6466"/>
                  </a:lnTo>
                  <a:lnTo>
                    <a:pt x="4911" y="6368"/>
                  </a:lnTo>
                  <a:lnTo>
                    <a:pt x="4928" y="6272"/>
                  </a:lnTo>
                  <a:lnTo>
                    <a:pt x="4945" y="6176"/>
                  </a:lnTo>
                  <a:lnTo>
                    <a:pt x="4964" y="6080"/>
                  </a:lnTo>
                  <a:lnTo>
                    <a:pt x="4983" y="5984"/>
                  </a:lnTo>
                  <a:lnTo>
                    <a:pt x="5004" y="5889"/>
                  </a:lnTo>
                  <a:lnTo>
                    <a:pt x="5025" y="5795"/>
                  </a:lnTo>
                  <a:lnTo>
                    <a:pt x="5048" y="5701"/>
                  </a:lnTo>
                  <a:lnTo>
                    <a:pt x="5070" y="5607"/>
                  </a:lnTo>
                  <a:lnTo>
                    <a:pt x="5095" y="5513"/>
                  </a:lnTo>
                  <a:lnTo>
                    <a:pt x="5120" y="5420"/>
                  </a:lnTo>
                  <a:lnTo>
                    <a:pt x="5145" y="5328"/>
                  </a:lnTo>
                  <a:lnTo>
                    <a:pt x="5172" y="5236"/>
                  </a:lnTo>
                  <a:lnTo>
                    <a:pt x="5201" y="5145"/>
                  </a:lnTo>
                  <a:lnTo>
                    <a:pt x="5228" y="5053"/>
                  </a:lnTo>
                  <a:lnTo>
                    <a:pt x="5258" y="4963"/>
                  </a:lnTo>
                  <a:lnTo>
                    <a:pt x="5289" y="4873"/>
                  </a:lnTo>
                  <a:lnTo>
                    <a:pt x="5321" y="4784"/>
                  </a:lnTo>
                  <a:lnTo>
                    <a:pt x="5353" y="4695"/>
                  </a:lnTo>
                  <a:close/>
                  <a:moveTo>
                    <a:pt x="5056" y="4040"/>
                  </a:moveTo>
                  <a:lnTo>
                    <a:pt x="4994" y="4015"/>
                  </a:lnTo>
                  <a:lnTo>
                    <a:pt x="4934" y="3989"/>
                  </a:lnTo>
                  <a:lnTo>
                    <a:pt x="4873" y="3963"/>
                  </a:lnTo>
                  <a:lnTo>
                    <a:pt x="4813" y="3936"/>
                  </a:lnTo>
                  <a:lnTo>
                    <a:pt x="4753" y="3909"/>
                  </a:lnTo>
                  <a:lnTo>
                    <a:pt x="4693" y="3882"/>
                  </a:lnTo>
                  <a:lnTo>
                    <a:pt x="4633" y="3854"/>
                  </a:lnTo>
                  <a:lnTo>
                    <a:pt x="4575" y="3825"/>
                  </a:lnTo>
                  <a:lnTo>
                    <a:pt x="4515" y="3796"/>
                  </a:lnTo>
                  <a:lnTo>
                    <a:pt x="4457" y="3766"/>
                  </a:lnTo>
                  <a:lnTo>
                    <a:pt x="4398" y="3736"/>
                  </a:lnTo>
                  <a:lnTo>
                    <a:pt x="4341" y="3705"/>
                  </a:lnTo>
                  <a:lnTo>
                    <a:pt x="4282" y="3674"/>
                  </a:lnTo>
                  <a:lnTo>
                    <a:pt x="4225" y="3643"/>
                  </a:lnTo>
                  <a:lnTo>
                    <a:pt x="4168" y="3611"/>
                  </a:lnTo>
                  <a:lnTo>
                    <a:pt x="4111" y="3579"/>
                  </a:lnTo>
                  <a:lnTo>
                    <a:pt x="3998" y="3513"/>
                  </a:lnTo>
                  <a:lnTo>
                    <a:pt x="3886" y="3446"/>
                  </a:lnTo>
                  <a:lnTo>
                    <a:pt x="3776" y="3377"/>
                  </a:lnTo>
                  <a:lnTo>
                    <a:pt x="3667" y="3305"/>
                  </a:lnTo>
                  <a:lnTo>
                    <a:pt x="3559" y="3233"/>
                  </a:lnTo>
                  <a:lnTo>
                    <a:pt x="3451" y="3159"/>
                  </a:lnTo>
                  <a:lnTo>
                    <a:pt x="3345" y="3084"/>
                  </a:lnTo>
                  <a:lnTo>
                    <a:pt x="3241" y="3007"/>
                  </a:lnTo>
                  <a:lnTo>
                    <a:pt x="3337" y="2917"/>
                  </a:lnTo>
                  <a:lnTo>
                    <a:pt x="3436" y="2829"/>
                  </a:lnTo>
                  <a:lnTo>
                    <a:pt x="3535" y="2743"/>
                  </a:lnTo>
                  <a:lnTo>
                    <a:pt x="3637" y="2659"/>
                  </a:lnTo>
                  <a:lnTo>
                    <a:pt x="3740" y="2576"/>
                  </a:lnTo>
                  <a:lnTo>
                    <a:pt x="3845" y="2496"/>
                  </a:lnTo>
                  <a:lnTo>
                    <a:pt x="3951" y="2417"/>
                  </a:lnTo>
                  <a:lnTo>
                    <a:pt x="4059" y="2340"/>
                  </a:lnTo>
                  <a:lnTo>
                    <a:pt x="4168" y="2266"/>
                  </a:lnTo>
                  <a:lnTo>
                    <a:pt x="4279" y="2193"/>
                  </a:lnTo>
                  <a:lnTo>
                    <a:pt x="4391" y="2122"/>
                  </a:lnTo>
                  <a:lnTo>
                    <a:pt x="4505" y="2054"/>
                  </a:lnTo>
                  <a:lnTo>
                    <a:pt x="4620" y="1986"/>
                  </a:lnTo>
                  <a:lnTo>
                    <a:pt x="4736" y="1921"/>
                  </a:lnTo>
                  <a:lnTo>
                    <a:pt x="4854" y="1859"/>
                  </a:lnTo>
                  <a:lnTo>
                    <a:pt x="4973" y="1799"/>
                  </a:lnTo>
                  <a:lnTo>
                    <a:pt x="5093" y="1740"/>
                  </a:lnTo>
                  <a:lnTo>
                    <a:pt x="5215" y="1684"/>
                  </a:lnTo>
                  <a:lnTo>
                    <a:pt x="5338" y="1630"/>
                  </a:lnTo>
                  <a:lnTo>
                    <a:pt x="5461" y="1579"/>
                  </a:lnTo>
                  <a:lnTo>
                    <a:pt x="5587" y="1528"/>
                  </a:lnTo>
                  <a:lnTo>
                    <a:pt x="5714" y="1481"/>
                  </a:lnTo>
                  <a:lnTo>
                    <a:pt x="5841" y="1436"/>
                  </a:lnTo>
                  <a:lnTo>
                    <a:pt x="5969" y="1393"/>
                  </a:lnTo>
                  <a:lnTo>
                    <a:pt x="6100" y="1353"/>
                  </a:lnTo>
                  <a:lnTo>
                    <a:pt x="6230" y="1315"/>
                  </a:lnTo>
                  <a:lnTo>
                    <a:pt x="6362" y="1279"/>
                  </a:lnTo>
                  <a:lnTo>
                    <a:pt x="6495" y="1246"/>
                  </a:lnTo>
                  <a:lnTo>
                    <a:pt x="6628" y="1215"/>
                  </a:lnTo>
                  <a:lnTo>
                    <a:pt x="6764" y="1187"/>
                  </a:lnTo>
                  <a:lnTo>
                    <a:pt x="6899" y="1161"/>
                  </a:lnTo>
                  <a:lnTo>
                    <a:pt x="7036" y="1137"/>
                  </a:lnTo>
                  <a:lnTo>
                    <a:pt x="6960" y="1213"/>
                  </a:lnTo>
                  <a:lnTo>
                    <a:pt x="6884" y="1289"/>
                  </a:lnTo>
                  <a:lnTo>
                    <a:pt x="6809" y="1367"/>
                  </a:lnTo>
                  <a:lnTo>
                    <a:pt x="6735" y="1446"/>
                  </a:lnTo>
                  <a:lnTo>
                    <a:pt x="6662" y="1525"/>
                  </a:lnTo>
                  <a:lnTo>
                    <a:pt x="6589" y="1607"/>
                  </a:lnTo>
                  <a:lnTo>
                    <a:pt x="6518" y="1689"/>
                  </a:lnTo>
                  <a:lnTo>
                    <a:pt x="6448" y="1771"/>
                  </a:lnTo>
                  <a:lnTo>
                    <a:pt x="6379" y="1855"/>
                  </a:lnTo>
                  <a:lnTo>
                    <a:pt x="6310" y="1940"/>
                  </a:lnTo>
                  <a:lnTo>
                    <a:pt x="6242" y="2027"/>
                  </a:lnTo>
                  <a:lnTo>
                    <a:pt x="6176" y="2113"/>
                  </a:lnTo>
                  <a:lnTo>
                    <a:pt x="6110" y="2201"/>
                  </a:lnTo>
                  <a:lnTo>
                    <a:pt x="6045" y="2290"/>
                  </a:lnTo>
                  <a:lnTo>
                    <a:pt x="5982" y="2379"/>
                  </a:lnTo>
                  <a:lnTo>
                    <a:pt x="5919" y="2471"/>
                  </a:lnTo>
                  <a:lnTo>
                    <a:pt x="5857" y="2562"/>
                  </a:lnTo>
                  <a:lnTo>
                    <a:pt x="5797" y="2654"/>
                  </a:lnTo>
                  <a:lnTo>
                    <a:pt x="5736" y="2748"/>
                  </a:lnTo>
                  <a:lnTo>
                    <a:pt x="5678" y="2842"/>
                  </a:lnTo>
                  <a:lnTo>
                    <a:pt x="5620" y="2938"/>
                  </a:lnTo>
                  <a:lnTo>
                    <a:pt x="5564" y="3034"/>
                  </a:lnTo>
                  <a:lnTo>
                    <a:pt x="5508" y="3130"/>
                  </a:lnTo>
                  <a:lnTo>
                    <a:pt x="5453" y="3228"/>
                  </a:lnTo>
                  <a:lnTo>
                    <a:pt x="5400" y="3326"/>
                  </a:lnTo>
                  <a:lnTo>
                    <a:pt x="5347" y="3427"/>
                  </a:lnTo>
                  <a:lnTo>
                    <a:pt x="5296" y="3527"/>
                  </a:lnTo>
                  <a:lnTo>
                    <a:pt x="5246" y="3628"/>
                  </a:lnTo>
                  <a:lnTo>
                    <a:pt x="5197" y="3729"/>
                  </a:lnTo>
                  <a:lnTo>
                    <a:pt x="5148" y="3833"/>
                  </a:lnTo>
                  <a:lnTo>
                    <a:pt x="5102" y="3936"/>
                  </a:lnTo>
                  <a:lnTo>
                    <a:pt x="5056" y="4040"/>
                  </a:lnTo>
                  <a:close/>
                  <a:moveTo>
                    <a:pt x="7945" y="1047"/>
                  </a:moveTo>
                  <a:lnTo>
                    <a:pt x="7945" y="4642"/>
                  </a:lnTo>
                  <a:lnTo>
                    <a:pt x="7867" y="4639"/>
                  </a:lnTo>
                  <a:lnTo>
                    <a:pt x="7789" y="4635"/>
                  </a:lnTo>
                  <a:lnTo>
                    <a:pt x="7711" y="4631"/>
                  </a:lnTo>
                  <a:lnTo>
                    <a:pt x="7633" y="4626"/>
                  </a:lnTo>
                  <a:lnTo>
                    <a:pt x="7556" y="4621"/>
                  </a:lnTo>
                  <a:lnTo>
                    <a:pt x="7478" y="4614"/>
                  </a:lnTo>
                  <a:lnTo>
                    <a:pt x="7401" y="4607"/>
                  </a:lnTo>
                  <a:lnTo>
                    <a:pt x="7325" y="4600"/>
                  </a:lnTo>
                  <a:lnTo>
                    <a:pt x="7248" y="4591"/>
                  </a:lnTo>
                  <a:lnTo>
                    <a:pt x="7172" y="4582"/>
                  </a:lnTo>
                  <a:lnTo>
                    <a:pt x="7095" y="4573"/>
                  </a:lnTo>
                  <a:lnTo>
                    <a:pt x="7020" y="4562"/>
                  </a:lnTo>
                  <a:lnTo>
                    <a:pt x="6944" y="4551"/>
                  </a:lnTo>
                  <a:lnTo>
                    <a:pt x="6868" y="4540"/>
                  </a:lnTo>
                  <a:lnTo>
                    <a:pt x="6793" y="4527"/>
                  </a:lnTo>
                  <a:lnTo>
                    <a:pt x="6718" y="4514"/>
                  </a:lnTo>
                  <a:lnTo>
                    <a:pt x="6644" y="4501"/>
                  </a:lnTo>
                  <a:lnTo>
                    <a:pt x="6569" y="4486"/>
                  </a:lnTo>
                  <a:lnTo>
                    <a:pt x="6495" y="4471"/>
                  </a:lnTo>
                  <a:lnTo>
                    <a:pt x="6421" y="4456"/>
                  </a:lnTo>
                  <a:lnTo>
                    <a:pt x="6347" y="4439"/>
                  </a:lnTo>
                  <a:lnTo>
                    <a:pt x="6273" y="4423"/>
                  </a:lnTo>
                  <a:lnTo>
                    <a:pt x="6200" y="4405"/>
                  </a:lnTo>
                  <a:lnTo>
                    <a:pt x="6127" y="4387"/>
                  </a:lnTo>
                  <a:lnTo>
                    <a:pt x="6055" y="4368"/>
                  </a:lnTo>
                  <a:lnTo>
                    <a:pt x="5982" y="4348"/>
                  </a:lnTo>
                  <a:lnTo>
                    <a:pt x="5910" y="4328"/>
                  </a:lnTo>
                  <a:lnTo>
                    <a:pt x="5838" y="4308"/>
                  </a:lnTo>
                  <a:lnTo>
                    <a:pt x="5766" y="4286"/>
                  </a:lnTo>
                  <a:lnTo>
                    <a:pt x="5694" y="4264"/>
                  </a:lnTo>
                  <a:lnTo>
                    <a:pt x="5624" y="4242"/>
                  </a:lnTo>
                  <a:lnTo>
                    <a:pt x="5553" y="4217"/>
                  </a:lnTo>
                  <a:lnTo>
                    <a:pt x="5605" y="4099"/>
                  </a:lnTo>
                  <a:lnTo>
                    <a:pt x="5658" y="3982"/>
                  </a:lnTo>
                  <a:lnTo>
                    <a:pt x="5714" y="3866"/>
                  </a:lnTo>
                  <a:lnTo>
                    <a:pt x="5771" y="3750"/>
                  </a:lnTo>
                  <a:lnTo>
                    <a:pt x="5830" y="3637"/>
                  </a:lnTo>
                  <a:lnTo>
                    <a:pt x="5889" y="3524"/>
                  </a:lnTo>
                  <a:lnTo>
                    <a:pt x="5951" y="3412"/>
                  </a:lnTo>
                  <a:lnTo>
                    <a:pt x="6014" y="3301"/>
                  </a:lnTo>
                  <a:lnTo>
                    <a:pt x="6078" y="3192"/>
                  </a:lnTo>
                  <a:lnTo>
                    <a:pt x="6144" y="3084"/>
                  </a:lnTo>
                  <a:lnTo>
                    <a:pt x="6212" y="2978"/>
                  </a:lnTo>
                  <a:lnTo>
                    <a:pt x="6279" y="2871"/>
                  </a:lnTo>
                  <a:lnTo>
                    <a:pt x="6349" y="2767"/>
                  </a:lnTo>
                  <a:lnTo>
                    <a:pt x="6421" y="2664"/>
                  </a:lnTo>
                  <a:lnTo>
                    <a:pt x="6494" y="2563"/>
                  </a:lnTo>
                  <a:lnTo>
                    <a:pt x="6568" y="2463"/>
                  </a:lnTo>
                  <a:lnTo>
                    <a:pt x="6643" y="2363"/>
                  </a:lnTo>
                  <a:lnTo>
                    <a:pt x="6718" y="2265"/>
                  </a:lnTo>
                  <a:lnTo>
                    <a:pt x="6796" y="2169"/>
                  </a:lnTo>
                  <a:lnTo>
                    <a:pt x="6875" y="2074"/>
                  </a:lnTo>
                  <a:lnTo>
                    <a:pt x="6955" y="1980"/>
                  </a:lnTo>
                  <a:lnTo>
                    <a:pt x="7038" y="1888"/>
                  </a:lnTo>
                  <a:lnTo>
                    <a:pt x="7121" y="1798"/>
                  </a:lnTo>
                  <a:lnTo>
                    <a:pt x="7204" y="1709"/>
                  </a:lnTo>
                  <a:lnTo>
                    <a:pt x="7289" y="1621"/>
                  </a:lnTo>
                  <a:lnTo>
                    <a:pt x="7375" y="1534"/>
                  </a:lnTo>
                  <a:lnTo>
                    <a:pt x="7463" y="1449"/>
                  </a:lnTo>
                  <a:lnTo>
                    <a:pt x="7552" y="1366"/>
                  </a:lnTo>
                  <a:lnTo>
                    <a:pt x="7642" y="1285"/>
                  </a:lnTo>
                  <a:lnTo>
                    <a:pt x="7732" y="1205"/>
                  </a:lnTo>
                  <a:lnTo>
                    <a:pt x="7825" y="1126"/>
                  </a:lnTo>
                  <a:lnTo>
                    <a:pt x="7918" y="1049"/>
                  </a:lnTo>
                  <a:lnTo>
                    <a:pt x="7931" y="1048"/>
                  </a:lnTo>
                  <a:lnTo>
                    <a:pt x="7945" y="1047"/>
                  </a:lnTo>
                  <a:close/>
                  <a:moveTo>
                    <a:pt x="9383" y="1137"/>
                  </a:moveTo>
                  <a:lnTo>
                    <a:pt x="9520" y="1161"/>
                  </a:lnTo>
                  <a:lnTo>
                    <a:pt x="9656" y="1187"/>
                  </a:lnTo>
                  <a:lnTo>
                    <a:pt x="9791" y="1215"/>
                  </a:lnTo>
                  <a:lnTo>
                    <a:pt x="9924" y="1246"/>
                  </a:lnTo>
                  <a:lnTo>
                    <a:pt x="10058" y="1279"/>
                  </a:lnTo>
                  <a:lnTo>
                    <a:pt x="10189" y="1315"/>
                  </a:lnTo>
                  <a:lnTo>
                    <a:pt x="10320" y="1353"/>
                  </a:lnTo>
                  <a:lnTo>
                    <a:pt x="10450" y="1393"/>
                  </a:lnTo>
                  <a:lnTo>
                    <a:pt x="10578" y="1436"/>
                  </a:lnTo>
                  <a:lnTo>
                    <a:pt x="10706" y="1481"/>
                  </a:lnTo>
                  <a:lnTo>
                    <a:pt x="10832" y="1528"/>
                  </a:lnTo>
                  <a:lnTo>
                    <a:pt x="10958" y="1579"/>
                  </a:lnTo>
                  <a:lnTo>
                    <a:pt x="11082" y="1630"/>
                  </a:lnTo>
                  <a:lnTo>
                    <a:pt x="11205" y="1684"/>
                  </a:lnTo>
                  <a:lnTo>
                    <a:pt x="11326" y="1740"/>
                  </a:lnTo>
                  <a:lnTo>
                    <a:pt x="11446" y="1799"/>
                  </a:lnTo>
                  <a:lnTo>
                    <a:pt x="11565" y="1859"/>
                  </a:lnTo>
                  <a:lnTo>
                    <a:pt x="11683" y="1921"/>
                  </a:lnTo>
                  <a:lnTo>
                    <a:pt x="11799" y="1986"/>
                  </a:lnTo>
                  <a:lnTo>
                    <a:pt x="11914" y="2054"/>
                  </a:lnTo>
                  <a:lnTo>
                    <a:pt x="12028" y="2122"/>
                  </a:lnTo>
                  <a:lnTo>
                    <a:pt x="12140" y="2193"/>
                  </a:lnTo>
                  <a:lnTo>
                    <a:pt x="12251" y="2266"/>
                  </a:lnTo>
                  <a:lnTo>
                    <a:pt x="12360" y="2340"/>
                  </a:lnTo>
                  <a:lnTo>
                    <a:pt x="12468" y="2417"/>
                  </a:lnTo>
                  <a:lnTo>
                    <a:pt x="12574" y="2496"/>
                  </a:lnTo>
                  <a:lnTo>
                    <a:pt x="12679" y="2576"/>
                  </a:lnTo>
                  <a:lnTo>
                    <a:pt x="12782" y="2659"/>
                  </a:lnTo>
                  <a:lnTo>
                    <a:pt x="12884" y="2743"/>
                  </a:lnTo>
                  <a:lnTo>
                    <a:pt x="12983" y="2829"/>
                  </a:lnTo>
                  <a:lnTo>
                    <a:pt x="13082" y="2917"/>
                  </a:lnTo>
                  <a:lnTo>
                    <a:pt x="13178" y="3007"/>
                  </a:lnTo>
                  <a:lnTo>
                    <a:pt x="13074" y="3084"/>
                  </a:lnTo>
                  <a:lnTo>
                    <a:pt x="12968" y="3159"/>
                  </a:lnTo>
                  <a:lnTo>
                    <a:pt x="12861" y="3233"/>
                  </a:lnTo>
                  <a:lnTo>
                    <a:pt x="12752" y="3305"/>
                  </a:lnTo>
                  <a:lnTo>
                    <a:pt x="12644" y="3377"/>
                  </a:lnTo>
                  <a:lnTo>
                    <a:pt x="12533" y="3446"/>
                  </a:lnTo>
                  <a:lnTo>
                    <a:pt x="12421" y="3513"/>
                  </a:lnTo>
                  <a:lnTo>
                    <a:pt x="12308" y="3579"/>
                  </a:lnTo>
                  <a:lnTo>
                    <a:pt x="12252" y="3611"/>
                  </a:lnTo>
                  <a:lnTo>
                    <a:pt x="12194" y="3643"/>
                  </a:lnTo>
                  <a:lnTo>
                    <a:pt x="12137" y="3674"/>
                  </a:lnTo>
                  <a:lnTo>
                    <a:pt x="12078" y="3705"/>
                  </a:lnTo>
                  <a:lnTo>
                    <a:pt x="12021" y="3736"/>
                  </a:lnTo>
                  <a:lnTo>
                    <a:pt x="11962" y="3766"/>
                  </a:lnTo>
                  <a:lnTo>
                    <a:pt x="11904" y="3796"/>
                  </a:lnTo>
                  <a:lnTo>
                    <a:pt x="11844" y="3825"/>
                  </a:lnTo>
                  <a:lnTo>
                    <a:pt x="11786" y="3854"/>
                  </a:lnTo>
                  <a:lnTo>
                    <a:pt x="11726" y="3882"/>
                  </a:lnTo>
                  <a:lnTo>
                    <a:pt x="11667" y="3909"/>
                  </a:lnTo>
                  <a:lnTo>
                    <a:pt x="11606" y="3936"/>
                  </a:lnTo>
                  <a:lnTo>
                    <a:pt x="11546" y="3963"/>
                  </a:lnTo>
                  <a:lnTo>
                    <a:pt x="11485" y="3989"/>
                  </a:lnTo>
                  <a:lnTo>
                    <a:pt x="11425" y="4015"/>
                  </a:lnTo>
                  <a:lnTo>
                    <a:pt x="11363" y="4040"/>
                  </a:lnTo>
                  <a:lnTo>
                    <a:pt x="11317" y="3936"/>
                  </a:lnTo>
                  <a:lnTo>
                    <a:pt x="11271" y="3833"/>
                  </a:lnTo>
                  <a:lnTo>
                    <a:pt x="11222" y="3729"/>
                  </a:lnTo>
                  <a:lnTo>
                    <a:pt x="11173" y="3628"/>
                  </a:lnTo>
                  <a:lnTo>
                    <a:pt x="11123" y="3527"/>
                  </a:lnTo>
                  <a:lnTo>
                    <a:pt x="11072" y="3427"/>
                  </a:lnTo>
                  <a:lnTo>
                    <a:pt x="11019" y="3326"/>
                  </a:lnTo>
                  <a:lnTo>
                    <a:pt x="10966" y="3228"/>
                  </a:lnTo>
                  <a:lnTo>
                    <a:pt x="10911" y="3130"/>
                  </a:lnTo>
                  <a:lnTo>
                    <a:pt x="10855" y="3034"/>
                  </a:lnTo>
                  <a:lnTo>
                    <a:pt x="10799" y="2938"/>
                  </a:lnTo>
                  <a:lnTo>
                    <a:pt x="10741" y="2842"/>
                  </a:lnTo>
                  <a:lnTo>
                    <a:pt x="10683" y="2748"/>
                  </a:lnTo>
                  <a:lnTo>
                    <a:pt x="10623" y="2654"/>
                  </a:lnTo>
                  <a:lnTo>
                    <a:pt x="10562" y="2562"/>
                  </a:lnTo>
                  <a:lnTo>
                    <a:pt x="10500" y="2471"/>
                  </a:lnTo>
                  <a:lnTo>
                    <a:pt x="10437" y="2379"/>
                  </a:lnTo>
                  <a:lnTo>
                    <a:pt x="10374" y="2290"/>
                  </a:lnTo>
                  <a:lnTo>
                    <a:pt x="10309" y="2201"/>
                  </a:lnTo>
                  <a:lnTo>
                    <a:pt x="10243" y="2113"/>
                  </a:lnTo>
                  <a:lnTo>
                    <a:pt x="10177" y="2027"/>
                  </a:lnTo>
                  <a:lnTo>
                    <a:pt x="10109" y="1940"/>
                  </a:lnTo>
                  <a:lnTo>
                    <a:pt x="10041" y="1855"/>
                  </a:lnTo>
                  <a:lnTo>
                    <a:pt x="9971" y="1771"/>
                  </a:lnTo>
                  <a:lnTo>
                    <a:pt x="9901" y="1689"/>
                  </a:lnTo>
                  <a:lnTo>
                    <a:pt x="9830" y="1607"/>
                  </a:lnTo>
                  <a:lnTo>
                    <a:pt x="9758" y="1525"/>
                  </a:lnTo>
                  <a:lnTo>
                    <a:pt x="9685" y="1446"/>
                  </a:lnTo>
                  <a:lnTo>
                    <a:pt x="9610" y="1367"/>
                  </a:lnTo>
                  <a:lnTo>
                    <a:pt x="9536" y="1289"/>
                  </a:lnTo>
                  <a:lnTo>
                    <a:pt x="9460" y="1213"/>
                  </a:lnTo>
                  <a:lnTo>
                    <a:pt x="9383" y="1137"/>
                  </a:lnTo>
                  <a:close/>
                  <a:moveTo>
                    <a:pt x="8502" y="1049"/>
                  </a:moveTo>
                  <a:lnTo>
                    <a:pt x="8595" y="1126"/>
                  </a:lnTo>
                  <a:lnTo>
                    <a:pt x="8687" y="1205"/>
                  </a:lnTo>
                  <a:lnTo>
                    <a:pt x="8778" y="1285"/>
                  </a:lnTo>
                  <a:lnTo>
                    <a:pt x="8867" y="1366"/>
                  </a:lnTo>
                  <a:lnTo>
                    <a:pt x="8957" y="1449"/>
                  </a:lnTo>
                  <a:lnTo>
                    <a:pt x="9044" y="1534"/>
                  </a:lnTo>
                  <a:lnTo>
                    <a:pt x="9130" y="1621"/>
                  </a:lnTo>
                  <a:lnTo>
                    <a:pt x="9215" y="1709"/>
                  </a:lnTo>
                  <a:lnTo>
                    <a:pt x="9299" y="1798"/>
                  </a:lnTo>
                  <a:lnTo>
                    <a:pt x="9382" y="1888"/>
                  </a:lnTo>
                  <a:lnTo>
                    <a:pt x="9464" y="1980"/>
                  </a:lnTo>
                  <a:lnTo>
                    <a:pt x="9544" y="2074"/>
                  </a:lnTo>
                  <a:lnTo>
                    <a:pt x="9623" y="2169"/>
                  </a:lnTo>
                  <a:lnTo>
                    <a:pt x="9701" y="2265"/>
                  </a:lnTo>
                  <a:lnTo>
                    <a:pt x="9778" y="2363"/>
                  </a:lnTo>
                  <a:lnTo>
                    <a:pt x="9852" y="2463"/>
                  </a:lnTo>
                  <a:lnTo>
                    <a:pt x="9926" y="2563"/>
                  </a:lnTo>
                  <a:lnTo>
                    <a:pt x="9999" y="2664"/>
                  </a:lnTo>
                  <a:lnTo>
                    <a:pt x="10070" y="2767"/>
                  </a:lnTo>
                  <a:lnTo>
                    <a:pt x="10140" y="2871"/>
                  </a:lnTo>
                  <a:lnTo>
                    <a:pt x="10209" y="2978"/>
                  </a:lnTo>
                  <a:lnTo>
                    <a:pt x="10275" y="3084"/>
                  </a:lnTo>
                  <a:lnTo>
                    <a:pt x="10341" y="3192"/>
                  </a:lnTo>
                  <a:lnTo>
                    <a:pt x="10406" y="3301"/>
                  </a:lnTo>
                  <a:lnTo>
                    <a:pt x="10468" y="3412"/>
                  </a:lnTo>
                  <a:lnTo>
                    <a:pt x="10530" y="3524"/>
                  </a:lnTo>
                  <a:lnTo>
                    <a:pt x="10589" y="3637"/>
                  </a:lnTo>
                  <a:lnTo>
                    <a:pt x="10648" y="3750"/>
                  </a:lnTo>
                  <a:lnTo>
                    <a:pt x="10705" y="3866"/>
                  </a:lnTo>
                  <a:lnTo>
                    <a:pt x="10761" y="3982"/>
                  </a:lnTo>
                  <a:lnTo>
                    <a:pt x="10815" y="4099"/>
                  </a:lnTo>
                  <a:lnTo>
                    <a:pt x="10867" y="4217"/>
                  </a:lnTo>
                  <a:lnTo>
                    <a:pt x="10797" y="4242"/>
                  </a:lnTo>
                  <a:lnTo>
                    <a:pt x="10725" y="4264"/>
                  </a:lnTo>
                  <a:lnTo>
                    <a:pt x="10654" y="4286"/>
                  </a:lnTo>
                  <a:lnTo>
                    <a:pt x="10582" y="4308"/>
                  </a:lnTo>
                  <a:lnTo>
                    <a:pt x="10510" y="4328"/>
                  </a:lnTo>
                  <a:lnTo>
                    <a:pt x="10437" y="4348"/>
                  </a:lnTo>
                  <a:lnTo>
                    <a:pt x="10366" y="4368"/>
                  </a:lnTo>
                  <a:lnTo>
                    <a:pt x="10293" y="4387"/>
                  </a:lnTo>
                  <a:lnTo>
                    <a:pt x="10219" y="4405"/>
                  </a:lnTo>
                  <a:lnTo>
                    <a:pt x="10146" y="4423"/>
                  </a:lnTo>
                  <a:lnTo>
                    <a:pt x="10072" y="4439"/>
                  </a:lnTo>
                  <a:lnTo>
                    <a:pt x="9998" y="4456"/>
                  </a:lnTo>
                  <a:lnTo>
                    <a:pt x="9924" y="4471"/>
                  </a:lnTo>
                  <a:lnTo>
                    <a:pt x="9850" y="4486"/>
                  </a:lnTo>
                  <a:lnTo>
                    <a:pt x="9775" y="4501"/>
                  </a:lnTo>
                  <a:lnTo>
                    <a:pt x="9701" y="4514"/>
                  </a:lnTo>
                  <a:lnTo>
                    <a:pt x="9626" y="4527"/>
                  </a:lnTo>
                  <a:lnTo>
                    <a:pt x="9551" y="4540"/>
                  </a:lnTo>
                  <a:lnTo>
                    <a:pt x="9475" y="4551"/>
                  </a:lnTo>
                  <a:lnTo>
                    <a:pt x="9400" y="4562"/>
                  </a:lnTo>
                  <a:lnTo>
                    <a:pt x="9324" y="4573"/>
                  </a:lnTo>
                  <a:lnTo>
                    <a:pt x="9247" y="4582"/>
                  </a:lnTo>
                  <a:lnTo>
                    <a:pt x="9171" y="4591"/>
                  </a:lnTo>
                  <a:lnTo>
                    <a:pt x="9094" y="4600"/>
                  </a:lnTo>
                  <a:lnTo>
                    <a:pt x="9018" y="4607"/>
                  </a:lnTo>
                  <a:lnTo>
                    <a:pt x="8940" y="4614"/>
                  </a:lnTo>
                  <a:lnTo>
                    <a:pt x="8863" y="4621"/>
                  </a:lnTo>
                  <a:lnTo>
                    <a:pt x="8786" y="4626"/>
                  </a:lnTo>
                  <a:lnTo>
                    <a:pt x="8708" y="4631"/>
                  </a:lnTo>
                  <a:lnTo>
                    <a:pt x="8630" y="4635"/>
                  </a:lnTo>
                  <a:lnTo>
                    <a:pt x="8552" y="4639"/>
                  </a:lnTo>
                  <a:lnTo>
                    <a:pt x="8474" y="4642"/>
                  </a:lnTo>
                  <a:lnTo>
                    <a:pt x="8474" y="1047"/>
                  </a:lnTo>
                  <a:lnTo>
                    <a:pt x="8489" y="1048"/>
                  </a:lnTo>
                  <a:lnTo>
                    <a:pt x="8502" y="1049"/>
                  </a:lnTo>
                  <a:close/>
                  <a:moveTo>
                    <a:pt x="7917" y="14987"/>
                  </a:moveTo>
                  <a:lnTo>
                    <a:pt x="7835" y="14918"/>
                  </a:lnTo>
                  <a:lnTo>
                    <a:pt x="7754" y="14850"/>
                  </a:lnTo>
                  <a:lnTo>
                    <a:pt x="7673" y="14779"/>
                  </a:lnTo>
                  <a:lnTo>
                    <a:pt x="7594" y="14708"/>
                  </a:lnTo>
                  <a:lnTo>
                    <a:pt x="7515" y="14636"/>
                  </a:lnTo>
                  <a:lnTo>
                    <a:pt x="7437" y="14562"/>
                  </a:lnTo>
                  <a:lnTo>
                    <a:pt x="7360" y="14487"/>
                  </a:lnTo>
                  <a:lnTo>
                    <a:pt x="7284" y="14410"/>
                  </a:lnTo>
                  <a:lnTo>
                    <a:pt x="7209" y="14333"/>
                  </a:lnTo>
                  <a:lnTo>
                    <a:pt x="7135" y="14255"/>
                  </a:lnTo>
                  <a:lnTo>
                    <a:pt x="7061" y="14175"/>
                  </a:lnTo>
                  <a:lnTo>
                    <a:pt x="6989" y="14095"/>
                  </a:lnTo>
                  <a:lnTo>
                    <a:pt x="6919" y="14012"/>
                  </a:lnTo>
                  <a:lnTo>
                    <a:pt x="6848" y="13930"/>
                  </a:lnTo>
                  <a:lnTo>
                    <a:pt x="6778" y="13846"/>
                  </a:lnTo>
                  <a:lnTo>
                    <a:pt x="6710" y="13761"/>
                  </a:lnTo>
                  <a:lnTo>
                    <a:pt x="6643" y="13675"/>
                  </a:lnTo>
                  <a:lnTo>
                    <a:pt x="6576" y="13588"/>
                  </a:lnTo>
                  <a:lnTo>
                    <a:pt x="6511" y="13499"/>
                  </a:lnTo>
                  <a:lnTo>
                    <a:pt x="6447" y="13410"/>
                  </a:lnTo>
                  <a:lnTo>
                    <a:pt x="6383" y="13319"/>
                  </a:lnTo>
                  <a:lnTo>
                    <a:pt x="6321" y="13228"/>
                  </a:lnTo>
                  <a:lnTo>
                    <a:pt x="6260" y="13135"/>
                  </a:lnTo>
                  <a:lnTo>
                    <a:pt x="6199" y="13042"/>
                  </a:lnTo>
                  <a:lnTo>
                    <a:pt x="6141" y="12948"/>
                  </a:lnTo>
                  <a:lnTo>
                    <a:pt x="6082" y="12853"/>
                  </a:lnTo>
                  <a:lnTo>
                    <a:pt x="6026" y="12757"/>
                  </a:lnTo>
                  <a:lnTo>
                    <a:pt x="5969" y="12659"/>
                  </a:lnTo>
                  <a:lnTo>
                    <a:pt x="5915" y="12561"/>
                  </a:lnTo>
                  <a:lnTo>
                    <a:pt x="5862" y="12462"/>
                  </a:lnTo>
                  <a:lnTo>
                    <a:pt x="5809" y="12363"/>
                  </a:lnTo>
                  <a:lnTo>
                    <a:pt x="5758" y="12262"/>
                  </a:lnTo>
                  <a:lnTo>
                    <a:pt x="5823" y="12242"/>
                  </a:lnTo>
                  <a:lnTo>
                    <a:pt x="5888" y="12223"/>
                  </a:lnTo>
                  <a:lnTo>
                    <a:pt x="5954" y="12204"/>
                  </a:lnTo>
                  <a:lnTo>
                    <a:pt x="6020" y="12187"/>
                  </a:lnTo>
                  <a:lnTo>
                    <a:pt x="6086" y="12169"/>
                  </a:lnTo>
                  <a:lnTo>
                    <a:pt x="6152" y="12153"/>
                  </a:lnTo>
                  <a:lnTo>
                    <a:pt x="6219" y="12136"/>
                  </a:lnTo>
                  <a:lnTo>
                    <a:pt x="6285" y="12121"/>
                  </a:lnTo>
                  <a:lnTo>
                    <a:pt x="6352" y="12106"/>
                  </a:lnTo>
                  <a:lnTo>
                    <a:pt x="6420" y="12091"/>
                  </a:lnTo>
                  <a:lnTo>
                    <a:pt x="6487" y="12077"/>
                  </a:lnTo>
                  <a:lnTo>
                    <a:pt x="6554" y="12064"/>
                  </a:lnTo>
                  <a:lnTo>
                    <a:pt x="6622" y="12051"/>
                  </a:lnTo>
                  <a:lnTo>
                    <a:pt x="6691" y="12039"/>
                  </a:lnTo>
                  <a:lnTo>
                    <a:pt x="6758" y="12027"/>
                  </a:lnTo>
                  <a:lnTo>
                    <a:pt x="6827" y="12016"/>
                  </a:lnTo>
                  <a:lnTo>
                    <a:pt x="6895" y="12005"/>
                  </a:lnTo>
                  <a:lnTo>
                    <a:pt x="6964" y="11995"/>
                  </a:lnTo>
                  <a:lnTo>
                    <a:pt x="7033" y="11986"/>
                  </a:lnTo>
                  <a:lnTo>
                    <a:pt x="7102" y="11976"/>
                  </a:lnTo>
                  <a:lnTo>
                    <a:pt x="7171" y="11968"/>
                  </a:lnTo>
                  <a:lnTo>
                    <a:pt x="7241" y="11960"/>
                  </a:lnTo>
                  <a:lnTo>
                    <a:pt x="7311" y="11953"/>
                  </a:lnTo>
                  <a:lnTo>
                    <a:pt x="7380" y="11946"/>
                  </a:lnTo>
                  <a:lnTo>
                    <a:pt x="7450" y="11940"/>
                  </a:lnTo>
                  <a:lnTo>
                    <a:pt x="7521" y="11934"/>
                  </a:lnTo>
                  <a:lnTo>
                    <a:pt x="7591" y="11929"/>
                  </a:lnTo>
                  <a:lnTo>
                    <a:pt x="7662" y="11924"/>
                  </a:lnTo>
                  <a:lnTo>
                    <a:pt x="7732" y="11920"/>
                  </a:lnTo>
                  <a:lnTo>
                    <a:pt x="7803" y="11916"/>
                  </a:lnTo>
                  <a:lnTo>
                    <a:pt x="7874" y="11913"/>
                  </a:lnTo>
                  <a:lnTo>
                    <a:pt x="7945" y="11911"/>
                  </a:lnTo>
                  <a:lnTo>
                    <a:pt x="7945" y="14988"/>
                  </a:lnTo>
                  <a:lnTo>
                    <a:pt x="7917" y="14987"/>
                  </a:lnTo>
                  <a:close/>
                  <a:moveTo>
                    <a:pt x="15347" y="7759"/>
                  </a:moveTo>
                  <a:lnTo>
                    <a:pt x="12171" y="7759"/>
                  </a:lnTo>
                  <a:lnTo>
                    <a:pt x="12168" y="7652"/>
                  </a:lnTo>
                  <a:lnTo>
                    <a:pt x="12163" y="7545"/>
                  </a:lnTo>
                  <a:lnTo>
                    <a:pt x="12157" y="7439"/>
                  </a:lnTo>
                  <a:lnTo>
                    <a:pt x="12151" y="7332"/>
                  </a:lnTo>
                  <a:lnTo>
                    <a:pt x="12144" y="7226"/>
                  </a:lnTo>
                  <a:lnTo>
                    <a:pt x="12136" y="7120"/>
                  </a:lnTo>
                  <a:lnTo>
                    <a:pt x="12126" y="7015"/>
                  </a:lnTo>
                  <a:lnTo>
                    <a:pt x="12115" y="6911"/>
                  </a:lnTo>
                  <a:lnTo>
                    <a:pt x="12104" y="6805"/>
                  </a:lnTo>
                  <a:lnTo>
                    <a:pt x="12092" y="6701"/>
                  </a:lnTo>
                  <a:lnTo>
                    <a:pt x="12078" y="6598"/>
                  </a:lnTo>
                  <a:lnTo>
                    <a:pt x="12063" y="6494"/>
                  </a:lnTo>
                  <a:lnTo>
                    <a:pt x="12047" y="6391"/>
                  </a:lnTo>
                  <a:lnTo>
                    <a:pt x="12031" y="6288"/>
                  </a:lnTo>
                  <a:lnTo>
                    <a:pt x="12014" y="6186"/>
                  </a:lnTo>
                  <a:lnTo>
                    <a:pt x="11995" y="6084"/>
                  </a:lnTo>
                  <a:lnTo>
                    <a:pt x="11976" y="5982"/>
                  </a:lnTo>
                  <a:lnTo>
                    <a:pt x="11954" y="5881"/>
                  </a:lnTo>
                  <a:lnTo>
                    <a:pt x="11933" y="5781"/>
                  </a:lnTo>
                  <a:lnTo>
                    <a:pt x="11910" y="5681"/>
                  </a:lnTo>
                  <a:lnTo>
                    <a:pt x="11886" y="5582"/>
                  </a:lnTo>
                  <a:lnTo>
                    <a:pt x="11862" y="5482"/>
                  </a:lnTo>
                  <a:lnTo>
                    <a:pt x="11836" y="5383"/>
                  </a:lnTo>
                  <a:lnTo>
                    <a:pt x="11810" y="5285"/>
                  </a:lnTo>
                  <a:lnTo>
                    <a:pt x="11783" y="5188"/>
                  </a:lnTo>
                  <a:lnTo>
                    <a:pt x="11754" y="5090"/>
                  </a:lnTo>
                  <a:lnTo>
                    <a:pt x="11724" y="4993"/>
                  </a:lnTo>
                  <a:lnTo>
                    <a:pt x="11694" y="4897"/>
                  </a:lnTo>
                  <a:lnTo>
                    <a:pt x="11663" y="4801"/>
                  </a:lnTo>
                  <a:lnTo>
                    <a:pt x="11630" y="4706"/>
                  </a:lnTo>
                  <a:lnTo>
                    <a:pt x="11597" y="4611"/>
                  </a:lnTo>
                  <a:lnTo>
                    <a:pt x="11563" y="4517"/>
                  </a:lnTo>
                  <a:lnTo>
                    <a:pt x="11630" y="4489"/>
                  </a:lnTo>
                  <a:lnTo>
                    <a:pt x="11695" y="4461"/>
                  </a:lnTo>
                  <a:lnTo>
                    <a:pt x="11762" y="4432"/>
                  </a:lnTo>
                  <a:lnTo>
                    <a:pt x="11828" y="4403"/>
                  </a:lnTo>
                  <a:lnTo>
                    <a:pt x="11894" y="4374"/>
                  </a:lnTo>
                  <a:lnTo>
                    <a:pt x="11959" y="4343"/>
                  </a:lnTo>
                  <a:lnTo>
                    <a:pt x="12024" y="4312"/>
                  </a:lnTo>
                  <a:lnTo>
                    <a:pt x="12088" y="4281"/>
                  </a:lnTo>
                  <a:lnTo>
                    <a:pt x="12153" y="4249"/>
                  </a:lnTo>
                  <a:lnTo>
                    <a:pt x="12217" y="4216"/>
                  </a:lnTo>
                  <a:lnTo>
                    <a:pt x="12280" y="4183"/>
                  </a:lnTo>
                  <a:lnTo>
                    <a:pt x="12344" y="4150"/>
                  </a:lnTo>
                  <a:lnTo>
                    <a:pt x="12407" y="4116"/>
                  </a:lnTo>
                  <a:lnTo>
                    <a:pt x="12469" y="4081"/>
                  </a:lnTo>
                  <a:lnTo>
                    <a:pt x="12532" y="4046"/>
                  </a:lnTo>
                  <a:lnTo>
                    <a:pt x="12593" y="4011"/>
                  </a:lnTo>
                  <a:lnTo>
                    <a:pt x="12655" y="3975"/>
                  </a:lnTo>
                  <a:lnTo>
                    <a:pt x="12717" y="3939"/>
                  </a:lnTo>
                  <a:lnTo>
                    <a:pt x="12778" y="3902"/>
                  </a:lnTo>
                  <a:lnTo>
                    <a:pt x="12839" y="3865"/>
                  </a:lnTo>
                  <a:lnTo>
                    <a:pt x="12899" y="3827"/>
                  </a:lnTo>
                  <a:lnTo>
                    <a:pt x="12959" y="3789"/>
                  </a:lnTo>
                  <a:lnTo>
                    <a:pt x="13019" y="3749"/>
                  </a:lnTo>
                  <a:lnTo>
                    <a:pt x="13078" y="3710"/>
                  </a:lnTo>
                  <a:lnTo>
                    <a:pt x="13137" y="3670"/>
                  </a:lnTo>
                  <a:lnTo>
                    <a:pt x="13196" y="3630"/>
                  </a:lnTo>
                  <a:lnTo>
                    <a:pt x="13254" y="3590"/>
                  </a:lnTo>
                  <a:lnTo>
                    <a:pt x="13313" y="3549"/>
                  </a:lnTo>
                  <a:lnTo>
                    <a:pt x="13370" y="3507"/>
                  </a:lnTo>
                  <a:lnTo>
                    <a:pt x="13428" y="3466"/>
                  </a:lnTo>
                  <a:lnTo>
                    <a:pt x="13485" y="3423"/>
                  </a:lnTo>
                  <a:lnTo>
                    <a:pt x="13542" y="3381"/>
                  </a:lnTo>
                  <a:lnTo>
                    <a:pt x="13641" y="3492"/>
                  </a:lnTo>
                  <a:lnTo>
                    <a:pt x="13738" y="3605"/>
                  </a:lnTo>
                  <a:lnTo>
                    <a:pt x="13832" y="3719"/>
                  </a:lnTo>
                  <a:lnTo>
                    <a:pt x="13924" y="3837"/>
                  </a:lnTo>
                  <a:lnTo>
                    <a:pt x="14014" y="3956"/>
                  </a:lnTo>
                  <a:lnTo>
                    <a:pt x="14101" y="4076"/>
                  </a:lnTo>
                  <a:lnTo>
                    <a:pt x="14185" y="4199"/>
                  </a:lnTo>
                  <a:lnTo>
                    <a:pt x="14266" y="4324"/>
                  </a:lnTo>
                  <a:lnTo>
                    <a:pt x="14346" y="4450"/>
                  </a:lnTo>
                  <a:lnTo>
                    <a:pt x="14422" y="4578"/>
                  </a:lnTo>
                  <a:lnTo>
                    <a:pt x="14496" y="4708"/>
                  </a:lnTo>
                  <a:lnTo>
                    <a:pt x="14567" y="4839"/>
                  </a:lnTo>
                  <a:lnTo>
                    <a:pt x="14634" y="4972"/>
                  </a:lnTo>
                  <a:lnTo>
                    <a:pt x="14700" y="5106"/>
                  </a:lnTo>
                  <a:lnTo>
                    <a:pt x="14763" y="5243"/>
                  </a:lnTo>
                  <a:lnTo>
                    <a:pt x="14822" y="5380"/>
                  </a:lnTo>
                  <a:lnTo>
                    <a:pt x="14879" y="5519"/>
                  </a:lnTo>
                  <a:lnTo>
                    <a:pt x="14932" y="5660"/>
                  </a:lnTo>
                  <a:lnTo>
                    <a:pt x="14982" y="5802"/>
                  </a:lnTo>
                  <a:lnTo>
                    <a:pt x="15031" y="5945"/>
                  </a:lnTo>
                  <a:lnTo>
                    <a:pt x="15075" y="6090"/>
                  </a:lnTo>
                  <a:lnTo>
                    <a:pt x="15116" y="6236"/>
                  </a:lnTo>
                  <a:lnTo>
                    <a:pt x="15154" y="6383"/>
                  </a:lnTo>
                  <a:lnTo>
                    <a:pt x="15189" y="6532"/>
                  </a:lnTo>
                  <a:lnTo>
                    <a:pt x="15220" y="6681"/>
                  </a:lnTo>
                  <a:lnTo>
                    <a:pt x="15248" y="6832"/>
                  </a:lnTo>
                  <a:lnTo>
                    <a:pt x="15273" y="6984"/>
                  </a:lnTo>
                  <a:lnTo>
                    <a:pt x="15294" y="7137"/>
                  </a:lnTo>
                  <a:lnTo>
                    <a:pt x="15313" y="7291"/>
                  </a:lnTo>
                  <a:lnTo>
                    <a:pt x="15327" y="7446"/>
                  </a:lnTo>
                  <a:lnTo>
                    <a:pt x="15338" y="7602"/>
                  </a:lnTo>
                  <a:lnTo>
                    <a:pt x="15347" y="7759"/>
                  </a:lnTo>
                  <a:close/>
                  <a:moveTo>
                    <a:pt x="8210" y="0"/>
                  </a:moveTo>
                  <a:lnTo>
                    <a:pt x="7787" y="10"/>
                  </a:lnTo>
                  <a:lnTo>
                    <a:pt x="7370" y="41"/>
                  </a:lnTo>
                  <a:lnTo>
                    <a:pt x="6960" y="92"/>
                  </a:lnTo>
                  <a:lnTo>
                    <a:pt x="6555" y="162"/>
                  </a:lnTo>
                  <a:lnTo>
                    <a:pt x="6158" y="253"/>
                  </a:lnTo>
                  <a:lnTo>
                    <a:pt x="5768" y="361"/>
                  </a:lnTo>
                  <a:lnTo>
                    <a:pt x="5386" y="486"/>
                  </a:lnTo>
                  <a:lnTo>
                    <a:pt x="5014" y="630"/>
                  </a:lnTo>
                  <a:lnTo>
                    <a:pt x="4651" y="791"/>
                  </a:lnTo>
                  <a:lnTo>
                    <a:pt x="4297" y="967"/>
                  </a:lnTo>
                  <a:lnTo>
                    <a:pt x="3953" y="1161"/>
                  </a:lnTo>
                  <a:lnTo>
                    <a:pt x="3619" y="1369"/>
                  </a:lnTo>
                  <a:lnTo>
                    <a:pt x="3298" y="1593"/>
                  </a:lnTo>
                  <a:lnTo>
                    <a:pt x="2987" y="1831"/>
                  </a:lnTo>
                  <a:lnTo>
                    <a:pt x="2690" y="2083"/>
                  </a:lnTo>
                  <a:lnTo>
                    <a:pt x="2404" y="2348"/>
                  </a:lnTo>
                  <a:lnTo>
                    <a:pt x="2132" y="2627"/>
                  </a:lnTo>
                  <a:lnTo>
                    <a:pt x="1875" y="2918"/>
                  </a:lnTo>
                  <a:lnTo>
                    <a:pt x="1631" y="3220"/>
                  </a:lnTo>
                  <a:lnTo>
                    <a:pt x="1402" y="3535"/>
                  </a:lnTo>
                  <a:lnTo>
                    <a:pt x="1188" y="3861"/>
                  </a:lnTo>
                  <a:lnTo>
                    <a:pt x="991" y="4195"/>
                  </a:lnTo>
                  <a:lnTo>
                    <a:pt x="810" y="4541"/>
                  </a:lnTo>
                  <a:lnTo>
                    <a:pt x="645" y="4897"/>
                  </a:lnTo>
                  <a:lnTo>
                    <a:pt x="498" y="5261"/>
                  </a:lnTo>
                  <a:lnTo>
                    <a:pt x="369" y="5634"/>
                  </a:lnTo>
                  <a:lnTo>
                    <a:pt x="259" y="6014"/>
                  </a:lnTo>
                  <a:lnTo>
                    <a:pt x="167" y="6402"/>
                  </a:lnTo>
                  <a:lnTo>
                    <a:pt x="94" y="6797"/>
                  </a:lnTo>
                  <a:lnTo>
                    <a:pt x="42" y="7198"/>
                  </a:lnTo>
                  <a:lnTo>
                    <a:pt x="10" y="7605"/>
                  </a:lnTo>
                  <a:lnTo>
                    <a:pt x="0" y="8018"/>
                  </a:lnTo>
                  <a:lnTo>
                    <a:pt x="10" y="8431"/>
                  </a:lnTo>
                  <a:lnTo>
                    <a:pt x="42" y="8838"/>
                  </a:lnTo>
                  <a:lnTo>
                    <a:pt x="94" y="9239"/>
                  </a:lnTo>
                  <a:lnTo>
                    <a:pt x="167" y="9634"/>
                  </a:lnTo>
                  <a:lnTo>
                    <a:pt x="259" y="10021"/>
                  </a:lnTo>
                  <a:lnTo>
                    <a:pt x="369" y="10402"/>
                  </a:lnTo>
                  <a:lnTo>
                    <a:pt x="498" y="10774"/>
                  </a:lnTo>
                  <a:lnTo>
                    <a:pt x="645" y="11139"/>
                  </a:lnTo>
                  <a:lnTo>
                    <a:pt x="810" y="11494"/>
                  </a:lnTo>
                  <a:lnTo>
                    <a:pt x="991" y="11840"/>
                  </a:lnTo>
                  <a:lnTo>
                    <a:pt x="1188" y="12175"/>
                  </a:lnTo>
                  <a:lnTo>
                    <a:pt x="1402" y="12501"/>
                  </a:lnTo>
                  <a:lnTo>
                    <a:pt x="1631" y="12815"/>
                  </a:lnTo>
                  <a:lnTo>
                    <a:pt x="1875" y="13118"/>
                  </a:lnTo>
                  <a:lnTo>
                    <a:pt x="2132" y="13409"/>
                  </a:lnTo>
                  <a:lnTo>
                    <a:pt x="2404" y="13688"/>
                  </a:lnTo>
                  <a:lnTo>
                    <a:pt x="2690" y="13953"/>
                  </a:lnTo>
                  <a:lnTo>
                    <a:pt x="2987" y="14205"/>
                  </a:lnTo>
                  <a:lnTo>
                    <a:pt x="3298" y="14443"/>
                  </a:lnTo>
                  <a:lnTo>
                    <a:pt x="3619" y="14667"/>
                  </a:lnTo>
                  <a:lnTo>
                    <a:pt x="3953" y="14875"/>
                  </a:lnTo>
                  <a:lnTo>
                    <a:pt x="4297" y="15068"/>
                  </a:lnTo>
                  <a:lnTo>
                    <a:pt x="4651" y="15245"/>
                  </a:lnTo>
                  <a:lnTo>
                    <a:pt x="5014" y="15406"/>
                  </a:lnTo>
                  <a:lnTo>
                    <a:pt x="5386" y="15550"/>
                  </a:lnTo>
                  <a:lnTo>
                    <a:pt x="5768" y="15675"/>
                  </a:lnTo>
                  <a:lnTo>
                    <a:pt x="6158" y="15783"/>
                  </a:lnTo>
                  <a:lnTo>
                    <a:pt x="6555" y="15873"/>
                  </a:lnTo>
                  <a:lnTo>
                    <a:pt x="6960" y="15944"/>
                  </a:lnTo>
                  <a:lnTo>
                    <a:pt x="7370" y="15995"/>
                  </a:lnTo>
                  <a:lnTo>
                    <a:pt x="7787" y="16026"/>
                  </a:lnTo>
                  <a:lnTo>
                    <a:pt x="8210" y="16036"/>
                  </a:lnTo>
                  <a:lnTo>
                    <a:pt x="8632" y="16026"/>
                  </a:lnTo>
                  <a:lnTo>
                    <a:pt x="9049" y="15995"/>
                  </a:lnTo>
                  <a:lnTo>
                    <a:pt x="9459" y="15944"/>
                  </a:lnTo>
                  <a:lnTo>
                    <a:pt x="9864" y="15873"/>
                  </a:lnTo>
                  <a:lnTo>
                    <a:pt x="10261" y="15783"/>
                  </a:lnTo>
                  <a:lnTo>
                    <a:pt x="10651" y="15675"/>
                  </a:lnTo>
                  <a:lnTo>
                    <a:pt x="11033" y="15550"/>
                  </a:lnTo>
                  <a:lnTo>
                    <a:pt x="11405" y="15406"/>
                  </a:lnTo>
                  <a:lnTo>
                    <a:pt x="11768" y="15245"/>
                  </a:lnTo>
                  <a:lnTo>
                    <a:pt x="12122" y="15068"/>
                  </a:lnTo>
                  <a:lnTo>
                    <a:pt x="12466" y="14875"/>
                  </a:lnTo>
                  <a:lnTo>
                    <a:pt x="12800" y="14667"/>
                  </a:lnTo>
                  <a:lnTo>
                    <a:pt x="13122" y="14443"/>
                  </a:lnTo>
                  <a:lnTo>
                    <a:pt x="13432" y="14205"/>
                  </a:lnTo>
                  <a:lnTo>
                    <a:pt x="13729" y="13953"/>
                  </a:lnTo>
                  <a:lnTo>
                    <a:pt x="14015" y="13688"/>
                  </a:lnTo>
                  <a:lnTo>
                    <a:pt x="14287" y="13409"/>
                  </a:lnTo>
                  <a:lnTo>
                    <a:pt x="14544" y="13118"/>
                  </a:lnTo>
                  <a:lnTo>
                    <a:pt x="14788" y="12815"/>
                  </a:lnTo>
                  <a:lnTo>
                    <a:pt x="15017" y="12501"/>
                  </a:lnTo>
                  <a:lnTo>
                    <a:pt x="15231" y="12175"/>
                  </a:lnTo>
                  <a:lnTo>
                    <a:pt x="15428" y="11840"/>
                  </a:lnTo>
                  <a:lnTo>
                    <a:pt x="15609" y="11494"/>
                  </a:lnTo>
                  <a:lnTo>
                    <a:pt x="15774" y="11139"/>
                  </a:lnTo>
                  <a:lnTo>
                    <a:pt x="15921" y="10774"/>
                  </a:lnTo>
                  <a:lnTo>
                    <a:pt x="16050" y="10402"/>
                  </a:lnTo>
                  <a:lnTo>
                    <a:pt x="16160" y="10021"/>
                  </a:lnTo>
                  <a:lnTo>
                    <a:pt x="16253" y="9634"/>
                  </a:lnTo>
                  <a:lnTo>
                    <a:pt x="16325" y="9239"/>
                  </a:lnTo>
                  <a:lnTo>
                    <a:pt x="16377" y="8838"/>
                  </a:lnTo>
                  <a:lnTo>
                    <a:pt x="16409" y="8431"/>
                  </a:lnTo>
                  <a:lnTo>
                    <a:pt x="16419" y="8018"/>
                  </a:lnTo>
                  <a:lnTo>
                    <a:pt x="16409" y="7605"/>
                  </a:lnTo>
                  <a:lnTo>
                    <a:pt x="16377" y="7198"/>
                  </a:lnTo>
                  <a:lnTo>
                    <a:pt x="16325" y="6797"/>
                  </a:lnTo>
                  <a:lnTo>
                    <a:pt x="16253" y="6402"/>
                  </a:lnTo>
                  <a:lnTo>
                    <a:pt x="16160" y="6014"/>
                  </a:lnTo>
                  <a:lnTo>
                    <a:pt x="16050" y="5634"/>
                  </a:lnTo>
                  <a:lnTo>
                    <a:pt x="15921" y="5261"/>
                  </a:lnTo>
                  <a:lnTo>
                    <a:pt x="15774" y="4897"/>
                  </a:lnTo>
                  <a:lnTo>
                    <a:pt x="15609" y="4541"/>
                  </a:lnTo>
                  <a:lnTo>
                    <a:pt x="15428" y="4195"/>
                  </a:lnTo>
                  <a:lnTo>
                    <a:pt x="15231" y="3861"/>
                  </a:lnTo>
                  <a:lnTo>
                    <a:pt x="15017" y="3535"/>
                  </a:lnTo>
                  <a:lnTo>
                    <a:pt x="14788" y="3220"/>
                  </a:lnTo>
                  <a:lnTo>
                    <a:pt x="14544" y="2918"/>
                  </a:lnTo>
                  <a:lnTo>
                    <a:pt x="14287" y="2627"/>
                  </a:lnTo>
                  <a:lnTo>
                    <a:pt x="14015" y="2348"/>
                  </a:lnTo>
                  <a:lnTo>
                    <a:pt x="13729" y="2083"/>
                  </a:lnTo>
                  <a:lnTo>
                    <a:pt x="13432" y="1831"/>
                  </a:lnTo>
                  <a:lnTo>
                    <a:pt x="13122" y="1593"/>
                  </a:lnTo>
                  <a:lnTo>
                    <a:pt x="12800" y="1369"/>
                  </a:lnTo>
                  <a:lnTo>
                    <a:pt x="12466" y="1161"/>
                  </a:lnTo>
                  <a:lnTo>
                    <a:pt x="12122" y="967"/>
                  </a:lnTo>
                  <a:lnTo>
                    <a:pt x="11768" y="791"/>
                  </a:lnTo>
                  <a:lnTo>
                    <a:pt x="11405" y="630"/>
                  </a:lnTo>
                  <a:lnTo>
                    <a:pt x="11033" y="486"/>
                  </a:lnTo>
                  <a:lnTo>
                    <a:pt x="10651" y="361"/>
                  </a:lnTo>
                  <a:lnTo>
                    <a:pt x="10261" y="253"/>
                  </a:lnTo>
                  <a:lnTo>
                    <a:pt x="9864" y="162"/>
                  </a:lnTo>
                  <a:lnTo>
                    <a:pt x="9459" y="92"/>
                  </a:lnTo>
                  <a:lnTo>
                    <a:pt x="9049" y="41"/>
                  </a:lnTo>
                  <a:lnTo>
                    <a:pt x="8632" y="10"/>
                  </a:lnTo>
                  <a:lnTo>
                    <a:pt x="821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60" name="işlïḓè">
              <a:extLst>
                <a:ext uri="{FF2B5EF4-FFF2-40B4-BE49-F238E27FC236}">
                  <a16:creationId xmlns:a16="http://schemas.microsoft.com/office/drawing/2014/main" id="{D0F88A41-2613-42FD-A0C7-78EEB84CA39E}"/>
                </a:ext>
              </a:extLst>
            </p:cNvPr>
            <p:cNvSpPr/>
            <p:nvPr/>
          </p:nvSpPr>
          <p:spPr bwMode="auto">
            <a:xfrm>
              <a:off x="10078620" y="1470466"/>
              <a:ext cx="236122" cy="151900"/>
            </a:xfrm>
            <a:custGeom>
              <a:avLst/>
              <a:gdLst>
                <a:gd name="T0" fmla="*/ 4713 w 5797"/>
                <a:gd name="T1" fmla="*/ 41 h 3756"/>
                <a:gd name="T2" fmla="*/ 3661 w 5797"/>
                <a:gd name="T3" fmla="*/ 216 h 3756"/>
                <a:gd name="T4" fmla="*/ 2695 w 5797"/>
                <a:gd name="T5" fmla="*/ 516 h 3756"/>
                <a:gd name="T6" fmla="*/ 1839 w 5797"/>
                <a:gd name="T7" fmla="*/ 924 h 3756"/>
                <a:gd name="T8" fmla="*/ 1118 w 5797"/>
                <a:gd name="T9" fmla="*/ 1423 h 3756"/>
                <a:gd name="T10" fmla="*/ 556 w 5797"/>
                <a:gd name="T11" fmla="*/ 2001 h 3756"/>
                <a:gd name="T12" fmla="*/ 178 w 5797"/>
                <a:gd name="T13" fmla="*/ 2641 h 3756"/>
                <a:gd name="T14" fmla="*/ 7 w 5797"/>
                <a:gd name="T15" fmla="*/ 3329 h 3756"/>
                <a:gd name="T16" fmla="*/ 3 w 5797"/>
                <a:gd name="T17" fmla="*/ 3544 h 3756"/>
                <a:gd name="T18" fmla="*/ 15 w 5797"/>
                <a:gd name="T19" fmla="*/ 3592 h 3756"/>
                <a:gd name="T20" fmla="*/ 36 w 5797"/>
                <a:gd name="T21" fmla="*/ 3636 h 3756"/>
                <a:gd name="T22" fmla="*/ 65 w 5797"/>
                <a:gd name="T23" fmla="*/ 3674 h 3756"/>
                <a:gd name="T24" fmla="*/ 100 w 5797"/>
                <a:gd name="T25" fmla="*/ 3706 h 3756"/>
                <a:gd name="T26" fmla="*/ 143 w 5797"/>
                <a:gd name="T27" fmla="*/ 3731 h 3756"/>
                <a:gd name="T28" fmla="*/ 189 w 5797"/>
                <a:gd name="T29" fmla="*/ 3748 h 3756"/>
                <a:gd name="T30" fmla="*/ 239 w 5797"/>
                <a:gd name="T31" fmla="*/ 3756 h 3756"/>
                <a:gd name="T32" fmla="*/ 290 w 5797"/>
                <a:gd name="T33" fmla="*/ 3753 h 3756"/>
                <a:gd name="T34" fmla="*/ 338 w 5797"/>
                <a:gd name="T35" fmla="*/ 3741 h 3756"/>
                <a:gd name="T36" fmla="*/ 383 w 5797"/>
                <a:gd name="T37" fmla="*/ 3720 h 3756"/>
                <a:gd name="T38" fmla="*/ 421 w 5797"/>
                <a:gd name="T39" fmla="*/ 3691 h 3756"/>
                <a:gd name="T40" fmla="*/ 453 w 5797"/>
                <a:gd name="T41" fmla="*/ 3655 h 3756"/>
                <a:gd name="T42" fmla="*/ 479 w 5797"/>
                <a:gd name="T43" fmla="*/ 3614 h 3756"/>
                <a:gd name="T44" fmla="*/ 496 w 5797"/>
                <a:gd name="T45" fmla="*/ 3568 h 3756"/>
                <a:gd name="T46" fmla="*/ 504 w 5797"/>
                <a:gd name="T47" fmla="*/ 3519 h 3756"/>
                <a:gd name="T48" fmla="*/ 564 w 5797"/>
                <a:gd name="T49" fmla="*/ 3062 h 3756"/>
                <a:gd name="T50" fmla="*/ 820 w 5797"/>
                <a:gd name="T51" fmla="*/ 2496 h 3756"/>
                <a:gd name="T52" fmla="*/ 1257 w 5797"/>
                <a:gd name="T53" fmla="*/ 1973 h 3756"/>
                <a:gd name="T54" fmla="*/ 1848 w 5797"/>
                <a:gd name="T55" fmla="*/ 1509 h 3756"/>
                <a:gd name="T56" fmla="*/ 2572 w 5797"/>
                <a:gd name="T57" fmla="*/ 1115 h 3756"/>
                <a:gd name="T58" fmla="*/ 3402 w 5797"/>
                <a:gd name="T59" fmla="*/ 807 h 3756"/>
                <a:gd name="T60" fmla="*/ 4318 w 5797"/>
                <a:gd name="T61" fmla="*/ 599 h 3756"/>
                <a:gd name="T62" fmla="*/ 5294 w 5797"/>
                <a:gd name="T63" fmla="*/ 505 h 3756"/>
                <a:gd name="T64" fmla="*/ 5583 w 5797"/>
                <a:gd name="T65" fmla="*/ 498 h 3756"/>
                <a:gd name="T66" fmla="*/ 5632 w 5797"/>
                <a:gd name="T67" fmla="*/ 486 h 3756"/>
                <a:gd name="T68" fmla="*/ 5676 w 5797"/>
                <a:gd name="T69" fmla="*/ 465 h 3756"/>
                <a:gd name="T70" fmla="*/ 5714 w 5797"/>
                <a:gd name="T71" fmla="*/ 436 h 3756"/>
                <a:gd name="T72" fmla="*/ 5747 w 5797"/>
                <a:gd name="T73" fmla="*/ 401 h 3756"/>
                <a:gd name="T74" fmla="*/ 5772 w 5797"/>
                <a:gd name="T75" fmla="*/ 359 h 3756"/>
                <a:gd name="T76" fmla="*/ 5789 w 5797"/>
                <a:gd name="T77" fmla="*/ 313 h 3756"/>
                <a:gd name="T78" fmla="*/ 5797 w 5797"/>
                <a:gd name="T79" fmla="*/ 264 h 3756"/>
                <a:gd name="T80" fmla="*/ 5794 w 5797"/>
                <a:gd name="T81" fmla="*/ 212 h 3756"/>
                <a:gd name="T82" fmla="*/ 5782 w 5797"/>
                <a:gd name="T83" fmla="*/ 164 h 3756"/>
                <a:gd name="T84" fmla="*/ 5761 w 5797"/>
                <a:gd name="T85" fmla="*/ 120 h 3756"/>
                <a:gd name="T86" fmla="*/ 5732 w 5797"/>
                <a:gd name="T87" fmla="*/ 82 h 3756"/>
                <a:gd name="T88" fmla="*/ 5696 w 5797"/>
                <a:gd name="T89" fmla="*/ 50 h 3756"/>
                <a:gd name="T90" fmla="*/ 5654 w 5797"/>
                <a:gd name="T91" fmla="*/ 25 h 3756"/>
                <a:gd name="T92" fmla="*/ 5609 w 5797"/>
                <a:gd name="T93" fmla="*/ 8 h 3756"/>
                <a:gd name="T94" fmla="*/ 5558 w 5797"/>
                <a:gd name="T95" fmla="*/ 0 h 3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797" h="3756">
                  <a:moveTo>
                    <a:pt x="5545" y="0"/>
                  </a:moveTo>
                  <a:lnTo>
                    <a:pt x="5265" y="5"/>
                  </a:lnTo>
                  <a:lnTo>
                    <a:pt x="4987" y="18"/>
                  </a:lnTo>
                  <a:lnTo>
                    <a:pt x="4713" y="41"/>
                  </a:lnTo>
                  <a:lnTo>
                    <a:pt x="4444" y="73"/>
                  </a:lnTo>
                  <a:lnTo>
                    <a:pt x="4178" y="112"/>
                  </a:lnTo>
                  <a:lnTo>
                    <a:pt x="3917" y="160"/>
                  </a:lnTo>
                  <a:lnTo>
                    <a:pt x="3661" y="216"/>
                  </a:lnTo>
                  <a:lnTo>
                    <a:pt x="3411" y="281"/>
                  </a:lnTo>
                  <a:lnTo>
                    <a:pt x="3166" y="352"/>
                  </a:lnTo>
                  <a:lnTo>
                    <a:pt x="2927" y="431"/>
                  </a:lnTo>
                  <a:lnTo>
                    <a:pt x="2695" y="516"/>
                  </a:lnTo>
                  <a:lnTo>
                    <a:pt x="2470" y="608"/>
                  </a:lnTo>
                  <a:lnTo>
                    <a:pt x="2251" y="707"/>
                  </a:lnTo>
                  <a:lnTo>
                    <a:pt x="2041" y="812"/>
                  </a:lnTo>
                  <a:lnTo>
                    <a:pt x="1839" y="924"/>
                  </a:lnTo>
                  <a:lnTo>
                    <a:pt x="1645" y="1041"/>
                  </a:lnTo>
                  <a:lnTo>
                    <a:pt x="1460" y="1163"/>
                  </a:lnTo>
                  <a:lnTo>
                    <a:pt x="1284" y="1291"/>
                  </a:lnTo>
                  <a:lnTo>
                    <a:pt x="1118" y="1423"/>
                  </a:lnTo>
                  <a:lnTo>
                    <a:pt x="961" y="1562"/>
                  </a:lnTo>
                  <a:lnTo>
                    <a:pt x="815" y="1704"/>
                  </a:lnTo>
                  <a:lnTo>
                    <a:pt x="680" y="1851"/>
                  </a:lnTo>
                  <a:lnTo>
                    <a:pt x="556" y="2001"/>
                  </a:lnTo>
                  <a:lnTo>
                    <a:pt x="443" y="2157"/>
                  </a:lnTo>
                  <a:lnTo>
                    <a:pt x="342" y="2315"/>
                  </a:lnTo>
                  <a:lnTo>
                    <a:pt x="254" y="2477"/>
                  </a:lnTo>
                  <a:lnTo>
                    <a:pt x="178" y="2641"/>
                  </a:lnTo>
                  <a:lnTo>
                    <a:pt x="115" y="2810"/>
                  </a:lnTo>
                  <a:lnTo>
                    <a:pt x="65" y="2980"/>
                  </a:lnTo>
                  <a:lnTo>
                    <a:pt x="29" y="3153"/>
                  </a:lnTo>
                  <a:lnTo>
                    <a:pt x="7" y="3329"/>
                  </a:lnTo>
                  <a:lnTo>
                    <a:pt x="0" y="3506"/>
                  </a:lnTo>
                  <a:lnTo>
                    <a:pt x="0" y="3519"/>
                  </a:lnTo>
                  <a:lnTo>
                    <a:pt x="1" y="3531"/>
                  </a:lnTo>
                  <a:lnTo>
                    <a:pt x="3" y="3544"/>
                  </a:lnTo>
                  <a:lnTo>
                    <a:pt x="5" y="3556"/>
                  </a:lnTo>
                  <a:lnTo>
                    <a:pt x="8" y="3568"/>
                  </a:lnTo>
                  <a:lnTo>
                    <a:pt x="11" y="3580"/>
                  </a:lnTo>
                  <a:lnTo>
                    <a:pt x="15" y="3592"/>
                  </a:lnTo>
                  <a:lnTo>
                    <a:pt x="20" y="3603"/>
                  </a:lnTo>
                  <a:lnTo>
                    <a:pt x="25" y="3614"/>
                  </a:lnTo>
                  <a:lnTo>
                    <a:pt x="30" y="3625"/>
                  </a:lnTo>
                  <a:lnTo>
                    <a:pt x="36" y="3636"/>
                  </a:lnTo>
                  <a:lnTo>
                    <a:pt x="43" y="3646"/>
                  </a:lnTo>
                  <a:lnTo>
                    <a:pt x="50" y="3655"/>
                  </a:lnTo>
                  <a:lnTo>
                    <a:pt x="57" y="3665"/>
                  </a:lnTo>
                  <a:lnTo>
                    <a:pt x="65" y="3674"/>
                  </a:lnTo>
                  <a:lnTo>
                    <a:pt x="73" y="3683"/>
                  </a:lnTo>
                  <a:lnTo>
                    <a:pt x="82" y="3691"/>
                  </a:lnTo>
                  <a:lnTo>
                    <a:pt x="91" y="3699"/>
                  </a:lnTo>
                  <a:lnTo>
                    <a:pt x="100" y="3706"/>
                  </a:lnTo>
                  <a:lnTo>
                    <a:pt x="111" y="3713"/>
                  </a:lnTo>
                  <a:lnTo>
                    <a:pt x="121" y="3720"/>
                  </a:lnTo>
                  <a:lnTo>
                    <a:pt x="132" y="3726"/>
                  </a:lnTo>
                  <a:lnTo>
                    <a:pt x="143" y="3731"/>
                  </a:lnTo>
                  <a:lnTo>
                    <a:pt x="154" y="3736"/>
                  </a:lnTo>
                  <a:lnTo>
                    <a:pt x="165" y="3741"/>
                  </a:lnTo>
                  <a:lnTo>
                    <a:pt x="177" y="3745"/>
                  </a:lnTo>
                  <a:lnTo>
                    <a:pt x="189" y="3748"/>
                  </a:lnTo>
                  <a:lnTo>
                    <a:pt x="201" y="3751"/>
                  </a:lnTo>
                  <a:lnTo>
                    <a:pt x="213" y="3753"/>
                  </a:lnTo>
                  <a:lnTo>
                    <a:pt x="226" y="3755"/>
                  </a:lnTo>
                  <a:lnTo>
                    <a:pt x="239" y="3756"/>
                  </a:lnTo>
                  <a:lnTo>
                    <a:pt x="252" y="3756"/>
                  </a:lnTo>
                  <a:lnTo>
                    <a:pt x="265" y="3756"/>
                  </a:lnTo>
                  <a:lnTo>
                    <a:pt x="278" y="3755"/>
                  </a:lnTo>
                  <a:lnTo>
                    <a:pt x="290" y="3753"/>
                  </a:lnTo>
                  <a:lnTo>
                    <a:pt x="302" y="3751"/>
                  </a:lnTo>
                  <a:lnTo>
                    <a:pt x="315" y="3748"/>
                  </a:lnTo>
                  <a:lnTo>
                    <a:pt x="326" y="3745"/>
                  </a:lnTo>
                  <a:lnTo>
                    <a:pt x="338" y="3741"/>
                  </a:lnTo>
                  <a:lnTo>
                    <a:pt x="349" y="3736"/>
                  </a:lnTo>
                  <a:lnTo>
                    <a:pt x="361" y="3731"/>
                  </a:lnTo>
                  <a:lnTo>
                    <a:pt x="372" y="3726"/>
                  </a:lnTo>
                  <a:lnTo>
                    <a:pt x="383" y="3720"/>
                  </a:lnTo>
                  <a:lnTo>
                    <a:pt x="393" y="3713"/>
                  </a:lnTo>
                  <a:lnTo>
                    <a:pt x="403" y="3706"/>
                  </a:lnTo>
                  <a:lnTo>
                    <a:pt x="412" y="3699"/>
                  </a:lnTo>
                  <a:lnTo>
                    <a:pt x="421" y="3691"/>
                  </a:lnTo>
                  <a:lnTo>
                    <a:pt x="430" y="3683"/>
                  </a:lnTo>
                  <a:lnTo>
                    <a:pt x="438" y="3674"/>
                  </a:lnTo>
                  <a:lnTo>
                    <a:pt x="446" y="3665"/>
                  </a:lnTo>
                  <a:lnTo>
                    <a:pt x="453" y="3655"/>
                  </a:lnTo>
                  <a:lnTo>
                    <a:pt x="460" y="3646"/>
                  </a:lnTo>
                  <a:lnTo>
                    <a:pt x="467" y="3636"/>
                  </a:lnTo>
                  <a:lnTo>
                    <a:pt x="474" y="3625"/>
                  </a:lnTo>
                  <a:lnTo>
                    <a:pt x="479" y="3614"/>
                  </a:lnTo>
                  <a:lnTo>
                    <a:pt x="484" y="3603"/>
                  </a:lnTo>
                  <a:lnTo>
                    <a:pt x="489" y="3592"/>
                  </a:lnTo>
                  <a:lnTo>
                    <a:pt x="493" y="3580"/>
                  </a:lnTo>
                  <a:lnTo>
                    <a:pt x="496" y="3568"/>
                  </a:lnTo>
                  <a:lnTo>
                    <a:pt x="499" y="3556"/>
                  </a:lnTo>
                  <a:lnTo>
                    <a:pt x="501" y="3544"/>
                  </a:lnTo>
                  <a:lnTo>
                    <a:pt x="503" y="3531"/>
                  </a:lnTo>
                  <a:lnTo>
                    <a:pt x="504" y="3519"/>
                  </a:lnTo>
                  <a:lnTo>
                    <a:pt x="504" y="3506"/>
                  </a:lnTo>
                  <a:lnTo>
                    <a:pt x="511" y="3357"/>
                  </a:lnTo>
                  <a:lnTo>
                    <a:pt x="531" y="3208"/>
                  </a:lnTo>
                  <a:lnTo>
                    <a:pt x="564" y="3062"/>
                  </a:lnTo>
                  <a:lnTo>
                    <a:pt x="611" y="2917"/>
                  </a:lnTo>
                  <a:lnTo>
                    <a:pt x="669" y="2775"/>
                  </a:lnTo>
                  <a:lnTo>
                    <a:pt x="739" y="2634"/>
                  </a:lnTo>
                  <a:lnTo>
                    <a:pt x="820" y="2496"/>
                  </a:lnTo>
                  <a:lnTo>
                    <a:pt x="914" y="2361"/>
                  </a:lnTo>
                  <a:lnTo>
                    <a:pt x="1018" y="2229"/>
                  </a:lnTo>
                  <a:lnTo>
                    <a:pt x="1132" y="2100"/>
                  </a:lnTo>
                  <a:lnTo>
                    <a:pt x="1257" y="1973"/>
                  </a:lnTo>
                  <a:lnTo>
                    <a:pt x="1391" y="1851"/>
                  </a:lnTo>
                  <a:lnTo>
                    <a:pt x="1534" y="1733"/>
                  </a:lnTo>
                  <a:lnTo>
                    <a:pt x="1686" y="1619"/>
                  </a:lnTo>
                  <a:lnTo>
                    <a:pt x="1848" y="1509"/>
                  </a:lnTo>
                  <a:lnTo>
                    <a:pt x="2017" y="1403"/>
                  </a:lnTo>
                  <a:lnTo>
                    <a:pt x="2195" y="1302"/>
                  </a:lnTo>
                  <a:lnTo>
                    <a:pt x="2379" y="1206"/>
                  </a:lnTo>
                  <a:lnTo>
                    <a:pt x="2572" y="1115"/>
                  </a:lnTo>
                  <a:lnTo>
                    <a:pt x="2769" y="1030"/>
                  </a:lnTo>
                  <a:lnTo>
                    <a:pt x="2975" y="950"/>
                  </a:lnTo>
                  <a:lnTo>
                    <a:pt x="3186" y="876"/>
                  </a:lnTo>
                  <a:lnTo>
                    <a:pt x="3402" y="807"/>
                  </a:lnTo>
                  <a:lnTo>
                    <a:pt x="3624" y="745"/>
                  </a:lnTo>
                  <a:lnTo>
                    <a:pt x="3851" y="690"/>
                  </a:lnTo>
                  <a:lnTo>
                    <a:pt x="4083" y="641"/>
                  </a:lnTo>
                  <a:lnTo>
                    <a:pt x="4318" y="599"/>
                  </a:lnTo>
                  <a:lnTo>
                    <a:pt x="4557" y="564"/>
                  </a:lnTo>
                  <a:lnTo>
                    <a:pt x="4800" y="537"/>
                  </a:lnTo>
                  <a:lnTo>
                    <a:pt x="5046" y="517"/>
                  </a:lnTo>
                  <a:lnTo>
                    <a:pt x="5294" y="505"/>
                  </a:lnTo>
                  <a:lnTo>
                    <a:pt x="5545" y="501"/>
                  </a:lnTo>
                  <a:lnTo>
                    <a:pt x="5558" y="501"/>
                  </a:lnTo>
                  <a:lnTo>
                    <a:pt x="5571" y="500"/>
                  </a:lnTo>
                  <a:lnTo>
                    <a:pt x="5583" y="498"/>
                  </a:lnTo>
                  <a:lnTo>
                    <a:pt x="5595" y="496"/>
                  </a:lnTo>
                  <a:lnTo>
                    <a:pt x="5609" y="493"/>
                  </a:lnTo>
                  <a:lnTo>
                    <a:pt x="5620" y="490"/>
                  </a:lnTo>
                  <a:lnTo>
                    <a:pt x="5632" y="486"/>
                  </a:lnTo>
                  <a:lnTo>
                    <a:pt x="5643" y="481"/>
                  </a:lnTo>
                  <a:lnTo>
                    <a:pt x="5654" y="476"/>
                  </a:lnTo>
                  <a:lnTo>
                    <a:pt x="5665" y="471"/>
                  </a:lnTo>
                  <a:lnTo>
                    <a:pt x="5676" y="465"/>
                  </a:lnTo>
                  <a:lnTo>
                    <a:pt x="5686" y="458"/>
                  </a:lnTo>
                  <a:lnTo>
                    <a:pt x="5696" y="451"/>
                  </a:lnTo>
                  <a:lnTo>
                    <a:pt x="5705" y="444"/>
                  </a:lnTo>
                  <a:lnTo>
                    <a:pt x="5714" y="436"/>
                  </a:lnTo>
                  <a:lnTo>
                    <a:pt x="5723" y="428"/>
                  </a:lnTo>
                  <a:lnTo>
                    <a:pt x="5732" y="419"/>
                  </a:lnTo>
                  <a:lnTo>
                    <a:pt x="5740" y="410"/>
                  </a:lnTo>
                  <a:lnTo>
                    <a:pt x="5747" y="401"/>
                  </a:lnTo>
                  <a:lnTo>
                    <a:pt x="5754" y="391"/>
                  </a:lnTo>
                  <a:lnTo>
                    <a:pt x="5761" y="381"/>
                  </a:lnTo>
                  <a:lnTo>
                    <a:pt x="5767" y="370"/>
                  </a:lnTo>
                  <a:lnTo>
                    <a:pt x="5772" y="359"/>
                  </a:lnTo>
                  <a:lnTo>
                    <a:pt x="5777" y="348"/>
                  </a:lnTo>
                  <a:lnTo>
                    <a:pt x="5782" y="337"/>
                  </a:lnTo>
                  <a:lnTo>
                    <a:pt x="5786" y="325"/>
                  </a:lnTo>
                  <a:lnTo>
                    <a:pt x="5789" y="313"/>
                  </a:lnTo>
                  <a:lnTo>
                    <a:pt x="5792" y="301"/>
                  </a:lnTo>
                  <a:lnTo>
                    <a:pt x="5794" y="289"/>
                  </a:lnTo>
                  <a:lnTo>
                    <a:pt x="5796" y="277"/>
                  </a:lnTo>
                  <a:lnTo>
                    <a:pt x="5797" y="264"/>
                  </a:lnTo>
                  <a:lnTo>
                    <a:pt x="5797" y="251"/>
                  </a:lnTo>
                  <a:lnTo>
                    <a:pt x="5797" y="237"/>
                  </a:lnTo>
                  <a:lnTo>
                    <a:pt x="5796" y="225"/>
                  </a:lnTo>
                  <a:lnTo>
                    <a:pt x="5794" y="212"/>
                  </a:lnTo>
                  <a:lnTo>
                    <a:pt x="5792" y="200"/>
                  </a:lnTo>
                  <a:lnTo>
                    <a:pt x="5789" y="188"/>
                  </a:lnTo>
                  <a:lnTo>
                    <a:pt x="5786" y="176"/>
                  </a:lnTo>
                  <a:lnTo>
                    <a:pt x="5782" y="164"/>
                  </a:lnTo>
                  <a:lnTo>
                    <a:pt x="5777" y="153"/>
                  </a:lnTo>
                  <a:lnTo>
                    <a:pt x="5772" y="142"/>
                  </a:lnTo>
                  <a:lnTo>
                    <a:pt x="5767" y="131"/>
                  </a:lnTo>
                  <a:lnTo>
                    <a:pt x="5761" y="120"/>
                  </a:lnTo>
                  <a:lnTo>
                    <a:pt x="5754" y="110"/>
                  </a:lnTo>
                  <a:lnTo>
                    <a:pt x="5747" y="100"/>
                  </a:lnTo>
                  <a:lnTo>
                    <a:pt x="5740" y="91"/>
                  </a:lnTo>
                  <a:lnTo>
                    <a:pt x="5732" y="82"/>
                  </a:lnTo>
                  <a:lnTo>
                    <a:pt x="5723" y="73"/>
                  </a:lnTo>
                  <a:lnTo>
                    <a:pt x="5714" y="65"/>
                  </a:lnTo>
                  <a:lnTo>
                    <a:pt x="5705" y="57"/>
                  </a:lnTo>
                  <a:lnTo>
                    <a:pt x="5696" y="50"/>
                  </a:lnTo>
                  <a:lnTo>
                    <a:pt x="5686" y="43"/>
                  </a:lnTo>
                  <a:lnTo>
                    <a:pt x="5676" y="36"/>
                  </a:lnTo>
                  <a:lnTo>
                    <a:pt x="5665" y="30"/>
                  </a:lnTo>
                  <a:lnTo>
                    <a:pt x="5654" y="25"/>
                  </a:lnTo>
                  <a:lnTo>
                    <a:pt x="5643" y="20"/>
                  </a:lnTo>
                  <a:lnTo>
                    <a:pt x="5632" y="15"/>
                  </a:lnTo>
                  <a:lnTo>
                    <a:pt x="5620" y="11"/>
                  </a:lnTo>
                  <a:lnTo>
                    <a:pt x="5609" y="8"/>
                  </a:lnTo>
                  <a:lnTo>
                    <a:pt x="5595" y="5"/>
                  </a:lnTo>
                  <a:lnTo>
                    <a:pt x="5583" y="3"/>
                  </a:lnTo>
                  <a:lnTo>
                    <a:pt x="5571" y="1"/>
                  </a:lnTo>
                  <a:lnTo>
                    <a:pt x="5558" y="0"/>
                  </a:lnTo>
                  <a:lnTo>
                    <a:pt x="55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61" name="îṡļíďe">
              <a:extLst>
                <a:ext uri="{FF2B5EF4-FFF2-40B4-BE49-F238E27FC236}">
                  <a16:creationId xmlns:a16="http://schemas.microsoft.com/office/drawing/2014/main" id="{A7455319-B676-4CD2-B25A-4FF08BC4AF69}"/>
                </a:ext>
              </a:extLst>
            </p:cNvPr>
            <p:cNvSpPr/>
            <p:nvPr/>
          </p:nvSpPr>
          <p:spPr bwMode="auto">
            <a:xfrm>
              <a:off x="9976351" y="1368197"/>
              <a:ext cx="655727" cy="570000"/>
            </a:xfrm>
            <a:custGeom>
              <a:avLst/>
              <a:gdLst>
                <a:gd name="T0" fmla="*/ 7365 w 16132"/>
                <a:gd name="T1" fmla="*/ 10992 h 14023"/>
                <a:gd name="T2" fmla="*/ 6620 w 16132"/>
                <a:gd name="T3" fmla="*/ 10910 h 14023"/>
                <a:gd name="T4" fmla="*/ 6344 w 16132"/>
                <a:gd name="T5" fmla="*/ 10917 h 14023"/>
                <a:gd name="T6" fmla="*/ 6106 w 16132"/>
                <a:gd name="T7" fmla="*/ 10988 h 14023"/>
                <a:gd name="T8" fmla="*/ 5892 w 16132"/>
                <a:gd name="T9" fmla="*/ 11114 h 14023"/>
                <a:gd name="T10" fmla="*/ 5710 w 16132"/>
                <a:gd name="T11" fmla="*/ 11296 h 14023"/>
                <a:gd name="T12" fmla="*/ 5336 w 16132"/>
                <a:gd name="T13" fmla="*/ 11674 h 14023"/>
                <a:gd name="T14" fmla="*/ 4873 w 16132"/>
                <a:gd name="T15" fmla="*/ 12065 h 14023"/>
                <a:gd name="T16" fmla="*/ 4310 w 16132"/>
                <a:gd name="T17" fmla="*/ 12459 h 14023"/>
                <a:gd name="T18" fmla="*/ 4388 w 16132"/>
                <a:gd name="T19" fmla="*/ 11971 h 14023"/>
                <a:gd name="T20" fmla="*/ 4488 w 16132"/>
                <a:gd name="T21" fmla="*/ 11553 h 14023"/>
                <a:gd name="T22" fmla="*/ 4535 w 16132"/>
                <a:gd name="T23" fmla="*/ 11121 h 14023"/>
                <a:gd name="T24" fmla="*/ 4531 w 16132"/>
                <a:gd name="T25" fmla="*/ 10842 h 14023"/>
                <a:gd name="T26" fmla="*/ 4442 w 16132"/>
                <a:gd name="T27" fmla="*/ 10547 h 14023"/>
                <a:gd name="T28" fmla="*/ 4269 w 16132"/>
                <a:gd name="T29" fmla="*/ 10296 h 14023"/>
                <a:gd name="T30" fmla="*/ 4023 w 16132"/>
                <a:gd name="T31" fmla="*/ 10106 h 14023"/>
                <a:gd name="T32" fmla="*/ 2737 w 16132"/>
                <a:gd name="T33" fmla="*/ 9277 h 14023"/>
                <a:gd name="T34" fmla="*/ 1706 w 16132"/>
                <a:gd name="T35" fmla="*/ 8163 h 14023"/>
                <a:gd name="T36" fmla="*/ 1123 w 16132"/>
                <a:gd name="T37" fmla="*/ 6901 h 14023"/>
                <a:gd name="T38" fmla="*/ 1090 w 16132"/>
                <a:gd name="T39" fmla="*/ 5248 h 14023"/>
                <a:gd name="T40" fmla="*/ 2215 w 16132"/>
                <a:gd name="T41" fmla="*/ 3211 h 14023"/>
                <a:gd name="T42" fmla="*/ 4409 w 16132"/>
                <a:gd name="T43" fmla="*/ 1728 h 14023"/>
                <a:gd name="T44" fmla="*/ 7345 w 16132"/>
                <a:gd name="T45" fmla="*/ 1028 h 14023"/>
                <a:gd name="T46" fmla="*/ 10490 w 16132"/>
                <a:gd name="T47" fmla="*/ 1306 h 14023"/>
                <a:gd name="T48" fmla="*/ 13054 w 16132"/>
                <a:gd name="T49" fmla="*/ 2470 h 14023"/>
                <a:gd name="T50" fmla="*/ 14695 w 16132"/>
                <a:gd name="T51" fmla="*/ 4290 h 14023"/>
                <a:gd name="T52" fmla="*/ 15087 w 16132"/>
                <a:gd name="T53" fmla="*/ 6521 h 14023"/>
                <a:gd name="T54" fmla="*/ 14100 w 16132"/>
                <a:gd name="T55" fmla="*/ 8605 h 14023"/>
                <a:gd name="T56" fmla="*/ 12009 w 16132"/>
                <a:gd name="T57" fmla="*/ 10162 h 14023"/>
                <a:gd name="T58" fmla="*/ 9140 w 16132"/>
                <a:gd name="T59" fmla="*/ 10960 h 14023"/>
                <a:gd name="T60" fmla="*/ 6051 w 16132"/>
                <a:gd name="T61" fmla="*/ 189 h 14023"/>
                <a:gd name="T62" fmla="*/ 2935 w 16132"/>
                <a:gd name="T63" fmla="*/ 1372 h 14023"/>
                <a:gd name="T64" fmla="*/ 796 w 16132"/>
                <a:gd name="T65" fmla="*/ 3405 h 14023"/>
                <a:gd name="T66" fmla="*/ 0 w 16132"/>
                <a:gd name="T67" fmla="*/ 6010 h 14023"/>
                <a:gd name="T68" fmla="*/ 318 w 16132"/>
                <a:gd name="T69" fmla="*/ 7685 h 14023"/>
                <a:gd name="T70" fmla="*/ 1211 w 16132"/>
                <a:gd name="T71" fmla="*/ 9177 h 14023"/>
                <a:gd name="T72" fmla="*/ 2590 w 16132"/>
                <a:gd name="T73" fmla="*/ 10421 h 14023"/>
                <a:gd name="T74" fmla="*/ 3529 w 16132"/>
                <a:gd name="T75" fmla="*/ 11018 h 14023"/>
                <a:gd name="T76" fmla="*/ 3392 w 16132"/>
                <a:gd name="T77" fmla="*/ 11780 h 14023"/>
                <a:gd name="T78" fmla="*/ 3075 w 16132"/>
                <a:gd name="T79" fmla="*/ 12505 h 14023"/>
                <a:gd name="T80" fmla="*/ 2616 w 16132"/>
                <a:gd name="T81" fmla="*/ 13290 h 14023"/>
                <a:gd name="T82" fmla="*/ 2522 w 16132"/>
                <a:gd name="T83" fmla="*/ 13545 h 14023"/>
                <a:gd name="T84" fmla="*/ 2556 w 16132"/>
                <a:gd name="T85" fmla="*/ 13746 h 14023"/>
                <a:gd name="T86" fmla="*/ 2670 w 16132"/>
                <a:gd name="T87" fmla="*/ 13905 h 14023"/>
                <a:gd name="T88" fmla="*/ 2841 w 16132"/>
                <a:gd name="T89" fmla="*/ 14003 h 14023"/>
                <a:gd name="T90" fmla="*/ 3078 w 16132"/>
                <a:gd name="T91" fmla="*/ 14016 h 14023"/>
                <a:gd name="T92" fmla="*/ 3690 w 16132"/>
                <a:gd name="T93" fmla="*/ 13870 h 14023"/>
                <a:gd name="T94" fmla="*/ 4910 w 16132"/>
                <a:gd name="T95" fmla="*/ 13267 h 14023"/>
                <a:gd name="T96" fmla="*/ 5885 w 16132"/>
                <a:gd name="T97" fmla="*/ 12528 h 14023"/>
                <a:gd name="T98" fmla="*/ 6475 w 16132"/>
                <a:gd name="T99" fmla="*/ 11947 h 14023"/>
                <a:gd name="T100" fmla="*/ 7278 w 16132"/>
                <a:gd name="T101" fmla="*/ 11990 h 14023"/>
                <a:gd name="T102" fmla="*/ 8481 w 16132"/>
                <a:gd name="T103" fmla="*/ 12012 h 14023"/>
                <a:gd name="T104" fmla="*/ 11910 w 16132"/>
                <a:gd name="T105" fmla="*/ 11295 h 14023"/>
                <a:gd name="T106" fmla="*/ 14530 w 16132"/>
                <a:gd name="T107" fmla="*/ 9606 h 14023"/>
                <a:gd name="T108" fmla="*/ 15968 w 16132"/>
                <a:gd name="T109" fmla="*/ 7221 h 14023"/>
                <a:gd name="T110" fmla="*/ 15878 w 16132"/>
                <a:gd name="T111" fmla="*/ 4508 h 14023"/>
                <a:gd name="T112" fmla="*/ 14290 w 16132"/>
                <a:gd name="T113" fmla="*/ 2188 h 14023"/>
                <a:gd name="T114" fmla="*/ 11563 w 16132"/>
                <a:gd name="T115" fmla="*/ 593 h 14023"/>
                <a:gd name="T116" fmla="*/ 8066 w 16132"/>
                <a:gd name="T117" fmla="*/ 0 h 14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132" h="14023">
                  <a:moveTo>
                    <a:pt x="8066" y="11018"/>
                  </a:moveTo>
                  <a:lnTo>
                    <a:pt x="7979" y="11018"/>
                  </a:lnTo>
                  <a:lnTo>
                    <a:pt x="7893" y="11016"/>
                  </a:lnTo>
                  <a:lnTo>
                    <a:pt x="7805" y="11014"/>
                  </a:lnTo>
                  <a:lnTo>
                    <a:pt x="7717" y="11012"/>
                  </a:lnTo>
                  <a:lnTo>
                    <a:pt x="7629" y="11008"/>
                  </a:lnTo>
                  <a:lnTo>
                    <a:pt x="7542" y="11003"/>
                  </a:lnTo>
                  <a:lnTo>
                    <a:pt x="7454" y="10998"/>
                  </a:lnTo>
                  <a:lnTo>
                    <a:pt x="7365" y="10992"/>
                  </a:lnTo>
                  <a:lnTo>
                    <a:pt x="7278" y="10985"/>
                  </a:lnTo>
                  <a:lnTo>
                    <a:pt x="7189" y="10978"/>
                  </a:lnTo>
                  <a:lnTo>
                    <a:pt x="7100" y="10969"/>
                  </a:lnTo>
                  <a:lnTo>
                    <a:pt x="7011" y="10960"/>
                  </a:lnTo>
                  <a:lnTo>
                    <a:pt x="6923" y="10950"/>
                  </a:lnTo>
                  <a:lnTo>
                    <a:pt x="6834" y="10939"/>
                  </a:lnTo>
                  <a:lnTo>
                    <a:pt x="6745" y="10927"/>
                  </a:lnTo>
                  <a:lnTo>
                    <a:pt x="6656" y="10914"/>
                  </a:lnTo>
                  <a:lnTo>
                    <a:pt x="6620" y="10910"/>
                  </a:lnTo>
                  <a:lnTo>
                    <a:pt x="6583" y="10906"/>
                  </a:lnTo>
                  <a:lnTo>
                    <a:pt x="6547" y="10904"/>
                  </a:lnTo>
                  <a:lnTo>
                    <a:pt x="6510" y="10903"/>
                  </a:lnTo>
                  <a:lnTo>
                    <a:pt x="6482" y="10904"/>
                  </a:lnTo>
                  <a:lnTo>
                    <a:pt x="6455" y="10905"/>
                  </a:lnTo>
                  <a:lnTo>
                    <a:pt x="6427" y="10907"/>
                  </a:lnTo>
                  <a:lnTo>
                    <a:pt x="6398" y="10910"/>
                  </a:lnTo>
                  <a:lnTo>
                    <a:pt x="6371" y="10913"/>
                  </a:lnTo>
                  <a:lnTo>
                    <a:pt x="6344" y="10917"/>
                  </a:lnTo>
                  <a:lnTo>
                    <a:pt x="6317" y="10922"/>
                  </a:lnTo>
                  <a:lnTo>
                    <a:pt x="6289" y="10928"/>
                  </a:lnTo>
                  <a:lnTo>
                    <a:pt x="6262" y="10934"/>
                  </a:lnTo>
                  <a:lnTo>
                    <a:pt x="6236" y="10941"/>
                  </a:lnTo>
                  <a:lnTo>
                    <a:pt x="6210" y="10949"/>
                  </a:lnTo>
                  <a:lnTo>
                    <a:pt x="6183" y="10958"/>
                  </a:lnTo>
                  <a:lnTo>
                    <a:pt x="6157" y="10967"/>
                  </a:lnTo>
                  <a:lnTo>
                    <a:pt x="6131" y="10977"/>
                  </a:lnTo>
                  <a:lnTo>
                    <a:pt x="6106" y="10988"/>
                  </a:lnTo>
                  <a:lnTo>
                    <a:pt x="6081" y="10999"/>
                  </a:lnTo>
                  <a:lnTo>
                    <a:pt x="6056" y="11011"/>
                  </a:lnTo>
                  <a:lnTo>
                    <a:pt x="6031" y="11024"/>
                  </a:lnTo>
                  <a:lnTo>
                    <a:pt x="6007" y="11037"/>
                  </a:lnTo>
                  <a:lnTo>
                    <a:pt x="5983" y="11051"/>
                  </a:lnTo>
                  <a:lnTo>
                    <a:pt x="5960" y="11066"/>
                  </a:lnTo>
                  <a:lnTo>
                    <a:pt x="5937" y="11081"/>
                  </a:lnTo>
                  <a:lnTo>
                    <a:pt x="5914" y="11097"/>
                  </a:lnTo>
                  <a:lnTo>
                    <a:pt x="5892" y="11114"/>
                  </a:lnTo>
                  <a:lnTo>
                    <a:pt x="5870" y="11131"/>
                  </a:lnTo>
                  <a:lnTo>
                    <a:pt x="5849" y="11149"/>
                  </a:lnTo>
                  <a:lnTo>
                    <a:pt x="5828" y="11167"/>
                  </a:lnTo>
                  <a:lnTo>
                    <a:pt x="5808" y="11187"/>
                  </a:lnTo>
                  <a:lnTo>
                    <a:pt x="5787" y="11206"/>
                  </a:lnTo>
                  <a:lnTo>
                    <a:pt x="5768" y="11227"/>
                  </a:lnTo>
                  <a:lnTo>
                    <a:pt x="5749" y="11248"/>
                  </a:lnTo>
                  <a:lnTo>
                    <a:pt x="5731" y="11269"/>
                  </a:lnTo>
                  <a:lnTo>
                    <a:pt x="5710" y="11296"/>
                  </a:lnTo>
                  <a:lnTo>
                    <a:pt x="5686" y="11323"/>
                  </a:lnTo>
                  <a:lnTo>
                    <a:pt x="5660" y="11352"/>
                  </a:lnTo>
                  <a:lnTo>
                    <a:pt x="5632" y="11382"/>
                  </a:lnTo>
                  <a:lnTo>
                    <a:pt x="5570" y="11448"/>
                  </a:lnTo>
                  <a:lnTo>
                    <a:pt x="5499" y="11518"/>
                  </a:lnTo>
                  <a:lnTo>
                    <a:pt x="5461" y="11556"/>
                  </a:lnTo>
                  <a:lnTo>
                    <a:pt x="5420" y="11594"/>
                  </a:lnTo>
                  <a:lnTo>
                    <a:pt x="5379" y="11633"/>
                  </a:lnTo>
                  <a:lnTo>
                    <a:pt x="5336" y="11674"/>
                  </a:lnTo>
                  <a:lnTo>
                    <a:pt x="5290" y="11715"/>
                  </a:lnTo>
                  <a:lnTo>
                    <a:pt x="5243" y="11757"/>
                  </a:lnTo>
                  <a:lnTo>
                    <a:pt x="5195" y="11799"/>
                  </a:lnTo>
                  <a:lnTo>
                    <a:pt x="5145" y="11842"/>
                  </a:lnTo>
                  <a:lnTo>
                    <a:pt x="5093" y="11886"/>
                  </a:lnTo>
                  <a:lnTo>
                    <a:pt x="5040" y="11931"/>
                  </a:lnTo>
                  <a:lnTo>
                    <a:pt x="4986" y="11975"/>
                  </a:lnTo>
                  <a:lnTo>
                    <a:pt x="4930" y="12020"/>
                  </a:lnTo>
                  <a:lnTo>
                    <a:pt x="4873" y="12065"/>
                  </a:lnTo>
                  <a:lnTo>
                    <a:pt x="4814" y="12109"/>
                  </a:lnTo>
                  <a:lnTo>
                    <a:pt x="4755" y="12154"/>
                  </a:lnTo>
                  <a:lnTo>
                    <a:pt x="4694" y="12199"/>
                  </a:lnTo>
                  <a:lnTo>
                    <a:pt x="4633" y="12243"/>
                  </a:lnTo>
                  <a:lnTo>
                    <a:pt x="4570" y="12287"/>
                  </a:lnTo>
                  <a:lnTo>
                    <a:pt x="4507" y="12331"/>
                  </a:lnTo>
                  <a:lnTo>
                    <a:pt x="4442" y="12374"/>
                  </a:lnTo>
                  <a:lnTo>
                    <a:pt x="4377" y="12417"/>
                  </a:lnTo>
                  <a:lnTo>
                    <a:pt x="4310" y="12459"/>
                  </a:lnTo>
                  <a:lnTo>
                    <a:pt x="4244" y="12501"/>
                  </a:lnTo>
                  <a:lnTo>
                    <a:pt x="4176" y="12542"/>
                  </a:lnTo>
                  <a:lnTo>
                    <a:pt x="4212" y="12456"/>
                  </a:lnTo>
                  <a:lnTo>
                    <a:pt x="4248" y="12371"/>
                  </a:lnTo>
                  <a:lnTo>
                    <a:pt x="4281" y="12284"/>
                  </a:lnTo>
                  <a:lnTo>
                    <a:pt x="4313" y="12196"/>
                  </a:lnTo>
                  <a:lnTo>
                    <a:pt x="4345" y="12107"/>
                  </a:lnTo>
                  <a:lnTo>
                    <a:pt x="4374" y="12017"/>
                  </a:lnTo>
                  <a:lnTo>
                    <a:pt x="4388" y="11971"/>
                  </a:lnTo>
                  <a:lnTo>
                    <a:pt x="4401" y="11926"/>
                  </a:lnTo>
                  <a:lnTo>
                    <a:pt x="4414" y="11879"/>
                  </a:lnTo>
                  <a:lnTo>
                    <a:pt x="4426" y="11833"/>
                  </a:lnTo>
                  <a:lnTo>
                    <a:pt x="4438" y="11787"/>
                  </a:lnTo>
                  <a:lnTo>
                    <a:pt x="4449" y="11740"/>
                  </a:lnTo>
                  <a:lnTo>
                    <a:pt x="4459" y="11694"/>
                  </a:lnTo>
                  <a:lnTo>
                    <a:pt x="4470" y="11647"/>
                  </a:lnTo>
                  <a:lnTo>
                    <a:pt x="4480" y="11600"/>
                  </a:lnTo>
                  <a:lnTo>
                    <a:pt x="4488" y="11553"/>
                  </a:lnTo>
                  <a:lnTo>
                    <a:pt x="4496" y="11506"/>
                  </a:lnTo>
                  <a:lnTo>
                    <a:pt x="4504" y="11458"/>
                  </a:lnTo>
                  <a:lnTo>
                    <a:pt x="4510" y="11411"/>
                  </a:lnTo>
                  <a:lnTo>
                    <a:pt x="4516" y="11363"/>
                  </a:lnTo>
                  <a:lnTo>
                    <a:pt x="4522" y="11315"/>
                  </a:lnTo>
                  <a:lnTo>
                    <a:pt x="4526" y="11266"/>
                  </a:lnTo>
                  <a:lnTo>
                    <a:pt x="4530" y="11218"/>
                  </a:lnTo>
                  <a:lnTo>
                    <a:pt x="4533" y="11170"/>
                  </a:lnTo>
                  <a:lnTo>
                    <a:pt x="4535" y="11121"/>
                  </a:lnTo>
                  <a:lnTo>
                    <a:pt x="4537" y="11073"/>
                  </a:lnTo>
                  <a:lnTo>
                    <a:pt x="4538" y="11049"/>
                  </a:lnTo>
                  <a:lnTo>
                    <a:pt x="4540" y="11025"/>
                  </a:lnTo>
                  <a:lnTo>
                    <a:pt x="4541" y="11002"/>
                  </a:lnTo>
                  <a:lnTo>
                    <a:pt x="4541" y="10981"/>
                  </a:lnTo>
                  <a:lnTo>
                    <a:pt x="4540" y="10946"/>
                  </a:lnTo>
                  <a:lnTo>
                    <a:pt x="4539" y="10911"/>
                  </a:lnTo>
                  <a:lnTo>
                    <a:pt x="4536" y="10876"/>
                  </a:lnTo>
                  <a:lnTo>
                    <a:pt x="4531" y="10842"/>
                  </a:lnTo>
                  <a:lnTo>
                    <a:pt x="4526" y="10808"/>
                  </a:lnTo>
                  <a:lnTo>
                    <a:pt x="4519" y="10774"/>
                  </a:lnTo>
                  <a:lnTo>
                    <a:pt x="4512" y="10741"/>
                  </a:lnTo>
                  <a:lnTo>
                    <a:pt x="4503" y="10707"/>
                  </a:lnTo>
                  <a:lnTo>
                    <a:pt x="4493" y="10675"/>
                  </a:lnTo>
                  <a:lnTo>
                    <a:pt x="4482" y="10641"/>
                  </a:lnTo>
                  <a:lnTo>
                    <a:pt x="4470" y="10610"/>
                  </a:lnTo>
                  <a:lnTo>
                    <a:pt x="4456" y="10578"/>
                  </a:lnTo>
                  <a:lnTo>
                    <a:pt x="4442" y="10547"/>
                  </a:lnTo>
                  <a:lnTo>
                    <a:pt x="4426" y="10517"/>
                  </a:lnTo>
                  <a:lnTo>
                    <a:pt x="4410" y="10487"/>
                  </a:lnTo>
                  <a:lnTo>
                    <a:pt x="4393" y="10458"/>
                  </a:lnTo>
                  <a:lnTo>
                    <a:pt x="4375" y="10429"/>
                  </a:lnTo>
                  <a:lnTo>
                    <a:pt x="4356" y="10401"/>
                  </a:lnTo>
                  <a:lnTo>
                    <a:pt x="4334" y="10374"/>
                  </a:lnTo>
                  <a:lnTo>
                    <a:pt x="4313" y="10347"/>
                  </a:lnTo>
                  <a:lnTo>
                    <a:pt x="4291" y="10321"/>
                  </a:lnTo>
                  <a:lnTo>
                    <a:pt x="4269" y="10296"/>
                  </a:lnTo>
                  <a:lnTo>
                    <a:pt x="4245" y="10271"/>
                  </a:lnTo>
                  <a:lnTo>
                    <a:pt x="4220" y="10248"/>
                  </a:lnTo>
                  <a:lnTo>
                    <a:pt x="4194" y="10225"/>
                  </a:lnTo>
                  <a:lnTo>
                    <a:pt x="4168" y="10203"/>
                  </a:lnTo>
                  <a:lnTo>
                    <a:pt x="4140" y="10182"/>
                  </a:lnTo>
                  <a:lnTo>
                    <a:pt x="4112" y="10161"/>
                  </a:lnTo>
                  <a:lnTo>
                    <a:pt x="4083" y="10142"/>
                  </a:lnTo>
                  <a:lnTo>
                    <a:pt x="4053" y="10123"/>
                  </a:lnTo>
                  <a:lnTo>
                    <a:pt x="4023" y="10106"/>
                  </a:lnTo>
                  <a:lnTo>
                    <a:pt x="3992" y="10089"/>
                  </a:lnTo>
                  <a:lnTo>
                    <a:pt x="3819" y="9998"/>
                  </a:lnTo>
                  <a:lnTo>
                    <a:pt x="3650" y="9904"/>
                  </a:lnTo>
                  <a:lnTo>
                    <a:pt x="3487" y="9807"/>
                  </a:lnTo>
                  <a:lnTo>
                    <a:pt x="3327" y="9707"/>
                  </a:lnTo>
                  <a:lnTo>
                    <a:pt x="3173" y="9604"/>
                  </a:lnTo>
                  <a:lnTo>
                    <a:pt x="3023" y="9499"/>
                  </a:lnTo>
                  <a:lnTo>
                    <a:pt x="2878" y="9389"/>
                  </a:lnTo>
                  <a:lnTo>
                    <a:pt x="2737" y="9277"/>
                  </a:lnTo>
                  <a:lnTo>
                    <a:pt x="2602" y="9163"/>
                  </a:lnTo>
                  <a:lnTo>
                    <a:pt x="2472" y="9046"/>
                  </a:lnTo>
                  <a:lnTo>
                    <a:pt x="2346" y="8927"/>
                  </a:lnTo>
                  <a:lnTo>
                    <a:pt x="2226" y="8805"/>
                  </a:lnTo>
                  <a:lnTo>
                    <a:pt x="2112" y="8681"/>
                  </a:lnTo>
                  <a:lnTo>
                    <a:pt x="2002" y="8555"/>
                  </a:lnTo>
                  <a:lnTo>
                    <a:pt x="1899" y="8427"/>
                  </a:lnTo>
                  <a:lnTo>
                    <a:pt x="1800" y="8297"/>
                  </a:lnTo>
                  <a:lnTo>
                    <a:pt x="1706" y="8163"/>
                  </a:lnTo>
                  <a:lnTo>
                    <a:pt x="1618" y="8030"/>
                  </a:lnTo>
                  <a:lnTo>
                    <a:pt x="1537" y="7894"/>
                  </a:lnTo>
                  <a:lnTo>
                    <a:pt x="1460" y="7757"/>
                  </a:lnTo>
                  <a:lnTo>
                    <a:pt x="1388" y="7617"/>
                  </a:lnTo>
                  <a:lnTo>
                    <a:pt x="1324" y="7476"/>
                  </a:lnTo>
                  <a:lnTo>
                    <a:pt x="1264" y="7335"/>
                  </a:lnTo>
                  <a:lnTo>
                    <a:pt x="1212" y="7192"/>
                  </a:lnTo>
                  <a:lnTo>
                    <a:pt x="1165" y="7047"/>
                  </a:lnTo>
                  <a:lnTo>
                    <a:pt x="1123" y="6901"/>
                  </a:lnTo>
                  <a:lnTo>
                    <a:pt x="1089" y="6755"/>
                  </a:lnTo>
                  <a:lnTo>
                    <a:pt x="1060" y="6608"/>
                  </a:lnTo>
                  <a:lnTo>
                    <a:pt x="1037" y="6459"/>
                  </a:lnTo>
                  <a:lnTo>
                    <a:pt x="1021" y="6309"/>
                  </a:lnTo>
                  <a:lnTo>
                    <a:pt x="1011" y="6160"/>
                  </a:lnTo>
                  <a:lnTo>
                    <a:pt x="1008" y="6010"/>
                  </a:lnTo>
                  <a:lnTo>
                    <a:pt x="1017" y="5752"/>
                  </a:lnTo>
                  <a:lnTo>
                    <a:pt x="1045" y="5498"/>
                  </a:lnTo>
                  <a:lnTo>
                    <a:pt x="1090" y="5248"/>
                  </a:lnTo>
                  <a:lnTo>
                    <a:pt x="1151" y="5002"/>
                  </a:lnTo>
                  <a:lnTo>
                    <a:pt x="1231" y="4760"/>
                  </a:lnTo>
                  <a:lnTo>
                    <a:pt x="1326" y="4522"/>
                  </a:lnTo>
                  <a:lnTo>
                    <a:pt x="1437" y="4290"/>
                  </a:lnTo>
                  <a:lnTo>
                    <a:pt x="1564" y="4063"/>
                  </a:lnTo>
                  <a:lnTo>
                    <a:pt x="1705" y="3840"/>
                  </a:lnTo>
                  <a:lnTo>
                    <a:pt x="1861" y="3625"/>
                  </a:lnTo>
                  <a:lnTo>
                    <a:pt x="2032" y="3415"/>
                  </a:lnTo>
                  <a:lnTo>
                    <a:pt x="2215" y="3211"/>
                  </a:lnTo>
                  <a:lnTo>
                    <a:pt x="2412" y="3015"/>
                  </a:lnTo>
                  <a:lnTo>
                    <a:pt x="2621" y="2826"/>
                  </a:lnTo>
                  <a:lnTo>
                    <a:pt x="2844" y="2644"/>
                  </a:lnTo>
                  <a:lnTo>
                    <a:pt x="3078" y="2470"/>
                  </a:lnTo>
                  <a:lnTo>
                    <a:pt x="3323" y="2304"/>
                  </a:lnTo>
                  <a:lnTo>
                    <a:pt x="3579" y="2147"/>
                  </a:lnTo>
                  <a:lnTo>
                    <a:pt x="3845" y="1998"/>
                  </a:lnTo>
                  <a:lnTo>
                    <a:pt x="4123" y="1858"/>
                  </a:lnTo>
                  <a:lnTo>
                    <a:pt x="4409" y="1728"/>
                  </a:lnTo>
                  <a:lnTo>
                    <a:pt x="4704" y="1607"/>
                  </a:lnTo>
                  <a:lnTo>
                    <a:pt x="5009" y="1496"/>
                  </a:lnTo>
                  <a:lnTo>
                    <a:pt x="5322" y="1395"/>
                  </a:lnTo>
                  <a:lnTo>
                    <a:pt x="5642" y="1306"/>
                  </a:lnTo>
                  <a:lnTo>
                    <a:pt x="5970" y="1227"/>
                  </a:lnTo>
                  <a:lnTo>
                    <a:pt x="6305" y="1160"/>
                  </a:lnTo>
                  <a:lnTo>
                    <a:pt x="6645" y="1104"/>
                  </a:lnTo>
                  <a:lnTo>
                    <a:pt x="6992" y="1060"/>
                  </a:lnTo>
                  <a:lnTo>
                    <a:pt x="7345" y="1028"/>
                  </a:lnTo>
                  <a:lnTo>
                    <a:pt x="7703" y="1008"/>
                  </a:lnTo>
                  <a:lnTo>
                    <a:pt x="8066" y="1002"/>
                  </a:lnTo>
                  <a:lnTo>
                    <a:pt x="8429" y="1008"/>
                  </a:lnTo>
                  <a:lnTo>
                    <a:pt x="8787" y="1028"/>
                  </a:lnTo>
                  <a:lnTo>
                    <a:pt x="9140" y="1060"/>
                  </a:lnTo>
                  <a:lnTo>
                    <a:pt x="9487" y="1104"/>
                  </a:lnTo>
                  <a:lnTo>
                    <a:pt x="9827" y="1160"/>
                  </a:lnTo>
                  <a:lnTo>
                    <a:pt x="10162" y="1227"/>
                  </a:lnTo>
                  <a:lnTo>
                    <a:pt x="10490" y="1306"/>
                  </a:lnTo>
                  <a:lnTo>
                    <a:pt x="10810" y="1395"/>
                  </a:lnTo>
                  <a:lnTo>
                    <a:pt x="11123" y="1496"/>
                  </a:lnTo>
                  <a:lnTo>
                    <a:pt x="11428" y="1607"/>
                  </a:lnTo>
                  <a:lnTo>
                    <a:pt x="11723" y="1728"/>
                  </a:lnTo>
                  <a:lnTo>
                    <a:pt x="12009" y="1858"/>
                  </a:lnTo>
                  <a:lnTo>
                    <a:pt x="12287" y="1998"/>
                  </a:lnTo>
                  <a:lnTo>
                    <a:pt x="12553" y="2147"/>
                  </a:lnTo>
                  <a:lnTo>
                    <a:pt x="12809" y="2304"/>
                  </a:lnTo>
                  <a:lnTo>
                    <a:pt x="13054" y="2470"/>
                  </a:lnTo>
                  <a:lnTo>
                    <a:pt x="13288" y="2644"/>
                  </a:lnTo>
                  <a:lnTo>
                    <a:pt x="13511" y="2826"/>
                  </a:lnTo>
                  <a:lnTo>
                    <a:pt x="13720" y="3015"/>
                  </a:lnTo>
                  <a:lnTo>
                    <a:pt x="13917" y="3211"/>
                  </a:lnTo>
                  <a:lnTo>
                    <a:pt x="14100" y="3415"/>
                  </a:lnTo>
                  <a:lnTo>
                    <a:pt x="14271" y="3625"/>
                  </a:lnTo>
                  <a:lnTo>
                    <a:pt x="14427" y="3840"/>
                  </a:lnTo>
                  <a:lnTo>
                    <a:pt x="14568" y="4063"/>
                  </a:lnTo>
                  <a:lnTo>
                    <a:pt x="14695" y="4290"/>
                  </a:lnTo>
                  <a:lnTo>
                    <a:pt x="14806" y="4522"/>
                  </a:lnTo>
                  <a:lnTo>
                    <a:pt x="14901" y="4760"/>
                  </a:lnTo>
                  <a:lnTo>
                    <a:pt x="14981" y="5002"/>
                  </a:lnTo>
                  <a:lnTo>
                    <a:pt x="15042" y="5248"/>
                  </a:lnTo>
                  <a:lnTo>
                    <a:pt x="15087" y="5498"/>
                  </a:lnTo>
                  <a:lnTo>
                    <a:pt x="15115" y="5752"/>
                  </a:lnTo>
                  <a:lnTo>
                    <a:pt x="15124" y="6010"/>
                  </a:lnTo>
                  <a:lnTo>
                    <a:pt x="15115" y="6267"/>
                  </a:lnTo>
                  <a:lnTo>
                    <a:pt x="15087" y="6521"/>
                  </a:lnTo>
                  <a:lnTo>
                    <a:pt x="15042" y="6771"/>
                  </a:lnTo>
                  <a:lnTo>
                    <a:pt x="14981" y="7018"/>
                  </a:lnTo>
                  <a:lnTo>
                    <a:pt x="14901" y="7260"/>
                  </a:lnTo>
                  <a:lnTo>
                    <a:pt x="14806" y="7497"/>
                  </a:lnTo>
                  <a:lnTo>
                    <a:pt x="14695" y="7730"/>
                  </a:lnTo>
                  <a:lnTo>
                    <a:pt x="14568" y="7957"/>
                  </a:lnTo>
                  <a:lnTo>
                    <a:pt x="14427" y="8179"/>
                  </a:lnTo>
                  <a:lnTo>
                    <a:pt x="14271" y="8395"/>
                  </a:lnTo>
                  <a:lnTo>
                    <a:pt x="14100" y="8605"/>
                  </a:lnTo>
                  <a:lnTo>
                    <a:pt x="13917" y="8807"/>
                  </a:lnTo>
                  <a:lnTo>
                    <a:pt x="13720" y="9005"/>
                  </a:lnTo>
                  <a:lnTo>
                    <a:pt x="13511" y="9194"/>
                  </a:lnTo>
                  <a:lnTo>
                    <a:pt x="13288" y="9375"/>
                  </a:lnTo>
                  <a:lnTo>
                    <a:pt x="13054" y="9550"/>
                  </a:lnTo>
                  <a:lnTo>
                    <a:pt x="12809" y="9715"/>
                  </a:lnTo>
                  <a:lnTo>
                    <a:pt x="12553" y="9873"/>
                  </a:lnTo>
                  <a:lnTo>
                    <a:pt x="12287" y="10021"/>
                  </a:lnTo>
                  <a:lnTo>
                    <a:pt x="12009" y="10162"/>
                  </a:lnTo>
                  <a:lnTo>
                    <a:pt x="11723" y="10292"/>
                  </a:lnTo>
                  <a:lnTo>
                    <a:pt x="11428" y="10413"/>
                  </a:lnTo>
                  <a:lnTo>
                    <a:pt x="11123" y="10523"/>
                  </a:lnTo>
                  <a:lnTo>
                    <a:pt x="10810" y="10623"/>
                  </a:lnTo>
                  <a:lnTo>
                    <a:pt x="10490" y="10714"/>
                  </a:lnTo>
                  <a:lnTo>
                    <a:pt x="10162" y="10793"/>
                  </a:lnTo>
                  <a:lnTo>
                    <a:pt x="9827" y="10860"/>
                  </a:lnTo>
                  <a:lnTo>
                    <a:pt x="9487" y="10916"/>
                  </a:lnTo>
                  <a:lnTo>
                    <a:pt x="9140" y="10960"/>
                  </a:lnTo>
                  <a:lnTo>
                    <a:pt x="8787" y="10992"/>
                  </a:lnTo>
                  <a:lnTo>
                    <a:pt x="8429" y="11011"/>
                  </a:lnTo>
                  <a:lnTo>
                    <a:pt x="8066" y="11018"/>
                  </a:lnTo>
                  <a:close/>
                  <a:moveTo>
                    <a:pt x="8066" y="0"/>
                  </a:moveTo>
                  <a:lnTo>
                    <a:pt x="7651" y="8"/>
                  </a:lnTo>
                  <a:lnTo>
                    <a:pt x="7241" y="31"/>
                  </a:lnTo>
                  <a:lnTo>
                    <a:pt x="6838" y="69"/>
                  </a:lnTo>
                  <a:lnTo>
                    <a:pt x="6441" y="122"/>
                  </a:lnTo>
                  <a:lnTo>
                    <a:pt x="6051" y="189"/>
                  </a:lnTo>
                  <a:lnTo>
                    <a:pt x="5667" y="270"/>
                  </a:lnTo>
                  <a:lnTo>
                    <a:pt x="5292" y="365"/>
                  </a:lnTo>
                  <a:lnTo>
                    <a:pt x="4926" y="473"/>
                  </a:lnTo>
                  <a:lnTo>
                    <a:pt x="4569" y="593"/>
                  </a:lnTo>
                  <a:lnTo>
                    <a:pt x="4222" y="725"/>
                  </a:lnTo>
                  <a:lnTo>
                    <a:pt x="3884" y="870"/>
                  </a:lnTo>
                  <a:lnTo>
                    <a:pt x="3556" y="1027"/>
                  </a:lnTo>
                  <a:lnTo>
                    <a:pt x="3240" y="1194"/>
                  </a:lnTo>
                  <a:lnTo>
                    <a:pt x="2935" y="1372"/>
                  </a:lnTo>
                  <a:lnTo>
                    <a:pt x="2643" y="1562"/>
                  </a:lnTo>
                  <a:lnTo>
                    <a:pt x="2362" y="1760"/>
                  </a:lnTo>
                  <a:lnTo>
                    <a:pt x="2095" y="1969"/>
                  </a:lnTo>
                  <a:lnTo>
                    <a:pt x="1842" y="2188"/>
                  </a:lnTo>
                  <a:lnTo>
                    <a:pt x="1602" y="2414"/>
                  </a:lnTo>
                  <a:lnTo>
                    <a:pt x="1377" y="2649"/>
                  </a:lnTo>
                  <a:lnTo>
                    <a:pt x="1168" y="2894"/>
                  </a:lnTo>
                  <a:lnTo>
                    <a:pt x="974" y="3145"/>
                  </a:lnTo>
                  <a:lnTo>
                    <a:pt x="796" y="3405"/>
                  </a:lnTo>
                  <a:lnTo>
                    <a:pt x="634" y="3671"/>
                  </a:lnTo>
                  <a:lnTo>
                    <a:pt x="489" y="3943"/>
                  </a:lnTo>
                  <a:lnTo>
                    <a:pt x="363" y="4223"/>
                  </a:lnTo>
                  <a:lnTo>
                    <a:pt x="254" y="4508"/>
                  </a:lnTo>
                  <a:lnTo>
                    <a:pt x="163" y="4799"/>
                  </a:lnTo>
                  <a:lnTo>
                    <a:pt x="93" y="5094"/>
                  </a:lnTo>
                  <a:lnTo>
                    <a:pt x="41" y="5396"/>
                  </a:lnTo>
                  <a:lnTo>
                    <a:pt x="10" y="5700"/>
                  </a:lnTo>
                  <a:lnTo>
                    <a:pt x="0" y="6010"/>
                  </a:lnTo>
                  <a:lnTo>
                    <a:pt x="4" y="6203"/>
                  </a:lnTo>
                  <a:lnTo>
                    <a:pt x="16" y="6394"/>
                  </a:lnTo>
                  <a:lnTo>
                    <a:pt x="36" y="6584"/>
                  </a:lnTo>
                  <a:lnTo>
                    <a:pt x="65" y="6772"/>
                  </a:lnTo>
                  <a:lnTo>
                    <a:pt x="100" y="6958"/>
                  </a:lnTo>
                  <a:lnTo>
                    <a:pt x="143" y="7144"/>
                  </a:lnTo>
                  <a:lnTo>
                    <a:pt x="195" y="7326"/>
                  </a:lnTo>
                  <a:lnTo>
                    <a:pt x="252" y="7506"/>
                  </a:lnTo>
                  <a:lnTo>
                    <a:pt x="318" y="7685"/>
                  </a:lnTo>
                  <a:lnTo>
                    <a:pt x="390" y="7861"/>
                  </a:lnTo>
                  <a:lnTo>
                    <a:pt x="470" y="8034"/>
                  </a:lnTo>
                  <a:lnTo>
                    <a:pt x="556" y="8205"/>
                  </a:lnTo>
                  <a:lnTo>
                    <a:pt x="648" y="8375"/>
                  </a:lnTo>
                  <a:lnTo>
                    <a:pt x="748" y="8541"/>
                  </a:lnTo>
                  <a:lnTo>
                    <a:pt x="855" y="8704"/>
                  </a:lnTo>
                  <a:lnTo>
                    <a:pt x="967" y="8865"/>
                  </a:lnTo>
                  <a:lnTo>
                    <a:pt x="1086" y="9023"/>
                  </a:lnTo>
                  <a:lnTo>
                    <a:pt x="1211" y="9177"/>
                  </a:lnTo>
                  <a:lnTo>
                    <a:pt x="1341" y="9329"/>
                  </a:lnTo>
                  <a:lnTo>
                    <a:pt x="1478" y="9478"/>
                  </a:lnTo>
                  <a:lnTo>
                    <a:pt x="1620" y="9623"/>
                  </a:lnTo>
                  <a:lnTo>
                    <a:pt x="1768" y="9765"/>
                  </a:lnTo>
                  <a:lnTo>
                    <a:pt x="1923" y="9903"/>
                  </a:lnTo>
                  <a:lnTo>
                    <a:pt x="2081" y="10038"/>
                  </a:lnTo>
                  <a:lnTo>
                    <a:pt x="2245" y="10170"/>
                  </a:lnTo>
                  <a:lnTo>
                    <a:pt x="2415" y="10298"/>
                  </a:lnTo>
                  <a:lnTo>
                    <a:pt x="2590" y="10421"/>
                  </a:lnTo>
                  <a:lnTo>
                    <a:pt x="2769" y="10541"/>
                  </a:lnTo>
                  <a:lnTo>
                    <a:pt x="2953" y="10657"/>
                  </a:lnTo>
                  <a:lnTo>
                    <a:pt x="3142" y="10770"/>
                  </a:lnTo>
                  <a:lnTo>
                    <a:pt x="3335" y="10878"/>
                  </a:lnTo>
                  <a:lnTo>
                    <a:pt x="3533" y="10981"/>
                  </a:lnTo>
                  <a:lnTo>
                    <a:pt x="3532" y="10990"/>
                  </a:lnTo>
                  <a:lnTo>
                    <a:pt x="3531" y="10999"/>
                  </a:lnTo>
                  <a:lnTo>
                    <a:pt x="3530" y="11008"/>
                  </a:lnTo>
                  <a:lnTo>
                    <a:pt x="3529" y="11018"/>
                  </a:lnTo>
                  <a:lnTo>
                    <a:pt x="3527" y="11102"/>
                  </a:lnTo>
                  <a:lnTo>
                    <a:pt x="3521" y="11187"/>
                  </a:lnTo>
                  <a:lnTo>
                    <a:pt x="3512" y="11271"/>
                  </a:lnTo>
                  <a:lnTo>
                    <a:pt x="3500" y="11357"/>
                  </a:lnTo>
                  <a:lnTo>
                    <a:pt x="3484" y="11442"/>
                  </a:lnTo>
                  <a:lnTo>
                    <a:pt x="3464" y="11527"/>
                  </a:lnTo>
                  <a:lnTo>
                    <a:pt x="3443" y="11612"/>
                  </a:lnTo>
                  <a:lnTo>
                    <a:pt x="3419" y="11696"/>
                  </a:lnTo>
                  <a:lnTo>
                    <a:pt x="3392" y="11780"/>
                  </a:lnTo>
                  <a:lnTo>
                    <a:pt x="3364" y="11863"/>
                  </a:lnTo>
                  <a:lnTo>
                    <a:pt x="3332" y="11947"/>
                  </a:lnTo>
                  <a:lnTo>
                    <a:pt x="3300" y="12030"/>
                  </a:lnTo>
                  <a:lnTo>
                    <a:pt x="3266" y="12111"/>
                  </a:lnTo>
                  <a:lnTo>
                    <a:pt x="3229" y="12192"/>
                  </a:lnTo>
                  <a:lnTo>
                    <a:pt x="3192" y="12271"/>
                  </a:lnTo>
                  <a:lnTo>
                    <a:pt x="3155" y="12350"/>
                  </a:lnTo>
                  <a:lnTo>
                    <a:pt x="3115" y="12428"/>
                  </a:lnTo>
                  <a:lnTo>
                    <a:pt x="3075" y="12505"/>
                  </a:lnTo>
                  <a:lnTo>
                    <a:pt x="3036" y="12580"/>
                  </a:lnTo>
                  <a:lnTo>
                    <a:pt x="2995" y="12653"/>
                  </a:lnTo>
                  <a:lnTo>
                    <a:pt x="2954" y="12726"/>
                  </a:lnTo>
                  <a:lnTo>
                    <a:pt x="2914" y="12796"/>
                  </a:lnTo>
                  <a:lnTo>
                    <a:pt x="2874" y="12864"/>
                  </a:lnTo>
                  <a:lnTo>
                    <a:pt x="2834" y="12931"/>
                  </a:lnTo>
                  <a:lnTo>
                    <a:pt x="2757" y="13059"/>
                  </a:lnTo>
                  <a:lnTo>
                    <a:pt x="2684" y="13180"/>
                  </a:lnTo>
                  <a:lnTo>
                    <a:pt x="2616" y="13290"/>
                  </a:lnTo>
                  <a:lnTo>
                    <a:pt x="2557" y="13390"/>
                  </a:lnTo>
                  <a:lnTo>
                    <a:pt x="2558" y="13390"/>
                  </a:lnTo>
                  <a:lnTo>
                    <a:pt x="2550" y="13411"/>
                  </a:lnTo>
                  <a:lnTo>
                    <a:pt x="2542" y="13432"/>
                  </a:lnTo>
                  <a:lnTo>
                    <a:pt x="2536" y="13454"/>
                  </a:lnTo>
                  <a:lnTo>
                    <a:pt x="2531" y="13476"/>
                  </a:lnTo>
                  <a:lnTo>
                    <a:pt x="2527" y="13499"/>
                  </a:lnTo>
                  <a:lnTo>
                    <a:pt x="2523" y="13522"/>
                  </a:lnTo>
                  <a:lnTo>
                    <a:pt x="2522" y="13545"/>
                  </a:lnTo>
                  <a:lnTo>
                    <a:pt x="2521" y="13569"/>
                  </a:lnTo>
                  <a:lnTo>
                    <a:pt x="2522" y="13592"/>
                  </a:lnTo>
                  <a:lnTo>
                    <a:pt x="2523" y="13615"/>
                  </a:lnTo>
                  <a:lnTo>
                    <a:pt x="2526" y="13638"/>
                  </a:lnTo>
                  <a:lnTo>
                    <a:pt x="2530" y="13660"/>
                  </a:lnTo>
                  <a:lnTo>
                    <a:pt x="2535" y="13682"/>
                  </a:lnTo>
                  <a:lnTo>
                    <a:pt x="2541" y="13704"/>
                  </a:lnTo>
                  <a:lnTo>
                    <a:pt x="2548" y="13726"/>
                  </a:lnTo>
                  <a:lnTo>
                    <a:pt x="2556" y="13746"/>
                  </a:lnTo>
                  <a:lnTo>
                    <a:pt x="2566" y="13766"/>
                  </a:lnTo>
                  <a:lnTo>
                    <a:pt x="2576" y="13786"/>
                  </a:lnTo>
                  <a:lnTo>
                    <a:pt x="2586" y="13805"/>
                  </a:lnTo>
                  <a:lnTo>
                    <a:pt x="2598" y="13823"/>
                  </a:lnTo>
                  <a:lnTo>
                    <a:pt x="2611" y="13841"/>
                  </a:lnTo>
                  <a:lnTo>
                    <a:pt x="2624" y="13858"/>
                  </a:lnTo>
                  <a:lnTo>
                    <a:pt x="2640" y="13875"/>
                  </a:lnTo>
                  <a:lnTo>
                    <a:pt x="2655" y="13890"/>
                  </a:lnTo>
                  <a:lnTo>
                    <a:pt x="2670" y="13905"/>
                  </a:lnTo>
                  <a:lnTo>
                    <a:pt x="2687" y="13920"/>
                  </a:lnTo>
                  <a:lnTo>
                    <a:pt x="2704" y="13933"/>
                  </a:lnTo>
                  <a:lnTo>
                    <a:pt x="2722" y="13946"/>
                  </a:lnTo>
                  <a:lnTo>
                    <a:pt x="2740" y="13958"/>
                  </a:lnTo>
                  <a:lnTo>
                    <a:pt x="2760" y="13968"/>
                  </a:lnTo>
                  <a:lnTo>
                    <a:pt x="2779" y="13978"/>
                  </a:lnTo>
                  <a:lnTo>
                    <a:pt x="2800" y="13987"/>
                  </a:lnTo>
                  <a:lnTo>
                    <a:pt x="2820" y="13996"/>
                  </a:lnTo>
                  <a:lnTo>
                    <a:pt x="2841" y="14003"/>
                  </a:lnTo>
                  <a:lnTo>
                    <a:pt x="2863" y="14009"/>
                  </a:lnTo>
                  <a:lnTo>
                    <a:pt x="2886" y="14014"/>
                  </a:lnTo>
                  <a:lnTo>
                    <a:pt x="2908" y="14018"/>
                  </a:lnTo>
                  <a:lnTo>
                    <a:pt x="2931" y="14021"/>
                  </a:lnTo>
                  <a:lnTo>
                    <a:pt x="2954" y="14022"/>
                  </a:lnTo>
                  <a:lnTo>
                    <a:pt x="2977" y="14023"/>
                  </a:lnTo>
                  <a:lnTo>
                    <a:pt x="3018" y="14021"/>
                  </a:lnTo>
                  <a:lnTo>
                    <a:pt x="3060" y="14017"/>
                  </a:lnTo>
                  <a:lnTo>
                    <a:pt x="3078" y="14016"/>
                  </a:lnTo>
                  <a:lnTo>
                    <a:pt x="3093" y="14015"/>
                  </a:lnTo>
                  <a:lnTo>
                    <a:pt x="3099" y="14015"/>
                  </a:lnTo>
                  <a:lnTo>
                    <a:pt x="3103" y="14015"/>
                  </a:lnTo>
                  <a:lnTo>
                    <a:pt x="3105" y="14016"/>
                  </a:lnTo>
                  <a:lnTo>
                    <a:pt x="3106" y="14016"/>
                  </a:lnTo>
                  <a:lnTo>
                    <a:pt x="3254" y="13989"/>
                  </a:lnTo>
                  <a:lnTo>
                    <a:pt x="3400" y="13955"/>
                  </a:lnTo>
                  <a:lnTo>
                    <a:pt x="3546" y="13915"/>
                  </a:lnTo>
                  <a:lnTo>
                    <a:pt x="3690" y="13870"/>
                  </a:lnTo>
                  <a:lnTo>
                    <a:pt x="3833" y="13819"/>
                  </a:lnTo>
                  <a:lnTo>
                    <a:pt x="3976" y="13763"/>
                  </a:lnTo>
                  <a:lnTo>
                    <a:pt x="4116" y="13701"/>
                  </a:lnTo>
                  <a:lnTo>
                    <a:pt x="4254" y="13637"/>
                  </a:lnTo>
                  <a:lnTo>
                    <a:pt x="4390" y="13569"/>
                  </a:lnTo>
                  <a:lnTo>
                    <a:pt x="4524" y="13497"/>
                  </a:lnTo>
                  <a:lnTo>
                    <a:pt x="4656" y="13423"/>
                  </a:lnTo>
                  <a:lnTo>
                    <a:pt x="4784" y="13346"/>
                  </a:lnTo>
                  <a:lnTo>
                    <a:pt x="4910" y="13267"/>
                  </a:lnTo>
                  <a:lnTo>
                    <a:pt x="5033" y="13186"/>
                  </a:lnTo>
                  <a:lnTo>
                    <a:pt x="5153" y="13104"/>
                  </a:lnTo>
                  <a:lnTo>
                    <a:pt x="5269" y="13021"/>
                  </a:lnTo>
                  <a:lnTo>
                    <a:pt x="5382" y="12938"/>
                  </a:lnTo>
                  <a:lnTo>
                    <a:pt x="5491" y="12854"/>
                  </a:lnTo>
                  <a:lnTo>
                    <a:pt x="5596" y="12771"/>
                  </a:lnTo>
                  <a:lnTo>
                    <a:pt x="5697" y="12689"/>
                  </a:lnTo>
                  <a:lnTo>
                    <a:pt x="5793" y="12608"/>
                  </a:lnTo>
                  <a:lnTo>
                    <a:pt x="5885" y="12528"/>
                  </a:lnTo>
                  <a:lnTo>
                    <a:pt x="5972" y="12450"/>
                  </a:lnTo>
                  <a:lnTo>
                    <a:pt x="6055" y="12375"/>
                  </a:lnTo>
                  <a:lnTo>
                    <a:pt x="6131" y="12302"/>
                  </a:lnTo>
                  <a:lnTo>
                    <a:pt x="6203" y="12233"/>
                  </a:lnTo>
                  <a:lnTo>
                    <a:pt x="6269" y="12167"/>
                  </a:lnTo>
                  <a:lnTo>
                    <a:pt x="6330" y="12105"/>
                  </a:lnTo>
                  <a:lnTo>
                    <a:pt x="6384" y="12048"/>
                  </a:lnTo>
                  <a:lnTo>
                    <a:pt x="6433" y="11995"/>
                  </a:lnTo>
                  <a:lnTo>
                    <a:pt x="6475" y="11947"/>
                  </a:lnTo>
                  <a:lnTo>
                    <a:pt x="6510" y="11906"/>
                  </a:lnTo>
                  <a:lnTo>
                    <a:pt x="6605" y="11919"/>
                  </a:lnTo>
                  <a:lnTo>
                    <a:pt x="6700" y="11932"/>
                  </a:lnTo>
                  <a:lnTo>
                    <a:pt x="6796" y="11943"/>
                  </a:lnTo>
                  <a:lnTo>
                    <a:pt x="6891" y="11954"/>
                  </a:lnTo>
                  <a:lnTo>
                    <a:pt x="6987" y="11965"/>
                  </a:lnTo>
                  <a:lnTo>
                    <a:pt x="7083" y="11974"/>
                  </a:lnTo>
                  <a:lnTo>
                    <a:pt x="7180" y="11983"/>
                  </a:lnTo>
                  <a:lnTo>
                    <a:pt x="7278" y="11990"/>
                  </a:lnTo>
                  <a:lnTo>
                    <a:pt x="7374" y="11997"/>
                  </a:lnTo>
                  <a:lnTo>
                    <a:pt x="7472" y="12003"/>
                  </a:lnTo>
                  <a:lnTo>
                    <a:pt x="7571" y="12008"/>
                  </a:lnTo>
                  <a:lnTo>
                    <a:pt x="7669" y="12012"/>
                  </a:lnTo>
                  <a:lnTo>
                    <a:pt x="7768" y="12016"/>
                  </a:lnTo>
                  <a:lnTo>
                    <a:pt x="7867" y="12018"/>
                  </a:lnTo>
                  <a:lnTo>
                    <a:pt x="7966" y="12019"/>
                  </a:lnTo>
                  <a:lnTo>
                    <a:pt x="8066" y="12020"/>
                  </a:lnTo>
                  <a:lnTo>
                    <a:pt x="8481" y="12012"/>
                  </a:lnTo>
                  <a:lnTo>
                    <a:pt x="8891" y="11989"/>
                  </a:lnTo>
                  <a:lnTo>
                    <a:pt x="9294" y="11951"/>
                  </a:lnTo>
                  <a:lnTo>
                    <a:pt x="9691" y="11898"/>
                  </a:lnTo>
                  <a:lnTo>
                    <a:pt x="10081" y="11830"/>
                  </a:lnTo>
                  <a:lnTo>
                    <a:pt x="10465" y="11749"/>
                  </a:lnTo>
                  <a:lnTo>
                    <a:pt x="10840" y="11655"/>
                  </a:lnTo>
                  <a:lnTo>
                    <a:pt x="11206" y="11547"/>
                  </a:lnTo>
                  <a:lnTo>
                    <a:pt x="11563" y="11427"/>
                  </a:lnTo>
                  <a:lnTo>
                    <a:pt x="11910" y="11295"/>
                  </a:lnTo>
                  <a:lnTo>
                    <a:pt x="12248" y="11149"/>
                  </a:lnTo>
                  <a:lnTo>
                    <a:pt x="12576" y="10993"/>
                  </a:lnTo>
                  <a:lnTo>
                    <a:pt x="12891" y="10826"/>
                  </a:lnTo>
                  <a:lnTo>
                    <a:pt x="13197" y="10647"/>
                  </a:lnTo>
                  <a:lnTo>
                    <a:pt x="13489" y="10458"/>
                  </a:lnTo>
                  <a:lnTo>
                    <a:pt x="13770" y="10260"/>
                  </a:lnTo>
                  <a:lnTo>
                    <a:pt x="14037" y="10050"/>
                  </a:lnTo>
                  <a:lnTo>
                    <a:pt x="14290" y="9832"/>
                  </a:lnTo>
                  <a:lnTo>
                    <a:pt x="14530" y="9606"/>
                  </a:lnTo>
                  <a:lnTo>
                    <a:pt x="14755" y="9370"/>
                  </a:lnTo>
                  <a:lnTo>
                    <a:pt x="14964" y="9126"/>
                  </a:lnTo>
                  <a:lnTo>
                    <a:pt x="15158" y="8875"/>
                  </a:lnTo>
                  <a:lnTo>
                    <a:pt x="15336" y="8615"/>
                  </a:lnTo>
                  <a:lnTo>
                    <a:pt x="15498" y="8349"/>
                  </a:lnTo>
                  <a:lnTo>
                    <a:pt x="15643" y="8076"/>
                  </a:lnTo>
                  <a:lnTo>
                    <a:pt x="15769" y="7797"/>
                  </a:lnTo>
                  <a:lnTo>
                    <a:pt x="15878" y="7511"/>
                  </a:lnTo>
                  <a:lnTo>
                    <a:pt x="15968" y="7221"/>
                  </a:lnTo>
                  <a:lnTo>
                    <a:pt x="16039" y="6925"/>
                  </a:lnTo>
                  <a:lnTo>
                    <a:pt x="16091" y="6624"/>
                  </a:lnTo>
                  <a:lnTo>
                    <a:pt x="16122" y="6319"/>
                  </a:lnTo>
                  <a:lnTo>
                    <a:pt x="16132" y="6010"/>
                  </a:lnTo>
                  <a:lnTo>
                    <a:pt x="16122" y="5700"/>
                  </a:lnTo>
                  <a:lnTo>
                    <a:pt x="16091" y="5396"/>
                  </a:lnTo>
                  <a:lnTo>
                    <a:pt x="16039" y="5094"/>
                  </a:lnTo>
                  <a:lnTo>
                    <a:pt x="15968" y="4799"/>
                  </a:lnTo>
                  <a:lnTo>
                    <a:pt x="15878" y="4508"/>
                  </a:lnTo>
                  <a:lnTo>
                    <a:pt x="15769" y="4223"/>
                  </a:lnTo>
                  <a:lnTo>
                    <a:pt x="15643" y="3943"/>
                  </a:lnTo>
                  <a:lnTo>
                    <a:pt x="15498" y="3671"/>
                  </a:lnTo>
                  <a:lnTo>
                    <a:pt x="15336" y="3405"/>
                  </a:lnTo>
                  <a:lnTo>
                    <a:pt x="15158" y="3145"/>
                  </a:lnTo>
                  <a:lnTo>
                    <a:pt x="14964" y="2894"/>
                  </a:lnTo>
                  <a:lnTo>
                    <a:pt x="14755" y="2649"/>
                  </a:lnTo>
                  <a:lnTo>
                    <a:pt x="14530" y="2414"/>
                  </a:lnTo>
                  <a:lnTo>
                    <a:pt x="14290" y="2188"/>
                  </a:lnTo>
                  <a:lnTo>
                    <a:pt x="14037" y="1969"/>
                  </a:lnTo>
                  <a:lnTo>
                    <a:pt x="13770" y="1760"/>
                  </a:lnTo>
                  <a:lnTo>
                    <a:pt x="13489" y="1562"/>
                  </a:lnTo>
                  <a:lnTo>
                    <a:pt x="13197" y="1372"/>
                  </a:lnTo>
                  <a:lnTo>
                    <a:pt x="12891" y="1194"/>
                  </a:lnTo>
                  <a:lnTo>
                    <a:pt x="12576" y="1027"/>
                  </a:lnTo>
                  <a:lnTo>
                    <a:pt x="12248" y="870"/>
                  </a:lnTo>
                  <a:lnTo>
                    <a:pt x="11910" y="725"/>
                  </a:lnTo>
                  <a:lnTo>
                    <a:pt x="11563" y="593"/>
                  </a:lnTo>
                  <a:lnTo>
                    <a:pt x="11206" y="473"/>
                  </a:lnTo>
                  <a:lnTo>
                    <a:pt x="10840" y="365"/>
                  </a:lnTo>
                  <a:lnTo>
                    <a:pt x="10465" y="270"/>
                  </a:lnTo>
                  <a:lnTo>
                    <a:pt x="10081" y="189"/>
                  </a:lnTo>
                  <a:lnTo>
                    <a:pt x="9691" y="122"/>
                  </a:lnTo>
                  <a:lnTo>
                    <a:pt x="9294" y="69"/>
                  </a:lnTo>
                  <a:lnTo>
                    <a:pt x="8891" y="31"/>
                  </a:lnTo>
                  <a:lnTo>
                    <a:pt x="8481" y="8"/>
                  </a:lnTo>
                  <a:lnTo>
                    <a:pt x="80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62" name="i$ḻiḍè">
              <a:extLst>
                <a:ext uri="{FF2B5EF4-FFF2-40B4-BE49-F238E27FC236}">
                  <a16:creationId xmlns:a16="http://schemas.microsoft.com/office/drawing/2014/main" id="{8C2E8046-D966-49D3-815D-7CF3A4FB6393}"/>
                </a:ext>
              </a:extLst>
            </p:cNvPr>
            <p:cNvSpPr/>
            <p:nvPr/>
          </p:nvSpPr>
          <p:spPr bwMode="auto">
            <a:xfrm>
              <a:off x="9232257" y="1507758"/>
              <a:ext cx="131262" cy="131262"/>
            </a:xfrm>
            <a:custGeom>
              <a:avLst/>
              <a:gdLst>
                <a:gd name="T0" fmla="*/ 3521 w 6031"/>
                <a:gd name="T1" fmla="*/ 553 h 6022"/>
                <a:gd name="T2" fmla="*/ 4104 w 6031"/>
                <a:gd name="T3" fmla="*/ 750 h 6022"/>
                <a:gd name="T4" fmla="*/ 4613 w 6031"/>
                <a:gd name="T5" fmla="*/ 1076 h 6022"/>
                <a:gd name="T6" fmla="*/ 5029 w 6031"/>
                <a:gd name="T7" fmla="*/ 1511 h 6022"/>
                <a:gd name="T8" fmla="*/ 5330 w 6031"/>
                <a:gd name="T9" fmla="*/ 2036 h 6022"/>
                <a:gd name="T10" fmla="*/ 5499 w 6031"/>
                <a:gd name="T11" fmla="*/ 2630 h 6022"/>
                <a:gd name="T12" fmla="*/ 5515 w 6031"/>
                <a:gd name="T13" fmla="*/ 3268 h 6022"/>
                <a:gd name="T14" fmla="*/ 5375 w 6031"/>
                <a:gd name="T15" fmla="*/ 3873 h 6022"/>
                <a:gd name="T16" fmla="*/ 5098 w 6031"/>
                <a:gd name="T17" fmla="*/ 4413 h 6022"/>
                <a:gd name="T18" fmla="*/ 4704 w 6031"/>
                <a:gd name="T19" fmla="*/ 4868 h 6022"/>
                <a:gd name="T20" fmla="*/ 4213 w 6031"/>
                <a:gd name="T21" fmla="*/ 5217 h 6022"/>
                <a:gd name="T22" fmla="*/ 3643 w 6031"/>
                <a:gd name="T23" fmla="*/ 5441 h 6022"/>
                <a:gd name="T24" fmla="*/ 3016 w 6031"/>
                <a:gd name="T25" fmla="*/ 5520 h 6022"/>
                <a:gd name="T26" fmla="*/ 2388 w 6031"/>
                <a:gd name="T27" fmla="*/ 5441 h 6022"/>
                <a:gd name="T28" fmla="*/ 1818 w 6031"/>
                <a:gd name="T29" fmla="*/ 5217 h 6022"/>
                <a:gd name="T30" fmla="*/ 1327 w 6031"/>
                <a:gd name="T31" fmla="*/ 4868 h 6022"/>
                <a:gd name="T32" fmla="*/ 932 w 6031"/>
                <a:gd name="T33" fmla="*/ 4413 h 6022"/>
                <a:gd name="T34" fmla="*/ 656 w 6031"/>
                <a:gd name="T35" fmla="*/ 3873 h 6022"/>
                <a:gd name="T36" fmla="*/ 516 w 6031"/>
                <a:gd name="T37" fmla="*/ 3268 h 6022"/>
                <a:gd name="T38" fmla="*/ 532 w 6031"/>
                <a:gd name="T39" fmla="*/ 2630 h 6022"/>
                <a:gd name="T40" fmla="*/ 701 w 6031"/>
                <a:gd name="T41" fmla="*/ 2036 h 6022"/>
                <a:gd name="T42" fmla="*/ 1002 w 6031"/>
                <a:gd name="T43" fmla="*/ 1511 h 6022"/>
                <a:gd name="T44" fmla="*/ 1417 w 6031"/>
                <a:gd name="T45" fmla="*/ 1076 h 6022"/>
                <a:gd name="T46" fmla="*/ 1927 w 6031"/>
                <a:gd name="T47" fmla="*/ 750 h 6022"/>
                <a:gd name="T48" fmla="*/ 2510 w 6031"/>
                <a:gd name="T49" fmla="*/ 553 h 6022"/>
                <a:gd name="T50" fmla="*/ 3016 w 6031"/>
                <a:gd name="T51" fmla="*/ 6022 h 6022"/>
                <a:gd name="T52" fmla="*/ 3768 w 6031"/>
                <a:gd name="T53" fmla="*/ 5928 h 6022"/>
                <a:gd name="T54" fmla="*/ 4452 w 6031"/>
                <a:gd name="T55" fmla="*/ 5659 h 6022"/>
                <a:gd name="T56" fmla="*/ 5042 w 6031"/>
                <a:gd name="T57" fmla="*/ 5239 h 6022"/>
                <a:gd name="T58" fmla="*/ 5515 w 6031"/>
                <a:gd name="T59" fmla="*/ 4693 h 6022"/>
                <a:gd name="T60" fmla="*/ 5848 w 6031"/>
                <a:gd name="T61" fmla="*/ 4046 h 6022"/>
                <a:gd name="T62" fmla="*/ 6015 w 6031"/>
                <a:gd name="T63" fmla="*/ 3318 h 6022"/>
                <a:gd name="T64" fmla="*/ 5996 w 6031"/>
                <a:gd name="T65" fmla="*/ 2554 h 6022"/>
                <a:gd name="T66" fmla="*/ 5794 w 6031"/>
                <a:gd name="T67" fmla="*/ 1840 h 6022"/>
                <a:gd name="T68" fmla="*/ 5431 w 6031"/>
                <a:gd name="T69" fmla="*/ 1211 h 6022"/>
                <a:gd name="T70" fmla="*/ 4932 w 6031"/>
                <a:gd name="T71" fmla="*/ 689 h 6022"/>
                <a:gd name="T72" fmla="*/ 4322 w 6031"/>
                <a:gd name="T73" fmla="*/ 297 h 6022"/>
                <a:gd name="T74" fmla="*/ 3623 w 6031"/>
                <a:gd name="T75" fmla="*/ 62 h 6022"/>
                <a:gd name="T76" fmla="*/ 2861 w 6031"/>
                <a:gd name="T77" fmla="*/ 4 h 6022"/>
                <a:gd name="T78" fmla="*/ 2120 w 6031"/>
                <a:gd name="T79" fmla="*/ 136 h 6022"/>
                <a:gd name="T80" fmla="*/ 1453 w 6031"/>
                <a:gd name="T81" fmla="*/ 437 h 6022"/>
                <a:gd name="T82" fmla="*/ 884 w 6031"/>
                <a:gd name="T83" fmla="*/ 884 h 6022"/>
                <a:gd name="T84" fmla="*/ 437 w 6031"/>
                <a:gd name="T85" fmla="*/ 1452 h 6022"/>
                <a:gd name="T86" fmla="*/ 136 w 6031"/>
                <a:gd name="T87" fmla="*/ 2117 h 6022"/>
                <a:gd name="T88" fmla="*/ 4 w 6031"/>
                <a:gd name="T89" fmla="*/ 2857 h 6022"/>
                <a:gd name="T90" fmla="*/ 62 w 6031"/>
                <a:gd name="T91" fmla="*/ 3617 h 6022"/>
                <a:gd name="T92" fmla="*/ 298 w 6031"/>
                <a:gd name="T93" fmla="*/ 4316 h 6022"/>
                <a:gd name="T94" fmla="*/ 690 w 6031"/>
                <a:gd name="T95" fmla="*/ 4925 h 6022"/>
                <a:gd name="T96" fmla="*/ 1212 w 6031"/>
                <a:gd name="T97" fmla="*/ 5424 h 6022"/>
                <a:gd name="T98" fmla="*/ 1843 w 6031"/>
                <a:gd name="T99" fmla="*/ 5785 h 6022"/>
                <a:gd name="T100" fmla="*/ 2557 w 6031"/>
                <a:gd name="T101" fmla="*/ 5988 h 6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31" h="6022">
                  <a:moveTo>
                    <a:pt x="3016" y="502"/>
                  </a:moveTo>
                  <a:lnTo>
                    <a:pt x="3144" y="505"/>
                  </a:lnTo>
                  <a:lnTo>
                    <a:pt x="3272" y="515"/>
                  </a:lnTo>
                  <a:lnTo>
                    <a:pt x="3397" y="531"/>
                  </a:lnTo>
                  <a:lnTo>
                    <a:pt x="3521" y="553"/>
                  </a:lnTo>
                  <a:lnTo>
                    <a:pt x="3643" y="582"/>
                  </a:lnTo>
                  <a:lnTo>
                    <a:pt x="3762" y="616"/>
                  </a:lnTo>
                  <a:lnTo>
                    <a:pt x="3879" y="655"/>
                  </a:lnTo>
                  <a:lnTo>
                    <a:pt x="3992" y="700"/>
                  </a:lnTo>
                  <a:lnTo>
                    <a:pt x="4104" y="750"/>
                  </a:lnTo>
                  <a:lnTo>
                    <a:pt x="4213" y="805"/>
                  </a:lnTo>
                  <a:lnTo>
                    <a:pt x="4318" y="866"/>
                  </a:lnTo>
                  <a:lnTo>
                    <a:pt x="4420" y="932"/>
                  </a:lnTo>
                  <a:lnTo>
                    <a:pt x="4518" y="1001"/>
                  </a:lnTo>
                  <a:lnTo>
                    <a:pt x="4613" y="1076"/>
                  </a:lnTo>
                  <a:lnTo>
                    <a:pt x="4704" y="1155"/>
                  </a:lnTo>
                  <a:lnTo>
                    <a:pt x="4791" y="1238"/>
                  </a:lnTo>
                  <a:lnTo>
                    <a:pt x="4875" y="1325"/>
                  </a:lnTo>
                  <a:lnTo>
                    <a:pt x="4954" y="1417"/>
                  </a:lnTo>
                  <a:lnTo>
                    <a:pt x="5029" y="1511"/>
                  </a:lnTo>
                  <a:lnTo>
                    <a:pt x="5098" y="1609"/>
                  </a:lnTo>
                  <a:lnTo>
                    <a:pt x="5164" y="1712"/>
                  </a:lnTo>
                  <a:lnTo>
                    <a:pt x="5225" y="1816"/>
                  </a:lnTo>
                  <a:lnTo>
                    <a:pt x="5280" y="1924"/>
                  </a:lnTo>
                  <a:lnTo>
                    <a:pt x="5330" y="2036"/>
                  </a:lnTo>
                  <a:lnTo>
                    <a:pt x="5375" y="2149"/>
                  </a:lnTo>
                  <a:lnTo>
                    <a:pt x="5415" y="2266"/>
                  </a:lnTo>
                  <a:lnTo>
                    <a:pt x="5449" y="2385"/>
                  </a:lnTo>
                  <a:lnTo>
                    <a:pt x="5477" y="2506"/>
                  </a:lnTo>
                  <a:lnTo>
                    <a:pt x="5499" y="2630"/>
                  </a:lnTo>
                  <a:lnTo>
                    <a:pt x="5515" y="2755"/>
                  </a:lnTo>
                  <a:lnTo>
                    <a:pt x="5525" y="2883"/>
                  </a:lnTo>
                  <a:lnTo>
                    <a:pt x="5528" y="3011"/>
                  </a:lnTo>
                  <a:lnTo>
                    <a:pt x="5525" y="3141"/>
                  </a:lnTo>
                  <a:lnTo>
                    <a:pt x="5515" y="3268"/>
                  </a:lnTo>
                  <a:lnTo>
                    <a:pt x="5499" y="3394"/>
                  </a:lnTo>
                  <a:lnTo>
                    <a:pt x="5477" y="3517"/>
                  </a:lnTo>
                  <a:lnTo>
                    <a:pt x="5449" y="3638"/>
                  </a:lnTo>
                  <a:lnTo>
                    <a:pt x="5415" y="3757"/>
                  </a:lnTo>
                  <a:lnTo>
                    <a:pt x="5375" y="3873"/>
                  </a:lnTo>
                  <a:lnTo>
                    <a:pt x="5330" y="3988"/>
                  </a:lnTo>
                  <a:lnTo>
                    <a:pt x="5280" y="4098"/>
                  </a:lnTo>
                  <a:lnTo>
                    <a:pt x="5225" y="4207"/>
                  </a:lnTo>
                  <a:lnTo>
                    <a:pt x="5164" y="4312"/>
                  </a:lnTo>
                  <a:lnTo>
                    <a:pt x="5098" y="4413"/>
                  </a:lnTo>
                  <a:lnTo>
                    <a:pt x="5029" y="4512"/>
                  </a:lnTo>
                  <a:lnTo>
                    <a:pt x="4954" y="4607"/>
                  </a:lnTo>
                  <a:lnTo>
                    <a:pt x="4875" y="4697"/>
                  </a:lnTo>
                  <a:lnTo>
                    <a:pt x="4791" y="4785"/>
                  </a:lnTo>
                  <a:lnTo>
                    <a:pt x="4704" y="4868"/>
                  </a:lnTo>
                  <a:lnTo>
                    <a:pt x="4613" y="4947"/>
                  </a:lnTo>
                  <a:lnTo>
                    <a:pt x="4518" y="5022"/>
                  </a:lnTo>
                  <a:lnTo>
                    <a:pt x="4420" y="5092"/>
                  </a:lnTo>
                  <a:lnTo>
                    <a:pt x="4318" y="5157"/>
                  </a:lnTo>
                  <a:lnTo>
                    <a:pt x="4213" y="5217"/>
                  </a:lnTo>
                  <a:lnTo>
                    <a:pt x="4104" y="5272"/>
                  </a:lnTo>
                  <a:lnTo>
                    <a:pt x="3992" y="5324"/>
                  </a:lnTo>
                  <a:lnTo>
                    <a:pt x="3879" y="5368"/>
                  </a:lnTo>
                  <a:lnTo>
                    <a:pt x="3762" y="5408"/>
                  </a:lnTo>
                  <a:lnTo>
                    <a:pt x="3643" y="5441"/>
                  </a:lnTo>
                  <a:lnTo>
                    <a:pt x="3521" y="5469"/>
                  </a:lnTo>
                  <a:lnTo>
                    <a:pt x="3397" y="5491"/>
                  </a:lnTo>
                  <a:lnTo>
                    <a:pt x="3272" y="5507"/>
                  </a:lnTo>
                  <a:lnTo>
                    <a:pt x="3144" y="5517"/>
                  </a:lnTo>
                  <a:lnTo>
                    <a:pt x="3016" y="5520"/>
                  </a:lnTo>
                  <a:lnTo>
                    <a:pt x="2886" y="5517"/>
                  </a:lnTo>
                  <a:lnTo>
                    <a:pt x="2759" y="5507"/>
                  </a:lnTo>
                  <a:lnTo>
                    <a:pt x="2634" y="5491"/>
                  </a:lnTo>
                  <a:lnTo>
                    <a:pt x="2510" y="5469"/>
                  </a:lnTo>
                  <a:lnTo>
                    <a:pt x="2388" y="5441"/>
                  </a:lnTo>
                  <a:lnTo>
                    <a:pt x="2269" y="5408"/>
                  </a:lnTo>
                  <a:lnTo>
                    <a:pt x="2152" y="5368"/>
                  </a:lnTo>
                  <a:lnTo>
                    <a:pt x="2039" y="5324"/>
                  </a:lnTo>
                  <a:lnTo>
                    <a:pt x="1927" y="5272"/>
                  </a:lnTo>
                  <a:lnTo>
                    <a:pt x="1818" y="5217"/>
                  </a:lnTo>
                  <a:lnTo>
                    <a:pt x="1713" y="5157"/>
                  </a:lnTo>
                  <a:lnTo>
                    <a:pt x="1611" y="5092"/>
                  </a:lnTo>
                  <a:lnTo>
                    <a:pt x="1513" y="5022"/>
                  </a:lnTo>
                  <a:lnTo>
                    <a:pt x="1417" y="4947"/>
                  </a:lnTo>
                  <a:lnTo>
                    <a:pt x="1327" y="4868"/>
                  </a:lnTo>
                  <a:lnTo>
                    <a:pt x="1240" y="4785"/>
                  </a:lnTo>
                  <a:lnTo>
                    <a:pt x="1156" y="4697"/>
                  </a:lnTo>
                  <a:lnTo>
                    <a:pt x="1077" y="4607"/>
                  </a:lnTo>
                  <a:lnTo>
                    <a:pt x="1002" y="4512"/>
                  </a:lnTo>
                  <a:lnTo>
                    <a:pt x="932" y="4413"/>
                  </a:lnTo>
                  <a:lnTo>
                    <a:pt x="867" y="4312"/>
                  </a:lnTo>
                  <a:lnTo>
                    <a:pt x="806" y="4207"/>
                  </a:lnTo>
                  <a:lnTo>
                    <a:pt x="751" y="4098"/>
                  </a:lnTo>
                  <a:lnTo>
                    <a:pt x="701" y="3988"/>
                  </a:lnTo>
                  <a:lnTo>
                    <a:pt x="656" y="3873"/>
                  </a:lnTo>
                  <a:lnTo>
                    <a:pt x="615" y="3757"/>
                  </a:lnTo>
                  <a:lnTo>
                    <a:pt x="582" y="3638"/>
                  </a:lnTo>
                  <a:lnTo>
                    <a:pt x="554" y="3517"/>
                  </a:lnTo>
                  <a:lnTo>
                    <a:pt x="532" y="3394"/>
                  </a:lnTo>
                  <a:lnTo>
                    <a:pt x="516" y="3268"/>
                  </a:lnTo>
                  <a:lnTo>
                    <a:pt x="506" y="3141"/>
                  </a:lnTo>
                  <a:lnTo>
                    <a:pt x="503" y="3011"/>
                  </a:lnTo>
                  <a:lnTo>
                    <a:pt x="506" y="2883"/>
                  </a:lnTo>
                  <a:lnTo>
                    <a:pt x="516" y="2755"/>
                  </a:lnTo>
                  <a:lnTo>
                    <a:pt x="532" y="2630"/>
                  </a:lnTo>
                  <a:lnTo>
                    <a:pt x="554" y="2506"/>
                  </a:lnTo>
                  <a:lnTo>
                    <a:pt x="582" y="2385"/>
                  </a:lnTo>
                  <a:lnTo>
                    <a:pt x="615" y="2266"/>
                  </a:lnTo>
                  <a:lnTo>
                    <a:pt x="656" y="2149"/>
                  </a:lnTo>
                  <a:lnTo>
                    <a:pt x="701" y="2036"/>
                  </a:lnTo>
                  <a:lnTo>
                    <a:pt x="751" y="1924"/>
                  </a:lnTo>
                  <a:lnTo>
                    <a:pt x="806" y="1816"/>
                  </a:lnTo>
                  <a:lnTo>
                    <a:pt x="867" y="1712"/>
                  </a:lnTo>
                  <a:lnTo>
                    <a:pt x="932" y="1609"/>
                  </a:lnTo>
                  <a:lnTo>
                    <a:pt x="1002" y="1511"/>
                  </a:lnTo>
                  <a:lnTo>
                    <a:pt x="1077" y="1417"/>
                  </a:lnTo>
                  <a:lnTo>
                    <a:pt x="1156" y="1325"/>
                  </a:lnTo>
                  <a:lnTo>
                    <a:pt x="1240" y="1238"/>
                  </a:lnTo>
                  <a:lnTo>
                    <a:pt x="1327" y="1155"/>
                  </a:lnTo>
                  <a:lnTo>
                    <a:pt x="1417" y="1076"/>
                  </a:lnTo>
                  <a:lnTo>
                    <a:pt x="1513" y="1001"/>
                  </a:lnTo>
                  <a:lnTo>
                    <a:pt x="1611" y="932"/>
                  </a:lnTo>
                  <a:lnTo>
                    <a:pt x="1713" y="866"/>
                  </a:lnTo>
                  <a:lnTo>
                    <a:pt x="1818" y="805"/>
                  </a:lnTo>
                  <a:lnTo>
                    <a:pt x="1927" y="750"/>
                  </a:lnTo>
                  <a:lnTo>
                    <a:pt x="2039" y="700"/>
                  </a:lnTo>
                  <a:lnTo>
                    <a:pt x="2152" y="655"/>
                  </a:lnTo>
                  <a:lnTo>
                    <a:pt x="2269" y="616"/>
                  </a:lnTo>
                  <a:lnTo>
                    <a:pt x="2388" y="582"/>
                  </a:lnTo>
                  <a:lnTo>
                    <a:pt x="2510" y="553"/>
                  </a:lnTo>
                  <a:lnTo>
                    <a:pt x="2634" y="531"/>
                  </a:lnTo>
                  <a:lnTo>
                    <a:pt x="2759" y="515"/>
                  </a:lnTo>
                  <a:lnTo>
                    <a:pt x="2886" y="505"/>
                  </a:lnTo>
                  <a:lnTo>
                    <a:pt x="3016" y="502"/>
                  </a:lnTo>
                  <a:close/>
                  <a:moveTo>
                    <a:pt x="3016" y="6022"/>
                  </a:moveTo>
                  <a:lnTo>
                    <a:pt x="3170" y="6018"/>
                  </a:lnTo>
                  <a:lnTo>
                    <a:pt x="3323" y="6007"/>
                  </a:lnTo>
                  <a:lnTo>
                    <a:pt x="3474" y="5988"/>
                  </a:lnTo>
                  <a:lnTo>
                    <a:pt x="3623" y="5961"/>
                  </a:lnTo>
                  <a:lnTo>
                    <a:pt x="3768" y="5928"/>
                  </a:lnTo>
                  <a:lnTo>
                    <a:pt x="3911" y="5887"/>
                  </a:lnTo>
                  <a:lnTo>
                    <a:pt x="4052" y="5840"/>
                  </a:lnTo>
                  <a:lnTo>
                    <a:pt x="4188" y="5785"/>
                  </a:lnTo>
                  <a:lnTo>
                    <a:pt x="4322" y="5725"/>
                  </a:lnTo>
                  <a:lnTo>
                    <a:pt x="4452" y="5659"/>
                  </a:lnTo>
                  <a:lnTo>
                    <a:pt x="4577" y="5586"/>
                  </a:lnTo>
                  <a:lnTo>
                    <a:pt x="4700" y="5507"/>
                  </a:lnTo>
                  <a:lnTo>
                    <a:pt x="4819" y="5424"/>
                  </a:lnTo>
                  <a:lnTo>
                    <a:pt x="4932" y="5334"/>
                  </a:lnTo>
                  <a:lnTo>
                    <a:pt x="5042" y="5239"/>
                  </a:lnTo>
                  <a:lnTo>
                    <a:pt x="5146" y="5140"/>
                  </a:lnTo>
                  <a:lnTo>
                    <a:pt x="5247" y="5035"/>
                  </a:lnTo>
                  <a:lnTo>
                    <a:pt x="5341" y="4925"/>
                  </a:lnTo>
                  <a:lnTo>
                    <a:pt x="5431" y="4812"/>
                  </a:lnTo>
                  <a:lnTo>
                    <a:pt x="5515" y="4693"/>
                  </a:lnTo>
                  <a:lnTo>
                    <a:pt x="5594" y="4572"/>
                  </a:lnTo>
                  <a:lnTo>
                    <a:pt x="5666" y="4445"/>
                  </a:lnTo>
                  <a:lnTo>
                    <a:pt x="5733" y="4316"/>
                  </a:lnTo>
                  <a:lnTo>
                    <a:pt x="5794" y="4183"/>
                  </a:lnTo>
                  <a:lnTo>
                    <a:pt x="5848" y="4046"/>
                  </a:lnTo>
                  <a:lnTo>
                    <a:pt x="5895" y="3906"/>
                  </a:lnTo>
                  <a:lnTo>
                    <a:pt x="5935" y="3763"/>
                  </a:lnTo>
                  <a:lnTo>
                    <a:pt x="5969" y="3617"/>
                  </a:lnTo>
                  <a:lnTo>
                    <a:pt x="5996" y="3469"/>
                  </a:lnTo>
                  <a:lnTo>
                    <a:pt x="6015" y="3318"/>
                  </a:lnTo>
                  <a:lnTo>
                    <a:pt x="6027" y="3166"/>
                  </a:lnTo>
                  <a:lnTo>
                    <a:pt x="6031" y="3011"/>
                  </a:lnTo>
                  <a:lnTo>
                    <a:pt x="6027" y="2857"/>
                  </a:lnTo>
                  <a:lnTo>
                    <a:pt x="6015" y="2704"/>
                  </a:lnTo>
                  <a:lnTo>
                    <a:pt x="5996" y="2554"/>
                  </a:lnTo>
                  <a:lnTo>
                    <a:pt x="5969" y="2405"/>
                  </a:lnTo>
                  <a:lnTo>
                    <a:pt x="5935" y="2260"/>
                  </a:lnTo>
                  <a:lnTo>
                    <a:pt x="5895" y="2117"/>
                  </a:lnTo>
                  <a:lnTo>
                    <a:pt x="5848" y="1978"/>
                  </a:lnTo>
                  <a:lnTo>
                    <a:pt x="5794" y="1840"/>
                  </a:lnTo>
                  <a:lnTo>
                    <a:pt x="5733" y="1708"/>
                  </a:lnTo>
                  <a:lnTo>
                    <a:pt x="5666" y="1577"/>
                  </a:lnTo>
                  <a:lnTo>
                    <a:pt x="5594" y="1452"/>
                  </a:lnTo>
                  <a:lnTo>
                    <a:pt x="5515" y="1329"/>
                  </a:lnTo>
                  <a:lnTo>
                    <a:pt x="5431" y="1211"/>
                  </a:lnTo>
                  <a:lnTo>
                    <a:pt x="5341" y="1097"/>
                  </a:lnTo>
                  <a:lnTo>
                    <a:pt x="5247" y="988"/>
                  </a:lnTo>
                  <a:lnTo>
                    <a:pt x="5146" y="884"/>
                  </a:lnTo>
                  <a:lnTo>
                    <a:pt x="5042" y="783"/>
                  </a:lnTo>
                  <a:lnTo>
                    <a:pt x="4932" y="689"/>
                  </a:lnTo>
                  <a:lnTo>
                    <a:pt x="4819" y="600"/>
                  </a:lnTo>
                  <a:lnTo>
                    <a:pt x="4700" y="515"/>
                  </a:lnTo>
                  <a:lnTo>
                    <a:pt x="4577" y="437"/>
                  </a:lnTo>
                  <a:lnTo>
                    <a:pt x="4452" y="365"/>
                  </a:lnTo>
                  <a:lnTo>
                    <a:pt x="4322" y="297"/>
                  </a:lnTo>
                  <a:lnTo>
                    <a:pt x="4188" y="237"/>
                  </a:lnTo>
                  <a:lnTo>
                    <a:pt x="4052" y="183"/>
                  </a:lnTo>
                  <a:lnTo>
                    <a:pt x="3911" y="136"/>
                  </a:lnTo>
                  <a:lnTo>
                    <a:pt x="3768" y="96"/>
                  </a:lnTo>
                  <a:lnTo>
                    <a:pt x="3623" y="62"/>
                  </a:lnTo>
                  <a:lnTo>
                    <a:pt x="3474" y="36"/>
                  </a:lnTo>
                  <a:lnTo>
                    <a:pt x="3323" y="16"/>
                  </a:lnTo>
                  <a:lnTo>
                    <a:pt x="3170" y="4"/>
                  </a:lnTo>
                  <a:lnTo>
                    <a:pt x="3016" y="0"/>
                  </a:lnTo>
                  <a:lnTo>
                    <a:pt x="2861" y="4"/>
                  </a:lnTo>
                  <a:lnTo>
                    <a:pt x="2708" y="16"/>
                  </a:lnTo>
                  <a:lnTo>
                    <a:pt x="2557" y="36"/>
                  </a:lnTo>
                  <a:lnTo>
                    <a:pt x="2408" y="62"/>
                  </a:lnTo>
                  <a:lnTo>
                    <a:pt x="2263" y="96"/>
                  </a:lnTo>
                  <a:lnTo>
                    <a:pt x="2120" y="136"/>
                  </a:lnTo>
                  <a:lnTo>
                    <a:pt x="1979" y="183"/>
                  </a:lnTo>
                  <a:lnTo>
                    <a:pt x="1843" y="237"/>
                  </a:lnTo>
                  <a:lnTo>
                    <a:pt x="1709" y="297"/>
                  </a:lnTo>
                  <a:lnTo>
                    <a:pt x="1579" y="365"/>
                  </a:lnTo>
                  <a:lnTo>
                    <a:pt x="1453" y="437"/>
                  </a:lnTo>
                  <a:lnTo>
                    <a:pt x="1331" y="515"/>
                  </a:lnTo>
                  <a:lnTo>
                    <a:pt x="1212" y="600"/>
                  </a:lnTo>
                  <a:lnTo>
                    <a:pt x="1099" y="689"/>
                  </a:lnTo>
                  <a:lnTo>
                    <a:pt x="989" y="783"/>
                  </a:lnTo>
                  <a:lnTo>
                    <a:pt x="884" y="884"/>
                  </a:lnTo>
                  <a:lnTo>
                    <a:pt x="784" y="988"/>
                  </a:lnTo>
                  <a:lnTo>
                    <a:pt x="690" y="1097"/>
                  </a:lnTo>
                  <a:lnTo>
                    <a:pt x="600" y="1211"/>
                  </a:lnTo>
                  <a:lnTo>
                    <a:pt x="516" y="1329"/>
                  </a:lnTo>
                  <a:lnTo>
                    <a:pt x="437" y="1452"/>
                  </a:lnTo>
                  <a:lnTo>
                    <a:pt x="364" y="1577"/>
                  </a:lnTo>
                  <a:lnTo>
                    <a:pt x="298" y="1708"/>
                  </a:lnTo>
                  <a:lnTo>
                    <a:pt x="237" y="1840"/>
                  </a:lnTo>
                  <a:lnTo>
                    <a:pt x="183" y="1978"/>
                  </a:lnTo>
                  <a:lnTo>
                    <a:pt x="136" y="2117"/>
                  </a:lnTo>
                  <a:lnTo>
                    <a:pt x="95" y="2260"/>
                  </a:lnTo>
                  <a:lnTo>
                    <a:pt x="62" y="2405"/>
                  </a:lnTo>
                  <a:lnTo>
                    <a:pt x="35" y="2554"/>
                  </a:lnTo>
                  <a:lnTo>
                    <a:pt x="15" y="2704"/>
                  </a:lnTo>
                  <a:lnTo>
                    <a:pt x="4" y="2857"/>
                  </a:lnTo>
                  <a:lnTo>
                    <a:pt x="0" y="3011"/>
                  </a:lnTo>
                  <a:lnTo>
                    <a:pt x="4" y="3166"/>
                  </a:lnTo>
                  <a:lnTo>
                    <a:pt x="15" y="3318"/>
                  </a:lnTo>
                  <a:lnTo>
                    <a:pt x="35" y="3469"/>
                  </a:lnTo>
                  <a:lnTo>
                    <a:pt x="62" y="3617"/>
                  </a:lnTo>
                  <a:lnTo>
                    <a:pt x="95" y="3763"/>
                  </a:lnTo>
                  <a:lnTo>
                    <a:pt x="136" y="3906"/>
                  </a:lnTo>
                  <a:lnTo>
                    <a:pt x="183" y="4046"/>
                  </a:lnTo>
                  <a:lnTo>
                    <a:pt x="237" y="4183"/>
                  </a:lnTo>
                  <a:lnTo>
                    <a:pt x="298" y="4316"/>
                  </a:lnTo>
                  <a:lnTo>
                    <a:pt x="364" y="4445"/>
                  </a:lnTo>
                  <a:lnTo>
                    <a:pt x="437" y="4572"/>
                  </a:lnTo>
                  <a:lnTo>
                    <a:pt x="516" y="4693"/>
                  </a:lnTo>
                  <a:lnTo>
                    <a:pt x="600" y="4812"/>
                  </a:lnTo>
                  <a:lnTo>
                    <a:pt x="690" y="4925"/>
                  </a:lnTo>
                  <a:lnTo>
                    <a:pt x="784" y="5035"/>
                  </a:lnTo>
                  <a:lnTo>
                    <a:pt x="884" y="5140"/>
                  </a:lnTo>
                  <a:lnTo>
                    <a:pt x="989" y="5239"/>
                  </a:lnTo>
                  <a:lnTo>
                    <a:pt x="1099" y="5334"/>
                  </a:lnTo>
                  <a:lnTo>
                    <a:pt x="1212" y="5424"/>
                  </a:lnTo>
                  <a:lnTo>
                    <a:pt x="1331" y="5507"/>
                  </a:lnTo>
                  <a:lnTo>
                    <a:pt x="1453" y="5586"/>
                  </a:lnTo>
                  <a:lnTo>
                    <a:pt x="1579" y="5659"/>
                  </a:lnTo>
                  <a:lnTo>
                    <a:pt x="1709" y="5725"/>
                  </a:lnTo>
                  <a:lnTo>
                    <a:pt x="1843" y="5785"/>
                  </a:lnTo>
                  <a:lnTo>
                    <a:pt x="1979" y="5840"/>
                  </a:lnTo>
                  <a:lnTo>
                    <a:pt x="2120" y="5887"/>
                  </a:lnTo>
                  <a:lnTo>
                    <a:pt x="2263" y="5928"/>
                  </a:lnTo>
                  <a:lnTo>
                    <a:pt x="2408" y="5961"/>
                  </a:lnTo>
                  <a:lnTo>
                    <a:pt x="2557" y="5988"/>
                  </a:lnTo>
                  <a:lnTo>
                    <a:pt x="2708" y="6007"/>
                  </a:lnTo>
                  <a:lnTo>
                    <a:pt x="2861" y="6018"/>
                  </a:lnTo>
                  <a:lnTo>
                    <a:pt x="3016" y="60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63" name="iśḷïďé">
              <a:extLst>
                <a:ext uri="{FF2B5EF4-FFF2-40B4-BE49-F238E27FC236}">
                  <a16:creationId xmlns:a16="http://schemas.microsoft.com/office/drawing/2014/main" id="{4240F6F6-5E95-4D56-A054-7C0BCFC0BA95}"/>
                </a:ext>
              </a:extLst>
            </p:cNvPr>
            <p:cNvSpPr/>
            <p:nvPr/>
          </p:nvSpPr>
          <p:spPr bwMode="auto">
            <a:xfrm>
              <a:off x="9166223" y="1444946"/>
              <a:ext cx="262524" cy="349494"/>
            </a:xfrm>
            <a:custGeom>
              <a:avLst/>
              <a:gdLst>
                <a:gd name="T0" fmla="*/ 6018 w 12062"/>
                <a:gd name="T1" fmla="*/ 15039 h 16058"/>
                <a:gd name="T2" fmla="*/ 5780 w 12062"/>
                <a:gd name="T3" fmla="*/ 14775 h 16058"/>
                <a:gd name="T4" fmla="*/ 4611 w 12062"/>
                <a:gd name="T5" fmla="*/ 13399 h 16058"/>
                <a:gd name="T6" fmla="*/ 3378 w 12062"/>
                <a:gd name="T7" fmla="*/ 11797 h 16058"/>
                <a:gd name="T8" fmla="*/ 2251 w 12062"/>
                <a:gd name="T9" fmla="*/ 10038 h 16058"/>
                <a:gd name="T10" fmla="*/ 1406 w 12062"/>
                <a:gd name="T11" fmla="*/ 8193 h 16058"/>
                <a:gd name="T12" fmla="*/ 1014 w 12062"/>
                <a:gd name="T13" fmla="*/ 6330 h 16058"/>
                <a:gd name="T14" fmla="*/ 1164 w 12062"/>
                <a:gd name="T15" fmla="*/ 4770 h 16058"/>
                <a:gd name="T16" fmla="*/ 1734 w 12062"/>
                <a:gd name="T17" fmla="*/ 3422 h 16058"/>
                <a:gd name="T18" fmla="*/ 2653 w 12062"/>
                <a:gd name="T19" fmla="*/ 2309 h 16058"/>
                <a:gd name="T20" fmla="*/ 3854 w 12062"/>
                <a:gd name="T21" fmla="*/ 1499 h 16058"/>
                <a:gd name="T22" fmla="*/ 5267 w 12062"/>
                <a:gd name="T23" fmla="*/ 1062 h 16058"/>
                <a:gd name="T24" fmla="*/ 6795 w 12062"/>
                <a:gd name="T25" fmla="*/ 1062 h 16058"/>
                <a:gd name="T26" fmla="*/ 8208 w 12062"/>
                <a:gd name="T27" fmla="*/ 1499 h 16058"/>
                <a:gd name="T28" fmla="*/ 9409 w 12062"/>
                <a:gd name="T29" fmla="*/ 2309 h 16058"/>
                <a:gd name="T30" fmla="*/ 10328 w 12062"/>
                <a:gd name="T31" fmla="*/ 3422 h 16058"/>
                <a:gd name="T32" fmla="*/ 10898 w 12062"/>
                <a:gd name="T33" fmla="*/ 4770 h 16058"/>
                <a:gd name="T34" fmla="*/ 11048 w 12062"/>
                <a:gd name="T35" fmla="*/ 6330 h 16058"/>
                <a:gd name="T36" fmla="*/ 10656 w 12062"/>
                <a:gd name="T37" fmla="*/ 8193 h 16058"/>
                <a:gd name="T38" fmla="*/ 9810 w 12062"/>
                <a:gd name="T39" fmla="*/ 10039 h 16058"/>
                <a:gd name="T40" fmla="*/ 8681 w 12062"/>
                <a:gd name="T41" fmla="*/ 11801 h 16058"/>
                <a:gd name="T42" fmla="*/ 7443 w 12062"/>
                <a:gd name="T43" fmla="*/ 13407 h 16058"/>
                <a:gd name="T44" fmla="*/ 6267 w 12062"/>
                <a:gd name="T45" fmla="*/ 14791 h 16058"/>
                <a:gd name="T46" fmla="*/ 4817 w 12062"/>
                <a:gd name="T47" fmla="*/ 121 h 16058"/>
                <a:gd name="T48" fmla="*/ 3159 w 12062"/>
                <a:gd name="T49" fmla="*/ 722 h 16058"/>
                <a:gd name="T50" fmla="*/ 1768 w 12062"/>
                <a:gd name="T51" fmla="*/ 1753 h 16058"/>
                <a:gd name="T52" fmla="*/ 729 w 12062"/>
                <a:gd name="T53" fmla="*/ 3139 h 16058"/>
                <a:gd name="T54" fmla="*/ 123 w 12062"/>
                <a:gd name="T55" fmla="*/ 4801 h 16058"/>
                <a:gd name="T56" fmla="*/ 34 w 12062"/>
                <a:gd name="T57" fmla="*/ 6682 h 16058"/>
                <a:gd name="T58" fmla="*/ 506 w 12062"/>
                <a:gd name="T59" fmla="*/ 8654 h 16058"/>
                <a:gd name="T60" fmla="*/ 1411 w 12062"/>
                <a:gd name="T61" fmla="*/ 10583 h 16058"/>
                <a:gd name="T62" fmla="*/ 2598 w 12062"/>
                <a:gd name="T63" fmla="*/ 12423 h 16058"/>
                <a:gd name="T64" fmla="*/ 3917 w 12062"/>
                <a:gd name="T65" fmla="*/ 14129 h 16058"/>
                <a:gd name="T66" fmla="*/ 5214 w 12062"/>
                <a:gd name="T67" fmla="*/ 15655 h 16058"/>
                <a:gd name="T68" fmla="*/ 5355 w 12062"/>
                <a:gd name="T69" fmla="*/ 15786 h 16058"/>
                <a:gd name="T70" fmla="*/ 5509 w 12062"/>
                <a:gd name="T71" fmla="*/ 15897 h 16058"/>
                <a:gd name="T72" fmla="*/ 5705 w 12062"/>
                <a:gd name="T73" fmla="*/ 15997 h 16058"/>
                <a:gd name="T74" fmla="*/ 5931 w 12062"/>
                <a:gd name="T75" fmla="*/ 16054 h 16058"/>
                <a:gd name="T76" fmla="*/ 6170 w 12062"/>
                <a:gd name="T77" fmla="*/ 16048 h 16058"/>
                <a:gd name="T78" fmla="*/ 6392 w 12062"/>
                <a:gd name="T79" fmla="*/ 15982 h 16058"/>
                <a:gd name="T80" fmla="*/ 6581 w 12062"/>
                <a:gd name="T81" fmla="*/ 15878 h 16058"/>
                <a:gd name="T82" fmla="*/ 6747 w 12062"/>
                <a:gd name="T83" fmla="*/ 15752 h 16058"/>
                <a:gd name="T84" fmla="*/ 7056 w 12062"/>
                <a:gd name="T85" fmla="*/ 15415 h 16058"/>
                <a:gd name="T86" fmla="*/ 8368 w 12062"/>
                <a:gd name="T87" fmla="*/ 13856 h 16058"/>
                <a:gd name="T88" fmla="*/ 9675 w 12062"/>
                <a:gd name="T89" fmla="*/ 12125 h 16058"/>
                <a:gd name="T90" fmla="*/ 10826 w 12062"/>
                <a:gd name="T91" fmla="*/ 10267 h 16058"/>
                <a:gd name="T92" fmla="*/ 11669 w 12062"/>
                <a:gd name="T93" fmla="*/ 8328 h 16058"/>
                <a:gd name="T94" fmla="*/ 12053 w 12062"/>
                <a:gd name="T95" fmla="*/ 6352 h 16058"/>
                <a:gd name="T96" fmla="*/ 11872 w 12062"/>
                <a:gd name="T97" fmla="*/ 4508 h 16058"/>
                <a:gd name="T98" fmla="*/ 11188 w 12062"/>
                <a:gd name="T99" fmla="*/ 2887 h 16058"/>
                <a:gd name="T100" fmla="*/ 10084 w 12062"/>
                <a:gd name="T101" fmla="*/ 1555 h 16058"/>
                <a:gd name="T102" fmla="*/ 8644 w 12062"/>
                <a:gd name="T103" fmla="*/ 589 h 16058"/>
                <a:gd name="T104" fmla="*/ 6948 w 12062"/>
                <a:gd name="T105" fmla="*/ 68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062" h="16058">
                  <a:moveTo>
                    <a:pt x="6090" y="14996"/>
                  </a:moveTo>
                  <a:lnTo>
                    <a:pt x="6078" y="15005"/>
                  </a:lnTo>
                  <a:lnTo>
                    <a:pt x="6062" y="15018"/>
                  </a:lnTo>
                  <a:lnTo>
                    <a:pt x="6042" y="15032"/>
                  </a:lnTo>
                  <a:lnTo>
                    <a:pt x="6021" y="15045"/>
                  </a:lnTo>
                  <a:lnTo>
                    <a:pt x="6018" y="15039"/>
                  </a:lnTo>
                  <a:lnTo>
                    <a:pt x="6012" y="15032"/>
                  </a:lnTo>
                  <a:lnTo>
                    <a:pt x="6004" y="15024"/>
                  </a:lnTo>
                  <a:lnTo>
                    <a:pt x="5995" y="15015"/>
                  </a:lnTo>
                  <a:lnTo>
                    <a:pt x="5975" y="14996"/>
                  </a:lnTo>
                  <a:lnTo>
                    <a:pt x="5956" y="14978"/>
                  </a:lnTo>
                  <a:lnTo>
                    <a:pt x="5780" y="14775"/>
                  </a:lnTo>
                  <a:lnTo>
                    <a:pt x="5597" y="14565"/>
                  </a:lnTo>
                  <a:lnTo>
                    <a:pt x="5408" y="14346"/>
                  </a:lnTo>
                  <a:lnTo>
                    <a:pt x="5215" y="14120"/>
                  </a:lnTo>
                  <a:lnTo>
                    <a:pt x="5017" y="13886"/>
                  </a:lnTo>
                  <a:lnTo>
                    <a:pt x="4815" y="13646"/>
                  </a:lnTo>
                  <a:lnTo>
                    <a:pt x="4611" y="13399"/>
                  </a:lnTo>
                  <a:lnTo>
                    <a:pt x="4406" y="13145"/>
                  </a:lnTo>
                  <a:lnTo>
                    <a:pt x="4199" y="12887"/>
                  </a:lnTo>
                  <a:lnTo>
                    <a:pt x="3992" y="12622"/>
                  </a:lnTo>
                  <a:lnTo>
                    <a:pt x="3785" y="12352"/>
                  </a:lnTo>
                  <a:lnTo>
                    <a:pt x="3580" y="12077"/>
                  </a:lnTo>
                  <a:lnTo>
                    <a:pt x="3378" y="11797"/>
                  </a:lnTo>
                  <a:lnTo>
                    <a:pt x="3178" y="11513"/>
                  </a:lnTo>
                  <a:lnTo>
                    <a:pt x="2982" y="11225"/>
                  </a:lnTo>
                  <a:lnTo>
                    <a:pt x="2790" y="10932"/>
                  </a:lnTo>
                  <a:lnTo>
                    <a:pt x="2604" y="10637"/>
                  </a:lnTo>
                  <a:lnTo>
                    <a:pt x="2424" y="10339"/>
                  </a:lnTo>
                  <a:lnTo>
                    <a:pt x="2251" y="10038"/>
                  </a:lnTo>
                  <a:lnTo>
                    <a:pt x="2087" y="9734"/>
                  </a:lnTo>
                  <a:lnTo>
                    <a:pt x="1930" y="9429"/>
                  </a:lnTo>
                  <a:lnTo>
                    <a:pt x="1782" y="9122"/>
                  </a:lnTo>
                  <a:lnTo>
                    <a:pt x="1645" y="8813"/>
                  </a:lnTo>
                  <a:lnTo>
                    <a:pt x="1520" y="8504"/>
                  </a:lnTo>
                  <a:lnTo>
                    <a:pt x="1406" y="8193"/>
                  </a:lnTo>
                  <a:lnTo>
                    <a:pt x="1305" y="7881"/>
                  </a:lnTo>
                  <a:lnTo>
                    <a:pt x="1216" y="7570"/>
                  </a:lnTo>
                  <a:lnTo>
                    <a:pt x="1142" y="7259"/>
                  </a:lnTo>
                  <a:lnTo>
                    <a:pt x="1083" y="6948"/>
                  </a:lnTo>
                  <a:lnTo>
                    <a:pt x="1040" y="6639"/>
                  </a:lnTo>
                  <a:lnTo>
                    <a:pt x="1014" y="6330"/>
                  </a:lnTo>
                  <a:lnTo>
                    <a:pt x="1005" y="6023"/>
                  </a:lnTo>
                  <a:lnTo>
                    <a:pt x="1011" y="5765"/>
                  </a:lnTo>
                  <a:lnTo>
                    <a:pt x="1031" y="5510"/>
                  </a:lnTo>
                  <a:lnTo>
                    <a:pt x="1063" y="5259"/>
                  </a:lnTo>
                  <a:lnTo>
                    <a:pt x="1108" y="5012"/>
                  </a:lnTo>
                  <a:lnTo>
                    <a:pt x="1164" y="4770"/>
                  </a:lnTo>
                  <a:lnTo>
                    <a:pt x="1231" y="4532"/>
                  </a:lnTo>
                  <a:lnTo>
                    <a:pt x="1311" y="4299"/>
                  </a:lnTo>
                  <a:lnTo>
                    <a:pt x="1401" y="4071"/>
                  </a:lnTo>
                  <a:lnTo>
                    <a:pt x="1502" y="3849"/>
                  </a:lnTo>
                  <a:lnTo>
                    <a:pt x="1612" y="3632"/>
                  </a:lnTo>
                  <a:lnTo>
                    <a:pt x="1734" y="3422"/>
                  </a:lnTo>
                  <a:lnTo>
                    <a:pt x="1864" y="3219"/>
                  </a:lnTo>
                  <a:lnTo>
                    <a:pt x="2005" y="3022"/>
                  </a:lnTo>
                  <a:lnTo>
                    <a:pt x="2154" y="2832"/>
                  </a:lnTo>
                  <a:lnTo>
                    <a:pt x="2313" y="2650"/>
                  </a:lnTo>
                  <a:lnTo>
                    <a:pt x="2479" y="2475"/>
                  </a:lnTo>
                  <a:lnTo>
                    <a:pt x="2653" y="2309"/>
                  </a:lnTo>
                  <a:lnTo>
                    <a:pt x="2836" y="2151"/>
                  </a:lnTo>
                  <a:lnTo>
                    <a:pt x="3026" y="2002"/>
                  </a:lnTo>
                  <a:lnTo>
                    <a:pt x="3223" y="1862"/>
                  </a:lnTo>
                  <a:lnTo>
                    <a:pt x="3427" y="1731"/>
                  </a:lnTo>
                  <a:lnTo>
                    <a:pt x="3637" y="1610"/>
                  </a:lnTo>
                  <a:lnTo>
                    <a:pt x="3854" y="1499"/>
                  </a:lnTo>
                  <a:lnTo>
                    <a:pt x="4077" y="1399"/>
                  </a:lnTo>
                  <a:lnTo>
                    <a:pt x="4305" y="1309"/>
                  </a:lnTo>
                  <a:lnTo>
                    <a:pt x="4538" y="1229"/>
                  </a:lnTo>
                  <a:lnTo>
                    <a:pt x="4776" y="1162"/>
                  </a:lnTo>
                  <a:lnTo>
                    <a:pt x="5019" y="1106"/>
                  </a:lnTo>
                  <a:lnTo>
                    <a:pt x="5267" y="1062"/>
                  </a:lnTo>
                  <a:lnTo>
                    <a:pt x="5518" y="1030"/>
                  </a:lnTo>
                  <a:lnTo>
                    <a:pt x="5773" y="1010"/>
                  </a:lnTo>
                  <a:lnTo>
                    <a:pt x="6032" y="1004"/>
                  </a:lnTo>
                  <a:lnTo>
                    <a:pt x="6289" y="1010"/>
                  </a:lnTo>
                  <a:lnTo>
                    <a:pt x="6544" y="1030"/>
                  </a:lnTo>
                  <a:lnTo>
                    <a:pt x="6795" y="1062"/>
                  </a:lnTo>
                  <a:lnTo>
                    <a:pt x="7043" y="1106"/>
                  </a:lnTo>
                  <a:lnTo>
                    <a:pt x="7286" y="1162"/>
                  </a:lnTo>
                  <a:lnTo>
                    <a:pt x="7524" y="1229"/>
                  </a:lnTo>
                  <a:lnTo>
                    <a:pt x="7757" y="1309"/>
                  </a:lnTo>
                  <a:lnTo>
                    <a:pt x="7985" y="1399"/>
                  </a:lnTo>
                  <a:lnTo>
                    <a:pt x="8208" y="1499"/>
                  </a:lnTo>
                  <a:lnTo>
                    <a:pt x="8425" y="1610"/>
                  </a:lnTo>
                  <a:lnTo>
                    <a:pt x="8635" y="1731"/>
                  </a:lnTo>
                  <a:lnTo>
                    <a:pt x="8839" y="1862"/>
                  </a:lnTo>
                  <a:lnTo>
                    <a:pt x="9036" y="2002"/>
                  </a:lnTo>
                  <a:lnTo>
                    <a:pt x="9226" y="2151"/>
                  </a:lnTo>
                  <a:lnTo>
                    <a:pt x="9409" y="2309"/>
                  </a:lnTo>
                  <a:lnTo>
                    <a:pt x="9583" y="2475"/>
                  </a:lnTo>
                  <a:lnTo>
                    <a:pt x="9749" y="2650"/>
                  </a:lnTo>
                  <a:lnTo>
                    <a:pt x="9908" y="2832"/>
                  </a:lnTo>
                  <a:lnTo>
                    <a:pt x="10057" y="3022"/>
                  </a:lnTo>
                  <a:lnTo>
                    <a:pt x="10198" y="3219"/>
                  </a:lnTo>
                  <a:lnTo>
                    <a:pt x="10328" y="3422"/>
                  </a:lnTo>
                  <a:lnTo>
                    <a:pt x="10450" y="3632"/>
                  </a:lnTo>
                  <a:lnTo>
                    <a:pt x="10560" y="3849"/>
                  </a:lnTo>
                  <a:lnTo>
                    <a:pt x="10661" y="4071"/>
                  </a:lnTo>
                  <a:lnTo>
                    <a:pt x="10751" y="4299"/>
                  </a:lnTo>
                  <a:lnTo>
                    <a:pt x="10831" y="4532"/>
                  </a:lnTo>
                  <a:lnTo>
                    <a:pt x="10898" y="4770"/>
                  </a:lnTo>
                  <a:lnTo>
                    <a:pt x="10954" y="5012"/>
                  </a:lnTo>
                  <a:lnTo>
                    <a:pt x="10999" y="5259"/>
                  </a:lnTo>
                  <a:lnTo>
                    <a:pt x="11031" y="5510"/>
                  </a:lnTo>
                  <a:lnTo>
                    <a:pt x="11051" y="5765"/>
                  </a:lnTo>
                  <a:lnTo>
                    <a:pt x="11057" y="6023"/>
                  </a:lnTo>
                  <a:lnTo>
                    <a:pt x="11048" y="6330"/>
                  </a:lnTo>
                  <a:lnTo>
                    <a:pt x="11022" y="6639"/>
                  </a:lnTo>
                  <a:lnTo>
                    <a:pt x="10979" y="6948"/>
                  </a:lnTo>
                  <a:lnTo>
                    <a:pt x="10920" y="7259"/>
                  </a:lnTo>
                  <a:lnTo>
                    <a:pt x="10846" y="7570"/>
                  </a:lnTo>
                  <a:lnTo>
                    <a:pt x="10757" y="7881"/>
                  </a:lnTo>
                  <a:lnTo>
                    <a:pt x="10656" y="8193"/>
                  </a:lnTo>
                  <a:lnTo>
                    <a:pt x="10542" y="8504"/>
                  </a:lnTo>
                  <a:lnTo>
                    <a:pt x="10416" y="8814"/>
                  </a:lnTo>
                  <a:lnTo>
                    <a:pt x="10279" y="9122"/>
                  </a:lnTo>
                  <a:lnTo>
                    <a:pt x="10132" y="9430"/>
                  </a:lnTo>
                  <a:lnTo>
                    <a:pt x="9975" y="9735"/>
                  </a:lnTo>
                  <a:lnTo>
                    <a:pt x="9810" y="10039"/>
                  </a:lnTo>
                  <a:lnTo>
                    <a:pt x="9637" y="10340"/>
                  </a:lnTo>
                  <a:lnTo>
                    <a:pt x="9457" y="10639"/>
                  </a:lnTo>
                  <a:lnTo>
                    <a:pt x="9270" y="10934"/>
                  </a:lnTo>
                  <a:lnTo>
                    <a:pt x="9078" y="11227"/>
                  </a:lnTo>
                  <a:lnTo>
                    <a:pt x="8882" y="11516"/>
                  </a:lnTo>
                  <a:lnTo>
                    <a:pt x="8681" y="11801"/>
                  </a:lnTo>
                  <a:lnTo>
                    <a:pt x="8478" y="12081"/>
                  </a:lnTo>
                  <a:lnTo>
                    <a:pt x="8272" y="12357"/>
                  </a:lnTo>
                  <a:lnTo>
                    <a:pt x="8065" y="12628"/>
                  </a:lnTo>
                  <a:lnTo>
                    <a:pt x="7857" y="12893"/>
                  </a:lnTo>
                  <a:lnTo>
                    <a:pt x="7650" y="13154"/>
                  </a:lnTo>
                  <a:lnTo>
                    <a:pt x="7443" y="13407"/>
                  </a:lnTo>
                  <a:lnTo>
                    <a:pt x="7238" y="13655"/>
                  </a:lnTo>
                  <a:lnTo>
                    <a:pt x="7036" y="13897"/>
                  </a:lnTo>
                  <a:lnTo>
                    <a:pt x="6837" y="14132"/>
                  </a:lnTo>
                  <a:lnTo>
                    <a:pt x="6642" y="14359"/>
                  </a:lnTo>
                  <a:lnTo>
                    <a:pt x="6452" y="14579"/>
                  </a:lnTo>
                  <a:lnTo>
                    <a:pt x="6267" y="14791"/>
                  </a:lnTo>
                  <a:lnTo>
                    <a:pt x="6090" y="14996"/>
                  </a:lnTo>
                  <a:close/>
                  <a:moveTo>
                    <a:pt x="6032" y="0"/>
                  </a:moveTo>
                  <a:lnTo>
                    <a:pt x="5721" y="8"/>
                  </a:lnTo>
                  <a:lnTo>
                    <a:pt x="5415" y="31"/>
                  </a:lnTo>
                  <a:lnTo>
                    <a:pt x="5114" y="68"/>
                  </a:lnTo>
                  <a:lnTo>
                    <a:pt x="4817" y="121"/>
                  </a:lnTo>
                  <a:lnTo>
                    <a:pt x="4526" y="188"/>
                  </a:lnTo>
                  <a:lnTo>
                    <a:pt x="4239" y="268"/>
                  </a:lnTo>
                  <a:lnTo>
                    <a:pt x="3959" y="362"/>
                  </a:lnTo>
                  <a:lnTo>
                    <a:pt x="3686" y="470"/>
                  </a:lnTo>
                  <a:lnTo>
                    <a:pt x="3418" y="589"/>
                  </a:lnTo>
                  <a:lnTo>
                    <a:pt x="3159" y="722"/>
                  </a:lnTo>
                  <a:lnTo>
                    <a:pt x="2906" y="865"/>
                  </a:lnTo>
                  <a:lnTo>
                    <a:pt x="2661" y="1021"/>
                  </a:lnTo>
                  <a:lnTo>
                    <a:pt x="2424" y="1188"/>
                  </a:lnTo>
                  <a:lnTo>
                    <a:pt x="2197" y="1366"/>
                  </a:lnTo>
                  <a:lnTo>
                    <a:pt x="1978" y="1555"/>
                  </a:lnTo>
                  <a:lnTo>
                    <a:pt x="1768" y="1753"/>
                  </a:lnTo>
                  <a:lnTo>
                    <a:pt x="1569" y="1962"/>
                  </a:lnTo>
                  <a:lnTo>
                    <a:pt x="1379" y="2180"/>
                  </a:lnTo>
                  <a:lnTo>
                    <a:pt x="1200" y="2407"/>
                  </a:lnTo>
                  <a:lnTo>
                    <a:pt x="1031" y="2643"/>
                  </a:lnTo>
                  <a:lnTo>
                    <a:pt x="874" y="2887"/>
                  </a:lnTo>
                  <a:lnTo>
                    <a:pt x="729" y="3139"/>
                  </a:lnTo>
                  <a:lnTo>
                    <a:pt x="596" y="3399"/>
                  </a:lnTo>
                  <a:lnTo>
                    <a:pt x="474" y="3666"/>
                  </a:lnTo>
                  <a:lnTo>
                    <a:pt x="367" y="3940"/>
                  </a:lnTo>
                  <a:lnTo>
                    <a:pt x="271" y="4221"/>
                  </a:lnTo>
                  <a:lnTo>
                    <a:pt x="190" y="4508"/>
                  </a:lnTo>
                  <a:lnTo>
                    <a:pt x="123" y="4801"/>
                  </a:lnTo>
                  <a:lnTo>
                    <a:pt x="69" y="5099"/>
                  </a:lnTo>
                  <a:lnTo>
                    <a:pt x="31" y="5403"/>
                  </a:lnTo>
                  <a:lnTo>
                    <a:pt x="8" y="5711"/>
                  </a:lnTo>
                  <a:lnTo>
                    <a:pt x="0" y="6023"/>
                  </a:lnTo>
                  <a:lnTo>
                    <a:pt x="9" y="6352"/>
                  </a:lnTo>
                  <a:lnTo>
                    <a:pt x="34" y="6682"/>
                  </a:lnTo>
                  <a:lnTo>
                    <a:pt x="76" y="7012"/>
                  </a:lnTo>
                  <a:lnTo>
                    <a:pt x="134" y="7342"/>
                  </a:lnTo>
                  <a:lnTo>
                    <a:pt x="206" y="7671"/>
                  </a:lnTo>
                  <a:lnTo>
                    <a:pt x="292" y="8000"/>
                  </a:lnTo>
                  <a:lnTo>
                    <a:pt x="393" y="8328"/>
                  </a:lnTo>
                  <a:lnTo>
                    <a:pt x="506" y="8654"/>
                  </a:lnTo>
                  <a:lnTo>
                    <a:pt x="630" y="8980"/>
                  </a:lnTo>
                  <a:lnTo>
                    <a:pt x="767" y="9305"/>
                  </a:lnTo>
                  <a:lnTo>
                    <a:pt x="914" y="9628"/>
                  </a:lnTo>
                  <a:lnTo>
                    <a:pt x="1070" y="9948"/>
                  </a:lnTo>
                  <a:lnTo>
                    <a:pt x="1236" y="10267"/>
                  </a:lnTo>
                  <a:lnTo>
                    <a:pt x="1411" y="10583"/>
                  </a:lnTo>
                  <a:lnTo>
                    <a:pt x="1593" y="10897"/>
                  </a:lnTo>
                  <a:lnTo>
                    <a:pt x="1783" y="11208"/>
                  </a:lnTo>
                  <a:lnTo>
                    <a:pt x="1979" y="11518"/>
                  </a:lnTo>
                  <a:lnTo>
                    <a:pt x="2180" y="11823"/>
                  </a:lnTo>
                  <a:lnTo>
                    <a:pt x="2387" y="12125"/>
                  </a:lnTo>
                  <a:lnTo>
                    <a:pt x="2598" y="12423"/>
                  </a:lnTo>
                  <a:lnTo>
                    <a:pt x="2813" y="12718"/>
                  </a:lnTo>
                  <a:lnTo>
                    <a:pt x="3030" y="13009"/>
                  </a:lnTo>
                  <a:lnTo>
                    <a:pt x="3250" y="13296"/>
                  </a:lnTo>
                  <a:lnTo>
                    <a:pt x="3473" y="13578"/>
                  </a:lnTo>
                  <a:lnTo>
                    <a:pt x="3695" y="13856"/>
                  </a:lnTo>
                  <a:lnTo>
                    <a:pt x="3917" y="14129"/>
                  </a:lnTo>
                  <a:lnTo>
                    <a:pt x="4139" y="14397"/>
                  </a:lnTo>
                  <a:lnTo>
                    <a:pt x="4359" y="14659"/>
                  </a:lnTo>
                  <a:lnTo>
                    <a:pt x="4577" y="14917"/>
                  </a:lnTo>
                  <a:lnTo>
                    <a:pt x="4793" y="15169"/>
                  </a:lnTo>
                  <a:lnTo>
                    <a:pt x="5006" y="15415"/>
                  </a:lnTo>
                  <a:lnTo>
                    <a:pt x="5214" y="15655"/>
                  </a:lnTo>
                  <a:lnTo>
                    <a:pt x="5219" y="15661"/>
                  </a:lnTo>
                  <a:lnTo>
                    <a:pt x="5233" y="15675"/>
                  </a:lnTo>
                  <a:lnTo>
                    <a:pt x="5254" y="15695"/>
                  </a:lnTo>
                  <a:lnTo>
                    <a:pt x="5281" y="15722"/>
                  </a:lnTo>
                  <a:lnTo>
                    <a:pt x="5315" y="15752"/>
                  </a:lnTo>
                  <a:lnTo>
                    <a:pt x="5355" y="15786"/>
                  </a:lnTo>
                  <a:lnTo>
                    <a:pt x="5377" y="15804"/>
                  </a:lnTo>
                  <a:lnTo>
                    <a:pt x="5401" y="15822"/>
                  </a:lnTo>
                  <a:lnTo>
                    <a:pt x="5426" y="15841"/>
                  </a:lnTo>
                  <a:lnTo>
                    <a:pt x="5453" y="15860"/>
                  </a:lnTo>
                  <a:lnTo>
                    <a:pt x="5480" y="15878"/>
                  </a:lnTo>
                  <a:lnTo>
                    <a:pt x="5509" y="15897"/>
                  </a:lnTo>
                  <a:lnTo>
                    <a:pt x="5539" y="15915"/>
                  </a:lnTo>
                  <a:lnTo>
                    <a:pt x="5570" y="15933"/>
                  </a:lnTo>
                  <a:lnTo>
                    <a:pt x="5602" y="15950"/>
                  </a:lnTo>
                  <a:lnTo>
                    <a:pt x="5635" y="15967"/>
                  </a:lnTo>
                  <a:lnTo>
                    <a:pt x="5670" y="15982"/>
                  </a:lnTo>
                  <a:lnTo>
                    <a:pt x="5705" y="15997"/>
                  </a:lnTo>
                  <a:lnTo>
                    <a:pt x="5740" y="16010"/>
                  </a:lnTo>
                  <a:lnTo>
                    <a:pt x="5777" y="16022"/>
                  </a:lnTo>
                  <a:lnTo>
                    <a:pt x="5814" y="16032"/>
                  </a:lnTo>
                  <a:lnTo>
                    <a:pt x="5853" y="16041"/>
                  </a:lnTo>
                  <a:lnTo>
                    <a:pt x="5892" y="16048"/>
                  </a:lnTo>
                  <a:lnTo>
                    <a:pt x="5931" y="16054"/>
                  </a:lnTo>
                  <a:lnTo>
                    <a:pt x="5971" y="16057"/>
                  </a:lnTo>
                  <a:lnTo>
                    <a:pt x="6011" y="16058"/>
                  </a:lnTo>
                  <a:lnTo>
                    <a:pt x="6051" y="16058"/>
                  </a:lnTo>
                  <a:lnTo>
                    <a:pt x="6091" y="16057"/>
                  </a:lnTo>
                  <a:lnTo>
                    <a:pt x="6131" y="16054"/>
                  </a:lnTo>
                  <a:lnTo>
                    <a:pt x="6170" y="16048"/>
                  </a:lnTo>
                  <a:lnTo>
                    <a:pt x="6209" y="16041"/>
                  </a:lnTo>
                  <a:lnTo>
                    <a:pt x="6248" y="16032"/>
                  </a:lnTo>
                  <a:lnTo>
                    <a:pt x="6285" y="16022"/>
                  </a:lnTo>
                  <a:lnTo>
                    <a:pt x="6322" y="16010"/>
                  </a:lnTo>
                  <a:lnTo>
                    <a:pt x="6357" y="15997"/>
                  </a:lnTo>
                  <a:lnTo>
                    <a:pt x="6392" y="15982"/>
                  </a:lnTo>
                  <a:lnTo>
                    <a:pt x="6427" y="15967"/>
                  </a:lnTo>
                  <a:lnTo>
                    <a:pt x="6460" y="15950"/>
                  </a:lnTo>
                  <a:lnTo>
                    <a:pt x="6492" y="15933"/>
                  </a:lnTo>
                  <a:lnTo>
                    <a:pt x="6523" y="15915"/>
                  </a:lnTo>
                  <a:lnTo>
                    <a:pt x="6553" y="15897"/>
                  </a:lnTo>
                  <a:lnTo>
                    <a:pt x="6581" y="15878"/>
                  </a:lnTo>
                  <a:lnTo>
                    <a:pt x="6609" y="15860"/>
                  </a:lnTo>
                  <a:lnTo>
                    <a:pt x="6636" y="15841"/>
                  </a:lnTo>
                  <a:lnTo>
                    <a:pt x="6661" y="15822"/>
                  </a:lnTo>
                  <a:lnTo>
                    <a:pt x="6684" y="15804"/>
                  </a:lnTo>
                  <a:lnTo>
                    <a:pt x="6707" y="15786"/>
                  </a:lnTo>
                  <a:lnTo>
                    <a:pt x="6747" y="15752"/>
                  </a:lnTo>
                  <a:lnTo>
                    <a:pt x="6780" y="15722"/>
                  </a:lnTo>
                  <a:lnTo>
                    <a:pt x="6808" y="15695"/>
                  </a:lnTo>
                  <a:lnTo>
                    <a:pt x="6829" y="15675"/>
                  </a:lnTo>
                  <a:lnTo>
                    <a:pt x="6842" y="15661"/>
                  </a:lnTo>
                  <a:lnTo>
                    <a:pt x="6848" y="15655"/>
                  </a:lnTo>
                  <a:lnTo>
                    <a:pt x="7056" y="15415"/>
                  </a:lnTo>
                  <a:lnTo>
                    <a:pt x="7269" y="15169"/>
                  </a:lnTo>
                  <a:lnTo>
                    <a:pt x="7485" y="14917"/>
                  </a:lnTo>
                  <a:lnTo>
                    <a:pt x="7703" y="14659"/>
                  </a:lnTo>
                  <a:lnTo>
                    <a:pt x="7924" y="14397"/>
                  </a:lnTo>
                  <a:lnTo>
                    <a:pt x="8145" y="14129"/>
                  </a:lnTo>
                  <a:lnTo>
                    <a:pt x="8368" y="13856"/>
                  </a:lnTo>
                  <a:lnTo>
                    <a:pt x="8590" y="13578"/>
                  </a:lnTo>
                  <a:lnTo>
                    <a:pt x="8812" y="13296"/>
                  </a:lnTo>
                  <a:lnTo>
                    <a:pt x="9032" y="13009"/>
                  </a:lnTo>
                  <a:lnTo>
                    <a:pt x="9249" y="12718"/>
                  </a:lnTo>
                  <a:lnTo>
                    <a:pt x="9464" y="12423"/>
                  </a:lnTo>
                  <a:lnTo>
                    <a:pt x="9675" y="12125"/>
                  </a:lnTo>
                  <a:lnTo>
                    <a:pt x="9882" y="11823"/>
                  </a:lnTo>
                  <a:lnTo>
                    <a:pt x="10084" y="11518"/>
                  </a:lnTo>
                  <a:lnTo>
                    <a:pt x="10280" y="11208"/>
                  </a:lnTo>
                  <a:lnTo>
                    <a:pt x="10469" y="10897"/>
                  </a:lnTo>
                  <a:lnTo>
                    <a:pt x="10652" y="10583"/>
                  </a:lnTo>
                  <a:lnTo>
                    <a:pt x="10826" y="10267"/>
                  </a:lnTo>
                  <a:lnTo>
                    <a:pt x="10992" y="9948"/>
                  </a:lnTo>
                  <a:lnTo>
                    <a:pt x="11148" y="9628"/>
                  </a:lnTo>
                  <a:lnTo>
                    <a:pt x="11295" y="9305"/>
                  </a:lnTo>
                  <a:lnTo>
                    <a:pt x="11432" y="8980"/>
                  </a:lnTo>
                  <a:lnTo>
                    <a:pt x="11556" y="8654"/>
                  </a:lnTo>
                  <a:lnTo>
                    <a:pt x="11669" y="8328"/>
                  </a:lnTo>
                  <a:lnTo>
                    <a:pt x="11770" y="8000"/>
                  </a:lnTo>
                  <a:lnTo>
                    <a:pt x="11856" y="7671"/>
                  </a:lnTo>
                  <a:lnTo>
                    <a:pt x="11928" y="7342"/>
                  </a:lnTo>
                  <a:lnTo>
                    <a:pt x="11986" y="7012"/>
                  </a:lnTo>
                  <a:lnTo>
                    <a:pt x="12028" y="6682"/>
                  </a:lnTo>
                  <a:lnTo>
                    <a:pt x="12053" y="6352"/>
                  </a:lnTo>
                  <a:lnTo>
                    <a:pt x="12062" y="6023"/>
                  </a:lnTo>
                  <a:lnTo>
                    <a:pt x="12054" y="5711"/>
                  </a:lnTo>
                  <a:lnTo>
                    <a:pt x="12031" y="5403"/>
                  </a:lnTo>
                  <a:lnTo>
                    <a:pt x="11993" y="5099"/>
                  </a:lnTo>
                  <a:lnTo>
                    <a:pt x="11939" y="4801"/>
                  </a:lnTo>
                  <a:lnTo>
                    <a:pt x="11872" y="4508"/>
                  </a:lnTo>
                  <a:lnTo>
                    <a:pt x="11791" y="4221"/>
                  </a:lnTo>
                  <a:lnTo>
                    <a:pt x="11695" y="3940"/>
                  </a:lnTo>
                  <a:lnTo>
                    <a:pt x="11588" y="3666"/>
                  </a:lnTo>
                  <a:lnTo>
                    <a:pt x="11466" y="3399"/>
                  </a:lnTo>
                  <a:lnTo>
                    <a:pt x="11333" y="3139"/>
                  </a:lnTo>
                  <a:lnTo>
                    <a:pt x="11188" y="2887"/>
                  </a:lnTo>
                  <a:lnTo>
                    <a:pt x="11031" y="2643"/>
                  </a:lnTo>
                  <a:lnTo>
                    <a:pt x="10862" y="2407"/>
                  </a:lnTo>
                  <a:lnTo>
                    <a:pt x="10683" y="2180"/>
                  </a:lnTo>
                  <a:lnTo>
                    <a:pt x="10493" y="1962"/>
                  </a:lnTo>
                  <a:lnTo>
                    <a:pt x="10294" y="1753"/>
                  </a:lnTo>
                  <a:lnTo>
                    <a:pt x="10084" y="1555"/>
                  </a:lnTo>
                  <a:lnTo>
                    <a:pt x="9865" y="1366"/>
                  </a:lnTo>
                  <a:lnTo>
                    <a:pt x="9638" y="1188"/>
                  </a:lnTo>
                  <a:lnTo>
                    <a:pt x="9401" y="1021"/>
                  </a:lnTo>
                  <a:lnTo>
                    <a:pt x="9156" y="865"/>
                  </a:lnTo>
                  <a:lnTo>
                    <a:pt x="8903" y="722"/>
                  </a:lnTo>
                  <a:lnTo>
                    <a:pt x="8644" y="589"/>
                  </a:lnTo>
                  <a:lnTo>
                    <a:pt x="8376" y="470"/>
                  </a:lnTo>
                  <a:lnTo>
                    <a:pt x="8103" y="362"/>
                  </a:lnTo>
                  <a:lnTo>
                    <a:pt x="7823" y="268"/>
                  </a:lnTo>
                  <a:lnTo>
                    <a:pt x="7536" y="188"/>
                  </a:lnTo>
                  <a:lnTo>
                    <a:pt x="7245" y="121"/>
                  </a:lnTo>
                  <a:lnTo>
                    <a:pt x="6948" y="68"/>
                  </a:lnTo>
                  <a:lnTo>
                    <a:pt x="6647" y="31"/>
                  </a:lnTo>
                  <a:lnTo>
                    <a:pt x="6341" y="8"/>
                  </a:lnTo>
                  <a:lnTo>
                    <a:pt x="60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64" name="iṩ1ide">
              <a:extLst>
                <a:ext uri="{FF2B5EF4-FFF2-40B4-BE49-F238E27FC236}">
                  <a16:creationId xmlns:a16="http://schemas.microsoft.com/office/drawing/2014/main" id="{782F683E-79F3-429B-BD77-DBAD015498C8}"/>
                </a:ext>
              </a:extLst>
            </p:cNvPr>
            <p:cNvSpPr/>
            <p:nvPr/>
          </p:nvSpPr>
          <p:spPr bwMode="auto">
            <a:xfrm>
              <a:off x="9992589" y="499752"/>
              <a:ext cx="323916" cy="345350"/>
            </a:xfrm>
            <a:custGeom>
              <a:avLst/>
              <a:gdLst>
                <a:gd name="T0" fmla="*/ 14069 w 15096"/>
                <a:gd name="T1" fmla="*/ 14285 h 16095"/>
                <a:gd name="T2" fmla="*/ 13990 w 15096"/>
                <a:gd name="T3" fmla="*/ 14519 h 16095"/>
                <a:gd name="T4" fmla="*/ 13859 w 15096"/>
                <a:gd name="T5" fmla="*/ 14723 h 16095"/>
                <a:gd name="T6" fmla="*/ 13685 w 15096"/>
                <a:gd name="T7" fmla="*/ 14889 h 16095"/>
                <a:gd name="T8" fmla="*/ 13475 w 15096"/>
                <a:gd name="T9" fmla="*/ 15010 h 16095"/>
                <a:gd name="T10" fmla="*/ 13236 w 15096"/>
                <a:gd name="T11" fmla="*/ 15077 h 16095"/>
                <a:gd name="T12" fmla="*/ 1961 w 15096"/>
                <a:gd name="T13" fmla="*/ 15088 h 16095"/>
                <a:gd name="T14" fmla="*/ 1714 w 15096"/>
                <a:gd name="T15" fmla="*/ 15044 h 16095"/>
                <a:gd name="T16" fmla="*/ 1491 w 15096"/>
                <a:gd name="T17" fmla="*/ 14943 h 16095"/>
                <a:gd name="T18" fmla="*/ 1301 w 15096"/>
                <a:gd name="T19" fmla="*/ 14794 h 16095"/>
                <a:gd name="T20" fmla="*/ 1152 w 15096"/>
                <a:gd name="T21" fmla="*/ 14604 h 16095"/>
                <a:gd name="T22" fmla="*/ 1052 w 15096"/>
                <a:gd name="T23" fmla="*/ 14382 h 16095"/>
                <a:gd name="T24" fmla="*/ 1007 w 15096"/>
                <a:gd name="T25" fmla="*/ 14134 h 16095"/>
                <a:gd name="T26" fmla="*/ 1018 w 15096"/>
                <a:gd name="T27" fmla="*/ 1859 h 16095"/>
                <a:gd name="T28" fmla="*/ 1086 w 15096"/>
                <a:gd name="T29" fmla="*/ 1621 h 16095"/>
                <a:gd name="T30" fmla="*/ 1207 w 15096"/>
                <a:gd name="T31" fmla="*/ 1410 h 16095"/>
                <a:gd name="T32" fmla="*/ 1373 w 15096"/>
                <a:gd name="T33" fmla="*/ 1236 h 16095"/>
                <a:gd name="T34" fmla="*/ 1577 w 15096"/>
                <a:gd name="T35" fmla="*/ 1106 h 16095"/>
                <a:gd name="T36" fmla="*/ 1811 w 15096"/>
                <a:gd name="T37" fmla="*/ 1026 h 16095"/>
                <a:gd name="T38" fmla="*/ 13083 w 15096"/>
                <a:gd name="T39" fmla="*/ 1006 h 16095"/>
                <a:gd name="T40" fmla="*/ 13335 w 15096"/>
                <a:gd name="T41" fmla="*/ 1038 h 16095"/>
                <a:gd name="T42" fmla="*/ 13562 w 15096"/>
                <a:gd name="T43" fmla="*/ 1128 h 16095"/>
                <a:gd name="T44" fmla="*/ 13760 w 15096"/>
                <a:gd name="T45" fmla="*/ 1267 h 16095"/>
                <a:gd name="T46" fmla="*/ 13918 w 15096"/>
                <a:gd name="T47" fmla="*/ 1450 h 16095"/>
                <a:gd name="T48" fmla="*/ 14028 w 15096"/>
                <a:gd name="T49" fmla="*/ 1667 h 16095"/>
                <a:gd name="T50" fmla="*/ 14085 w 15096"/>
                <a:gd name="T51" fmla="*/ 1909 h 16095"/>
                <a:gd name="T52" fmla="*/ 2013 w 15096"/>
                <a:gd name="T53" fmla="*/ 0 h 16095"/>
                <a:gd name="T54" fmla="*/ 1510 w 15096"/>
                <a:gd name="T55" fmla="*/ 63 h 16095"/>
                <a:gd name="T56" fmla="*/ 1054 w 15096"/>
                <a:gd name="T57" fmla="*/ 242 h 16095"/>
                <a:gd name="T58" fmla="*/ 659 w 15096"/>
                <a:gd name="T59" fmla="*/ 523 h 16095"/>
                <a:gd name="T60" fmla="*/ 344 w 15096"/>
                <a:gd name="T61" fmla="*/ 887 h 16095"/>
                <a:gd name="T62" fmla="*/ 122 w 15096"/>
                <a:gd name="T63" fmla="*/ 1320 h 16095"/>
                <a:gd name="T64" fmla="*/ 10 w 15096"/>
                <a:gd name="T65" fmla="*/ 1807 h 16095"/>
                <a:gd name="T66" fmla="*/ 10 w 15096"/>
                <a:gd name="T67" fmla="*/ 14289 h 16095"/>
                <a:gd name="T68" fmla="*/ 122 w 15096"/>
                <a:gd name="T69" fmla="*/ 14775 h 16095"/>
                <a:gd name="T70" fmla="*/ 344 w 15096"/>
                <a:gd name="T71" fmla="*/ 15208 h 16095"/>
                <a:gd name="T72" fmla="*/ 659 w 15096"/>
                <a:gd name="T73" fmla="*/ 15572 h 16095"/>
                <a:gd name="T74" fmla="*/ 1054 w 15096"/>
                <a:gd name="T75" fmla="*/ 15853 h 16095"/>
                <a:gd name="T76" fmla="*/ 1510 w 15096"/>
                <a:gd name="T77" fmla="*/ 16032 h 16095"/>
                <a:gd name="T78" fmla="*/ 2013 w 15096"/>
                <a:gd name="T79" fmla="*/ 16095 h 16095"/>
                <a:gd name="T80" fmla="*/ 13489 w 15096"/>
                <a:gd name="T81" fmla="*/ 16054 h 16095"/>
                <a:gd name="T82" fmla="*/ 13956 w 15096"/>
                <a:gd name="T83" fmla="*/ 15897 h 16095"/>
                <a:gd name="T84" fmla="*/ 14363 w 15096"/>
                <a:gd name="T85" fmla="*/ 15635 h 16095"/>
                <a:gd name="T86" fmla="*/ 14696 w 15096"/>
                <a:gd name="T87" fmla="*/ 15287 h 16095"/>
                <a:gd name="T88" fmla="*/ 14938 w 15096"/>
                <a:gd name="T89" fmla="*/ 14867 h 16095"/>
                <a:gd name="T90" fmla="*/ 15073 w 15096"/>
                <a:gd name="T91" fmla="*/ 14390 h 16095"/>
                <a:gd name="T92" fmla="*/ 15093 w 15096"/>
                <a:gd name="T93" fmla="*/ 1908 h 16095"/>
                <a:gd name="T94" fmla="*/ 15005 w 15096"/>
                <a:gd name="T95" fmla="*/ 1413 h 16095"/>
                <a:gd name="T96" fmla="*/ 14804 w 15096"/>
                <a:gd name="T97" fmla="*/ 969 h 16095"/>
                <a:gd name="T98" fmla="*/ 14506 w 15096"/>
                <a:gd name="T99" fmla="*/ 589 h 16095"/>
                <a:gd name="T100" fmla="*/ 14127 w 15096"/>
                <a:gd name="T101" fmla="*/ 292 h 16095"/>
                <a:gd name="T102" fmla="*/ 13682 w 15096"/>
                <a:gd name="T103" fmla="*/ 91 h 16095"/>
                <a:gd name="T104" fmla="*/ 13187 w 15096"/>
                <a:gd name="T105" fmla="*/ 3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096" h="16095">
                  <a:moveTo>
                    <a:pt x="14090" y="14083"/>
                  </a:moveTo>
                  <a:lnTo>
                    <a:pt x="14089" y="14134"/>
                  </a:lnTo>
                  <a:lnTo>
                    <a:pt x="14085" y="14186"/>
                  </a:lnTo>
                  <a:lnTo>
                    <a:pt x="14079" y="14236"/>
                  </a:lnTo>
                  <a:lnTo>
                    <a:pt x="14069" y="14285"/>
                  </a:lnTo>
                  <a:lnTo>
                    <a:pt x="14058" y="14334"/>
                  </a:lnTo>
                  <a:lnTo>
                    <a:pt x="14044" y="14382"/>
                  </a:lnTo>
                  <a:lnTo>
                    <a:pt x="14028" y="14428"/>
                  </a:lnTo>
                  <a:lnTo>
                    <a:pt x="14010" y="14474"/>
                  </a:lnTo>
                  <a:lnTo>
                    <a:pt x="13990" y="14519"/>
                  </a:lnTo>
                  <a:lnTo>
                    <a:pt x="13968" y="14562"/>
                  </a:lnTo>
                  <a:lnTo>
                    <a:pt x="13944" y="14604"/>
                  </a:lnTo>
                  <a:lnTo>
                    <a:pt x="13918" y="14645"/>
                  </a:lnTo>
                  <a:lnTo>
                    <a:pt x="13889" y="14685"/>
                  </a:lnTo>
                  <a:lnTo>
                    <a:pt x="13859" y="14723"/>
                  </a:lnTo>
                  <a:lnTo>
                    <a:pt x="13828" y="14759"/>
                  </a:lnTo>
                  <a:lnTo>
                    <a:pt x="13795" y="14794"/>
                  </a:lnTo>
                  <a:lnTo>
                    <a:pt x="13760" y="14828"/>
                  </a:lnTo>
                  <a:lnTo>
                    <a:pt x="13723" y="14859"/>
                  </a:lnTo>
                  <a:lnTo>
                    <a:pt x="13685" y="14889"/>
                  </a:lnTo>
                  <a:lnTo>
                    <a:pt x="13646" y="14917"/>
                  </a:lnTo>
                  <a:lnTo>
                    <a:pt x="13605" y="14943"/>
                  </a:lnTo>
                  <a:lnTo>
                    <a:pt x="13562" y="14967"/>
                  </a:lnTo>
                  <a:lnTo>
                    <a:pt x="13519" y="14989"/>
                  </a:lnTo>
                  <a:lnTo>
                    <a:pt x="13475" y="15010"/>
                  </a:lnTo>
                  <a:lnTo>
                    <a:pt x="13428" y="15028"/>
                  </a:lnTo>
                  <a:lnTo>
                    <a:pt x="13382" y="15044"/>
                  </a:lnTo>
                  <a:lnTo>
                    <a:pt x="13335" y="15057"/>
                  </a:lnTo>
                  <a:lnTo>
                    <a:pt x="13285" y="15069"/>
                  </a:lnTo>
                  <a:lnTo>
                    <a:pt x="13236" y="15077"/>
                  </a:lnTo>
                  <a:lnTo>
                    <a:pt x="13186" y="15084"/>
                  </a:lnTo>
                  <a:lnTo>
                    <a:pt x="13135" y="15088"/>
                  </a:lnTo>
                  <a:lnTo>
                    <a:pt x="13083" y="15089"/>
                  </a:lnTo>
                  <a:lnTo>
                    <a:pt x="2013" y="15089"/>
                  </a:lnTo>
                  <a:lnTo>
                    <a:pt x="1961" y="15088"/>
                  </a:lnTo>
                  <a:lnTo>
                    <a:pt x="1910" y="15084"/>
                  </a:lnTo>
                  <a:lnTo>
                    <a:pt x="1860" y="15077"/>
                  </a:lnTo>
                  <a:lnTo>
                    <a:pt x="1811" y="15069"/>
                  </a:lnTo>
                  <a:lnTo>
                    <a:pt x="1761" y="15057"/>
                  </a:lnTo>
                  <a:lnTo>
                    <a:pt x="1714" y="15044"/>
                  </a:lnTo>
                  <a:lnTo>
                    <a:pt x="1667" y="15028"/>
                  </a:lnTo>
                  <a:lnTo>
                    <a:pt x="1621" y="15010"/>
                  </a:lnTo>
                  <a:lnTo>
                    <a:pt x="1577" y="14989"/>
                  </a:lnTo>
                  <a:lnTo>
                    <a:pt x="1534" y="14967"/>
                  </a:lnTo>
                  <a:lnTo>
                    <a:pt x="1491" y="14943"/>
                  </a:lnTo>
                  <a:lnTo>
                    <a:pt x="1450" y="14917"/>
                  </a:lnTo>
                  <a:lnTo>
                    <a:pt x="1411" y="14889"/>
                  </a:lnTo>
                  <a:lnTo>
                    <a:pt x="1373" y="14859"/>
                  </a:lnTo>
                  <a:lnTo>
                    <a:pt x="1336" y="14828"/>
                  </a:lnTo>
                  <a:lnTo>
                    <a:pt x="1301" y="14794"/>
                  </a:lnTo>
                  <a:lnTo>
                    <a:pt x="1268" y="14759"/>
                  </a:lnTo>
                  <a:lnTo>
                    <a:pt x="1237" y="14723"/>
                  </a:lnTo>
                  <a:lnTo>
                    <a:pt x="1207" y="14685"/>
                  </a:lnTo>
                  <a:lnTo>
                    <a:pt x="1178" y="14645"/>
                  </a:lnTo>
                  <a:lnTo>
                    <a:pt x="1152" y="14604"/>
                  </a:lnTo>
                  <a:lnTo>
                    <a:pt x="1128" y="14562"/>
                  </a:lnTo>
                  <a:lnTo>
                    <a:pt x="1106" y="14519"/>
                  </a:lnTo>
                  <a:lnTo>
                    <a:pt x="1086" y="14474"/>
                  </a:lnTo>
                  <a:lnTo>
                    <a:pt x="1068" y="14428"/>
                  </a:lnTo>
                  <a:lnTo>
                    <a:pt x="1052" y="14382"/>
                  </a:lnTo>
                  <a:lnTo>
                    <a:pt x="1039" y="14334"/>
                  </a:lnTo>
                  <a:lnTo>
                    <a:pt x="1027" y="14285"/>
                  </a:lnTo>
                  <a:lnTo>
                    <a:pt x="1018" y="14236"/>
                  </a:lnTo>
                  <a:lnTo>
                    <a:pt x="1011" y="14186"/>
                  </a:lnTo>
                  <a:lnTo>
                    <a:pt x="1007" y="14134"/>
                  </a:lnTo>
                  <a:lnTo>
                    <a:pt x="1006" y="14083"/>
                  </a:lnTo>
                  <a:lnTo>
                    <a:pt x="1006" y="2012"/>
                  </a:lnTo>
                  <a:lnTo>
                    <a:pt x="1007" y="1961"/>
                  </a:lnTo>
                  <a:lnTo>
                    <a:pt x="1011" y="1909"/>
                  </a:lnTo>
                  <a:lnTo>
                    <a:pt x="1018" y="1859"/>
                  </a:lnTo>
                  <a:lnTo>
                    <a:pt x="1027" y="1810"/>
                  </a:lnTo>
                  <a:lnTo>
                    <a:pt x="1039" y="1760"/>
                  </a:lnTo>
                  <a:lnTo>
                    <a:pt x="1052" y="1713"/>
                  </a:lnTo>
                  <a:lnTo>
                    <a:pt x="1068" y="1667"/>
                  </a:lnTo>
                  <a:lnTo>
                    <a:pt x="1086" y="1621"/>
                  </a:lnTo>
                  <a:lnTo>
                    <a:pt x="1106" y="1576"/>
                  </a:lnTo>
                  <a:lnTo>
                    <a:pt x="1128" y="1533"/>
                  </a:lnTo>
                  <a:lnTo>
                    <a:pt x="1152" y="1491"/>
                  </a:lnTo>
                  <a:lnTo>
                    <a:pt x="1178" y="1450"/>
                  </a:lnTo>
                  <a:lnTo>
                    <a:pt x="1207" y="1410"/>
                  </a:lnTo>
                  <a:lnTo>
                    <a:pt x="1237" y="1372"/>
                  </a:lnTo>
                  <a:lnTo>
                    <a:pt x="1268" y="1336"/>
                  </a:lnTo>
                  <a:lnTo>
                    <a:pt x="1301" y="1301"/>
                  </a:lnTo>
                  <a:lnTo>
                    <a:pt x="1336" y="1267"/>
                  </a:lnTo>
                  <a:lnTo>
                    <a:pt x="1373" y="1236"/>
                  </a:lnTo>
                  <a:lnTo>
                    <a:pt x="1411" y="1206"/>
                  </a:lnTo>
                  <a:lnTo>
                    <a:pt x="1450" y="1178"/>
                  </a:lnTo>
                  <a:lnTo>
                    <a:pt x="1491" y="1152"/>
                  </a:lnTo>
                  <a:lnTo>
                    <a:pt x="1534" y="1128"/>
                  </a:lnTo>
                  <a:lnTo>
                    <a:pt x="1577" y="1106"/>
                  </a:lnTo>
                  <a:lnTo>
                    <a:pt x="1621" y="1085"/>
                  </a:lnTo>
                  <a:lnTo>
                    <a:pt x="1667" y="1067"/>
                  </a:lnTo>
                  <a:lnTo>
                    <a:pt x="1714" y="1051"/>
                  </a:lnTo>
                  <a:lnTo>
                    <a:pt x="1761" y="1038"/>
                  </a:lnTo>
                  <a:lnTo>
                    <a:pt x="1811" y="1026"/>
                  </a:lnTo>
                  <a:lnTo>
                    <a:pt x="1860" y="1018"/>
                  </a:lnTo>
                  <a:lnTo>
                    <a:pt x="1910" y="1011"/>
                  </a:lnTo>
                  <a:lnTo>
                    <a:pt x="1961" y="1007"/>
                  </a:lnTo>
                  <a:lnTo>
                    <a:pt x="2013" y="1006"/>
                  </a:lnTo>
                  <a:lnTo>
                    <a:pt x="13083" y="1006"/>
                  </a:lnTo>
                  <a:lnTo>
                    <a:pt x="13135" y="1007"/>
                  </a:lnTo>
                  <a:lnTo>
                    <a:pt x="13186" y="1011"/>
                  </a:lnTo>
                  <a:lnTo>
                    <a:pt x="13236" y="1018"/>
                  </a:lnTo>
                  <a:lnTo>
                    <a:pt x="13285" y="1026"/>
                  </a:lnTo>
                  <a:lnTo>
                    <a:pt x="13335" y="1038"/>
                  </a:lnTo>
                  <a:lnTo>
                    <a:pt x="13382" y="1051"/>
                  </a:lnTo>
                  <a:lnTo>
                    <a:pt x="13428" y="1067"/>
                  </a:lnTo>
                  <a:lnTo>
                    <a:pt x="13475" y="1085"/>
                  </a:lnTo>
                  <a:lnTo>
                    <a:pt x="13519" y="1106"/>
                  </a:lnTo>
                  <a:lnTo>
                    <a:pt x="13562" y="1128"/>
                  </a:lnTo>
                  <a:lnTo>
                    <a:pt x="13605" y="1152"/>
                  </a:lnTo>
                  <a:lnTo>
                    <a:pt x="13646" y="1178"/>
                  </a:lnTo>
                  <a:lnTo>
                    <a:pt x="13685" y="1206"/>
                  </a:lnTo>
                  <a:lnTo>
                    <a:pt x="13723" y="1236"/>
                  </a:lnTo>
                  <a:lnTo>
                    <a:pt x="13760" y="1267"/>
                  </a:lnTo>
                  <a:lnTo>
                    <a:pt x="13795" y="1301"/>
                  </a:lnTo>
                  <a:lnTo>
                    <a:pt x="13828" y="1336"/>
                  </a:lnTo>
                  <a:lnTo>
                    <a:pt x="13859" y="1372"/>
                  </a:lnTo>
                  <a:lnTo>
                    <a:pt x="13889" y="1410"/>
                  </a:lnTo>
                  <a:lnTo>
                    <a:pt x="13918" y="1450"/>
                  </a:lnTo>
                  <a:lnTo>
                    <a:pt x="13944" y="1491"/>
                  </a:lnTo>
                  <a:lnTo>
                    <a:pt x="13968" y="1533"/>
                  </a:lnTo>
                  <a:lnTo>
                    <a:pt x="13990" y="1576"/>
                  </a:lnTo>
                  <a:lnTo>
                    <a:pt x="14010" y="1621"/>
                  </a:lnTo>
                  <a:lnTo>
                    <a:pt x="14028" y="1667"/>
                  </a:lnTo>
                  <a:lnTo>
                    <a:pt x="14044" y="1713"/>
                  </a:lnTo>
                  <a:lnTo>
                    <a:pt x="14058" y="1760"/>
                  </a:lnTo>
                  <a:lnTo>
                    <a:pt x="14069" y="1810"/>
                  </a:lnTo>
                  <a:lnTo>
                    <a:pt x="14079" y="1859"/>
                  </a:lnTo>
                  <a:lnTo>
                    <a:pt x="14085" y="1909"/>
                  </a:lnTo>
                  <a:lnTo>
                    <a:pt x="14089" y="1961"/>
                  </a:lnTo>
                  <a:lnTo>
                    <a:pt x="14090" y="2012"/>
                  </a:lnTo>
                  <a:lnTo>
                    <a:pt x="14090" y="14083"/>
                  </a:lnTo>
                  <a:close/>
                  <a:moveTo>
                    <a:pt x="13083" y="0"/>
                  </a:moveTo>
                  <a:lnTo>
                    <a:pt x="2013" y="0"/>
                  </a:lnTo>
                  <a:lnTo>
                    <a:pt x="1909" y="3"/>
                  </a:lnTo>
                  <a:lnTo>
                    <a:pt x="1806" y="10"/>
                  </a:lnTo>
                  <a:lnTo>
                    <a:pt x="1706" y="23"/>
                  </a:lnTo>
                  <a:lnTo>
                    <a:pt x="1607" y="41"/>
                  </a:lnTo>
                  <a:lnTo>
                    <a:pt x="1510" y="63"/>
                  </a:lnTo>
                  <a:lnTo>
                    <a:pt x="1414" y="91"/>
                  </a:lnTo>
                  <a:lnTo>
                    <a:pt x="1320" y="122"/>
                  </a:lnTo>
                  <a:lnTo>
                    <a:pt x="1229" y="158"/>
                  </a:lnTo>
                  <a:lnTo>
                    <a:pt x="1140" y="198"/>
                  </a:lnTo>
                  <a:lnTo>
                    <a:pt x="1054" y="242"/>
                  </a:lnTo>
                  <a:lnTo>
                    <a:pt x="969" y="292"/>
                  </a:lnTo>
                  <a:lnTo>
                    <a:pt x="888" y="344"/>
                  </a:lnTo>
                  <a:lnTo>
                    <a:pt x="808" y="399"/>
                  </a:lnTo>
                  <a:lnTo>
                    <a:pt x="733" y="460"/>
                  </a:lnTo>
                  <a:lnTo>
                    <a:pt x="659" y="523"/>
                  </a:lnTo>
                  <a:lnTo>
                    <a:pt x="590" y="589"/>
                  </a:lnTo>
                  <a:lnTo>
                    <a:pt x="523" y="659"/>
                  </a:lnTo>
                  <a:lnTo>
                    <a:pt x="460" y="732"/>
                  </a:lnTo>
                  <a:lnTo>
                    <a:pt x="400" y="808"/>
                  </a:lnTo>
                  <a:lnTo>
                    <a:pt x="344" y="887"/>
                  </a:lnTo>
                  <a:lnTo>
                    <a:pt x="292" y="969"/>
                  </a:lnTo>
                  <a:lnTo>
                    <a:pt x="243" y="1053"/>
                  </a:lnTo>
                  <a:lnTo>
                    <a:pt x="198" y="1140"/>
                  </a:lnTo>
                  <a:lnTo>
                    <a:pt x="158" y="1229"/>
                  </a:lnTo>
                  <a:lnTo>
                    <a:pt x="122" y="1320"/>
                  </a:lnTo>
                  <a:lnTo>
                    <a:pt x="91" y="1413"/>
                  </a:lnTo>
                  <a:lnTo>
                    <a:pt x="63" y="1509"/>
                  </a:lnTo>
                  <a:lnTo>
                    <a:pt x="41" y="1606"/>
                  </a:lnTo>
                  <a:lnTo>
                    <a:pt x="23" y="1705"/>
                  </a:lnTo>
                  <a:lnTo>
                    <a:pt x="10" y="1807"/>
                  </a:lnTo>
                  <a:lnTo>
                    <a:pt x="3" y="1908"/>
                  </a:lnTo>
                  <a:lnTo>
                    <a:pt x="0" y="2012"/>
                  </a:lnTo>
                  <a:lnTo>
                    <a:pt x="0" y="14083"/>
                  </a:lnTo>
                  <a:lnTo>
                    <a:pt x="3" y="14187"/>
                  </a:lnTo>
                  <a:lnTo>
                    <a:pt x="10" y="14289"/>
                  </a:lnTo>
                  <a:lnTo>
                    <a:pt x="23" y="14390"/>
                  </a:lnTo>
                  <a:lnTo>
                    <a:pt x="41" y="14489"/>
                  </a:lnTo>
                  <a:lnTo>
                    <a:pt x="63" y="14586"/>
                  </a:lnTo>
                  <a:lnTo>
                    <a:pt x="91" y="14682"/>
                  </a:lnTo>
                  <a:lnTo>
                    <a:pt x="122" y="14775"/>
                  </a:lnTo>
                  <a:lnTo>
                    <a:pt x="158" y="14867"/>
                  </a:lnTo>
                  <a:lnTo>
                    <a:pt x="198" y="14955"/>
                  </a:lnTo>
                  <a:lnTo>
                    <a:pt x="243" y="15042"/>
                  </a:lnTo>
                  <a:lnTo>
                    <a:pt x="292" y="15126"/>
                  </a:lnTo>
                  <a:lnTo>
                    <a:pt x="344" y="15208"/>
                  </a:lnTo>
                  <a:lnTo>
                    <a:pt x="400" y="15287"/>
                  </a:lnTo>
                  <a:lnTo>
                    <a:pt x="460" y="15363"/>
                  </a:lnTo>
                  <a:lnTo>
                    <a:pt x="523" y="15436"/>
                  </a:lnTo>
                  <a:lnTo>
                    <a:pt x="590" y="15506"/>
                  </a:lnTo>
                  <a:lnTo>
                    <a:pt x="659" y="15572"/>
                  </a:lnTo>
                  <a:lnTo>
                    <a:pt x="733" y="15635"/>
                  </a:lnTo>
                  <a:lnTo>
                    <a:pt x="808" y="15696"/>
                  </a:lnTo>
                  <a:lnTo>
                    <a:pt x="888" y="15751"/>
                  </a:lnTo>
                  <a:lnTo>
                    <a:pt x="969" y="15803"/>
                  </a:lnTo>
                  <a:lnTo>
                    <a:pt x="1054" y="15853"/>
                  </a:lnTo>
                  <a:lnTo>
                    <a:pt x="1140" y="15897"/>
                  </a:lnTo>
                  <a:lnTo>
                    <a:pt x="1229" y="15937"/>
                  </a:lnTo>
                  <a:lnTo>
                    <a:pt x="1320" y="15973"/>
                  </a:lnTo>
                  <a:lnTo>
                    <a:pt x="1414" y="16004"/>
                  </a:lnTo>
                  <a:lnTo>
                    <a:pt x="1510" y="16032"/>
                  </a:lnTo>
                  <a:lnTo>
                    <a:pt x="1607" y="16054"/>
                  </a:lnTo>
                  <a:lnTo>
                    <a:pt x="1706" y="16072"/>
                  </a:lnTo>
                  <a:lnTo>
                    <a:pt x="1806" y="16085"/>
                  </a:lnTo>
                  <a:lnTo>
                    <a:pt x="1909" y="16092"/>
                  </a:lnTo>
                  <a:lnTo>
                    <a:pt x="2013" y="16095"/>
                  </a:lnTo>
                  <a:lnTo>
                    <a:pt x="13083" y="16095"/>
                  </a:lnTo>
                  <a:lnTo>
                    <a:pt x="13187" y="16092"/>
                  </a:lnTo>
                  <a:lnTo>
                    <a:pt x="13289" y="16085"/>
                  </a:lnTo>
                  <a:lnTo>
                    <a:pt x="13390" y="16072"/>
                  </a:lnTo>
                  <a:lnTo>
                    <a:pt x="13489" y="16054"/>
                  </a:lnTo>
                  <a:lnTo>
                    <a:pt x="13586" y="16032"/>
                  </a:lnTo>
                  <a:lnTo>
                    <a:pt x="13682" y="16004"/>
                  </a:lnTo>
                  <a:lnTo>
                    <a:pt x="13776" y="15973"/>
                  </a:lnTo>
                  <a:lnTo>
                    <a:pt x="13866" y="15937"/>
                  </a:lnTo>
                  <a:lnTo>
                    <a:pt x="13956" y="15897"/>
                  </a:lnTo>
                  <a:lnTo>
                    <a:pt x="14042" y="15853"/>
                  </a:lnTo>
                  <a:lnTo>
                    <a:pt x="14127" y="15803"/>
                  </a:lnTo>
                  <a:lnTo>
                    <a:pt x="14208" y="15751"/>
                  </a:lnTo>
                  <a:lnTo>
                    <a:pt x="14288" y="15696"/>
                  </a:lnTo>
                  <a:lnTo>
                    <a:pt x="14363" y="15635"/>
                  </a:lnTo>
                  <a:lnTo>
                    <a:pt x="14437" y="15572"/>
                  </a:lnTo>
                  <a:lnTo>
                    <a:pt x="14506" y="15506"/>
                  </a:lnTo>
                  <a:lnTo>
                    <a:pt x="14573" y="15436"/>
                  </a:lnTo>
                  <a:lnTo>
                    <a:pt x="14636" y="15363"/>
                  </a:lnTo>
                  <a:lnTo>
                    <a:pt x="14696" y="15287"/>
                  </a:lnTo>
                  <a:lnTo>
                    <a:pt x="14752" y="15208"/>
                  </a:lnTo>
                  <a:lnTo>
                    <a:pt x="14804" y="15126"/>
                  </a:lnTo>
                  <a:lnTo>
                    <a:pt x="14853" y="15042"/>
                  </a:lnTo>
                  <a:lnTo>
                    <a:pt x="14898" y="14955"/>
                  </a:lnTo>
                  <a:lnTo>
                    <a:pt x="14938" y="14867"/>
                  </a:lnTo>
                  <a:lnTo>
                    <a:pt x="14974" y="14775"/>
                  </a:lnTo>
                  <a:lnTo>
                    <a:pt x="15005" y="14682"/>
                  </a:lnTo>
                  <a:lnTo>
                    <a:pt x="15033" y="14586"/>
                  </a:lnTo>
                  <a:lnTo>
                    <a:pt x="15055" y="14489"/>
                  </a:lnTo>
                  <a:lnTo>
                    <a:pt x="15073" y="14390"/>
                  </a:lnTo>
                  <a:lnTo>
                    <a:pt x="15086" y="14289"/>
                  </a:lnTo>
                  <a:lnTo>
                    <a:pt x="15093" y="14187"/>
                  </a:lnTo>
                  <a:lnTo>
                    <a:pt x="15096" y="14083"/>
                  </a:lnTo>
                  <a:lnTo>
                    <a:pt x="15096" y="2012"/>
                  </a:lnTo>
                  <a:lnTo>
                    <a:pt x="15093" y="1908"/>
                  </a:lnTo>
                  <a:lnTo>
                    <a:pt x="15086" y="1807"/>
                  </a:lnTo>
                  <a:lnTo>
                    <a:pt x="15073" y="1705"/>
                  </a:lnTo>
                  <a:lnTo>
                    <a:pt x="15055" y="1606"/>
                  </a:lnTo>
                  <a:lnTo>
                    <a:pt x="15033" y="1509"/>
                  </a:lnTo>
                  <a:lnTo>
                    <a:pt x="15005" y="1413"/>
                  </a:lnTo>
                  <a:lnTo>
                    <a:pt x="14974" y="1320"/>
                  </a:lnTo>
                  <a:lnTo>
                    <a:pt x="14938" y="1229"/>
                  </a:lnTo>
                  <a:lnTo>
                    <a:pt x="14898" y="1140"/>
                  </a:lnTo>
                  <a:lnTo>
                    <a:pt x="14853" y="1053"/>
                  </a:lnTo>
                  <a:lnTo>
                    <a:pt x="14804" y="969"/>
                  </a:lnTo>
                  <a:lnTo>
                    <a:pt x="14752" y="887"/>
                  </a:lnTo>
                  <a:lnTo>
                    <a:pt x="14696" y="808"/>
                  </a:lnTo>
                  <a:lnTo>
                    <a:pt x="14636" y="732"/>
                  </a:lnTo>
                  <a:lnTo>
                    <a:pt x="14573" y="659"/>
                  </a:lnTo>
                  <a:lnTo>
                    <a:pt x="14506" y="589"/>
                  </a:lnTo>
                  <a:lnTo>
                    <a:pt x="14437" y="523"/>
                  </a:lnTo>
                  <a:lnTo>
                    <a:pt x="14363" y="460"/>
                  </a:lnTo>
                  <a:lnTo>
                    <a:pt x="14288" y="399"/>
                  </a:lnTo>
                  <a:lnTo>
                    <a:pt x="14208" y="344"/>
                  </a:lnTo>
                  <a:lnTo>
                    <a:pt x="14127" y="292"/>
                  </a:lnTo>
                  <a:lnTo>
                    <a:pt x="14042" y="242"/>
                  </a:lnTo>
                  <a:lnTo>
                    <a:pt x="13956" y="198"/>
                  </a:lnTo>
                  <a:lnTo>
                    <a:pt x="13866" y="158"/>
                  </a:lnTo>
                  <a:lnTo>
                    <a:pt x="13776" y="122"/>
                  </a:lnTo>
                  <a:lnTo>
                    <a:pt x="13682" y="91"/>
                  </a:lnTo>
                  <a:lnTo>
                    <a:pt x="13586" y="63"/>
                  </a:lnTo>
                  <a:lnTo>
                    <a:pt x="13489" y="41"/>
                  </a:lnTo>
                  <a:lnTo>
                    <a:pt x="13390" y="23"/>
                  </a:lnTo>
                  <a:lnTo>
                    <a:pt x="13289" y="10"/>
                  </a:lnTo>
                  <a:lnTo>
                    <a:pt x="13187" y="3"/>
                  </a:lnTo>
                  <a:lnTo>
                    <a:pt x="1308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65" name="îS1íḓê">
              <a:extLst>
                <a:ext uri="{FF2B5EF4-FFF2-40B4-BE49-F238E27FC236}">
                  <a16:creationId xmlns:a16="http://schemas.microsoft.com/office/drawing/2014/main" id="{FED742D2-F3E1-4E4A-9942-CB04C6B728E5}"/>
                </a:ext>
              </a:extLst>
            </p:cNvPr>
            <p:cNvSpPr/>
            <p:nvPr/>
          </p:nvSpPr>
          <p:spPr bwMode="auto">
            <a:xfrm>
              <a:off x="10035460" y="542623"/>
              <a:ext cx="238174" cy="215943"/>
            </a:xfrm>
            <a:custGeom>
              <a:avLst/>
              <a:gdLst>
                <a:gd name="T0" fmla="*/ 10567 w 11070"/>
                <a:gd name="T1" fmla="*/ 8239 h 10059"/>
                <a:gd name="T2" fmla="*/ 2516 w 11070"/>
                <a:gd name="T3" fmla="*/ 3018 h 10059"/>
                <a:gd name="T4" fmla="*/ 503 w 11070"/>
                <a:gd name="T5" fmla="*/ 9556 h 10059"/>
                <a:gd name="T6" fmla="*/ 8932 w 11070"/>
                <a:gd name="T7" fmla="*/ 5703 h 10059"/>
                <a:gd name="T8" fmla="*/ 8852 w 11070"/>
                <a:gd name="T9" fmla="*/ 5630 h 10059"/>
                <a:gd name="T10" fmla="*/ 8762 w 11070"/>
                <a:gd name="T11" fmla="*/ 5577 h 10059"/>
                <a:gd name="T12" fmla="*/ 8661 w 11070"/>
                <a:gd name="T13" fmla="*/ 5544 h 10059"/>
                <a:gd name="T14" fmla="*/ 8554 w 11070"/>
                <a:gd name="T15" fmla="*/ 5533 h 10059"/>
                <a:gd name="T16" fmla="*/ 8448 w 11070"/>
                <a:gd name="T17" fmla="*/ 5544 h 10059"/>
                <a:gd name="T18" fmla="*/ 8347 w 11070"/>
                <a:gd name="T19" fmla="*/ 5577 h 10059"/>
                <a:gd name="T20" fmla="*/ 8256 w 11070"/>
                <a:gd name="T21" fmla="*/ 5630 h 10059"/>
                <a:gd name="T22" fmla="*/ 8177 w 11070"/>
                <a:gd name="T23" fmla="*/ 5703 h 10059"/>
                <a:gd name="T24" fmla="*/ 2856 w 11070"/>
                <a:gd name="T25" fmla="*/ 2646 h 10059"/>
                <a:gd name="T26" fmla="*/ 2769 w 11070"/>
                <a:gd name="T27" fmla="*/ 2583 h 10059"/>
                <a:gd name="T28" fmla="*/ 2674 w 11070"/>
                <a:gd name="T29" fmla="*/ 2540 h 10059"/>
                <a:gd name="T30" fmla="*/ 2570 w 11070"/>
                <a:gd name="T31" fmla="*/ 2518 h 10059"/>
                <a:gd name="T32" fmla="*/ 2462 w 11070"/>
                <a:gd name="T33" fmla="*/ 2518 h 10059"/>
                <a:gd name="T34" fmla="*/ 2358 w 11070"/>
                <a:gd name="T35" fmla="*/ 2540 h 10059"/>
                <a:gd name="T36" fmla="*/ 2262 w 11070"/>
                <a:gd name="T37" fmla="*/ 2583 h 10059"/>
                <a:gd name="T38" fmla="*/ 2177 w 11070"/>
                <a:gd name="T39" fmla="*/ 2646 h 10059"/>
                <a:gd name="T40" fmla="*/ 503 w 11070"/>
                <a:gd name="T41" fmla="*/ 503 h 10059"/>
                <a:gd name="T42" fmla="*/ 477 w 11070"/>
                <a:gd name="T43" fmla="*/ 1 h 10059"/>
                <a:gd name="T44" fmla="*/ 377 w 11070"/>
                <a:gd name="T45" fmla="*/ 16 h 10059"/>
                <a:gd name="T46" fmla="*/ 285 w 11070"/>
                <a:gd name="T47" fmla="*/ 49 h 10059"/>
                <a:gd name="T48" fmla="*/ 202 w 11070"/>
                <a:gd name="T49" fmla="*/ 99 h 10059"/>
                <a:gd name="T50" fmla="*/ 131 w 11070"/>
                <a:gd name="T51" fmla="*/ 165 h 10059"/>
                <a:gd name="T52" fmla="*/ 72 w 11070"/>
                <a:gd name="T53" fmla="*/ 242 h 10059"/>
                <a:gd name="T54" fmla="*/ 30 w 11070"/>
                <a:gd name="T55" fmla="*/ 330 h 10059"/>
                <a:gd name="T56" fmla="*/ 6 w 11070"/>
                <a:gd name="T57" fmla="*/ 426 h 10059"/>
                <a:gd name="T58" fmla="*/ 0 w 11070"/>
                <a:gd name="T59" fmla="*/ 9556 h 10059"/>
                <a:gd name="T60" fmla="*/ 10 w 11070"/>
                <a:gd name="T61" fmla="*/ 9658 h 10059"/>
                <a:gd name="T62" fmla="*/ 39 w 11070"/>
                <a:gd name="T63" fmla="*/ 9752 h 10059"/>
                <a:gd name="T64" fmla="*/ 85 w 11070"/>
                <a:gd name="T65" fmla="*/ 9838 h 10059"/>
                <a:gd name="T66" fmla="*/ 147 w 11070"/>
                <a:gd name="T67" fmla="*/ 9912 h 10059"/>
                <a:gd name="T68" fmla="*/ 221 w 11070"/>
                <a:gd name="T69" fmla="*/ 9974 h 10059"/>
                <a:gd name="T70" fmla="*/ 307 w 11070"/>
                <a:gd name="T71" fmla="*/ 10020 h 10059"/>
                <a:gd name="T72" fmla="*/ 401 w 11070"/>
                <a:gd name="T73" fmla="*/ 10049 h 10059"/>
                <a:gd name="T74" fmla="*/ 503 w 11070"/>
                <a:gd name="T75" fmla="*/ 10059 h 10059"/>
                <a:gd name="T76" fmla="*/ 10643 w 11070"/>
                <a:gd name="T77" fmla="*/ 10053 h 10059"/>
                <a:gd name="T78" fmla="*/ 10740 w 11070"/>
                <a:gd name="T79" fmla="*/ 10029 h 10059"/>
                <a:gd name="T80" fmla="*/ 10829 w 11070"/>
                <a:gd name="T81" fmla="*/ 9987 h 10059"/>
                <a:gd name="T82" fmla="*/ 10905 w 11070"/>
                <a:gd name="T83" fmla="*/ 9928 h 10059"/>
                <a:gd name="T84" fmla="*/ 10971 w 11070"/>
                <a:gd name="T85" fmla="*/ 9857 h 10059"/>
                <a:gd name="T86" fmla="*/ 11021 w 11070"/>
                <a:gd name="T87" fmla="*/ 9775 h 10059"/>
                <a:gd name="T88" fmla="*/ 11054 w 11070"/>
                <a:gd name="T89" fmla="*/ 9682 h 10059"/>
                <a:gd name="T90" fmla="*/ 11069 w 11070"/>
                <a:gd name="T91" fmla="*/ 9582 h 10059"/>
                <a:gd name="T92" fmla="*/ 11068 w 11070"/>
                <a:gd name="T93" fmla="*/ 452 h 10059"/>
                <a:gd name="T94" fmla="*/ 11048 w 11070"/>
                <a:gd name="T95" fmla="*/ 353 h 10059"/>
                <a:gd name="T96" fmla="*/ 11010 w 11070"/>
                <a:gd name="T97" fmla="*/ 263 h 10059"/>
                <a:gd name="T98" fmla="*/ 10955 w 11070"/>
                <a:gd name="T99" fmla="*/ 183 h 10059"/>
                <a:gd name="T100" fmla="*/ 10887 w 11070"/>
                <a:gd name="T101" fmla="*/ 115 h 10059"/>
                <a:gd name="T102" fmla="*/ 10808 w 11070"/>
                <a:gd name="T103" fmla="*/ 60 h 10059"/>
                <a:gd name="T104" fmla="*/ 10717 w 11070"/>
                <a:gd name="T105" fmla="*/ 22 h 10059"/>
                <a:gd name="T106" fmla="*/ 10618 w 11070"/>
                <a:gd name="T107" fmla="*/ 3 h 10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070" h="10059">
                  <a:moveTo>
                    <a:pt x="8928" y="9556"/>
                  </a:moveTo>
                  <a:lnTo>
                    <a:pt x="7203" y="7568"/>
                  </a:lnTo>
                  <a:lnTo>
                    <a:pt x="8554" y="6036"/>
                  </a:lnTo>
                  <a:lnTo>
                    <a:pt x="10567" y="8239"/>
                  </a:lnTo>
                  <a:lnTo>
                    <a:pt x="10567" y="9556"/>
                  </a:lnTo>
                  <a:lnTo>
                    <a:pt x="8928" y="9556"/>
                  </a:lnTo>
                  <a:close/>
                  <a:moveTo>
                    <a:pt x="503" y="5330"/>
                  </a:moveTo>
                  <a:lnTo>
                    <a:pt x="2516" y="3018"/>
                  </a:lnTo>
                  <a:lnTo>
                    <a:pt x="6575" y="7616"/>
                  </a:lnTo>
                  <a:lnTo>
                    <a:pt x="6866" y="7948"/>
                  </a:lnTo>
                  <a:lnTo>
                    <a:pt x="8256" y="9556"/>
                  </a:lnTo>
                  <a:lnTo>
                    <a:pt x="503" y="9556"/>
                  </a:lnTo>
                  <a:lnTo>
                    <a:pt x="503" y="5330"/>
                  </a:lnTo>
                  <a:close/>
                  <a:moveTo>
                    <a:pt x="10567" y="503"/>
                  </a:moveTo>
                  <a:lnTo>
                    <a:pt x="10567" y="7479"/>
                  </a:lnTo>
                  <a:lnTo>
                    <a:pt x="8932" y="5703"/>
                  </a:lnTo>
                  <a:lnTo>
                    <a:pt x="8913" y="5682"/>
                  </a:lnTo>
                  <a:lnTo>
                    <a:pt x="8894" y="5664"/>
                  </a:lnTo>
                  <a:lnTo>
                    <a:pt x="8873" y="5647"/>
                  </a:lnTo>
                  <a:lnTo>
                    <a:pt x="8852" y="5630"/>
                  </a:lnTo>
                  <a:lnTo>
                    <a:pt x="8831" y="5615"/>
                  </a:lnTo>
                  <a:lnTo>
                    <a:pt x="8808" y="5601"/>
                  </a:lnTo>
                  <a:lnTo>
                    <a:pt x="8785" y="5589"/>
                  </a:lnTo>
                  <a:lnTo>
                    <a:pt x="8762" y="5577"/>
                  </a:lnTo>
                  <a:lnTo>
                    <a:pt x="8736" y="5567"/>
                  </a:lnTo>
                  <a:lnTo>
                    <a:pt x="8712" y="5558"/>
                  </a:lnTo>
                  <a:lnTo>
                    <a:pt x="8686" y="5551"/>
                  </a:lnTo>
                  <a:lnTo>
                    <a:pt x="8661" y="5544"/>
                  </a:lnTo>
                  <a:lnTo>
                    <a:pt x="8635" y="5539"/>
                  </a:lnTo>
                  <a:lnTo>
                    <a:pt x="8608" y="5536"/>
                  </a:lnTo>
                  <a:lnTo>
                    <a:pt x="8581" y="5534"/>
                  </a:lnTo>
                  <a:lnTo>
                    <a:pt x="8554" y="5533"/>
                  </a:lnTo>
                  <a:lnTo>
                    <a:pt x="8527" y="5534"/>
                  </a:lnTo>
                  <a:lnTo>
                    <a:pt x="8501" y="5536"/>
                  </a:lnTo>
                  <a:lnTo>
                    <a:pt x="8474" y="5539"/>
                  </a:lnTo>
                  <a:lnTo>
                    <a:pt x="8448" y="5544"/>
                  </a:lnTo>
                  <a:lnTo>
                    <a:pt x="8422" y="5551"/>
                  </a:lnTo>
                  <a:lnTo>
                    <a:pt x="8396" y="5558"/>
                  </a:lnTo>
                  <a:lnTo>
                    <a:pt x="8372" y="5567"/>
                  </a:lnTo>
                  <a:lnTo>
                    <a:pt x="8347" y="5577"/>
                  </a:lnTo>
                  <a:lnTo>
                    <a:pt x="8324" y="5589"/>
                  </a:lnTo>
                  <a:lnTo>
                    <a:pt x="8301" y="5601"/>
                  </a:lnTo>
                  <a:lnTo>
                    <a:pt x="8277" y="5615"/>
                  </a:lnTo>
                  <a:lnTo>
                    <a:pt x="8256" y="5630"/>
                  </a:lnTo>
                  <a:lnTo>
                    <a:pt x="8235" y="5647"/>
                  </a:lnTo>
                  <a:lnTo>
                    <a:pt x="8215" y="5664"/>
                  </a:lnTo>
                  <a:lnTo>
                    <a:pt x="8195" y="5682"/>
                  </a:lnTo>
                  <a:lnTo>
                    <a:pt x="8177" y="5703"/>
                  </a:lnTo>
                  <a:lnTo>
                    <a:pt x="6867" y="7187"/>
                  </a:lnTo>
                  <a:lnTo>
                    <a:pt x="2893" y="2685"/>
                  </a:lnTo>
                  <a:lnTo>
                    <a:pt x="2875" y="2665"/>
                  </a:lnTo>
                  <a:lnTo>
                    <a:pt x="2856" y="2646"/>
                  </a:lnTo>
                  <a:lnTo>
                    <a:pt x="2835" y="2629"/>
                  </a:lnTo>
                  <a:lnTo>
                    <a:pt x="2814" y="2612"/>
                  </a:lnTo>
                  <a:lnTo>
                    <a:pt x="2793" y="2597"/>
                  </a:lnTo>
                  <a:lnTo>
                    <a:pt x="2769" y="2583"/>
                  </a:lnTo>
                  <a:lnTo>
                    <a:pt x="2746" y="2571"/>
                  </a:lnTo>
                  <a:lnTo>
                    <a:pt x="2723" y="2559"/>
                  </a:lnTo>
                  <a:lnTo>
                    <a:pt x="2698" y="2549"/>
                  </a:lnTo>
                  <a:lnTo>
                    <a:pt x="2674" y="2540"/>
                  </a:lnTo>
                  <a:lnTo>
                    <a:pt x="2648" y="2533"/>
                  </a:lnTo>
                  <a:lnTo>
                    <a:pt x="2622" y="2526"/>
                  </a:lnTo>
                  <a:lnTo>
                    <a:pt x="2596" y="2521"/>
                  </a:lnTo>
                  <a:lnTo>
                    <a:pt x="2570" y="2518"/>
                  </a:lnTo>
                  <a:lnTo>
                    <a:pt x="2543" y="2516"/>
                  </a:lnTo>
                  <a:lnTo>
                    <a:pt x="2516" y="2515"/>
                  </a:lnTo>
                  <a:lnTo>
                    <a:pt x="2489" y="2516"/>
                  </a:lnTo>
                  <a:lnTo>
                    <a:pt x="2462" y="2518"/>
                  </a:lnTo>
                  <a:lnTo>
                    <a:pt x="2435" y="2521"/>
                  </a:lnTo>
                  <a:lnTo>
                    <a:pt x="2409" y="2526"/>
                  </a:lnTo>
                  <a:lnTo>
                    <a:pt x="2384" y="2533"/>
                  </a:lnTo>
                  <a:lnTo>
                    <a:pt x="2358" y="2540"/>
                  </a:lnTo>
                  <a:lnTo>
                    <a:pt x="2334" y="2549"/>
                  </a:lnTo>
                  <a:lnTo>
                    <a:pt x="2308" y="2559"/>
                  </a:lnTo>
                  <a:lnTo>
                    <a:pt x="2285" y="2571"/>
                  </a:lnTo>
                  <a:lnTo>
                    <a:pt x="2262" y="2583"/>
                  </a:lnTo>
                  <a:lnTo>
                    <a:pt x="2239" y="2597"/>
                  </a:lnTo>
                  <a:lnTo>
                    <a:pt x="2218" y="2612"/>
                  </a:lnTo>
                  <a:lnTo>
                    <a:pt x="2197" y="2629"/>
                  </a:lnTo>
                  <a:lnTo>
                    <a:pt x="2177" y="2646"/>
                  </a:lnTo>
                  <a:lnTo>
                    <a:pt x="2157" y="2665"/>
                  </a:lnTo>
                  <a:lnTo>
                    <a:pt x="2138" y="2685"/>
                  </a:lnTo>
                  <a:lnTo>
                    <a:pt x="503" y="4570"/>
                  </a:lnTo>
                  <a:lnTo>
                    <a:pt x="503" y="503"/>
                  </a:lnTo>
                  <a:lnTo>
                    <a:pt x="10567" y="503"/>
                  </a:lnTo>
                  <a:close/>
                  <a:moveTo>
                    <a:pt x="10567" y="0"/>
                  </a:moveTo>
                  <a:lnTo>
                    <a:pt x="503" y="0"/>
                  </a:lnTo>
                  <a:lnTo>
                    <a:pt x="477" y="1"/>
                  </a:lnTo>
                  <a:lnTo>
                    <a:pt x="452" y="3"/>
                  </a:lnTo>
                  <a:lnTo>
                    <a:pt x="427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99" y="202"/>
                  </a:lnTo>
                  <a:lnTo>
                    <a:pt x="85" y="221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3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0" y="9556"/>
                  </a:lnTo>
                  <a:lnTo>
                    <a:pt x="1" y="9582"/>
                  </a:lnTo>
                  <a:lnTo>
                    <a:pt x="3" y="9608"/>
                  </a:lnTo>
                  <a:lnTo>
                    <a:pt x="6" y="9633"/>
                  </a:lnTo>
                  <a:lnTo>
                    <a:pt x="10" y="9658"/>
                  </a:lnTo>
                  <a:lnTo>
                    <a:pt x="16" y="9682"/>
                  </a:lnTo>
                  <a:lnTo>
                    <a:pt x="23" y="9706"/>
                  </a:lnTo>
                  <a:lnTo>
                    <a:pt x="30" y="9729"/>
                  </a:lnTo>
                  <a:lnTo>
                    <a:pt x="39" y="9752"/>
                  </a:lnTo>
                  <a:lnTo>
                    <a:pt x="49" y="9775"/>
                  </a:lnTo>
                  <a:lnTo>
                    <a:pt x="60" y="9797"/>
                  </a:lnTo>
                  <a:lnTo>
                    <a:pt x="72" y="9817"/>
                  </a:lnTo>
                  <a:lnTo>
                    <a:pt x="85" y="9838"/>
                  </a:lnTo>
                  <a:lnTo>
                    <a:pt x="99" y="9857"/>
                  </a:lnTo>
                  <a:lnTo>
                    <a:pt x="115" y="9876"/>
                  </a:lnTo>
                  <a:lnTo>
                    <a:pt x="131" y="9894"/>
                  </a:lnTo>
                  <a:lnTo>
                    <a:pt x="147" y="9912"/>
                  </a:lnTo>
                  <a:lnTo>
                    <a:pt x="165" y="9928"/>
                  </a:lnTo>
                  <a:lnTo>
                    <a:pt x="183" y="9945"/>
                  </a:lnTo>
                  <a:lnTo>
                    <a:pt x="202" y="9960"/>
                  </a:lnTo>
                  <a:lnTo>
                    <a:pt x="221" y="9974"/>
                  </a:lnTo>
                  <a:lnTo>
                    <a:pt x="242" y="9987"/>
                  </a:lnTo>
                  <a:lnTo>
                    <a:pt x="263" y="9999"/>
                  </a:lnTo>
                  <a:lnTo>
                    <a:pt x="285" y="10010"/>
                  </a:lnTo>
                  <a:lnTo>
                    <a:pt x="307" y="10020"/>
                  </a:lnTo>
                  <a:lnTo>
                    <a:pt x="330" y="10029"/>
                  </a:lnTo>
                  <a:lnTo>
                    <a:pt x="353" y="10037"/>
                  </a:lnTo>
                  <a:lnTo>
                    <a:pt x="377" y="10043"/>
                  </a:lnTo>
                  <a:lnTo>
                    <a:pt x="401" y="10049"/>
                  </a:lnTo>
                  <a:lnTo>
                    <a:pt x="427" y="10053"/>
                  </a:lnTo>
                  <a:lnTo>
                    <a:pt x="452" y="10056"/>
                  </a:lnTo>
                  <a:lnTo>
                    <a:pt x="477" y="10058"/>
                  </a:lnTo>
                  <a:lnTo>
                    <a:pt x="503" y="10059"/>
                  </a:lnTo>
                  <a:lnTo>
                    <a:pt x="10567" y="10059"/>
                  </a:lnTo>
                  <a:lnTo>
                    <a:pt x="10593" y="10058"/>
                  </a:lnTo>
                  <a:lnTo>
                    <a:pt x="10618" y="10056"/>
                  </a:lnTo>
                  <a:lnTo>
                    <a:pt x="10643" y="10053"/>
                  </a:lnTo>
                  <a:lnTo>
                    <a:pt x="10669" y="10049"/>
                  </a:lnTo>
                  <a:lnTo>
                    <a:pt x="10693" y="10043"/>
                  </a:lnTo>
                  <a:lnTo>
                    <a:pt x="10717" y="10037"/>
                  </a:lnTo>
                  <a:lnTo>
                    <a:pt x="10740" y="10029"/>
                  </a:lnTo>
                  <a:lnTo>
                    <a:pt x="10763" y="10020"/>
                  </a:lnTo>
                  <a:lnTo>
                    <a:pt x="10785" y="10010"/>
                  </a:lnTo>
                  <a:lnTo>
                    <a:pt x="10808" y="9999"/>
                  </a:lnTo>
                  <a:lnTo>
                    <a:pt x="10829" y="9987"/>
                  </a:lnTo>
                  <a:lnTo>
                    <a:pt x="10849" y="9974"/>
                  </a:lnTo>
                  <a:lnTo>
                    <a:pt x="10868" y="9960"/>
                  </a:lnTo>
                  <a:lnTo>
                    <a:pt x="10887" y="9945"/>
                  </a:lnTo>
                  <a:lnTo>
                    <a:pt x="10905" y="9928"/>
                  </a:lnTo>
                  <a:lnTo>
                    <a:pt x="10923" y="9912"/>
                  </a:lnTo>
                  <a:lnTo>
                    <a:pt x="10939" y="9894"/>
                  </a:lnTo>
                  <a:lnTo>
                    <a:pt x="10955" y="9876"/>
                  </a:lnTo>
                  <a:lnTo>
                    <a:pt x="10971" y="9857"/>
                  </a:lnTo>
                  <a:lnTo>
                    <a:pt x="10985" y="9838"/>
                  </a:lnTo>
                  <a:lnTo>
                    <a:pt x="10998" y="9817"/>
                  </a:lnTo>
                  <a:lnTo>
                    <a:pt x="11010" y="9797"/>
                  </a:lnTo>
                  <a:lnTo>
                    <a:pt x="11021" y="9775"/>
                  </a:lnTo>
                  <a:lnTo>
                    <a:pt x="11031" y="9752"/>
                  </a:lnTo>
                  <a:lnTo>
                    <a:pt x="11040" y="9729"/>
                  </a:lnTo>
                  <a:lnTo>
                    <a:pt x="11048" y="9706"/>
                  </a:lnTo>
                  <a:lnTo>
                    <a:pt x="11054" y="9682"/>
                  </a:lnTo>
                  <a:lnTo>
                    <a:pt x="11060" y="9658"/>
                  </a:lnTo>
                  <a:lnTo>
                    <a:pt x="11064" y="9633"/>
                  </a:lnTo>
                  <a:lnTo>
                    <a:pt x="11068" y="9608"/>
                  </a:lnTo>
                  <a:lnTo>
                    <a:pt x="11069" y="9582"/>
                  </a:lnTo>
                  <a:lnTo>
                    <a:pt x="11070" y="9556"/>
                  </a:lnTo>
                  <a:lnTo>
                    <a:pt x="11070" y="503"/>
                  </a:lnTo>
                  <a:lnTo>
                    <a:pt x="11069" y="477"/>
                  </a:lnTo>
                  <a:lnTo>
                    <a:pt x="11068" y="452"/>
                  </a:lnTo>
                  <a:lnTo>
                    <a:pt x="11064" y="426"/>
                  </a:lnTo>
                  <a:lnTo>
                    <a:pt x="11060" y="401"/>
                  </a:lnTo>
                  <a:lnTo>
                    <a:pt x="11054" y="377"/>
                  </a:lnTo>
                  <a:lnTo>
                    <a:pt x="11048" y="353"/>
                  </a:lnTo>
                  <a:lnTo>
                    <a:pt x="11040" y="330"/>
                  </a:lnTo>
                  <a:lnTo>
                    <a:pt x="11031" y="307"/>
                  </a:lnTo>
                  <a:lnTo>
                    <a:pt x="11021" y="285"/>
                  </a:lnTo>
                  <a:lnTo>
                    <a:pt x="11010" y="263"/>
                  </a:lnTo>
                  <a:lnTo>
                    <a:pt x="10998" y="242"/>
                  </a:lnTo>
                  <a:lnTo>
                    <a:pt x="10985" y="221"/>
                  </a:lnTo>
                  <a:lnTo>
                    <a:pt x="10971" y="202"/>
                  </a:lnTo>
                  <a:lnTo>
                    <a:pt x="10955" y="183"/>
                  </a:lnTo>
                  <a:lnTo>
                    <a:pt x="10939" y="165"/>
                  </a:lnTo>
                  <a:lnTo>
                    <a:pt x="10923" y="147"/>
                  </a:lnTo>
                  <a:lnTo>
                    <a:pt x="10905" y="131"/>
                  </a:lnTo>
                  <a:lnTo>
                    <a:pt x="10887" y="115"/>
                  </a:lnTo>
                  <a:lnTo>
                    <a:pt x="10868" y="99"/>
                  </a:lnTo>
                  <a:lnTo>
                    <a:pt x="10849" y="85"/>
                  </a:lnTo>
                  <a:lnTo>
                    <a:pt x="10829" y="72"/>
                  </a:lnTo>
                  <a:lnTo>
                    <a:pt x="10808" y="60"/>
                  </a:lnTo>
                  <a:lnTo>
                    <a:pt x="10785" y="49"/>
                  </a:lnTo>
                  <a:lnTo>
                    <a:pt x="10763" y="39"/>
                  </a:lnTo>
                  <a:lnTo>
                    <a:pt x="10740" y="30"/>
                  </a:lnTo>
                  <a:lnTo>
                    <a:pt x="10717" y="22"/>
                  </a:lnTo>
                  <a:lnTo>
                    <a:pt x="10693" y="16"/>
                  </a:lnTo>
                  <a:lnTo>
                    <a:pt x="10669" y="10"/>
                  </a:lnTo>
                  <a:lnTo>
                    <a:pt x="10643" y="6"/>
                  </a:lnTo>
                  <a:lnTo>
                    <a:pt x="10618" y="3"/>
                  </a:lnTo>
                  <a:lnTo>
                    <a:pt x="10593" y="1"/>
                  </a:lnTo>
                  <a:lnTo>
                    <a:pt x="105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66" name="îśļíďè">
              <a:extLst>
                <a:ext uri="{FF2B5EF4-FFF2-40B4-BE49-F238E27FC236}">
                  <a16:creationId xmlns:a16="http://schemas.microsoft.com/office/drawing/2014/main" id="{6BBC188E-89C0-4453-9F91-9548A4D18959}"/>
                </a:ext>
              </a:extLst>
            </p:cNvPr>
            <p:cNvSpPr/>
            <p:nvPr/>
          </p:nvSpPr>
          <p:spPr bwMode="auto">
            <a:xfrm>
              <a:off x="10165662" y="575173"/>
              <a:ext cx="64307" cy="65100"/>
            </a:xfrm>
            <a:custGeom>
              <a:avLst/>
              <a:gdLst>
                <a:gd name="T0" fmla="*/ 1712 w 3019"/>
                <a:gd name="T1" fmla="*/ 523 h 3018"/>
                <a:gd name="T2" fmla="*/ 1946 w 3019"/>
                <a:gd name="T3" fmla="*/ 602 h 3018"/>
                <a:gd name="T4" fmla="*/ 2150 w 3019"/>
                <a:gd name="T5" fmla="*/ 732 h 3018"/>
                <a:gd name="T6" fmla="*/ 2316 w 3019"/>
                <a:gd name="T7" fmla="*/ 907 h 3018"/>
                <a:gd name="T8" fmla="*/ 2437 w 3019"/>
                <a:gd name="T9" fmla="*/ 1117 h 3018"/>
                <a:gd name="T10" fmla="*/ 2504 w 3019"/>
                <a:gd name="T11" fmla="*/ 1356 h 3018"/>
                <a:gd name="T12" fmla="*/ 2511 w 3019"/>
                <a:gd name="T13" fmla="*/ 1611 h 3018"/>
                <a:gd name="T14" fmla="*/ 2455 w 3019"/>
                <a:gd name="T15" fmla="*/ 1854 h 3018"/>
                <a:gd name="T16" fmla="*/ 2344 w 3019"/>
                <a:gd name="T17" fmla="*/ 2071 h 3018"/>
                <a:gd name="T18" fmla="*/ 2186 w 3019"/>
                <a:gd name="T19" fmla="*/ 2253 h 3018"/>
                <a:gd name="T20" fmla="*/ 1989 w 3019"/>
                <a:gd name="T21" fmla="*/ 2393 h 3018"/>
                <a:gd name="T22" fmla="*/ 1761 w 3019"/>
                <a:gd name="T23" fmla="*/ 2482 h 3018"/>
                <a:gd name="T24" fmla="*/ 1510 w 3019"/>
                <a:gd name="T25" fmla="*/ 2515 h 3018"/>
                <a:gd name="T26" fmla="*/ 1258 w 3019"/>
                <a:gd name="T27" fmla="*/ 2482 h 3018"/>
                <a:gd name="T28" fmla="*/ 1031 w 3019"/>
                <a:gd name="T29" fmla="*/ 2393 h 3018"/>
                <a:gd name="T30" fmla="*/ 833 w 3019"/>
                <a:gd name="T31" fmla="*/ 2253 h 3018"/>
                <a:gd name="T32" fmla="*/ 675 w 3019"/>
                <a:gd name="T33" fmla="*/ 2071 h 3018"/>
                <a:gd name="T34" fmla="*/ 565 w 3019"/>
                <a:gd name="T35" fmla="*/ 1854 h 3018"/>
                <a:gd name="T36" fmla="*/ 508 w 3019"/>
                <a:gd name="T37" fmla="*/ 1611 h 3018"/>
                <a:gd name="T38" fmla="*/ 514 w 3019"/>
                <a:gd name="T39" fmla="*/ 1356 h 3018"/>
                <a:gd name="T40" fmla="*/ 583 w 3019"/>
                <a:gd name="T41" fmla="*/ 1117 h 3018"/>
                <a:gd name="T42" fmla="*/ 704 w 3019"/>
                <a:gd name="T43" fmla="*/ 907 h 3018"/>
                <a:gd name="T44" fmla="*/ 870 w 3019"/>
                <a:gd name="T45" fmla="*/ 732 h 3018"/>
                <a:gd name="T46" fmla="*/ 1074 w 3019"/>
                <a:gd name="T47" fmla="*/ 602 h 3018"/>
                <a:gd name="T48" fmla="*/ 1308 w 3019"/>
                <a:gd name="T49" fmla="*/ 523 h 3018"/>
                <a:gd name="T50" fmla="*/ 1510 w 3019"/>
                <a:gd name="T51" fmla="*/ 3018 h 3018"/>
                <a:gd name="T52" fmla="*/ 1887 w 3019"/>
                <a:gd name="T53" fmla="*/ 2969 h 3018"/>
                <a:gd name="T54" fmla="*/ 2229 w 3019"/>
                <a:gd name="T55" fmla="*/ 2836 h 3018"/>
                <a:gd name="T56" fmla="*/ 2525 w 3019"/>
                <a:gd name="T57" fmla="*/ 2625 h 3018"/>
                <a:gd name="T58" fmla="*/ 2762 w 3019"/>
                <a:gd name="T59" fmla="*/ 2352 h 3018"/>
                <a:gd name="T60" fmla="*/ 2928 w 3019"/>
                <a:gd name="T61" fmla="*/ 2028 h 3018"/>
                <a:gd name="T62" fmla="*/ 3011 w 3019"/>
                <a:gd name="T63" fmla="*/ 1663 h 3018"/>
                <a:gd name="T64" fmla="*/ 3002 w 3019"/>
                <a:gd name="T65" fmla="*/ 1278 h 3018"/>
                <a:gd name="T66" fmla="*/ 2901 w 3019"/>
                <a:gd name="T67" fmla="*/ 921 h 3018"/>
                <a:gd name="T68" fmla="*/ 2719 w 3019"/>
                <a:gd name="T69" fmla="*/ 605 h 3018"/>
                <a:gd name="T70" fmla="*/ 2470 w 3019"/>
                <a:gd name="T71" fmla="*/ 344 h 3018"/>
                <a:gd name="T72" fmla="*/ 2164 w 3019"/>
                <a:gd name="T73" fmla="*/ 149 h 3018"/>
                <a:gd name="T74" fmla="*/ 1814 w 3019"/>
                <a:gd name="T75" fmla="*/ 30 h 3018"/>
                <a:gd name="T76" fmla="*/ 1432 w 3019"/>
                <a:gd name="T77" fmla="*/ 2 h 3018"/>
                <a:gd name="T78" fmla="*/ 1061 w 3019"/>
                <a:gd name="T79" fmla="*/ 67 h 3018"/>
                <a:gd name="T80" fmla="*/ 727 w 3019"/>
                <a:gd name="T81" fmla="*/ 218 h 3018"/>
                <a:gd name="T82" fmla="*/ 442 w 3019"/>
                <a:gd name="T83" fmla="*/ 441 h 3018"/>
                <a:gd name="T84" fmla="*/ 219 w 3019"/>
                <a:gd name="T85" fmla="*/ 726 h 3018"/>
                <a:gd name="T86" fmla="*/ 68 w 3019"/>
                <a:gd name="T87" fmla="*/ 1060 h 3018"/>
                <a:gd name="T88" fmla="*/ 2 w 3019"/>
                <a:gd name="T89" fmla="*/ 1431 h 3018"/>
                <a:gd name="T90" fmla="*/ 30 w 3019"/>
                <a:gd name="T91" fmla="*/ 1812 h 3018"/>
                <a:gd name="T92" fmla="*/ 149 w 3019"/>
                <a:gd name="T93" fmla="*/ 2163 h 3018"/>
                <a:gd name="T94" fmla="*/ 344 w 3019"/>
                <a:gd name="T95" fmla="*/ 2468 h 3018"/>
                <a:gd name="T96" fmla="*/ 606 w 3019"/>
                <a:gd name="T97" fmla="*/ 2718 h 3018"/>
                <a:gd name="T98" fmla="*/ 922 w 3019"/>
                <a:gd name="T99" fmla="*/ 2899 h 3018"/>
                <a:gd name="T100" fmla="*/ 1280 w 3019"/>
                <a:gd name="T101" fmla="*/ 2999 h 30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019" h="3018">
                  <a:moveTo>
                    <a:pt x="1510" y="503"/>
                  </a:moveTo>
                  <a:lnTo>
                    <a:pt x="1561" y="504"/>
                  </a:lnTo>
                  <a:lnTo>
                    <a:pt x="1612" y="508"/>
                  </a:lnTo>
                  <a:lnTo>
                    <a:pt x="1663" y="514"/>
                  </a:lnTo>
                  <a:lnTo>
                    <a:pt x="1712" y="523"/>
                  </a:lnTo>
                  <a:lnTo>
                    <a:pt x="1761" y="534"/>
                  </a:lnTo>
                  <a:lnTo>
                    <a:pt x="1809" y="548"/>
                  </a:lnTo>
                  <a:lnTo>
                    <a:pt x="1856" y="564"/>
                  </a:lnTo>
                  <a:lnTo>
                    <a:pt x="1901" y="581"/>
                  </a:lnTo>
                  <a:lnTo>
                    <a:pt x="1946" y="602"/>
                  </a:lnTo>
                  <a:lnTo>
                    <a:pt x="1989" y="624"/>
                  </a:lnTo>
                  <a:lnTo>
                    <a:pt x="2031" y="649"/>
                  </a:lnTo>
                  <a:lnTo>
                    <a:pt x="2072" y="675"/>
                  </a:lnTo>
                  <a:lnTo>
                    <a:pt x="2112" y="703"/>
                  </a:lnTo>
                  <a:lnTo>
                    <a:pt x="2150" y="732"/>
                  </a:lnTo>
                  <a:lnTo>
                    <a:pt x="2186" y="764"/>
                  </a:lnTo>
                  <a:lnTo>
                    <a:pt x="2221" y="797"/>
                  </a:lnTo>
                  <a:lnTo>
                    <a:pt x="2255" y="833"/>
                  </a:lnTo>
                  <a:lnTo>
                    <a:pt x="2286" y="869"/>
                  </a:lnTo>
                  <a:lnTo>
                    <a:pt x="2316" y="907"/>
                  </a:lnTo>
                  <a:lnTo>
                    <a:pt x="2344" y="946"/>
                  </a:lnTo>
                  <a:lnTo>
                    <a:pt x="2370" y="988"/>
                  </a:lnTo>
                  <a:lnTo>
                    <a:pt x="2394" y="1029"/>
                  </a:lnTo>
                  <a:lnTo>
                    <a:pt x="2417" y="1073"/>
                  </a:lnTo>
                  <a:lnTo>
                    <a:pt x="2437" y="1117"/>
                  </a:lnTo>
                  <a:lnTo>
                    <a:pt x="2455" y="1163"/>
                  </a:lnTo>
                  <a:lnTo>
                    <a:pt x="2471" y="1210"/>
                  </a:lnTo>
                  <a:lnTo>
                    <a:pt x="2484" y="1257"/>
                  </a:lnTo>
                  <a:lnTo>
                    <a:pt x="2496" y="1305"/>
                  </a:lnTo>
                  <a:lnTo>
                    <a:pt x="2504" y="1356"/>
                  </a:lnTo>
                  <a:lnTo>
                    <a:pt x="2511" y="1406"/>
                  </a:lnTo>
                  <a:lnTo>
                    <a:pt x="2515" y="1456"/>
                  </a:lnTo>
                  <a:lnTo>
                    <a:pt x="2516" y="1509"/>
                  </a:lnTo>
                  <a:lnTo>
                    <a:pt x="2515" y="1560"/>
                  </a:lnTo>
                  <a:lnTo>
                    <a:pt x="2511" y="1611"/>
                  </a:lnTo>
                  <a:lnTo>
                    <a:pt x="2504" y="1662"/>
                  </a:lnTo>
                  <a:lnTo>
                    <a:pt x="2496" y="1711"/>
                  </a:lnTo>
                  <a:lnTo>
                    <a:pt x="2484" y="1759"/>
                  </a:lnTo>
                  <a:lnTo>
                    <a:pt x="2471" y="1807"/>
                  </a:lnTo>
                  <a:lnTo>
                    <a:pt x="2455" y="1854"/>
                  </a:lnTo>
                  <a:lnTo>
                    <a:pt x="2437" y="1900"/>
                  </a:lnTo>
                  <a:lnTo>
                    <a:pt x="2417" y="1944"/>
                  </a:lnTo>
                  <a:lnTo>
                    <a:pt x="2394" y="1988"/>
                  </a:lnTo>
                  <a:lnTo>
                    <a:pt x="2370" y="2030"/>
                  </a:lnTo>
                  <a:lnTo>
                    <a:pt x="2344" y="2071"/>
                  </a:lnTo>
                  <a:lnTo>
                    <a:pt x="2316" y="2110"/>
                  </a:lnTo>
                  <a:lnTo>
                    <a:pt x="2286" y="2148"/>
                  </a:lnTo>
                  <a:lnTo>
                    <a:pt x="2255" y="2185"/>
                  </a:lnTo>
                  <a:lnTo>
                    <a:pt x="2221" y="2220"/>
                  </a:lnTo>
                  <a:lnTo>
                    <a:pt x="2186" y="2253"/>
                  </a:lnTo>
                  <a:lnTo>
                    <a:pt x="2150" y="2284"/>
                  </a:lnTo>
                  <a:lnTo>
                    <a:pt x="2112" y="2314"/>
                  </a:lnTo>
                  <a:lnTo>
                    <a:pt x="2072" y="2343"/>
                  </a:lnTo>
                  <a:lnTo>
                    <a:pt x="2031" y="2369"/>
                  </a:lnTo>
                  <a:lnTo>
                    <a:pt x="1989" y="2393"/>
                  </a:lnTo>
                  <a:lnTo>
                    <a:pt x="1946" y="2415"/>
                  </a:lnTo>
                  <a:lnTo>
                    <a:pt x="1901" y="2435"/>
                  </a:lnTo>
                  <a:lnTo>
                    <a:pt x="1856" y="2453"/>
                  </a:lnTo>
                  <a:lnTo>
                    <a:pt x="1809" y="2469"/>
                  </a:lnTo>
                  <a:lnTo>
                    <a:pt x="1761" y="2482"/>
                  </a:lnTo>
                  <a:lnTo>
                    <a:pt x="1712" y="2494"/>
                  </a:lnTo>
                  <a:lnTo>
                    <a:pt x="1663" y="2503"/>
                  </a:lnTo>
                  <a:lnTo>
                    <a:pt x="1612" y="2510"/>
                  </a:lnTo>
                  <a:lnTo>
                    <a:pt x="1561" y="2514"/>
                  </a:lnTo>
                  <a:lnTo>
                    <a:pt x="1510" y="2515"/>
                  </a:lnTo>
                  <a:lnTo>
                    <a:pt x="1458" y="2514"/>
                  </a:lnTo>
                  <a:lnTo>
                    <a:pt x="1407" y="2510"/>
                  </a:lnTo>
                  <a:lnTo>
                    <a:pt x="1357" y="2503"/>
                  </a:lnTo>
                  <a:lnTo>
                    <a:pt x="1308" y="2494"/>
                  </a:lnTo>
                  <a:lnTo>
                    <a:pt x="1258" y="2482"/>
                  </a:lnTo>
                  <a:lnTo>
                    <a:pt x="1211" y="2469"/>
                  </a:lnTo>
                  <a:lnTo>
                    <a:pt x="1165" y="2453"/>
                  </a:lnTo>
                  <a:lnTo>
                    <a:pt x="1118" y="2435"/>
                  </a:lnTo>
                  <a:lnTo>
                    <a:pt x="1074" y="2415"/>
                  </a:lnTo>
                  <a:lnTo>
                    <a:pt x="1031" y="2393"/>
                  </a:lnTo>
                  <a:lnTo>
                    <a:pt x="988" y="2369"/>
                  </a:lnTo>
                  <a:lnTo>
                    <a:pt x="947" y="2343"/>
                  </a:lnTo>
                  <a:lnTo>
                    <a:pt x="908" y="2314"/>
                  </a:lnTo>
                  <a:lnTo>
                    <a:pt x="870" y="2284"/>
                  </a:lnTo>
                  <a:lnTo>
                    <a:pt x="833" y="2253"/>
                  </a:lnTo>
                  <a:lnTo>
                    <a:pt x="798" y="2220"/>
                  </a:lnTo>
                  <a:lnTo>
                    <a:pt x="765" y="2185"/>
                  </a:lnTo>
                  <a:lnTo>
                    <a:pt x="734" y="2148"/>
                  </a:lnTo>
                  <a:lnTo>
                    <a:pt x="704" y="2110"/>
                  </a:lnTo>
                  <a:lnTo>
                    <a:pt x="675" y="2071"/>
                  </a:lnTo>
                  <a:lnTo>
                    <a:pt x="649" y="2030"/>
                  </a:lnTo>
                  <a:lnTo>
                    <a:pt x="625" y="1988"/>
                  </a:lnTo>
                  <a:lnTo>
                    <a:pt x="603" y="1944"/>
                  </a:lnTo>
                  <a:lnTo>
                    <a:pt x="583" y="1900"/>
                  </a:lnTo>
                  <a:lnTo>
                    <a:pt x="565" y="1854"/>
                  </a:lnTo>
                  <a:lnTo>
                    <a:pt x="549" y="1807"/>
                  </a:lnTo>
                  <a:lnTo>
                    <a:pt x="536" y="1759"/>
                  </a:lnTo>
                  <a:lnTo>
                    <a:pt x="524" y="1711"/>
                  </a:lnTo>
                  <a:lnTo>
                    <a:pt x="514" y="1662"/>
                  </a:lnTo>
                  <a:lnTo>
                    <a:pt x="508" y="1611"/>
                  </a:lnTo>
                  <a:lnTo>
                    <a:pt x="504" y="1560"/>
                  </a:lnTo>
                  <a:lnTo>
                    <a:pt x="503" y="1509"/>
                  </a:lnTo>
                  <a:lnTo>
                    <a:pt x="504" y="1456"/>
                  </a:lnTo>
                  <a:lnTo>
                    <a:pt x="508" y="1406"/>
                  </a:lnTo>
                  <a:lnTo>
                    <a:pt x="514" y="1356"/>
                  </a:lnTo>
                  <a:lnTo>
                    <a:pt x="524" y="1305"/>
                  </a:lnTo>
                  <a:lnTo>
                    <a:pt x="536" y="1257"/>
                  </a:lnTo>
                  <a:lnTo>
                    <a:pt x="549" y="1210"/>
                  </a:lnTo>
                  <a:lnTo>
                    <a:pt x="565" y="1163"/>
                  </a:lnTo>
                  <a:lnTo>
                    <a:pt x="583" y="1117"/>
                  </a:lnTo>
                  <a:lnTo>
                    <a:pt x="603" y="1073"/>
                  </a:lnTo>
                  <a:lnTo>
                    <a:pt x="625" y="1029"/>
                  </a:lnTo>
                  <a:lnTo>
                    <a:pt x="649" y="988"/>
                  </a:lnTo>
                  <a:lnTo>
                    <a:pt x="675" y="946"/>
                  </a:lnTo>
                  <a:lnTo>
                    <a:pt x="704" y="907"/>
                  </a:lnTo>
                  <a:lnTo>
                    <a:pt x="734" y="869"/>
                  </a:lnTo>
                  <a:lnTo>
                    <a:pt x="765" y="833"/>
                  </a:lnTo>
                  <a:lnTo>
                    <a:pt x="798" y="797"/>
                  </a:lnTo>
                  <a:lnTo>
                    <a:pt x="833" y="764"/>
                  </a:lnTo>
                  <a:lnTo>
                    <a:pt x="870" y="732"/>
                  </a:lnTo>
                  <a:lnTo>
                    <a:pt x="908" y="703"/>
                  </a:lnTo>
                  <a:lnTo>
                    <a:pt x="947" y="675"/>
                  </a:lnTo>
                  <a:lnTo>
                    <a:pt x="988" y="649"/>
                  </a:lnTo>
                  <a:lnTo>
                    <a:pt x="1031" y="624"/>
                  </a:lnTo>
                  <a:lnTo>
                    <a:pt x="1074" y="602"/>
                  </a:lnTo>
                  <a:lnTo>
                    <a:pt x="1118" y="581"/>
                  </a:lnTo>
                  <a:lnTo>
                    <a:pt x="1165" y="564"/>
                  </a:lnTo>
                  <a:lnTo>
                    <a:pt x="1211" y="548"/>
                  </a:lnTo>
                  <a:lnTo>
                    <a:pt x="1258" y="534"/>
                  </a:lnTo>
                  <a:lnTo>
                    <a:pt x="1308" y="523"/>
                  </a:lnTo>
                  <a:lnTo>
                    <a:pt x="1357" y="514"/>
                  </a:lnTo>
                  <a:lnTo>
                    <a:pt x="1407" y="508"/>
                  </a:lnTo>
                  <a:lnTo>
                    <a:pt x="1458" y="504"/>
                  </a:lnTo>
                  <a:lnTo>
                    <a:pt x="1510" y="503"/>
                  </a:lnTo>
                  <a:close/>
                  <a:moveTo>
                    <a:pt x="1510" y="3018"/>
                  </a:moveTo>
                  <a:lnTo>
                    <a:pt x="1587" y="3016"/>
                  </a:lnTo>
                  <a:lnTo>
                    <a:pt x="1664" y="3010"/>
                  </a:lnTo>
                  <a:lnTo>
                    <a:pt x="1739" y="2999"/>
                  </a:lnTo>
                  <a:lnTo>
                    <a:pt x="1814" y="2986"/>
                  </a:lnTo>
                  <a:lnTo>
                    <a:pt x="1887" y="2969"/>
                  </a:lnTo>
                  <a:lnTo>
                    <a:pt x="1959" y="2949"/>
                  </a:lnTo>
                  <a:lnTo>
                    <a:pt x="2029" y="2926"/>
                  </a:lnTo>
                  <a:lnTo>
                    <a:pt x="2098" y="2899"/>
                  </a:lnTo>
                  <a:lnTo>
                    <a:pt x="2164" y="2869"/>
                  </a:lnTo>
                  <a:lnTo>
                    <a:pt x="2229" y="2836"/>
                  </a:lnTo>
                  <a:lnTo>
                    <a:pt x="2293" y="2799"/>
                  </a:lnTo>
                  <a:lnTo>
                    <a:pt x="2354" y="2760"/>
                  </a:lnTo>
                  <a:lnTo>
                    <a:pt x="2413" y="2718"/>
                  </a:lnTo>
                  <a:lnTo>
                    <a:pt x="2470" y="2673"/>
                  </a:lnTo>
                  <a:lnTo>
                    <a:pt x="2525" y="2625"/>
                  </a:lnTo>
                  <a:lnTo>
                    <a:pt x="2578" y="2575"/>
                  </a:lnTo>
                  <a:lnTo>
                    <a:pt x="2627" y="2523"/>
                  </a:lnTo>
                  <a:lnTo>
                    <a:pt x="2675" y="2468"/>
                  </a:lnTo>
                  <a:lnTo>
                    <a:pt x="2719" y="2411"/>
                  </a:lnTo>
                  <a:lnTo>
                    <a:pt x="2762" y="2352"/>
                  </a:lnTo>
                  <a:lnTo>
                    <a:pt x="2801" y="2291"/>
                  </a:lnTo>
                  <a:lnTo>
                    <a:pt x="2837" y="2228"/>
                  </a:lnTo>
                  <a:lnTo>
                    <a:pt x="2870" y="2163"/>
                  </a:lnTo>
                  <a:lnTo>
                    <a:pt x="2901" y="2096"/>
                  </a:lnTo>
                  <a:lnTo>
                    <a:pt x="2928" y="2028"/>
                  </a:lnTo>
                  <a:lnTo>
                    <a:pt x="2952" y="1957"/>
                  </a:lnTo>
                  <a:lnTo>
                    <a:pt x="2972" y="1886"/>
                  </a:lnTo>
                  <a:lnTo>
                    <a:pt x="2989" y="1812"/>
                  </a:lnTo>
                  <a:lnTo>
                    <a:pt x="3002" y="1738"/>
                  </a:lnTo>
                  <a:lnTo>
                    <a:pt x="3011" y="1663"/>
                  </a:lnTo>
                  <a:lnTo>
                    <a:pt x="3017" y="1586"/>
                  </a:lnTo>
                  <a:lnTo>
                    <a:pt x="3019" y="1509"/>
                  </a:lnTo>
                  <a:lnTo>
                    <a:pt x="3017" y="1431"/>
                  </a:lnTo>
                  <a:lnTo>
                    <a:pt x="3011" y="1354"/>
                  </a:lnTo>
                  <a:lnTo>
                    <a:pt x="3002" y="1278"/>
                  </a:lnTo>
                  <a:lnTo>
                    <a:pt x="2989" y="1204"/>
                  </a:lnTo>
                  <a:lnTo>
                    <a:pt x="2972" y="1131"/>
                  </a:lnTo>
                  <a:lnTo>
                    <a:pt x="2952" y="1060"/>
                  </a:lnTo>
                  <a:lnTo>
                    <a:pt x="2928" y="990"/>
                  </a:lnTo>
                  <a:lnTo>
                    <a:pt x="2901" y="921"/>
                  </a:lnTo>
                  <a:lnTo>
                    <a:pt x="2870" y="854"/>
                  </a:lnTo>
                  <a:lnTo>
                    <a:pt x="2837" y="789"/>
                  </a:lnTo>
                  <a:lnTo>
                    <a:pt x="2801" y="726"/>
                  </a:lnTo>
                  <a:lnTo>
                    <a:pt x="2762" y="665"/>
                  </a:lnTo>
                  <a:lnTo>
                    <a:pt x="2719" y="605"/>
                  </a:lnTo>
                  <a:lnTo>
                    <a:pt x="2675" y="549"/>
                  </a:lnTo>
                  <a:lnTo>
                    <a:pt x="2627" y="494"/>
                  </a:lnTo>
                  <a:lnTo>
                    <a:pt x="2578" y="441"/>
                  </a:lnTo>
                  <a:lnTo>
                    <a:pt x="2525" y="391"/>
                  </a:lnTo>
                  <a:lnTo>
                    <a:pt x="2470" y="344"/>
                  </a:lnTo>
                  <a:lnTo>
                    <a:pt x="2413" y="300"/>
                  </a:lnTo>
                  <a:lnTo>
                    <a:pt x="2354" y="257"/>
                  </a:lnTo>
                  <a:lnTo>
                    <a:pt x="2293" y="218"/>
                  </a:lnTo>
                  <a:lnTo>
                    <a:pt x="2229" y="182"/>
                  </a:lnTo>
                  <a:lnTo>
                    <a:pt x="2164" y="149"/>
                  </a:lnTo>
                  <a:lnTo>
                    <a:pt x="2098" y="118"/>
                  </a:lnTo>
                  <a:lnTo>
                    <a:pt x="2029" y="91"/>
                  </a:lnTo>
                  <a:lnTo>
                    <a:pt x="1959" y="67"/>
                  </a:lnTo>
                  <a:lnTo>
                    <a:pt x="1887" y="47"/>
                  </a:lnTo>
                  <a:lnTo>
                    <a:pt x="1814" y="30"/>
                  </a:lnTo>
                  <a:lnTo>
                    <a:pt x="1739" y="17"/>
                  </a:lnTo>
                  <a:lnTo>
                    <a:pt x="1664" y="8"/>
                  </a:lnTo>
                  <a:lnTo>
                    <a:pt x="1587" y="2"/>
                  </a:lnTo>
                  <a:lnTo>
                    <a:pt x="1510" y="0"/>
                  </a:lnTo>
                  <a:lnTo>
                    <a:pt x="1432" y="2"/>
                  </a:lnTo>
                  <a:lnTo>
                    <a:pt x="1356" y="8"/>
                  </a:lnTo>
                  <a:lnTo>
                    <a:pt x="1280" y="17"/>
                  </a:lnTo>
                  <a:lnTo>
                    <a:pt x="1206" y="30"/>
                  </a:lnTo>
                  <a:lnTo>
                    <a:pt x="1132" y="47"/>
                  </a:lnTo>
                  <a:lnTo>
                    <a:pt x="1061" y="67"/>
                  </a:lnTo>
                  <a:lnTo>
                    <a:pt x="990" y="91"/>
                  </a:lnTo>
                  <a:lnTo>
                    <a:pt x="922" y="118"/>
                  </a:lnTo>
                  <a:lnTo>
                    <a:pt x="856" y="149"/>
                  </a:lnTo>
                  <a:lnTo>
                    <a:pt x="790" y="182"/>
                  </a:lnTo>
                  <a:lnTo>
                    <a:pt x="727" y="218"/>
                  </a:lnTo>
                  <a:lnTo>
                    <a:pt x="665" y="257"/>
                  </a:lnTo>
                  <a:lnTo>
                    <a:pt x="606" y="300"/>
                  </a:lnTo>
                  <a:lnTo>
                    <a:pt x="550" y="344"/>
                  </a:lnTo>
                  <a:lnTo>
                    <a:pt x="494" y="391"/>
                  </a:lnTo>
                  <a:lnTo>
                    <a:pt x="442" y="441"/>
                  </a:lnTo>
                  <a:lnTo>
                    <a:pt x="393" y="494"/>
                  </a:lnTo>
                  <a:lnTo>
                    <a:pt x="344" y="549"/>
                  </a:lnTo>
                  <a:lnTo>
                    <a:pt x="300" y="605"/>
                  </a:lnTo>
                  <a:lnTo>
                    <a:pt x="258" y="665"/>
                  </a:lnTo>
                  <a:lnTo>
                    <a:pt x="219" y="726"/>
                  </a:lnTo>
                  <a:lnTo>
                    <a:pt x="182" y="789"/>
                  </a:lnTo>
                  <a:lnTo>
                    <a:pt x="149" y="854"/>
                  </a:lnTo>
                  <a:lnTo>
                    <a:pt x="119" y="921"/>
                  </a:lnTo>
                  <a:lnTo>
                    <a:pt x="92" y="990"/>
                  </a:lnTo>
                  <a:lnTo>
                    <a:pt x="68" y="1060"/>
                  </a:lnTo>
                  <a:lnTo>
                    <a:pt x="48" y="1131"/>
                  </a:lnTo>
                  <a:lnTo>
                    <a:pt x="30" y="1204"/>
                  </a:lnTo>
                  <a:lnTo>
                    <a:pt x="17" y="1278"/>
                  </a:lnTo>
                  <a:lnTo>
                    <a:pt x="8" y="1354"/>
                  </a:lnTo>
                  <a:lnTo>
                    <a:pt x="2" y="1431"/>
                  </a:lnTo>
                  <a:lnTo>
                    <a:pt x="0" y="1509"/>
                  </a:lnTo>
                  <a:lnTo>
                    <a:pt x="2" y="1586"/>
                  </a:lnTo>
                  <a:lnTo>
                    <a:pt x="8" y="1663"/>
                  </a:lnTo>
                  <a:lnTo>
                    <a:pt x="17" y="1738"/>
                  </a:lnTo>
                  <a:lnTo>
                    <a:pt x="30" y="1812"/>
                  </a:lnTo>
                  <a:lnTo>
                    <a:pt x="48" y="1886"/>
                  </a:lnTo>
                  <a:lnTo>
                    <a:pt x="68" y="1957"/>
                  </a:lnTo>
                  <a:lnTo>
                    <a:pt x="92" y="2028"/>
                  </a:lnTo>
                  <a:lnTo>
                    <a:pt x="119" y="2096"/>
                  </a:lnTo>
                  <a:lnTo>
                    <a:pt x="149" y="2163"/>
                  </a:lnTo>
                  <a:lnTo>
                    <a:pt x="182" y="2228"/>
                  </a:lnTo>
                  <a:lnTo>
                    <a:pt x="219" y="2291"/>
                  </a:lnTo>
                  <a:lnTo>
                    <a:pt x="258" y="2352"/>
                  </a:lnTo>
                  <a:lnTo>
                    <a:pt x="300" y="2411"/>
                  </a:lnTo>
                  <a:lnTo>
                    <a:pt x="344" y="2468"/>
                  </a:lnTo>
                  <a:lnTo>
                    <a:pt x="393" y="2523"/>
                  </a:lnTo>
                  <a:lnTo>
                    <a:pt x="442" y="2575"/>
                  </a:lnTo>
                  <a:lnTo>
                    <a:pt x="494" y="2625"/>
                  </a:lnTo>
                  <a:lnTo>
                    <a:pt x="550" y="2673"/>
                  </a:lnTo>
                  <a:lnTo>
                    <a:pt x="606" y="2718"/>
                  </a:lnTo>
                  <a:lnTo>
                    <a:pt x="665" y="2760"/>
                  </a:lnTo>
                  <a:lnTo>
                    <a:pt x="727" y="2799"/>
                  </a:lnTo>
                  <a:lnTo>
                    <a:pt x="790" y="2836"/>
                  </a:lnTo>
                  <a:lnTo>
                    <a:pt x="856" y="2869"/>
                  </a:lnTo>
                  <a:lnTo>
                    <a:pt x="922" y="2899"/>
                  </a:lnTo>
                  <a:lnTo>
                    <a:pt x="990" y="2926"/>
                  </a:lnTo>
                  <a:lnTo>
                    <a:pt x="1061" y="2949"/>
                  </a:lnTo>
                  <a:lnTo>
                    <a:pt x="1132" y="2969"/>
                  </a:lnTo>
                  <a:lnTo>
                    <a:pt x="1206" y="2986"/>
                  </a:lnTo>
                  <a:lnTo>
                    <a:pt x="1280" y="2999"/>
                  </a:lnTo>
                  <a:lnTo>
                    <a:pt x="1356" y="3010"/>
                  </a:lnTo>
                  <a:lnTo>
                    <a:pt x="1432" y="3016"/>
                  </a:lnTo>
                  <a:lnTo>
                    <a:pt x="1510" y="30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67" name="íŝļídê">
              <a:extLst>
                <a:ext uri="{FF2B5EF4-FFF2-40B4-BE49-F238E27FC236}">
                  <a16:creationId xmlns:a16="http://schemas.microsoft.com/office/drawing/2014/main" id="{43195186-85E9-4AE8-AEBD-8BC24B451E5D}"/>
                </a:ext>
              </a:extLst>
            </p:cNvPr>
            <p:cNvSpPr/>
            <p:nvPr/>
          </p:nvSpPr>
          <p:spPr bwMode="auto">
            <a:xfrm>
              <a:off x="9362132" y="1846415"/>
              <a:ext cx="159468" cy="102588"/>
            </a:xfrm>
            <a:custGeom>
              <a:avLst/>
              <a:gdLst>
                <a:gd name="T0" fmla="*/ 4713 w 5797"/>
                <a:gd name="T1" fmla="*/ 41 h 3756"/>
                <a:gd name="T2" fmla="*/ 3661 w 5797"/>
                <a:gd name="T3" fmla="*/ 216 h 3756"/>
                <a:gd name="T4" fmla="*/ 2695 w 5797"/>
                <a:gd name="T5" fmla="*/ 516 h 3756"/>
                <a:gd name="T6" fmla="*/ 1839 w 5797"/>
                <a:gd name="T7" fmla="*/ 924 h 3756"/>
                <a:gd name="T8" fmla="*/ 1118 w 5797"/>
                <a:gd name="T9" fmla="*/ 1423 h 3756"/>
                <a:gd name="T10" fmla="*/ 556 w 5797"/>
                <a:gd name="T11" fmla="*/ 2001 h 3756"/>
                <a:gd name="T12" fmla="*/ 178 w 5797"/>
                <a:gd name="T13" fmla="*/ 2641 h 3756"/>
                <a:gd name="T14" fmla="*/ 7 w 5797"/>
                <a:gd name="T15" fmla="*/ 3329 h 3756"/>
                <a:gd name="T16" fmla="*/ 3 w 5797"/>
                <a:gd name="T17" fmla="*/ 3544 h 3756"/>
                <a:gd name="T18" fmla="*/ 15 w 5797"/>
                <a:gd name="T19" fmla="*/ 3592 h 3756"/>
                <a:gd name="T20" fmla="*/ 36 w 5797"/>
                <a:gd name="T21" fmla="*/ 3636 h 3756"/>
                <a:gd name="T22" fmla="*/ 65 w 5797"/>
                <a:gd name="T23" fmla="*/ 3674 h 3756"/>
                <a:gd name="T24" fmla="*/ 100 w 5797"/>
                <a:gd name="T25" fmla="*/ 3706 h 3756"/>
                <a:gd name="T26" fmla="*/ 143 w 5797"/>
                <a:gd name="T27" fmla="*/ 3731 h 3756"/>
                <a:gd name="T28" fmla="*/ 189 w 5797"/>
                <a:gd name="T29" fmla="*/ 3748 h 3756"/>
                <a:gd name="T30" fmla="*/ 239 w 5797"/>
                <a:gd name="T31" fmla="*/ 3756 h 3756"/>
                <a:gd name="T32" fmla="*/ 290 w 5797"/>
                <a:gd name="T33" fmla="*/ 3753 h 3756"/>
                <a:gd name="T34" fmla="*/ 338 w 5797"/>
                <a:gd name="T35" fmla="*/ 3741 h 3756"/>
                <a:gd name="T36" fmla="*/ 383 w 5797"/>
                <a:gd name="T37" fmla="*/ 3720 h 3756"/>
                <a:gd name="T38" fmla="*/ 421 w 5797"/>
                <a:gd name="T39" fmla="*/ 3691 h 3756"/>
                <a:gd name="T40" fmla="*/ 453 w 5797"/>
                <a:gd name="T41" fmla="*/ 3655 h 3756"/>
                <a:gd name="T42" fmla="*/ 479 w 5797"/>
                <a:gd name="T43" fmla="*/ 3614 h 3756"/>
                <a:gd name="T44" fmla="*/ 496 w 5797"/>
                <a:gd name="T45" fmla="*/ 3568 h 3756"/>
                <a:gd name="T46" fmla="*/ 504 w 5797"/>
                <a:gd name="T47" fmla="*/ 3519 h 3756"/>
                <a:gd name="T48" fmla="*/ 564 w 5797"/>
                <a:gd name="T49" fmla="*/ 3062 h 3756"/>
                <a:gd name="T50" fmla="*/ 820 w 5797"/>
                <a:gd name="T51" fmla="*/ 2496 h 3756"/>
                <a:gd name="T52" fmla="*/ 1257 w 5797"/>
                <a:gd name="T53" fmla="*/ 1973 h 3756"/>
                <a:gd name="T54" fmla="*/ 1848 w 5797"/>
                <a:gd name="T55" fmla="*/ 1509 h 3756"/>
                <a:gd name="T56" fmla="*/ 2572 w 5797"/>
                <a:gd name="T57" fmla="*/ 1115 h 3756"/>
                <a:gd name="T58" fmla="*/ 3402 w 5797"/>
                <a:gd name="T59" fmla="*/ 807 h 3756"/>
                <a:gd name="T60" fmla="*/ 4318 w 5797"/>
                <a:gd name="T61" fmla="*/ 599 h 3756"/>
                <a:gd name="T62" fmla="*/ 5294 w 5797"/>
                <a:gd name="T63" fmla="*/ 505 h 3756"/>
                <a:gd name="T64" fmla="*/ 5583 w 5797"/>
                <a:gd name="T65" fmla="*/ 498 h 3756"/>
                <a:gd name="T66" fmla="*/ 5632 w 5797"/>
                <a:gd name="T67" fmla="*/ 486 h 3756"/>
                <a:gd name="T68" fmla="*/ 5676 w 5797"/>
                <a:gd name="T69" fmla="*/ 465 h 3756"/>
                <a:gd name="T70" fmla="*/ 5714 w 5797"/>
                <a:gd name="T71" fmla="*/ 436 h 3756"/>
                <a:gd name="T72" fmla="*/ 5747 w 5797"/>
                <a:gd name="T73" fmla="*/ 401 h 3756"/>
                <a:gd name="T74" fmla="*/ 5772 w 5797"/>
                <a:gd name="T75" fmla="*/ 359 h 3756"/>
                <a:gd name="T76" fmla="*/ 5789 w 5797"/>
                <a:gd name="T77" fmla="*/ 313 h 3756"/>
                <a:gd name="T78" fmla="*/ 5797 w 5797"/>
                <a:gd name="T79" fmla="*/ 264 h 3756"/>
                <a:gd name="T80" fmla="*/ 5794 w 5797"/>
                <a:gd name="T81" fmla="*/ 212 h 3756"/>
                <a:gd name="T82" fmla="*/ 5782 w 5797"/>
                <a:gd name="T83" fmla="*/ 164 h 3756"/>
                <a:gd name="T84" fmla="*/ 5761 w 5797"/>
                <a:gd name="T85" fmla="*/ 120 h 3756"/>
                <a:gd name="T86" fmla="*/ 5732 w 5797"/>
                <a:gd name="T87" fmla="*/ 82 h 3756"/>
                <a:gd name="T88" fmla="*/ 5696 w 5797"/>
                <a:gd name="T89" fmla="*/ 50 h 3756"/>
                <a:gd name="T90" fmla="*/ 5654 w 5797"/>
                <a:gd name="T91" fmla="*/ 25 h 3756"/>
                <a:gd name="T92" fmla="*/ 5609 w 5797"/>
                <a:gd name="T93" fmla="*/ 8 h 3756"/>
                <a:gd name="T94" fmla="*/ 5558 w 5797"/>
                <a:gd name="T95" fmla="*/ 0 h 3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797" h="3756">
                  <a:moveTo>
                    <a:pt x="5545" y="0"/>
                  </a:moveTo>
                  <a:lnTo>
                    <a:pt x="5265" y="5"/>
                  </a:lnTo>
                  <a:lnTo>
                    <a:pt x="4987" y="18"/>
                  </a:lnTo>
                  <a:lnTo>
                    <a:pt x="4713" y="41"/>
                  </a:lnTo>
                  <a:lnTo>
                    <a:pt x="4444" y="73"/>
                  </a:lnTo>
                  <a:lnTo>
                    <a:pt x="4178" y="112"/>
                  </a:lnTo>
                  <a:lnTo>
                    <a:pt x="3917" y="160"/>
                  </a:lnTo>
                  <a:lnTo>
                    <a:pt x="3661" y="216"/>
                  </a:lnTo>
                  <a:lnTo>
                    <a:pt x="3411" y="281"/>
                  </a:lnTo>
                  <a:lnTo>
                    <a:pt x="3166" y="352"/>
                  </a:lnTo>
                  <a:lnTo>
                    <a:pt x="2927" y="431"/>
                  </a:lnTo>
                  <a:lnTo>
                    <a:pt x="2695" y="516"/>
                  </a:lnTo>
                  <a:lnTo>
                    <a:pt x="2470" y="608"/>
                  </a:lnTo>
                  <a:lnTo>
                    <a:pt x="2251" y="707"/>
                  </a:lnTo>
                  <a:lnTo>
                    <a:pt x="2041" y="812"/>
                  </a:lnTo>
                  <a:lnTo>
                    <a:pt x="1839" y="924"/>
                  </a:lnTo>
                  <a:lnTo>
                    <a:pt x="1645" y="1041"/>
                  </a:lnTo>
                  <a:lnTo>
                    <a:pt x="1460" y="1163"/>
                  </a:lnTo>
                  <a:lnTo>
                    <a:pt x="1284" y="1291"/>
                  </a:lnTo>
                  <a:lnTo>
                    <a:pt x="1118" y="1423"/>
                  </a:lnTo>
                  <a:lnTo>
                    <a:pt x="961" y="1562"/>
                  </a:lnTo>
                  <a:lnTo>
                    <a:pt x="815" y="1704"/>
                  </a:lnTo>
                  <a:lnTo>
                    <a:pt x="680" y="1851"/>
                  </a:lnTo>
                  <a:lnTo>
                    <a:pt x="556" y="2001"/>
                  </a:lnTo>
                  <a:lnTo>
                    <a:pt x="443" y="2157"/>
                  </a:lnTo>
                  <a:lnTo>
                    <a:pt x="342" y="2315"/>
                  </a:lnTo>
                  <a:lnTo>
                    <a:pt x="254" y="2477"/>
                  </a:lnTo>
                  <a:lnTo>
                    <a:pt x="178" y="2641"/>
                  </a:lnTo>
                  <a:lnTo>
                    <a:pt x="115" y="2810"/>
                  </a:lnTo>
                  <a:lnTo>
                    <a:pt x="65" y="2980"/>
                  </a:lnTo>
                  <a:lnTo>
                    <a:pt x="29" y="3153"/>
                  </a:lnTo>
                  <a:lnTo>
                    <a:pt x="7" y="3329"/>
                  </a:lnTo>
                  <a:lnTo>
                    <a:pt x="0" y="3506"/>
                  </a:lnTo>
                  <a:lnTo>
                    <a:pt x="0" y="3519"/>
                  </a:lnTo>
                  <a:lnTo>
                    <a:pt x="1" y="3531"/>
                  </a:lnTo>
                  <a:lnTo>
                    <a:pt x="3" y="3544"/>
                  </a:lnTo>
                  <a:lnTo>
                    <a:pt x="5" y="3556"/>
                  </a:lnTo>
                  <a:lnTo>
                    <a:pt x="8" y="3568"/>
                  </a:lnTo>
                  <a:lnTo>
                    <a:pt x="11" y="3580"/>
                  </a:lnTo>
                  <a:lnTo>
                    <a:pt x="15" y="3592"/>
                  </a:lnTo>
                  <a:lnTo>
                    <a:pt x="20" y="3603"/>
                  </a:lnTo>
                  <a:lnTo>
                    <a:pt x="25" y="3614"/>
                  </a:lnTo>
                  <a:lnTo>
                    <a:pt x="30" y="3625"/>
                  </a:lnTo>
                  <a:lnTo>
                    <a:pt x="36" y="3636"/>
                  </a:lnTo>
                  <a:lnTo>
                    <a:pt x="43" y="3646"/>
                  </a:lnTo>
                  <a:lnTo>
                    <a:pt x="50" y="3655"/>
                  </a:lnTo>
                  <a:lnTo>
                    <a:pt x="57" y="3665"/>
                  </a:lnTo>
                  <a:lnTo>
                    <a:pt x="65" y="3674"/>
                  </a:lnTo>
                  <a:lnTo>
                    <a:pt x="73" y="3683"/>
                  </a:lnTo>
                  <a:lnTo>
                    <a:pt x="82" y="3691"/>
                  </a:lnTo>
                  <a:lnTo>
                    <a:pt x="91" y="3699"/>
                  </a:lnTo>
                  <a:lnTo>
                    <a:pt x="100" y="3706"/>
                  </a:lnTo>
                  <a:lnTo>
                    <a:pt x="111" y="3713"/>
                  </a:lnTo>
                  <a:lnTo>
                    <a:pt x="121" y="3720"/>
                  </a:lnTo>
                  <a:lnTo>
                    <a:pt x="132" y="3726"/>
                  </a:lnTo>
                  <a:lnTo>
                    <a:pt x="143" y="3731"/>
                  </a:lnTo>
                  <a:lnTo>
                    <a:pt x="154" y="3736"/>
                  </a:lnTo>
                  <a:lnTo>
                    <a:pt x="165" y="3741"/>
                  </a:lnTo>
                  <a:lnTo>
                    <a:pt x="177" y="3745"/>
                  </a:lnTo>
                  <a:lnTo>
                    <a:pt x="189" y="3748"/>
                  </a:lnTo>
                  <a:lnTo>
                    <a:pt x="201" y="3751"/>
                  </a:lnTo>
                  <a:lnTo>
                    <a:pt x="213" y="3753"/>
                  </a:lnTo>
                  <a:lnTo>
                    <a:pt x="226" y="3755"/>
                  </a:lnTo>
                  <a:lnTo>
                    <a:pt x="239" y="3756"/>
                  </a:lnTo>
                  <a:lnTo>
                    <a:pt x="252" y="3756"/>
                  </a:lnTo>
                  <a:lnTo>
                    <a:pt x="265" y="3756"/>
                  </a:lnTo>
                  <a:lnTo>
                    <a:pt x="278" y="3755"/>
                  </a:lnTo>
                  <a:lnTo>
                    <a:pt x="290" y="3753"/>
                  </a:lnTo>
                  <a:lnTo>
                    <a:pt x="302" y="3751"/>
                  </a:lnTo>
                  <a:lnTo>
                    <a:pt x="315" y="3748"/>
                  </a:lnTo>
                  <a:lnTo>
                    <a:pt x="326" y="3745"/>
                  </a:lnTo>
                  <a:lnTo>
                    <a:pt x="338" y="3741"/>
                  </a:lnTo>
                  <a:lnTo>
                    <a:pt x="349" y="3736"/>
                  </a:lnTo>
                  <a:lnTo>
                    <a:pt x="361" y="3731"/>
                  </a:lnTo>
                  <a:lnTo>
                    <a:pt x="372" y="3726"/>
                  </a:lnTo>
                  <a:lnTo>
                    <a:pt x="383" y="3720"/>
                  </a:lnTo>
                  <a:lnTo>
                    <a:pt x="393" y="3713"/>
                  </a:lnTo>
                  <a:lnTo>
                    <a:pt x="403" y="3706"/>
                  </a:lnTo>
                  <a:lnTo>
                    <a:pt x="412" y="3699"/>
                  </a:lnTo>
                  <a:lnTo>
                    <a:pt x="421" y="3691"/>
                  </a:lnTo>
                  <a:lnTo>
                    <a:pt x="430" y="3683"/>
                  </a:lnTo>
                  <a:lnTo>
                    <a:pt x="438" y="3674"/>
                  </a:lnTo>
                  <a:lnTo>
                    <a:pt x="446" y="3665"/>
                  </a:lnTo>
                  <a:lnTo>
                    <a:pt x="453" y="3655"/>
                  </a:lnTo>
                  <a:lnTo>
                    <a:pt x="460" y="3646"/>
                  </a:lnTo>
                  <a:lnTo>
                    <a:pt x="467" y="3636"/>
                  </a:lnTo>
                  <a:lnTo>
                    <a:pt x="474" y="3625"/>
                  </a:lnTo>
                  <a:lnTo>
                    <a:pt x="479" y="3614"/>
                  </a:lnTo>
                  <a:lnTo>
                    <a:pt x="484" y="3603"/>
                  </a:lnTo>
                  <a:lnTo>
                    <a:pt x="489" y="3592"/>
                  </a:lnTo>
                  <a:lnTo>
                    <a:pt x="493" y="3580"/>
                  </a:lnTo>
                  <a:lnTo>
                    <a:pt x="496" y="3568"/>
                  </a:lnTo>
                  <a:lnTo>
                    <a:pt x="499" y="3556"/>
                  </a:lnTo>
                  <a:lnTo>
                    <a:pt x="501" y="3544"/>
                  </a:lnTo>
                  <a:lnTo>
                    <a:pt x="503" y="3531"/>
                  </a:lnTo>
                  <a:lnTo>
                    <a:pt x="504" y="3519"/>
                  </a:lnTo>
                  <a:lnTo>
                    <a:pt x="504" y="3506"/>
                  </a:lnTo>
                  <a:lnTo>
                    <a:pt x="511" y="3357"/>
                  </a:lnTo>
                  <a:lnTo>
                    <a:pt x="531" y="3208"/>
                  </a:lnTo>
                  <a:lnTo>
                    <a:pt x="564" y="3062"/>
                  </a:lnTo>
                  <a:lnTo>
                    <a:pt x="611" y="2917"/>
                  </a:lnTo>
                  <a:lnTo>
                    <a:pt x="669" y="2775"/>
                  </a:lnTo>
                  <a:lnTo>
                    <a:pt x="739" y="2634"/>
                  </a:lnTo>
                  <a:lnTo>
                    <a:pt x="820" y="2496"/>
                  </a:lnTo>
                  <a:lnTo>
                    <a:pt x="914" y="2361"/>
                  </a:lnTo>
                  <a:lnTo>
                    <a:pt x="1018" y="2229"/>
                  </a:lnTo>
                  <a:lnTo>
                    <a:pt x="1132" y="2100"/>
                  </a:lnTo>
                  <a:lnTo>
                    <a:pt x="1257" y="1973"/>
                  </a:lnTo>
                  <a:lnTo>
                    <a:pt x="1391" y="1851"/>
                  </a:lnTo>
                  <a:lnTo>
                    <a:pt x="1534" y="1733"/>
                  </a:lnTo>
                  <a:lnTo>
                    <a:pt x="1686" y="1619"/>
                  </a:lnTo>
                  <a:lnTo>
                    <a:pt x="1848" y="1509"/>
                  </a:lnTo>
                  <a:lnTo>
                    <a:pt x="2017" y="1403"/>
                  </a:lnTo>
                  <a:lnTo>
                    <a:pt x="2195" y="1302"/>
                  </a:lnTo>
                  <a:lnTo>
                    <a:pt x="2379" y="1206"/>
                  </a:lnTo>
                  <a:lnTo>
                    <a:pt x="2572" y="1115"/>
                  </a:lnTo>
                  <a:lnTo>
                    <a:pt x="2769" y="1030"/>
                  </a:lnTo>
                  <a:lnTo>
                    <a:pt x="2975" y="950"/>
                  </a:lnTo>
                  <a:lnTo>
                    <a:pt x="3186" y="876"/>
                  </a:lnTo>
                  <a:lnTo>
                    <a:pt x="3402" y="807"/>
                  </a:lnTo>
                  <a:lnTo>
                    <a:pt x="3624" y="745"/>
                  </a:lnTo>
                  <a:lnTo>
                    <a:pt x="3851" y="690"/>
                  </a:lnTo>
                  <a:lnTo>
                    <a:pt x="4083" y="641"/>
                  </a:lnTo>
                  <a:lnTo>
                    <a:pt x="4318" y="599"/>
                  </a:lnTo>
                  <a:lnTo>
                    <a:pt x="4557" y="564"/>
                  </a:lnTo>
                  <a:lnTo>
                    <a:pt x="4800" y="537"/>
                  </a:lnTo>
                  <a:lnTo>
                    <a:pt x="5046" y="517"/>
                  </a:lnTo>
                  <a:lnTo>
                    <a:pt x="5294" y="505"/>
                  </a:lnTo>
                  <a:lnTo>
                    <a:pt x="5545" y="501"/>
                  </a:lnTo>
                  <a:lnTo>
                    <a:pt x="5558" y="501"/>
                  </a:lnTo>
                  <a:lnTo>
                    <a:pt x="5571" y="500"/>
                  </a:lnTo>
                  <a:lnTo>
                    <a:pt x="5583" y="498"/>
                  </a:lnTo>
                  <a:lnTo>
                    <a:pt x="5595" y="496"/>
                  </a:lnTo>
                  <a:lnTo>
                    <a:pt x="5609" y="493"/>
                  </a:lnTo>
                  <a:lnTo>
                    <a:pt x="5620" y="490"/>
                  </a:lnTo>
                  <a:lnTo>
                    <a:pt x="5632" y="486"/>
                  </a:lnTo>
                  <a:lnTo>
                    <a:pt x="5643" y="481"/>
                  </a:lnTo>
                  <a:lnTo>
                    <a:pt x="5654" y="476"/>
                  </a:lnTo>
                  <a:lnTo>
                    <a:pt x="5665" y="471"/>
                  </a:lnTo>
                  <a:lnTo>
                    <a:pt x="5676" y="465"/>
                  </a:lnTo>
                  <a:lnTo>
                    <a:pt x="5686" y="458"/>
                  </a:lnTo>
                  <a:lnTo>
                    <a:pt x="5696" y="451"/>
                  </a:lnTo>
                  <a:lnTo>
                    <a:pt x="5705" y="444"/>
                  </a:lnTo>
                  <a:lnTo>
                    <a:pt x="5714" y="436"/>
                  </a:lnTo>
                  <a:lnTo>
                    <a:pt x="5723" y="428"/>
                  </a:lnTo>
                  <a:lnTo>
                    <a:pt x="5732" y="419"/>
                  </a:lnTo>
                  <a:lnTo>
                    <a:pt x="5740" y="410"/>
                  </a:lnTo>
                  <a:lnTo>
                    <a:pt x="5747" y="401"/>
                  </a:lnTo>
                  <a:lnTo>
                    <a:pt x="5754" y="391"/>
                  </a:lnTo>
                  <a:lnTo>
                    <a:pt x="5761" y="381"/>
                  </a:lnTo>
                  <a:lnTo>
                    <a:pt x="5767" y="370"/>
                  </a:lnTo>
                  <a:lnTo>
                    <a:pt x="5772" y="359"/>
                  </a:lnTo>
                  <a:lnTo>
                    <a:pt x="5777" y="348"/>
                  </a:lnTo>
                  <a:lnTo>
                    <a:pt x="5782" y="337"/>
                  </a:lnTo>
                  <a:lnTo>
                    <a:pt x="5786" y="325"/>
                  </a:lnTo>
                  <a:lnTo>
                    <a:pt x="5789" y="313"/>
                  </a:lnTo>
                  <a:lnTo>
                    <a:pt x="5792" y="301"/>
                  </a:lnTo>
                  <a:lnTo>
                    <a:pt x="5794" y="289"/>
                  </a:lnTo>
                  <a:lnTo>
                    <a:pt x="5796" y="277"/>
                  </a:lnTo>
                  <a:lnTo>
                    <a:pt x="5797" y="264"/>
                  </a:lnTo>
                  <a:lnTo>
                    <a:pt x="5797" y="251"/>
                  </a:lnTo>
                  <a:lnTo>
                    <a:pt x="5797" y="237"/>
                  </a:lnTo>
                  <a:lnTo>
                    <a:pt x="5796" y="225"/>
                  </a:lnTo>
                  <a:lnTo>
                    <a:pt x="5794" y="212"/>
                  </a:lnTo>
                  <a:lnTo>
                    <a:pt x="5792" y="200"/>
                  </a:lnTo>
                  <a:lnTo>
                    <a:pt x="5789" y="188"/>
                  </a:lnTo>
                  <a:lnTo>
                    <a:pt x="5786" y="176"/>
                  </a:lnTo>
                  <a:lnTo>
                    <a:pt x="5782" y="164"/>
                  </a:lnTo>
                  <a:lnTo>
                    <a:pt x="5777" y="153"/>
                  </a:lnTo>
                  <a:lnTo>
                    <a:pt x="5772" y="142"/>
                  </a:lnTo>
                  <a:lnTo>
                    <a:pt x="5767" y="131"/>
                  </a:lnTo>
                  <a:lnTo>
                    <a:pt x="5761" y="120"/>
                  </a:lnTo>
                  <a:lnTo>
                    <a:pt x="5754" y="110"/>
                  </a:lnTo>
                  <a:lnTo>
                    <a:pt x="5747" y="100"/>
                  </a:lnTo>
                  <a:lnTo>
                    <a:pt x="5740" y="91"/>
                  </a:lnTo>
                  <a:lnTo>
                    <a:pt x="5732" y="82"/>
                  </a:lnTo>
                  <a:lnTo>
                    <a:pt x="5723" y="73"/>
                  </a:lnTo>
                  <a:lnTo>
                    <a:pt x="5714" y="65"/>
                  </a:lnTo>
                  <a:lnTo>
                    <a:pt x="5705" y="57"/>
                  </a:lnTo>
                  <a:lnTo>
                    <a:pt x="5696" y="50"/>
                  </a:lnTo>
                  <a:lnTo>
                    <a:pt x="5686" y="43"/>
                  </a:lnTo>
                  <a:lnTo>
                    <a:pt x="5676" y="36"/>
                  </a:lnTo>
                  <a:lnTo>
                    <a:pt x="5665" y="30"/>
                  </a:lnTo>
                  <a:lnTo>
                    <a:pt x="5654" y="25"/>
                  </a:lnTo>
                  <a:lnTo>
                    <a:pt x="5643" y="20"/>
                  </a:lnTo>
                  <a:lnTo>
                    <a:pt x="5632" y="15"/>
                  </a:lnTo>
                  <a:lnTo>
                    <a:pt x="5620" y="11"/>
                  </a:lnTo>
                  <a:lnTo>
                    <a:pt x="5609" y="8"/>
                  </a:lnTo>
                  <a:lnTo>
                    <a:pt x="5595" y="5"/>
                  </a:lnTo>
                  <a:lnTo>
                    <a:pt x="5583" y="3"/>
                  </a:lnTo>
                  <a:lnTo>
                    <a:pt x="5571" y="1"/>
                  </a:lnTo>
                  <a:lnTo>
                    <a:pt x="5558" y="0"/>
                  </a:lnTo>
                  <a:lnTo>
                    <a:pt x="55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68" name="íSḷïďe">
              <a:extLst>
                <a:ext uri="{FF2B5EF4-FFF2-40B4-BE49-F238E27FC236}">
                  <a16:creationId xmlns:a16="http://schemas.microsoft.com/office/drawing/2014/main" id="{30718709-42D4-4FA2-A51D-200E9BCB9AE6}"/>
                </a:ext>
              </a:extLst>
            </p:cNvPr>
            <p:cNvSpPr/>
            <p:nvPr/>
          </p:nvSpPr>
          <p:spPr bwMode="auto">
            <a:xfrm>
              <a:off x="9293063" y="1777346"/>
              <a:ext cx="442853" cy="384957"/>
            </a:xfrm>
            <a:custGeom>
              <a:avLst/>
              <a:gdLst>
                <a:gd name="T0" fmla="*/ 7365 w 16132"/>
                <a:gd name="T1" fmla="*/ 10992 h 14023"/>
                <a:gd name="T2" fmla="*/ 6620 w 16132"/>
                <a:gd name="T3" fmla="*/ 10910 h 14023"/>
                <a:gd name="T4" fmla="*/ 6344 w 16132"/>
                <a:gd name="T5" fmla="*/ 10917 h 14023"/>
                <a:gd name="T6" fmla="*/ 6106 w 16132"/>
                <a:gd name="T7" fmla="*/ 10988 h 14023"/>
                <a:gd name="T8" fmla="*/ 5892 w 16132"/>
                <a:gd name="T9" fmla="*/ 11114 h 14023"/>
                <a:gd name="T10" fmla="*/ 5710 w 16132"/>
                <a:gd name="T11" fmla="*/ 11296 h 14023"/>
                <a:gd name="T12" fmla="*/ 5336 w 16132"/>
                <a:gd name="T13" fmla="*/ 11674 h 14023"/>
                <a:gd name="T14" fmla="*/ 4873 w 16132"/>
                <a:gd name="T15" fmla="*/ 12065 h 14023"/>
                <a:gd name="T16" fmla="*/ 4310 w 16132"/>
                <a:gd name="T17" fmla="*/ 12459 h 14023"/>
                <a:gd name="T18" fmla="*/ 4388 w 16132"/>
                <a:gd name="T19" fmla="*/ 11971 h 14023"/>
                <a:gd name="T20" fmla="*/ 4488 w 16132"/>
                <a:gd name="T21" fmla="*/ 11553 h 14023"/>
                <a:gd name="T22" fmla="*/ 4535 w 16132"/>
                <a:gd name="T23" fmla="*/ 11121 h 14023"/>
                <a:gd name="T24" fmla="*/ 4531 w 16132"/>
                <a:gd name="T25" fmla="*/ 10842 h 14023"/>
                <a:gd name="T26" fmla="*/ 4442 w 16132"/>
                <a:gd name="T27" fmla="*/ 10547 h 14023"/>
                <a:gd name="T28" fmla="*/ 4269 w 16132"/>
                <a:gd name="T29" fmla="*/ 10296 h 14023"/>
                <a:gd name="T30" fmla="*/ 4023 w 16132"/>
                <a:gd name="T31" fmla="*/ 10106 h 14023"/>
                <a:gd name="T32" fmla="*/ 2737 w 16132"/>
                <a:gd name="T33" fmla="*/ 9277 h 14023"/>
                <a:gd name="T34" fmla="*/ 1706 w 16132"/>
                <a:gd name="T35" fmla="*/ 8163 h 14023"/>
                <a:gd name="T36" fmla="*/ 1123 w 16132"/>
                <a:gd name="T37" fmla="*/ 6901 h 14023"/>
                <a:gd name="T38" fmla="*/ 1090 w 16132"/>
                <a:gd name="T39" fmla="*/ 5248 h 14023"/>
                <a:gd name="T40" fmla="*/ 2215 w 16132"/>
                <a:gd name="T41" fmla="*/ 3211 h 14023"/>
                <a:gd name="T42" fmla="*/ 4409 w 16132"/>
                <a:gd name="T43" fmla="*/ 1728 h 14023"/>
                <a:gd name="T44" fmla="*/ 7345 w 16132"/>
                <a:gd name="T45" fmla="*/ 1028 h 14023"/>
                <a:gd name="T46" fmla="*/ 10490 w 16132"/>
                <a:gd name="T47" fmla="*/ 1306 h 14023"/>
                <a:gd name="T48" fmla="*/ 13054 w 16132"/>
                <a:gd name="T49" fmla="*/ 2470 h 14023"/>
                <a:gd name="T50" fmla="*/ 14695 w 16132"/>
                <a:gd name="T51" fmla="*/ 4290 h 14023"/>
                <a:gd name="T52" fmla="*/ 15087 w 16132"/>
                <a:gd name="T53" fmla="*/ 6521 h 14023"/>
                <a:gd name="T54" fmla="*/ 14100 w 16132"/>
                <a:gd name="T55" fmla="*/ 8605 h 14023"/>
                <a:gd name="T56" fmla="*/ 12009 w 16132"/>
                <a:gd name="T57" fmla="*/ 10162 h 14023"/>
                <a:gd name="T58" fmla="*/ 9140 w 16132"/>
                <a:gd name="T59" fmla="*/ 10960 h 14023"/>
                <a:gd name="T60" fmla="*/ 6051 w 16132"/>
                <a:gd name="T61" fmla="*/ 189 h 14023"/>
                <a:gd name="T62" fmla="*/ 2935 w 16132"/>
                <a:gd name="T63" fmla="*/ 1372 h 14023"/>
                <a:gd name="T64" fmla="*/ 796 w 16132"/>
                <a:gd name="T65" fmla="*/ 3405 h 14023"/>
                <a:gd name="T66" fmla="*/ 0 w 16132"/>
                <a:gd name="T67" fmla="*/ 6010 h 14023"/>
                <a:gd name="T68" fmla="*/ 318 w 16132"/>
                <a:gd name="T69" fmla="*/ 7685 h 14023"/>
                <a:gd name="T70" fmla="*/ 1211 w 16132"/>
                <a:gd name="T71" fmla="*/ 9177 h 14023"/>
                <a:gd name="T72" fmla="*/ 2590 w 16132"/>
                <a:gd name="T73" fmla="*/ 10421 h 14023"/>
                <a:gd name="T74" fmla="*/ 3529 w 16132"/>
                <a:gd name="T75" fmla="*/ 11018 h 14023"/>
                <a:gd name="T76" fmla="*/ 3392 w 16132"/>
                <a:gd name="T77" fmla="*/ 11780 h 14023"/>
                <a:gd name="T78" fmla="*/ 3075 w 16132"/>
                <a:gd name="T79" fmla="*/ 12505 h 14023"/>
                <a:gd name="T80" fmla="*/ 2616 w 16132"/>
                <a:gd name="T81" fmla="*/ 13290 h 14023"/>
                <a:gd name="T82" fmla="*/ 2522 w 16132"/>
                <a:gd name="T83" fmla="*/ 13545 h 14023"/>
                <a:gd name="T84" fmla="*/ 2556 w 16132"/>
                <a:gd name="T85" fmla="*/ 13746 h 14023"/>
                <a:gd name="T86" fmla="*/ 2670 w 16132"/>
                <a:gd name="T87" fmla="*/ 13905 h 14023"/>
                <a:gd name="T88" fmla="*/ 2841 w 16132"/>
                <a:gd name="T89" fmla="*/ 14003 h 14023"/>
                <a:gd name="T90" fmla="*/ 3078 w 16132"/>
                <a:gd name="T91" fmla="*/ 14016 h 14023"/>
                <a:gd name="T92" fmla="*/ 3690 w 16132"/>
                <a:gd name="T93" fmla="*/ 13870 h 14023"/>
                <a:gd name="T94" fmla="*/ 4910 w 16132"/>
                <a:gd name="T95" fmla="*/ 13267 h 14023"/>
                <a:gd name="T96" fmla="*/ 5885 w 16132"/>
                <a:gd name="T97" fmla="*/ 12528 h 14023"/>
                <a:gd name="T98" fmla="*/ 6475 w 16132"/>
                <a:gd name="T99" fmla="*/ 11947 h 14023"/>
                <a:gd name="T100" fmla="*/ 7278 w 16132"/>
                <a:gd name="T101" fmla="*/ 11990 h 14023"/>
                <a:gd name="T102" fmla="*/ 8481 w 16132"/>
                <a:gd name="T103" fmla="*/ 12012 h 14023"/>
                <a:gd name="T104" fmla="*/ 11910 w 16132"/>
                <a:gd name="T105" fmla="*/ 11295 h 14023"/>
                <a:gd name="T106" fmla="*/ 14530 w 16132"/>
                <a:gd name="T107" fmla="*/ 9606 h 14023"/>
                <a:gd name="T108" fmla="*/ 15968 w 16132"/>
                <a:gd name="T109" fmla="*/ 7221 h 14023"/>
                <a:gd name="T110" fmla="*/ 15878 w 16132"/>
                <a:gd name="T111" fmla="*/ 4508 h 14023"/>
                <a:gd name="T112" fmla="*/ 14290 w 16132"/>
                <a:gd name="T113" fmla="*/ 2188 h 14023"/>
                <a:gd name="T114" fmla="*/ 11563 w 16132"/>
                <a:gd name="T115" fmla="*/ 593 h 14023"/>
                <a:gd name="T116" fmla="*/ 8066 w 16132"/>
                <a:gd name="T117" fmla="*/ 0 h 14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132" h="14023">
                  <a:moveTo>
                    <a:pt x="8066" y="11018"/>
                  </a:moveTo>
                  <a:lnTo>
                    <a:pt x="7979" y="11018"/>
                  </a:lnTo>
                  <a:lnTo>
                    <a:pt x="7893" y="11016"/>
                  </a:lnTo>
                  <a:lnTo>
                    <a:pt x="7805" y="11014"/>
                  </a:lnTo>
                  <a:lnTo>
                    <a:pt x="7717" y="11012"/>
                  </a:lnTo>
                  <a:lnTo>
                    <a:pt x="7629" y="11008"/>
                  </a:lnTo>
                  <a:lnTo>
                    <a:pt x="7542" y="11003"/>
                  </a:lnTo>
                  <a:lnTo>
                    <a:pt x="7454" y="10998"/>
                  </a:lnTo>
                  <a:lnTo>
                    <a:pt x="7365" y="10992"/>
                  </a:lnTo>
                  <a:lnTo>
                    <a:pt x="7278" y="10985"/>
                  </a:lnTo>
                  <a:lnTo>
                    <a:pt x="7189" y="10978"/>
                  </a:lnTo>
                  <a:lnTo>
                    <a:pt x="7100" y="10969"/>
                  </a:lnTo>
                  <a:lnTo>
                    <a:pt x="7011" y="10960"/>
                  </a:lnTo>
                  <a:lnTo>
                    <a:pt x="6923" y="10950"/>
                  </a:lnTo>
                  <a:lnTo>
                    <a:pt x="6834" y="10939"/>
                  </a:lnTo>
                  <a:lnTo>
                    <a:pt x="6745" y="10927"/>
                  </a:lnTo>
                  <a:lnTo>
                    <a:pt x="6656" y="10914"/>
                  </a:lnTo>
                  <a:lnTo>
                    <a:pt x="6620" y="10910"/>
                  </a:lnTo>
                  <a:lnTo>
                    <a:pt x="6583" y="10906"/>
                  </a:lnTo>
                  <a:lnTo>
                    <a:pt x="6547" y="10904"/>
                  </a:lnTo>
                  <a:lnTo>
                    <a:pt x="6510" y="10903"/>
                  </a:lnTo>
                  <a:lnTo>
                    <a:pt x="6482" y="10904"/>
                  </a:lnTo>
                  <a:lnTo>
                    <a:pt x="6455" y="10905"/>
                  </a:lnTo>
                  <a:lnTo>
                    <a:pt x="6427" y="10907"/>
                  </a:lnTo>
                  <a:lnTo>
                    <a:pt x="6398" y="10910"/>
                  </a:lnTo>
                  <a:lnTo>
                    <a:pt x="6371" y="10913"/>
                  </a:lnTo>
                  <a:lnTo>
                    <a:pt x="6344" y="10917"/>
                  </a:lnTo>
                  <a:lnTo>
                    <a:pt x="6317" y="10922"/>
                  </a:lnTo>
                  <a:lnTo>
                    <a:pt x="6289" y="10928"/>
                  </a:lnTo>
                  <a:lnTo>
                    <a:pt x="6262" y="10934"/>
                  </a:lnTo>
                  <a:lnTo>
                    <a:pt x="6236" y="10941"/>
                  </a:lnTo>
                  <a:lnTo>
                    <a:pt x="6210" y="10949"/>
                  </a:lnTo>
                  <a:lnTo>
                    <a:pt x="6183" y="10958"/>
                  </a:lnTo>
                  <a:lnTo>
                    <a:pt x="6157" y="10967"/>
                  </a:lnTo>
                  <a:lnTo>
                    <a:pt x="6131" y="10977"/>
                  </a:lnTo>
                  <a:lnTo>
                    <a:pt x="6106" y="10988"/>
                  </a:lnTo>
                  <a:lnTo>
                    <a:pt x="6081" y="10999"/>
                  </a:lnTo>
                  <a:lnTo>
                    <a:pt x="6056" y="11011"/>
                  </a:lnTo>
                  <a:lnTo>
                    <a:pt x="6031" y="11024"/>
                  </a:lnTo>
                  <a:lnTo>
                    <a:pt x="6007" y="11037"/>
                  </a:lnTo>
                  <a:lnTo>
                    <a:pt x="5983" y="11051"/>
                  </a:lnTo>
                  <a:lnTo>
                    <a:pt x="5960" y="11066"/>
                  </a:lnTo>
                  <a:lnTo>
                    <a:pt x="5937" y="11081"/>
                  </a:lnTo>
                  <a:lnTo>
                    <a:pt x="5914" y="11097"/>
                  </a:lnTo>
                  <a:lnTo>
                    <a:pt x="5892" y="11114"/>
                  </a:lnTo>
                  <a:lnTo>
                    <a:pt x="5870" y="11131"/>
                  </a:lnTo>
                  <a:lnTo>
                    <a:pt x="5849" y="11149"/>
                  </a:lnTo>
                  <a:lnTo>
                    <a:pt x="5828" y="11167"/>
                  </a:lnTo>
                  <a:lnTo>
                    <a:pt x="5808" y="11187"/>
                  </a:lnTo>
                  <a:lnTo>
                    <a:pt x="5787" y="11206"/>
                  </a:lnTo>
                  <a:lnTo>
                    <a:pt x="5768" y="11227"/>
                  </a:lnTo>
                  <a:lnTo>
                    <a:pt x="5749" y="11248"/>
                  </a:lnTo>
                  <a:lnTo>
                    <a:pt x="5731" y="11269"/>
                  </a:lnTo>
                  <a:lnTo>
                    <a:pt x="5710" y="11296"/>
                  </a:lnTo>
                  <a:lnTo>
                    <a:pt x="5686" y="11323"/>
                  </a:lnTo>
                  <a:lnTo>
                    <a:pt x="5660" y="11352"/>
                  </a:lnTo>
                  <a:lnTo>
                    <a:pt x="5632" y="11382"/>
                  </a:lnTo>
                  <a:lnTo>
                    <a:pt x="5570" y="11448"/>
                  </a:lnTo>
                  <a:lnTo>
                    <a:pt x="5499" y="11518"/>
                  </a:lnTo>
                  <a:lnTo>
                    <a:pt x="5461" y="11556"/>
                  </a:lnTo>
                  <a:lnTo>
                    <a:pt x="5420" y="11594"/>
                  </a:lnTo>
                  <a:lnTo>
                    <a:pt x="5379" y="11633"/>
                  </a:lnTo>
                  <a:lnTo>
                    <a:pt x="5336" y="11674"/>
                  </a:lnTo>
                  <a:lnTo>
                    <a:pt x="5290" y="11715"/>
                  </a:lnTo>
                  <a:lnTo>
                    <a:pt x="5243" y="11757"/>
                  </a:lnTo>
                  <a:lnTo>
                    <a:pt x="5195" y="11799"/>
                  </a:lnTo>
                  <a:lnTo>
                    <a:pt x="5145" y="11842"/>
                  </a:lnTo>
                  <a:lnTo>
                    <a:pt x="5093" y="11886"/>
                  </a:lnTo>
                  <a:lnTo>
                    <a:pt x="5040" y="11931"/>
                  </a:lnTo>
                  <a:lnTo>
                    <a:pt x="4986" y="11975"/>
                  </a:lnTo>
                  <a:lnTo>
                    <a:pt x="4930" y="12020"/>
                  </a:lnTo>
                  <a:lnTo>
                    <a:pt x="4873" y="12065"/>
                  </a:lnTo>
                  <a:lnTo>
                    <a:pt x="4814" y="12109"/>
                  </a:lnTo>
                  <a:lnTo>
                    <a:pt x="4755" y="12154"/>
                  </a:lnTo>
                  <a:lnTo>
                    <a:pt x="4694" y="12199"/>
                  </a:lnTo>
                  <a:lnTo>
                    <a:pt x="4633" y="12243"/>
                  </a:lnTo>
                  <a:lnTo>
                    <a:pt x="4570" y="12287"/>
                  </a:lnTo>
                  <a:lnTo>
                    <a:pt x="4507" y="12331"/>
                  </a:lnTo>
                  <a:lnTo>
                    <a:pt x="4442" y="12374"/>
                  </a:lnTo>
                  <a:lnTo>
                    <a:pt x="4377" y="12417"/>
                  </a:lnTo>
                  <a:lnTo>
                    <a:pt x="4310" y="12459"/>
                  </a:lnTo>
                  <a:lnTo>
                    <a:pt x="4244" y="12501"/>
                  </a:lnTo>
                  <a:lnTo>
                    <a:pt x="4176" y="12542"/>
                  </a:lnTo>
                  <a:lnTo>
                    <a:pt x="4212" y="12456"/>
                  </a:lnTo>
                  <a:lnTo>
                    <a:pt x="4248" y="12371"/>
                  </a:lnTo>
                  <a:lnTo>
                    <a:pt x="4281" y="12284"/>
                  </a:lnTo>
                  <a:lnTo>
                    <a:pt x="4313" y="12196"/>
                  </a:lnTo>
                  <a:lnTo>
                    <a:pt x="4345" y="12107"/>
                  </a:lnTo>
                  <a:lnTo>
                    <a:pt x="4374" y="12017"/>
                  </a:lnTo>
                  <a:lnTo>
                    <a:pt x="4388" y="11971"/>
                  </a:lnTo>
                  <a:lnTo>
                    <a:pt x="4401" y="11926"/>
                  </a:lnTo>
                  <a:lnTo>
                    <a:pt x="4414" y="11879"/>
                  </a:lnTo>
                  <a:lnTo>
                    <a:pt x="4426" y="11833"/>
                  </a:lnTo>
                  <a:lnTo>
                    <a:pt x="4438" y="11787"/>
                  </a:lnTo>
                  <a:lnTo>
                    <a:pt x="4449" y="11740"/>
                  </a:lnTo>
                  <a:lnTo>
                    <a:pt x="4459" y="11694"/>
                  </a:lnTo>
                  <a:lnTo>
                    <a:pt x="4470" y="11647"/>
                  </a:lnTo>
                  <a:lnTo>
                    <a:pt x="4480" y="11600"/>
                  </a:lnTo>
                  <a:lnTo>
                    <a:pt x="4488" y="11553"/>
                  </a:lnTo>
                  <a:lnTo>
                    <a:pt x="4496" y="11506"/>
                  </a:lnTo>
                  <a:lnTo>
                    <a:pt x="4504" y="11458"/>
                  </a:lnTo>
                  <a:lnTo>
                    <a:pt x="4510" y="11411"/>
                  </a:lnTo>
                  <a:lnTo>
                    <a:pt x="4516" y="11363"/>
                  </a:lnTo>
                  <a:lnTo>
                    <a:pt x="4522" y="11315"/>
                  </a:lnTo>
                  <a:lnTo>
                    <a:pt x="4526" y="11266"/>
                  </a:lnTo>
                  <a:lnTo>
                    <a:pt x="4530" y="11218"/>
                  </a:lnTo>
                  <a:lnTo>
                    <a:pt x="4533" y="11170"/>
                  </a:lnTo>
                  <a:lnTo>
                    <a:pt x="4535" y="11121"/>
                  </a:lnTo>
                  <a:lnTo>
                    <a:pt x="4537" y="11073"/>
                  </a:lnTo>
                  <a:lnTo>
                    <a:pt x="4538" y="11049"/>
                  </a:lnTo>
                  <a:lnTo>
                    <a:pt x="4540" y="11025"/>
                  </a:lnTo>
                  <a:lnTo>
                    <a:pt x="4541" y="11002"/>
                  </a:lnTo>
                  <a:lnTo>
                    <a:pt x="4541" y="10981"/>
                  </a:lnTo>
                  <a:lnTo>
                    <a:pt x="4540" y="10946"/>
                  </a:lnTo>
                  <a:lnTo>
                    <a:pt x="4539" y="10911"/>
                  </a:lnTo>
                  <a:lnTo>
                    <a:pt x="4536" y="10876"/>
                  </a:lnTo>
                  <a:lnTo>
                    <a:pt x="4531" y="10842"/>
                  </a:lnTo>
                  <a:lnTo>
                    <a:pt x="4526" y="10808"/>
                  </a:lnTo>
                  <a:lnTo>
                    <a:pt x="4519" y="10774"/>
                  </a:lnTo>
                  <a:lnTo>
                    <a:pt x="4512" y="10741"/>
                  </a:lnTo>
                  <a:lnTo>
                    <a:pt x="4503" y="10707"/>
                  </a:lnTo>
                  <a:lnTo>
                    <a:pt x="4493" y="10675"/>
                  </a:lnTo>
                  <a:lnTo>
                    <a:pt x="4482" y="10641"/>
                  </a:lnTo>
                  <a:lnTo>
                    <a:pt x="4470" y="10610"/>
                  </a:lnTo>
                  <a:lnTo>
                    <a:pt x="4456" y="10578"/>
                  </a:lnTo>
                  <a:lnTo>
                    <a:pt x="4442" y="10547"/>
                  </a:lnTo>
                  <a:lnTo>
                    <a:pt x="4426" y="10517"/>
                  </a:lnTo>
                  <a:lnTo>
                    <a:pt x="4410" y="10487"/>
                  </a:lnTo>
                  <a:lnTo>
                    <a:pt x="4393" y="10458"/>
                  </a:lnTo>
                  <a:lnTo>
                    <a:pt x="4375" y="10429"/>
                  </a:lnTo>
                  <a:lnTo>
                    <a:pt x="4356" y="10401"/>
                  </a:lnTo>
                  <a:lnTo>
                    <a:pt x="4334" y="10374"/>
                  </a:lnTo>
                  <a:lnTo>
                    <a:pt x="4313" y="10347"/>
                  </a:lnTo>
                  <a:lnTo>
                    <a:pt x="4291" y="10321"/>
                  </a:lnTo>
                  <a:lnTo>
                    <a:pt x="4269" y="10296"/>
                  </a:lnTo>
                  <a:lnTo>
                    <a:pt x="4245" y="10271"/>
                  </a:lnTo>
                  <a:lnTo>
                    <a:pt x="4220" y="10248"/>
                  </a:lnTo>
                  <a:lnTo>
                    <a:pt x="4194" y="10225"/>
                  </a:lnTo>
                  <a:lnTo>
                    <a:pt x="4168" y="10203"/>
                  </a:lnTo>
                  <a:lnTo>
                    <a:pt x="4140" y="10182"/>
                  </a:lnTo>
                  <a:lnTo>
                    <a:pt x="4112" y="10161"/>
                  </a:lnTo>
                  <a:lnTo>
                    <a:pt x="4083" y="10142"/>
                  </a:lnTo>
                  <a:lnTo>
                    <a:pt x="4053" y="10123"/>
                  </a:lnTo>
                  <a:lnTo>
                    <a:pt x="4023" y="10106"/>
                  </a:lnTo>
                  <a:lnTo>
                    <a:pt x="3992" y="10089"/>
                  </a:lnTo>
                  <a:lnTo>
                    <a:pt x="3819" y="9998"/>
                  </a:lnTo>
                  <a:lnTo>
                    <a:pt x="3650" y="9904"/>
                  </a:lnTo>
                  <a:lnTo>
                    <a:pt x="3487" y="9807"/>
                  </a:lnTo>
                  <a:lnTo>
                    <a:pt x="3327" y="9707"/>
                  </a:lnTo>
                  <a:lnTo>
                    <a:pt x="3173" y="9604"/>
                  </a:lnTo>
                  <a:lnTo>
                    <a:pt x="3023" y="9499"/>
                  </a:lnTo>
                  <a:lnTo>
                    <a:pt x="2878" y="9389"/>
                  </a:lnTo>
                  <a:lnTo>
                    <a:pt x="2737" y="9277"/>
                  </a:lnTo>
                  <a:lnTo>
                    <a:pt x="2602" y="9163"/>
                  </a:lnTo>
                  <a:lnTo>
                    <a:pt x="2472" y="9046"/>
                  </a:lnTo>
                  <a:lnTo>
                    <a:pt x="2346" y="8927"/>
                  </a:lnTo>
                  <a:lnTo>
                    <a:pt x="2226" y="8805"/>
                  </a:lnTo>
                  <a:lnTo>
                    <a:pt x="2112" y="8681"/>
                  </a:lnTo>
                  <a:lnTo>
                    <a:pt x="2002" y="8555"/>
                  </a:lnTo>
                  <a:lnTo>
                    <a:pt x="1899" y="8427"/>
                  </a:lnTo>
                  <a:lnTo>
                    <a:pt x="1800" y="8297"/>
                  </a:lnTo>
                  <a:lnTo>
                    <a:pt x="1706" y="8163"/>
                  </a:lnTo>
                  <a:lnTo>
                    <a:pt x="1618" y="8030"/>
                  </a:lnTo>
                  <a:lnTo>
                    <a:pt x="1537" y="7894"/>
                  </a:lnTo>
                  <a:lnTo>
                    <a:pt x="1460" y="7757"/>
                  </a:lnTo>
                  <a:lnTo>
                    <a:pt x="1388" y="7617"/>
                  </a:lnTo>
                  <a:lnTo>
                    <a:pt x="1324" y="7476"/>
                  </a:lnTo>
                  <a:lnTo>
                    <a:pt x="1264" y="7335"/>
                  </a:lnTo>
                  <a:lnTo>
                    <a:pt x="1212" y="7192"/>
                  </a:lnTo>
                  <a:lnTo>
                    <a:pt x="1165" y="7047"/>
                  </a:lnTo>
                  <a:lnTo>
                    <a:pt x="1123" y="6901"/>
                  </a:lnTo>
                  <a:lnTo>
                    <a:pt x="1089" y="6755"/>
                  </a:lnTo>
                  <a:lnTo>
                    <a:pt x="1060" y="6608"/>
                  </a:lnTo>
                  <a:lnTo>
                    <a:pt x="1037" y="6459"/>
                  </a:lnTo>
                  <a:lnTo>
                    <a:pt x="1021" y="6309"/>
                  </a:lnTo>
                  <a:lnTo>
                    <a:pt x="1011" y="6160"/>
                  </a:lnTo>
                  <a:lnTo>
                    <a:pt x="1008" y="6010"/>
                  </a:lnTo>
                  <a:lnTo>
                    <a:pt x="1017" y="5752"/>
                  </a:lnTo>
                  <a:lnTo>
                    <a:pt x="1045" y="5498"/>
                  </a:lnTo>
                  <a:lnTo>
                    <a:pt x="1090" y="5248"/>
                  </a:lnTo>
                  <a:lnTo>
                    <a:pt x="1151" y="5002"/>
                  </a:lnTo>
                  <a:lnTo>
                    <a:pt x="1231" y="4760"/>
                  </a:lnTo>
                  <a:lnTo>
                    <a:pt x="1326" y="4522"/>
                  </a:lnTo>
                  <a:lnTo>
                    <a:pt x="1437" y="4290"/>
                  </a:lnTo>
                  <a:lnTo>
                    <a:pt x="1564" y="4063"/>
                  </a:lnTo>
                  <a:lnTo>
                    <a:pt x="1705" y="3840"/>
                  </a:lnTo>
                  <a:lnTo>
                    <a:pt x="1861" y="3625"/>
                  </a:lnTo>
                  <a:lnTo>
                    <a:pt x="2032" y="3415"/>
                  </a:lnTo>
                  <a:lnTo>
                    <a:pt x="2215" y="3211"/>
                  </a:lnTo>
                  <a:lnTo>
                    <a:pt x="2412" y="3015"/>
                  </a:lnTo>
                  <a:lnTo>
                    <a:pt x="2621" y="2826"/>
                  </a:lnTo>
                  <a:lnTo>
                    <a:pt x="2844" y="2644"/>
                  </a:lnTo>
                  <a:lnTo>
                    <a:pt x="3078" y="2470"/>
                  </a:lnTo>
                  <a:lnTo>
                    <a:pt x="3323" y="2304"/>
                  </a:lnTo>
                  <a:lnTo>
                    <a:pt x="3579" y="2147"/>
                  </a:lnTo>
                  <a:lnTo>
                    <a:pt x="3845" y="1998"/>
                  </a:lnTo>
                  <a:lnTo>
                    <a:pt x="4123" y="1858"/>
                  </a:lnTo>
                  <a:lnTo>
                    <a:pt x="4409" y="1728"/>
                  </a:lnTo>
                  <a:lnTo>
                    <a:pt x="4704" y="1607"/>
                  </a:lnTo>
                  <a:lnTo>
                    <a:pt x="5009" y="1496"/>
                  </a:lnTo>
                  <a:lnTo>
                    <a:pt x="5322" y="1395"/>
                  </a:lnTo>
                  <a:lnTo>
                    <a:pt x="5642" y="1306"/>
                  </a:lnTo>
                  <a:lnTo>
                    <a:pt x="5970" y="1227"/>
                  </a:lnTo>
                  <a:lnTo>
                    <a:pt x="6305" y="1160"/>
                  </a:lnTo>
                  <a:lnTo>
                    <a:pt x="6645" y="1104"/>
                  </a:lnTo>
                  <a:lnTo>
                    <a:pt x="6992" y="1060"/>
                  </a:lnTo>
                  <a:lnTo>
                    <a:pt x="7345" y="1028"/>
                  </a:lnTo>
                  <a:lnTo>
                    <a:pt x="7703" y="1008"/>
                  </a:lnTo>
                  <a:lnTo>
                    <a:pt x="8066" y="1002"/>
                  </a:lnTo>
                  <a:lnTo>
                    <a:pt x="8429" y="1008"/>
                  </a:lnTo>
                  <a:lnTo>
                    <a:pt x="8787" y="1028"/>
                  </a:lnTo>
                  <a:lnTo>
                    <a:pt x="9140" y="1060"/>
                  </a:lnTo>
                  <a:lnTo>
                    <a:pt x="9487" y="1104"/>
                  </a:lnTo>
                  <a:lnTo>
                    <a:pt x="9827" y="1160"/>
                  </a:lnTo>
                  <a:lnTo>
                    <a:pt x="10162" y="1227"/>
                  </a:lnTo>
                  <a:lnTo>
                    <a:pt x="10490" y="1306"/>
                  </a:lnTo>
                  <a:lnTo>
                    <a:pt x="10810" y="1395"/>
                  </a:lnTo>
                  <a:lnTo>
                    <a:pt x="11123" y="1496"/>
                  </a:lnTo>
                  <a:lnTo>
                    <a:pt x="11428" y="1607"/>
                  </a:lnTo>
                  <a:lnTo>
                    <a:pt x="11723" y="1728"/>
                  </a:lnTo>
                  <a:lnTo>
                    <a:pt x="12009" y="1858"/>
                  </a:lnTo>
                  <a:lnTo>
                    <a:pt x="12287" y="1998"/>
                  </a:lnTo>
                  <a:lnTo>
                    <a:pt x="12553" y="2147"/>
                  </a:lnTo>
                  <a:lnTo>
                    <a:pt x="12809" y="2304"/>
                  </a:lnTo>
                  <a:lnTo>
                    <a:pt x="13054" y="2470"/>
                  </a:lnTo>
                  <a:lnTo>
                    <a:pt x="13288" y="2644"/>
                  </a:lnTo>
                  <a:lnTo>
                    <a:pt x="13511" y="2826"/>
                  </a:lnTo>
                  <a:lnTo>
                    <a:pt x="13720" y="3015"/>
                  </a:lnTo>
                  <a:lnTo>
                    <a:pt x="13917" y="3211"/>
                  </a:lnTo>
                  <a:lnTo>
                    <a:pt x="14100" y="3415"/>
                  </a:lnTo>
                  <a:lnTo>
                    <a:pt x="14271" y="3625"/>
                  </a:lnTo>
                  <a:lnTo>
                    <a:pt x="14427" y="3840"/>
                  </a:lnTo>
                  <a:lnTo>
                    <a:pt x="14568" y="4063"/>
                  </a:lnTo>
                  <a:lnTo>
                    <a:pt x="14695" y="4290"/>
                  </a:lnTo>
                  <a:lnTo>
                    <a:pt x="14806" y="4522"/>
                  </a:lnTo>
                  <a:lnTo>
                    <a:pt x="14901" y="4760"/>
                  </a:lnTo>
                  <a:lnTo>
                    <a:pt x="14981" y="5002"/>
                  </a:lnTo>
                  <a:lnTo>
                    <a:pt x="15042" y="5248"/>
                  </a:lnTo>
                  <a:lnTo>
                    <a:pt x="15087" y="5498"/>
                  </a:lnTo>
                  <a:lnTo>
                    <a:pt x="15115" y="5752"/>
                  </a:lnTo>
                  <a:lnTo>
                    <a:pt x="15124" y="6010"/>
                  </a:lnTo>
                  <a:lnTo>
                    <a:pt x="15115" y="6267"/>
                  </a:lnTo>
                  <a:lnTo>
                    <a:pt x="15087" y="6521"/>
                  </a:lnTo>
                  <a:lnTo>
                    <a:pt x="15042" y="6771"/>
                  </a:lnTo>
                  <a:lnTo>
                    <a:pt x="14981" y="7018"/>
                  </a:lnTo>
                  <a:lnTo>
                    <a:pt x="14901" y="7260"/>
                  </a:lnTo>
                  <a:lnTo>
                    <a:pt x="14806" y="7497"/>
                  </a:lnTo>
                  <a:lnTo>
                    <a:pt x="14695" y="7730"/>
                  </a:lnTo>
                  <a:lnTo>
                    <a:pt x="14568" y="7957"/>
                  </a:lnTo>
                  <a:lnTo>
                    <a:pt x="14427" y="8179"/>
                  </a:lnTo>
                  <a:lnTo>
                    <a:pt x="14271" y="8395"/>
                  </a:lnTo>
                  <a:lnTo>
                    <a:pt x="14100" y="8605"/>
                  </a:lnTo>
                  <a:lnTo>
                    <a:pt x="13917" y="8807"/>
                  </a:lnTo>
                  <a:lnTo>
                    <a:pt x="13720" y="9005"/>
                  </a:lnTo>
                  <a:lnTo>
                    <a:pt x="13511" y="9194"/>
                  </a:lnTo>
                  <a:lnTo>
                    <a:pt x="13288" y="9375"/>
                  </a:lnTo>
                  <a:lnTo>
                    <a:pt x="13054" y="9550"/>
                  </a:lnTo>
                  <a:lnTo>
                    <a:pt x="12809" y="9715"/>
                  </a:lnTo>
                  <a:lnTo>
                    <a:pt x="12553" y="9873"/>
                  </a:lnTo>
                  <a:lnTo>
                    <a:pt x="12287" y="10021"/>
                  </a:lnTo>
                  <a:lnTo>
                    <a:pt x="12009" y="10162"/>
                  </a:lnTo>
                  <a:lnTo>
                    <a:pt x="11723" y="10292"/>
                  </a:lnTo>
                  <a:lnTo>
                    <a:pt x="11428" y="10413"/>
                  </a:lnTo>
                  <a:lnTo>
                    <a:pt x="11123" y="10523"/>
                  </a:lnTo>
                  <a:lnTo>
                    <a:pt x="10810" y="10623"/>
                  </a:lnTo>
                  <a:lnTo>
                    <a:pt x="10490" y="10714"/>
                  </a:lnTo>
                  <a:lnTo>
                    <a:pt x="10162" y="10793"/>
                  </a:lnTo>
                  <a:lnTo>
                    <a:pt x="9827" y="10860"/>
                  </a:lnTo>
                  <a:lnTo>
                    <a:pt x="9487" y="10916"/>
                  </a:lnTo>
                  <a:lnTo>
                    <a:pt x="9140" y="10960"/>
                  </a:lnTo>
                  <a:lnTo>
                    <a:pt x="8787" y="10992"/>
                  </a:lnTo>
                  <a:lnTo>
                    <a:pt x="8429" y="11011"/>
                  </a:lnTo>
                  <a:lnTo>
                    <a:pt x="8066" y="11018"/>
                  </a:lnTo>
                  <a:close/>
                  <a:moveTo>
                    <a:pt x="8066" y="0"/>
                  </a:moveTo>
                  <a:lnTo>
                    <a:pt x="7651" y="8"/>
                  </a:lnTo>
                  <a:lnTo>
                    <a:pt x="7241" y="31"/>
                  </a:lnTo>
                  <a:lnTo>
                    <a:pt x="6838" y="69"/>
                  </a:lnTo>
                  <a:lnTo>
                    <a:pt x="6441" y="122"/>
                  </a:lnTo>
                  <a:lnTo>
                    <a:pt x="6051" y="189"/>
                  </a:lnTo>
                  <a:lnTo>
                    <a:pt x="5667" y="270"/>
                  </a:lnTo>
                  <a:lnTo>
                    <a:pt x="5292" y="365"/>
                  </a:lnTo>
                  <a:lnTo>
                    <a:pt x="4926" y="473"/>
                  </a:lnTo>
                  <a:lnTo>
                    <a:pt x="4569" y="593"/>
                  </a:lnTo>
                  <a:lnTo>
                    <a:pt x="4222" y="725"/>
                  </a:lnTo>
                  <a:lnTo>
                    <a:pt x="3884" y="870"/>
                  </a:lnTo>
                  <a:lnTo>
                    <a:pt x="3556" y="1027"/>
                  </a:lnTo>
                  <a:lnTo>
                    <a:pt x="3240" y="1194"/>
                  </a:lnTo>
                  <a:lnTo>
                    <a:pt x="2935" y="1372"/>
                  </a:lnTo>
                  <a:lnTo>
                    <a:pt x="2643" y="1562"/>
                  </a:lnTo>
                  <a:lnTo>
                    <a:pt x="2362" y="1760"/>
                  </a:lnTo>
                  <a:lnTo>
                    <a:pt x="2095" y="1969"/>
                  </a:lnTo>
                  <a:lnTo>
                    <a:pt x="1842" y="2188"/>
                  </a:lnTo>
                  <a:lnTo>
                    <a:pt x="1602" y="2414"/>
                  </a:lnTo>
                  <a:lnTo>
                    <a:pt x="1377" y="2649"/>
                  </a:lnTo>
                  <a:lnTo>
                    <a:pt x="1168" y="2894"/>
                  </a:lnTo>
                  <a:lnTo>
                    <a:pt x="974" y="3145"/>
                  </a:lnTo>
                  <a:lnTo>
                    <a:pt x="796" y="3405"/>
                  </a:lnTo>
                  <a:lnTo>
                    <a:pt x="634" y="3671"/>
                  </a:lnTo>
                  <a:lnTo>
                    <a:pt x="489" y="3943"/>
                  </a:lnTo>
                  <a:lnTo>
                    <a:pt x="363" y="4223"/>
                  </a:lnTo>
                  <a:lnTo>
                    <a:pt x="254" y="4508"/>
                  </a:lnTo>
                  <a:lnTo>
                    <a:pt x="163" y="4799"/>
                  </a:lnTo>
                  <a:lnTo>
                    <a:pt x="93" y="5094"/>
                  </a:lnTo>
                  <a:lnTo>
                    <a:pt x="41" y="5396"/>
                  </a:lnTo>
                  <a:lnTo>
                    <a:pt x="10" y="5700"/>
                  </a:lnTo>
                  <a:lnTo>
                    <a:pt x="0" y="6010"/>
                  </a:lnTo>
                  <a:lnTo>
                    <a:pt x="4" y="6203"/>
                  </a:lnTo>
                  <a:lnTo>
                    <a:pt x="16" y="6394"/>
                  </a:lnTo>
                  <a:lnTo>
                    <a:pt x="36" y="6584"/>
                  </a:lnTo>
                  <a:lnTo>
                    <a:pt x="65" y="6772"/>
                  </a:lnTo>
                  <a:lnTo>
                    <a:pt x="100" y="6958"/>
                  </a:lnTo>
                  <a:lnTo>
                    <a:pt x="143" y="7144"/>
                  </a:lnTo>
                  <a:lnTo>
                    <a:pt x="195" y="7326"/>
                  </a:lnTo>
                  <a:lnTo>
                    <a:pt x="252" y="7506"/>
                  </a:lnTo>
                  <a:lnTo>
                    <a:pt x="318" y="7685"/>
                  </a:lnTo>
                  <a:lnTo>
                    <a:pt x="390" y="7861"/>
                  </a:lnTo>
                  <a:lnTo>
                    <a:pt x="470" y="8034"/>
                  </a:lnTo>
                  <a:lnTo>
                    <a:pt x="556" y="8205"/>
                  </a:lnTo>
                  <a:lnTo>
                    <a:pt x="648" y="8375"/>
                  </a:lnTo>
                  <a:lnTo>
                    <a:pt x="748" y="8541"/>
                  </a:lnTo>
                  <a:lnTo>
                    <a:pt x="855" y="8704"/>
                  </a:lnTo>
                  <a:lnTo>
                    <a:pt x="967" y="8865"/>
                  </a:lnTo>
                  <a:lnTo>
                    <a:pt x="1086" y="9023"/>
                  </a:lnTo>
                  <a:lnTo>
                    <a:pt x="1211" y="9177"/>
                  </a:lnTo>
                  <a:lnTo>
                    <a:pt x="1341" y="9329"/>
                  </a:lnTo>
                  <a:lnTo>
                    <a:pt x="1478" y="9478"/>
                  </a:lnTo>
                  <a:lnTo>
                    <a:pt x="1620" y="9623"/>
                  </a:lnTo>
                  <a:lnTo>
                    <a:pt x="1768" y="9765"/>
                  </a:lnTo>
                  <a:lnTo>
                    <a:pt x="1923" y="9903"/>
                  </a:lnTo>
                  <a:lnTo>
                    <a:pt x="2081" y="10038"/>
                  </a:lnTo>
                  <a:lnTo>
                    <a:pt x="2245" y="10170"/>
                  </a:lnTo>
                  <a:lnTo>
                    <a:pt x="2415" y="10298"/>
                  </a:lnTo>
                  <a:lnTo>
                    <a:pt x="2590" y="10421"/>
                  </a:lnTo>
                  <a:lnTo>
                    <a:pt x="2769" y="10541"/>
                  </a:lnTo>
                  <a:lnTo>
                    <a:pt x="2953" y="10657"/>
                  </a:lnTo>
                  <a:lnTo>
                    <a:pt x="3142" y="10770"/>
                  </a:lnTo>
                  <a:lnTo>
                    <a:pt x="3335" y="10878"/>
                  </a:lnTo>
                  <a:lnTo>
                    <a:pt x="3533" y="10981"/>
                  </a:lnTo>
                  <a:lnTo>
                    <a:pt x="3532" y="10990"/>
                  </a:lnTo>
                  <a:lnTo>
                    <a:pt x="3531" y="10999"/>
                  </a:lnTo>
                  <a:lnTo>
                    <a:pt x="3530" y="11008"/>
                  </a:lnTo>
                  <a:lnTo>
                    <a:pt x="3529" y="11018"/>
                  </a:lnTo>
                  <a:lnTo>
                    <a:pt x="3527" y="11102"/>
                  </a:lnTo>
                  <a:lnTo>
                    <a:pt x="3521" y="11187"/>
                  </a:lnTo>
                  <a:lnTo>
                    <a:pt x="3512" y="11271"/>
                  </a:lnTo>
                  <a:lnTo>
                    <a:pt x="3500" y="11357"/>
                  </a:lnTo>
                  <a:lnTo>
                    <a:pt x="3484" y="11442"/>
                  </a:lnTo>
                  <a:lnTo>
                    <a:pt x="3464" y="11527"/>
                  </a:lnTo>
                  <a:lnTo>
                    <a:pt x="3443" y="11612"/>
                  </a:lnTo>
                  <a:lnTo>
                    <a:pt x="3419" y="11696"/>
                  </a:lnTo>
                  <a:lnTo>
                    <a:pt x="3392" y="11780"/>
                  </a:lnTo>
                  <a:lnTo>
                    <a:pt x="3364" y="11863"/>
                  </a:lnTo>
                  <a:lnTo>
                    <a:pt x="3332" y="11947"/>
                  </a:lnTo>
                  <a:lnTo>
                    <a:pt x="3300" y="12030"/>
                  </a:lnTo>
                  <a:lnTo>
                    <a:pt x="3266" y="12111"/>
                  </a:lnTo>
                  <a:lnTo>
                    <a:pt x="3229" y="12192"/>
                  </a:lnTo>
                  <a:lnTo>
                    <a:pt x="3192" y="12271"/>
                  </a:lnTo>
                  <a:lnTo>
                    <a:pt x="3155" y="12350"/>
                  </a:lnTo>
                  <a:lnTo>
                    <a:pt x="3115" y="12428"/>
                  </a:lnTo>
                  <a:lnTo>
                    <a:pt x="3075" y="12505"/>
                  </a:lnTo>
                  <a:lnTo>
                    <a:pt x="3036" y="12580"/>
                  </a:lnTo>
                  <a:lnTo>
                    <a:pt x="2995" y="12653"/>
                  </a:lnTo>
                  <a:lnTo>
                    <a:pt x="2954" y="12726"/>
                  </a:lnTo>
                  <a:lnTo>
                    <a:pt x="2914" y="12796"/>
                  </a:lnTo>
                  <a:lnTo>
                    <a:pt x="2874" y="12864"/>
                  </a:lnTo>
                  <a:lnTo>
                    <a:pt x="2834" y="12931"/>
                  </a:lnTo>
                  <a:lnTo>
                    <a:pt x="2757" y="13059"/>
                  </a:lnTo>
                  <a:lnTo>
                    <a:pt x="2684" y="13180"/>
                  </a:lnTo>
                  <a:lnTo>
                    <a:pt x="2616" y="13290"/>
                  </a:lnTo>
                  <a:lnTo>
                    <a:pt x="2557" y="13390"/>
                  </a:lnTo>
                  <a:lnTo>
                    <a:pt x="2558" y="13390"/>
                  </a:lnTo>
                  <a:lnTo>
                    <a:pt x="2550" y="13411"/>
                  </a:lnTo>
                  <a:lnTo>
                    <a:pt x="2542" y="13432"/>
                  </a:lnTo>
                  <a:lnTo>
                    <a:pt x="2536" y="13454"/>
                  </a:lnTo>
                  <a:lnTo>
                    <a:pt x="2531" y="13476"/>
                  </a:lnTo>
                  <a:lnTo>
                    <a:pt x="2527" y="13499"/>
                  </a:lnTo>
                  <a:lnTo>
                    <a:pt x="2523" y="13522"/>
                  </a:lnTo>
                  <a:lnTo>
                    <a:pt x="2522" y="13545"/>
                  </a:lnTo>
                  <a:lnTo>
                    <a:pt x="2521" y="13569"/>
                  </a:lnTo>
                  <a:lnTo>
                    <a:pt x="2522" y="13592"/>
                  </a:lnTo>
                  <a:lnTo>
                    <a:pt x="2523" y="13615"/>
                  </a:lnTo>
                  <a:lnTo>
                    <a:pt x="2526" y="13638"/>
                  </a:lnTo>
                  <a:lnTo>
                    <a:pt x="2530" y="13660"/>
                  </a:lnTo>
                  <a:lnTo>
                    <a:pt x="2535" y="13682"/>
                  </a:lnTo>
                  <a:lnTo>
                    <a:pt x="2541" y="13704"/>
                  </a:lnTo>
                  <a:lnTo>
                    <a:pt x="2548" y="13726"/>
                  </a:lnTo>
                  <a:lnTo>
                    <a:pt x="2556" y="13746"/>
                  </a:lnTo>
                  <a:lnTo>
                    <a:pt x="2566" y="13766"/>
                  </a:lnTo>
                  <a:lnTo>
                    <a:pt x="2576" y="13786"/>
                  </a:lnTo>
                  <a:lnTo>
                    <a:pt x="2586" y="13805"/>
                  </a:lnTo>
                  <a:lnTo>
                    <a:pt x="2598" y="13823"/>
                  </a:lnTo>
                  <a:lnTo>
                    <a:pt x="2611" y="13841"/>
                  </a:lnTo>
                  <a:lnTo>
                    <a:pt x="2624" y="13858"/>
                  </a:lnTo>
                  <a:lnTo>
                    <a:pt x="2640" y="13875"/>
                  </a:lnTo>
                  <a:lnTo>
                    <a:pt x="2655" y="13890"/>
                  </a:lnTo>
                  <a:lnTo>
                    <a:pt x="2670" y="13905"/>
                  </a:lnTo>
                  <a:lnTo>
                    <a:pt x="2687" y="13920"/>
                  </a:lnTo>
                  <a:lnTo>
                    <a:pt x="2704" y="13933"/>
                  </a:lnTo>
                  <a:lnTo>
                    <a:pt x="2722" y="13946"/>
                  </a:lnTo>
                  <a:lnTo>
                    <a:pt x="2740" y="13958"/>
                  </a:lnTo>
                  <a:lnTo>
                    <a:pt x="2760" y="13968"/>
                  </a:lnTo>
                  <a:lnTo>
                    <a:pt x="2779" y="13978"/>
                  </a:lnTo>
                  <a:lnTo>
                    <a:pt x="2800" y="13987"/>
                  </a:lnTo>
                  <a:lnTo>
                    <a:pt x="2820" y="13996"/>
                  </a:lnTo>
                  <a:lnTo>
                    <a:pt x="2841" y="14003"/>
                  </a:lnTo>
                  <a:lnTo>
                    <a:pt x="2863" y="14009"/>
                  </a:lnTo>
                  <a:lnTo>
                    <a:pt x="2886" y="14014"/>
                  </a:lnTo>
                  <a:lnTo>
                    <a:pt x="2908" y="14018"/>
                  </a:lnTo>
                  <a:lnTo>
                    <a:pt x="2931" y="14021"/>
                  </a:lnTo>
                  <a:lnTo>
                    <a:pt x="2954" y="14022"/>
                  </a:lnTo>
                  <a:lnTo>
                    <a:pt x="2977" y="14023"/>
                  </a:lnTo>
                  <a:lnTo>
                    <a:pt x="3018" y="14021"/>
                  </a:lnTo>
                  <a:lnTo>
                    <a:pt x="3060" y="14017"/>
                  </a:lnTo>
                  <a:lnTo>
                    <a:pt x="3078" y="14016"/>
                  </a:lnTo>
                  <a:lnTo>
                    <a:pt x="3093" y="14015"/>
                  </a:lnTo>
                  <a:lnTo>
                    <a:pt x="3099" y="14015"/>
                  </a:lnTo>
                  <a:lnTo>
                    <a:pt x="3103" y="14015"/>
                  </a:lnTo>
                  <a:lnTo>
                    <a:pt x="3105" y="14016"/>
                  </a:lnTo>
                  <a:lnTo>
                    <a:pt x="3106" y="14016"/>
                  </a:lnTo>
                  <a:lnTo>
                    <a:pt x="3254" y="13989"/>
                  </a:lnTo>
                  <a:lnTo>
                    <a:pt x="3400" y="13955"/>
                  </a:lnTo>
                  <a:lnTo>
                    <a:pt x="3546" y="13915"/>
                  </a:lnTo>
                  <a:lnTo>
                    <a:pt x="3690" y="13870"/>
                  </a:lnTo>
                  <a:lnTo>
                    <a:pt x="3833" y="13819"/>
                  </a:lnTo>
                  <a:lnTo>
                    <a:pt x="3976" y="13763"/>
                  </a:lnTo>
                  <a:lnTo>
                    <a:pt x="4116" y="13701"/>
                  </a:lnTo>
                  <a:lnTo>
                    <a:pt x="4254" y="13637"/>
                  </a:lnTo>
                  <a:lnTo>
                    <a:pt x="4390" y="13569"/>
                  </a:lnTo>
                  <a:lnTo>
                    <a:pt x="4524" y="13497"/>
                  </a:lnTo>
                  <a:lnTo>
                    <a:pt x="4656" y="13423"/>
                  </a:lnTo>
                  <a:lnTo>
                    <a:pt x="4784" y="13346"/>
                  </a:lnTo>
                  <a:lnTo>
                    <a:pt x="4910" y="13267"/>
                  </a:lnTo>
                  <a:lnTo>
                    <a:pt x="5033" y="13186"/>
                  </a:lnTo>
                  <a:lnTo>
                    <a:pt x="5153" y="13104"/>
                  </a:lnTo>
                  <a:lnTo>
                    <a:pt x="5269" y="13021"/>
                  </a:lnTo>
                  <a:lnTo>
                    <a:pt x="5382" y="12938"/>
                  </a:lnTo>
                  <a:lnTo>
                    <a:pt x="5491" y="12854"/>
                  </a:lnTo>
                  <a:lnTo>
                    <a:pt x="5596" y="12771"/>
                  </a:lnTo>
                  <a:lnTo>
                    <a:pt x="5697" y="12689"/>
                  </a:lnTo>
                  <a:lnTo>
                    <a:pt x="5793" y="12608"/>
                  </a:lnTo>
                  <a:lnTo>
                    <a:pt x="5885" y="12528"/>
                  </a:lnTo>
                  <a:lnTo>
                    <a:pt x="5972" y="12450"/>
                  </a:lnTo>
                  <a:lnTo>
                    <a:pt x="6055" y="12375"/>
                  </a:lnTo>
                  <a:lnTo>
                    <a:pt x="6131" y="12302"/>
                  </a:lnTo>
                  <a:lnTo>
                    <a:pt x="6203" y="12233"/>
                  </a:lnTo>
                  <a:lnTo>
                    <a:pt x="6269" y="12167"/>
                  </a:lnTo>
                  <a:lnTo>
                    <a:pt x="6330" y="12105"/>
                  </a:lnTo>
                  <a:lnTo>
                    <a:pt x="6384" y="12048"/>
                  </a:lnTo>
                  <a:lnTo>
                    <a:pt x="6433" y="11995"/>
                  </a:lnTo>
                  <a:lnTo>
                    <a:pt x="6475" y="11947"/>
                  </a:lnTo>
                  <a:lnTo>
                    <a:pt x="6510" y="11906"/>
                  </a:lnTo>
                  <a:lnTo>
                    <a:pt x="6605" y="11919"/>
                  </a:lnTo>
                  <a:lnTo>
                    <a:pt x="6700" y="11932"/>
                  </a:lnTo>
                  <a:lnTo>
                    <a:pt x="6796" y="11943"/>
                  </a:lnTo>
                  <a:lnTo>
                    <a:pt x="6891" y="11954"/>
                  </a:lnTo>
                  <a:lnTo>
                    <a:pt x="6987" y="11965"/>
                  </a:lnTo>
                  <a:lnTo>
                    <a:pt x="7083" y="11974"/>
                  </a:lnTo>
                  <a:lnTo>
                    <a:pt x="7180" y="11983"/>
                  </a:lnTo>
                  <a:lnTo>
                    <a:pt x="7278" y="11990"/>
                  </a:lnTo>
                  <a:lnTo>
                    <a:pt x="7374" y="11997"/>
                  </a:lnTo>
                  <a:lnTo>
                    <a:pt x="7472" y="12003"/>
                  </a:lnTo>
                  <a:lnTo>
                    <a:pt x="7571" y="12008"/>
                  </a:lnTo>
                  <a:lnTo>
                    <a:pt x="7669" y="12012"/>
                  </a:lnTo>
                  <a:lnTo>
                    <a:pt x="7768" y="12016"/>
                  </a:lnTo>
                  <a:lnTo>
                    <a:pt x="7867" y="12018"/>
                  </a:lnTo>
                  <a:lnTo>
                    <a:pt x="7966" y="12019"/>
                  </a:lnTo>
                  <a:lnTo>
                    <a:pt x="8066" y="12020"/>
                  </a:lnTo>
                  <a:lnTo>
                    <a:pt x="8481" y="12012"/>
                  </a:lnTo>
                  <a:lnTo>
                    <a:pt x="8891" y="11989"/>
                  </a:lnTo>
                  <a:lnTo>
                    <a:pt x="9294" y="11951"/>
                  </a:lnTo>
                  <a:lnTo>
                    <a:pt x="9691" y="11898"/>
                  </a:lnTo>
                  <a:lnTo>
                    <a:pt x="10081" y="11830"/>
                  </a:lnTo>
                  <a:lnTo>
                    <a:pt x="10465" y="11749"/>
                  </a:lnTo>
                  <a:lnTo>
                    <a:pt x="10840" y="11655"/>
                  </a:lnTo>
                  <a:lnTo>
                    <a:pt x="11206" y="11547"/>
                  </a:lnTo>
                  <a:lnTo>
                    <a:pt x="11563" y="11427"/>
                  </a:lnTo>
                  <a:lnTo>
                    <a:pt x="11910" y="11295"/>
                  </a:lnTo>
                  <a:lnTo>
                    <a:pt x="12248" y="11149"/>
                  </a:lnTo>
                  <a:lnTo>
                    <a:pt x="12576" y="10993"/>
                  </a:lnTo>
                  <a:lnTo>
                    <a:pt x="12891" y="10826"/>
                  </a:lnTo>
                  <a:lnTo>
                    <a:pt x="13197" y="10647"/>
                  </a:lnTo>
                  <a:lnTo>
                    <a:pt x="13489" y="10458"/>
                  </a:lnTo>
                  <a:lnTo>
                    <a:pt x="13770" y="10260"/>
                  </a:lnTo>
                  <a:lnTo>
                    <a:pt x="14037" y="10050"/>
                  </a:lnTo>
                  <a:lnTo>
                    <a:pt x="14290" y="9832"/>
                  </a:lnTo>
                  <a:lnTo>
                    <a:pt x="14530" y="9606"/>
                  </a:lnTo>
                  <a:lnTo>
                    <a:pt x="14755" y="9370"/>
                  </a:lnTo>
                  <a:lnTo>
                    <a:pt x="14964" y="9126"/>
                  </a:lnTo>
                  <a:lnTo>
                    <a:pt x="15158" y="8875"/>
                  </a:lnTo>
                  <a:lnTo>
                    <a:pt x="15336" y="8615"/>
                  </a:lnTo>
                  <a:lnTo>
                    <a:pt x="15498" y="8349"/>
                  </a:lnTo>
                  <a:lnTo>
                    <a:pt x="15643" y="8076"/>
                  </a:lnTo>
                  <a:lnTo>
                    <a:pt x="15769" y="7797"/>
                  </a:lnTo>
                  <a:lnTo>
                    <a:pt x="15878" y="7511"/>
                  </a:lnTo>
                  <a:lnTo>
                    <a:pt x="15968" y="7221"/>
                  </a:lnTo>
                  <a:lnTo>
                    <a:pt x="16039" y="6925"/>
                  </a:lnTo>
                  <a:lnTo>
                    <a:pt x="16091" y="6624"/>
                  </a:lnTo>
                  <a:lnTo>
                    <a:pt x="16122" y="6319"/>
                  </a:lnTo>
                  <a:lnTo>
                    <a:pt x="16132" y="6010"/>
                  </a:lnTo>
                  <a:lnTo>
                    <a:pt x="16122" y="5700"/>
                  </a:lnTo>
                  <a:lnTo>
                    <a:pt x="16091" y="5396"/>
                  </a:lnTo>
                  <a:lnTo>
                    <a:pt x="16039" y="5094"/>
                  </a:lnTo>
                  <a:lnTo>
                    <a:pt x="15968" y="4799"/>
                  </a:lnTo>
                  <a:lnTo>
                    <a:pt x="15878" y="4508"/>
                  </a:lnTo>
                  <a:lnTo>
                    <a:pt x="15769" y="4223"/>
                  </a:lnTo>
                  <a:lnTo>
                    <a:pt x="15643" y="3943"/>
                  </a:lnTo>
                  <a:lnTo>
                    <a:pt x="15498" y="3671"/>
                  </a:lnTo>
                  <a:lnTo>
                    <a:pt x="15336" y="3405"/>
                  </a:lnTo>
                  <a:lnTo>
                    <a:pt x="15158" y="3145"/>
                  </a:lnTo>
                  <a:lnTo>
                    <a:pt x="14964" y="2894"/>
                  </a:lnTo>
                  <a:lnTo>
                    <a:pt x="14755" y="2649"/>
                  </a:lnTo>
                  <a:lnTo>
                    <a:pt x="14530" y="2414"/>
                  </a:lnTo>
                  <a:lnTo>
                    <a:pt x="14290" y="2188"/>
                  </a:lnTo>
                  <a:lnTo>
                    <a:pt x="14037" y="1969"/>
                  </a:lnTo>
                  <a:lnTo>
                    <a:pt x="13770" y="1760"/>
                  </a:lnTo>
                  <a:lnTo>
                    <a:pt x="13489" y="1562"/>
                  </a:lnTo>
                  <a:lnTo>
                    <a:pt x="13197" y="1372"/>
                  </a:lnTo>
                  <a:lnTo>
                    <a:pt x="12891" y="1194"/>
                  </a:lnTo>
                  <a:lnTo>
                    <a:pt x="12576" y="1027"/>
                  </a:lnTo>
                  <a:lnTo>
                    <a:pt x="12248" y="870"/>
                  </a:lnTo>
                  <a:lnTo>
                    <a:pt x="11910" y="725"/>
                  </a:lnTo>
                  <a:lnTo>
                    <a:pt x="11563" y="593"/>
                  </a:lnTo>
                  <a:lnTo>
                    <a:pt x="11206" y="473"/>
                  </a:lnTo>
                  <a:lnTo>
                    <a:pt x="10840" y="365"/>
                  </a:lnTo>
                  <a:lnTo>
                    <a:pt x="10465" y="270"/>
                  </a:lnTo>
                  <a:lnTo>
                    <a:pt x="10081" y="189"/>
                  </a:lnTo>
                  <a:lnTo>
                    <a:pt x="9691" y="122"/>
                  </a:lnTo>
                  <a:lnTo>
                    <a:pt x="9294" y="69"/>
                  </a:lnTo>
                  <a:lnTo>
                    <a:pt x="8891" y="31"/>
                  </a:lnTo>
                  <a:lnTo>
                    <a:pt x="8481" y="8"/>
                  </a:lnTo>
                  <a:lnTo>
                    <a:pt x="80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69" name="ïśḻîḓè">
              <a:extLst>
                <a:ext uri="{FF2B5EF4-FFF2-40B4-BE49-F238E27FC236}">
                  <a16:creationId xmlns:a16="http://schemas.microsoft.com/office/drawing/2014/main" id="{9CCC753B-B879-4B44-AD64-6F0E9E986B18}"/>
                </a:ext>
              </a:extLst>
            </p:cNvPr>
            <p:cNvSpPr/>
            <p:nvPr/>
          </p:nvSpPr>
          <p:spPr bwMode="auto">
            <a:xfrm>
              <a:off x="8855979" y="1848262"/>
              <a:ext cx="415238" cy="402829"/>
            </a:xfrm>
            <a:custGeom>
              <a:avLst/>
              <a:gdLst>
                <a:gd name="T0" fmla="*/ 11715 w 16095"/>
                <a:gd name="T1" fmla="*/ 9432 h 15614"/>
                <a:gd name="T2" fmla="*/ 11598 w 16095"/>
                <a:gd name="T3" fmla="*/ 9669 h 15614"/>
                <a:gd name="T4" fmla="*/ 11540 w 16095"/>
                <a:gd name="T5" fmla="*/ 9924 h 15614"/>
                <a:gd name="T6" fmla="*/ 11544 w 16095"/>
                <a:gd name="T7" fmla="*/ 10189 h 15614"/>
                <a:gd name="T8" fmla="*/ 8441 w 16095"/>
                <a:gd name="T9" fmla="*/ 12438 h 15614"/>
                <a:gd name="T10" fmla="*/ 8156 w 16095"/>
                <a:gd name="T11" fmla="*/ 12375 h 15614"/>
                <a:gd name="T12" fmla="*/ 7866 w 16095"/>
                <a:gd name="T13" fmla="*/ 12384 h 15614"/>
                <a:gd name="T14" fmla="*/ 7586 w 16095"/>
                <a:gd name="T15" fmla="*/ 12464 h 15614"/>
                <a:gd name="T16" fmla="*/ 4558 w 16095"/>
                <a:gd name="T17" fmla="*/ 10123 h 15614"/>
                <a:gd name="T18" fmla="*/ 4547 w 16095"/>
                <a:gd name="T19" fmla="*/ 9859 h 15614"/>
                <a:gd name="T20" fmla="*/ 4473 w 16095"/>
                <a:gd name="T21" fmla="*/ 9607 h 15614"/>
                <a:gd name="T22" fmla="*/ 4342 w 16095"/>
                <a:gd name="T23" fmla="*/ 9376 h 15614"/>
                <a:gd name="T24" fmla="*/ 5386 w 16095"/>
                <a:gd name="T25" fmla="*/ 5551 h 15614"/>
                <a:gd name="T26" fmla="*/ 5658 w 16095"/>
                <a:gd name="T27" fmla="*/ 5467 h 15614"/>
                <a:gd name="T28" fmla="*/ 5899 w 16095"/>
                <a:gd name="T29" fmla="*/ 5323 h 15614"/>
                <a:gd name="T30" fmla="*/ 6097 w 16095"/>
                <a:gd name="T31" fmla="*/ 5126 h 15614"/>
                <a:gd name="T32" fmla="*/ 8048 w 16095"/>
                <a:gd name="T33" fmla="*/ 1134 h 15614"/>
                <a:gd name="T34" fmla="*/ 9998 w 16095"/>
                <a:gd name="T35" fmla="*/ 5126 h 15614"/>
                <a:gd name="T36" fmla="*/ 10196 w 16095"/>
                <a:gd name="T37" fmla="*/ 5323 h 15614"/>
                <a:gd name="T38" fmla="*/ 10437 w 16095"/>
                <a:gd name="T39" fmla="*/ 5467 h 15614"/>
                <a:gd name="T40" fmla="*/ 10708 w 16095"/>
                <a:gd name="T41" fmla="*/ 5551 h 15614"/>
                <a:gd name="T42" fmla="*/ 15973 w 16095"/>
                <a:gd name="T43" fmla="*/ 5675 h 15614"/>
                <a:gd name="T44" fmla="*/ 15794 w 16095"/>
                <a:gd name="T45" fmla="*/ 5421 h 15614"/>
                <a:gd name="T46" fmla="*/ 15554 w 16095"/>
                <a:gd name="T47" fmla="*/ 5223 h 15614"/>
                <a:gd name="T48" fmla="*/ 15266 w 16095"/>
                <a:gd name="T49" fmla="*/ 5094 h 15614"/>
                <a:gd name="T50" fmla="*/ 9061 w 16095"/>
                <a:gd name="T51" fmla="*/ 579 h 15614"/>
                <a:gd name="T52" fmla="*/ 8861 w 16095"/>
                <a:gd name="T53" fmla="*/ 324 h 15614"/>
                <a:gd name="T54" fmla="*/ 8601 w 16095"/>
                <a:gd name="T55" fmla="*/ 137 h 15614"/>
                <a:gd name="T56" fmla="*/ 8296 w 16095"/>
                <a:gd name="T57" fmla="*/ 26 h 15614"/>
                <a:gd name="T58" fmla="*/ 7963 w 16095"/>
                <a:gd name="T59" fmla="*/ 3 h 15614"/>
                <a:gd name="T60" fmla="*/ 7642 w 16095"/>
                <a:gd name="T61" fmla="*/ 72 h 15614"/>
                <a:gd name="T62" fmla="*/ 7357 w 16095"/>
                <a:gd name="T63" fmla="*/ 222 h 15614"/>
                <a:gd name="T64" fmla="*/ 7125 w 16095"/>
                <a:gd name="T65" fmla="*/ 444 h 15614"/>
                <a:gd name="T66" fmla="*/ 987 w 16095"/>
                <a:gd name="T67" fmla="*/ 5060 h 15614"/>
                <a:gd name="T68" fmla="*/ 680 w 16095"/>
                <a:gd name="T69" fmla="*/ 5150 h 15614"/>
                <a:gd name="T70" fmla="*/ 414 w 16095"/>
                <a:gd name="T71" fmla="*/ 5314 h 15614"/>
                <a:gd name="T72" fmla="*/ 203 w 16095"/>
                <a:gd name="T73" fmla="*/ 5541 h 15614"/>
                <a:gd name="T74" fmla="*/ 60 w 16095"/>
                <a:gd name="T75" fmla="*/ 5820 h 15614"/>
                <a:gd name="T76" fmla="*/ 1 w 16095"/>
                <a:gd name="T77" fmla="*/ 6128 h 15614"/>
                <a:gd name="T78" fmla="*/ 29 w 16095"/>
                <a:gd name="T79" fmla="*/ 6434 h 15614"/>
                <a:gd name="T80" fmla="*/ 141 w 16095"/>
                <a:gd name="T81" fmla="*/ 6721 h 15614"/>
                <a:gd name="T82" fmla="*/ 330 w 16095"/>
                <a:gd name="T83" fmla="*/ 6972 h 15614"/>
                <a:gd name="T84" fmla="*/ 2674 w 16095"/>
                <a:gd name="T85" fmla="*/ 14537 h 15614"/>
                <a:gd name="T86" fmla="*/ 2734 w 16095"/>
                <a:gd name="T87" fmla="*/ 14845 h 15614"/>
                <a:gd name="T88" fmla="*/ 2878 w 16095"/>
                <a:gd name="T89" fmla="*/ 15124 h 15614"/>
                <a:gd name="T90" fmla="*/ 3098 w 16095"/>
                <a:gd name="T91" fmla="*/ 15358 h 15614"/>
                <a:gd name="T92" fmla="*/ 3402 w 16095"/>
                <a:gd name="T93" fmla="*/ 15532 h 15614"/>
                <a:gd name="T94" fmla="*/ 3746 w 16095"/>
                <a:gd name="T95" fmla="*/ 15611 h 15614"/>
                <a:gd name="T96" fmla="*/ 4051 w 16095"/>
                <a:gd name="T97" fmla="*/ 15594 h 15614"/>
                <a:gd name="T98" fmla="*/ 4330 w 16095"/>
                <a:gd name="T99" fmla="*/ 15505 h 15614"/>
                <a:gd name="T100" fmla="*/ 11834 w 16095"/>
                <a:gd name="T101" fmla="*/ 15534 h 15614"/>
                <a:gd name="T102" fmla="*/ 12117 w 16095"/>
                <a:gd name="T103" fmla="*/ 15605 h 15614"/>
                <a:gd name="T104" fmla="*/ 12436 w 16095"/>
                <a:gd name="T105" fmla="*/ 15601 h 15614"/>
                <a:gd name="T106" fmla="*/ 12774 w 16095"/>
                <a:gd name="T107" fmla="*/ 15497 h 15614"/>
                <a:gd name="T108" fmla="*/ 13058 w 16095"/>
                <a:gd name="T109" fmla="*/ 15305 h 15614"/>
                <a:gd name="T110" fmla="*/ 13260 w 16095"/>
                <a:gd name="T111" fmla="*/ 15059 h 15614"/>
                <a:gd name="T112" fmla="*/ 13384 w 16095"/>
                <a:gd name="T113" fmla="*/ 14771 h 15614"/>
                <a:gd name="T114" fmla="*/ 13422 w 16095"/>
                <a:gd name="T115" fmla="*/ 14458 h 15614"/>
                <a:gd name="T116" fmla="*/ 15819 w 16095"/>
                <a:gd name="T117" fmla="*/ 6913 h 15614"/>
                <a:gd name="T118" fmla="*/ 15989 w 16095"/>
                <a:gd name="T119" fmla="*/ 6652 h 15614"/>
                <a:gd name="T120" fmla="*/ 16080 w 16095"/>
                <a:gd name="T121" fmla="*/ 6358 h 15614"/>
                <a:gd name="T122" fmla="*/ 16087 w 16095"/>
                <a:gd name="T123" fmla="*/ 6050 h 15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095" h="15614">
                  <a:moveTo>
                    <a:pt x="11864" y="9250"/>
                  </a:moveTo>
                  <a:lnTo>
                    <a:pt x="11840" y="9274"/>
                  </a:lnTo>
                  <a:lnTo>
                    <a:pt x="11817" y="9299"/>
                  </a:lnTo>
                  <a:lnTo>
                    <a:pt x="11796" y="9324"/>
                  </a:lnTo>
                  <a:lnTo>
                    <a:pt x="11773" y="9350"/>
                  </a:lnTo>
                  <a:lnTo>
                    <a:pt x="11753" y="9376"/>
                  </a:lnTo>
                  <a:lnTo>
                    <a:pt x="11734" y="9404"/>
                  </a:lnTo>
                  <a:lnTo>
                    <a:pt x="11715" y="9432"/>
                  </a:lnTo>
                  <a:lnTo>
                    <a:pt x="11698" y="9460"/>
                  </a:lnTo>
                  <a:lnTo>
                    <a:pt x="11681" y="9488"/>
                  </a:lnTo>
                  <a:lnTo>
                    <a:pt x="11665" y="9517"/>
                  </a:lnTo>
                  <a:lnTo>
                    <a:pt x="11650" y="9547"/>
                  </a:lnTo>
                  <a:lnTo>
                    <a:pt x="11636" y="9577"/>
                  </a:lnTo>
                  <a:lnTo>
                    <a:pt x="11623" y="9607"/>
                  </a:lnTo>
                  <a:lnTo>
                    <a:pt x="11610" y="9637"/>
                  </a:lnTo>
                  <a:lnTo>
                    <a:pt x="11598" y="9669"/>
                  </a:lnTo>
                  <a:lnTo>
                    <a:pt x="11587" y="9700"/>
                  </a:lnTo>
                  <a:lnTo>
                    <a:pt x="11578" y="9731"/>
                  </a:lnTo>
                  <a:lnTo>
                    <a:pt x="11569" y="9762"/>
                  </a:lnTo>
                  <a:lnTo>
                    <a:pt x="11561" y="9795"/>
                  </a:lnTo>
                  <a:lnTo>
                    <a:pt x="11554" y="9827"/>
                  </a:lnTo>
                  <a:lnTo>
                    <a:pt x="11549" y="9859"/>
                  </a:lnTo>
                  <a:lnTo>
                    <a:pt x="11544" y="9891"/>
                  </a:lnTo>
                  <a:lnTo>
                    <a:pt x="11540" y="9924"/>
                  </a:lnTo>
                  <a:lnTo>
                    <a:pt x="11537" y="9958"/>
                  </a:lnTo>
                  <a:lnTo>
                    <a:pt x="11535" y="9990"/>
                  </a:lnTo>
                  <a:lnTo>
                    <a:pt x="11534" y="10023"/>
                  </a:lnTo>
                  <a:lnTo>
                    <a:pt x="11534" y="10056"/>
                  </a:lnTo>
                  <a:lnTo>
                    <a:pt x="11535" y="10090"/>
                  </a:lnTo>
                  <a:lnTo>
                    <a:pt x="11537" y="10123"/>
                  </a:lnTo>
                  <a:lnTo>
                    <a:pt x="11540" y="10156"/>
                  </a:lnTo>
                  <a:lnTo>
                    <a:pt x="11544" y="10189"/>
                  </a:lnTo>
                  <a:lnTo>
                    <a:pt x="11549" y="10223"/>
                  </a:lnTo>
                  <a:lnTo>
                    <a:pt x="12260" y="14481"/>
                  </a:lnTo>
                  <a:lnTo>
                    <a:pt x="8610" y="12512"/>
                  </a:lnTo>
                  <a:lnTo>
                    <a:pt x="8577" y="12495"/>
                  </a:lnTo>
                  <a:lnTo>
                    <a:pt x="8543" y="12479"/>
                  </a:lnTo>
                  <a:lnTo>
                    <a:pt x="8509" y="12464"/>
                  </a:lnTo>
                  <a:lnTo>
                    <a:pt x="8475" y="12450"/>
                  </a:lnTo>
                  <a:lnTo>
                    <a:pt x="8441" y="12438"/>
                  </a:lnTo>
                  <a:lnTo>
                    <a:pt x="8406" y="12426"/>
                  </a:lnTo>
                  <a:lnTo>
                    <a:pt x="8370" y="12416"/>
                  </a:lnTo>
                  <a:lnTo>
                    <a:pt x="8335" y="12406"/>
                  </a:lnTo>
                  <a:lnTo>
                    <a:pt x="8300" y="12398"/>
                  </a:lnTo>
                  <a:lnTo>
                    <a:pt x="8264" y="12390"/>
                  </a:lnTo>
                  <a:lnTo>
                    <a:pt x="8229" y="12384"/>
                  </a:lnTo>
                  <a:lnTo>
                    <a:pt x="8192" y="12379"/>
                  </a:lnTo>
                  <a:lnTo>
                    <a:pt x="8156" y="12375"/>
                  </a:lnTo>
                  <a:lnTo>
                    <a:pt x="8120" y="12372"/>
                  </a:lnTo>
                  <a:lnTo>
                    <a:pt x="8084" y="12371"/>
                  </a:lnTo>
                  <a:lnTo>
                    <a:pt x="8048" y="12370"/>
                  </a:lnTo>
                  <a:lnTo>
                    <a:pt x="8011" y="12371"/>
                  </a:lnTo>
                  <a:lnTo>
                    <a:pt x="7975" y="12372"/>
                  </a:lnTo>
                  <a:lnTo>
                    <a:pt x="7939" y="12375"/>
                  </a:lnTo>
                  <a:lnTo>
                    <a:pt x="7903" y="12379"/>
                  </a:lnTo>
                  <a:lnTo>
                    <a:pt x="7866" y="12384"/>
                  </a:lnTo>
                  <a:lnTo>
                    <a:pt x="7831" y="12390"/>
                  </a:lnTo>
                  <a:lnTo>
                    <a:pt x="7795" y="12398"/>
                  </a:lnTo>
                  <a:lnTo>
                    <a:pt x="7760" y="12406"/>
                  </a:lnTo>
                  <a:lnTo>
                    <a:pt x="7725" y="12416"/>
                  </a:lnTo>
                  <a:lnTo>
                    <a:pt x="7689" y="12426"/>
                  </a:lnTo>
                  <a:lnTo>
                    <a:pt x="7655" y="12438"/>
                  </a:lnTo>
                  <a:lnTo>
                    <a:pt x="7620" y="12450"/>
                  </a:lnTo>
                  <a:lnTo>
                    <a:pt x="7586" y="12464"/>
                  </a:lnTo>
                  <a:lnTo>
                    <a:pt x="7553" y="12479"/>
                  </a:lnTo>
                  <a:lnTo>
                    <a:pt x="7518" y="12495"/>
                  </a:lnTo>
                  <a:lnTo>
                    <a:pt x="7485" y="12512"/>
                  </a:lnTo>
                  <a:lnTo>
                    <a:pt x="3834" y="14481"/>
                  </a:lnTo>
                  <a:lnTo>
                    <a:pt x="4546" y="10223"/>
                  </a:lnTo>
                  <a:lnTo>
                    <a:pt x="4551" y="10189"/>
                  </a:lnTo>
                  <a:lnTo>
                    <a:pt x="4555" y="10156"/>
                  </a:lnTo>
                  <a:lnTo>
                    <a:pt x="4558" y="10123"/>
                  </a:lnTo>
                  <a:lnTo>
                    <a:pt x="4560" y="10090"/>
                  </a:lnTo>
                  <a:lnTo>
                    <a:pt x="4561" y="10056"/>
                  </a:lnTo>
                  <a:lnTo>
                    <a:pt x="4561" y="10023"/>
                  </a:lnTo>
                  <a:lnTo>
                    <a:pt x="4560" y="9990"/>
                  </a:lnTo>
                  <a:lnTo>
                    <a:pt x="4558" y="9958"/>
                  </a:lnTo>
                  <a:lnTo>
                    <a:pt x="4555" y="9924"/>
                  </a:lnTo>
                  <a:lnTo>
                    <a:pt x="4551" y="9891"/>
                  </a:lnTo>
                  <a:lnTo>
                    <a:pt x="4547" y="9859"/>
                  </a:lnTo>
                  <a:lnTo>
                    <a:pt x="4541" y="9827"/>
                  </a:lnTo>
                  <a:lnTo>
                    <a:pt x="4534" y="9795"/>
                  </a:lnTo>
                  <a:lnTo>
                    <a:pt x="4526" y="9762"/>
                  </a:lnTo>
                  <a:lnTo>
                    <a:pt x="4518" y="9731"/>
                  </a:lnTo>
                  <a:lnTo>
                    <a:pt x="4508" y="9700"/>
                  </a:lnTo>
                  <a:lnTo>
                    <a:pt x="4497" y="9669"/>
                  </a:lnTo>
                  <a:lnTo>
                    <a:pt x="4485" y="9637"/>
                  </a:lnTo>
                  <a:lnTo>
                    <a:pt x="4473" y="9607"/>
                  </a:lnTo>
                  <a:lnTo>
                    <a:pt x="4459" y="9577"/>
                  </a:lnTo>
                  <a:lnTo>
                    <a:pt x="4445" y="9547"/>
                  </a:lnTo>
                  <a:lnTo>
                    <a:pt x="4430" y="9517"/>
                  </a:lnTo>
                  <a:lnTo>
                    <a:pt x="4414" y="9488"/>
                  </a:lnTo>
                  <a:lnTo>
                    <a:pt x="4398" y="9460"/>
                  </a:lnTo>
                  <a:lnTo>
                    <a:pt x="4380" y="9432"/>
                  </a:lnTo>
                  <a:lnTo>
                    <a:pt x="4361" y="9404"/>
                  </a:lnTo>
                  <a:lnTo>
                    <a:pt x="4342" y="9376"/>
                  </a:lnTo>
                  <a:lnTo>
                    <a:pt x="4322" y="9350"/>
                  </a:lnTo>
                  <a:lnTo>
                    <a:pt x="4300" y="9324"/>
                  </a:lnTo>
                  <a:lnTo>
                    <a:pt x="4278" y="9299"/>
                  </a:lnTo>
                  <a:lnTo>
                    <a:pt x="4255" y="9274"/>
                  </a:lnTo>
                  <a:lnTo>
                    <a:pt x="4231" y="9250"/>
                  </a:lnTo>
                  <a:lnTo>
                    <a:pt x="1163" y="6180"/>
                  </a:lnTo>
                  <a:lnTo>
                    <a:pt x="5351" y="5557"/>
                  </a:lnTo>
                  <a:lnTo>
                    <a:pt x="5386" y="5551"/>
                  </a:lnTo>
                  <a:lnTo>
                    <a:pt x="5422" y="5543"/>
                  </a:lnTo>
                  <a:lnTo>
                    <a:pt x="5456" y="5535"/>
                  </a:lnTo>
                  <a:lnTo>
                    <a:pt x="5491" y="5526"/>
                  </a:lnTo>
                  <a:lnTo>
                    <a:pt x="5526" y="5516"/>
                  </a:lnTo>
                  <a:lnTo>
                    <a:pt x="5560" y="5505"/>
                  </a:lnTo>
                  <a:lnTo>
                    <a:pt x="5593" y="5493"/>
                  </a:lnTo>
                  <a:lnTo>
                    <a:pt x="5626" y="5480"/>
                  </a:lnTo>
                  <a:lnTo>
                    <a:pt x="5658" y="5467"/>
                  </a:lnTo>
                  <a:lnTo>
                    <a:pt x="5691" y="5452"/>
                  </a:lnTo>
                  <a:lnTo>
                    <a:pt x="5722" y="5436"/>
                  </a:lnTo>
                  <a:lnTo>
                    <a:pt x="5753" y="5420"/>
                  </a:lnTo>
                  <a:lnTo>
                    <a:pt x="5783" y="5401"/>
                  </a:lnTo>
                  <a:lnTo>
                    <a:pt x="5813" y="5383"/>
                  </a:lnTo>
                  <a:lnTo>
                    <a:pt x="5842" y="5364"/>
                  </a:lnTo>
                  <a:lnTo>
                    <a:pt x="5871" y="5344"/>
                  </a:lnTo>
                  <a:lnTo>
                    <a:pt x="5899" y="5323"/>
                  </a:lnTo>
                  <a:lnTo>
                    <a:pt x="5926" y="5301"/>
                  </a:lnTo>
                  <a:lnTo>
                    <a:pt x="5952" y="5279"/>
                  </a:lnTo>
                  <a:lnTo>
                    <a:pt x="5978" y="5254"/>
                  </a:lnTo>
                  <a:lnTo>
                    <a:pt x="6003" y="5230"/>
                  </a:lnTo>
                  <a:lnTo>
                    <a:pt x="6028" y="5206"/>
                  </a:lnTo>
                  <a:lnTo>
                    <a:pt x="6052" y="5180"/>
                  </a:lnTo>
                  <a:lnTo>
                    <a:pt x="6075" y="5154"/>
                  </a:lnTo>
                  <a:lnTo>
                    <a:pt x="6097" y="5126"/>
                  </a:lnTo>
                  <a:lnTo>
                    <a:pt x="6118" y="5098"/>
                  </a:lnTo>
                  <a:lnTo>
                    <a:pt x="6138" y="5070"/>
                  </a:lnTo>
                  <a:lnTo>
                    <a:pt x="6158" y="5041"/>
                  </a:lnTo>
                  <a:lnTo>
                    <a:pt x="6176" y="5011"/>
                  </a:lnTo>
                  <a:lnTo>
                    <a:pt x="6195" y="4980"/>
                  </a:lnTo>
                  <a:lnTo>
                    <a:pt x="6212" y="4949"/>
                  </a:lnTo>
                  <a:lnTo>
                    <a:pt x="6227" y="4918"/>
                  </a:lnTo>
                  <a:lnTo>
                    <a:pt x="8048" y="1134"/>
                  </a:lnTo>
                  <a:lnTo>
                    <a:pt x="9868" y="4918"/>
                  </a:lnTo>
                  <a:lnTo>
                    <a:pt x="9884" y="4949"/>
                  </a:lnTo>
                  <a:lnTo>
                    <a:pt x="9900" y="4980"/>
                  </a:lnTo>
                  <a:lnTo>
                    <a:pt x="9919" y="5011"/>
                  </a:lnTo>
                  <a:lnTo>
                    <a:pt x="9938" y="5041"/>
                  </a:lnTo>
                  <a:lnTo>
                    <a:pt x="9957" y="5070"/>
                  </a:lnTo>
                  <a:lnTo>
                    <a:pt x="9977" y="5098"/>
                  </a:lnTo>
                  <a:lnTo>
                    <a:pt x="9998" y="5126"/>
                  </a:lnTo>
                  <a:lnTo>
                    <a:pt x="10020" y="5154"/>
                  </a:lnTo>
                  <a:lnTo>
                    <a:pt x="10043" y="5180"/>
                  </a:lnTo>
                  <a:lnTo>
                    <a:pt x="10067" y="5206"/>
                  </a:lnTo>
                  <a:lnTo>
                    <a:pt x="10092" y="5230"/>
                  </a:lnTo>
                  <a:lnTo>
                    <a:pt x="10117" y="5254"/>
                  </a:lnTo>
                  <a:lnTo>
                    <a:pt x="10143" y="5279"/>
                  </a:lnTo>
                  <a:lnTo>
                    <a:pt x="10169" y="5301"/>
                  </a:lnTo>
                  <a:lnTo>
                    <a:pt x="10196" y="5323"/>
                  </a:lnTo>
                  <a:lnTo>
                    <a:pt x="10224" y="5344"/>
                  </a:lnTo>
                  <a:lnTo>
                    <a:pt x="10254" y="5364"/>
                  </a:lnTo>
                  <a:lnTo>
                    <a:pt x="10282" y="5383"/>
                  </a:lnTo>
                  <a:lnTo>
                    <a:pt x="10312" y="5401"/>
                  </a:lnTo>
                  <a:lnTo>
                    <a:pt x="10342" y="5420"/>
                  </a:lnTo>
                  <a:lnTo>
                    <a:pt x="10373" y="5436"/>
                  </a:lnTo>
                  <a:lnTo>
                    <a:pt x="10404" y="5452"/>
                  </a:lnTo>
                  <a:lnTo>
                    <a:pt x="10437" y="5467"/>
                  </a:lnTo>
                  <a:lnTo>
                    <a:pt x="10469" y="5480"/>
                  </a:lnTo>
                  <a:lnTo>
                    <a:pt x="10502" y="5493"/>
                  </a:lnTo>
                  <a:lnTo>
                    <a:pt x="10535" y="5505"/>
                  </a:lnTo>
                  <a:lnTo>
                    <a:pt x="10569" y="5516"/>
                  </a:lnTo>
                  <a:lnTo>
                    <a:pt x="10604" y="5526"/>
                  </a:lnTo>
                  <a:lnTo>
                    <a:pt x="10638" y="5535"/>
                  </a:lnTo>
                  <a:lnTo>
                    <a:pt x="10673" y="5543"/>
                  </a:lnTo>
                  <a:lnTo>
                    <a:pt x="10708" y="5551"/>
                  </a:lnTo>
                  <a:lnTo>
                    <a:pt x="10744" y="5557"/>
                  </a:lnTo>
                  <a:lnTo>
                    <a:pt x="14933" y="6180"/>
                  </a:lnTo>
                  <a:lnTo>
                    <a:pt x="11864" y="9250"/>
                  </a:lnTo>
                  <a:close/>
                  <a:moveTo>
                    <a:pt x="16035" y="5820"/>
                  </a:moveTo>
                  <a:lnTo>
                    <a:pt x="16022" y="5783"/>
                  </a:lnTo>
                  <a:lnTo>
                    <a:pt x="16006" y="5746"/>
                  </a:lnTo>
                  <a:lnTo>
                    <a:pt x="15990" y="5711"/>
                  </a:lnTo>
                  <a:lnTo>
                    <a:pt x="15973" y="5675"/>
                  </a:lnTo>
                  <a:lnTo>
                    <a:pt x="15954" y="5640"/>
                  </a:lnTo>
                  <a:lnTo>
                    <a:pt x="15935" y="5607"/>
                  </a:lnTo>
                  <a:lnTo>
                    <a:pt x="15914" y="5574"/>
                  </a:lnTo>
                  <a:lnTo>
                    <a:pt x="15892" y="5541"/>
                  </a:lnTo>
                  <a:lnTo>
                    <a:pt x="15869" y="5509"/>
                  </a:lnTo>
                  <a:lnTo>
                    <a:pt x="15846" y="5479"/>
                  </a:lnTo>
                  <a:lnTo>
                    <a:pt x="15820" y="5449"/>
                  </a:lnTo>
                  <a:lnTo>
                    <a:pt x="15794" y="5421"/>
                  </a:lnTo>
                  <a:lnTo>
                    <a:pt x="15767" y="5392"/>
                  </a:lnTo>
                  <a:lnTo>
                    <a:pt x="15739" y="5365"/>
                  </a:lnTo>
                  <a:lnTo>
                    <a:pt x="15711" y="5339"/>
                  </a:lnTo>
                  <a:lnTo>
                    <a:pt x="15681" y="5314"/>
                  </a:lnTo>
                  <a:lnTo>
                    <a:pt x="15650" y="5290"/>
                  </a:lnTo>
                  <a:lnTo>
                    <a:pt x="15619" y="5266"/>
                  </a:lnTo>
                  <a:lnTo>
                    <a:pt x="15587" y="5244"/>
                  </a:lnTo>
                  <a:lnTo>
                    <a:pt x="15554" y="5223"/>
                  </a:lnTo>
                  <a:lnTo>
                    <a:pt x="15521" y="5203"/>
                  </a:lnTo>
                  <a:lnTo>
                    <a:pt x="15485" y="5184"/>
                  </a:lnTo>
                  <a:lnTo>
                    <a:pt x="15450" y="5166"/>
                  </a:lnTo>
                  <a:lnTo>
                    <a:pt x="15415" y="5150"/>
                  </a:lnTo>
                  <a:lnTo>
                    <a:pt x="15379" y="5133"/>
                  </a:lnTo>
                  <a:lnTo>
                    <a:pt x="15342" y="5119"/>
                  </a:lnTo>
                  <a:lnTo>
                    <a:pt x="15304" y="5106"/>
                  </a:lnTo>
                  <a:lnTo>
                    <a:pt x="15266" y="5094"/>
                  </a:lnTo>
                  <a:lnTo>
                    <a:pt x="15227" y="5084"/>
                  </a:lnTo>
                  <a:lnTo>
                    <a:pt x="15188" y="5075"/>
                  </a:lnTo>
                  <a:lnTo>
                    <a:pt x="15148" y="5067"/>
                  </a:lnTo>
                  <a:lnTo>
                    <a:pt x="15108" y="5060"/>
                  </a:lnTo>
                  <a:lnTo>
                    <a:pt x="10920" y="4436"/>
                  </a:lnTo>
                  <a:lnTo>
                    <a:pt x="9100" y="652"/>
                  </a:lnTo>
                  <a:lnTo>
                    <a:pt x="9081" y="615"/>
                  </a:lnTo>
                  <a:lnTo>
                    <a:pt x="9061" y="579"/>
                  </a:lnTo>
                  <a:lnTo>
                    <a:pt x="9040" y="544"/>
                  </a:lnTo>
                  <a:lnTo>
                    <a:pt x="9018" y="510"/>
                  </a:lnTo>
                  <a:lnTo>
                    <a:pt x="8995" y="476"/>
                  </a:lnTo>
                  <a:lnTo>
                    <a:pt x="8970" y="444"/>
                  </a:lnTo>
                  <a:lnTo>
                    <a:pt x="8945" y="413"/>
                  </a:lnTo>
                  <a:lnTo>
                    <a:pt x="8918" y="383"/>
                  </a:lnTo>
                  <a:lnTo>
                    <a:pt x="8890" y="353"/>
                  </a:lnTo>
                  <a:lnTo>
                    <a:pt x="8861" y="324"/>
                  </a:lnTo>
                  <a:lnTo>
                    <a:pt x="8832" y="297"/>
                  </a:lnTo>
                  <a:lnTo>
                    <a:pt x="8802" y="271"/>
                  </a:lnTo>
                  <a:lnTo>
                    <a:pt x="8770" y="246"/>
                  </a:lnTo>
                  <a:lnTo>
                    <a:pt x="8738" y="222"/>
                  </a:lnTo>
                  <a:lnTo>
                    <a:pt x="8704" y="198"/>
                  </a:lnTo>
                  <a:lnTo>
                    <a:pt x="8671" y="177"/>
                  </a:lnTo>
                  <a:lnTo>
                    <a:pt x="8636" y="156"/>
                  </a:lnTo>
                  <a:lnTo>
                    <a:pt x="8601" y="137"/>
                  </a:lnTo>
                  <a:lnTo>
                    <a:pt x="8565" y="119"/>
                  </a:lnTo>
                  <a:lnTo>
                    <a:pt x="8528" y="102"/>
                  </a:lnTo>
                  <a:lnTo>
                    <a:pt x="8491" y="86"/>
                  </a:lnTo>
                  <a:lnTo>
                    <a:pt x="8453" y="72"/>
                  </a:lnTo>
                  <a:lnTo>
                    <a:pt x="8415" y="57"/>
                  </a:lnTo>
                  <a:lnTo>
                    <a:pt x="8375" y="46"/>
                  </a:lnTo>
                  <a:lnTo>
                    <a:pt x="8335" y="35"/>
                  </a:lnTo>
                  <a:lnTo>
                    <a:pt x="8296" y="26"/>
                  </a:lnTo>
                  <a:lnTo>
                    <a:pt x="8255" y="18"/>
                  </a:lnTo>
                  <a:lnTo>
                    <a:pt x="8214" y="12"/>
                  </a:lnTo>
                  <a:lnTo>
                    <a:pt x="8173" y="7"/>
                  </a:lnTo>
                  <a:lnTo>
                    <a:pt x="8131" y="3"/>
                  </a:lnTo>
                  <a:lnTo>
                    <a:pt x="8090" y="1"/>
                  </a:lnTo>
                  <a:lnTo>
                    <a:pt x="8048" y="0"/>
                  </a:lnTo>
                  <a:lnTo>
                    <a:pt x="8005" y="1"/>
                  </a:lnTo>
                  <a:lnTo>
                    <a:pt x="7963" y="3"/>
                  </a:lnTo>
                  <a:lnTo>
                    <a:pt x="7922" y="7"/>
                  </a:lnTo>
                  <a:lnTo>
                    <a:pt x="7881" y="12"/>
                  </a:lnTo>
                  <a:lnTo>
                    <a:pt x="7840" y="18"/>
                  </a:lnTo>
                  <a:lnTo>
                    <a:pt x="7799" y="26"/>
                  </a:lnTo>
                  <a:lnTo>
                    <a:pt x="7760" y="35"/>
                  </a:lnTo>
                  <a:lnTo>
                    <a:pt x="7720" y="46"/>
                  </a:lnTo>
                  <a:lnTo>
                    <a:pt x="7681" y="57"/>
                  </a:lnTo>
                  <a:lnTo>
                    <a:pt x="7642" y="72"/>
                  </a:lnTo>
                  <a:lnTo>
                    <a:pt x="7605" y="86"/>
                  </a:lnTo>
                  <a:lnTo>
                    <a:pt x="7567" y="102"/>
                  </a:lnTo>
                  <a:lnTo>
                    <a:pt x="7530" y="119"/>
                  </a:lnTo>
                  <a:lnTo>
                    <a:pt x="7494" y="137"/>
                  </a:lnTo>
                  <a:lnTo>
                    <a:pt x="7459" y="156"/>
                  </a:lnTo>
                  <a:lnTo>
                    <a:pt x="7424" y="177"/>
                  </a:lnTo>
                  <a:lnTo>
                    <a:pt x="7391" y="198"/>
                  </a:lnTo>
                  <a:lnTo>
                    <a:pt x="7357" y="222"/>
                  </a:lnTo>
                  <a:lnTo>
                    <a:pt x="7325" y="246"/>
                  </a:lnTo>
                  <a:lnTo>
                    <a:pt x="7293" y="271"/>
                  </a:lnTo>
                  <a:lnTo>
                    <a:pt x="7263" y="297"/>
                  </a:lnTo>
                  <a:lnTo>
                    <a:pt x="7234" y="324"/>
                  </a:lnTo>
                  <a:lnTo>
                    <a:pt x="7205" y="353"/>
                  </a:lnTo>
                  <a:lnTo>
                    <a:pt x="7177" y="383"/>
                  </a:lnTo>
                  <a:lnTo>
                    <a:pt x="7150" y="413"/>
                  </a:lnTo>
                  <a:lnTo>
                    <a:pt x="7125" y="444"/>
                  </a:lnTo>
                  <a:lnTo>
                    <a:pt x="7100" y="476"/>
                  </a:lnTo>
                  <a:lnTo>
                    <a:pt x="7077" y="510"/>
                  </a:lnTo>
                  <a:lnTo>
                    <a:pt x="7055" y="544"/>
                  </a:lnTo>
                  <a:lnTo>
                    <a:pt x="7034" y="579"/>
                  </a:lnTo>
                  <a:lnTo>
                    <a:pt x="7013" y="615"/>
                  </a:lnTo>
                  <a:lnTo>
                    <a:pt x="6995" y="652"/>
                  </a:lnTo>
                  <a:lnTo>
                    <a:pt x="5175" y="4436"/>
                  </a:lnTo>
                  <a:lnTo>
                    <a:pt x="987" y="5060"/>
                  </a:lnTo>
                  <a:lnTo>
                    <a:pt x="947" y="5067"/>
                  </a:lnTo>
                  <a:lnTo>
                    <a:pt x="907" y="5075"/>
                  </a:lnTo>
                  <a:lnTo>
                    <a:pt x="868" y="5084"/>
                  </a:lnTo>
                  <a:lnTo>
                    <a:pt x="829" y="5094"/>
                  </a:lnTo>
                  <a:lnTo>
                    <a:pt x="791" y="5106"/>
                  </a:lnTo>
                  <a:lnTo>
                    <a:pt x="753" y="5119"/>
                  </a:lnTo>
                  <a:lnTo>
                    <a:pt x="716" y="5133"/>
                  </a:lnTo>
                  <a:lnTo>
                    <a:pt x="680" y="5150"/>
                  </a:lnTo>
                  <a:lnTo>
                    <a:pt x="644" y="5166"/>
                  </a:lnTo>
                  <a:lnTo>
                    <a:pt x="610" y="5184"/>
                  </a:lnTo>
                  <a:lnTo>
                    <a:pt x="574" y="5203"/>
                  </a:lnTo>
                  <a:lnTo>
                    <a:pt x="541" y="5223"/>
                  </a:lnTo>
                  <a:lnTo>
                    <a:pt x="508" y="5244"/>
                  </a:lnTo>
                  <a:lnTo>
                    <a:pt x="476" y="5266"/>
                  </a:lnTo>
                  <a:lnTo>
                    <a:pt x="445" y="5290"/>
                  </a:lnTo>
                  <a:lnTo>
                    <a:pt x="414" y="5314"/>
                  </a:lnTo>
                  <a:lnTo>
                    <a:pt x="384" y="5339"/>
                  </a:lnTo>
                  <a:lnTo>
                    <a:pt x="356" y="5365"/>
                  </a:lnTo>
                  <a:lnTo>
                    <a:pt x="328" y="5392"/>
                  </a:lnTo>
                  <a:lnTo>
                    <a:pt x="301" y="5421"/>
                  </a:lnTo>
                  <a:lnTo>
                    <a:pt x="275" y="5449"/>
                  </a:lnTo>
                  <a:lnTo>
                    <a:pt x="250" y="5479"/>
                  </a:lnTo>
                  <a:lnTo>
                    <a:pt x="226" y="5509"/>
                  </a:lnTo>
                  <a:lnTo>
                    <a:pt x="203" y="5541"/>
                  </a:lnTo>
                  <a:lnTo>
                    <a:pt x="181" y="5574"/>
                  </a:lnTo>
                  <a:lnTo>
                    <a:pt x="160" y="5607"/>
                  </a:lnTo>
                  <a:lnTo>
                    <a:pt x="141" y="5640"/>
                  </a:lnTo>
                  <a:lnTo>
                    <a:pt x="122" y="5675"/>
                  </a:lnTo>
                  <a:lnTo>
                    <a:pt x="105" y="5711"/>
                  </a:lnTo>
                  <a:lnTo>
                    <a:pt x="89" y="5746"/>
                  </a:lnTo>
                  <a:lnTo>
                    <a:pt x="73" y="5783"/>
                  </a:lnTo>
                  <a:lnTo>
                    <a:pt x="60" y="5820"/>
                  </a:lnTo>
                  <a:lnTo>
                    <a:pt x="48" y="5859"/>
                  </a:lnTo>
                  <a:lnTo>
                    <a:pt x="37" y="5897"/>
                  </a:lnTo>
                  <a:lnTo>
                    <a:pt x="27" y="5935"/>
                  </a:lnTo>
                  <a:lnTo>
                    <a:pt x="20" y="5974"/>
                  </a:lnTo>
                  <a:lnTo>
                    <a:pt x="13" y="6012"/>
                  </a:lnTo>
                  <a:lnTo>
                    <a:pt x="8" y="6050"/>
                  </a:lnTo>
                  <a:lnTo>
                    <a:pt x="4" y="6089"/>
                  </a:lnTo>
                  <a:lnTo>
                    <a:pt x="1" y="6128"/>
                  </a:lnTo>
                  <a:lnTo>
                    <a:pt x="0" y="6167"/>
                  </a:lnTo>
                  <a:lnTo>
                    <a:pt x="0" y="6205"/>
                  </a:lnTo>
                  <a:lnTo>
                    <a:pt x="2" y="6244"/>
                  </a:lnTo>
                  <a:lnTo>
                    <a:pt x="5" y="6282"/>
                  </a:lnTo>
                  <a:lnTo>
                    <a:pt x="9" y="6320"/>
                  </a:lnTo>
                  <a:lnTo>
                    <a:pt x="14" y="6358"/>
                  </a:lnTo>
                  <a:lnTo>
                    <a:pt x="21" y="6396"/>
                  </a:lnTo>
                  <a:lnTo>
                    <a:pt x="29" y="6434"/>
                  </a:lnTo>
                  <a:lnTo>
                    <a:pt x="39" y="6471"/>
                  </a:lnTo>
                  <a:lnTo>
                    <a:pt x="49" y="6508"/>
                  </a:lnTo>
                  <a:lnTo>
                    <a:pt x="61" y="6545"/>
                  </a:lnTo>
                  <a:lnTo>
                    <a:pt x="74" y="6580"/>
                  </a:lnTo>
                  <a:lnTo>
                    <a:pt x="90" y="6616"/>
                  </a:lnTo>
                  <a:lnTo>
                    <a:pt x="106" y="6652"/>
                  </a:lnTo>
                  <a:lnTo>
                    <a:pt x="123" y="6687"/>
                  </a:lnTo>
                  <a:lnTo>
                    <a:pt x="141" y="6721"/>
                  </a:lnTo>
                  <a:lnTo>
                    <a:pt x="160" y="6754"/>
                  </a:lnTo>
                  <a:lnTo>
                    <a:pt x="181" y="6788"/>
                  </a:lnTo>
                  <a:lnTo>
                    <a:pt x="203" y="6820"/>
                  </a:lnTo>
                  <a:lnTo>
                    <a:pt x="225" y="6852"/>
                  </a:lnTo>
                  <a:lnTo>
                    <a:pt x="250" y="6883"/>
                  </a:lnTo>
                  <a:lnTo>
                    <a:pt x="276" y="6913"/>
                  </a:lnTo>
                  <a:lnTo>
                    <a:pt x="303" y="6943"/>
                  </a:lnTo>
                  <a:lnTo>
                    <a:pt x="330" y="6972"/>
                  </a:lnTo>
                  <a:lnTo>
                    <a:pt x="3399" y="10040"/>
                  </a:lnTo>
                  <a:lnTo>
                    <a:pt x="2688" y="14297"/>
                  </a:lnTo>
                  <a:lnTo>
                    <a:pt x="2682" y="14337"/>
                  </a:lnTo>
                  <a:lnTo>
                    <a:pt x="2677" y="14377"/>
                  </a:lnTo>
                  <a:lnTo>
                    <a:pt x="2674" y="14417"/>
                  </a:lnTo>
                  <a:lnTo>
                    <a:pt x="2673" y="14458"/>
                  </a:lnTo>
                  <a:lnTo>
                    <a:pt x="2673" y="14497"/>
                  </a:lnTo>
                  <a:lnTo>
                    <a:pt x="2674" y="14537"/>
                  </a:lnTo>
                  <a:lnTo>
                    <a:pt x="2677" y="14576"/>
                  </a:lnTo>
                  <a:lnTo>
                    <a:pt x="2681" y="14616"/>
                  </a:lnTo>
                  <a:lnTo>
                    <a:pt x="2686" y="14655"/>
                  </a:lnTo>
                  <a:lnTo>
                    <a:pt x="2693" y="14694"/>
                  </a:lnTo>
                  <a:lnTo>
                    <a:pt x="2701" y="14733"/>
                  </a:lnTo>
                  <a:lnTo>
                    <a:pt x="2711" y="14771"/>
                  </a:lnTo>
                  <a:lnTo>
                    <a:pt x="2722" y="14808"/>
                  </a:lnTo>
                  <a:lnTo>
                    <a:pt x="2734" y="14845"/>
                  </a:lnTo>
                  <a:lnTo>
                    <a:pt x="2747" y="14883"/>
                  </a:lnTo>
                  <a:lnTo>
                    <a:pt x="2762" y="14919"/>
                  </a:lnTo>
                  <a:lnTo>
                    <a:pt x="2778" y="14954"/>
                  </a:lnTo>
                  <a:lnTo>
                    <a:pt x="2797" y="14989"/>
                  </a:lnTo>
                  <a:lnTo>
                    <a:pt x="2815" y="15025"/>
                  </a:lnTo>
                  <a:lnTo>
                    <a:pt x="2835" y="15059"/>
                  </a:lnTo>
                  <a:lnTo>
                    <a:pt x="2856" y="15092"/>
                  </a:lnTo>
                  <a:lnTo>
                    <a:pt x="2878" y="15124"/>
                  </a:lnTo>
                  <a:lnTo>
                    <a:pt x="2902" y="15157"/>
                  </a:lnTo>
                  <a:lnTo>
                    <a:pt x="2926" y="15188"/>
                  </a:lnTo>
                  <a:lnTo>
                    <a:pt x="2952" y="15218"/>
                  </a:lnTo>
                  <a:lnTo>
                    <a:pt x="2980" y="15248"/>
                  </a:lnTo>
                  <a:lnTo>
                    <a:pt x="3008" y="15277"/>
                  </a:lnTo>
                  <a:lnTo>
                    <a:pt x="3037" y="15305"/>
                  </a:lnTo>
                  <a:lnTo>
                    <a:pt x="3067" y="15332"/>
                  </a:lnTo>
                  <a:lnTo>
                    <a:pt x="3098" y="15358"/>
                  </a:lnTo>
                  <a:lnTo>
                    <a:pt x="3131" y="15383"/>
                  </a:lnTo>
                  <a:lnTo>
                    <a:pt x="3165" y="15407"/>
                  </a:lnTo>
                  <a:lnTo>
                    <a:pt x="3203" y="15432"/>
                  </a:lnTo>
                  <a:lnTo>
                    <a:pt x="3241" y="15455"/>
                  </a:lnTo>
                  <a:lnTo>
                    <a:pt x="3280" y="15477"/>
                  </a:lnTo>
                  <a:lnTo>
                    <a:pt x="3321" y="15497"/>
                  </a:lnTo>
                  <a:lnTo>
                    <a:pt x="3361" y="15515"/>
                  </a:lnTo>
                  <a:lnTo>
                    <a:pt x="3402" y="15532"/>
                  </a:lnTo>
                  <a:lnTo>
                    <a:pt x="3444" y="15549"/>
                  </a:lnTo>
                  <a:lnTo>
                    <a:pt x="3487" y="15562"/>
                  </a:lnTo>
                  <a:lnTo>
                    <a:pt x="3529" y="15574"/>
                  </a:lnTo>
                  <a:lnTo>
                    <a:pt x="3572" y="15585"/>
                  </a:lnTo>
                  <a:lnTo>
                    <a:pt x="3615" y="15594"/>
                  </a:lnTo>
                  <a:lnTo>
                    <a:pt x="3659" y="15601"/>
                  </a:lnTo>
                  <a:lnTo>
                    <a:pt x="3702" y="15607"/>
                  </a:lnTo>
                  <a:lnTo>
                    <a:pt x="3746" y="15611"/>
                  </a:lnTo>
                  <a:lnTo>
                    <a:pt x="3790" y="15613"/>
                  </a:lnTo>
                  <a:lnTo>
                    <a:pt x="3834" y="15614"/>
                  </a:lnTo>
                  <a:lnTo>
                    <a:pt x="3870" y="15613"/>
                  </a:lnTo>
                  <a:lnTo>
                    <a:pt x="3906" y="15612"/>
                  </a:lnTo>
                  <a:lnTo>
                    <a:pt x="3942" y="15609"/>
                  </a:lnTo>
                  <a:lnTo>
                    <a:pt x="3978" y="15605"/>
                  </a:lnTo>
                  <a:lnTo>
                    <a:pt x="4015" y="15600"/>
                  </a:lnTo>
                  <a:lnTo>
                    <a:pt x="4051" y="15594"/>
                  </a:lnTo>
                  <a:lnTo>
                    <a:pt x="4086" y="15587"/>
                  </a:lnTo>
                  <a:lnTo>
                    <a:pt x="4121" y="15579"/>
                  </a:lnTo>
                  <a:lnTo>
                    <a:pt x="4158" y="15570"/>
                  </a:lnTo>
                  <a:lnTo>
                    <a:pt x="4192" y="15559"/>
                  </a:lnTo>
                  <a:lnTo>
                    <a:pt x="4227" y="15548"/>
                  </a:lnTo>
                  <a:lnTo>
                    <a:pt x="4261" y="15534"/>
                  </a:lnTo>
                  <a:lnTo>
                    <a:pt x="4295" y="15520"/>
                  </a:lnTo>
                  <a:lnTo>
                    <a:pt x="4330" y="15505"/>
                  </a:lnTo>
                  <a:lnTo>
                    <a:pt x="4363" y="15490"/>
                  </a:lnTo>
                  <a:lnTo>
                    <a:pt x="4396" y="15473"/>
                  </a:lnTo>
                  <a:lnTo>
                    <a:pt x="8048" y="13505"/>
                  </a:lnTo>
                  <a:lnTo>
                    <a:pt x="11699" y="15473"/>
                  </a:lnTo>
                  <a:lnTo>
                    <a:pt x="11732" y="15490"/>
                  </a:lnTo>
                  <a:lnTo>
                    <a:pt x="11765" y="15505"/>
                  </a:lnTo>
                  <a:lnTo>
                    <a:pt x="11800" y="15520"/>
                  </a:lnTo>
                  <a:lnTo>
                    <a:pt x="11834" y="15534"/>
                  </a:lnTo>
                  <a:lnTo>
                    <a:pt x="11868" y="15548"/>
                  </a:lnTo>
                  <a:lnTo>
                    <a:pt x="11903" y="15559"/>
                  </a:lnTo>
                  <a:lnTo>
                    <a:pt x="11938" y="15570"/>
                  </a:lnTo>
                  <a:lnTo>
                    <a:pt x="11974" y="15579"/>
                  </a:lnTo>
                  <a:lnTo>
                    <a:pt x="12009" y="15587"/>
                  </a:lnTo>
                  <a:lnTo>
                    <a:pt x="12044" y="15594"/>
                  </a:lnTo>
                  <a:lnTo>
                    <a:pt x="12080" y="15600"/>
                  </a:lnTo>
                  <a:lnTo>
                    <a:pt x="12117" y="15605"/>
                  </a:lnTo>
                  <a:lnTo>
                    <a:pt x="12153" y="15609"/>
                  </a:lnTo>
                  <a:lnTo>
                    <a:pt x="12189" y="15612"/>
                  </a:lnTo>
                  <a:lnTo>
                    <a:pt x="12224" y="15613"/>
                  </a:lnTo>
                  <a:lnTo>
                    <a:pt x="12260" y="15614"/>
                  </a:lnTo>
                  <a:lnTo>
                    <a:pt x="12305" y="15613"/>
                  </a:lnTo>
                  <a:lnTo>
                    <a:pt x="12349" y="15611"/>
                  </a:lnTo>
                  <a:lnTo>
                    <a:pt x="12393" y="15607"/>
                  </a:lnTo>
                  <a:lnTo>
                    <a:pt x="12436" y="15601"/>
                  </a:lnTo>
                  <a:lnTo>
                    <a:pt x="12480" y="15594"/>
                  </a:lnTo>
                  <a:lnTo>
                    <a:pt x="12523" y="15585"/>
                  </a:lnTo>
                  <a:lnTo>
                    <a:pt x="12566" y="15574"/>
                  </a:lnTo>
                  <a:lnTo>
                    <a:pt x="12608" y="15562"/>
                  </a:lnTo>
                  <a:lnTo>
                    <a:pt x="12651" y="15549"/>
                  </a:lnTo>
                  <a:lnTo>
                    <a:pt x="12693" y="15532"/>
                  </a:lnTo>
                  <a:lnTo>
                    <a:pt x="12734" y="15515"/>
                  </a:lnTo>
                  <a:lnTo>
                    <a:pt x="12774" y="15497"/>
                  </a:lnTo>
                  <a:lnTo>
                    <a:pt x="12815" y="15477"/>
                  </a:lnTo>
                  <a:lnTo>
                    <a:pt x="12854" y="15455"/>
                  </a:lnTo>
                  <a:lnTo>
                    <a:pt x="12893" y="15432"/>
                  </a:lnTo>
                  <a:lnTo>
                    <a:pt x="12930" y="15407"/>
                  </a:lnTo>
                  <a:lnTo>
                    <a:pt x="12965" y="15383"/>
                  </a:lnTo>
                  <a:lnTo>
                    <a:pt x="12997" y="15358"/>
                  </a:lnTo>
                  <a:lnTo>
                    <a:pt x="13028" y="15332"/>
                  </a:lnTo>
                  <a:lnTo>
                    <a:pt x="13058" y="15305"/>
                  </a:lnTo>
                  <a:lnTo>
                    <a:pt x="13087" y="15277"/>
                  </a:lnTo>
                  <a:lnTo>
                    <a:pt x="13115" y="15248"/>
                  </a:lnTo>
                  <a:lnTo>
                    <a:pt x="13143" y="15218"/>
                  </a:lnTo>
                  <a:lnTo>
                    <a:pt x="13169" y="15188"/>
                  </a:lnTo>
                  <a:lnTo>
                    <a:pt x="13194" y="15157"/>
                  </a:lnTo>
                  <a:lnTo>
                    <a:pt x="13217" y="15124"/>
                  </a:lnTo>
                  <a:lnTo>
                    <a:pt x="13239" y="15092"/>
                  </a:lnTo>
                  <a:lnTo>
                    <a:pt x="13260" y="15059"/>
                  </a:lnTo>
                  <a:lnTo>
                    <a:pt x="13280" y="15025"/>
                  </a:lnTo>
                  <a:lnTo>
                    <a:pt x="13298" y="14989"/>
                  </a:lnTo>
                  <a:lnTo>
                    <a:pt x="13317" y="14954"/>
                  </a:lnTo>
                  <a:lnTo>
                    <a:pt x="13333" y="14919"/>
                  </a:lnTo>
                  <a:lnTo>
                    <a:pt x="13347" y="14883"/>
                  </a:lnTo>
                  <a:lnTo>
                    <a:pt x="13361" y="14845"/>
                  </a:lnTo>
                  <a:lnTo>
                    <a:pt x="13373" y="14808"/>
                  </a:lnTo>
                  <a:lnTo>
                    <a:pt x="13384" y="14771"/>
                  </a:lnTo>
                  <a:lnTo>
                    <a:pt x="13394" y="14733"/>
                  </a:lnTo>
                  <a:lnTo>
                    <a:pt x="13402" y="14694"/>
                  </a:lnTo>
                  <a:lnTo>
                    <a:pt x="13409" y="14655"/>
                  </a:lnTo>
                  <a:lnTo>
                    <a:pt x="13414" y="14616"/>
                  </a:lnTo>
                  <a:lnTo>
                    <a:pt x="13418" y="14576"/>
                  </a:lnTo>
                  <a:lnTo>
                    <a:pt x="13421" y="14537"/>
                  </a:lnTo>
                  <a:lnTo>
                    <a:pt x="13422" y="14497"/>
                  </a:lnTo>
                  <a:lnTo>
                    <a:pt x="13422" y="14458"/>
                  </a:lnTo>
                  <a:lnTo>
                    <a:pt x="13421" y="14417"/>
                  </a:lnTo>
                  <a:lnTo>
                    <a:pt x="13418" y="14377"/>
                  </a:lnTo>
                  <a:lnTo>
                    <a:pt x="13413" y="14337"/>
                  </a:lnTo>
                  <a:lnTo>
                    <a:pt x="13407" y="14297"/>
                  </a:lnTo>
                  <a:lnTo>
                    <a:pt x="12695" y="10040"/>
                  </a:lnTo>
                  <a:lnTo>
                    <a:pt x="15765" y="6972"/>
                  </a:lnTo>
                  <a:lnTo>
                    <a:pt x="15793" y="6943"/>
                  </a:lnTo>
                  <a:lnTo>
                    <a:pt x="15819" y="6913"/>
                  </a:lnTo>
                  <a:lnTo>
                    <a:pt x="15845" y="6883"/>
                  </a:lnTo>
                  <a:lnTo>
                    <a:pt x="15870" y="6852"/>
                  </a:lnTo>
                  <a:lnTo>
                    <a:pt x="15893" y="6820"/>
                  </a:lnTo>
                  <a:lnTo>
                    <a:pt x="15914" y="6788"/>
                  </a:lnTo>
                  <a:lnTo>
                    <a:pt x="15935" y="6754"/>
                  </a:lnTo>
                  <a:lnTo>
                    <a:pt x="15954" y="6721"/>
                  </a:lnTo>
                  <a:lnTo>
                    <a:pt x="15973" y="6687"/>
                  </a:lnTo>
                  <a:lnTo>
                    <a:pt x="15989" y="6652"/>
                  </a:lnTo>
                  <a:lnTo>
                    <a:pt x="16005" y="6616"/>
                  </a:lnTo>
                  <a:lnTo>
                    <a:pt x="16021" y="6580"/>
                  </a:lnTo>
                  <a:lnTo>
                    <a:pt x="16034" y="6545"/>
                  </a:lnTo>
                  <a:lnTo>
                    <a:pt x="16046" y="6508"/>
                  </a:lnTo>
                  <a:lnTo>
                    <a:pt x="16056" y="6471"/>
                  </a:lnTo>
                  <a:lnTo>
                    <a:pt x="16066" y="6434"/>
                  </a:lnTo>
                  <a:lnTo>
                    <a:pt x="16074" y="6396"/>
                  </a:lnTo>
                  <a:lnTo>
                    <a:pt x="16080" y="6358"/>
                  </a:lnTo>
                  <a:lnTo>
                    <a:pt x="16086" y="6320"/>
                  </a:lnTo>
                  <a:lnTo>
                    <a:pt x="16090" y="6282"/>
                  </a:lnTo>
                  <a:lnTo>
                    <a:pt x="16093" y="6244"/>
                  </a:lnTo>
                  <a:lnTo>
                    <a:pt x="16095" y="6205"/>
                  </a:lnTo>
                  <a:lnTo>
                    <a:pt x="16095" y="6167"/>
                  </a:lnTo>
                  <a:lnTo>
                    <a:pt x="16094" y="6128"/>
                  </a:lnTo>
                  <a:lnTo>
                    <a:pt x="16091" y="6089"/>
                  </a:lnTo>
                  <a:lnTo>
                    <a:pt x="16087" y="6050"/>
                  </a:lnTo>
                  <a:lnTo>
                    <a:pt x="16082" y="6012"/>
                  </a:lnTo>
                  <a:lnTo>
                    <a:pt x="16075" y="5974"/>
                  </a:lnTo>
                  <a:lnTo>
                    <a:pt x="16067" y="5935"/>
                  </a:lnTo>
                  <a:lnTo>
                    <a:pt x="16058" y="5897"/>
                  </a:lnTo>
                  <a:lnTo>
                    <a:pt x="16047" y="5859"/>
                  </a:lnTo>
                  <a:lnTo>
                    <a:pt x="16035" y="58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70" name="iṥľíḓê">
              <a:extLst>
                <a:ext uri="{FF2B5EF4-FFF2-40B4-BE49-F238E27FC236}">
                  <a16:creationId xmlns:a16="http://schemas.microsoft.com/office/drawing/2014/main" id="{5AB067AA-2B45-4954-A16F-3BC4B377E173}"/>
                </a:ext>
              </a:extLst>
            </p:cNvPr>
            <p:cNvSpPr/>
            <p:nvPr/>
          </p:nvSpPr>
          <p:spPr bwMode="auto">
            <a:xfrm>
              <a:off x="8657376" y="2343826"/>
              <a:ext cx="363600" cy="362763"/>
            </a:xfrm>
            <a:custGeom>
              <a:avLst/>
              <a:gdLst>
                <a:gd name="T0" fmla="*/ 13537 w 16094"/>
                <a:gd name="T1" fmla="*/ 6059 h 16058"/>
                <a:gd name="T2" fmla="*/ 13105 w 16094"/>
                <a:gd name="T3" fmla="*/ 4843 h 16058"/>
                <a:gd name="T4" fmla="*/ 12309 w 16094"/>
                <a:gd name="T5" fmla="*/ 3778 h 16058"/>
                <a:gd name="T6" fmla="*/ 11103 w 16094"/>
                <a:gd name="T7" fmla="*/ 2914 h 16058"/>
                <a:gd name="T8" fmla="*/ 9730 w 16094"/>
                <a:gd name="T9" fmla="*/ 2510 h 16058"/>
                <a:gd name="T10" fmla="*/ 10548 w 16094"/>
                <a:gd name="T11" fmla="*/ 1344 h 16058"/>
                <a:gd name="T12" fmla="*/ 11273 w 16094"/>
                <a:gd name="T13" fmla="*/ 1058 h 16058"/>
                <a:gd name="T14" fmla="*/ 12175 w 16094"/>
                <a:gd name="T15" fmla="*/ 1030 h 16058"/>
                <a:gd name="T16" fmla="*/ 13215 w 16094"/>
                <a:gd name="T17" fmla="*/ 1370 h 16058"/>
                <a:gd name="T18" fmla="*/ 14130 w 16094"/>
                <a:gd name="T19" fmla="*/ 2061 h 16058"/>
                <a:gd name="T20" fmla="*/ 14752 w 16094"/>
                <a:gd name="T21" fmla="*/ 2927 h 16058"/>
                <a:gd name="T22" fmla="*/ 15061 w 16094"/>
                <a:gd name="T23" fmla="*/ 3885 h 16058"/>
                <a:gd name="T24" fmla="*/ 15035 w 16094"/>
                <a:gd name="T25" fmla="*/ 4794 h 16058"/>
                <a:gd name="T26" fmla="*/ 14704 w 16094"/>
                <a:gd name="T27" fmla="*/ 5577 h 16058"/>
                <a:gd name="T28" fmla="*/ 4429 w 16094"/>
                <a:gd name="T29" fmla="*/ 13990 h 16058"/>
                <a:gd name="T30" fmla="*/ 4128 w 16094"/>
                <a:gd name="T31" fmla="*/ 13119 h 16058"/>
                <a:gd name="T32" fmla="*/ 3522 w 16094"/>
                <a:gd name="T33" fmla="*/ 12349 h 16058"/>
                <a:gd name="T34" fmla="*/ 2735 w 16094"/>
                <a:gd name="T35" fmla="*/ 11832 h 16058"/>
                <a:gd name="T36" fmla="*/ 1857 w 16094"/>
                <a:gd name="T37" fmla="*/ 11600 h 16058"/>
                <a:gd name="T38" fmla="*/ 2349 w 16094"/>
                <a:gd name="T39" fmla="*/ 9539 h 16058"/>
                <a:gd name="T40" fmla="*/ 3383 w 16094"/>
                <a:gd name="T41" fmla="*/ 9051 h 16058"/>
                <a:gd name="T42" fmla="*/ 5065 w 16094"/>
                <a:gd name="T43" fmla="*/ 9305 h 16058"/>
                <a:gd name="T44" fmla="*/ 6529 w 16094"/>
                <a:gd name="T45" fmla="*/ 10574 h 16058"/>
                <a:gd name="T46" fmla="*/ 7057 w 16094"/>
                <a:gd name="T47" fmla="*/ 12341 h 16058"/>
                <a:gd name="T48" fmla="*/ 6481 w 16094"/>
                <a:gd name="T49" fmla="*/ 13816 h 16058"/>
                <a:gd name="T50" fmla="*/ 1899 w 16094"/>
                <a:gd name="T51" fmla="*/ 15034 h 16058"/>
                <a:gd name="T52" fmla="*/ 1430 w 16094"/>
                <a:gd name="T53" fmla="*/ 14978 h 16058"/>
                <a:gd name="T54" fmla="*/ 1080 w 16094"/>
                <a:gd name="T55" fmla="*/ 14626 h 16058"/>
                <a:gd name="T56" fmla="*/ 1037 w 16094"/>
                <a:gd name="T57" fmla="*/ 14110 h 16058"/>
                <a:gd name="T58" fmla="*/ 2133 w 16094"/>
                <a:gd name="T59" fmla="*/ 12161 h 16058"/>
                <a:gd name="T60" fmla="*/ 2879 w 16094"/>
                <a:gd name="T61" fmla="*/ 12483 h 16058"/>
                <a:gd name="T62" fmla="*/ 3517 w 16094"/>
                <a:gd name="T63" fmla="*/ 13089 h 16058"/>
                <a:gd name="T64" fmla="*/ 3887 w 16094"/>
                <a:gd name="T65" fmla="*/ 13837 h 16058"/>
                <a:gd name="T66" fmla="*/ 5275 w 16094"/>
                <a:gd name="T67" fmla="*/ 8311 h 16058"/>
                <a:gd name="T68" fmla="*/ 4471 w 16094"/>
                <a:gd name="T69" fmla="*/ 8075 h 16058"/>
                <a:gd name="T70" fmla="*/ 3832 w 16094"/>
                <a:gd name="T71" fmla="*/ 8011 h 16058"/>
                <a:gd name="T72" fmla="*/ 8544 w 16094"/>
                <a:gd name="T73" fmla="*/ 3613 h 16058"/>
                <a:gd name="T74" fmla="*/ 9615 w 16094"/>
                <a:gd name="T75" fmla="*/ 3512 h 16058"/>
                <a:gd name="T76" fmla="*/ 7177 w 16094"/>
                <a:gd name="T77" fmla="*/ 9768 h 16058"/>
                <a:gd name="T78" fmla="*/ 6475 w 16094"/>
                <a:gd name="T79" fmla="*/ 9029 h 16058"/>
                <a:gd name="T80" fmla="*/ 10683 w 16094"/>
                <a:gd name="T81" fmla="*/ 3831 h 16058"/>
                <a:gd name="T82" fmla="*/ 11597 w 16094"/>
                <a:gd name="T83" fmla="*/ 4487 h 16058"/>
                <a:gd name="T84" fmla="*/ 12178 w 16094"/>
                <a:gd name="T85" fmla="*/ 5258 h 16058"/>
                <a:gd name="T86" fmla="*/ 7882 w 16094"/>
                <a:gd name="T87" fmla="*/ 11105 h 16058"/>
                <a:gd name="T88" fmla="*/ 12576 w 16094"/>
                <a:gd name="T89" fmla="*/ 6482 h 16058"/>
                <a:gd name="T90" fmla="*/ 12439 w 16094"/>
                <a:gd name="T91" fmla="*/ 7635 h 16058"/>
                <a:gd name="T92" fmla="*/ 11948 w 16094"/>
                <a:gd name="T93" fmla="*/ 8406 h 16058"/>
                <a:gd name="T94" fmla="*/ 14463 w 16094"/>
                <a:gd name="T95" fmla="*/ 1003 h 16058"/>
                <a:gd name="T96" fmla="*/ 13190 w 16094"/>
                <a:gd name="T97" fmla="*/ 260 h 16058"/>
                <a:gd name="T98" fmla="*/ 11795 w 16094"/>
                <a:gd name="T99" fmla="*/ 0 h 16058"/>
                <a:gd name="T100" fmla="*/ 10660 w 16094"/>
                <a:gd name="T101" fmla="*/ 187 h 16058"/>
                <a:gd name="T102" fmla="*/ 9684 w 16094"/>
                <a:gd name="T103" fmla="*/ 727 h 16058"/>
                <a:gd name="T104" fmla="*/ 1704 w 16094"/>
                <a:gd name="T105" fmla="*/ 8728 h 16058"/>
                <a:gd name="T106" fmla="*/ 1279 w 16094"/>
                <a:gd name="T107" fmla="*/ 9454 h 16058"/>
                <a:gd name="T108" fmla="*/ 0 w 16094"/>
                <a:gd name="T109" fmla="*/ 14302 h 16058"/>
                <a:gd name="T110" fmla="*/ 402 w 16094"/>
                <a:gd name="T111" fmla="*/ 15419 h 16058"/>
                <a:gd name="T112" fmla="*/ 1407 w 16094"/>
                <a:gd name="T113" fmla="*/ 16022 h 16058"/>
                <a:gd name="T114" fmla="*/ 2275 w 16094"/>
                <a:gd name="T115" fmla="*/ 15980 h 16058"/>
                <a:gd name="T116" fmla="*/ 7227 w 16094"/>
                <a:gd name="T117" fmla="*/ 14541 h 16058"/>
                <a:gd name="T118" fmla="*/ 15901 w 16094"/>
                <a:gd name="T119" fmla="*/ 5421 h 16058"/>
                <a:gd name="T120" fmla="*/ 15857 w 16094"/>
                <a:gd name="T121" fmla="*/ 2953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094" h="16058">
                  <a:moveTo>
                    <a:pt x="14431" y="5907"/>
                  </a:moveTo>
                  <a:lnTo>
                    <a:pt x="13584" y="6759"/>
                  </a:lnTo>
                  <a:lnTo>
                    <a:pt x="13585" y="6717"/>
                  </a:lnTo>
                  <a:lnTo>
                    <a:pt x="13586" y="6675"/>
                  </a:lnTo>
                  <a:lnTo>
                    <a:pt x="13588" y="6633"/>
                  </a:lnTo>
                  <a:lnTo>
                    <a:pt x="13590" y="6591"/>
                  </a:lnTo>
                  <a:lnTo>
                    <a:pt x="13591" y="6549"/>
                  </a:lnTo>
                  <a:lnTo>
                    <a:pt x="13591" y="6507"/>
                  </a:lnTo>
                  <a:lnTo>
                    <a:pt x="13590" y="6464"/>
                  </a:lnTo>
                  <a:lnTo>
                    <a:pt x="13587" y="6420"/>
                  </a:lnTo>
                  <a:lnTo>
                    <a:pt x="13578" y="6330"/>
                  </a:lnTo>
                  <a:lnTo>
                    <a:pt x="13566" y="6240"/>
                  </a:lnTo>
                  <a:lnTo>
                    <a:pt x="13553" y="6148"/>
                  </a:lnTo>
                  <a:lnTo>
                    <a:pt x="13537" y="6059"/>
                  </a:lnTo>
                  <a:lnTo>
                    <a:pt x="13520" y="5969"/>
                  </a:lnTo>
                  <a:lnTo>
                    <a:pt x="13500" y="5879"/>
                  </a:lnTo>
                  <a:lnTo>
                    <a:pt x="13478" y="5790"/>
                  </a:lnTo>
                  <a:lnTo>
                    <a:pt x="13453" y="5702"/>
                  </a:lnTo>
                  <a:lnTo>
                    <a:pt x="13427" y="5613"/>
                  </a:lnTo>
                  <a:lnTo>
                    <a:pt x="13400" y="5525"/>
                  </a:lnTo>
                  <a:lnTo>
                    <a:pt x="13370" y="5439"/>
                  </a:lnTo>
                  <a:lnTo>
                    <a:pt x="13338" y="5351"/>
                  </a:lnTo>
                  <a:lnTo>
                    <a:pt x="13305" y="5265"/>
                  </a:lnTo>
                  <a:lnTo>
                    <a:pt x="13268" y="5180"/>
                  </a:lnTo>
                  <a:lnTo>
                    <a:pt x="13230" y="5094"/>
                  </a:lnTo>
                  <a:lnTo>
                    <a:pt x="13191" y="5010"/>
                  </a:lnTo>
                  <a:lnTo>
                    <a:pt x="13150" y="4927"/>
                  </a:lnTo>
                  <a:lnTo>
                    <a:pt x="13105" y="4843"/>
                  </a:lnTo>
                  <a:lnTo>
                    <a:pt x="13060" y="4761"/>
                  </a:lnTo>
                  <a:lnTo>
                    <a:pt x="13014" y="4680"/>
                  </a:lnTo>
                  <a:lnTo>
                    <a:pt x="12965" y="4600"/>
                  </a:lnTo>
                  <a:lnTo>
                    <a:pt x="12913" y="4520"/>
                  </a:lnTo>
                  <a:lnTo>
                    <a:pt x="12861" y="4441"/>
                  </a:lnTo>
                  <a:lnTo>
                    <a:pt x="12807" y="4364"/>
                  </a:lnTo>
                  <a:lnTo>
                    <a:pt x="12750" y="4286"/>
                  </a:lnTo>
                  <a:lnTo>
                    <a:pt x="12692" y="4210"/>
                  </a:lnTo>
                  <a:lnTo>
                    <a:pt x="12633" y="4136"/>
                  </a:lnTo>
                  <a:lnTo>
                    <a:pt x="12571" y="4062"/>
                  </a:lnTo>
                  <a:lnTo>
                    <a:pt x="12508" y="3989"/>
                  </a:lnTo>
                  <a:lnTo>
                    <a:pt x="12443" y="3917"/>
                  </a:lnTo>
                  <a:lnTo>
                    <a:pt x="12376" y="3847"/>
                  </a:lnTo>
                  <a:lnTo>
                    <a:pt x="12309" y="3778"/>
                  </a:lnTo>
                  <a:lnTo>
                    <a:pt x="12230" y="3701"/>
                  </a:lnTo>
                  <a:lnTo>
                    <a:pt x="12152" y="3628"/>
                  </a:lnTo>
                  <a:lnTo>
                    <a:pt x="12071" y="3557"/>
                  </a:lnTo>
                  <a:lnTo>
                    <a:pt x="11989" y="3487"/>
                  </a:lnTo>
                  <a:lnTo>
                    <a:pt x="11905" y="3419"/>
                  </a:lnTo>
                  <a:lnTo>
                    <a:pt x="11821" y="3354"/>
                  </a:lnTo>
                  <a:lnTo>
                    <a:pt x="11735" y="3292"/>
                  </a:lnTo>
                  <a:lnTo>
                    <a:pt x="11648" y="3231"/>
                  </a:lnTo>
                  <a:lnTo>
                    <a:pt x="11560" y="3172"/>
                  </a:lnTo>
                  <a:lnTo>
                    <a:pt x="11471" y="3116"/>
                  </a:lnTo>
                  <a:lnTo>
                    <a:pt x="11380" y="3062"/>
                  </a:lnTo>
                  <a:lnTo>
                    <a:pt x="11289" y="3010"/>
                  </a:lnTo>
                  <a:lnTo>
                    <a:pt x="11196" y="2961"/>
                  </a:lnTo>
                  <a:lnTo>
                    <a:pt x="11103" y="2914"/>
                  </a:lnTo>
                  <a:lnTo>
                    <a:pt x="11009" y="2868"/>
                  </a:lnTo>
                  <a:lnTo>
                    <a:pt x="10913" y="2826"/>
                  </a:lnTo>
                  <a:lnTo>
                    <a:pt x="10818" y="2786"/>
                  </a:lnTo>
                  <a:lnTo>
                    <a:pt x="10721" y="2749"/>
                  </a:lnTo>
                  <a:lnTo>
                    <a:pt x="10625" y="2714"/>
                  </a:lnTo>
                  <a:lnTo>
                    <a:pt x="10527" y="2681"/>
                  </a:lnTo>
                  <a:lnTo>
                    <a:pt x="10429" y="2651"/>
                  </a:lnTo>
                  <a:lnTo>
                    <a:pt x="10330" y="2622"/>
                  </a:lnTo>
                  <a:lnTo>
                    <a:pt x="10231" y="2597"/>
                  </a:lnTo>
                  <a:lnTo>
                    <a:pt x="10132" y="2574"/>
                  </a:lnTo>
                  <a:lnTo>
                    <a:pt x="10031" y="2554"/>
                  </a:lnTo>
                  <a:lnTo>
                    <a:pt x="9932" y="2537"/>
                  </a:lnTo>
                  <a:lnTo>
                    <a:pt x="9831" y="2522"/>
                  </a:lnTo>
                  <a:lnTo>
                    <a:pt x="9730" y="2510"/>
                  </a:lnTo>
                  <a:lnTo>
                    <a:pt x="9630" y="2500"/>
                  </a:lnTo>
                  <a:lnTo>
                    <a:pt x="9529" y="2493"/>
                  </a:lnTo>
                  <a:lnTo>
                    <a:pt x="9428" y="2489"/>
                  </a:lnTo>
                  <a:lnTo>
                    <a:pt x="9327" y="2487"/>
                  </a:lnTo>
                  <a:lnTo>
                    <a:pt x="10160" y="1649"/>
                  </a:lnTo>
                  <a:lnTo>
                    <a:pt x="10199" y="1611"/>
                  </a:lnTo>
                  <a:lnTo>
                    <a:pt x="10240" y="1574"/>
                  </a:lnTo>
                  <a:lnTo>
                    <a:pt x="10282" y="1538"/>
                  </a:lnTo>
                  <a:lnTo>
                    <a:pt x="10324" y="1502"/>
                  </a:lnTo>
                  <a:lnTo>
                    <a:pt x="10367" y="1468"/>
                  </a:lnTo>
                  <a:lnTo>
                    <a:pt x="10411" y="1435"/>
                  </a:lnTo>
                  <a:lnTo>
                    <a:pt x="10456" y="1404"/>
                  </a:lnTo>
                  <a:lnTo>
                    <a:pt x="10502" y="1373"/>
                  </a:lnTo>
                  <a:lnTo>
                    <a:pt x="10548" y="1344"/>
                  </a:lnTo>
                  <a:lnTo>
                    <a:pt x="10596" y="1316"/>
                  </a:lnTo>
                  <a:lnTo>
                    <a:pt x="10644" y="1289"/>
                  </a:lnTo>
                  <a:lnTo>
                    <a:pt x="10692" y="1263"/>
                  </a:lnTo>
                  <a:lnTo>
                    <a:pt x="10742" y="1237"/>
                  </a:lnTo>
                  <a:lnTo>
                    <a:pt x="10793" y="1214"/>
                  </a:lnTo>
                  <a:lnTo>
                    <a:pt x="10843" y="1192"/>
                  </a:lnTo>
                  <a:lnTo>
                    <a:pt x="10894" y="1171"/>
                  </a:lnTo>
                  <a:lnTo>
                    <a:pt x="10947" y="1151"/>
                  </a:lnTo>
                  <a:lnTo>
                    <a:pt x="11000" y="1132"/>
                  </a:lnTo>
                  <a:lnTo>
                    <a:pt x="11053" y="1115"/>
                  </a:lnTo>
                  <a:lnTo>
                    <a:pt x="11108" y="1099"/>
                  </a:lnTo>
                  <a:lnTo>
                    <a:pt x="11162" y="1084"/>
                  </a:lnTo>
                  <a:lnTo>
                    <a:pt x="11217" y="1070"/>
                  </a:lnTo>
                  <a:lnTo>
                    <a:pt x="11273" y="1058"/>
                  </a:lnTo>
                  <a:lnTo>
                    <a:pt x="11329" y="1046"/>
                  </a:lnTo>
                  <a:lnTo>
                    <a:pt x="11386" y="1037"/>
                  </a:lnTo>
                  <a:lnTo>
                    <a:pt x="11444" y="1028"/>
                  </a:lnTo>
                  <a:lnTo>
                    <a:pt x="11501" y="1021"/>
                  </a:lnTo>
                  <a:lnTo>
                    <a:pt x="11559" y="1015"/>
                  </a:lnTo>
                  <a:lnTo>
                    <a:pt x="11618" y="1010"/>
                  </a:lnTo>
                  <a:lnTo>
                    <a:pt x="11676" y="1007"/>
                  </a:lnTo>
                  <a:lnTo>
                    <a:pt x="11735" y="1005"/>
                  </a:lnTo>
                  <a:lnTo>
                    <a:pt x="11795" y="1004"/>
                  </a:lnTo>
                  <a:lnTo>
                    <a:pt x="11871" y="1005"/>
                  </a:lnTo>
                  <a:lnTo>
                    <a:pt x="11947" y="1008"/>
                  </a:lnTo>
                  <a:lnTo>
                    <a:pt x="12023" y="1014"/>
                  </a:lnTo>
                  <a:lnTo>
                    <a:pt x="12098" y="1021"/>
                  </a:lnTo>
                  <a:lnTo>
                    <a:pt x="12175" y="1030"/>
                  </a:lnTo>
                  <a:lnTo>
                    <a:pt x="12251" y="1042"/>
                  </a:lnTo>
                  <a:lnTo>
                    <a:pt x="12327" y="1055"/>
                  </a:lnTo>
                  <a:lnTo>
                    <a:pt x="12402" y="1071"/>
                  </a:lnTo>
                  <a:lnTo>
                    <a:pt x="12478" y="1088"/>
                  </a:lnTo>
                  <a:lnTo>
                    <a:pt x="12553" y="1108"/>
                  </a:lnTo>
                  <a:lnTo>
                    <a:pt x="12629" y="1129"/>
                  </a:lnTo>
                  <a:lnTo>
                    <a:pt x="12703" y="1153"/>
                  </a:lnTo>
                  <a:lnTo>
                    <a:pt x="12777" y="1178"/>
                  </a:lnTo>
                  <a:lnTo>
                    <a:pt x="12852" y="1205"/>
                  </a:lnTo>
                  <a:lnTo>
                    <a:pt x="12925" y="1234"/>
                  </a:lnTo>
                  <a:lnTo>
                    <a:pt x="12999" y="1266"/>
                  </a:lnTo>
                  <a:lnTo>
                    <a:pt x="13071" y="1299"/>
                  </a:lnTo>
                  <a:lnTo>
                    <a:pt x="13144" y="1334"/>
                  </a:lnTo>
                  <a:lnTo>
                    <a:pt x="13215" y="1370"/>
                  </a:lnTo>
                  <a:lnTo>
                    <a:pt x="13285" y="1408"/>
                  </a:lnTo>
                  <a:lnTo>
                    <a:pt x="13356" y="1448"/>
                  </a:lnTo>
                  <a:lnTo>
                    <a:pt x="13425" y="1490"/>
                  </a:lnTo>
                  <a:lnTo>
                    <a:pt x="13495" y="1535"/>
                  </a:lnTo>
                  <a:lnTo>
                    <a:pt x="13562" y="1580"/>
                  </a:lnTo>
                  <a:lnTo>
                    <a:pt x="13629" y="1627"/>
                  </a:lnTo>
                  <a:lnTo>
                    <a:pt x="13696" y="1676"/>
                  </a:lnTo>
                  <a:lnTo>
                    <a:pt x="13761" y="1727"/>
                  </a:lnTo>
                  <a:lnTo>
                    <a:pt x="13827" y="1779"/>
                  </a:lnTo>
                  <a:lnTo>
                    <a:pt x="13890" y="1834"/>
                  </a:lnTo>
                  <a:lnTo>
                    <a:pt x="13952" y="1889"/>
                  </a:lnTo>
                  <a:lnTo>
                    <a:pt x="14014" y="1946"/>
                  </a:lnTo>
                  <a:lnTo>
                    <a:pt x="14075" y="2005"/>
                  </a:lnTo>
                  <a:lnTo>
                    <a:pt x="14130" y="2061"/>
                  </a:lnTo>
                  <a:lnTo>
                    <a:pt x="14185" y="2119"/>
                  </a:lnTo>
                  <a:lnTo>
                    <a:pt x="14237" y="2177"/>
                  </a:lnTo>
                  <a:lnTo>
                    <a:pt x="14288" y="2235"/>
                  </a:lnTo>
                  <a:lnTo>
                    <a:pt x="14338" y="2295"/>
                  </a:lnTo>
                  <a:lnTo>
                    <a:pt x="14386" y="2356"/>
                  </a:lnTo>
                  <a:lnTo>
                    <a:pt x="14433" y="2417"/>
                  </a:lnTo>
                  <a:lnTo>
                    <a:pt x="14478" y="2478"/>
                  </a:lnTo>
                  <a:lnTo>
                    <a:pt x="14522" y="2540"/>
                  </a:lnTo>
                  <a:lnTo>
                    <a:pt x="14564" y="2603"/>
                  </a:lnTo>
                  <a:lnTo>
                    <a:pt x="14605" y="2667"/>
                  </a:lnTo>
                  <a:lnTo>
                    <a:pt x="14644" y="2731"/>
                  </a:lnTo>
                  <a:lnTo>
                    <a:pt x="14682" y="2796"/>
                  </a:lnTo>
                  <a:lnTo>
                    <a:pt x="14718" y="2861"/>
                  </a:lnTo>
                  <a:lnTo>
                    <a:pt x="14752" y="2927"/>
                  </a:lnTo>
                  <a:lnTo>
                    <a:pt x="14785" y="2993"/>
                  </a:lnTo>
                  <a:lnTo>
                    <a:pt x="14816" y="3060"/>
                  </a:lnTo>
                  <a:lnTo>
                    <a:pt x="14846" y="3126"/>
                  </a:lnTo>
                  <a:lnTo>
                    <a:pt x="14874" y="3195"/>
                  </a:lnTo>
                  <a:lnTo>
                    <a:pt x="14900" y="3262"/>
                  </a:lnTo>
                  <a:lnTo>
                    <a:pt x="14925" y="3330"/>
                  </a:lnTo>
                  <a:lnTo>
                    <a:pt x="14948" y="3398"/>
                  </a:lnTo>
                  <a:lnTo>
                    <a:pt x="14969" y="3468"/>
                  </a:lnTo>
                  <a:lnTo>
                    <a:pt x="14988" y="3537"/>
                  </a:lnTo>
                  <a:lnTo>
                    <a:pt x="15007" y="3606"/>
                  </a:lnTo>
                  <a:lnTo>
                    <a:pt x="15023" y="3675"/>
                  </a:lnTo>
                  <a:lnTo>
                    <a:pt x="15038" y="3746"/>
                  </a:lnTo>
                  <a:lnTo>
                    <a:pt x="15050" y="3816"/>
                  </a:lnTo>
                  <a:lnTo>
                    <a:pt x="15061" y="3885"/>
                  </a:lnTo>
                  <a:lnTo>
                    <a:pt x="15070" y="3955"/>
                  </a:lnTo>
                  <a:lnTo>
                    <a:pt x="15078" y="4026"/>
                  </a:lnTo>
                  <a:lnTo>
                    <a:pt x="15084" y="4097"/>
                  </a:lnTo>
                  <a:lnTo>
                    <a:pt x="15087" y="4162"/>
                  </a:lnTo>
                  <a:lnTo>
                    <a:pt x="15089" y="4227"/>
                  </a:lnTo>
                  <a:lnTo>
                    <a:pt x="15089" y="4292"/>
                  </a:lnTo>
                  <a:lnTo>
                    <a:pt x="15088" y="4357"/>
                  </a:lnTo>
                  <a:lnTo>
                    <a:pt x="15085" y="4420"/>
                  </a:lnTo>
                  <a:lnTo>
                    <a:pt x="15081" y="4484"/>
                  </a:lnTo>
                  <a:lnTo>
                    <a:pt x="15075" y="4546"/>
                  </a:lnTo>
                  <a:lnTo>
                    <a:pt x="15067" y="4610"/>
                  </a:lnTo>
                  <a:lnTo>
                    <a:pt x="15058" y="4672"/>
                  </a:lnTo>
                  <a:lnTo>
                    <a:pt x="15048" y="4733"/>
                  </a:lnTo>
                  <a:lnTo>
                    <a:pt x="15035" y="4794"/>
                  </a:lnTo>
                  <a:lnTo>
                    <a:pt x="15022" y="4855"/>
                  </a:lnTo>
                  <a:lnTo>
                    <a:pt x="15006" y="4914"/>
                  </a:lnTo>
                  <a:lnTo>
                    <a:pt x="14989" y="4973"/>
                  </a:lnTo>
                  <a:lnTo>
                    <a:pt x="14970" y="5032"/>
                  </a:lnTo>
                  <a:lnTo>
                    <a:pt x="14950" y="5089"/>
                  </a:lnTo>
                  <a:lnTo>
                    <a:pt x="14929" y="5147"/>
                  </a:lnTo>
                  <a:lnTo>
                    <a:pt x="14906" y="5203"/>
                  </a:lnTo>
                  <a:lnTo>
                    <a:pt x="14882" y="5259"/>
                  </a:lnTo>
                  <a:lnTo>
                    <a:pt x="14856" y="5314"/>
                  </a:lnTo>
                  <a:lnTo>
                    <a:pt x="14829" y="5368"/>
                  </a:lnTo>
                  <a:lnTo>
                    <a:pt x="14799" y="5422"/>
                  </a:lnTo>
                  <a:lnTo>
                    <a:pt x="14769" y="5474"/>
                  </a:lnTo>
                  <a:lnTo>
                    <a:pt x="14737" y="5526"/>
                  </a:lnTo>
                  <a:lnTo>
                    <a:pt x="14704" y="5577"/>
                  </a:lnTo>
                  <a:lnTo>
                    <a:pt x="14670" y="5627"/>
                  </a:lnTo>
                  <a:lnTo>
                    <a:pt x="14633" y="5675"/>
                  </a:lnTo>
                  <a:lnTo>
                    <a:pt x="14595" y="5724"/>
                  </a:lnTo>
                  <a:lnTo>
                    <a:pt x="14557" y="5772"/>
                  </a:lnTo>
                  <a:lnTo>
                    <a:pt x="14516" y="5818"/>
                  </a:lnTo>
                  <a:lnTo>
                    <a:pt x="14474" y="5863"/>
                  </a:lnTo>
                  <a:lnTo>
                    <a:pt x="14431" y="5907"/>
                  </a:lnTo>
                  <a:close/>
                  <a:moveTo>
                    <a:pt x="4463" y="14370"/>
                  </a:moveTo>
                  <a:lnTo>
                    <a:pt x="4461" y="14307"/>
                  </a:lnTo>
                  <a:lnTo>
                    <a:pt x="4458" y="14243"/>
                  </a:lnTo>
                  <a:lnTo>
                    <a:pt x="4453" y="14180"/>
                  </a:lnTo>
                  <a:lnTo>
                    <a:pt x="4446" y="14117"/>
                  </a:lnTo>
                  <a:lnTo>
                    <a:pt x="4438" y="14053"/>
                  </a:lnTo>
                  <a:lnTo>
                    <a:pt x="4429" y="13990"/>
                  </a:lnTo>
                  <a:lnTo>
                    <a:pt x="4417" y="13926"/>
                  </a:lnTo>
                  <a:lnTo>
                    <a:pt x="4405" y="13863"/>
                  </a:lnTo>
                  <a:lnTo>
                    <a:pt x="4391" y="13800"/>
                  </a:lnTo>
                  <a:lnTo>
                    <a:pt x="4375" y="13737"/>
                  </a:lnTo>
                  <a:lnTo>
                    <a:pt x="4357" y="13673"/>
                  </a:lnTo>
                  <a:lnTo>
                    <a:pt x="4338" y="13610"/>
                  </a:lnTo>
                  <a:lnTo>
                    <a:pt x="4317" y="13548"/>
                  </a:lnTo>
                  <a:lnTo>
                    <a:pt x="4295" y="13486"/>
                  </a:lnTo>
                  <a:lnTo>
                    <a:pt x="4271" y="13423"/>
                  </a:lnTo>
                  <a:lnTo>
                    <a:pt x="4246" y="13362"/>
                  </a:lnTo>
                  <a:lnTo>
                    <a:pt x="4219" y="13300"/>
                  </a:lnTo>
                  <a:lnTo>
                    <a:pt x="4191" y="13240"/>
                  </a:lnTo>
                  <a:lnTo>
                    <a:pt x="4161" y="13179"/>
                  </a:lnTo>
                  <a:lnTo>
                    <a:pt x="4128" y="13119"/>
                  </a:lnTo>
                  <a:lnTo>
                    <a:pt x="4095" y="13059"/>
                  </a:lnTo>
                  <a:lnTo>
                    <a:pt x="4060" y="13000"/>
                  </a:lnTo>
                  <a:lnTo>
                    <a:pt x="4024" y="12942"/>
                  </a:lnTo>
                  <a:lnTo>
                    <a:pt x="3986" y="12884"/>
                  </a:lnTo>
                  <a:lnTo>
                    <a:pt x="3946" y="12826"/>
                  </a:lnTo>
                  <a:lnTo>
                    <a:pt x="3905" y="12769"/>
                  </a:lnTo>
                  <a:lnTo>
                    <a:pt x="3862" y="12714"/>
                  </a:lnTo>
                  <a:lnTo>
                    <a:pt x="3818" y="12658"/>
                  </a:lnTo>
                  <a:lnTo>
                    <a:pt x="3771" y="12604"/>
                  </a:lnTo>
                  <a:lnTo>
                    <a:pt x="3723" y="12549"/>
                  </a:lnTo>
                  <a:lnTo>
                    <a:pt x="3674" y="12497"/>
                  </a:lnTo>
                  <a:lnTo>
                    <a:pt x="3622" y="12445"/>
                  </a:lnTo>
                  <a:lnTo>
                    <a:pt x="3573" y="12396"/>
                  </a:lnTo>
                  <a:lnTo>
                    <a:pt x="3522" y="12349"/>
                  </a:lnTo>
                  <a:lnTo>
                    <a:pt x="3470" y="12303"/>
                  </a:lnTo>
                  <a:lnTo>
                    <a:pt x="3418" y="12258"/>
                  </a:lnTo>
                  <a:lnTo>
                    <a:pt x="3366" y="12215"/>
                  </a:lnTo>
                  <a:lnTo>
                    <a:pt x="3312" y="12174"/>
                  </a:lnTo>
                  <a:lnTo>
                    <a:pt x="3257" y="12133"/>
                  </a:lnTo>
                  <a:lnTo>
                    <a:pt x="3202" y="12094"/>
                  </a:lnTo>
                  <a:lnTo>
                    <a:pt x="3146" y="12057"/>
                  </a:lnTo>
                  <a:lnTo>
                    <a:pt x="3088" y="12020"/>
                  </a:lnTo>
                  <a:lnTo>
                    <a:pt x="3031" y="11985"/>
                  </a:lnTo>
                  <a:lnTo>
                    <a:pt x="2974" y="11952"/>
                  </a:lnTo>
                  <a:lnTo>
                    <a:pt x="2914" y="11920"/>
                  </a:lnTo>
                  <a:lnTo>
                    <a:pt x="2855" y="11889"/>
                  </a:lnTo>
                  <a:lnTo>
                    <a:pt x="2796" y="11860"/>
                  </a:lnTo>
                  <a:lnTo>
                    <a:pt x="2735" y="11832"/>
                  </a:lnTo>
                  <a:lnTo>
                    <a:pt x="2675" y="11806"/>
                  </a:lnTo>
                  <a:lnTo>
                    <a:pt x="2613" y="11781"/>
                  </a:lnTo>
                  <a:lnTo>
                    <a:pt x="2552" y="11757"/>
                  </a:lnTo>
                  <a:lnTo>
                    <a:pt x="2490" y="11735"/>
                  </a:lnTo>
                  <a:lnTo>
                    <a:pt x="2427" y="11715"/>
                  </a:lnTo>
                  <a:lnTo>
                    <a:pt x="2365" y="11696"/>
                  </a:lnTo>
                  <a:lnTo>
                    <a:pt x="2303" y="11679"/>
                  </a:lnTo>
                  <a:lnTo>
                    <a:pt x="2239" y="11663"/>
                  </a:lnTo>
                  <a:lnTo>
                    <a:pt x="2176" y="11648"/>
                  </a:lnTo>
                  <a:lnTo>
                    <a:pt x="2112" y="11636"/>
                  </a:lnTo>
                  <a:lnTo>
                    <a:pt x="2048" y="11625"/>
                  </a:lnTo>
                  <a:lnTo>
                    <a:pt x="1985" y="11615"/>
                  </a:lnTo>
                  <a:lnTo>
                    <a:pt x="1920" y="11607"/>
                  </a:lnTo>
                  <a:lnTo>
                    <a:pt x="1857" y="11600"/>
                  </a:lnTo>
                  <a:lnTo>
                    <a:pt x="1793" y="11595"/>
                  </a:lnTo>
                  <a:lnTo>
                    <a:pt x="1728" y="11592"/>
                  </a:lnTo>
                  <a:lnTo>
                    <a:pt x="2229" y="9781"/>
                  </a:lnTo>
                  <a:lnTo>
                    <a:pt x="2236" y="9759"/>
                  </a:lnTo>
                  <a:lnTo>
                    <a:pt x="2244" y="9736"/>
                  </a:lnTo>
                  <a:lnTo>
                    <a:pt x="2253" y="9714"/>
                  </a:lnTo>
                  <a:lnTo>
                    <a:pt x="2263" y="9692"/>
                  </a:lnTo>
                  <a:lnTo>
                    <a:pt x="2273" y="9670"/>
                  </a:lnTo>
                  <a:lnTo>
                    <a:pt x="2284" y="9648"/>
                  </a:lnTo>
                  <a:lnTo>
                    <a:pt x="2296" y="9626"/>
                  </a:lnTo>
                  <a:lnTo>
                    <a:pt x="2308" y="9604"/>
                  </a:lnTo>
                  <a:lnTo>
                    <a:pt x="2321" y="9583"/>
                  </a:lnTo>
                  <a:lnTo>
                    <a:pt x="2335" y="9561"/>
                  </a:lnTo>
                  <a:lnTo>
                    <a:pt x="2349" y="9539"/>
                  </a:lnTo>
                  <a:lnTo>
                    <a:pt x="2363" y="9518"/>
                  </a:lnTo>
                  <a:lnTo>
                    <a:pt x="2378" y="9498"/>
                  </a:lnTo>
                  <a:lnTo>
                    <a:pt x="2393" y="9478"/>
                  </a:lnTo>
                  <a:lnTo>
                    <a:pt x="2409" y="9458"/>
                  </a:lnTo>
                  <a:lnTo>
                    <a:pt x="2426" y="9438"/>
                  </a:lnTo>
                  <a:lnTo>
                    <a:pt x="2522" y="9374"/>
                  </a:lnTo>
                  <a:lnTo>
                    <a:pt x="2621" y="9314"/>
                  </a:lnTo>
                  <a:lnTo>
                    <a:pt x="2723" y="9260"/>
                  </a:lnTo>
                  <a:lnTo>
                    <a:pt x="2828" y="9211"/>
                  </a:lnTo>
                  <a:lnTo>
                    <a:pt x="2934" y="9169"/>
                  </a:lnTo>
                  <a:lnTo>
                    <a:pt x="3044" y="9131"/>
                  </a:lnTo>
                  <a:lnTo>
                    <a:pt x="3156" y="9099"/>
                  </a:lnTo>
                  <a:lnTo>
                    <a:pt x="3268" y="9072"/>
                  </a:lnTo>
                  <a:lnTo>
                    <a:pt x="3383" y="9051"/>
                  </a:lnTo>
                  <a:lnTo>
                    <a:pt x="3500" y="9034"/>
                  </a:lnTo>
                  <a:lnTo>
                    <a:pt x="3617" y="9024"/>
                  </a:lnTo>
                  <a:lnTo>
                    <a:pt x="3736" y="9018"/>
                  </a:lnTo>
                  <a:lnTo>
                    <a:pt x="3857" y="9018"/>
                  </a:lnTo>
                  <a:lnTo>
                    <a:pt x="3976" y="9023"/>
                  </a:lnTo>
                  <a:lnTo>
                    <a:pt x="4098" y="9033"/>
                  </a:lnTo>
                  <a:lnTo>
                    <a:pt x="4220" y="9049"/>
                  </a:lnTo>
                  <a:lnTo>
                    <a:pt x="4342" y="9070"/>
                  </a:lnTo>
                  <a:lnTo>
                    <a:pt x="4463" y="9096"/>
                  </a:lnTo>
                  <a:lnTo>
                    <a:pt x="4584" y="9127"/>
                  </a:lnTo>
                  <a:lnTo>
                    <a:pt x="4706" y="9164"/>
                  </a:lnTo>
                  <a:lnTo>
                    <a:pt x="4826" y="9206"/>
                  </a:lnTo>
                  <a:lnTo>
                    <a:pt x="4946" y="9252"/>
                  </a:lnTo>
                  <a:lnTo>
                    <a:pt x="5065" y="9305"/>
                  </a:lnTo>
                  <a:lnTo>
                    <a:pt x="5184" y="9363"/>
                  </a:lnTo>
                  <a:lnTo>
                    <a:pt x="5300" y="9425"/>
                  </a:lnTo>
                  <a:lnTo>
                    <a:pt x="5415" y="9493"/>
                  </a:lnTo>
                  <a:lnTo>
                    <a:pt x="5529" y="9566"/>
                  </a:lnTo>
                  <a:lnTo>
                    <a:pt x="5640" y="9644"/>
                  </a:lnTo>
                  <a:lnTo>
                    <a:pt x="5750" y="9727"/>
                  </a:lnTo>
                  <a:lnTo>
                    <a:pt x="5857" y="9815"/>
                  </a:lnTo>
                  <a:lnTo>
                    <a:pt x="5962" y="9909"/>
                  </a:lnTo>
                  <a:lnTo>
                    <a:pt x="6065" y="10007"/>
                  </a:lnTo>
                  <a:lnTo>
                    <a:pt x="6168" y="10115"/>
                  </a:lnTo>
                  <a:lnTo>
                    <a:pt x="6267" y="10226"/>
                  </a:lnTo>
                  <a:lnTo>
                    <a:pt x="6360" y="10339"/>
                  </a:lnTo>
                  <a:lnTo>
                    <a:pt x="6447" y="10456"/>
                  </a:lnTo>
                  <a:lnTo>
                    <a:pt x="6529" y="10574"/>
                  </a:lnTo>
                  <a:lnTo>
                    <a:pt x="6604" y="10695"/>
                  </a:lnTo>
                  <a:lnTo>
                    <a:pt x="6673" y="10816"/>
                  </a:lnTo>
                  <a:lnTo>
                    <a:pt x="6738" y="10941"/>
                  </a:lnTo>
                  <a:lnTo>
                    <a:pt x="6796" y="11065"/>
                  </a:lnTo>
                  <a:lnTo>
                    <a:pt x="6848" y="11191"/>
                  </a:lnTo>
                  <a:lnTo>
                    <a:pt x="6895" y="11318"/>
                  </a:lnTo>
                  <a:lnTo>
                    <a:pt x="6936" y="11446"/>
                  </a:lnTo>
                  <a:lnTo>
                    <a:pt x="6971" y="11574"/>
                  </a:lnTo>
                  <a:lnTo>
                    <a:pt x="7000" y="11702"/>
                  </a:lnTo>
                  <a:lnTo>
                    <a:pt x="7023" y="11831"/>
                  </a:lnTo>
                  <a:lnTo>
                    <a:pt x="7041" y="11959"/>
                  </a:lnTo>
                  <a:lnTo>
                    <a:pt x="7052" y="12087"/>
                  </a:lnTo>
                  <a:lnTo>
                    <a:pt x="7058" y="12214"/>
                  </a:lnTo>
                  <a:lnTo>
                    <a:pt x="7057" y="12341"/>
                  </a:lnTo>
                  <a:lnTo>
                    <a:pt x="7051" y="12466"/>
                  </a:lnTo>
                  <a:lnTo>
                    <a:pt x="7039" y="12589"/>
                  </a:lnTo>
                  <a:lnTo>
                    <a:pt x="7019" y="12712"/>
                  </a:lnTo>
                  <a:lnTo>
                    <a:pt x="6995" y="12832"/>
                  </a:lnTo>
                  <a:lnTo>
                    <a:pt x="6965" y="12952"/>
                  </a:lnTo>
                  <a:lnTo>
                    <a:pt x="6929" y="13068"/>
                  </a:lnTo>
                  <a:lnTo>
                    <a:pt x="6886" y="13183"/>
                  </a:lnTo>
                  <a:lnTo>
                    <a:pt x="6837" y="13294"/>
                  </a:lnTo>
                  <a:lnTo>
                    <a:pt x="6783" y="13402"/>
                  </a:lnTo>
                  <a:lnTo>
                    <a:pt x="6722" y="13508"/>
                  </a:lnTo>
                  <a:lnTo>
                    <a:pt x="6655" y="13610"/>
                  </a:lnTo>
                  <a:lnTo>
                    <a:pt x="6582" y="13710"/>
                  </a:lnTo>
                  <a:lnTo>
                    <a:pt x="6502" y="13805"/>
                  </a:lnTo>
                  <a:lnTo>
                    <a:pt x="6481" y="13816"/>
                  </a:lnTo>
                  <a:lnTo>
                    <a:pt x="6459" y="13827"/>
                  </a:lnTo>
                  <a:lnTo>
                    <a:pt x="6437" y="13838"/>
                  </a:lnTo>
                  <a:lnTo>
                    <a:pt x="6415" y="13848"/>
                  </a:lnTo>
                  <a:lnTo>
                    <a:pt x="6392" y="13858"/>
                  </a:lnTo>
                  <a:lnTo>
                    <a:pt x="6369" y="13867"/>
                  </a:lnTo>
                  <a:lnTo>
                    <a:pt x="6345" y="13876"/>
                  </a:lnTo>
                  <a:lnTo>
                    <a:pt x="6322" y="13884"/>
                  </a:lnTo>
                  <a:lnTo>
                    <a:pt x="4463" y="14370"/>
                  </a:lnTo>
                  <a:close/>
                  <a:moveTo>
                    <a:pt x="2096" y="14991"/>
                  </a:moveTo>
                  <a:lnTo>
                    <a:pt x="2070" y="14997"/>
                  </a:lnTo>
                  <a:lnTo>
                    <a:pt x="2036" y="15005"/>
                  </a:lnTo>
                  <a:lnTo>
                    <a:pt x="1995" y="15014"/>
                  </a:lnTo>
                  <a:lnTo>
                    <a:pt x="1949" y="15024"/>
                  </a:lnTo>
                  <a:lnTo>
                    <a:pt x="1899" y="15034"/>
                  </a:lnTo>
                  <a:lnTo>
                    <a:pt x="1849" y="15043"/>
                  </a:lnTo>
                  <a:lnTo>
                    <a:pt x="1825" y="15046"/>
                  </a:lnTo>
                  <a:lnTo>
                    <a:pt x="1801" y="15050"/>
                  </a:lnTo>
                  <a:lnTo>
                    <a:pt x="1777" y="15052"/>
                  </a:lnTo>
                  <a:lnTo>
                    <a:pt x="1755" y="15054"/>
                  </a:lnTo>
                  <a:lnTo>
                    <a:pt x="1716" y="15053"/>
                  </a:lnTo>
                  <a:lnTo>
                    <a:pt x="1679" y="15049"/>
                  </a:lnTo>
                  <a:lnTo>
                    <a:pt x="1641" y="15044"/>
                  </a:lnTo>
                  <a:lnTo>
                    <a:pt x="1604" y="15037"/>
                  </a:lnTo>
                  <a:lnTo>
                    <a:pt x="1568" y="15029"/>
                  </a:lnTo>
                  <a:lnTo>
                    <a:pt x="1532" y="15018"/>
                  </a:lnTo>
                  <a:lnTo>
                    <a:pt x="1498" y="15006"/>
                  </a:lnTo>
                  <a:lnTo>
                    <a:pt x="1464" y="14993"/>
                  </a:lnTo>
                  <a:lnTo>
                    <a:pt x="1430" y="14978"/>
                  </a:lnTo>
                  <a:lnTo>
                    <a:pt x="1398" y="14961"/>
                  </a:lnTo>
                  <a:lnTo>
                    <a:pt x="1367" y="14943"/>
                  </a:lnTo>
                  <a:lnTo>
                    <a:pt x="1336" y="14923"/>
                  </a:lnTo>
                  <a:lnTo>
                    <a:pt x="1307" y="14902"/>
                  </a:lnTo>
                  <a:lnTo>
                    <a:pt x="1279" y="14880"/>
                  </a:lnTo>
                  <a:lnTo>
                    <a:pt x="1251" y="14856"/>
                  </a:lnTo>
                  <a:lnTo>
                    <a:pt x="1225" y="14832"/>
                  </a:lnTo>
                  <a:lnTo>
                    <a:pt x="1201" y="14804"/>
                  </a:lnTo>
                  <a:lnTo>
                    <a:pt x="1177" y="14777"/>
                  </a:lnTo>
                  <a:lnTo>
                    <a:pt x="1155" y="14749"/>
                  </a:lnTo>
                  <a:lnTo>
                    <a:pt x="1134" y="14720"/>
                  </a:lnTo>
                  <a:lnTo>
                    <a:pt x="1115" y="14689"/>
                  </a:lnTo>
                  <a:lnTo>
                    <a:pt x="1096" y="14658"/>
                  </a:lnTo>
                  <a:lnTo>
                    <a:pt x="1080" y="14626"/>
                  </a:lnTo>
                  <a:lnTo>
                    <a:pt x="1065" y="14593"/>
                  </a:lnTo>
                  <a:lnTo>
                    <a:pt x="1051" y="14559"/>
                  </a:lnTo>
                  <a:lnTo>
                    <a:pt x="1040" y="14524"/>
                  </a:lnTo>
                  <a:lnTo>
                    <a:pt x="1030" y="14488"/>
                  </a:lnTo>
                  <a:lnTo>
                    <a:pt x="1021" y="14452"/>
                  </a:lnTo>
                  <a:lnTo>
                    <a:pt x="1015" y="14415"/>
                  </a:lnTo>
                  <a:lnTo>
                    <a:pt x="1010" y="14378"/>
                  </a:lnTo>
                  <a:lnTo>
                    <a:pt x="1007" y="14340"/>
                  </a:lnTo>
                  <a:lnTo>
                    <a:pt x="1006" y="14302"/>
                  </a:lnTo>
                  <a:lnTo>
                    <a:pt x="1009" y="14268"/>
                  </a:lnTo>
                  <a:lnTo>
                    <a:pt x="1015" y="14229"/>
                  </a:lnTo>
                  <a:lnTo>
                    <a:pt x="1022" y="14189"/>
                  </a:lnTo>
                  <a:lnTo>
                    <a:pt x="1029" y="14149"/>
                  </a:lnTo>
                  <a:lnTo>
                    <a:pt x="1037" y="14110"/>
                  </a:lnTo>
                  <a:lnTo>
                    <a:pt x="1045" y="14074"/>
                  </a:lnTo>
                  <a:lnTo>
                    <a:pt x="1051" y="14043"/>
                  </a:lnTo>
                  <a:lnTo>
                    <a:pt x="1056" y="14020"/>
                  </a:lnTo>
                  <a:lnTo>
                    <a:pt x="1586" y="12106"/>
                  </a:lnTo>
                  <a:lnTo>
                    <a:pt x="1641" y="12105"/>
                  </a:lnTo>
                  <a:lnTo>
                    <a:pt x="1695" y="12105"/>
                  </a:lnTo>
                  <a:lnTo>
                    <a:pt x="1749" y="12107"/>
                  </a:lnTo>
                  <a:lnTo>
                    <a:pt x="1804" y="12111"/>
                  </a:lnTo>
                  <a:lnTo>
                    <a:pt x="1858" y="12116"/>
                  </a:lnTo>
                  <a:lnTo>
                    <a:pt x="1913" y="12122"/>
                  </a:lnTo>
                  <a:lnTo>
                    <a:pt x="1968" y="12130"/>
                  </a:lnTo>
                  <a:lnTo>
                    <a:pt x="2023" y="12139"/>
                  </a:lnTo>
                  <a:lnTo>
                    <a:pt x="2077" y="12149"/>
                  </a:lnTo>
                  <a:lnTo>
                    <a:pt x="2133" y="12161"/>
                  </a:lnTo>
                  <a:lnTo>
                    <a:pt x="2187" y="12175"/>
                  </a:lnTo>
                  <a:lnTo>
                    <a:pt x="2242" y="12190"/>
                  </a:lnTo>
                  <a:lnTo>
                    <a:pt x="2297" y="12206"/>
                  </a:lnTo>
                  <a:lnTo>
                    <a:pt x="2351" y="12224"/>
                  </a:lnTo>
                  <a:lnTo>
                    <a:pt x="2405" y="12243"/>
                  </a:lnTo>
                  <a:lnTo>
                    <a:pt x="2460" y="12264"/>
                  </a:lnTo>
                  <a:lnTo>
                    <a:pt x="2513" y="12286"/>
                  </a:lnTo>
                  <a:lnTo>
                    <a:pt x="2566" y="12309"/>
                  </a:lnTo>
                  <a:lnTo>
                    <a:pt x="2619" y="12335"/>
                  </a:lnTo>
                  <a:lnTo>
                    <a:pt x="2673" y="12362"/>
                  </a:lnTo>
                  <a:lnTo>
                    <a:pt x="2725" y="12390"/>
                  </a:lnTo>
                  <a:lnTo>
                    <a:pt x="2776" y="12420"/>
                  </a:lnTo>
                  <a:lnTo>
                    <a:pt x="2829" y="12451"/>
                  </a:lnTo>
                  <a:lnTo>
                    <a:pt x="2879" y="12483"/>
                  </a:lnTo>
                  <a:lnTo>
                    <a:pt x="2930" y="12517"/>
                  </a:lnTo>
                  <a:lnTo>
                    <a:pt x="2980" y="12553"/>
                  </a:lnTo>
                  <a:lnTo>
                    <a:pt x="3029" y="12590"/>
                  </a:lnTo>
                  <a:lnTo>
                    <a:pt x="3078" y="12629"/>
                  </a:lnTo>
                  <a:lnTo>
                    <a:pt x="3126" y="12669"/>
                  </a:lnTo>
                  <a:lnTo>
                    <a:pt x="3174" y="12711"/>
                  </a:lnTo>
                  <a:lnTo>
                    <a:pt x="3220" y="12754"/>
                  </a:lnTo>
                  <a:lnTo>
                    <a:pt x="3266" y="12799"/>
                  </a:lnTo>
                  <a:lnTo>
                    <a:pt x="3312" y="12845"/>
                  </a:lnTo>
                  <a:lnTo>
                    <a:pt x="3356" y="12893"/>
                  </a:lnTo>
                  <a:lnTo>
                    <a:pt x="3398" y="12941"/>
                  </a:lnTo>
                  <a:lnTo>
                    <a:pt x="3439" y="12990"/>
                  </a:lnTo>
                  <a:lnTo>
                    <a:pt x="3479" y="13039"/>
                  </a:lnTo>
                  <a:lnTo>
                    <a:pt x="3517" y="13089"/>
                  </a:lnTo>
                  <a:lnTo>
                    <a:pt x="3553" y="13139"/>
                  </a:lnTo>
                  <a:lnTo>
                    <a:pt x="3588" y="13191"/>
                  </a:lnTo>
                  <a:lnTo>
                    <a:pt x="3621" y="13243"/>
                  </a:lnTo>
                  <a:lnTo>
                    <a:pt x="3653" y="13295"/>
                  </a:lnTo>
                  <a:lnTo>
                    <a:pt x="3683" y="13348"/>
                  </a:lnTo>
                  <a:lnTo>
                    <a:pt x="3712" y="13401"/>
                  </a:lnTo>
                  <a:lnTo>
                    <a:pt x="3739" y="13455"/>
                  </a:lnTo>
                  <a:lnTo>
                    <a:pt x="3765" y="13509"/>
                  </a:lnTo>
                  <a:lnTo>
                    <a:pt x="3788" y="13563"/>
                  </a:lnTo>
                  <a:lnTo>
                    <a:pt x="3811" y="13617"/>
                  </a:lnTo>
                  <a:lnTo>
                    <a:pt x="3833" y="13671"/>
                  </a:lnTo>
                  <a:lnTo>
                    <a:pt x="3852" y="13727"/>
                  </a:lnTo>
                  <a:lnTo>
                    <a:pt x="3870" y="13782"/>
                  </a:lnTo>
                  <a:lnTo>
                    <a:pt x="3887" y="13837"/>
                  </a:lnTo>
                  <a:lnTo>
                    <a:pt x="3902" y="13892"/>
                  </a:lnTo>
                  <a:lnTo>
                    <a:pt x="3915" y="13948"/>
                  </a:lnTo>
                  <a:lnTo>
                    <a:pt x="3927" y="14004"/>
                  </a:lnTo>
                  <a:lnTo>
                    <a:pt x="3938" y="14060"/>
                  </a:lnTo>
                  <a:lnTo>
                    <a:pt x="3946" y="14115"/>
                  </a:lnTo>
                  <a:lnTo>
                    <a:pt x="3954" y="14170"/>
                  </a:lnTo>
                  <a:lnTo>
                    <a:pt x="3960" y="14225"/>
                  </a:lnTo>
                  <a:lnTo>
                    <a:pt x="3964" y="14282"/>
                  </a:lnTo>
                  <a:lnTo>
                    <a:pt x="3967" y="14337"/>
                  </a:lnTo>
                  <a:lnTo>
                    <a:pt x="3968" y="14391"/>
                  </a:lnTo>
                  <a:lnTo>
                    <a:pt x="3968" y="14446"/>
                  </a:lnTo>
                  <a:lnTo>
                    <a:pt x="3967" y="14500"/>
                  </a:lnTo>
                  <a:lnTo>
                    <a:pt x="2096" y="14991"/>
                  </a:lnTo>
                  <a:close/>
                  <a:moveTo>
                    <a:pt x="5275" y="8311"/>
                  </a:moveTo>
                  <a:lnTo>
                    <a:pt x="5187" y="8277"/>
                  </a:lnTo>
                  <a:lnTo>
                    <a:pt x="5099" y="8245"/>
                  </a:lnTo>
                  <a:lnTo>
                    <a:pt x="5011" y="8215"/>
                  </a:lnTo>
                  <a:lnTo>
                    <a:pt x="4921" y="8186"/>
                  </a:lnTo>
                  <a:lnTo>
                    <a:pt x="4877" y="8173"/>
                  </a:lnTo>
                  <a:lnTo>
                    <a:pt x="4833" y="8159"/>
                  </a:lnTo>
                  <a:lnTo>
                    <a:pt x="4787" y="8147"/>
                  </a:lnTo>
                  <a:lnTo>
                    <a:pt x="4742" y="8135"/>
                  </a:lnTo>
                  <a:lnTo>
                    <a:pt x="4698" y="8124"/>
                  </a:lnTo>
                  <a:lnTo>
                    <a:pt x="4652" y="8113"/>
                  </a:lnTo>
                  <a:lnTo>
                    <a:pt x="4607" y="8103"/>
                  </a:lnTo>
                  <a:lnTo>
                    <a:pt x="4562" y="8093"/>
                  </a:lnTo>
                  <a:lnTo>
                    <a:pt x="4517" y="8084"/>
                  </a:lnTo>
                  <a:lnTo>
                    <a:pt x="4471" y="8075"/>
                  </a:lnTo>
                  <a:lnTo>
                    <a:pt x="4426" y="8067"/>
                  </a:lnTo>
                  <a:lnTo>
                    <a:pt x="4380" y="8059"/>
                  </a:lnTo>
                  <a:lnTo>
                    <a:pt x="4335" y="8052"/>
                  </a:lnTo>
                  <a:lnTo>
                    <a:pt x="4289" y="8045"/>
                  </a:lnTo>
                  <a:lnTo>
                    <a:pt x="4243" y="8039"/>
                  </a:lnTo>
                  <a:lnTo>
                    <a:pt x="4198" y="8034"/>
                  </a:lnTo>
                  <a:lnTo>
                    <a:pt x="4153" y="8029"/>
                  </a:lnTo>
                  <a:lnTo>
                    <a:pt x="4106" y="8025"/>
                  </a:lnTo>
                  <a:lnTo>
                    <a:pt x="4061" y="8021"/>
                  </a:lnTo>
                  <a:lnTo>
                    <a:pt x="4015" y="8018"/>
                  </a:lnTo>
                  <a:lnTo>
                    <a:pt x="3969" y="8015"/>
                  </a:lnTo>
                  <a:lnTo>
                    <a:pt x="3923" y="8013"/>
                  </a:lnTo>
                  <a:lnTo>
                    <a:pt x="3878" y="8011"/>
                  </a:lnTo>
                  <a:lnTo>
                    <a:pt x="3832" y="8011"/>
                  </a:lnTo>
                  <a:lnTo>
                    <a:pt x="7706" y="4116"/>
                  </a:lnTo>
                  <a:lnTo>
                    <a:pt x="7763" y="4063"/>
                  </a:lnTo>
                  <a:lnTo>
                    <a:pt x="7820" y="4012"/>
                  </a:lnTo>
                  <a:lnTo>
                    <a:pt x="7880" y="3964"/>
                  </a:lnTo>
                  <a:lnTo>
                    <a:pt x="7941" y="3918"/>
                  </a:lnTo>
                  <a:lnTo>
                    <a:pt x="8003" y="3875"/>
                  </a:lnTo>
                  <a:lnTo>
                    <a:pt x="8067" y="3834"/>
                  </a:lnTo>
                  <a:lnTo>
                    <a:pt x="8131" y="3796"/>
                  </a:lnTo>
                  <a:lnTo>
                    <a:pt x="8197" y="3760"/>
                  </a:lnTo>
                  <a:lnTo>
                    <a:pt x="8265" y="3725"/>
                  </a:lnTo>
                  <a:lnTo>
                    <a:pt x="8333" y="3694"/>
                  </a:lnTo>
                  <a:lnTo>
                    <a:pt x="8403" y="3665"/>
                  </a:lnTo>
                  <a:lnTo>
                    <a:pt x="8473" y="3638"/>
                  </a:lnTo>
                  <a:lnTo>
                    <a:pt x="8544" y="3613"/>
                  </a:lnTo>
                  <a:lnTo>
                    <a:pt x="8616" y="3591"/>
                  </a:lnTo>
                  <a:lnTo>
                    <a:pt x="8689" y="3571"/>
                  </a:lnTo>
                  <a:lnTo>
                    <a:pt x="8764" y="3554"/>
                  </a:lnTo>
                  <a:lnTo>
                    <a:pt x="8838" y="3539"/>
                  </a:lnTo>
                  <a:lnTo>
                    <a:pt x="8914" y="3526"/>
                  </a:lnTo>
                  <a:lnTo>
                    <a:pt x="8989" y="3515"/>
                  </a:lnTo>
                  <a:lnTo>
                    <a:pt x="9067" y="3507"/>
                  </a:lnTo>
                  <a:lnTo>
                    <a:pt x="9143" y="3501"/>
                  </a:lnTo>
                  <a:lnTo>
                    <a:pt x="9220" y="3497"/>
                  </a:lnTo>
                  <a:lnTo>
                    <a:pt x="9299" y="3496"/>
                  </a:lnTo>
                  <a:lnTo>
                    <a:pt x="9377" y="3497"/>
                  </a:lnTo>
                  <a:lnTo>
                    <a:pt x="9457" y="3500"/>
                  </a:lnTo>
                  <a:lnTo>
                    <a:pt x="9535" y="3505"/>
                  </a:lnTo>
                  <a:lnTo>
                    <a:pt x="9615" y="3512"/>
                  </a:lnTo>
                  <a:lnTo>
                    <a:pt x="9694" y="3522"/>
                  </a:lnTo>
                  <a:lnTo>
                    <a:pt x="9775" y="3534"/>
                  </a:lnTo>
                  <a:lnTo>
                    <a:pt x="9854" y="3548"/>
                  </a:lnTo>
                  <a:lnTo>
                    <a:pt x="9934" y="3565"/>
                  </a:lnTo>
                  <a:lnTo>
                    <a:pt x="10014" y="3583"/>
                  </a:lnTo>
                  <a:lnTo>
                    <a:pt x="5275" y="8311"/>
                  </a:lnTo>
                  <a:close/>
                  <a:moveTo>
                    <a:pt x="7441" y="10165"/>
                  </a:moveTo>
                  <a:lnTo>
                    <a:pt x="7406" y="10107"/>
                  </a:lnTo>
                  <a:lnTo>
                    <a:pt x="7369" y="10049"/>
                  </a:lnTo>
                  <a:lnTo>
                    <a:pt x="7332" y="9992"/>
                  </a:lnTo>
                  <a:lnTo>
                    <a:pt x="7295" y="9936"/>
                  </a:lnTo>
                  <a:lnTo>
                    <a:pt x="7257" y="9880"/>
                  </a:lnTo>
                  <a:lnTo>
                    <a:pt x="7218" y="9824"/>
                  </a:lnTo>
                  <a:lnTo>
                    <a:pt x="7177" y="9768"/>
                  </a:lnTo>
                  <a:lnTo>
                    <a:pt x="7137" y="9714"/>
                  </a:lnTo>
                  <a:lnTo>
                    <a:pt x="7096" y="9660"/>
                  </a:lnTo>
                  <a:lnTo>
                    <a:pt x="7053" y="9606"/>
                  </a:lnTo>
                  <a:lnTo>
                    <a:pt x="7009" y="9553"/>
                  </a:lnTo>
                  <a:lnTo>
                    <a:pt x="6965" y="9500"/>
                  </a:lnTo>
                  <a:lnTo>
                    <a:pt x="6919" y="9448"/>
                  </a:lnTo>
                  <a:lnTo>
                    <a:pt x="6873" y="9397"/>
                  </a:lnTo>
                  <a:lnTo>
                    <a:pt x="6824" y="9347"/>
                  </a:lnTo>
                  <a:lnTo>
                    <a:pt x="6776" y="9297"/>
                  </a:lnTo>
                  <a:lnTo>
                    <a:pt x="6718" y="9240"/>
                  </a:lnTo>
                  <a:lnTo>
                    <a:pt x="6658" y="9185"/>
                  </a:lnTo>
                  <a:lnTo>
                    <a:pt x="6598" y="9131"/>
                  </a:lnTo>
                  <a:lnTo>
                    <a:pt x="6538" y="9079"/>
                  </a:lnTo>
                  <a:lnTo>
                    <a:pt x="6475" y="9029"/>
                  </a:lnTo>
                  <a:lnTo>
                    <a:pt x="6412" y="8978"/>
                  </a:lnTo>
                  <a:lnTo>
                    <a:pt x="6348" y="8930"/>
                  </a:lnTo>
                  <a:lnTo>
                    <a:pt x="6284" y="8884"/>
                  </a:lnTo>
                  <a:lnTo>
                    <a:pt x="6220" y="8838"/>
                  </a:lnTo>
                  <a:lnTo>
                    <a:pt x="6153" y="8794"/>
                  </a:lnTo>
                  <a:lnTo>
                    <a:pt x="6087" y="8750"/>
                  </a:lnTo>
                  <a:lnTo>
                    <a:pt x="6021" y="8707"/>
                  </a:lnTo>
                  <a:lnTo>
                    <a:pt x="5953" y="8666"/>
                  </a:lnTo>
                  <a:lnTo>
                    <a:pt x="5885" y="8626"/>
                  </a:lnTo>
                  <a:lnTo>
                    <a:pt x="5816" y="8587"/>
                  </a:lnTo>
                  <a:lnTo>
                    <a:pt x="5748" y="8549"/>
                  </a:lnTo>
                  <a:lnTo>
                    <a:pt x="10542" y="3766"/>
                  </a:lnTo>
                  <a:lnTo>
                    <a:pt x="10613" y="3798"/>
                  </a:lnTo>
                  <a:lnTo>
                    <a:pt x="10683" y="3831"/>
                  </a:lnTo>
                  <a:lnTo>
                    <a:pt x="10752" y="3866"/>
                  </a:lnTo>
                  <a:lnTo>
                    <a:pt x="10821" y="3903"/>
                  </a:lnTo>
                  <a:lnTo>
                    <a:pt x="10889" y="3942"/>
                  </a:lnTo>
                  <a:lnTo>
                    <a:pt x="10958" y="3983"/>
                  </a:lnTo>
                  <a:lnTo>
                    <a:pt x="11025" y="4026"/>
                  </a:lnTo>
                  <a:lnTo>
                    <a:pt x="11091" y="4070"/>
                  </a:lnTo>
                  <a:lnTo>
                    <a:pt x="11157" y="4115"/>
                  </a:lnTo>
                  <a:lnTo>
                    <a:pt x="11222" y="4163"/>
                  </a:lnTo>
                  <a:lnTo>
                    <a:pt x="11287" y="4212"/>
                  </a:lnTo>
                  <a:lnTo>
                    <a:pt x="11351" y="4263"/>
                  </a:lnTo>
                  <a:lnTo>
                    <a:pt x="11413" y="4317"/>
                  </a:lnTo>
                  <a:lnTo>
                    <a:pt x="11476" y="4372"/>
                  </a:lnTo>
                  <a:lnTo>
                    <a:pt x="11537" y="4428"/>
                  </a:lnTo>
                  <a:lnTo>
                    <a:pt x="11597" y="4487"/>
                  </a:lnTo>
                  <a:lnTo>
                    <a:pt x="11648" y="4537"/>
                  </a:lnTo>
                  <a:lnTo>
                    <a:pt x="11696" y="4590"/>
                  </a:lnTo>
                  <a:lnTo>
                    <a:pt x="11743" y="4642"/>
                  </a:lnTo>
                  <a:lnTo>
                    <a:pt x="11790" y="4696"/>
                  </a:lnTo>
                  <a:lnTo>
                    <a:pt x="11835" y="4749"/>
                  </a:lnTo>
                  <a:lnTo>
                    <a:pt x="11878" y="4803"/>
                  </a:lnTo>
                  <a:lnTo>
                    <a:pt x="11919" y="4859"/>
                  </a:lnTo>
                  <a:lnTo>
                    <a:pt x="11961" y="4915"/>
                  </a:lnTo>
                  <a:lnTo>
                    <a:pt x="12000" y="4970"/>
                  </a:lnTo>
                  <a:lnTo>
                    <a:pt x="12038" y="5027"/>
                  </a:lnTo>
                  <a:lnTo>
                    <a:pt x="12075" y="5084"/>
                  </a:lnTo>
                  <a:lnTo>
                    <a:pt x="12110" y="5142"/>
                  </a:lnTo>
                  <a:lnTo>
                    <a:pt x="12145" y="5200"/>
                  </a:lnTo>
                  <a:lnTo>
                    <a:pt x="12178" y="5258"/>
                  </a:lnTo>
                  <a:lnTo>
                    <a:pt x="12210" y="5316"/>
                  </a:lnTo>
                  <a:lnTo>
                    <a:pt x="12241" y="5375"/>
                  </a:lnTo>
                  <a:lnTo>
                    <a:pt x="7441" y="10165"/>
                  </a:lnTo>
                  <a:close/>
                  <a:moveTo>
                    <a:pt x="8055" y="11941"/>
                  </a:moveTo>
                  <a:lnTo>
                    <a:pt x="8045" y="11856"/>
                  </a:lnTo>
                  <a:lnTo>
                    <a:pt x="8035" y="11772"/>
                  </a:lnTo>
                  <a:lnTo>
                    <a:pt x="8022" y="11687"/>
                  </a:lnTo>
                  <a:lnTo>
                    <a:pt x="8008" y="11603"/>
                  </a:lnTo>
                  <a:lnTo>
                    <a:pt x="7991" y="11519"/>
                  </a:lnTo>
                  <a:lnTo>
                    <a:pt x="7973" y="11435"/>
                  </a:lnTo>
                  <a:lnTo>
                    <a:pt x="7953" y="11352"/>
                  </a:lnTo>
                  <a:lnTo>
                    <a:pt x="7931" y="11270"/>
                  </a:lnTo>
                  <a:lnTo>
                    <a:pt x="7907" y="11187"/>
                  </a:lnTo>
                  <a:lnTo>
                    <a:pt x="7882" y="11105"/>
                  </a:lnTo>
                  <a:lnTo>
                    <a:pt x="7854" y="11024"/>
                  </a:lnTo>
                  <a:lnTo>
                    <a:pt x="7825" y="10943"/>
                  </a:lnTo>
                  <a:lnTo>
                    <a:pt x="7795" y="10861"/>
                  </a:lnTo>
                  <a:lnTo>
                    <a:pt x="7763" y="10781"/>
                  </a:lnTo>
                  <a:lnTo>
                    <a:pt x="7729" y="10702"/>
                  </a:lnTo>
                  <a:lnTo>
                    <a:pt x="7693" y="10622"/>
                  </a:lnTo>
                  <a:lnTo>
                    <a:pt x="12448" y="5878"/>
                  </a:lnTo>
                  <a:lnTo>
                    <a:pt x="12475" y="5965"/>
                  </a:lnTo>
                  <a:lnTo>
                    <a:pt x="12499" y="6051"/>
                  </a:lnTo>
                  <a:lnTo>
                    <a:pt x="12519" y="6137"/>
                  </a:lnTo>
                  <a:lnTo>
                    <a:pt x="12537" y="6223"/>
                  </a:lnTo>
                  <a:lnTo>
                    <a:pt x="12553" y="6310"/>
                  </a:lnTo>
                  <a:lnTo>
                    <a:pt x="12566" y="6396"/>
                  </a:lnTo>
                  <a:lnTo>
                    <a:pt x="12576" y="6482"/>
                  </a:lnTo>
                  <a:lnTo>
                    <a:pt x="12583" y="6568"/>
                  </a:lnTo>
                  <a:lnTo>
                    <a:pt x="12588" y="6654"/>
                  </a:lnTo>
                  <a:lnTo>
                    <a:pt x="12591" y="6739"/>
                  </a:lnTo>
                  <a:lnTo>
                    <a:pt x="12591" y="6824"/>
                  </a:lnTo>
                  <a:lnTo>
                    <a:pt x="12588" y="6908"/>
                  </a:lnTo>
                  <a:lnTo>
                    <a:pt x="12582" y="6992"/>
                  </a:lnTo>
                  <a:lnTo>
                    <a:pt x="12574" y="7075"/>
                  </a:lnTo>
                  <a:lnTo>
                    <a:pt x="12563" y="7158"/>
                  </a:lnTo>
                  <a:lnTo>
                    <a:pt x="12549" y="7239"/>
                  </a:lnTo>
                  <a:lnTo>
                    <a:pt x="12533" y="7320"/>
                  </a:lnTo>
                  <a:lnTo>
                    <a:pt x="12513" y="7400"/>
                  </a:lnTo>
                  <a:lnTo>
                    <a:pt x="12492" y="7479"/>
                  </a:lnTo>
                  <a:lnTo>
                    <a:pt x="12467" y="7557"/>
                  </a:lnTo>
                  <a:lnTo>
                    <a:pt x="12439" y="7635"/>
                  </a:lnTo>
                  <a:lnTo>
                    <a:pt x="12409" y="7710"/>
                  </a:lnTo>
                  <a:lnTo>
                    <a:pt x="12376" y="7784"/>
                  </a:lnTo>
                  <a:lnTo>
                    <a:pt x="12340" y="7857"/>
                  </a:lnTo>
                  <a:lnTo>
                    <a:pt x="12302" y="7930"/>
                  </a:lnTo>
                  <a:lnTo>
                    <a:pt x="12260" y="8000"/>
                  </a:lnTo>
                  <a:lnTo>
                    <a:pt x="12216" y="8069"/>
                  </a:lnTo>
                  <a:lnTo>
                    <a:pt x="12169" y="8136"/>
                  </a:lnTo>
                  <a:lnTo>
                    <a:pt x="12120" y="8203"/>
                  </a:lnTo>
                  <a:lnTo>
                    <a:pt x="12066" y="8267"/>
                  </a:lnTo>
                  <a:lnTo>
                    <a:pt x="12011" y="8329"/>
                  </a:lnTo>
                  <a:lnTo>
                    <a:pt x="11953" y="8389"/>
                  </a:lnTo>
                  <a:lnTo>
                    <a:pt x="11947" y="8394"/>
                  </a:lnTo>
                  <a:lnTo>
                    <a:pt x="11940" y="8400"/>
                  </a:lnTo>
                  <a:lnTo>
                    <a:pt x="11948" y="8406"/>
                  </a:lnTo>
                  <a:lnTo>
                    <a:pt x="8060" y="12314"/>
                  </a:lnTo>
                  <a:lnTo>
                    <a:pt x="8061" y="12268"/>
                  </a:lnTo>
                  <a:lnTo>
                    <a:pt x="8061" y="12222"/>
                  </a:lnTo>
                  <a:lnTo>
                    <a:pt x="8062" y="12175"/>
                  </a:lnTo>
                  <a:lnTo>
                    <a:pt x="8062" y="12129"/>
                  </a:lnTo>
                  <a:lnTo>
                    <a:pt x="8062" y="12082"/>
                  </a:lnTo>
                  <a:lnTo>
                    <a:pt x="8061" y="12035"/>
                  </a:lnTo>
                  <a:lnTo>
                    <a:pt x="8059" y="11988"/>
                  </a:lnTo>
                  <a:lnTo>
                    <a:pt x="8055" y="11941"/>
                  </a:lnTo>
                  <a:close/>
                  <a:moveTo>
                    <a:pt x="14785" y="1295"/>
                  </a:moveTo>
                  <a:lnTo>
                    <a:pt x="14707" y="1218"/>
                  </a:lnTo>
                  <a:lnTo>
                    <a:pt x="14626" y="1144"/>
                  </a:lnTo>
                  <a:lnTo>
                    <a:pt x="14546" y="1072"/>
                  </a:lnTo>
                  <a:lnTo>
                    <a:pt x="14463" y="1003"/>
                  </a:lnTo>
                  <a:lnTo>
                    <a:pt x="14379" y="934"/>
                  </a:lnTo>
                  <a:lnTo>
                    <a:pt x="14294" y="869"/>
                  </a:lnTo>
                  <a:lnTo>
                    <a:pt x="14208" y="806"/>
                  </a:lnTo>
                  <a:lnTo>
                    <a:pt x="14119" y="745"/>
                  </a:lnTo>
                  <a:lnTo>
                    <a:pt x="14031" y="685"/>
                  </a:lnTo>
                  <a:lnTo>
                    <a:pt x="13941" y="629"/>
                  </a:lnTo>
                  <a:lnTo>
                    <a:pt x="13851" y="575"/>
                  </a:lnTo>
                  <a:lnTo>
                    <a:pt x="13758" y="523"/>
                  </a:lnTo>
                  <a:lnTo>
                    <a:pt x="13666" y="473"/>
                  </a:lnTo>
                  <a:lnTo>
                    <a:pt x="13572" y="426"/>
                  </a:lnTo>
                  <a:lnTo>
                    <a:pt x="13478" y="380"/>
                  </a:lnTo>
                  <a:lnTo>
                    <a:pt x="13382" y="338"/>
                  </a:lnTo>
                  <a:lnTo>
                    <a:pt x="13286" y="298"/>
                  </a:lnTo>
                  <a:lnTo>
                    <a:pt x="13190" y="260"/>
                  </a:lnTo>
                  <a:lnTo>
                    <a:pt x="13092" y="225"/>
                  </a:lnTo>
                  <a:lnTo>
                    <a:pt x="12995" y="193"/>
                  </a:lnTo>
                  <a:lnTo>
                    <a:pt x="12896" y="162"/>
                  </a:lnTo>
                  <a:lnTo>
                    <a:pt x="12798" y="134"/>
                  </a:lnTo>
                  <a:lnTo>
                    <a:pt x="12698" y="109"/>
                  </a:lnTo>
                  <a:lnTo>
                    <a:pt x="12598" y="86"/>
                  </a:lnTo>
                  <a:lnTo>
                    <a:pt x="12499" y="66"/>
                  </a:lnTo>
                  <a:lnTo>
                    <a:pt x="12398" y="49"/>
                  </a:lnTo>
                  <a:lnTo>
                    <a:pt x="12299" y="34"/>
                  </a:lnTo>
                  <a:lnTo>
                    <a:pt x="12198" y="22"/>
                  </a:lnTo>
                  <a:lnTo>
                    <a:pt x="12097" y="12"/>
                  </a:lnTo>
                  <a:lnTo>
                    <a:pt x="11996" y="5"/>
                  </a:lnTo>
                  <a:lnTo>
                    <a:pt x="11895" y="1"/>
                  </a:lnTo>
                  <a:lnTo>
                    <a:pt x="11795" y="0"/>
                  </a:lnTo>
                  <a:lnTo>
                    <a:pt x="11710" y="1"/>
                  </a:lnTo>
                  <a:lnTo>
                    <a:pt x="11626" y="4"/>
                  </a:lnTo>
                  <a:lnTo>
                    <a:pt x="11542" y="9"/>
                  </a:lnTo>
                  <a:lnTo>
                    <a:pt x="11459" y="16"/>
                  </a:lnTo>
                  <a:lnTo>
                    <a:pt x="11376" y="24"/>
                  </a:lnTo>
                  <a:lnTo>
                    <a:pt x="11294" y="35"/>
                  </a:lnTo>
                  <a:lnTo>
                    <a:pt x="11212" y="47"/>
                  </a:lnTo>
                  <a:lnTo>
                    <a:pt x="11131" y="62"/>
                  </a:lnTo>
                  <a:lnTo>
                    <a:pt x="11051" y="78"/>
                  </a:lnTo>
                  <a:lnTo>
                    <a:pt x="10971" y="96"/>
                  </a:lnTo>
                  <a:lnTo>
                    <a:pt x="10892" y="116"/>
                  </a:lnTo>
                  <a:lnTo>
                    <a:pt x="10814" y="139"/>
                  </a:lnTo>
                  <a:lnTo>
                    <a:pt x="10736" y="162"/>
                  </a:lnTo>
                  <a:lnTo>
                    <a:pt x="10660" y="187"/>
                  </a:lnTo>
                  <a:lnTo>
                    <a:pt x="10584" y="215"/>
                  </a:lnTo>
                  <a:lnTo>
                    <a:pt x="10509" y="243"/>
                  </a:lnTo>
                  <a:lnTo>
                    <a:pt x="10435" y="274"/>
                  </a:lnTo>
                  <a:lnTo>
                    <a:pt x="10361" y="307"/>
                  </a:lnTo>
                  <a:lnTo>
                    <a:pt x="10289" y="341"/>
                  </a:lnTo>
                  <a:lnTo>
                    <a:pt x="10217" y="377"/>
                  </a:lnTo>
                  <a:lnTo>
                    <a:pt x="10147" y="416"/>
                  </a:lnTo>
                  <a:lnTo>
                    <a:pt x="10078" y="455"/>
                  </a:lnTo>
                  <a:lnTo>
                    <a:pt x="10010" y="496"/>
                  </a:lnTo>
                  <a:lnTo>
                    <a:pt x="9943" y="539"/>
                  </a:lnTo>
                  <a:lnTo>
                    <a:pt x="9876" y="583"/>
                  </a:lnTo>
                  <a:lnTo>
                    <a:pt x="9811" y="629"/>
                  </a:lnTo>
                  <a:lnTo>
                    <a:pt x="9748" y="677"/>
                  </a:lnTo>
                  <a:lnTo>
                    <a:pt x="9684" y="727"/>
                  </a:lnTo>
                  <a:lnTo>
                    <a:pt x="9623" y="778"/>
                  </a:lnTo>
                  <a:lnTo>
                    <a:pt x="9562" y="831"/>
                  </a:lnTo>
                  <a:lnTo>
                    <a:pt x="9503" y="885"/>
                  </a:lnTo>
                  <a:lnTo>
                    <a:pt x="9446" y="941"/>
                  </a:lnTo>
                  <a:lnTo>
                    <a:pt x="6997" y="3403"/>
                  </a:lnTo>
                  <a:lnTo>
                    <a:pt x="6986" y="3412"/>
                  </a:lnTo>
                  <a:lnTo>
                    <a:pt x="6974" y="3422"/>
                  </a:lnTo>
                  <a:lnTo>
                    <a:pt x="6969" y="3428"/>
                  </a:lnTo>
                  <a:lnTo>
                    <a:pt x="6964" y="3435"/>
                  </a:lnTo>
                  <a:lnTo>
                    <a:pt x="6965" y="3436"/>
                  </a:lnTo>
                  <a:lnTo>
                    <a:pt x="1769" y="8659"/>
                  </a:lnTo>
                  <a:lnTo>
                    <a:pt x="1747" y="8681"/>
                  </a:lnTo>
                  <a:lnTo>
                    <a:pt x="1725" y="8704"/>
                  </a:lnTo>
                  <a:lnTo>
                    <a:pt x="1704" y="8728"/>
                  </a:lnTo>
                  <a:lnTo>
                    <a:pt x="1683" y="8751"/>
                  </a:lnTo>
                  <a:lnTo>
                    <a:pt x="1642" y="8799"/>
                  </a:lnTo>
                  <a:lnTo>
                    <a:pt x="1602" y="8847"/>
                  </a:lnTo>
                  <a:lnTo>
                    <a:pt x="1564" y="8897"/>
                  </a:lnTo>
                  <a:lnTo>
                    <a:pt x="1528" y="8949"/>
                  </a:lnTo>
                  <a:lnTo>
                    <a:pt x="1494" y="9002"/>
                  </a:lnTo>
                  <a:lnTo>
                    <a:pt x="1461" y="9055"/>
                  </a:lnTo>
                  <a:lnTo>
                    <a:pt x="1429" y="9109"/>
                  </a:lnTo>
                  <a:lnTo>
                    <a:pt x="1400" y="9165"/>
                  </a:lnTo>
                  <a:lnTo>
                    <a:pt x="1372" y="9221"/>
                  </a:lnTo>
                  <a:lnTo>
                    <a:pt x="1347" y="9279"/>
                  </a:lnTo>
                  <a:lnTo>
                    <a:pt x="1322" y="9336"/>
                  </a:lnTo>
                  <a:lnTo>
                    <a:pt x="1300" y="9395"/>
                  </a:lnTo>
                  <a:lnTo>
                    <a:pt x="1279" y="9454"/>
                  </a:lnTo>
                  <a:lnTo>
                    <a:pt x="1260" y="9514"/>
                  </a:lnTo>
                  <a:lnTo>
                    <a:pt x="78" y="13784"/>
                  </a:lnTo>
                  <a:lnTo>
                    <a:pt x="74" y="13803"/>
                  </a:lnTo>
                  <a:lnTo>
                    <a:pt x="65" y="13846"/>
                  </a:lnTo>
                  <a:lnTo>
                    <a:pt x="53" y="13908"/>
                  </a:lnTo>
                  <a:lnTo>
                    <a:pt x="38" y="13984"/>
                  </a:lnTo>
                  <a:lnTo>
                    <a:pt x="31" y="14025"/>
                  </a:lnTo>
                  <a:lnTo>
                    <a:pt x="24" y="14066"/>
                  </a:lnTo>
                  <a:lnTo>
                    <a:pt x="18" y="14109"/>
                  </a:lnTo>
                  <a:lnTo>
                    <a:pt x="12" y="14151"/>
                  </a:lnTo>
                  <a:lnTo>
                    <a:pt x="7" y="14192"/>
                  </a:lnTo>
                  <a:lnTo>
                    <a:pt x="3" y="14231"/>
                  </a:lnTo>
                  <a:lnTo>
                    <a:pt x="1" y="14268"/>
                  </a:lnTo>
                  <a:lnTo>
                    <a:pt x="0" y="14302"/>
                  </a:lnTo>
                  <a:lnTo>
                    <a:pt x="2" y="14392"/>
                  </a:lnTo>
                  <a:lnTo>
                    <a:pt x="9" y="14481"/>
                  </a:lnTo>
                  <a:lnTo>
                    <a:pt x="20" y="14569"/>
                  </a:lnTo>
                  <a:lnTo>
                    <a:pt x="36" y="14656"/>
                  </a:lnTo>
                  <a:lnTo>
                    <a:pt x="55" y="14740"/>
                  </a:lnTo>
                  <a:lnTo>
                    <a:pt x="79" y="14824"/>
                  </a:lnTo>
                  <a:lnTo>
                    <a:pt x="107" y="14906"/>
                  </a:lnTo>
                  <a:lnTo>
                    <a:pt x="139" y="14985"/>
                  </a:lnTo>
                  <a:lnTo>
                    <a:pt x="174" y="15063"/>
                  </a:lnTo>
                  <a:lnTo>
                    <a:pt x="212" y="15139"/>
                  </a:lnTo>
                  <a:lnTo>
                    <a:pt x="256" y="15212"/>
                  </a:lnTo>
                  <a:lnTo>
                    <a:pt x="301" y="15283"/>
                  </a:lnTo>
                  <a:lnTo>
                    <a:pt x="350" y="15352"/>
                  </a:lnTo>
                  <a:lnTo>
                    <a:pt x="402" y="15419"/>
                  </a:lnTo>
                  <a:lnTo>
                    <a:pt x="458" y="15483"/>
                  </a:lnTo>
                  <a:lnTo>
                    <a:pt x="516" y="15543"/>
                  </a:lnTo>
                  <a:lnTo>
                    <a:pt x="577" y="15601"/>
                  </a:lnTo>
                  <a:lnTo>
                    <a:pt x="642" y="15657"/>
                  </a:lnTo>
                  <a:lnTo>
                    <a:pt x="708" y="15709"/>
                  </a:lnTo>
                  <a:lnTo>
                    <a:pt x="778" y="15758"/>
                  </a:lnTo>
                  <a:lnTo>
                    <a:pt x="849" y="15804"/>
                  </a:lnTo>
                  <a:lnTo>
                    <a:pt x="922" y="15846"/>
                  </a:lnTo>
                  <a:lnTo>
                    <a:pt x="999" y="15884"/>
                  </a:lnTo>
                  <a:lnTo>
                    <a:pt x="1076" y="15919"/>
                  </a:lnTo>
                  <a:lnTo>
                    <a:pt x="1157" y="15952"/>
                  </a:lnTo>
                  <a:lnTo>
                    <a:pt x="1238" y="15979"/>
                  </a:lnTo>
                  <a:lnTo>
                    <a:pt x="1323" y="16003"/>
                  </a:lnTo>
                  <a:lnTo>
                    <a:pt x="1407" y="16022"/>
                  </a:lnTo>
                  <a:lnTo>
                    <a:pt x="1495" y="16038"/>
                  </a:lnTo>
                  <a:lnTo>
                    <a:pt x="1582" y="16049"/>
                  </a:lnTo>
                  <a:lnTo>
                    <a:pt x="1672" y="16056"/>
                  </a:lnTo>
                  <a:lnTo>
                    <a:pt x="1763" y="16058"/>
                  </a:lnTo>
                  <a:lnTo>
                    <a:pt x="1801" y="16057"/>
                  </a:lnTo>
                  <a:lnTo>
                    <a:pt x="1843" y="16054"/>
                  </a:lnTo>
                  <a:lnTo>
                    <a:pt x="1887" y="16049"/>
                  </a:lnTo>
                  <a:lnTo>
                    <a:pt x="1933" y="16044"/>
                  </a:lnTo>
                  <a:lnTo>
                    <a:pt x="1981" y="16037"/>
                  </a:lnTo>
                  <a:lnTo>
                    <a:pt x="2028" y="16029"/>
                  </a:lnTo>
                  <a:lnTo>
                    <a:pt x="2075" y="16020"/>
                  </a:lnTo>
                  <a:lnTo>
                    <a:pt x="2122" y="16012"/>
                  </a:lnTo>
                  <a:lnTo>
                    <a:pt x="2205" y="15995"/>
                  </a:lnTo>
                  <a:lnTo>
                    <a:pt x="2275" y="15980"/>
                  </a:lnTo>
                  <a:lnTo>
                    <a:pt x="2324" y="15969"/>
                  </a:lnTo>
                  <a:lnTo>
                    <a:pt x="2345" y="15964"/>
                  </a:lnTo>
                  <a:lnTo>
                    <a:pt x="6609" y="14846"/>
                  </a:lnTo>
                  <a:lnTo>
                    <a:pt x="6669" y="14827"/>
                  </a:lnTo>
                  <a:lnTo>
                    <a:pt x="6729" y="14805"/>
                  </a:lnTo>
                  <a:lnTo>
                    <a:pt x="6788" y="14783"/>
                  </a:lnTo>
                  <a:lnTo>
                    <a:pt x="6845" y="14759"/>
                  </a:lnTo>
                  <a:lnTo>
                    <a:pt x="6903" y="14733"/>
                  </a:lnTo>
                  <a:lnTo>
                    <a:pt x="6960" y="14705"/>
                  </a:lnTo>
                  <a:lnTo>
                    <a:pt x="7015" y="14675"/>
                  </a:lnTo>
                  <a:lnTo>
                    <a:pt x="7070" y="14644"/>
                  </a:lnTo>
                  <a:lnTo>
                    <a:pt x="7123" y="14612"/>
                  </a:lnTo>
                  <a:lnTo>
                    <a:pt x="7175" y="14577"/>
                  </a:lnTo>
                  <a:lnTo>
                    <a:pt x="7227" y="14541"/>
                  </a:lnTo>
                  <a:lnTo>
                    <a:pt x="7277" y="14502"/>
                  </a:lnTo>
                  <a:lnTo>
                    <a:pt x="7326" y="14463"/>
                  </a:lnTo>
                  <a:lnTo>
                    <a:pt x="7375" y="14422"/>
                  </a:lnTo>
                  <a:lnTo>
                    <a:pt x="7421" y="14380"/>
                  </a:lnTo>
                  <a:lnTo>
                    <a:pt x="7466" y="14336"/>
                  </a:lnTo>
                  <a:lnTo>
                    <a:pt x="15143" y="6617"/>
                  </a:lnTo>
                  <a:lnTo>
                    <a:pt x="15270" y="6483"/>
                  </a:lnTo>
                  <a:lnTo>
                    <a:pt x="15387" y="6344"/>
                  </a:lnTo>
                  <a:lnTo>
                    <a:pt x="15495" y="6200"/>
                  </a:lnTo>
                  <a:lnTo>
                    <a:pt x="15594" y="6053"/>
                  </a:lnTo>
                  <a:lnTo>
                    <a:pt x="15685" y="5900"/>
                  </a:lnTo>
                  <a:lnTo>
                    <a:pt x="15766" y="5744"/>
                  </a:lnTo>
                  <a:lnTo>
                    <a:pt x="15837" y="5584"/>
                  </a:lnTo>
                  <a:lnTo>
                    <a:pt x="15901" y="5421"/>
                  </a:lnTo>
                  <a:lnTo>
                    <a:pt x="15955" y="5254"/>
                  </a:lnTo>
                  <a:lnTo>
                    <a:pt x="16000" y="5084"/>
                  </a:lnTo>
                  <a:lnTo>
                    <a:pt x="16037" y="4913"/>
                  </a:lnTo>
                  <a:lnTo>
                    <a:pt x="16065" y="4739"/>
                  </a:lnTo>
                  <a:lnTo>
                    <a:pt x="16083" y="4563"/>
                  </a:lnTo>
                  <a:lnTo>
                    <a:pt x="16093" y="4387"/>
                  </a:lnTo>
                  <a:lnTo>
                    <a:pt x="16094" y="4208"/>
                  </a:lnTo>
                  <a:lnTo>
                    <a:pt x="16087" y="4030"/>
                  </a:lnTo>
                  <a:lnTo>
                    <a:pt x="16070" y="3850"/>
                  </a:lnTo>
                  <a:lnTo>
                    <a:pt x="16045" y="3669"/>
                  </a:lnTo>
                  <a:lnTo>
                    <a:pt x="16011" y="3490"/>
                  </a:lnTo>
                  <a:lnTo>
                    <a:pt x="15968" y="3310"/>
                  </a:lnTo>
                  <a:lnTo>
                    <a:pt x="15917" y="3131"/>
                  </a:lnTo>
                  <a:lnTo>
                    <a:pt x="15857" y="2953"/>
                  </a:lnTo>
                  <a:lnTo>
                    <a:pt x="15788" y="2776"/>
                  </a:lnTo>
                  <a:lnTo>
                    <a:pt x="15711" y="2601"/>
                  </a:lnTo>
                  <a:lnTo>
                    <a:pt x="15625" y="2428"/>
                  </a:lnTo>
                  <a:lnTo>
                    <a:pt x="15531" y="2257"/>
                  </a:lnTo>
                  <a:lnTo>
                    <a:pt x="15428" y="2089"/>
                  </a:lnTo>
                  <a:lnTo>
                    <a:pt x="15316" y="1923"/>
                  </a:lnTo>
                  <a:lnTo>
                    <a:pt x="15196" y="1760"/>
                  </a:lnTo>
                  <a:lnTo>
                    <a:pt x="15067" y="1602"/>
                  </a:lnTo>
                  <a:lnTo>
                    <a:pt x="14930" y="1446"/>
                  </a:lnTo>
                  <a:lnTo>
                    <a:pt x="14785" y="129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71" name="iṣľiḑe">
              <a:extLst>
                <a:ext uri="{FF2B5EF4-FFF2-40B4-BE49-F238E27FC236}">
                  <a16:creationId xmlns:a16="http://schemas.microsoft.com/office/drawing/2014/main" id="{5433022D-57A7-4AFE-B4FA-119AC6DC0D08}"/>
                </a:ext>
              </a:extLst>
            </p:cNvPr>
            <p:cNvSpPr/>
            <p:nvPr/>
          </p:nvSpPr>
          <p:spPr bwMode="auto">
            <a:xfrm>
              <a:off x="10378754" y="73939"/>
              <a:ext cx="265011" cy="190515"/>
            </a:xfrm>
            <a:custGeom>
              <a:avLst/>
              <a:gdLst>
                <a:gd name="T0" fmla="*/ 2486 w 16058"/>
                <a:gd name="T1" fmla="*/ 10403 h 11544"/>
                <a:gd name="T2" fmla="*/ 1591 w 16058"/>
                <a:gd name="T3" fmla="*/ 9798 h 11544"/>
                <a:gd name="T4" fmla="*/ 1075 w 16058"/>
                <a:gd name="T5" fmla="*/ 8845 h 11544"/>
                <a:gd name="T6" fmla="*/ 1034 w 16058"/>
                <a:gd name="T7" fmla="*/ 7911 h 11544"/>
                <a:gd name="T8" fmla="*/ 1269 w 16058"/>
                <a:gd name="T9" fmla="*/ 7227 h 11544"/>
                <a:gd name="T10" fmla="*/ 1712 w 16058"/>
                <a:gd name="T11" fmla="*/ 6654 h 11544"/>
                <a:gd name="T12" fmla="*/ 2311 w 16058"/>
                <a:gd name="T13" fmla="*/ 6236 h 11544"/>
                <a:gd name="T14" fmla="*/ 2677 w 16058"/>
                <a:gd name="T15" fmla="*/ 5951 h 11544"/>
                <a:gd name="T16" fmla="*/ 2739 w 16058"/>
                <a:gd name="T17" fmla="*/ 5626 h 11544"/>
                <a:gd name="T18" fmla="*/ 2564 w 16058"/>
                <a:gd name="T19" fmla="*/ 5102 h 11544"/>
                <a:gd name="T20" fmla="*/ 2509 w 16058"/>
                <a:gd name="T21" fmla="*/ 4790 h 11544"/>
                <a:gd name="T22" fmla="*/ 2634 w 16058"/>
                <a:gd name="T23" fmla="*/ 4225 h 11544"/>
                <a:gd name="T24" fmla="*/ 3014 w 16058"/>
                <a:gd name="T25" fmla="*/ 3763 h 11544"/>
                <a:gd name="T26" fmla="*/ 3573 w 16058"/>
                <a:gd name="T27" fmla="*/ 3528 h 11544"/>
                <a:gd name="T28" fmla="*/ 4022 w 16058"/>
                <a:gd name="T29" fmla="*/ 3524 h 11544"/>
                <a:gd name="T30" fmla="*/ 4410 w 16058"/>
                <a:gd name="T31" fmla="*/ 3616 h 11544"/>
                <a:gd name="T32" fmla="*/ 4822 w 16058"/>
                <a:gd name="T33" fmla="*/ 3718 h 11544"/>
                <a:gd name="T34" fmla="*/ 5077 w 16058"/>
                <a:gd name="T35" fmla="*/ 3578 h 11544"/>
                <a:gd name="T36" fmla="*/ 5304 w 16058"/>
                <a:gd name="T37" fmla="*/ 3154 h 11544"/>
                <a:gd name="T38" fmla="*/ 5986 w 16058"/>
                <a:gd name="T39" fmla="*/ 2112 h 11544"/>
                <a:gd name="T40" fmla="*/ 6970 w 16058"/>
                <a:gd name="T41" fmla="*/ 1377 h 11544"/>
                <a:gd name="T42" fmla="*/ 8153 w 16058"/>
                <a:gd name="T43" fmla="*/ 1025 h 11544"/>
                <a:gd name="T44" fmla="*/ 9661 w 16058"/>
                <a:gd name="T45" fmla="*/ 1190 h 11544"/>
                <a:gd name="T46" fmla="*/ 10994 w 16058"/>
                <a:gd name="T47" fmla="*/ 2023 h 11544"/>
                <a:gd name="T48" fmla="*/ 11831 w 16058"/>
                <a:gd name="T49" fmla="*/ 3370 h 11544"/>
                <a:gd name="T50" fmla="*/ 12046 w 16058"/>
                <a:gd name="T51" fmla="*/ 4561 h 11544"/>
                <a:gd name="T52" fmla="*/ 12173 w 16058"/>
                <a:gd name="T53" fmla="*/ 4853 h 11544"/>
                <a:gd name="T54" fmla="*/ 12517 w 16058"/>
                <a:gd name="T55" fmla="*/ 5002 h 11544"/>
                <a:gd name="T56" fmla="*/ 13610 w 16058"/>
                <a:gd name="T57" fmla="*/ 5356 h 11544"/>
                <a:gd name="T58" fmla="*/ 14494 w 16058"/>
                <a:gd name="T59" fmla="*/ 6116 h 11544"/>
                <a:gd name="T60" fmla="*/ 14988 w 16058"/>
                <a:gd name="T61" fmla="*/ 7177 h 11544"/>
                <a:gd name="T62" fmla="*/ 14968 w 16058"/>
                <a:gd name="T63" fmla="*/ 8469 h 11544"/>
                <a:gd name="T64" fmla="*/ 14337 w 16058"/>
                <a:gd name="T65" fmla="*/ 9634 h 11544"/>
                <a:gd name="T66" fmla="*/ 13243 w 16058"/>
                <a:gd name="T67" fmla="*/ 10372 h 11544"/>
                <a:gd name="T68" fmla="*/ 12944 w 16058"/>
                <a:gd name="T69" fmla="*/ 3664 h 11544"/>
                <a:gd name="T70" fmla="*/ 12111 w 16058"/>
                <a:gd name="T71" fmla="*/ 1788 h 11544"/>
                <a:gd name="T72" fmla="*/ 10564 w 16058"/>
                <a:gd name="T73" fmla="*/ 487 h 11544"/>
                <a:gd name="T74" fmla="*/ 8531 w 16058"/>
                <a:gd name="T75" fmla="*/ 0 h 11544"/>
                <a:gd name="T76" fmla="*/ 6922 w 16058"/>
                <a:gd name="T77" fmla="*/ 297 h 11544"/>
                <a:gd name="T78" fmla="*/ 5572 w 16058"/>
                <a:gd name="T79" fmla="*/ 1115 h 11544"/>
                <a:gd name="T80" fmla="*/ 4587 w 16058"/>
                <a:gd name="T81" fmla="*/ 2341 h 11544"/>
                <a:gd name="T82" fmla="*/ 4112 w 16058"/>
                <a:gd name="T83" fmla="*/ 2541 h 11544"/>
                <a:gd name="T84" fmla="*/ 3533 w 16058"/>
                <a:gd name="T85" fmla="*/ 2521 h 11544"/>
                <a:gd name="T86" fmla="*/ 2501 w 16058"/>
                <a:gd name="T87" fmla="*/ 2896 h 11544"/>
                <a:gd name="T88" fmla="*/ 1778 w 16058"/>
                <a:gd name="T89" fmla="*/ 3692 h 11544"/>
                <a:gd name="T90" fmla="*/ 1505 w 16058"/>
                <a:gd name="T91" fmla="*/ 4768 h 11544"/>
                <a:gd name="T92" fmla="*/ 1558 w 16058"/>
                <a:gd name="T93" fmla="*/ 5217 h 11544"/>
                <a:gd name="T94" fmla="*/ 1281 w 16058"/>
                <a:gd name="T95" fmla="*/ 5706 h 11544"/>
                <a:gd name="T96" fmla="*/ 564 w 16058"/>
                <a:gd name="T97" fmla="*/ 6461 h 11544"/>
                <a:gd name="T98" fmla="*/ 118 w 16058"/>
                <a:gd name="T99" fmla="*/ 7414 h 11544"/>
                <a:gd name="T100" fmla="*/ 17 w 16058"/>
                <a:gd name="T101" fmla="*/ 8615 h 11544"/>
                <a:gd name="T102" fmla="*/ 557 w 16058"/>
                <a:gd name="T103" fmla="*/ 10106 h 11544"/>
                <a:gd name="T104" fmla="*/ 1707 w 16058"/>
                <a:gd name="T105" fmla="*/ 11150 h 11544"/>
                <a:gd name="T106" fmla="*/ 3262 w 16058"/>
                <a:gd name="T107" fmla="*/ 11543 h 11544"/>
                <a:gd name="T108" fmla="*/ 13589 w 16058"/>
                <a:gd name="T109" fmla="*/ 11315 h 11544"/>
                <a:gd name="T110" fmla="*/ 15080 w 16058"/>
                <a:gd name="T111" fmla="*/ 10310 h 11544"/>
                <a:gd name="T112" fmla="*/ 15940 w 16058"/>
                <a:gd name="T113" fmla="*/ 8720 h 11544"/>
                <a:gd name="T114" fmla="*/ 15965 w 16058"/>
                <a:gd name="T115" fmla="*/ 6945 h 11544"/>
                <a:gd name="T116" fmla="*/ 15283 w 16058"/>
                <a:gd name="T117" fmla="*/ 5493 h 11544"/>
                <a:gd name="T118" fmla="*/ 14075 w 16058"/>
                <a:gd name="T119" fmla="*/ 4467 h 11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58" h="11544">
                  <a:moveTo>
                    <a:pt x="12294" y="10539"/>
                  </a:moveTo>
                  <a:lnTo>
                    <a:pt x="12294" y="10540"/>
                  </a:lnTo>
                  <a:lnTo>
                    <a:pt x="3262" y="10540"/>
                  </a:lnTo>
                  <a:lnTo>
                    <a:pt x="3145" y="10537"/>
                  </a:lnTo>
                  <a:lnTo>
                    <a:pt x="3031" y="10528"/>
                  </a:lnTo>
                  <a:lnTo>
                    <a:pt x="2919" y="10514"/>
                  </a:lnTo>
                  <a:lnTo>
                    <a:pt x="2807" y="10494"/>
                  </a:lnTo>
                  <a:lnTo>
                    <a:pt x="2698" y="10469"/>
                  </a:lnTo>
                  <a:lnTo>
                    <a:pt x="2591" y="10438"/>
                  </a:lnTo>
                  <a:lnTo>
                    <a:pt x="2486" y="10403"/>
                  </a:lnTo>
                  <a:lnTo>
                    <a:pt x="2384" y="10363"/>
                  </a:lnTo>
                  <a:lnTo>
                    <a:pt x="2284" y="10316"/>
                  </a:lnTo>
                  <a:lnTo>
                    <a:pt x="2187" y="10267"/>
                  </a:lnTo>
                  <a:lnTo>
                    <a:pt x="2092" y="10212"/>
                  </a:lnTo>
                  <a:lnTo>
                    <a:pt x="2000" y="10154"/>
                  </a:lnTo>
                  <a:lnTo>
                    <a:pt x="1912" y="10091"/>
                  </a:lnTo>
                  <a:lnTo>
                    <a:pt x="1827" y="10023"/>
                  </a:lnTo>
                  <a:lnTo>
                    <a:pt x="1744" y="9952"/>
                  </a:lnTo>
                  <a:lnTo>
                    <a:pt x="1666" y="9878"/>
                  </a:lnTo>
                  <a:lnTo>
                    <a:pt x="1591" y="9798"/>
                  </a:lnTo>
                  <a:lnTo>
                    <a:pt x="1520" y="9717"/>
                  </a:lnTo>
                  <a:lnTo>
                    <a:pt x="1453" y="9632"/>
                  </a:lnTo>
                  <a:lnTo>
                    <a:pt x="1390" y="9543"/>
                  </a:lnTo>
                  <a:lnTo>
                    <a:pt x="1331" y="9451"/>
                  </a:lnTo>
                  <a:lnTo>
                    <a:pt x="1277" y="9357"/>
                  </a:lnTo>
                  <a:lnTo>
                    <a:pt x="1226" y="9259"/>
                  </a:lnTo>
                  <a:lnTo>
                    <a:pt x="1181" y="9159"/>
                  </a:lnTo>
                  <a:lnTo>
                    <a:pt x="1141" y="9057"/>
                  </a:lnTo>
                  <a:lnTo>
                    <a:pt x="1105" y="8952"/>
                  </a:lnTo>
                  <a:lnTo>
                    <a:pt x="1075" y="8845"/>
                  </a:lnTo>
                  <a:lnTo>
                    <a:pt x="1050" y="8736"/>
                  </a:lnTo>
                  <a:lnTo>
                    <a:pt x="1030" y="8624"/>
                  </a:lnTo>
                  <a:lnTo>
                    <a:pt x="1016" y="8512"/>
                  </a:lnTo>
                  <a:lnTo>
                    <a:pt x="1007" y="8397"/>
                  </a:lnTo>
                  <a:lnTo>
                    <a:pt x="1004" y="8281"/>
                  </a:lnTo>
                  <a:lnTo>
                    <a:pt x="1005" y="8207"/>
                  </a:lnTo>
                  <a:lnTo>
                    <a:pt x="1009" y="8131"/>
                  </a:lnTo>
                  <a:lnTo>
                    <a:pt x="1015" y="8057"/>
                  </a:lnTo>
                  <a:lnTo>
                    <a:pt x="1024" y="7984"/>
                  </a:lnTo>
                  <a:lnTo>
                    <a:pt x="1034" y="7911"/>
                  </a:lnTo>
                  <a:lnTo>
                    <a:pt x="1048" y="7839"/>
                  </a:lnTo>
                  <a:lnTo>
                    <a:pt x="1063" y="7768"/>
                  </a:lnTo>
                  <a:lnTo>
                    <a:pt x="1081" y="7697"/>
                  </a:lnTo>
                  <a:lnTo>
                    <a:pt x="1101" y="7627"/>
                  </a:lnTo>
                  <a:lnTo>
                    <a:pt x="1123" y="7558"/>
                  </a:lnTo>
                  <a:lnTo>
                    <a:pt x="1148" y="7490"/>
                  </a:lnTo>
                  <a:lnTo>
                    <a:pt x="1175" y="7423"/>
                  </a:lnTo>
                  <a:lnTo>
                    <a:pt x="1203" y="7356"/>
                  </a:lnTo>
                  <a:lnTo>
                    <a:pt x="1235" y="7291"/>
                  </a:lnTo>
                  <a:lnTo>
                    <a:pt x="1269" y="7227"/>
                  </a:lnTo>
                  <a:lnTo>
                    <a:pt x="1304" y="7165"/>
                  </a:lnTo>
                  <a:lnTo>
                    <a:pt x="1341" y="7102"/>
                  </a:lnTo>
                  <a:lnTo>
                    <a:pt x="1381" y="7041"/>
                  </a:lnTo>
                  <a:lnTo>
                    <a:pt x="1422" y="6982"/>
                  </a:lnTo>
                  <a:lnTo>
                    <a:pt x="1465" y="6924"/>
                  </a:lnTo>
                  <a:lnTo>
                    <a:pt x="1511" y="6867"/>
                  </a:lnTo>
                  <a:lnTo>
                    <a:pt x="1559" y="6811"/>
                  </a:lnTo>
                  <a:lnTo>
                    <a:pt x="1608" y="6757"/>
                  </a:lnTo>
                  <a:lnTo>
                    <a:pt x="1659" y="6705"/>
                  </a:lnTo>
                  <a:lnTo>
                    <a:pt x="1712" y="6654"/>
                  </a:lnTo>
                  <a:lnTo>
                    <a:pt x="1767" y="6604"/>
                  </a:lnTo>
                  <a:lnTo>
                    <a:pt x="1825" y="6555"/>
                  </a:lnTo>
                  <a:lnTo>
                    <a:pt x="1883" y="6509"/>
                  </a:lnTo>
                  <a:lnTo>
                    <a:pt x="1943" y="6464"/>
                  </a:lnTo>
                  <a:lnTo>
                    <a:pt x="2005" y="6421"/>
                  </a:lnTo>
                  <a:lnTo>
                    <a:pt x="2069" y="6380"/>
                  </a:lnTo>
                  <a:lnTo>
                    <a:pt x="2135" y="6341"/>
                  </a:lnTo>
                  <a:lnTo>
                    <a:pt x="2198" y="6304"/>
                  </a:lnTo>
                  <a:lnTo>
                    <a:pt x="2256" y="6269"/>
                  </a:lnTo>
                  <a:lnTo>
                    <a:pt x="2311" y="6236"/>
                  </a:lnTo>
                  <a:lnTo>
                    <a:pt x="2364" y="6205"/>
                  </a:lnTo>
                  <a:lnTo>
                    <a:pt x="2412" y="6174"/>
                  </a:lnTo>
                  <a:lnTo>
                    <a:pt x="2456" y="6145"/>
                  </a:lnTo>
                  <a:lnTo>
                    <a:pt x="2498" y="6116"/>
                  </a:lnTo>
                  <a:lnTo>
                    <a:pt x="2535" y="6088"/>
                  </a:lnTo>
                  <a:lnTo>
                    <a:pt x="2570" y="6061"/>
                  </a:lnTo>
                  <a:lnTo>
                    <a:pt x="2601" y="6033"/>
                  </a:lnTo>
                  <a:lnTo>
                    <a:pt x="2629" y="6006"/>
                  </a:lnTo>
                  <a:lnTo>
                    <a:pt x="2655" y="5979"/>
                  </a:lnTo>
                  <a:lnTo>
                    <a:pt x="2677" y="5951"/>
                  </a:lnTo>
                  <a:lnTo>
                    <a:pt x="2696" y="5923"/>
                  </a:lnTo>
                  <a:lnTo>
                    <a:pt x="2712" y="5895"/>
                  </a:lnTo>
                  <a:lnTo>
                    <a:pt x="2725" y="5866"/>
                  </a:lnTo>
                  <a:lnTo>
                    <a:pt x="2735" y="5836"/>
                  </a:lnTo>
                  <a:lnTo>
                    <a:pt x="2742" y="5805"/>
                  </a:lnTo>
                  <a:lnTo>
                    <a:pt x="2747" y="5773"/>
                  </a:lnTo>
                  <a:lnTo>
                    <a:pt x="2748" y="5738"/>
                  </a:lnTo>
                  <a:lnTo>
                    <a:pt x="2748" y="5703"/>
                  </a:lnTo>
                  <a:lnTo>
                    <a:pt x="2744" y="5665"/>
                  </a:lnTo>
                  <a:lnTo>
                    <a:pt x="2739" y="5626"/>
                  </a:lnTo>
                  <a:lnTo>
                    <a:pt x="2730" y="5585"/>
                  </a:lnTo>
                  <a:lnTo>
                    <a:pt x="2720" y="5542"/>
                  </a:lnTo>
                  <a:lnTo>
                    <a:pt x="2707" y="5495"/>
                  </a:lnTo>
                  <a:lnTo>
                    <a:pt x="2691" y="5446"/>
                  </a:lnTo>
                  <a:lnTo>
                    <a:pt x="2674" y="5395"/>
                  </a:lnTo>
                  <a:lnTo>
                    <a:pt x="2654" y="5340"/>
                  </a:lnTo>
                  <a:lnTo>
                    <a:pt x="2632" y="5282"/>
                  </a:lnTo>
                  <a:lnTo>
                    <a:pt x="2607" y="5220"/>
                  </a:lnTo>
                  <a:lnTo>
                    <a:pt x="2581" y="5156"/>
                  </a:lnTo>
                  <a:lnTo>
                    <a:pt x="2564" y="5102"/>
                  </a:lnTo>
                  <a:lnTo>
                    <a:pt x="2549" y="5050"/>
                  </a:lnTo>
                  <a:lnTo>
                    <a:pt x="2537" y="5000"/>
                  </a:lnTo>
                  <a:lnTo>
                    <a:pt x="2527" y="4950"/>
                  </a:lnTo>
                  <a:lnTo>
                    <a:pt x="2523" y="4926"/>
                  </a:lnTo>
                  <a:lnTo>
                    <a:pt x="2519" y="4903"/>
                  </a:lnTo>
                  <a:lnTo>
                    <a:pt x="2516" y="4880"/>
                  </a:lnTo>
                  <a:lnTo>
                    <a:pt x="2514" y="4857"/>
                  </a:lnTo>
                  <a:lnTo>
                    <a:pt x="2512" y="4834"/>
                  </a:lnTo>
                  <a:lnTo>
                    <a:pt x="2510" y="4812"/>
                  </a:lnTo>
                  <a:lnTo>
                    <a:pt x="2509" y="4790"/>
                  </a:lnTo>
                  <a:lnTo>
                    <a:pt x="2509" y="4768"/>
                  </a:lnTo>
                  <a:lnTo>
                    <a:pt x="2511" y="4704"/>
                  </a:lnTo>
                  <a:lnTo>
                    <a:pt x="2516" y="4640"/>
                  </a:lnTo>
                  <a:lnTo>
                    <a:pt x="2524" y="4577"/>
                  </a:lnTo>
                  <a:lnTo>
                    <a:pt x="2535" y="4516"/>
                  </a:lnTo>
                  <a:lnTo>
                    <a:pt x="2549" y="4455"/>
                  </a:lnTo>
                  <a:lnTo>
                    <a:pt x="2565" y="4395"/>
                  </a:lnTo>
                  <a:lnTo>
                    <a:pt x="2585" y="4337"/>
                  </a:lnTo>
                  <a:lnTo>
                    <a:pt x="2608" y="4280"/>
                  </a:lnTo>
                  <a:lnTo>
                    <a:pt x="2634" y="4225"/>
                  </a:lnTo>
                  <a:lnTo>
                    <a:pt x="2661" y="4171"/>
                  </a:lnTo>
                  <a:lnTo>
                    <a:pt x="2691" y="4118"/>
                  </a:lnTo>
                  <a:lnTo>
                    <a:pt x="2724" y="4067"/>
                  </a:lnTo>
                  <a:lnTo>
                    <a:pt x="2759" y="4018"/>
                  </a:lnTo>
                  <a:lnTo>
                    <a:pt x="2796" y="3971"/>
                  </a:lnTo>
                  <a:lnTo>
                    <a:pt x="2835" y="3925"/>
                  </a:lnTo>
                  <a:lnTo>
                    <a:pt x="2877" y="3881"/>
                  </a:lnTo>
                  <a:lnTo>
                    <a:pt x="2921" y="3839"/>
                  </a:lnTo>
                  <a:lnTo>
                    <a:pt x="2966" y="3800"/>
                  </a:lnTo>
                  <a:lnTo>
                    <a:pt x="3014" y="3763"/>
                  </a:lnTo>
                  <a:lnTo>
                    <a:pt x="3063" y="3728"/>
                  </a:lnTo>
                  <a:lnTo>
                    <a:pt x="3113" y="3696"/>
                  </a:lnTo>
                  <a:lnTo>
                    <a:pt x="3166" y="3665"/>
                  </a:lnTo>
                  <a:lnTo>
                    <a:pt x="3221" y="3638"/>
                  </a:lnTo>
                  <a:lnTo>
                    <a:pt x="3276" y="3612"/>
                  </a:lnTo>
                  <a:lnTo>
                    <a:pt x="3333" y="3589"/>
                  </a:lnTo>
                  <a:lnTo>
                    <a:pt x="3391" y="3570"/>
                  </a:lnTo>
                  <a:lnTo>
                    <a:pt x="3450" y="3553"/>
                  </a:lnTo>
                  <a:lnTo>
                    <a:pt x="3512" y="3539"/>
                  </a:lnTo>
                  <a:lnTo>
                    <a:pt x="3573" y="3528"/>
                  </a:lnTo>
                  <a:lnTo>
                    <a:pt x="3636" y="3520"/>
                  </a:lnTo>
                  <a:lnTo>
                    <a:pt x="3699" y="3515"/>
                  </a:lnTo>
                  <a:lnTo>
                    <a:pt x="3764" y="3513"/>
                  </a:lnTo>
                  <a:lnTo>
                    <a:pt x="3779" y="3513"/>
                  </a:lnTo>
                  <a:lnTo>
                    <a:pt x="3821" y="3512"/>
                  </a:lnTo>
                  <a:lnTo>
                    <a:pt x="3851" y="3512"/>
                  </a:lnTo>
                  <a:lnTo>
                    <a:pt x="3886" y="3513"/>
                  </a:lnTo>
                  <a:lnTo>
                    <a:pt x="3927" y="3515"/>
                  </a:lnTo>
                  <a:lnTo>
                    <a:pt x="3972" y="3519"/>
                  </a:lnTo>
                  <a:lnTo>
                    <a:pt x="4022" y="3524"/>
                  </a:lnTo>
                  <a:lnTo>
                    <a:pt x="4074" y="3531"/>
                  </a:lnTo>
                  <a:lnTo>
                    <a:pt x="4130" y="3540"/>
                  </a:lnTo>
                  <a:lnTo>
                    <a:pt x="4189" y="3552"/>
                  </a:lnTo>
                  <a:lnTo>
                    <a:pt x="4219" y="3559"/>
                  </a:lnTo>
                  <a:lnTo>
                    <a:pt x="4250" y="3566"/>
                  </a:lnTo>
                  <a:lnTo>
                    <a:pt x="4281" y="3575"/>
                  </a:lnTo>
                  <a:lnTo>
                    <a:pt x="4314" y="3584"/>
                  </a:lnTo>
                  <a:lnTo>
                    <a:pt x="4345" y="3594"/>
                  </a:lnTo>
                  <a:lnTo>
                    <a:pt x="4378" y="3604"/>
                  </a:lnTo>
                  <a:lnTo>
                    <a:pt x="4410" y="3616"/>
                  </a:lnTo>
                  <a:lnTo>
                    <a:pt x="4443" y="3629"/>
                  </a:lnTo>
                  <a:lnTo>
                    <a:pt x="4495" y="3649"/>
                  </a:lnTo>
                  <a:lnTo>
                    <a:pt x="4544" y="3667"/>
                  </a:lnTo>
                  <a:lnTo>
                    <a:pt x="4592" y="3682"/>
                  </a:lnTo>
                  <a:lnTo>
                    <a:pt x="4636" y="3694"/>
                  </a:lnTo>
                  <a:lnTo>
                    <a:pt x="4678" y="3704"/>
                  </a:lnTo>
                  <a:lnTo>
                    <a:pt x="4717" y="3711"/>
                  </a:lnTo>
                  <a:lnTo>
                    <a:pt x="4754" y="3716"/>
                  </a:lnTo>
                  <a:lnTo>
                    <a:pt x="4789" y="3718"/>
                  </a:lnTo>
                  <a:lnTo>
                    <a:pt x="4822" y="3718"/>
                  </a:lnTo>
                  <a:lnTo>
                    <a:pt x="4855" y="3715"/>
                  </a:lnTo>
                  <a:lnTo>
                    <a:pt x="4884" y="3710"/>
                  </a:lnTo>
                  <a:lnTo>
                    <a:pt x="4912" y="3702"/>
                  </a:lnTo>
                  <a:lnTo>
                    <a:pt x="4939" y="3692"/>
                  </a:lnTo>
                  <a:lnTo>
                    <a:pt x="4964" y="3679"/>
                  </a:lnTo>
                  <a:lnTo>
                    <a:pt x="4989" y="3664"/>
                  </a:lnTo>
                  <a:lnTo>
                    <a:pt x="5012" y="3646"/>
                  </a:lnTo>
                  <a:lnTo>
                    <a:pt x="5034" y="3626"/>
                  </a:lnTo>
                  <a:lnTo>
                    <a:pt x="5056" y="3603"/>
                  </a:lnTo>
                  <a:lnTo>
                    <a:pt x="5077" y="3578"/>
                  </a:lnTo>
                  <a:lnTo>
                    <a:pt x="5097" y="3551"/>
                  </a:lnTo>
                  <a:lnTo>
                    <a:pt x="5117" y="3522"/>
                  </a:lnTo>
                  <a:lnTo>
                    <a:pt x="5138" y="3490"/>
                  </a:lnTo>
                  <a:lnTo>
                    <a:pt x="5158" y="3456"/>
                  </a:lnTo>
                  <a:lnTo>
                    <a:pt x="5177" y="3420"/>
                  </a:lnTo>
                  <a:lnTo>
                    <a:pt x="5197" y="3382"/>
                  </a:lnTo>
                  <a:lnTo>
                    <a:pt x="5218" y="3340"/>
                  </a:lnTo>
                  <a:lnTo>
                    <a:pt x="5238" y="3297"/>
                  </a:lnTo>
                  <a:lnTo>
                    <a:pt x="5260" y="3251"/>
                  </a:lnTo>
                  <a:lnTo>
                    <a:pt x="5304" y="3154"/>
                  </a:lnTo>
                  <a:lnTo>
                    <a:pt x="5353" y="3047"/>
                  </a:lnTo>
                  <a:lnTo>
                    <a:pt x="5409" y="2932"/>
                  </a:lnTo>
                  <a:lnTo>
                    <a:pt x="5469" y="2820"/>
                  </a:lnTo>
                  <a:lnTo>
                    <a:pt x="5532" y="2710"/>
                  </a:lnTo>
                  <a:lnTo>
                    <a:pt x="5599" y="2603"/>
                  </a:lnTo>
                  <a:lnTo>
                    <a:pt x="5669" y="2499"/>
                  </a:lnTo>
                  <a:lnTo>
                    <a:pt x="5744" y="2398"/>
                  </a:lnTo>
                  <a:lnTo>
                    <a:pt x="5821" y="2300"/>
                  </a:lnTo>
                  <a:lnTo>
                    <a:pt x="5902" y="2204"/>
                  </a:lnTo>
                  <a:lnTo>
                    <a:pt x="5986" y="2112"/>
                  </a:lnTo>
                  <a:lnTo>
                    <a:pt x="6072" y="2024"/>
                  </a:lnTo>
                  <a:lnTo>
                    <a:pt x="6161" y="1938"/>
                  </a:lnTo>
                  <a:lnTo>
                    <a:pt x="6255" y="1856"/>
                  </a:lnTo>
                  <a:lnTo>
                    <a:pt x="6349" y="1777"/>
                  </a:lnTo>
                  <a:lnTo>
                    <a:pt x="6447" y="1701"/>
                  </a:lnTo>
                  <a:lnTo>
                    <a:pt x="6547" y="1629"/>
                  </a:lnTo>
                  <a:lnTo>
                    <a:pt x="6650" y="1560"/>
                  </a:lnTo>
                  <a:lnTo>
                    <a:pt x="6754" y="1496"/>
                  </a:lnTo>
                  <a:lnTo>
                    <a:pt x="6862" y="1434"/>
                  </a:lnTo>
                  <a:lnTo>
                    <a:pt x="6970" y="1377"/>
                  </a:lnTo>
                  <a:lnTo>
                    <a:pt x="7082" y="1323"/>
                  </a:lnTo>
                  <a:lnTo>
                    <a:pt x="7195" y="1274"/>
                  </a:lnTo>
                  <a:lnTo>
                    <a:pt x="7309" y="1228"/>
                  </a:lnTo>
                  <a:lnTo>
                    <a:pt x="7426" y="1186"/>
                  </a:lnTo>
                  <a:lnTo>
                    <a:pt x="7543" y="1148"/>
                  </a:lnTo>
                  <a:lnTo>
                    <a:pt x="7663" y="1115"/>
                  </a:lnTo>
                  <a:lnTo>
                    <a:pt x="7784" y="1086"/>
                  </a:lnTo>
                  <a:lnTo>
                    <a:pt x="7906" y="1061"/>
                  </a:lnTo>
                  <a:lnTo>
                    <a:pt x="8029" y="1041"/>
                  </a:lnTo>
                  <a:lnTo>
                    <a:pt x="8153" y="1025"/>
                  </a:lnTo>
                  <a:lnTo>
                    <a:pt x="8278" y="1013"/>
                  </a:lnTo>
                  <a:lnTo>
                    <a:pt x="8404" y="1007"/>
                  </a:lnTo>
                  <a:lnTo>
                    <a:pt x="8531" y="1004"/>
                  </a:lnTo>
                  <a:lnTo>
                    <a:pt x="8699" y="1008"/>
                  </a:lnTo>
                  <a:lnTo>
                    <a:pt x="8866" y="1020"/>
                  </a:lnTo>
                  <a:lnTo>
                    <a:pt x="9030" y="1039"/>
                  </a:lnTo>
                  <a:lnTo>
                    <a:pt x="9192" y="1066"/>
                  </a:lnTo>
                  <a:lnTo>
                    <a:pt x="9351" y="1100"/>
                  </a:lnTo>
                  <a:lnTo>
                    <a:pt x="9507" y="1142"/>
                  </a:lnTo>
                  <a:lnTo>
                    <a:pt x="9661" y="1190"/>
                  </a:lnTo>
                  <a:lnTo>
                    <a:pt x="9811" y="1246"/>
                  </a:lnTo>
                  <a:lnTo>
                    <a:pt x="9959" y="1308"/>
                  </a:lnTo>
                  <a:lnTo>
                    <a:pt x="10102" y="1376"/>
                  </a:lnTo>
                  <a:lnTo>
                    <a:pt x="10242" y="1451"/>
                  </a:lnTo>
                  <a:lnTo>
                    <a:pt x="10378" y="1532"/>
                  </a:lnTo>
                  <a:lnTo>
                    <a:pt x="10510" y="1619"/>
                  </a:lnTo>
                  <a:lnTo>
                    <a:pt x="10638" y="1711"/>
                  </a:lnTo>
                  <a:lnTo>
                    <a:pt x="10761" y="1810"/>
                  </a:lnTo>
                  <a:lnTo>
                    <a:pt x="10880" y="1914"/>
                  </a:lnTo>
                  <a:lnTo>
                    <a:pt x="10994" y="2023"/>
                  </a:lnTo>
                  <a:lnTo>
                    <a:pt x="11103" y="2137"/>
                  </a:lnTo>
                  <a:lnTo>
                    <a:pt x="11207" y="2256"/>
                  </a:lnTo>
                  <a:lnTo>
                    <a:pt x="11306" y="2381"/>
                  </a:lnTo>
                  <a:lnTo>
                    <a:pt x="11398" y="2509"/>
                  </a:lnTo>
                  <a:lnTo>
                    <a:pt x="11486" y="2643"/>
                  </a:lnTo>
                  <a:lnTo>
                    <a:pt x="11568" y="2780"/>
                  </a:lnTo>
                  <a:lnTo>
                    <a:pt x="11643" y="2922"/>
                  </a:lnTo>
                  <a:lnTo>
                    <a:pt x="11712" y="3067"/>
                  </a:lnTo>
                  <a:lnTo>
                    <a:pt x="11775" y="3217"/>
                  </a:lnTo>
                  <a:lnTo>
                    <a:pt x="11831" y="3370"/>
                  </a:lnTo>
                  <a:lnTo>
                    <a:pt x="11880" y="3526"/>
                  </a:lnTo>
                  <a:lnTo>
                    <a:pt x="11922" y="3686"/>
                  </a:lnTo>
                  <a:lnTo>
                    <a:pt x="11957" y="3848"/>
                  </a:lnTo>
                  <a:lnTo>
                    <a:pt x="11985" y="4014"/>
                  </a:lnTo>
                  <a:lnTo>
                    <a:pt x="12005" y="4183"/>
                  </a:lnTo>
                  <a:lnTo>
                    <a:pt x="12016" y="4309"/>
                  </a:lnTo>
                  <a:lnTo>
                    <a:pt x="12027" y="4420"/>
                  </a:lnTo>
                  <a:lnTo>
                    <a:pt x="12032" y="4471"/>
                  </a:lnTo>
                  <a:lnTo>
                    <a:pt x="12038" y="4517"/>
                  </a:lnTo>
                  <a:lnTo>
                    <a:pt x="12046" y="4561"/>
                  </a:lnTo>
                  <a:lnTo>
                    <a:pt x="12053" y="4601"/>
                  </a:lnTo>
                  <a:lnTo>
                    <a:pt x="12061" y="4638"/>
                  </a:lnTo>
                  <a:lnTo>
                    <a:pt x="12070" y="4673"/>
                  </a:lnTo>
                  <a:lnTo>
                    <a:pt x="12081" y="4706"/>
                  </a:lnTo>
                  <a:lnTo>
                    <a:pt x="12092" y="4736"/>
                  </a:lnTo>
                  <a:lnTo>
                    <a:pt x="12105" y="4763"/>
                  </a:lnTo>
                  <a:lnTo>
                    <a:pt x="12119" y="4788"/>
                  </a:lnTo>
                  <a:lnTo>
                    <a:pt x="12135" y="4812"/>
                  </a:lnTo>
                  <a:lnTo>
                    <a:pt x="12153" y="4833"/>
                  </a:lnTo>
                  <a:lnTo>
                    <a:pt x="12173" y="4853"/>
                  </a:lnTo>
                  <a:lnTo>
                    <a:pt x="12195" y="4872"/>
                  </a:lnTo>
                  <a:lnTo>
                    <a:pt x="12220" y="4889"/>
                  </a:lnTo>
                  <a:lnTo>
                    <a:pt x="12247" y="4905"/>
                  </a:lnTo>
                  <a:lnTo>
                    <a:pt x="12276" y="4920"/>
                  </a:lnTo>
                  <a:lnTo>
                    <a:pt x="12308" y="4935"/>
                  </a:lnTo>
                  <a:lnTo>
                    <a:pt x="12344" y="4949"/>
                  </a:lnTo>
                  <a:lnTo>
                    <a:pt x="12383" y="4962"/>
                  </a:lnTo>
                  <a:lnTo>
                    <a:pt x="12424" y="4976"/>
                  </a:lnTo>
                  <a:lnTo>
                    <a:pt x="12468" y="4989"/>
                  </a:lnTo>
                  <a:lnTo>
                    <a:pt x="12517" y="5002"/>
                  </a:lnTo>
                  <a:lnTo>
                    <a:pt x="12568" y="5015"/>
                  </a:lnTo>
                  <a:lnTo>
                    <a:pt x="12684" y="5043"/>
                  </a:lnTo>
                  <a:lnTo>
                    <a:pt x="12816" y="5073"/>
                  </a:lnTo>
                  <a:lnTo>
                    <a:pt x="12937" y="5099"/>
                  </a:lnTo>
                  <a:lnTo>
                    <a:pt x="13055" y="5129"/>
                  </a:lnTo>
                  <a:lnTo>
                    <a:pt x="13171" y="5165"/>
                  </a:lnTo>
                  <a:lnTo>
                    <a:pt x="13285" y="5206"/>
                  </a:lnTo>
                  <a:lnTo>
                    <a:pt x="13395" y="5252"/>
                  </a:lnTo>
                  <a:lnTo>
                    <a:pt x="13505" y="5302"/>
                  </a:lnTo>
                  <a:lnTo>
                    <a:pt x="13610" y="5356"/>
                  </a:lnTo>
                  <a:lnTo>
                    <a:pt x="13714" y="5415"/>
                  </a:lnTo>
                  <a:lnTo>
                    <a:pt x="13813" y="5477"/>
                  </a:lnTo>
                  <a:lnTo>
                    <a:pt x="13910" y="5545"/>
                  </a:lnTo>
                  <a:lnTo>
                    <a:pt x="14004" y="5615"/>
                  </a:lnTo>
                  <a:lnTo>
                    <a:pt x="14095" y="5690"/>
                  </a:lnTo>
                  <a:lnTo>
                    <a:pt x="14181" y="5768"/>
                  </a:lnTo>
                  <a:lnTo>
                    <a:pt x="14266" y="5850"/>
                  </a:lnTo>
                  <a:lnTo>
                    <a:pt x="14346" y="5935"/>
                  </a:lnTo>
                  <a:lnTo>
                    <a:pt x="14422" y="6024"/>
                  </a:lnTo>
                  <a:lnTo>
                    <a:pt x="14494" y="6116"/>
                  </a:lnTo>
                  <a:lnTo>
                    <a:pt x="14564" y="6210"/>
                  </a:lnTo>
                  <a:lnTo>
                    <a:pt x="14628" y="6307"/>
                  </a:lnTo>
                  <a:lnTo>
                    <a:pt x="14689" y="6408"/>
                  </a:lnTo>
                  <a:lnTo>
                    <a:pt x="14745" y="6511"/>
                  </a:lnTo>
                  <a:lnTo>
                    <a:pt x="14796" y="6617"/>
                  </a:lnTo>
                  <a:lnTo>
                    <a:pt x="14845" y="6724"/>
                  </a:lnTo>
                  <a:lnTo>
                    <a:pt x="14888" y="6834"/>
                  </a:lnTo>
                  <a:lnTo>
                    <a:pt x="14926" y="6947"/>
                  </a:lnTo>
                  <a:lnTo>
                    <a:pt x="14959" y="7060"/>
                  </a:lnTo>
                  <a:lnTo>
                    <a:pt x="14988" y="7177"/>
                  </a:lnTo>
                  <a:lnTo>
                    <a:pt x="15012" y="7294"/>
                  </a:lnTo>
                  <a:lnTo>
                    <a:pt x="15030" y="7414"/>
                  </a:lnTo>
                  <a:lnTo>
                    <a:pt x="15044" y="7534"/>
                  </a:lnTo>
                  <a:lnTo>
                    <a:pt x="15052" y="7656"/>
                  </a:lnTo>
                  <a:lnTo>
                    <a:pt x="15055" y="7779"/>
                  </a:lnTo>
                  <a:lnTo>
                    <a:pt x="15051" y="7922"/>
                  </a:lnTo>
                  <a:lnTo>
                    <a:pt x="15040" y="8061"/>
                  </a:lnTo>
                  <a:lnTo>
                    <a:pt x="15023" y="8199"/>
                  </a:lnTo>
                  <a:lnTo>
                    <a:pt x="14999" y="8335"/>
                  </a:lnTo>
                  <a:lnTo>
                    <a:pt x="14968" y="8469"/>
                  </a:lnTo>
                  <a:lnTo>
                    <a:pt x="14931" y="8599"/>
                  </a:lnTo>
                  <a:lnTo>
                    <a:pt x="14887" y="8728"/>
                  </a:lnTo>
                  <a:lnTo>
                    <a:pt x="14838" y="8853"/>
                  </a:lnTo>
                  <a:lnTo>
                    <a:pt x="14782" y="8975"/>
                  </a:lnTo>
                  <a:lnTo>
                    <a:pt x="14721" y="9094"/>
                  </a:lnTo>
                  <a:lnTo>
                    <a:pt x="14655" y="9209"/>
                  </a:lnTo>
                  <a:lnTo>
                    <a:pt x="14583" y="9322"/>
                  </a:lnTo>
                  <a:lnTo>
                    <a:pt x="14505" y="9430"/>
                  </a:lnTo>
                  <a:lnTo>
                    <a:pt x="14424" y="9535"/>
                  </a:lnTo>
                  <a:lnTo>
                    <a:pt x="14337" y="9634"/>
                  </a:lnTo>
                  <a:lnTo>
                    <a:pt x="14245" y="9730"/>
                  </a:lnTo>
                  <a:lnTo>
                    <a:pt x="14150" y="9822"/>
                  </a:lnTo>
                  <a:lnTo>
                    <a:pt x="14050" y="9909"/>
                  </a:lnTo>
                  <a:lnTo>
                    <a:pt x="13945" y="9990"/>
                  </a:lnTo>
                  <a:lnTo>
                    <a:pt x="13837" y="10068"/>
                  </a:lnTo>
                  <a:lnTo>
                    <a:pt x="13725" y="10140"/>
                  </a:lnTo>
                  <a:lnTo>
                    <a:pt x="13609" y="10206"/>
                  </a:lnTo>
                  <a:lnTo>
                    <a:pt x="13491" y="10267"/>
                  </a:lnTo>
                  <a:lnTo>
                    <a:pt x="13368" y="10322"/>
                  </a:lnTo>
                  <a:lnTo>
                    <a:pt x="13243" y="10372"/>
                  </a:lnTo>
                  <a:lnTo>
                    <a:pt x="13114" y="10416"/>
                  </a:lnTo>
                  <a:lnTo>
                    <a:pt x="12984" y="10453"/>
                  </a:lnTo>
                  <a:lnTo>
                    <a:pt x="12850" y="10484"/>
                  </a:lnTo>
                  <a:lnTo>
                    <a:pt x="12715" y="10508"/>
                  </a:lnTo>
                  <a:lnTo>
                    <a:pt x="12576" y="10525"/>
                  </a:lnTo>
                  <a:lnTo>
                    <a:pt x="12437" y="10536"/>
                  </a:lnTo>
                  <a:lnTo>
                    <a:pt x="12294" y="10539"/>
                  </a:lnTo>
                  <a:close/>
                  <a:moveTo>
                    <a:pt x="13004" y="4087"/>
                  </a:moveTo>
                  <a:lnTo>
                    <a:pt x="12979" y="3874"/>
                  </a:lnTo>
                  <a:lnTo>
                    <a:pt x="12944" y="3664"/>
                  </a:lnTo>
                  <a:lnTo>
                    <a:pt x="12899" y="3457"/>
                  </a:lnTo>
                  <a:lnTo>
                    <a:pt x="12845" y="3254"/>
                  </a:lnTo>
                  <a:lnTo>
                    <a:pt x="12782" y="3054"/>
                  </a:lnTo>
                  <a:lnTo>
                    <a:pt x="12711" y="2860"/>
                  </a:lnTo>
                  <a:lnTo>
                    <a:pt x="12631" y="2669"/>
                  </a:lnTo>
                  <a:lnTo>
                    <a:pt x="12542" y="2482"/>
                  </a:lnTo>
                  <a:lnTo>
                    <a:pt x="12446" y="2301"/>
                  </a:lnTo>
                  <a:lnTo>
                    <a:pt x="12343" y="2124"/>
                  </a:lnTo>
                  <a:lnTo>
                    <a:pt x="12230" y="1953"/>
                  </a:lnTo>
                  <a:lnTo>
                    <a:pt x="12111" y="1788"/>
                  </a:lnTo>
                  <a:lnTo>
                    <a:pt x="11985" y="1628"/>
                  </a:lnTo>
                  <a:lnTo>
                    <a:pt x="11852" y="1473"/>
                  </a:lnTo>
                  <a:lnTo>
                    <a:pt x="11711" y="1326"/>
                  </a:lnTo>
                  <a:lnTo>
                    <a:pt x="11566" y="1184"/>
                  </a:lnTo>
                  <a:lnTo>
                    <a:pt x="11413" y="1050"/>
                  </a:lnTo>
                  <a:lnTo>
                    <a:pt x="11254" y="922"/>
                  </a:lnTo>
                  <a:lnTo>
                    <a:pt x="11090" y="802"/>
                  </a:lnTo>
                  <a:lnTo>
                    <a:pt x="10919" y="690"/>
                  </a:lnTo>
                  <a:lnTo>
                    <a:pt x="10745" y="584"/>
                  </a:lnTo>
                  <a:lnTo>
                    <a:pt x="10564" y="487"/>
                  </a:lnTo>
                  <a:lnTo>
                    <a:pt x="10378" y="397"/>
                  </a:lnTo>
                  <a:lnTo>
                    <a:pt x="10189" y="316"/>
                  </a:lnTo>
                  <a:lnTo>
                    <a:pt x="9995" y="244"/>
                  </a:lnTo>
                  <a:lnTo>
                    <a:pt x="9796" y="181"/>
                  </a:lnTo>
                  <a:lnTo>
                    <a:pt x="9594" y="126"/>
                  </a:lnTo>
                  <a:lnTo>
                    <a:pt x="9388" y="81"/>
                  </a:lnTo>
                  <a:lnTo>
                    <a:pt x="9178" y="46"/>
                  </a:lnTo>
                  <a:lnTo>
                    <a:pt x="8965" y="21"/>
                  </a:lnTo>
                  <a:lnTo>
                    <a:pt x="8750" y="5"/>
                  </a:lnTo>
                  <a:lnTo>
                    <a:pt x="8531" y="0"/>
                  </a:lnTo>
                  <a:lnTo>
                    <a:pt x="8361" y="3"/>
                  </a:lnTo>
                  <a:lnTo>
                    <a:pt x="8194" y="12"/>
                  </a:lnTo>
                  <a:lnTo>
                    <a:pt x="8027" y="28"/>
                  </a:lnTo>
                  <a:lnTo>
                    <a:pt x="7863" y="49"/>
                  </a:lnTo>
                  <a:lnTo>
                    <a:pt x="7701" y="76"/>
                  </a:lnTo>
                  <a:lnTo>
                    <a:pt x="7540" y="109"/>
                  </a:lnTo>
                  <a:lnTo>
                    <a:pt x="7383" y="149"/>
                  </a:lnTo>
                  <a:lnTo>
                    <a:pt x="7227" y="193"/>
                  </a:lnTo>
                  <a:lnTo>
                    <a:pt x="7074" y="242"/>
                  </a:lnTo>
                  <a:lnTo>
                    <a:pt x="6922" y="297"/>
                  </a:lnTo>
                  <a:lnTo>
                    <a:pt x="6773" y="357"/>
                  </a:lnTo>
                  <a:lnTo>
                    <a:pt x="6628" y="423"/>
                  </a:lnTo>
                  <a:lnTo>
                    <a:pt x="6485" y="493"/>
                  </a:lnTo>
                  <a:lnTo>
                    <a:pt x="6345" y="568"/>
                  </a:lnTo>
                  <a:lnTo>
                    <a:pt x="6208" y="648"/>
                  </a:lnTo>
                  <a:lnTo>
                    <a:pt x="6075" y="733"/>
                  </a:lnTo>
                  <a:lnTo>
                    <a:pt x="5943" y="821"/>
                  </a:lnTo>
                  <a:lnTo>
                    <a:pt x="5817" y="915"/>
                  </a:lnTo>
                  <a:lnTo>
                    <a:pt x="5693" y="1013"/>
                  </a:lnTo>
                  <a:lnTo>
                    <a:pt x="5572" y="1115"/>
                  </a:lnTo>
                  <a:lnTo>
                    <a:pt x="5456" y="1221"/>
                  </a:lnTo>
                  <a:lnTo>
                    <a:pt x="5342" y="1331"/>
                  </a:lnTo>
                  <a:lnTo>
                    <a:pt x="5234" y="1444"/>
                  </a:lnTo>
                  <a:lnTo>
                    <a:pt x="5129" y="1562"/>
                  </a:lnTo>
                  <a:lnTo>
                    <a:pt x="5027" y="1683"/>
                  </a:lnTo>
                  <a:lnTo>
                    <a:pt x="4931" y="1809"/>
                  </a:lnTo>
                  <a:lnTo>
                    <a:pt x="4837" y="1936"/>
                  </a:lnTo>
                  <a:lnTo>
                    <a:pt x="4750" y="2068"/>
                  </a:lnTo>
                  <a:lnTo>
                    <a:pt x="4666" y="2203"/>
                  </a:lnTo>
                  <a:lnTo>
                    <a:pt x="4587" y="2341"/>
                  </a:lnTo>
                  <a:lnTo>
                    <a:pt x="4512" y="2481"/>
                  </a:lnTo>
                  <a:lnTo>
                    <a:pt x="4443" y="2625"/>
                  </a:lnTo>
                  <a:lnTo>
                    <a:pt x="4402" y="2613"/>
                  </a:lnTo>
                  <a:lnTo>
                    <a:pt x="4362" y="2601"/>
                  </a:lnTo>
                  <a:lnTo>
                    <a:pt x="4321" y="2589"/>
                  </a:lnTo>
                  <a:lnTo>
                    <a:pt x="4279" y="2579"/>
                  </a:lnTo>
                  <a:lnTo>
                    <a:pt x="4237" y="2568"/>
                  </a:lnTo>
                  <a:lnTo>
                    <a:pt x="4196" y="2559"/>
                  </a:lnTo>
                  <a:lnTo>
                    <a:pt x="4154" y="2549"/>
                  </a:lnTo>
                  <a:lnTo>
                    <a:pt x="4112" y="2541"/>
                  </a:lnTo>
                  <a:lnTo>
                    <a:pt x="4070" y="2534"/>
                  </a:lnTo>
                  <a:lnTo>
                    <a:pt x="4027" y="2528"/>
                  </a:lnTo>
                  <a:lnTo>
                    <a:pt x="3983" y="2522"/>
                  </a:lnTo>
                  <a:lnTo>
                    <a:pt x="3940" y="2518"/>
                  </a:lnTo>
                  <a:lnTo>
                    <a:pt x="3896" y="2514"/>
                  </a:lnTo>
                  <a:lnTo>
                    <a:pt x="3853" y="2511"/>
                  </a:lnTo>
                  <a:lnTo>
                    <a:pt x="3809" y="2510"/>
                  </a:lnTo>
                  <a:lnTo>
                    <a:pt x="3764" y="2509"/>
                  </a:lnTo>
                  <a:lnTo>
                    <a:pt x="3647" y="2512"/>
                  </a:lnTo>
                  <a:lnTo>
                    <a:pt x="3533" y="2521"/>
                  </a:lnTo>
                  <a:lnTo>
                    <a:pt x="3420" y="2535"/>
                  </a:lnTo>
                  <a:lnTo>
                    <a:pt x="3309" y="2556"/>
                  </a:lnTo>
                  <a:lnTo>
                    <a:pt x="3200" y="2581"/>
                  </a:lnTo>
                  <a:lnTo>
                    <a:pt x="3092" y="2611"/>
                  </a:lnTo>
                  <a:lnTo>
                    <a:pt x="2988" y="2647"/>
                  </a:lnTo>
                  <a:lnTo>
                    <a:pt x="2884" y="2687"/>
                  </a:lnTo>
                  <a:lnTo>
                    <a:pt x="2785" y="2732"/>
                  </a:lnTo>
                  <a:lnTo>
                    <a:pt x="2688" y="2782"/>
                  </a:lnTo>
                  <a:lnTo>
                    <a:pt x="2593" y="2837"/>
                  </a:lnTo>
                  <a:lnTo>
                    <a:pt x="2501" y="2896"/>
                  </a:lnTo>
                  <a:lnTo>
                    <a:pt x="2413" y="2958"/>
                  </a:lnTo>
                  <a:lnTo>
                    <a:pt x="2327" y="3025"/>
                  </a:lnTo>
                  <a:lnTo>
                    <a:pt x="2245" y="3097"/>
                  </a:lnTo>
                  <a:lnTo>
                    <a:pt x="2167" y="3172"/>
                  </a:lnTo>
                  <a:lnTo>
                    <a:pt x="2093" y="3250"/>
                  </a:lnTo>
                  <a:lnTo>
                    <a:pt x="2021" y="3331"/>
                  </a:lnTo>
                  <a:lnTo>
                    <a:pt x="1954" y="3417"/>
                  </a:lnTo>
                  <a:lnTo>
                    <a:pt x="1891" y="3506"/>
                  </a:lnTo>
                  <a:lnTo>
                    <a:pt x="1833" y="3597"/>
                  </a:lnTo>
                  <a:lnTo>
                    <a:pt x="1778" y="3692"/>
                  </a:lnTo>
                  <a:lnTo>
                    <a:pt x="1728" y="3789"/>
                  </a:lnTo>
                  <a:lnTo>
                    <a:pt x="1683" y="3889"/>
                  </a:lnTo>
                  <a:lnTo>
                    <a:pt x="1643" y="3992"/>
                  </a:lnTo>
                  <a:lnTo>
                    <a:pt x="1607" y="4097"/>
                  </a:lnTo>
                  <a:lnTo>
                    <a:pt x="1577" y="4204"/>
                  </a:lnTo>
                  <a:lnTo>
                    <a:pt x="1552" y="4313"/>
                  </a:lnTo>
                  <a:lnTo>
                    <a:pt x="1532" y="4424"/>
                  </a:lnTo>
                  <a:lnTo>
                    <a:pt x="1517" y="4537"/>
                  </a:lnTo>
                  <a:lnTo>
                    <a:pt x="1508" y="4652"/>
                  </a:lnTo>
                  <a:lnTo>
                    <a:pt x="1505" y="4768"/>
                  </a:lnTo>
                  <a:lnTo>
                    <a:pt x="1506" y="4815"/>
                  </a:lnTo>
                  <a:lnTo>
                    <a:pt x="1507" y="4860"/>
                  </a:lnTo>
                  <a:lnTo>
                    <a:pt x="1510" y="4906"/>
                  </a:lnTo>
                  <a:lnTo>
                    <a:pt x="1514" y="4951"/>
                  </a:lnTo>
                  <a:lnTo>
                    <a:pt x="1519" y="4997"/>
                  </a:lnTo>
                  <a:lnTo>
                    <a:pt x="1526" y="5042"/>
                  </a:lnTo>
                  <a:lnTo>
                    <a:pt x="1532" y="5086"/>
                  </a:lnTo>
                  <a:lnTo>
                    <a:pt x="1540" y="5130"/>
                  </a:lnTo>
                  <a:lnTo>
                    <a:pt x="1548" y="5174"/>
                  </a:lnTo>
                  <a:lnTo>
                    <a:pt x="1558" y="5217"/>
                  </a:lnTo>
                  <a:lnTo>
                    <a:pt x="1568" y="5261"/>
                  </a:lnTo>
                  <a:lnTo>
                    <a:pt x="1579" y="5304"/>
                  </a:lnTo>
                  <a:lnTo>
                    <a:pt x="1590" y="5347"/>
                  </a:lnTo>
                  <a:lnTo>
                    <a:pt x="1603" y="5389"/>
                  </a:lnTo>
                  <a:lnTo>
                    <a:pt x="1616" y="5431"/>
                  </a:lnTo>
                  <a:lnTo>
                    <a:pt x="1629" y="5473"/>
                  </a:lnTo>
                  <a:lnTo>
                    <a:pt x="1539" y="5528"/>
                  </a:lnTo>
                  <a:lnTo>
                    <a:pt x="1451" y="5585"/>
                  </a:lnTo>
                  <a:lnTo>
                    <a:pt x="1365" y="5644"/>
                  </a:lnTo>
                  <a:lnTo>
                    <a:pt x="1281" y="5706"/>
                  </a:lnTo>
                  <a:lnTo>
                    <a:pt x="1198" y="5771"/>
                  </a:lnTo>
                  <a:lnTo>
                    <a:pt x="1118" y="5839"/>
                  </a:lnTo>
                  <a:lnTo>
                    <a:pt x="1041" y="5909"/>
                  </a:lnTo>
                  <a:lnTo>
                    <a:pt x="965" y="5981"/>
                  </a:lnTo>
                  <a:lnTo>
                    <a:pt x="892" y="6056"/>
                  </a:lnTo>
                  <a:lnTo>
                    <a:pt x="821" y="6133"/>
                  </a:lnTo>
                  <a:lnTo>
                    <a:pt x="753" y="6211"/>
                  </a:lnTo>
                  <a:lnTo>
                    <a:pt x="687" y="6292"/>
                  </a:lnTo>
                  <a:lnTo>
                    <a:pt x="624" y="6376"/>
                  </a:lnTo>
                  <a:lnTo>
                    <a:pt x="564" y="6461"/>
                  </a:lnTo>
                  <a:lnTo>
                    <a:pt x="506" y="6548"/>
                  </a:lnTo>
                  <a:lnTo>
                    <a:pt x="451" y="6638"/>
                  </a:lnTo>
                  <a:lnTo>
                    <a:pt x="398" y="6729"/>
                  </a:lnTo>
                  <a:lnTo>
                    <a:pt x="349" y="6821"/>
                  </a:lnTo>
                  <a:lnTo>
                    <a:pt x="303" y="6917"/>
                  </a:lnTo>
                  <a:lnTo>
                    <a:pt x="260" y="7013"/>
                  </a:lnTo>
                  <a:lnTo>
                    <a:pt x="220" y="7110"/>
                  </a:lnTo>
                  <a:lnTo>
                    <a:pt x="183" y="7210"/>
                  </a:lnTo>
                  <a:lnTo>
                    <a:pt x="149" y="7311"/>
                  </a:lnTo>
                  <a:lnTo>
                    <a:pt x="118" y="7414"/>
                  </a:lnTo>
                  <a:lnTo>
                    <a:pt x="91" y="7518"/>
                  </a:lnTo>
                  <a:lnTo>
                    <a:pt x="67" y="7623"/>
                  </a:lnTo>
                  <a:lnTo>
                    <a:pt x="47" y="7730"/>
                  </a:lnTo>
                  <a:lnTo>
                    <a:pt x="30" y="7838"/>
                  </a:lnTo>
                  <a:lnTo>
                    <a:pt x="17" y="7948"/>
                  </a:lnTo>
                  <a:lnTo>
                    <a:pt x="8" y="8057"/>
                  </a:lnTo>
                  <a:lnTo>
                    <a:pt x="2" y="8168"/>
                  </a:lnTo>
                  <a:lnTo>
                    <a:pt x="0" y="8281"/>
                  </a:lnTo>
                  <a:lnTo>
                    <a:pt x="4" y="8449"/>
                  </a:lnTo>
                  <a:lnTo>
                    <a:pt x="17" y="8615"/>
                  </a:lnTo>
                  <a:lnTo>
                    <a:pt x="37" y="8778"/>
                  </a:lnTo>
                  <a:lnTo>
                    <a:pt x="66" y="8938"/>
                  </a:lnTo>
                  <a:lnTo>
                    <a:pt x="102" y="9097"/>
                  </a:lnTo>
                  <a:lnTo>
                    <a:pt x="147" y="9251"/>
                  </a:lnTo>
                  <a:lnTo>
                    <a:pt x="198" y="9403"/>
                  </a:lnTo>
                  <a:lnTo>
                    <a:pt x="256" y="9551"/>
                  </a:lnTo>
                  <a:lnTo>
                    <a:pt x="322" y="9695"/>
                  </a:lnTo>
                  <a:lnTo>
                    <a:pt x="393" y="9837"/>
                  </a:lnTo>
                  <a:lnTo>
                    <a:pt x="473" y="9973"/>
                  </a:lnTo>
                  <a:lnTo>
                    <a:pt x="557" y="10106"/>
                  </a:lnTo>
                  <a:lnTo>
                    <a:pt x="648" y="10233"/>
                  </a:lnTo>
                  <a:lnTo>
                    <a:pt x="745" y="10357"/>
                  </a:lnTo>
                  <a:lnTo>
                    <a:pt x="847" y="10475"/>
                  </a:lnTo>
                  <a:lnTo>
                    <a:pt x="955" y="10588"/>
                  </a:lnTo>
                  <a:lnTo>
                    <a:pt x="1069" y="10696"/>
                  </a:lnTo>
                  <a:lnTo>
                    <a:pt x="1187" y="10798"/>
                  </a:lnTo>
                  <a:lnTo>
                    <a:pt x="1310" y="10896"/>
                  </a:lnTo>
                  <a:lnTo>
                    <a:pt x="1438" y="10986"/>
                  </a:lnTo>
                  <a:lnTo>
                    <a:pt x="1571" y="11071"/>
                  </a:lnTo>
                  <a:lnTo>
                    <a:pt x="1707" y="11150"/>
                  </a:lnTo>
                  <a:lnTo>
                    <a:pt x="1848" y="11222"/>
                  </a:lnTo>
                  <a:lnTo>
                    <a:pt x="1992" y="11287"/>
                  </a:lnTo>
                  <a:lnTo>
                    <a:pt x="2141" y="11345"/>
                  </a:lnTo>
                  <a:lnTo>
                    <a:pt x="2292" y="11396"/>
                  </a:lnTo>
                  <a:lnTo>
                    <a:pt x="2447" y="11441"/>
                  </a:lnTo>
                  <a:lnTo>
                    <a:pt x="2604" y="11478"/>
                  </a:lnTo>
                  <a:lnTo>
                    <a:pt x="2765" y="11506"/>
                  </a:lnTo>
                  <a:lnTo>
                    <a:pt x="2929" y="11527"/>
                  </a:lnTo>
                  <a:lnTo>
                    <a:pt x="3094" y="11539"/>
                  </a:lnTo>
                  <a:lnTo>
                    <a:pt x="3262" y="11543"/>
                  </a:lnTo>
                  <a:lnTo>
                    <a:pt x="3262" y="11544"/>
                  </a:lnTo>
                  <a:lnTo>
                    <a:pt x="12294" y="11544"/>
                  </a:lnTo>
                  <a:lnTo>
                    <a:pt x="12294" y="11543"/>
                  </a:lnTo>
                  <a:lnTo>
                    <a:pt x="12488" y="11539"/>
                  </a:lnTo>
                  <a:lnTo>
                    <a:pt x="12680" y="11524"/>
                  </a:lnTo>
                  <a:lnTo>
                    <a:pt x="12867" y="11500"/>
                  </a:lnTo>
                  <a:lnTo>
                    <a:pt x="13053" y="11467"/>
                  </a:lnTo>
                  <a:lnTo>
                    <a:pt x="13236" y="11425"/>
                  </a:lnTo>
                  <a:lnTo>
                    <a:pt x="13414" y="11374"/>
                  </a:lnTo>
                  <a:lnTo>
                    <a:pt x="13589" y="11315"/>
                  </a:lnTo>
                  <a:lnTo>
                    <a:pt x="13760" y="11248"/>
                  </a:lnTo>
                  <a:lnTo>
                    <a:pt x="13926" y="11173"/>
                  </a:lnTo>
                  <a:lnTo>
                    <a:pt x="14089" y="11089"/>
                  </a:lnTo>
                  <a:lnTo>
                    <a:pt x="14246" y="10999"/>
                  </a:lnTo>
                  <a:lnTo>
                    <a:pt x="14399" y="10901"/>
                  </a:lnTo>
                  <a:lnTo>
                    <a:pt x="14547" y="10796"/>
                  </a:lnTo>
                  <a:lnTo>
                    <a:pt x="14689" y="10684"/>
                  </a:lnTo>
                  <a:lnTo>
                    <a:pt x="14826" y="10565"/>
                  </a:lnTo>
                  <a:lnTo>
                    <a:pt x="14956" y="10441"/>
                  </a:lnTo>
                  <a:lnTo>
                    <a:pt x="15080" y="10310"/>
                  </a:lnTo>
                  <a:lnTo>
                    <a:pt x="15199" y="10174"/>
                  </a:lnTo>
                  <a:lnTo>
                    <a:pt x="15310" y="10031"/>
                  </a:lnTo>
                  <a:lnTo>
                    <a:pt x="15416" y="9884"/>
                  </a:lnTo>
                  <a:lnTo>
                    <a:pt x="15513" y="9731"/>
                  </a:lnTo>
                  <a:lnTo>
                    <a:pt x="15604" y="9574"/>
                  </a:lnTo>
                  <a:lnTo>
                    <a:pt x="15687" y="9411"/>
                  </a:lnTo>
                  <a:lnTo>
                    <a:pt x="15762" y="9244"/>
                  </a:lnTo>
                  <a:lnTo>
                    <a:pt x="15830" y="9074"/>
                  </a:lnTo>
                  <a:lnTo>
                    <a:pt x="15888" y="8899"/>
                  </a:lnTo>
                  <a:lnTo>
                    <a:pt x="15940" y="8720"/>
                  </a:lnTo>
                  <a:lnTo>
                    <a:pt x="15982" y="8538"/>
                  </a:lnTo>
                  <a:lnTo>
                    <a:pt x="16015" y="8352"/>
                  </a:lnTo>
                  <a:lnTo>
                    <a:pt x="16039" y="8164"/>
                  </a:lnTo>
                  <a:lnTo>
                    <a:pt x="16053" y="7973"/>
                  </a:lnTo>
                  <a:lnTo>
                    <a:pt x="16058" y="7779"/>
                  </a:lnTo>
                  <a:lnTo>
                    <a:pt x="16054" y="7608"/>
                  </a:lnTo>
                  <a:lnTo>
                    <a:pt x="16043" y="7439"/>
                  </a:lnTo>
                  <a:lnTo>
                    <a:pt x="16024" y="7272"/>
                  </a:lnTo>
                  <a:lnTo>
                    <a:pt x="15998" y="7107"/>
                  </a:lnTo>
                  <a:lnTo>
                    <a:pt x="15965" y="6945"/>
                  </a:lnTo>
                  <a:lnTo>
                    <a:pt x="15926" y="6785"/>
                  </a:lnTo>
                  <a:lnTo>
                    <a:pt x="15878" y="6629"/>
                  </a:lnTo>
                  <a:lnTo>
                    <a:pt x="15825" y="6475"/>
                  </a:lnTo>
                  <a:lnTo>
                    <a:pt x="15766" y="6324"/>
                  </a:lnTo>
                  <a:lnTo>
                    <a:pt x="15700" y="6176"/>
                  </a:lnTo>
                  <a:lnTo>
                    <a:pt x="15628" y="6032"/>
                  </a:lnTo>
                  <a:lnTo>
                    <a:pt x="15550" y="5892"/>
                  </a:lnTo>
                  <a:lnTo>
                    <a:pt x="15467" y="5755"/>
                  </a:lnTo>
                  <a:lnTo>
                    <a:pt x="15378" y="5623"/>
                  </a:lnTo>
                  <a:lnTo>
                    <a:pt x="15283" y="5493"/>
                  </a:lnTo>
                  <a:lnTo>
                    <a:pt x="15183" y="5369"/>
                  </a:lnTo>
                  <a:lnTo>
                    <a:pt x="15078" y="5250"/>
                  </a:lnTo>
                  <a:lnTo>
                    <a:pt x="14968" y="5134"/>
                  </a:lnTo>
                  <a:lnTo>
                    <a:pt x="14854" y="5023"/>
                  </a:lnTo>
                  <a:lnTo>
                    <a:pt x="14734" y="4917"/>
                  </a:lnTo>
                  <a:lnTo>
                    <a:pt x="14611" y="4817"/>
                  </a:lnTo>
                  <a:lnTo>
                    <a:pt x="14483" y="4721"/>
                  </a:lnTo>
                  <a:lnTo>
                    <a:pt x="14351" y="4630"/>
                  </a:lnTo>
                  <a:lnTo>
                    <a:pt x="14215" y="4546"/>
                  </a:lnTo>
                  <a:lnTo>
                    <a:pt x="14075" y="4467"/>
                  </a:lnTo>
                  <a:lnTo>
                    <a:pt x="13931" y="4394"/>
                  </a:lnTo>
                  <a:lnTo>
                    <a:pt x="13785" y="4327"/>
                  </a:lnTo>
                  <a:lnTo>
                    <a:pt x="13634" y="4266"/>
                  </a:lnTo>
                  <a:lnTo>
                    <a:pt x="13482" y="4212"/>
                  </a:lnTo>
                  <a:lnTo>
                    <a:pt x="13325" y="4164"/>
                  </a:lnTo>
                  <a:lnTo>
                    <a:pt x="13166" y="4121"/>
                  </a:lnTo>
                  <a:lnTo>
                    <a:pt x="13004" y="408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72" name="ïŝlíḑè">
              <a:extLst>
                <a:ext uri="{FF2B5EF4-FFF2-40B4-BE49-F238E27FC236}">
                  <a16:creationId xmlns:a16="http://schemas.microsoft.com/office/drawing/2014/main" id="{0ABD96A6-6B55-45A6-8F56-931989FB6151}"/>
                </a:ext>
              </a:extLst>
            </p:cNvPr>
            <p:cNvSpPr/>
            <p:nvPr/>
          </p:nvSpPr>
          <p:spPr bwMode="auto">
            <a:xfrm>
              <a:off x="10630602" y="237812"/>
              <a:ext cx="265624" cy="385553"/>
            </a:xfrm>
            <a:custGeom>
              <a:avLst/>
              <a:gdLst>
                <a:gd name="T0" fmla="*/ 2887 w 11063"/>
                <a:gd name="T1" fmla="*/ 9929 h 16058"/>
                <a:gd name="T2" fmla="*/ 2451 w 11063"/>
                <a:gd name="T3" fmla="*/ 9123 h 16058"/>
                <a:gd name="T4" fmla="*/ 1855 w 11063"/>
                <a:gd name="T5" fmla="*/ 8041 h 16058"/>
                <a:gd name="T6" fmla="*/ 1427 w 11063"/>
                <a:gd name="T7" fmla="*/ 7165 h 16058"/>
                <a:gd name="T8" fmla="*/ 1122 w 11063"/>
                <a:gd name="T9" fmla="*/ 6318 h 16058"/>
                <a:gd name="T10" fmla="*/ 1006 w 11063"/>
                <a:gd name="T11" fmla="*/ 5520 h 16058"/>
                <a:gd name="T12" fmla="*/ 1362 w 11063"/>
                <a:gd name="T13" fmla="*/ 3764 h 16058"/>
                <a:gd name="T14" fmla="*/ 2332 w 11063"/>
                <a:gd name="T15" fmla="*/ 2327 h 16058"/>
                <a:gd name="T16" fmla="*/ 3771 w 11063"/>
                <a:gd name="T17" fmla="*/ 1359 h 16058"/>
                <a:gd name="T18" fmla="*/ 5532 w 11063"/>
                <a:gd name="T19" fmla="*/ 1004 h 16058"/>
                <a:gd name="T20" fmla="*/ 7292 w 11063"/>
                <a:gd name="T21" fmla="*/ 1359 h 16058"/>
                <a:gd name="T22" fmla="*/ 8731 w 11063"/>
                <a:gd name="T23" fmla="*/ 2327 h 16058"/>
                <a:gd name="T24" fmla="*/ 9701 w 11063"/>
                <a:gd name="T25" fmla="*/ 3764 h 16058"/>
                <a:gd name="T26" fmla="*/ 10057 w 11063"/>
                <a:gd name="T27" fmla="*/ 5520 h 16058"/>
                <a:gd name="T28" fmla="*/ 9941 w 11063"/>
                <a:gd name="T29" fmla="*/ 6314 h 16058"/>
                <a:gd name="T30" fmla="*/ 9636 w 11063"/>
                <a:gd name="T31" fmla="*/ 7163 h 16058"/>
                <a:gd name="T32" fmla="*/ 9207 w 11063"/>
                <a:gd name="T33" fmla="*/ 8042 h 16058"/>
                <a:gd name="T34" fmla="*/ 8612 w 11063"/>
                <a:gd name="T35" fmla="*/ 9129 h 16058"/>
                <a:gd name="T36" fmla="*/ 8179 w 11063"/>
                <a:gd name="T37" fmla="*/ 9932 h 16058"/>
                <a:gd name="T38" fmla="*/ 5484 w 11063"/>
                <a:gd name="T39" fmla="*/ 15054 h 16058"/>
                <a:gd name="T40" fmla="*/ 5160 w 11063"/>
                <a:gd name="T41" fmla="*/ 15030 h 16058"/>
                <a:gd name="T42" fmla="*/ 4907 w 11063"/>
                <a:gd name="T43" fmla="*/ 14937 h 16058"/>
                <a:gd name="T44" fmla="*/ 4698 w 11063"/>
                <a:gd name="T45" fmla="*/ 14732 h 16058"/>
                <a:gd name="T46" fmla="*/ 6658 w 11063"/>
                <a:gd name="T47" fmla="*/ 14161 h 16058"/>
                <a:gd name="T48" fmla="*/ 6436 w 11063"/>
                <a:gd name="T49" fmla="*/ 14651 h 16058"/>
                <a:gd name="T50" fmla="*/ 6202 w 11063"/>
                <a:gd name="T51" fmla="*/ 14919 h 16058"/>
                <a:gd name="T52" fmla="*/ 5915 w 11063"/>
                <a:gd name="T53" fmla="*/ 15031 h 16058"/>
                <a:gd name="T54" fmla="*/ 5532 w 11063"/>
                <a:gd name="T55" fmla="*/ 15054 h 16058"/>
                <a:gd name="T56" fmla="*/ 3763 w 11063"/>
                <a:gd name="T57" fmla="*/ 12094 h 16058"/>
                <a:gd name="T58" fmla="*/ 3603 w 11063"/>
                <a:gd name="T59" fmla="*/ 11605 h 16058"/>
                <a:gd name="T60" fmla="*/ 7351 w 11063"/>
                <a:gd name="T61" fmla="*/ 11943 h 16058"/>
                <a:gd name="T62" fmla="*/ 4290 w 11063"/>
                <a:gd name="T63" fmla="*/ 13799 h 16058"/>
                <a:gd name="T64" fmla="*/ 4145 w 11063"/>
                <a:gd name="T65" fmla="*/ 13340 h 16058"/>
                <a:gd name="T66" fmla="*/ 7149 w 11063"/>
                <a:gd name="T67" fmla="*/ 12594 h 16058"/>
                <a:gd name="T68" fmla="*/ 7016 w 11063"/>
                <a:gd name="T69" fmla="*/ 13038 h 16058"/>
                <a:gd name="T70" fmla="*/ 6835 w 11063"/>
                <a:gd name="T71" fmla="*/ 13637 h 16058"/>
                <a:gd name="T72" fmla="*/ 3630 w 11063"/>
                <a:gd name="T73" fmla="*/ 335 h 16058"/>
                <a:gd name="T74" fmla="*/ 1812 w 11063"/>
                <a:gd name="T75" fmla="*/ 1434 h 16058"/>
                <a:gd name="T76" fmla="*/ 545 w 11063"/>
                <a:gd name="T77" fmla="*/ 3127 h 16058"/>
                <a:gd name="T78" fmla="*/ 7 w 11063"/>
                <a:gd name="T79" fmla="*/ 5236 h 16058"/>
                <a:gd name="T80" fmla="*/ 234 w 11063"/>
                <a:gd name="T81" fmla="*/ 6861 h 16058"/>
                <a:gd name="T82" fmla="*/ 910 w 11063"/>
                <a:gd name="T83" fmla="*/ 8405 h 16058"/>
                <a:gd name="T84" fmla="*/ 1748 w 11063"/>
                <a:gd name="T85" fmla="*/ 9927 h 16058"/>
                <a:gd name="T86" fmla="*/ 2463 w 11063"/>
                <a:gd name="T87" fmla="*/ 11392 h 16058"/>
                <a:gd name="T88" fmla="*/ 3065 w 11063"/>
                <a:gd name="T89" fmla="*/ 13245 h 16058"/>
                <a:gd name="T90" fmla="*/ 3552 w 11063"/>
                <a:gd name="T91" fmla="*/ 14718 h 16058"/>
                <a:gd name="T92" fmla="*/ 4207 w 11063"/>
                <a:gd name="T93" fmla="*/ 15672 h 16058"/>
                <a:gd name="T94" fmla="*/ 5340 w 11063"/>
                <a:gd name="T95" fmla="*/ 16053 h 16058"/>
                <a:gd name="T96" fmla="*/ 6643 w 11063"/>
                <a:gd name="T97" fmla="*/ 15823 h 16058"/>
                <a:gd name="T98" fmla="*/ 7387 w 11063"/>
                <a:gd name="T99" fmla="*/ 15011 h 16058"/>
                <a:gd name="T100" fmla="*/ 7880 w 11063"/>
                <a:gd name="T101" fmla="*/ 13666 h 16058"/>
                <a:gd name="T102" fmla="*/ 8442 w 11063"/>
                <a:gd name="T103" fmla="*/ 11841 h 16058"/>
                <a:gd name="T104" fmla="*/ 9115 w 11063"/>
                <a:gd name="T105" fmla="*/ 10307 h 16058"/>
                <a:gd name="T106" fmla="*/ 9949 w 11063"/>
                <a:gd name="T107" fmla="*/ 8788 h 16058"/>
                <a:gd name="T108" fmla="*/ 10691 w 11063"/>
                <a:gd name="T109" fmla="*/ 7241 h 16058"/>
                <a:gd name="T110" fmla="*/ 11058 w 11063"/>
                <a:gd name="T111" fmla="*/ 5709 h 16058"/>
                <a:gd name="T112" fmla="*/ 10727 w 11063"/>
                <a:gd name="T113" fmla="*/ 3622 h 16058"/>
                <a:gd name="T114" fmla="*/ 9626 w 11063"/>
                <a:gd name="T115" fmla="*/ 1809 h 16058"/>
                <a:gd name="T116" fmla="*/ 7929 w 11063"/>
                <a:gd name="T117" fmla="*/ 544 h 16058"/>
                <a:gd name="T118" fmla="*/ 5816 w 11063"/>
                <a:gd name="T119" fmla="*/ 7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063" h="16058">
                  <a:moveTo>
                    <a:pt x="7881" y="10538"/>
                  </a:moveTo>
                  <a:lnTo>
                    <a:pt x="3187" y="10538"/>
                  </a:lnTo>
                  <a:lnTo>
                    <a:pt x="3140" y="10437"/>
                  </a:lnTo>
                  <a:lnTo>
                    <a:pt x="3092" y="10335"/>
                  </a:lnTo>
                  <a:lnTo>
                    <a:pt x="3041" y="10234"/>
                  </a:lnTo>
                  <a:lnTo>
                    <a:pt x="2991" y="10132"/>
                  </a:lnTo>
                  <a:lnTo>
                    <a:pt x="2940" y="10030"/>
                  </a:lnTo>
                  <a:lnTo>
                    <a:pt x="2887" y="9929"/>
                  </a:lnTo>
                  <a:lnTo>
                    <a:pt x="2835" y="9827"/>
                  </a:lnTo>
                  <a:lnTo>
                    <a:pt x="2781" y="9727"/>
                  </a:lnTo>
                  <a:lnTo>
                    <a:pt x="2728" y="9626"/>
                  </a:lnTo>
                  <a:lnTo>
                    <a:pt x="2672" y="9524"/>
                  </a:lnTo>
                  <a:lnTo>
                    <a:pt x="2618" y="9424"/>
                  </a:lnTo>
                  <a:lnTo>
                    <a:pt x="2563" y="9324"/>
                  </a:lnTo>
                  <a:lnTo>
                    <a:pt x="2507" y="9223"/>
                  </a:lnTo>
                  <a:lnTo>
                    <a:pt x="2451" y="9123"/>
                  </a:lnTo>
                  <a:lnTo>
                    <a:pt x="2396" y="9024"/>
                  </a:lnTo>
                  <a:lnTo>
                    <a:pt x="2340" y="8924"/>
                  </a:lnTo>
                  <a:lnTo>
                    <a:pt x="2217" y="8703"/>
                  </a:lnTo>
                  <a:lnTo>
                    <a:pt x="2094" y="8483"/>
                  </a:lnTo>
                  <a:lnTo>
                    <a:pt x="2034" y="8372"/>
                  </a:lnTo>
                  <a:lnTo>
                    <a:pt x="1973" y="8262"/>
                  </a:lnTo>
                  <a:lnTo>
                    <a:pt x="1914" y="8151"/>
                  </a:lnTo>
                  <a:lnTo>
                    <a:pt x="1855" y="8041"/>
                  </a:lnTo>
                  <a:lnTo>
                    <a:pt x="1796" y="7931"/>
                  </a:lnTo>
                  <a:lnTo>
                    <a:pt x="1740" y="7820"/>
                  </a:lnTo>
                  <a:lnTo>
                    <a:pt x="1684" y="7711"/>
                  </a:lnTo>
                  <a:lnTo>
                    <a:pt x="1629" y="7600"/>
                  </a:lnTo>
                  <a:lnTo>
                    <a:pt x="1576" y="7491"/>
                  </a:lnTo>
                  <a:lnTo>
                    <a:pt x="1525" y="7383"/>
                  </a:lnTo>
                  <a:lnTo>
                    <a:pt x="1475" y="7273"/>
                  </a:lnTo>
                  <a:lnTo>
                    <a:pt x="1427" y="7165"/>
                  </a:lnTo>
                  <a:lnTo>
                    <a:pt x="1381" y="7057"/>
                  </a:lnTo>
                  <a:lnTo>
                    <a:pt x="1337" y="6950"/>
                  </a:lnTo>
                  <a:lnTo>
                    <a:pt x="1294" y="6843"/>
                  </a:lnTo>
                  <a:lnTo>
                    <a:pt x="1255" y="6736"/>
                  </a:lnTo>
                  <a:lnTo>
                    <a:pt x="1218" y="6631"/>
                  </a:lnTo>
                  <a:lnTo>
                    <a:pt x="1183" y="6526"/>
                  </a:lnTo>
                  <a:lnTo>
                    <a:pt x="1151" y="6421"/>
                  </a:lnTo>
                  <a:lnTo>
                    <a:pt x="1122" y="6318"/>
                  </a:lnTo>
                  <a:lnTo>
                    <a:pt x="1095" y="6214"/>
                  </a:lnTo>
                  <a:lnTo>
                    <a:pt x="1072" y="6112"/>
                  </a:lnTo>
                  <a:lnTo>
                    <a:pt x="1053" y="6012"/>
                  </a:lnTo>
                  <a:lnTo>
                    <a:pt x="1036" y="5911"/>
                  </a:lnTo>
                  <a:lnTo>
                    <a:pt x="1023" y="5812"/>
                  </a:lnTo>
                  <a:lnTo>
                    <a:pt x="1014" y="5714"/>
                  </a:lnTo>
                  <a:lnTo>
                    <a:pt x="1008" y="5616"/>
                  </a:lnTo>
                  <a:lnTo>
                    <a:pt x="1006" y="5520"/>
                  </a:lnTo>
                  <a:lnTo>
                    <a:pt x="1012" y="5288"/>
                  </a:lnTo>
                  <a:lnTo>
                    <a:pt x="1029" y="5059"/>
                  </a:lnTo>
                  <a:lnTo>
                    <a:pt x="1058" y="4833"/>
                  </a:lnTo>
                  <a:lnTo>
                    <a:pt x="1098" y="4611"/>
                  </a:lnTo>
                  <a:lnTo>
                    <a:pt x="1149" y="4393"/>
                  </a:lnTo>
                  <a:lnTo>
                    <a:pt x="1210" y="4178"/>
                  </a:lnTo>
                  <a:lnTo>
                    <a:pt x="1280" y="3968"/>
                  </a:lnTo>
                  <a:lnTo>
                    <a:pt x="1362" y="3764"/>
                  </a:lnTo>
                  <a:lnTo>
                    <a:pt x="1452" y="3564"/>
                  </a:lnTo>
                  <a:lnTo>
                    <a:pt x="1553" y="3369"/>
                  </a:lnTo>
                  <a:lnTo>
                    <a:pt x="1661" y="3179"/>
                  </a:lnTo>
                  <a:lnTo>
                    <a:pt x="1779" y="2997"/>
                  </a:lnTo>
                  <a:lnTo>
                    <a:pt x="1906" y="2819"/>
                  </a:lnTo>
                  <a:lnTo>
                    <a:pt x="2041" y="2649"/>
                  </a:lnTo>
                  <a:lnTo>
                    <a:pt x="2182" y="2485"/>
                  </a:lnTo>
                  <a:lnTo>
                    <a:pt x="2332" y="2327"/>
                  </a:lnTo>
                  <a:lnTo>
                    <a:pt x="2490" y="2178"/>
                  </a:lnTo>
                  <a:lnTo>
                    <a:pt x="2654" y="2036"/>
                  </a:lnTo>
                  <a:lnTo>
                    <a:pt x="2825" y="1902"/>
                  </a:lnTo>
                  <a:lnTo>
                    <a:pt x="3003" y="1776"/>
                  </a:lnTo>
                  <a:lnTo>
                    <a:pt x="3186" y="1658"/>
                  </a:lnTo>
                  <a:lnTo>
                    <a:pt x="3376" y="1550"/>
                  </a:lnTo>
                  <a:lnTo>
                    <a:pt x="3571" y="1449"/>
                  </a:lnTo>
                  <a:lnTo>
                    <a:pt x="3771" y="1359"/>
                  </a:lnTo>
                  <a:lnTo>
                    <a:pt x="3977" y="1279"/>
                  </a:lnTo>
                  <a:lnTo>
                    <a:pt x="4187" y="1207"/>
                  </a:lnTo>
                  <a:lnTo>
                    <a:pt x="4402" y="1146"/>
                  </a:lnTo>
                  <a:lnTo>
                    <a:pt x="4620" y="1096"/>
                  </a:lnTo>
                  <a:lnTo>
                    <a:pt x="4843" y="1056"/>
                  </a:lnTo>
                  <a:lnTo>
                    <a:pt x="5069" y="1027"/>
                  </a:lnTo>
                  <a:lnTo>
                    <a:pt x="5299" y="1010"/>
                  </a:lnTo>
                  <a:lnTo>
                    <a:pt x="5532" y="1004"/>
                  </a:lnTo>
                  <a:lnTo>
                    <a:pt x="5764" y="1010"/>
                  </a:lnTo>
                  <a:lnTo>
                    <a:pt x="5993" y="1027"/>
                  </a:lnTo>
                  <a:lnTo>
                    <a:pt x="6219" y="1056"/>
                  </a:lnTo>
                  <a:lnTo>
                    <a:pt x="6443" y="1096"/>
                  </a:lnTo>
                  <a:lnTo>
                    <a:pt x="6661" y="1146"/>
                  </a:lnTo>
                  <a:lnTo>
                    <a:pt x="6876" y="1207"/>
                  </a:lnTo>
                  <a:lnTo>
                    <a:pt x="7086" y="1279"/>
                  </a:lnTo>
                  <a:lnTo>
                    <a:pt x="7292" y="1359"/>
                  </a:lnTo>
                  <a:lnTo>
                    <a:pt x="7492" y="1449"/>
                  </a:lnTo>
                  <a:lnTo>
                    <a:pt x="7687" y="1550"/>
                  </a:lnTo>
                  <a:lnTo>
                    <a:pt x="7877" y="1658"/>
                  </a:lnTo>
                  <a:lnTo>
                    <a:pt x="8060" y="1776"/>
                  </a:lnTo>
                  <a:lnTo>
                    <a:pt x="8238" y="1902"/>
                  </a:lnTo>
                  <a:lnTo>
                    <a:pt x="8409" y="2036"/>
                  </a:lnTo>
                  <a:lnTo>
                    <a:pt x="8573" y="2178"/>
                  </a:lnTo>
                  <a:lnTo>
                    <a:pt x="8731" y="2327"/>
                  </a:lnTo>
                  <a:lnTo>
                    <a:pt x="8881" y="2485"/>
                  </a:lnTo>
                  <a:lnTo>
                    <a:pt x="9022" y="2649"/>
                  </a:lnTo>
                  <a:lnTo>
                    <a:pt x="9157" y="2819"/>
                  </a:lnTo>
                  <a:lnTo>
                    <a:pt x="9283" y="2997"/>
                  </a:lnTo>
                  <a:lnTo>
                    <a:pt x="9402" y="3179"/>
                  </a:lnTo>
                  <a:lnTo>
                    <a:pt x="9510" y="3369"/>
                  </a:lnTo>
                  <a:lnTo>
                    <a:pt x="9611" y="3564"/>
                  </a:lnTo>
                  <a:lnTo>
                    <a:pt x="9701" y="3764"/>
                  </a:lnTo>
                  <a:lnTo>
                    <a:pt x="9783" y="3968"/>
                  </a:lnTo>
                  <a:lnTo>
                    <a:pt x="9853" y="4178"/>
                  </a:lnTo>
                  <a:lnTo>
                    <a:pt x="9914" y="4393"/>
                  </a:lnTo>
                  <a:lnTo>
                    <a:pt x="9965" y="4611"/>
                  </a:lnTo>
                  <a:lnTo>
                    <a:pt x="10005" y="4833"/>
                  </a:lnTo>
                  <a:lnTo>
                    <a:pt x="10034" y="5059"/>
                  </a:lnTo>
                  <a:lnTo>
                    <a:pt x="10051" y="5288"/>
                  </a:lnTo>
                  <a:lnTo>
                    <a:pt x="10057" y="5520"/>
                  </a:lnTo>
                  <a:lnTo>
                    <a:pt x="10055" y="5615"/>
                  </a:lnTo>
                  <a:lnTo>
                    <a:pt x="10049" y="5713"/>
                  </a:lnTo>
                  <a:lnTo>
                    <a:pt x="10040" y="5810"/>
                  </a:lnTo>
                  <a:lnTo>
                    <a:pt x="10027" y="5908"/>
                  </a:lnTo>
                  <a:lnTo>
                    <a:pt x="10010" y="6009"/>
                  </a:lnTo>
                  <a:lnTo>
                    <a:pt x="9990" y="6110"/>
                  </a:lnTo>
                  <a:lnTo>
                    <a:pt x="9967" y="6211"/>
                  </a:lnTo>
                  <a:lnTo>
                    <a:pt x="9941" y="6314"/>
                  </a:lnTo>
                  <a:lnTo>
                    <a:pt x="9911" y="6418"/>
                  </a:lnTo>
                  <a:lnTo>
                    <a:pt x="9880" y="6523"/>
                  </a:lnTo>
                  <a:lnTo>
                    <a:pt x="9845" y="6627"/>
                  </a:lnTo>
                  <a:lnTo>
                    <a:pt x="9808" y="6733"/>
                  </a:lnTo>
                  <a:lnTo>
                    <a:pt x="9769" y="6840"/>
                  </a:lnTo>
                  <a:lnTo>
                    <a:pt x="9726" y="6947"/>
                  </a:lnTo>
                  <a:lnTo>
                    <a:pt x="9682" y="7054"/>
                  </a:lnTo>
                  <a:lnTo>
                    <a:pt x="9636" y="7163"/>
                  </a:lnTo>
                  <a:lnTo>
                    <a:pt x="9588" y="7271"/>
                  </a:lnTo>
                  <a:lnTo>
                    <a:pt x="9538" y="7381"/>
                  </a:lnTo>
                  <a:lnTo>
                    <a:pt x="9486" y="7490"/>
                  </a:lnTo>
                  <a:lnTo>
                    <a:pt x="9433" y="7599"/>
                  </a:lnTo>
                  <a:lnTo>
                    <a:pt x="9378" y="7710"/>
                  </a:lnTo>
                  <a:lnTo>
                    <a:pt x="9323" y="7820"/>
                  </a:lnTo>
                  <a:lnTo>
                    <a:pt x="9266" y="7932"/>
                  </a:lnTo>
                  <a:lnTo>
                    <a:pt x="9207" y="8042"/>
                  </a:lnTo>
                  <a:lnTo>
                    <a:pt x="9149" y="8153"/>
                  </a:lnTo>
                  <a:lnTo>
                    <a:pt x="9089" y="8264"/>
                  </a:lnTo>
                  <a:lnTo>
                    <a:pt x="9028" y="8375"/>
                  </a:lnTo>
                  <a:lnTo>
                    <a:pt x="8968" y="8487"/>
                  </a:lnTo>
                  <a:lnTo>
                    <a:pt x="8845" y="8708"/>
                  </a:lnTo>
                  <a:lnTo>
                    <a:pt x="8722" y="8930"/>
                  </a:lnTo>
                  <a:lnTo>
                    <a:pt x="8667" y="9029"/>
                  </a:lnTo>
                  <a:lnTo>
                    <a:pt x="8612" y="9129"/>
                  </a:lnTo>
                  <a:lnTo>
                    <a:pt x="8557" y="9228"/>
                  </a:lnTo>
                  <a:lnTo>
                    <a:pt x="8501" y="9329"/>
                  </a:lnTo>
                  <a:lnTo>
                    <a:pt x="8447" y="9429"/>
                  </a:lnTo>
                  <a:lnTo>
                    <a:pt x="8392" y="9529"/>
                  </a:lnTo>
                  <a:lnTo>
                    <a:pt x="8338" y="9630"/>
                  </a:lnTo>
                  <a:lnTo>
                    <a:pt x="8284" y="9730"/>
                  </a:lnTo>
                  <a:lnTo>
                    <a:pt x="8231" y="9831"/>
                  </a:lnTo>
                  <a:lnTo>
                    <a:pt x="8179" y="9932"/>
                  </a:lnTo>
                  <a:lnTo>
                    <a:pt x="8127" y="10033"/>
                  </a:lnTo>
                  <a:lnTo>
                    <a:pt x="8076" y="10134"/>
                  </a:lnTo>
                  <a:lnTo>
                    <a:pt x="8026" y="10235"/>
                  </a:lnTo>
                  <a:lnTo>
                    <a:pt x="7976" y="10336"/>
                  </a:lnTo>
                  <a:lnTo>
                    <a:pt x="7928" y="10437"/>
                  </a:lnTo>
                  <a:lnTo>
                    <a:pt x="7881" y="10538"/>
                  </a:lnTo>
                  <a:close/>
                  <a:moveTo>
                    <a:pt x="5532" y="15054"/>
                  </a:moveTo>
                  <a:lnTo>
                    <a:pt x="5484" y="15054"/>
                  </a:lnTo>
                  <a:lnTo>
                    <a:pt x="5439" y="15053"/>
                  </a:lnTo>
                  <a:lnTo>
                    <a:pt x="5395" y="15052"/>
                  </a:lnTo>
                  <a:lnTo>
                    <a:pt x="5352" y="15050"/>
                  </a:lnTo>
                  <a:lnTo>
                    <a:pt x="5311" y="15048"/>
                  </a:lnTo>
                  <a:lnTo>
                    <a:pt x="5272" y="15045"/>
                  </a:lnTo>
                  <a:lnTo>
                    <a:pt x="5234" y="15041"/>
                  </a:lnTo>
                  <a:lnTo>
                    <a:pt x="5197" y="15036"/>
                  </a:lnTo>
                  <a:lnTo>
                    <a:pt x="5160" y="15030"/>
                  </a:lnTo>
                  <a:lnTo>
                    <a:pt x="5125" y="15023"/>
                  </a:lnTo>
                  <a:lnTo>
                    <a:pt x="5091" y="15015"/>
                  </a:lnTo>
                  <a:lnTo>
                    <a:pt x="5059" y="15006"/>
                  </a:lnTo>
                  <a:lnTo>
                    <a:pt x="5027" y="14995"/>
                  </a:lnTo>
                  <a:lnTo>
                    <a:pt x="4995" y="14983"/>
                  </a:lnTo>
                  <a:lnTo>
                    <a:pt x="4965" y="14969"/>
                  </a:lnTo>
                  <a:lnTo>
                    <a:pt x="4936" y="14954"/>
                  </a:lnTo>
                  <a:lnTo>
                    <a:pt x="4907" y="14937"/>
                  </a:lnTo>
                  <a:lnTo>
                    <a:pt x="4880" y="14919"/>
                  </a:lnTo>
                  <a:lnTo>
                    <a:pt x="4852" y="14898"/>
                  </a:lnTo>
                  <a:lnTo>
                    <a:pt x="4825" y="14876"/>
                  </a:lnTo>
                  <a:lnTo>
                    <a:pt x="4799" y="14852"/>
                  </a:lnTo>
                  <a:lnTo>
                    <a:pt x="4773" y="14825"/>
                  </a:lnTo>
                  <a:lnTo>
                    <a:pt x="4748" y="14796"/>
                  </a:lnTo>
                  <a:lnTo>
                    <a:pt x="4723" y="14765"/>
                  </a:lnTo>
                  <a:lnTo>
                    <a:pt x="4698" y="14732"/>
                  </a:lnTo>
                  <a:lnTo>
                    <a:pt x="4673" y="14696"/>
                  </a:lnTo>
                  <a:lnTo>
                    <a:pt x="4648" y="14658"/>
                  </a:lnTo>
                  <a:lnTo>
                    <a:pt x="4624" y="14618"/>
                  </a:lnTo>
                  <a:lnTo>
                    <a:pt x="4600" y="14574"/>
                  </a:lnTo>
                  <a:lnTo>
                    <a:pt x="4576" y="14527"/>
                  </a:lnTo>
                  <a:lnTo>
                    <a:pt x="4552" y="14479"/>
                  </a:lnTo>
                  <a:lnTo>
                    <a:pt x="4527" y="14427"/>
                  </a:lnTo>
                  <a:lnTo>
                    <a:pt x="6658" y="14161"/>
                  </a:lnTo>
                  <a:lnTo>
                    <a:pt x="6630" y="14236"/>
                  </a:lnTo>
                  <a:lnTo>
                    <a:pt x="6602" y="14308"/>
                  </a:lnTo>
                  <a:lnTo>
                    <a:pt x="6573" y="14375"/>
                  </a:lnTo>
                  <a:lnTo>
                    <a:pt x="6546" y="14438"/>
                  </a:lnTo>
                  <a:lnTo>
                    <a:pt x="6518" y="14496"/>
                  </a:lnTo>
                  <a:lnTo>
                    <a:pt x="6491" y="14552"/>
                  </a:lnTo>
                  <a:lnTo>
                    <a:pt x="6464" y="14603"/>
                  </a:lnTo>
                  <a:lnTo>
                    <a:pt x="6436" y="14651"/>
                  </a:lnTo>
                  <a:lnTo>
                    <a:pt x="6408" y="14695"/>
                  </a:lnTo>
                  <a:lnTo>
                    <a:pt x="6380" y="14736"/>
                  </a:lnTo>
                  <a:lnTo>
                    <a:pt x="6352" y="14773"/>
                  </a:lnTo>
                  <a:lnTo>
                    <a:pt x="6323" y="14808"/>
                  </a:lnTo>
                  <a:lnTo>
                    <a:pt x="6294" y="14841"/>
                  </a:lnTo>
                  <a:lnTo>
                    <a:pt x="6264" y="14869"/>
                  </a:lnTo>
                  <a:lnTo>
                    <a:pt x="6233" y="14895"/>
                  </a:lnTo>
                  <a:lnTo>
                    <a:pt x="6202" y="14919"/>
                  </a:lnTo>
                  <a:lnTo>
                    <a:pt x="6170" y="14940"/>
                  </a:lnTo>
                  <a:lnTo>
                    <a:pt x="6137" y="14959"/>
                  </a:lnTo>
                  <a:lnTo>
                    <a:pt x="6103" y="14976"/>
                  </a:lnTo>
                  <a:lnTo>
                    <a:pt x="6068" y="14990"/>
                  </a:lnTo>
                  <a:lnTo>
                    <a:pt x="6031" y="15003"/>
                  </a:lnTo>
                  <a:lnTo>
                    <a:pt x="5994" y="15014"/>
                  </a:lnTo>
                  <a:lnTo>
                    <a:pt x="5955" y="15023"/>
                  </a:lnTo>
                  <a:lnTo>
                    <a:pt x="5915" y="15031"/>
                  </a:lnTo>
                  <a:lnTo>
                    <a:pt x="5873" y="15038"/>
                  </a:lnTo>
                  <a:lnTo>
                    <a:pt x="5829" y="15043"/>
                  </a:lnTo>
                  <a:lnTo>
                    <a:pt x="5785" y="15047"/>
                  </a:lnTo>
                  <a:lnTo>
                    <a:pt x="5738" y="15050"/>
                  </a:lnTo>
                  <a:lnTo>
                    <a:pt x="5689" y="15052"/>
                  </a:lnTo>
                  <a:lnTo>
                    <a:pt x="5638" y="15053"/>
                  </a:lnTo>
                  <a:lnTo>
                    <a:pt x="5586" y="15054"/>
                  </a:lnTo>
                  <a:lnTo>
                    <a:pt x="5532" y="15054"/>
                  </a:lnTo>
                  <a:close/>
                  <a:moveTo>
                    <a:pt x="3890" y="12499"/>
                  </a:moveTo>
                  <a:lnTo>
                    <a:pt x="3873" y="12442"/>
                  </a:lnTo>
                  <a:lnTo>
                    <a:pt x="3855" y="12386"/>
                  </a:lnTo>
                  <a:lnTo>
                    <a:pt x="3838" y="12328"/>
                  </a:lnTo>
                  <a:lnTo>
                    <a:pt x="3820" y="12269"/>
                  </a:lnTo>
                  <a:lnTo>
                    <a:pt x="3802" y="12211"/>
                  </a:lnTo>
                  <a:lnTo>
                    <a:pt x="3783" y="12153"/>
                  </a:lnTo>
                  <a:lnTo>
                    <a:pt x="3763" y="12094"/>
                  </a:lnTo>
                  <a:lnTo>
                    <a:pt x="3744" y="12033"/>
                  </a:lnTo>
                  <a:lnTo>
                    <a:pt x="3725" y="11974"/>
                  </a:lnTo>
                  <a:lnTo>
                    <a:pt x="3705" y="11913"/>
                  </a:lnTo>
                  <a:lnTo>
                    <a:pt x="3685" y="11853"/>
                  </a:lnTo>
                  <a:lnTo>
                    <a:pt x="3665" y="11792"/>
                  </a:lnTo>
                  <a:lnTo>
                    <a:pt x="3645" y="11729"/>
                  </a:lnTo>
                  <a:lnTo>
                    <a:pt x="3624" y="11667"/>
                  </a:lnTo>
                  <a:lnTo>
                    <a:pt x="3603" y="11605"/>
                  </a:lnTo>
                  <a:lnTo>
                    <a:pt x="3581" y="11542"/>
                  </a:lnTo>
                  <a:lnTo>
                    <a:pt x="7487" y="11542"/>
                  </a:lnTo>
                  <a:lnTo>
                    <a:pt x="7464" y="11609"/>
                  </a:lnTo>
                  <a:lnTo>
                    <a:pt x="7440" y="11677"/>
                  </a:lnTo>
                  <a:lnTo>
                    <a:pt x="7417" y="11744"/>
                  </a:lnTo>
                  <a:lnTo>
                    <a:pt x="7395" y="11811"/>
                  </a:lnTo>
                  <a:lnTo>
                    <a:pt x="7373" y="11878"/>
                  </a:lnTo>
                  <a:lnTo>
                    <a:pt x="7351" y="11943"/>
                  </a:lnTo>
                  <a:lnTo>
                    <a:pt x="7330" y="12008"/>
                  </a:lnTo>
                  <a:lnTo>
                    <a:pt x="7309" y="12074"/>
                  </a:lnTo>
                  <a:lnTo>
                    <a:pt x="3890" y="12499"/>
                  </a:lnTo>
                  <a:close/>
                  <a:moveTo>
                    <a:pt x="6835" y="13637"/>
                  </a:moveTo>
                  <a:lnTo>
                    <a:pt x="4342" y="13948"/>
                  </a:lnTo>
                  <a:lnTo>
                    <a:pt x="4325" y="13899"/>
                  </a:lnTo>
                  <a:lnTo>
                    <a:pt x="4309" y="13850"/>
                  </a:lnTo>
                  <a:lnTo>
                    <a:pt x="4290" y="13799"/>
                  </a:lnTo>
                  <a:lnTo>
                    <a:pt x="4273" y="13747"/>
                  </a:lnTo>
                  <a:lnTo>
                    <a:pt x="4256" y="13693"/>
                  </a:lnTo>
                  <a:lnTo>
                    <a:pt x="4238" y="13638"/>
                  </a:lnTo>
                  <a:lnTo>
                    <a:pt x="4220" y="13582"/>
                  </a:lnTo>
                  <a:lnTo>
                    <a:pt x="4202" y="13524"/>
                  </a:lnTo>
                  <a:lnTo>
                    <a:pt x="4183" y="13465"/>
                  </a:lnTo>
                  <a:lnTo>
                    <a:pt x="4164" y="13403"/>
                  </a:lnTo>
                  <a:lnTo>
                    <a:pt x="4145" y="13340"/>
                  </a:lnTo>
                  <a:lnTo>
                    <a:pt x="4124" y="13276"/>
                  </a:lnTo>
                  <a:lnTo>
                    <a:pt x="4104" y="13210"/>
                  </a:lnTo>
                  <a:lnTo>
                    <a:pt x="4083" y="13141"/>
                  </a:lnTo>
                  <a:lnTo>
                    <a:pt x="4062" y="13070"/>
                  </a:lnTo>
                  <a:lnTo>
                    <a:pt x="4041" y="12998"/>
                  </a:lnTo>
                  <a:lnTo>
                    <a:pt x="4038" y="12990"/>
                  </a:lnTo>
                  <a:lnTo>
                    <a:pt x="4036" y="12983"/>
                  </a:lnTo>
                  <a:lnTo>
                    <a:pt x="7149" y="12594"/>
                  </a:lnTo>
                  <a:lnTo>
                    <a:pt x="7132" y="12651"/>
                  </a:lnTo>
                  <a:lnTo>
                    <a:pt x="7116" y="12707"/>
                  </a:lnTo>
                  <a:lnTo>
                    <a:pt x="7098" y="12763"/>
                  </a:lnTo>
                  <a:lnTo>
                    <a:pt x="7081" y="12819"/>
                  </a:lnTo>
                  <a:lnTo>
                    <a:pt x="7064" y="12876"/>
                  </a:lnTo>
                  <a:lnTo>
                    <a:pt x="7047" y="12931"/>
                  </a:lnTo>
                  <a:lnTo>
                    <a:pt x="7031" y="12985"/>
                  </a:lnTo>
                  <a:lnTo>
                    <a:pt x="7016" y="13038"/>
                  </a:lnTo>
                  <a:lnTo>
                    <a:pt x="6992" y="13121"/>
                  </a:lnTo>
                  <a:lnTo>
                    <a:pt x="6968" y="13202"/>
                  </a:lnTo>
                  <a:lnTo>
                    <a:pt x="6945" y="13280"/>
                  </a:lnTo>
                  <a:lnTo>
                    <a:pt x="6921" y="13355"/>
                  </a:lnTo>
                  <a:lnTo>
                    <a:pt x="6899" y="13429"/>
                  </a:lnTo>
                  <a:lnTo>
                    <a:pt x="6878" y="13500"/>
                  </a:lnTo>
                  <a:lnTo>
                    <a:pt x="6856" y="13570"/>
                  </a:lnTo>
                  <a:lnTo>
                    <a:pt x="6835" y="13637"/>
                  </a:lnTo>
                  <a:close/>
                  <a:moveTo>
                    <a:pt x="5532" y="0"/>
                  </a:moveTo>
                  <a:lnTo>
                    <a:pt x="5247" y="7"/>
                  </a:lnTo>
                  <a:lnTo>
                    <a:pt x="4966" y="28"/>
                  </a:lnTo>
                  <a:lnTo>
                    <a:pt x="4689" y="63"/>
                  </a:lnTo>
                  <a:lnTo>
                    <a:pt x="4417" y="112"/>
                  </a:lnTo>
                  <a:lnTo>
                    <a:pt x="4149" y="174"/>
                  </a:lnTo>
                  <a:lnTo>
                    <a:pt x="3886" y="248"/>
                  </a:lnTo>
                  <a:lnTo>
                    <a:pt x="3630" y="335"/>
                  </a:lnTo>
                  <a:lnTo>
                    <a:pt x="3378" y="434"/>
                  </a:lnTo>
                  <a:lnTo>
                    <a:pt x="3133" y="544"/>
                  </a:lnTo>
                  <a:lnTo>
                    <a:pt x="2894" y="666"/>
                  </a:lnTo>
                  <a:lnTo>
                    <a:pt x="2663" y="799"/>
                  </a:lnTo>
                  <a:lnTo>
                    <a:pt x="2439" y="942"/>
                  </a:lnTo>
                  <a:lnTo>
                    <a:pt x="2222" y="1097"/>
                  </a:lnTo>
                  <a:lnTo>
                    <a:pt x="2013" y="1261"/>
                  </a:lnTo>
                  <a:lnTo>
                    <a:pt x="1812" y="1434"/>
                  </a:lnTo>
                  <a:lnTo>
                    <a:pt x="1620" y="1617"/>
                  </a:lnTo>
                  <a:lnTo>
                    <a:pt x="1437" y="1809"/>
                  </a:lnTo>
                  <a:lnTo>
                    <a:pt x="1263" y="2009"/>
                  </a:lnTo>
                  <a:lnTo>
                    <a:pt x="1099" y="2217"/>
                  </a:lnTo>
                  <a:lnTo>
                    <a:pt x="944" y="2434"/>
                  </a:lnTo>
                  <a:lnTo>
                    <a:pt x="801" y="2658"/>
                  </a:lnTo>
                  <a:lnTo>
                    <a:pt x="668" y="2888"/>
                  </a:lnTo>
                  <a:lnTo>
                    <a:pt x="545" y="3127"/>
                  </a:lnTo>
                  <a:lnTo>
                    <a:pt x="434" y="3371"/>
                  </a:lnTo>
                  <a:lnTo>
                    <a:pt x="336" y="3622"/>
                  </a:lnTo>
                  <a:lnTo>
                    <a:pt x="248" y="3879"/>
                  </a:lnTo>
                  <a:lnTo>
                    <a:pt x="174" y="4141"/>
                  </a:lnTo>
                  <a:lnTo>
                    <a:pt x="113" y="4408"/>
                  </a:lnTo>
                  <a:lnTo>
                    <a:pt x="63" y="4679"/>
                  </a:lnTo>
                  <a:lnTo>
                    <a:pt x="28" y="4956"/>
                  </a:lnTo>
                  <a:lnTo>
                    <a:pt x="7" y="5236"/>
                  </a:lnTo>
                  <a:lnTo>
                    <a:pt x="0" y="5520"/>
                  </a:lnTo>
                  <a:lnTo>
                    <a:pt x="5" y="5710"/>
                  </a:lnTo>
                  <a:lnTo>
                    <a:pt x="21" y="5900"/>
                  </a:lnTo>
                  <a:lnTo>
                    <a:pt x="46" y="6092"/>
                  </a:lnTo>
                  <a:lnTo>
                    <a:pt x="81" y="6284"/>
                  </a:lnTo>
                  <a:lnTo>
                    <a:pt x="125" y="6475"/>
                  </a:lnTo>
                  <a:lnTo>
                    <a:pt x="176" y="6668"/>
                  </a:lnTo>
                  <a:lnTo>
                    <a:pt x="234" y="6861"/>
                  </a:lnTo>
                  <a:lnTo>
                    <a:pt x="301" y="7053"/>
                  </a:lnTo>
                  <a:lnTo>
                    <a:pt x="373" y="7247"/>
                  </a:lnTo>
                  <a:lnTo>
                    <a:pt x="451" y="7440"/>
                  </a:lnTo>
                  <a:lnTo>
                    <a:pt x="534" y="7634"/>
                  </a:lnTo>
                  <a:lnTo>
                    <a:pt x="623" y="7826"/>
                  </a:lnTo>
                  <a:lnTo>
                    <a:pt x="715" y="8020"/>
                  </a:lnTo>
                  <a:lnTo>
                    <a:pt x="811" y="8213"/>
                  </a:lnTo>
                  <a:lnTo>
                    <a:pt x="910" y="8405"/>
                  </a:lnTo>
                  <a:lnTo>
                    <a:pt x="1012" y="8597"/>
                  </a:lnTo>
                  <a:lnTo>
                    <a:pt x="1115" y="8789"/>
                  </a:lnTo>
                  <a:lnTo>
                    <a:pt x="1221" y="8980"/>
                  </a:lnTo>
                  <a:lnTo>
                    <a:pt x="1327" y="9171"/>
                  </a:lnTo>
                  <a:lnTo>
                    <a:pt x="1433" y="9361"/>
                  </a:lnTo>
                  <a:lnTo>
                    <a:pt x="1539" y="9550"/>
                  </a:lnTo>
                  <a:lnTo>
                    <a:pt x="1644" y="9739"/>
                  </a:lnTo>
                  <a:lnTo>
                    <a:pt x="1748" y="9927"/>
                  </a:lnTo>
                  <a:lnTo>
                    <a:pt x="1850" y="10115"/>
                  </a:lnTo>
                  <a:lnTo>
                    <a:pt x="1949" y="10300"/>
                  </a:lnTo>
                  <a:lnTo>
                    <a:pt x="2046" y="10485"/>
                  </a:lnTo>
                  <a:lnTo>
                    <a:pt x="2138" y="10670"/>
                  </a:lnTo>
                  <a:lnTo>
                    <a:pt x="2228" y="10852"/>
                  </a:lnTo>
                  <a:lnTo>
                    <a:pt x="2311" y="11033"/>
                  </a:lnTo>
                  <a:lnTo>
                    <a:pt x="2391" y="11214"/>
                  </a:lnTo>
                  <a:lnTo>
                    <a:pt x="2463" y="11392"/>
                  </a:lnTo>
                  <a:lnTo>
                    <a:pt x="2529" y="11569"/>
                  </a:lnTo>
                  <a:lnTo>
                    <a:pt x="2621" y="11829"/>
                  </a:lnTo>
                  <a:lnTo>
                    <a:pt x="2706" y="12083"/>
                  </a:lnTo>
                  <a:lnTo>
                    <a:pt x="2787" y="12329"/>
                  </a:lnTo>
                  <a:lnTo>
                    <a:pt x="2861" y="12568"/>
                  </a:lnTo>
                  <a:lnTo>
                    <a:pt x="2933" y="12801"/>
                  </a:lnTo>
                  <a:lnTo>
                    <a:pt x="3000" y="13026"/>
                  </a:lnTo>
                  <a:lnTo>
                    <a:pt x="3065" y="13245"/>
                  </a:lnTo>
                  <a:lnTo>
                    <a:pt x="3128" y="13456"/>
                  </a:lnTo>
                  <a:lnTo>
                    <a:pt x="3188" y="13658"/>
                  </a:lnTo>
                  <a:lnTo>
                    <a:pt x="3248" y="13855"/>
                  </a:lnTo>
                  <a:lnTo>
                    <a:pt x="3308" y="14043"/>
                  </a:lnTo>
                  <a:lnTo>
                    <a:pt x="3367" y="14223"/>
                  </a:lnTo>
                  <a:lnTo>
                    <a:pt x="3428" y="14396"/>
                  </a:lnTo>
                  <a:lnTo>
                    <a:pt x="3489" y="14562"/>
                  </a:lnTo>
                  <a:lnTo>
                    <a:pt x="3552" y="14718"/>
                  </a:lnTo>
                  <a:lnTo>
                    <a:pt x="3619" y="14867"/>
                  </a:lnTo>
                  <a:lnTo>
                    <a:pt x="3688" y="15007"/>
                  </a:lnTo>
                  <a:lnTo>
                    <a:pt x="3761" y="15140"/>
                  </a:lnTo>
                  <a:lnTo>
                    <a:pt x="3839" y="15263"/>
                  </a:lnTo>
                  <a:lnTo>
                    <a:pt x="3922" y="15379"/>
                  </a:lnTo>
                  <a:lnTo>
                    <a:pt x="4011" y="15485"/>
                  </a:lnTo>
                  <a:lnTo>
                    <a:pt x="4105" y="15582"/>
                  </a:lnTo>
                  <a:lnTo>
                    <a:pt x="4207" y="15672"/>
                  </a:lnTo>
                  <a:lnTo>
                    <a:pt x="4316" y="15752"/>
                  </a:lnTo>
                  <a:lnTo>
                    <a:pt x="4433" y="15822"/>
                  </a:lnTo>
                  <a:lnTo>
                    <a:pt x="4559" y="15884"/>
                  </a:lnTo>
                  <a:lnTo>
                    <a:pt x="4694" y="15937"/>
                  </a:lnTo>
                  <a:lnTo>
                    <a:pt x="4840" y="15981"/>
                  </a:lnTo>
                  <a:lnTo>
                    <a:pt x="4995" y="16014"/>
                  </a:lnTo>
                  <a:lnTo>
                    <a:pt x="5161" y="16038"/>
                  </a:lnTo>
                  <a:lnTo>
                    <a:pt x="5340" y="16053"/>
                  </a:lnTo>
                  <a:lnTo>
                    <a:pt x="5532" y="16058"/>
                  </a:lnTo>
                  <a:lnTo>
                    <a:pt x="5726" y="16053"/>
                  </a:lnTo>
                  <a:lnTo>
                    <a:pt x="5907" y="16039"/>
                  </a:lnTo>
                  <a:lnTo>
                    <a:pt x="6076" y="16014"/>
                  </a:lnTo>
                  <a:lnTo>
                    <a:pt x="6232" y="15981"/>
                  </a:lnTo>
                  <a:lnTo>
                    <a:pt x="6379" y="15938"/>
                  </a:lnTo>
                  <a:lnTo>
                    <a:pt x="6516" y="15885"/>
                  </a:lnTo>
                  <a:lnTo>
                    <a:pt x="6643" y="15823"/>
                  </a:lnTo>
                  <a:lnTo>
                    <a:pt x="6760" y="15753"/>
                  </a:lnTo>
                  <a:lnTo>
                    <a:pt x="6870" y="15673"/>
                  </a:lnTo>
                  <a:lnTo>
                    <a:pt x="6972" y="15584"/>
                  </a:lnTo>
                  <a:lnTo>
                    <a:pt x="7066" y="15487"/>
                  </a:lnTo>
                  <a:lnTo>
                    <a:pt x="7155" y="15381"/>
                  </a:lnTo>
                  <a:lnTo>
                    <a:pt x="7237" y="15266"/>
                  </a:lnTo>
                  <a:lnTo>
                    <a:pt x="7315" y="15143"/>
                  </a:lnTo>
                  <a:lnTo>
                    <a:pt x="7387" y="15011"/>
                  </a:lnTo>
                  <a:lnTo>
                    <a:pt x="7455" y="14871"/>
                  </a:lnTo>
                  <a:lnTo>
                    <a:pt x="7521" y="14723"/>
                  </a:lnTo>
                  <a:lnTo>
                    <a:pt x="7584" y="14567"/>
                  </a:lnTo>
                  <a:lnTo>
                    <a:pt x="7645" y="14402"/>
                  </a:lnTo>
                  <a:lnTo>
                    <a:pt x="7704" y="14229"/>
                  </a:lnTo>
                  <a:lnTo>
                    <a:pt x="7762" y="14050"/>
                  </a:lnTo>
                  <a:lnTo>
                    <a:pt x="7821" y="13862"/>
                  </a:lnTo>
                  <a:lnTo>
                    <a:pt x="7880" y="13666"/>
                  </a:lnTo>
                  <a:lnTo>
                    <a:pt x="7939" y="13464"/>
                  </a:lnTo>
                  <a:lnTo>
                    <a:pt x="8002" y="13253"/>
                  </a:lnTo>
                  <a:lnTo>
                    <a:pt x="8065" y="13035"/>
                  </a:lnTo>
                  <a:lnTo>
                    <a:pt x="8132" y="12810"/>
                  </a:lnTo>
                  <a:lnTo>
                    <a:pt x="8203" y="12578"/>
                  </a:lnTo>
                  <a:lnTo>
                    <a:pt x="8277" y="12340"/>
                  </a:lnTo>
                  <a:lnTo>
                    <a:pt x="8357" y="12094"/>
                  </a:lnTo>
                  <a:lnTo>
                    <a:pt x="8442" y="11841"/>
                  </a:lnTo>
                  <a:lnTo>
                    <a:pt x="8534" y="11581"/>
                  </a:lnTo>
                  <a:lnTo>
                    <a:pt x="8600" y="11403"/>
                  </a:lnTo>
                  <a:lnTo>
                    <a:pt x="8673" y="11224"/>
                  </a:lnTo>
                  <a:lnTo>
                    <a:pt x="8752" y="11043"/>
                  </a:lnTo>
                  <a:lnTo>
                    <a:pt x="8836" y="10861"/>
                  </a:lnTo>
                  <a:lnTo>
                    <a:pt x="8926" y="10678"/>
                  </a:lnTo>
                  <a:lnTo>
                    <a:pt x="9018" y="10493"/>
                  </a:lnTo>
                  <a:lnTo>
                    <a:pt x="9115" y="10307"/>
                  </a:lnTo>
                  <a:lnTo>
                    <a:pt x="9214" y="10121"/>
                  </a:lnTo>
                  <a:lnTo>
                    <a:pt x="9316" y="9932"/>
                  </a:lnTo>
                  <a:lnTo>
                    <a:pt x="9421" y="9743"/>
                  </a:lnTo>
                  <a:lnTo>
                    <a:pt x="9525" y="9554"/>
                  </a:lnTo>
                  <a:lnTo>
                    <a:pt x="9632" y="9363"/>
                  </a:lnTo>
                  <a:lnTo>
                    <a:pt x="9737" y="9172"/>
                  </a:lnTo>
                  <a:lnTo>
                    <a:pt x="9844" y="8980"/>
                  </a:lnTo>
                  <a:lnTo>
                    <a:pt x="9949" y="8788"/>
                  </a:lnTo>
                  <a:lnTo>
                    <a:pt x="10052" y="8596"/>
                  </a:lnTo>
                  <a:lnTo>
                    <a:pt x="10154" y="8402"/>
                  </a:lnTo>
                  <a:lnTo>
                    <a:pt x="10253" y="8210"/>
                  </a:lnTo>
                  <a:lnTo>
                    <a:pt x="10349" y="8016"/>
                  </a:lnTo>
                  <a:lnTo>
                    <a:pt x="10441" y="7822"/>
                  </a:lnTo>
                  <a:lnTo>
                    <a:pt x="10529" y="7629"/>
                  </a:lnTo>
                  <a:lnTo>
                    <a:pt x="10612" y="7435"/>
                  </a:lnTo>
                  <a:lnTo>
                    <a:pt x="10691" y="7241"/>
                  </a:lnTo>
                  <a:lnTo>
                    <a:pt x="10763" y="7048"/>
                  </a:lnTo>
                  <a:lnTo>
                    <a:pt x="10829" y="6856"/>
                  </a:lnTo>
                  <a:lnTo>
                    <a:pt x="10888" y="6663"/>
                  </a:lnTo>
                  <a:lnTo>
                    <a:pt x="10939" y="6470"/>
                  </a:lnTo>
                  <a:lnTo>
                    <a:pt x="10983" y="6280"/>
                  </a:lnTo>
                  <a:lnTo>
                    <a:pt x="11017" y="6088"/>
                  </a:lnTo>
                  <a:lnTo>
                    <a:pt x="11042" y="5898"/>
                  </a:lnTo>
                  <a:lnTo>
                    <a:pt x="11058" y="5709"/>
                  </a:lnTo>
                  <a:lnTo>
                    <a:pt x="11063" y="5520"/>
                  </a:lnTo>
                  <a:lnTo>
                    <a:pt x="11056" y="5236"/>
                  </a:lnTo>
                  <a:lnTo>
                    <a:pt x="11035" y="4956"/>
                  </a:lnTo>
                  <a:lnTo>
                    <a:pt x="11000" y="4679"/>
                  </a:lnTo>
                  <a:lnTo>
                    <a:pt x="10950" y="4408"/>
                  </a:lnTo>
                  <a:lnTo>
                    <a:pt x="10889" y="4141"/>
                  </a:lnTo>
                  <a:lnTo>
                    <a:pt x="10815" y="3879"/>
                  </a:lnTo>
                  <a:lnTo>
                    <a:pt x="10727" y="3622"/>
                  </a:lnTo>
                  <a:lnTo>
                    <a:pt x="10629" y="3371"/>
                  </a:lnTo>
                  <a:lnTo>
                    <a:pt x="10518" y="3127"/>
                  </a:lnTo>
                  <a:lnTo>
                    <a:pt x="10395" y="2888"/>
                  </a:lnTo>
                  <a:lnTo>
                    <a:pt x="10262" y="2658"/>
                  </a:lnTo>
                  <a:lnTo>
                    <a:pt x="10119" y="2434"/>
                  </a:lnTo>
                  <a:lnTo>
                    <a:pt x="9964" y="2217"/>
                  </a:lnTo>
                  <a:lnTo>
                    <a:pt x="9800" y="2009"/>
                  </a:lnTo>
                  <a:lnTo>
                    <a:pt x="9626" y="1809"/>
                  </a:lnTo>
                  <a:lnTo>
                    <a:pt x="9443" y="1617"/>
                  </a:lnTo>
                  <a:lnTo>
                    <a:pt x="9251" y="1434"/>
                  </a:lnTo>
                  <a:lnTo>
                    <a:pt x="9050" y="1261"/>
                  </a:lnTo>
                  <a:lnTo>
                    <a:pt x="8841" y="1097"/>
                  </a:lnTo>
                  <a:lnTo>
                    <a:pt x="8624" y="942"/>
                  </a:lnTo>
                  <a:lnTo>
                    <a:pt x="8400" y="799"/>
                  </a:lnTo>
                  <a:lnTo>
                    <a:pt x="8169" y="666"/>
                  </a:lnTo>
                  <a:lnTo>
                    <a:pt x="7929" y="544"/>
                  </a:lnTo>
                  <a:lnTo>
                    <a:pt x="7685" y="434"/>
                  </a:lnTo>
                  <a:lnTo>
                    <a:pt x="7433" y="335"/>
                  </a:lnTo>
                  <a:lnTo>
                    <a:pt x="7176" y="248"/>
                  </a:lnTo>
                  <a:lnTo>
                    <a:pt x="6913" y="174"/>
                  </a:lnTo>
                  <a:lnTo>
                    <a:pt x="6646" y="112"/>
                  </a:lnTo>
                  <a:lnTo>
                    <a:pt x="6374" y="63"/>
                  </a:lnTo>
                  <a:lnTo>
                    <a:pt x="6097" y="28"/>
                  </a:lnTo>
                  <a:lnTo>
                    <a:pt x="5816" y="7"/>
                  </a:lnTo>
                  <a:lnTo>
                    <a:pt x="55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73" name="iṥlíḓe">
              <a:extLst>
                <a:ext uri="{FF2B5EF4-FFF2-40B4-BE49-F238E27FC236}">
                  <a16:creationId xmlns:a16="http://schemas.microsoft.com/office/drawing/2014/main" id="{ADAFC839-486E-4996-861B-79B1CCA401D5}"/>
                </a:ext>
              </a:extLst>
            </p:cNvPr>
            <p:cNvSpPr/>
            <p:nvPr/>
          </p:nvSpPr>
          <p:spPr bwMode="auto">
            <a:xfrm>
              <a:off x="10691011" y="298221"/>
              <a:ext cx="78177" cy="78177"/>
            </a:xfrm>
            <a:custGeom>
              <a:avLst/>
              <a:gdLst>
                <a:gd name="T0" fmla="*/ 2559 w 3269"/>
                <a:gd name="T1" fmla="*/ 35 h 3262"/>
                <a:gd name="T2" fmla="*/ 1981 w 3269"/>
                <a:gd name="T3" fmla="*/ 183 h 3262"/>
                <a:gd name="T4" fmla="*/ 1455 w 3269"/>
                <a:gd name="T5" fmla="*/ 437 h 3262"/>
                <a:gd name="T6" fmla="*/ 990 w 3269"/>
                <a:gd name="T7" fmla="*/ 783 h 3262"/>
                <a:gd name="T8" fmla="*/ 601 w 3269"/>
                <a:gd name="T9" fmla="*/ 1210 h 3262"/>
                <a:gd name="T10" fmla="*/ 298 w 3269"/>
                <a:gd name="T11" fmla="*/ 1706 h 3262"/>
                <a:gd name="T12" fmla="*/ 96 w 3269"/>
                <a:gd name="T13" fmla="*/ 2259 h 3262"/>
                <a:gd name="T14" fmla="*/ 4 w 3269"/>
                <a:gd name="T15" fmla="*/ 2856 h 3262"/>
                <a:gd name="T16" fmla="*/ 3 w 3269"/>
                <a:gd name="T17" fmla="*/ 3049 h 3262"/>
                <a:gd name="T18" fmla="*/ 15 w 3269"/>
                <a:gd name="T19" fmla="*/ 3097 h 3262"/>
                <a:gd name="T20" fmla="*/ 37 w 3269"/>
                <a:gd name="T21" fmla="*/ 3141 h 3262"/>
                <a:gd name="T22" fmla="*/ 66 w 3269"/>
                <a:gd name="T23" fmla="*/ 3180 h 3262"/>
                <a:gd name="T24" fmla="*/ 101 w 3269"/>
                <a:gd name="T25" fmla="*/ 3212 h 3262"/>
                <a:gd name="T26" fmla="*/ 143 w 3269"/>
                <a:gd name="T27" fmla="*/ 3237 h 3262"/>
                <a:gd name="T28" fmla="*/ 189 w 3269"/>
                <a:gd name="T29" fmla="*/ 3254 h 3262"/>
                <a:gd name="T30" fmla="*/ 239 w 3269"/>
                <a:gd name="T31" fmla="*/ 3262 h 3262"/>
                <a:gd name="T32" fmla="*/ 290 w 3269"/>
                <a:gd name="T33" fmla="*/ 3259 h 3262"/>
                <a:gd name="T34" fmla="*/ 338 w 3269"/>
                <a:gd name="T35" fmla="*/ 3247 h 3262"/>
                <a:gd name="T36" fmla="*/ 382 w 3269"/>
                <a:gd name="T37" fmla="*/ 3226 h 3262"/>
                <a:gd name="T38" fmla="*/ 421 w 3269"/>
                <a:gd name="T39" fmla="*/ 3197 h 3262"/>
                <a:gd name="T40" fmla="*/ 453 w 3269"/>
                <a:gd name="T41" fmla="*/ 3161 h 3262"/>
                <a:gd name="T42" fmla="*/ 478 w 3269"/>
                <a:gd name="T43" fmla="*/ 3119 h 3262"/>
                <a:gd name="T44" fmla="*/ 495 w 3269"/>
                <a:gd name="T45" fmla="*/ 3073 h 3262"/>
                <a:gd name="T46" fmla="*/ 503 w 3269"/>
                <a:gd name="T47" fmla="*/ 3024 h 3262"/>
                <a:gd name="T48" fmla="*/ 532 w 3269"/>
                <a:gd name="T49" fmla="*/ 2630 h 3262"/>
                <a:gd name="T50" fmla="*/ 656 w 3269"/>
                <a:gd name="T51" fmla="*/ 2149 h 3262"/>
                <a:gd name="T52" fmla="*/ 867 w 3269"/>
                <a:gd name="T53" fmla="*/ 1711 h 3262"/>
                <a:gd name="T54" fmla="*/ 1157 w 3269"/>
                <a:gd name="T55" fmla="*/ 1325 h 3262"/>
                <a:gd name="T56" fmla="*/ 1514 w 3269"/>
                <a:gd name="T57" fmla="*/ 1001 h 3262"/>
                <a:gd name="T58" fmla="*/ 1928 w 3269"/>
                <a:gd name="T59" fmla="*/ 750 h 3262"/>
                <a:gd name="T60" fmla="*/ 2390 w 3269"/>
                <a:gd name="T61" fmla="*/ 581 h 3262"/>
                <a:gd name="T62" fmla="*/ 2889 w 3269"/>
                <a:gd name="T63" fmla="*/ 505 h 3262"/>
                <a:gd name="T64" fmla="*/ 3056 w 3269"/>
                <a:gd name="T65" fmla="*/ 499 h 3262"/>
                <a:gd name="T66" fmla="*/ 3104 w 3269"/>
                <a:gd name="T67" fmla="*/ 487 h 3262"/>
                <a:gd name="T68" fmla="*/ 3148 w 3269"/>
                <a:gd name="T69" fmla="*/ 466 h 3262"/>
                <a:gd name="T70" fmla="*/ 3186 w 3269"/>
                <a:gd name="T71" fmla="*/ 437 h 3262"/>
                <a:gd name="T72" fmla="*/ 3219 w 3269"/>
                <a:gd name="T73" fmla="*/ 402 h 3262"/>
                <a:gd name="T74" fmla="*/ 3244 w 3269"/>
                <a:gd name="T75" fmla="*/ 359 h 3262"/>
                <a:gd name="T76" fmla="*/ 3261 w 3269"/>
                <a:gd name="T77" fmla="*/ 314 h 3262"/>
                <a:gd name="T78" fmla="*/ 3269 w 3269"/>
                <a:gd name="T79" fmla="*/ 264 h 3262"/>
                <a:gd name="T80" fmla="*/ 3266 w 3269"/>
                <a:gd name="T81" fmla="*/ 213 h 3262"/>
                <a:gd name="T82" fmla="*/ 3254 w 3269"/>
                <a:gd name="T83" fmla="*/ 165 h 3262"/>
                <a:gd name="T84" fmla="*/ 3233 w 3269"/>
                <a:gd name="T85" fmla="*/ 120 h 3262"/>
                <a:gd name="T86" fmla="*/ 3204 w 3269"/>
                <a:gd name="T87" fmla="*/ 82 h 3262"/>
                <a:gd name="T88" fmla="*/ 3168 w 3269"/>
                <a:gd name="T89" fmla="*/ 50 h 3262"/>
                <a:gd name="T90" fmla="*/ 3126 w 3269"/>
                <a:gd name="T91" fmla="*/ 25 h 3262"/>
                <a:gd name="T92" fmla="*/ 3080 w 3269"/>
                <a:gd name="T93" fmla="*/ 8 h 3262"/>
                <a:gd name="T94" fmla="*/ 3031 w 3269"/>
                <a:gd name="T95" fmla="*/ 0 h 3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269" h="3262">
                  <a:moveTo>
                    <a:pt x="3018" y="0"/>
                  </a:moveTo>
                  <a:lnTo>
                    <a:pt x="2863" y="4"/>
                  </a:lnTo>
                  <a:lnTo>
                    <a:pt x="2710" y="15"/>
                  </a:lnTo>
                  <a:lnTo>
                    <a:pt x="2559" y="35"/>
                  </a:lnTo>
                  <a:lnTo>
                    <a:pt x="2410" y="61"/>
                  </a:lnTo>
                  <a:lnTo>
                    <a:pt x="2264" y="95"/>
                  </a:lnTo>
                  <a:lnTo>
                    <a:pt x="2121" y="136"/>
                  </a:lnTo>
                  <a:lnTo>
                    <a:pt x="1981" y="183"/>
                  </a:lnTo>
                  <a:lnTo>
                    <a:pt x="1844" y="237"/>
                  </a:lnTo>
                  <a:lnTo>
                    <a:pt x="1710" y="297"/>
                  </a:lnTo>
                  <a:lnTo>
                    <a:pt x="1580" y="364"/>
                  </a:lnTo>
                  <a:lnTo>
                    <a:pt x="1455" y="437"/>
                  </a:lnTo>
                  <a:lnTo>
                    <a:pt x="1332" y="515"/>
                  </a:lnTo>
                  <a:lnTo>
                    <a:pt x="1213" y="599"/>
                  </a:lnTo>
                  <a:lnTo>
                    <a:pt x="1100" y="689"/>
                  </a:lnTo>
                  <a:lnTo>
                    <a:pt x="990" y="783"/>
                  </a:lnTo>
                  <a:lnTo>
                    <a:pt x="885" y="883"/>
                  </a:lnTo>
                  <a:lnTo>
                    <a:pt x="785" y="988"/>
                  </a:lnTo>
                  <a:lnTo>
                    <a:pt x="690" y="1097"/>
                  </a:lnTo>
                  <a:lnTo>
                    <a:pt x="601" y="1210"/>
                  </a:lnTo>
                  <a:lnTo>
                    <a:pt x="516" y="1329"/>
                  </a:lnTo>
                  <a:lnTo>
                    <a:pt x="438" y="1450"/>
                  </a:lnTo>
                  <a:lnTo>
                    <a:pt x="365" y="1577"/>
                  </a:lnTo>
                  <a:lnTo>
                    <a:pt x="298" y="1706"/>
                  </a:lnTo>
                  <a:lnTo>
                    <a:pt x="238" y="1840"/>
                  </a:lnTo>
                  <a:lnTo>
                    <a:pt x="183" y="1976"/>
                  </a:lnTo>
                  <a:lnTo>
                    <a:pt x="136" y="2117"/>
                  </a:lnTo>
                  <a:lnTo>
                    <a:pt x="96" y="2259"/>
                  </a:lnTo>
                  <a:lnTo>
                    <a:pt x="62" y="2405"/>
                  </a:lnTo>
                  <a:lnTo>
                    <a:pt x="36" y="2553"/>
                  </a:lnTo>
                  <a:lnTo>
                    <a:pt x="16" y="2704"/>
                  </a:lnTo>
                  <a:lnTo>
                    <a:pt x="4" y="2856"/>
                  </a:lnTo>
                  <a:lnTo>
                    <a:pt x="0" y="3011"/>
                  </a:lnTo>
                  <a:lnTo>
                    <a:pt x="0" y="3024"/>
                  </a:lnTo>
                  <a:lnTo>
                    <a:pt x="1" y="3037"/>
                  </a:lnTo>
                  <a:lnTo>
                    <a:pt x="3" y="3049"/>
                  </a:lnTo>
                  <a:lnTo>
                    <a:pt x="5" y="3061"/>
                  </a:lnTo>
                  <a:lnTo>
                    <a:pt x="8" y="3073"/>
                  </a:lnTo>
                  <a:lnTo>
                    <a:pt x="11" y="3085"/>
                  </a:lnTo>
                  <a:lnTo>
                    <a:pt x="15" y="3097"/>
                  </a:lnTo>
                  <a:lnTo>
                    <a:pt x="20" y="3108"/>
                  </a:lnTo>
                  <a:lnTo>
                    <a:pt x="25" y="3119"/>
                  </a:lnTo>
                  <a:lnTo>
                    <a:pt x="30" y="3130"/>
                  </a:lnTo>
                  <a:lnTo>
                    <a:pt x="37" y="3141"/>
                  </a:lnTo>
                  <a:lnTo>
                    <a:pt x="44" y="3151"/>
                  </a:lnTo>
                  <a:lnTo>
                    <a:pt x="51" y="3161"/>
                  </a:lnTo>
                  <a:lnTo>
                    <a:pt x="58" y="3171"/>
                  </a:lnTo>
                  <a:lnTo>
                    <a:pt x="66" y="3180"/>
                  </a:lnTo>
                  <a:lnTo>
                    <a:pt x="74" y="3189"/>
                  </a:lnTo>
                  <a:lnTo>
                    <a:pt x="83" y="3197"/>
                  </a:lnTo>
                  <a:lnTo>
                    <a:pt x="92" y="3205"/>
                  </a:lnTo>
                  <a:lnTo>
                    <a:pt x="101" y="3212"/>
                  </a:lnTo>
                  <a:lnTo>
                    <a:pt x="111" y="3219"/>
                  </a:lnTo>
                  <a:lnTo>
                    <a:pt x="121" y="3226"/>
                  </a:lnTo>
                  <a:lnTo>
                    <a:pt x="132" y="3232"/>
                  </a:lnTo>
                  <a:lnTo>
                    <a:pt x="143" y="3237"/>
                  </a:lnTo>
                  <a:lnTo>
                    <a:pt x="154" y="3242"/>
                  </a:lnTo>
                  <a:lnTo>
                    <a:pt x="165" y="3247"/>
                  </a:lnTo>
                  <a:lnTo>
                    <a:pt x="177" y="3251"/>
                  </a:lnTo>
                  <a:lnTo>
                    <a:pt x="189" y="3254"/>
                  </a:lnTo>
                  <a:lnTo>
                    <a:pt x="201" y="3257"/>
                  </a:lnTo>
                  <a:lnTo>
                    <a:pt x="214" y="3259"/>
                  </a:lnTo>
                  <a:lnTo>
                    <a:pt x="227" y="3261"/>
                  </a:lnTo>
                  <a:lnTo>
                    <a:pt x="239" y="3262"/>
                  </a:lnTo>
                  <a:lnTo>
                    <a:pt x="252" y="3262"/>
                  </a:lnTo>
                  <a:lnTo>
                    <a:pt x="265" y="3262"/>
                  </a:lnTo>
                  <a:lnTo>
                    <a:pt x="278" y="3261"/>
                  </a:lnTo>
                  <a:lnTo>
                    <a:pt x="290" y="3259"/>
                  </a:lnTo>
                  <a:lnTo>
                    <a:pt x="302" y="3257"/>
                  </a:lnTo>
                  <a:lnTo>
                    <a:pt x="315" y="3254"/>
                  </a:lnTo>
                  <a:lnTo>
                    <a:pt x="326" y="3251"/>
                  </a:lnTo>
                  <a:lnTo>
                    <a:pt x="338" y="3247"/>
                  </a:lnTo>
                  <a:lnTo>
                    <a:pt x="349" y="3242"/>
                  </a:lnTo>
                  <a:lnTo>
                    <a:pt x="360" y="3237"/>
                  </a:lnTo>
                  <a:lnTo>
                    <a:pt x="371" y="3232"/>
                  </a:lnTo>
                  <a:lnTo>
                    <a:pt x="382" y="3226"/>
                  </a:lnTo>
                  <a:lnTo>
                    <a:pt x="393" y="3219"/>
                  </a:lnTo>
                  <a:lnTo>
                    <a:pt x="403" y="3212"/>
                  </a:lnTo>
                  <a:lnTo>
                    <a:pt x="412" y="3205"/>
                  </a:lnTo>
                  <a:lnTo>
                    <a:pt x="421" y="3197"/>
                  </a:lnTo>
                  <a:lnTo>
                    <a:pt x="430" y="3189"/>
                  </a:lnTo>
                  <a:lnTo>
                    <a:pt x="438" y="3180"/>
                  </a:lnTo>
                  <a:lnTo>
                    <a:pt x="446" y="3171"/>
                  </a:lnTo>
                  <a:lnTo>
                    <a:pt x="453" y="3161"/>
                  </a:lnTo>
                  <a:lnTo>
                    <a:pt x="460" y="3151"/>
                  </a:lnTo>
                  <a:lnTo>
                    <a:pt x="467" y="3141"/>
                  </a:lnTo>
                  <a:lnTo>
                    <a:pt x="473" y="3130"/>
                  </a:lnTo>
                  <a:lnTo>
                    <a:pt x="478" y="3119"/>
                  </a:lnTo>
                  <a:lnTo>
                    <a:pt x="483" y="3108"/>
                  </a:lnTo>
                  <a:lnTo>
                    <a:pt x="488" y="3097"/>
                  </a:lnTo>
                  <a:lnTo>
                    <a:pt x="492" y="3085"/>
                  </a:lnTo>
                  <a:lnTo>
                    <a:pt x="495" y="3073"/>
                  </a:lnTo>
                  <a:lnTo>
                    <a:pt x="498" y="3061"/>
                  </a:lnTo>
                  <a:lnTo>
                    <a:pt x="500" y="3049"/>
                  </a:lnTo>
                  <a:lnTo>
                    <a:pt x="502" y="3037"/>
                  </a:lnTo>
                  <a:lnTo>
                    <a:pt x="503" y="3024"/>
                  </a:lnTo>
                  <a:lnTo>
                    <a:pt x="503" y="3011"/>
                  </a:lnTo>
                  <a:lnTo>
                    <a:pt x="506" y="2882"/>
                  </a:lnTo>
                  <a:lnTo>
                    <a:pt x="516" y="2755"/>
                  </a:lnTo>
                  <a:lnTo>
                    <a:pt x="532" y="2630"/>
                  </a:lnTo>
                  <a:lnTo>
                    <a:pt x="554" y="2506"/>
                  </a:lnTo>
                  <a:lnTo>
                    <a:pt x="583" y="2385"/>
                  </a:lnTo>
                  <a:lnTo>
                    <a:pt x="617" y="2265"/>
                  </a:lnTo>
                  <a:lnTo>
                    <a:pt x="656" y="2149"/>
                  </a:lnTo>
                  <a:lnTo>
                    <a:pt x="701" y="2035"/>
                  </a:lnTo>
                  <a:lnTo>
                    <a:pt x="752" y="1924"/>
                  </a:lnTo>
                  <a:lnTo>
                    <a:pt x="807" y="1816"/>
                  </a:lnTo>
                  <a:lnTo>
                    <a:pt x="867" y="1711"/>
                  </a:lnTo>
                  <a:lnTo>
                    <a:pt x="934" y="1609"/>
                  </a:lnTo>
                  <a:lnTo>
                    <a:pt x="1003" y="1511"/>
                  </a:lnTo>
                  <a:lnTo>
                    <a:pt x="1078" y="1416"/>
                  </a:lnTo>
                  <a:lnTo>
                    <a:pt x="1157" y="1325"/>
                  </a:lnTo>
                  <a:lnTo>
                    <a:pt x="1240" y="1238"/>
                  </a:lnTo>
                  <a:lnTo>
                    <a:pt x="1328" y="1154"/>
                  </a:lnTo>
                  <a:lnTo>
                    <a:pt x="1419" y="1076"/>
                  </a:lnTo>
                  <a:lnTo>
                    <a:pt x="1514" y="1001"/>
                  </a:lnTo>
                  <a:lnTo>
                    <a:pt x="1612" y="931"/>
                  </a:lnTo>
                  <a:lnTo>
                    <a:pt x="1715" y="865"/>
                  </a:lnTo>
                  <a:lnTo>
                    <a:pt x="1820" y="805"/>
                  </a:lnTo>
                  <a:lnTo>
                    <a:pt x="1928" y="750"/>
                  </a:lnTo>
                  <a:lnTo>
                    <a:pt x="2040" y="700"/>
                  </a:lnTo>
                  <a:lnTo>
                    <a:pt x="2154" y="654"/>
                  </a:lnTo>
                  <a:lnTo>
                    <a:pt x="2270" y="615"/>
                  </a:lnTo>
                  <a:lnTo>
                    <a:pt x="2390" y="581"/>
                  </a:lnTo>
                  <a:lnTo>
                    <a:pt x="2512" y="553"/>
                  </a:lnTo>
                  <a:lnTo>
                    <a:pt x="2635" y="531"/>
                  </a:lnTo>
                  <a:lnTo>
                    <a:pt x="2761" y="515"/>
                  </a:lnTo>
                  <a:lnTo>
                    <a:pt x="2889" y="505"/>
                  </a:lnTo>
                  <a:lnTo>
                    <a:pt x="3018" y="502"/>
                  </a:lnTo>
                  <a:lnTo>
                    <a:pt x="3031" y="502"/>
                  </a:lnTo>
                  <a:lnTo>
                    <a:pt x="3044" y="501"/>
                  </a:lnTo>
                  <a:lnTo>
                    <a:pt x="3056" y="499"/>
                  </a:lnTo>
                  <a:lnTo>
                    <a:pt x="3068" y="497"/>
                  </a:lnTo>
                  <a:lnTo>
                    <a:pt x="3080" y="494"/>
                  </a:lnTo>
                  <a:lnTo>
                    <a:pt x="3092" y="491"/>
                  </a:lnTo>
                  <a:lnTo>
                    <a:pt x="3104" y="487"/>
                  </a:lnTo>
                  <a:lnTo>
                    <a:pt x="3115" y="482"/>
                  </a:lnTo>
                  <a:lnTo>
                    <a:pt x="3126" y="477"/>
                  </a:lnTo>
                  <a:lnTo>
                    <a:pt x="3137" y="472"/>
                  </a:lnTo>
                  <a:lnTo>
                    <a:pt x="3148" y="466"/>
                  </a:lnTo>
                  <a:lnTo>
                    <a:pt x="3158" y="459"/>
                  </a:lnTo>
                  <a:lnTo>
                    <a:pt x="3168" y="452"/>
                  </a:lnTo>
                  <a:lnTo>
                    <a:pt x="3177" y="445"/>
                  </a:lnTo>
                  <a:lnTo>
                    <a:pt x="3186" y="437"/>
                  </a:lnTo>
                  <a:lnTo>
                    <a:pt x="3196" y="429"/>
                  </a:lnTo>
                  <a:lnTo>
                    <a:pt x="3204" y="420"/>
                  </a:lnTo>
                  <a:lnTo>
                    <a:pt x="3212" y="411"/>
                  </a:lnTo>
                  <a:lnTo>
                    <a:pt x="3219" y="402"/>
                  </a:lnTo>
                  <a:lnTo>
                    <a:pt x="3226" y="391"/>
                  </a:lnTo>
                  <a:lnTo>
                    <a:pt x="3233" y="381"/>
                  </a:lnTo>
                  <a:lnTo>
                    <a:pt x="3239" y="370"/>
                  </a:lnTo>
                  <a:lnTo>
                    <a:pt x="3244" y="359"/>
                  </a:lnTo>
                  <a:lnTo>
                    <a:pt x="3249" y="348"/>
                  </a:lnTo>
                  <a:lnTo>
                    <a:pt x="3254" y="337"/>
                  </a:lnTo>
                  <a:lnTo>
                    <a:pt x="3258" y="325"/>
                  </a:lnTo>
                  <a:lnTo>
                    <a:pt x="3261" y="314"/>
                  </a:lnTo>
                  <a:lnTo>
                    <a:pt x="3264" y="301"/>
                  </a:lnTo>
                  <a:lnTo>
                    <a:pt x="3266" y="289"/>
                  </a:lnTo>
                  <a:lnTo>
                    <a:pt x="3268" y="277"/>
                  </a:lnTo>
                  <a:lnTo>
                    <a:pt x="3269" y="264"/>
                  </a:lnTo>
                  <a:lnTo>
                    <a:pt x="3269" y="251"/>
                  </a:lnTo>
                  <a:lnTo>
                    <a:pt x="3269" y="238"/>
                  </a:lnTo>
                  <a:lnTo>
                    <a:pt x="3268" y="226"/>
                  </a:lnTo>
                  <a:lnTo>
                    <a:pt x="3266" y="213"/>
                  </a:lnTo>
                  <a:lnTo>
                    <a:pt x="3264" y="201"/>
                  </a:lnTo>
                  <a:lnTo>
                    <a:pt x="3261" y="189"/>
                  </a:lnTo>
                  <a:lnTo>
                    <a:pt x="3258" y="177"/>
                  </a:lnTo>
                  <a:lnTo>
                    <a:pt x="3254" y="165"/>
                  </a:lnTo>
                  <a:lnTo>
                    <a:pt x="3249" y="154"/>
                  </a:lnTo>
                  <a:lnTo>
                    <a:pt x="3244" y="143"/>
                  </a:lnTo>
                  <a:lnTo>
                    <a:pt x="3239" y="132"/>
                  </a:lnTo>
                  <a:lnTo>
                    <a:pt x="3233" y="120"/>
                  </a:lnTo>
                  <a:lnTo>
                    <a:pt x="3226" y="110"/>
                  </a:lnTo>
                  <a:lnTo>
                    <a:pt x="3219" y="100"/>
                  </a:lnTo>
                  <a:lnTo>
                    <a:pt x="3212" y="91"/>
                  </a:lnTo>
                  <a:lnTo>
                    <a:pt x="3204" y="82"/>
                  </a:lnTo>
                  <a:lnTo>
                    <a:pt x="3196" y="73"/>
                  </a:lnTo>
                  <a:lnTo>
                    <a:pt x="3186" y="65"/>
                  </a:lnTo>
                  <a:lnTo>
                    <a:pt x="3177" y="57"/>
                  </a:lnTo>
                  <a:lnTo>
                    <a:pt x="3168" y="50"/>
                  </a:lnTo>
                  <a:lnTo>
                    <a:pt x="3158" y="43"/>
                  </a:lnTo>
                  <a:lnTo>
                    <a:pt x="3148" y="36"/>
                  </a:lnTo>
                  <a:lnTo>
                    <a:pt x="3137" y="30"/>
                  </a:lnTo>
                  <a:lnTo>
                    <a:pt x="3126" y="25"/>
                  </a:lnTo>
                  <a:lnTo>
                    <a:pt x="3115" y="20"/>
                  </a:lnTo>
                  <a:lnTo>
                    <a:pt x="3104" y="15"/>
                  </a:lnTo>
                  <a:lnTo>
                    <a:pt x="3092" y="11"/>
                  </a:lnTo>
                  <a:lnTo>
                    <a:pt x="3080" y="8"/>
                  </a:lnTo>
                  <a:lnTo>
                    <a:pt x="3068" y="5"/>
                  </a:lnTo>
                  <a:lnTo>
                    <a:pt x="3056" y="3"/>
                  </a:lnTo>
                  <a:lnTo>
                    <a:pt x="3044" y="1"/>
                  </a:lnTo>
                  <a:lnTo>
                    <a:pt x="3031" y="0"/>
                  </a:lnTo>
                  <a:lnTo>
                    <a:pt x="30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74" name="íṧ1ïḓé">
              <a:extLst>
                <a:ext uri="{FF2B5EF4-FFF2-40B4-BE49-F238E27FC236}">
                  <a16:creationId xmlns:a16="http://schemas.microsoft.com/office/drawing/2014/main" id="{BD011CD4-3855-4A27-A9C6-BA45F05C527C}"/>
                </a:ext>
              </a:extLst>
            </p:cNvPr>
            <p:cNvSpPr/>
            <p:nvPr/>
          </p:nvSpPr>
          <p:spPr bwMode="auto">
            <a:xfrm>
              <a:off x="10343786" y="590331"/>
              <a:ext cx="459652" cy="611928"/>
            </a:xfrm>
            <a:custGeom>
              <a:avLst/>
              <a:gdLst>
                <a:gd name="T0" fmla="*/ 10946 w 12062"/>
                <a:gd name="T1" fmla="*/ 12419 h 16058"/>
                <a:gd name="T2" fmla="*/ 10253 w 12062"/>
                <a:gd name="T3" fmla="*/ 13775 h 16058"/>
                <a:gd name="T4" fmla="*/ 9063 w 12062"/>
                <a:gd name="T5" fmla="*/ 14707 h 16058"/>
                <a:gd name="T6" fmla="*/ 7539 w 12062"/>
                <a:gd name="T7" fmla="*/ 15054 h 16058"/>
                <a:gd name="T8" fmla="*/ 3155 w 12062"/>
                <a:gd name="T9" fmla="*/ 14778 h 16058"/>
                <a:gd name="T10" fmla="*/ 1920 w 12062"/>
                <a:gd name="T11" fmla="*/ 13902 h 16058"/>
                <a:gd name="T12" fmla="*/ 1164 w 12062"/>
                <a:gd name="T13" fmla="*/ 12585 h 16058"/>
                <a:gd name="T14" fmla="*/ 1005 w 12062"/>
                <a:gd name="T15" fmla="*/ 9534 h 16058"/>
                <a:gd name="T16" fmla="*/ 1044 w 12062"/>
                <a:gd name="T17" fmla="*/ 7834 h 16058"/>
                <a:gd name="T18" fmla="*/ 1170 w 12062"/>
                <a:gd name="T19" fmla="*/ 7658 h 16058"/>
                <a:gd name="T20" fmla="*/ 1358 w 12062"/>
                <a:gd name="T21" fmla="*/ 7550 h 16058"/>
                <a:gd name="T22" fmla="*/ 10554 w 12062"/>
                <a:gd name="T23" fmla="*/ 7527 h 16058"/>
                <a:gd name="T24" fmla="*/ 10772 w 12062"/>
                <a:gd name="T25" fmla="*/ 7576 h 16058"/>
                <a:gd name="T26" fmla="*/ 10942 w 12062"/>
                <a:gd name="T27" fmla="*/ 7710 h 16058"/>
                <a:gd name="T28" fmla="*/ 11041 w 12062"/>
                <a:gd name="T29" fmla="*/ 7904 h 16058"/>
                <a:gd name="T30" fmla="*/ 8041 w 12062"/>
                <a:gd name="T31" fmla="*/ 6524 h 16058"/>
                <a:gd name="T32" fmla="*/ 4111 w 12062"/>
                <a:gd name="T33" fmla="*/ 3919 h 16058"/>
                <a:gd name="T34" fmla="*/ 4543 w 12062"/>
                <a:gd name="T35" fmla="*/ 3166 h 16058"/>
                <a:gd name="T36" fmla="*/ 5248 w 12062"/>
                <a:gd name="T37" fmla="*/ 2667 h 16058"/>
                <a:gd name="T38" fmla="*/ 6135 w 12062"/>
                <a:gd name="T39" fmla="*/ 2512 h 16058"/>
                <a:gd name="T40" fmla="*/ 6989 w 12062"/>
                <a:gd name="T41" fmla="*/ 2751 h 16058"/>
                <a:gd name="T42" fmla="*/ 7642 w 12062"/>
                <a:gd name="T43" fmla="*/ 3315 h 16058"/>
                <a:gd name="T44" fmla="*/ 8000 w 12062"/>
                <a:gd name="T45" fmla="*/ 4112 h 16058"/>
                <a:gd name="T46" fmla="*/ 2584 w 12062"/>
                <a:gd name="T47" fmla="*/ 3809 h 16058"/>
                <a:gd name="T48" fmla="*/ 3212 w 12062"/>
                <a:gd name="T49" fmla="*/ 2415 h 16058"/>
                <a:gd name="T50" fmla="*/ 4354 w 12062"/>
                <a:gd name="T51" fmla="*/ 1427 h 16058"/>
                <a:gd name="T52" fmla="*/ 5850 w 12062"/>
                <a:gd name="T53" fmla="*/ 1009 h 16058"/>
                <a:gd name="T54" fmla="*/ 7400 w 12062"/>
                <a:gd name="T55" fmla="*/ 1280 h 16058"/>
                <a:gd name="T56" fmla="*/ 8635 w 12062"/>
                <a:gd name="T57" fmla="*/ 2155 h 16058"/>
                <a:gd name="T58" fmla="*/ 9391 w 12062"/>
                <a:gd name="T59" fmla="*/ 3472 h 16058"/>
                <a:gd name="T60" fmla="*/ 8544 w 12062"/>
                <a:gd name="T61" fmla="*/ 4518 h 16058"/>
                <a:gd name="T62" fmla="*/ 8297 w 12062"/>
                <a:gd name="T63" fmla="*/ 3430 h 16058"/>
                <a:gd name="T64" fmla="*/ 7629 w 12062"/>
                <a:gd name="T65" fmla="*/ 2581 h 16058"/>
                <a:gd name="T66" fmla="*/ 6659 w 12062"/>
                <a:gd name="T67" fmla="*/ 2088 h 16058"/>
                <a:gd name="T68" fmla="*/ 5524 w 12062"/>
                <a:gd name="T69" fmla="*/ 2059 h 16058"/>
                <a:gd name="T70" fmla="*/ 4527 w 12062"/>
                <a:gd name="T71" fmla="*/ 2507 h 16058"/>
                <a:gd name="T72" fmla="*/ 3822 w 12062"/>
                <a:gd name="T73" fmla="*/ 3322 h 16058"/>
                <a:gd name="T74" fmla="*/ 3521 w 12062"/>
                <a:gd name="T75" fmla="*/ 4389 h 16058"/>
                <a:gd name="T76" fmla="*/ 10502 w 12062"/>
                <a:gd name="T77" fmla="*/ 3829 h 16058"/>
                <a:gd name="T78" fmla="*/ 9782 w 12062"/>
                <a:gd name="T79" fmla="*/ 1991 h 16058"/>
                <a:gd name="T80" fmla="*/ 8376 w 12062"/>
                <a:gd name="T81" fmla="*/ 653 h 16058"/>
                <a:gd name="T82" fmla="*/ 6493 w 12062"/>
                <a:gd name="T83" fmla="*/ 23 h 16058"/>
                <a:gd name="T84" fmla="*/ 4476 w 12062"/>
                <a:gd name="T85" fmla="*/ 274 h 16058"/>
                <a:gd name="T86" fmla="*/ 2833 w 12062"/>
                <a:gd name="T87" fmla="*/ 1323 h 16058"/>
                <a:gd name="T88" fmla="*/ 1782 w 12062"/>
                <a:gd name="T89" fmla="*/ 2964 h 16058"/>
                <a:gd name="T90" fmla="*/ 1430 w 12062"/>
                <a:gd name="T91" fmla="*/ 6526 h 16058"/>
                <a:gd name="T92" fmla="*/ 789 w 12062"/>
                <a:gd name="T93" fmla="*/ 6705 h 16058"/>
                <a:gd name="T94" fmla="*/ 300 w 12062"/>
                <a:gd name="T95" fmla="*/ 7129 h 16058"/>
                <a:gd name="T96" fmla="*/ 30 w 12062"/>
                <a:gd name="T97" fmla="*/ 7726 h 16058"/>
                <a:gd name="T98" fmla="*/ 6 w 12062"/>
                <a:gd name="T99" fmla="*/ 11775 h 16058"/>
                <a:gd name="T100" fmla="*/ 546 w 12062"/>
                <a:gd name="T101" fmla="*/ 13694 h 16058"/>
                <a:gd name="T102" fmla="*/ 1817 w 12062"/>
                <a:gd name="T103" fmla="*/ 15161 h 16058"/>
                <a:gd name="T104" fmla="*/ 3612 w 12062"/>
                <a:gd name="T105" fmla="*/ 15967 h 16058"/>
                <a:gd name="T106" fmla="*/ 8450 w 12062"/>
                <a:gd name="T107" fmla="*/ 15967 h 16058"/>
                <a:gd name="T108" fmla="*/ 10245 w 12062"/>
                <a:gd name="T109" fmla="*/ 15161 h 16058"/>
                <a:gd name="T110" fmla="*/ 11516 w 12062"/>
                <a:gd name="T111" fmla="*/ 13694 h 16058"/>
                <a:gd name="T112" fmla="*/ 12056 w 12062"/>
                <a:gd name="T113" fmla="*/ 11775 h 16058"/>
                <a:gd name="T114" fmla="*/ 12032 w 12062"/>
                <a:gd name="T115" fmla="*/ 7726 h 16058"/>
                <a:gd name="T116" fmla="*/ 11762 w 12062"/>
                <a:gd name="T117" fmla="*/ 7129 h 16058"/>
                <a:gd name="T118" fmla="*/ 11273 w 12062"/>
                <a:gd name="T119" fmla="*/ 6705 h 16058"/>
                <a:gd name="T120" fmla="*/ 10632 w 12062"/>
                <a:gd name="T121" fmla="*/ 6526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062" h="16058">
                  <a:moveTo>
                    <a:pt x="11057" y="9534"/>
                  </a:moveTo>
                  <a:lnTo>
                    <a:pt x="11057" y="10036"/>
                  </a:lnTo>
                  <a:lnTo>
                    <a:pt x="11057" y="11040"/>
                  </a:lnTo>
                  <a:lnTo>
                    <a:pt x="11057" y="11542"/>
                  </a:lnTo>
                  <a:lnTo>
                    <a:pt x="11052" y="11722"/>
                  </a:lnTo>
                  <a:lnTo>
                    <a:pt x="11039" y="11900"/>
                  </a:lnTo>
                  <a:lnTo>
                    <a:pt x="11017" y="12076"/>
                  </a:lnTo>
                  <a:lnTo>
                    <a:pt x="10985" y="12248"/>
                  </a:lnTo>
                  <a:lnTo>
                    <a:pt x="10946" y="12419"/>
                  </a:lnTo>
                  <a:lnTo>
                    <a:pt x="10898" y="12585"/>
                  </a:lnTo>
                  <a:lnTo>
                    <a:pt x="10843" y="12748"/>
                  </a:lnTo>
                  <a:lnTo>
                    <a:pt x="10780" y="12908"/>
                  </a:lnTo>
                  <a:lnTo>
                    <a:pt x="10709" y="13063"/>
                  </a:lnTo>
                  <a:lnTo>
                    <a:pt x="10632" y="13215"/>
                  </a:lnTo>
                  <a:lnTo>
                    <a:pt x="10547" y="13361"/>
                  </a:lnTo>
                  <a:lnTo>
                    <a:pt x="10455" y="13504"/>
                  </a:lnTo>
                  <a:lnTo>
                    <a:pt x="10357" y="13642"/>
                  </a:lnTo>
                  <a:lnTo>
                    <a:pt x="10253" y="13775"/>
                  </a:lnTo>
                  <a:lnTo>
                    <a:pt x="10142" y="13902"/>
                  </a:lnTo>
                  <a:lnTo>
                    <a:pt x="10026" y="14025"/>
                  </a:lnTo>
                  <a:lnTo>
                    <a:pt x="9903" y="14141"/>
                  </a:lnTo>
                  <a:lnTo>
                    <a:pt x="9775" y="14251"/>
                  </a:lnTo>
                  <a:lnTo>
                    <a:pt x="9643" y="14356"/>
                  </a:lnTo>
                  <a:lnTo>
                    <a:pt x="9504" y="14453"/>
                  </a:lnTo>
                  <a:lnTo>
                    <a:pt x="9361" y="14546"/>
                  </a:lnTo>
                  <a:lnTo>
                    <a:pt x="9214" y="14630"/>
                  </a:lnTo>
                  <a:lnTo>
                    <a:pt x="9063" y="14707"/>
                  </a:lnTo>
                  <a:lnTo>
                    <a:pt x="8907" y="14778"/>
                  </a:lnTo>
                  <a:lnTo>
                    <a:pt x="8747" y="14841"/>
                  </a:lnTo>
                  <a:lnTo>
                    <a:pt x="8583" y="14896"/>
                  </a:lnTo>
                  <a:lnTo>
                    <a:pt x="8416" y="14944"/>
                  </a:lnTo>
                  <a:lnTo>
                    <a:pt x="8246" y="14983"/>
                  </a:lnTo>
                  <a:lnTo>
                    <a:pt x="8073" y="15014"/>
                  </a:lnTo>
                  <a:lnTo>
                    <a:pt x="7898" y="15036"/>
                  </a:lnTo>
                  <a:lnTo>
                    <a:pt x="7720" y="15049"/>
                  </a:lnTo>
                  <a:lnTo>
                    <a:pt x="7539" y="15054"/>
                  </a:lnTo>
                  <a:lnTo>
                    <a:pt x="4523" y="15054"/>
                  </a:lnTo>
                  <a:lnTo>
                    <a:pt x="4342" y="15049"/>
                  </a:lnTo>
                  <a:lnTo>
                    <a:pt x="4164" y="15036"/>
                  </a:lnTo>
                  <a:lnTo>
                    <a:pt x="3989" y="15014"/>
                  </a:lnTo>
                  <a:lnTo>
                    <a:pt x="3816" y="14983"/>
                  </a:lnTo>
                  <a:lnTo>
                    <a:pt x="3645" y="14944"/>
                  </a:lnTo>
                  <a:lnTo>
                    <a:pt x="3478" y="14896"/>
                  </a:lnTo>
                  <a:lnTo>
                    <a:pt x="3315" y="14841"/>
                  </a:lnTo>
                  <a:lnTo>
                    <a:pt x="3155" y="14778"/>
                  </a:lnTo>
                  <a:lnTo>
                    <a:pt x="2999" y="14707"/>
                  </a:lnTo>
                  <a:lnTo>
                    <a:pt x="2848" y="14630"/>
                  </a:lnTo>
                  <a:lnTo>
                    <a:pt x="2701" y="14546"/>
                  </a:lnTo>
                  <a:lnTo>
                    <a:pt x="2558" y="14453"/>
                  </a:lnTo>
                  <a:lnTo>
                    <a:pt x="2419" y="14356"/>
                  </a:lnTo>
                  <a:lnTo>
                    <a:pt x="2287" y="14251"/>
                  </a:lnTo>
                  <a:lnTo>
                    <a:pt x="2159" y="14141"/>
                  </a:lnTo>
                  <a:lnTo>
                    <a:pt x="2036" y="14025"/>
                  </a:lnTo>
                  <a:lnTo>
                    <a:pt x="1920" y="13902"/>
                  </a:lnTo>
                  <a:lnTo>
                    <a:pt x="1809" y="13775"/>
                  </a:lnTo>
                  <a:lnTo>
                    <a:pt x="1705" y="13642"/>
                  </a:lnTo>
                  <a:lnTo>
                    <a:pt x="1607" y="13504"/>
                  </a:lnTo>
                  <a:lnTo>
                    <a:pt x="1515" y="13361"/>
                  </a:lnTo>
                  <a:lnTo>
                    <a:pt x="1430" y="13215"/>
                  </a:lnTo>
                  <a:lnTo>
                    <a:pt x="1353" y="13063"/>
                  </a:lnTo>
                  <a:lnTo>
                    <a:pt x="1282" y="12908"/>
                  </a:lnTo>
                  <a:lnTo>
                    <a:pt x="1219" y="12748"/>
                  </a:lnTo>
                  <a:lnTo>
                    <a:pt x="1164" y="12585"/>
                  </a:lnTo>
                  <a:lnTo>
                    <a:pt x="1116" y="12419"/>
                  </a:lnTo>
                  <a:lnTo>
                    <a:pt x="1077" y="12248"/>
                  </a:lnTo>
                  <a:lnTo>
                    <a:pt x="1045" y="12076"/>
                  </a:lnTo>
                  <a:lnTo>
                    <a:pt x="1023" y="11900"/>
                  </a:lnTo>
                  <a:lnTo>
                    <a:pt x="1010" y="11722"/>
                  </a:lnTo>
                  <a:lnTo>
                    <a:pt x="1005" y="11542"/>
                  </a:lnTo>
                  <a:lnTo>
                    <a:pt x="1005" y="11040"/>
                  </a:lnTo>
                  <a:lnTo>
                    <a:pt x="1005" y="10036"/>
                  </a:lnTo>
                  <a:lnTo>
                    <a:pt x="1005" y="9534"/>
                  </a:lnTo>
                  <a:lnTo>
                    <a:pt x="1005" y="8029"/>
                  </a:lnTo>
                  <a:lnTo>
                    <a:pt x="1006" y="8003"/>
                  </a:lnTo>
                  <a:lnTo>
                    <a:pt x="1008" y="7978"/>
                  </a:lnTo>
                  <a:lnTo>
                    <a:pt x="1011" y="7953"/>
                  </a:lnTo>
                  <a:lnTo>
                    <a:pt x="1015" y="7928"/>
                  </a:lnTo>
                  <a:lnTo>
                    <a:pt x="1021" y="7904"/>
                  </a:lnTo>
                  <a:lnTo>
                    <a:pt x="1027" y="7879"/>
                  </a:lnTo>
                  <a:lnTo>
                    <a:pt x="1035" y="7856"/>
                  </a:lnTo>
                  <a:lnTo>
                    <a:pt x="1044" y="7834"/>
                  </a:lnTo>
                  <a:lnTo>
                    <a:pt x="1054" y="7811"/>
                  </a:lnTo>
                  <a:lnTo>
                    <a:pt x="1065" y="7790"/>
                  </a:lnTo>
                  <a:lnTo>
                    <a:pt x="1078" y="7769"/>
                  </a:lnTo>
                  <a:lnTo>
                    <a:pt x="1091" y="7749"/>
                  </a:lnTo>
                  <a:lnTo>
                    <a:pt x="1105" y="7729"/>
                  </a:lnTo>
                  <a:lnTo>
                    <a:pt x="1120" y="7710"/>
                  </a:lnTo>
                  <a:lnTo>
                    <a:pt x="1136" y="7692"/>
                  </a:lnTo>
                  <a:lnTo>
                    <a:pt x="1152" y="7675"/>
                  </a:lnTo>
                  <a:lnTo>
                    <a:pt x="1170" y="7658"/>
                  </a:lnTo>
                  <a:lnTo>
                    <a:pt x="1188" y="7642"/>
                  </a:lnTo>
                  <a:lnTo>
                    <a:pt x="1207" y="7627"/>
                  </a:lnTo>
                  <a:lnTo>
                    <a:pt x="1226" y="7612"/>
                  </a:lnTo>
                  <a:lnTo>
                    <a:pt x="1247" y="7599"/>
                  </a:lnTo>
                  <a:lnTo>
                    <a:pt x="1269" y="7587"/>
                  </a:lnTo>
                  <a:lnTo>
                    <a:pt x="1290" y="7576"/>
                  </a:lnTo>
                  <a:lnTo>
                    <a:pt x="1312" y="7566"/>
                  </a:lnTo>
                  <a:lnTo>
                    <a:pt x="1335" y="7557"/>
                  </a:lnTo>
                  <a:lnTo>
                    <a:pt x="1358" y="7550"/>
                  </a:lnTo>
                  <a:lnTo>
                    <a:pt x="1382" y="7543"/>
                  </a:lnTo>
                  <a:lnTo>
                    <a:pt x="1406" y="7537"/>
                  </a:lnTo>
                  <a:lnTo>
                    <a:pt x="1431" y="7533"/>
                  </a:lnTo>
                  <a:lnTo>
                    <a:pt x="1456" y="7530"/>
                  </a:lnTo>
                  <a:lnTo>
                    <a:pt x="1482" y="7528"/>
                  </a:lnTo>
                  <a:lnTo>
                    <a:pt x="1508" y="7527"/>
                  </a:lnTo>
                  <a:lnTo>
                    <a:pt x="2513" y="7527"/>
                  </a:lnTo>
                  <a:lnTo>
                    <a:pt x="9549" y="7527"/>
                  </a:lnTo>
                  <a:lnTo>
                    <a:pt x="10554" y="7527"/>
                  </a:lnTo>
                  <a:lnTo>
                    <a:pt x="10580" y="7528"/>
                  </a:lnTo>
                  <a:lnTo>
                    <a:pt x="10606" y="7530"/>
                  </a:lnTo>
                  <a:lnTo>
                    <a:pt x="10631" y="7533"/>
                  </a:lnTo>
                  <a:lnTo>
                    <a:pt x="10656" y="7537"/>
                  </a:lnTo>
                  <a:lnTo>
                    <a:pt x="10680" y="7543"/>
                  </a:lnTo>
                  <a:lnTo>
                    <a:pt x="10704" y="7550"/>
                  </a:lnTo>
                  <a:lnTo>
                    <a:pt x="10727" y="7557"/>
                  </a:lnTo>
                  <a:lnTo>
                    <a:pt x="10750" y="7566"/>
                  </a:lnTo>
                  <a:lnTo>
                    <a:pt x="10772" y="7576"/>
                  </a:lnTo>
                  <a:lnTo>
                    <a:pt x="10793" y="7587"/>
                  </a:lnTo>
                  <a:lnTo>
                    <a:pt x="10815" y="7599"/>
                  </a:lnTo>
                  <a:lnTo>
                    <a:pt x="10836" y="7612"/>
                  </a:lnTo>
                  <a:lnTo>
                    <a:pt x="10855" y="7627"/>
                  </a:lnTo>
                  <a:lnTo>
                    <a:pt x="10874" y="7642"/>
                  </a:lnTo>
                  <a:lnTo>
                    <a:pt x="10892" y="7658"/>
                  </a:lnTo>
                  <a:lnTo>
                    <a:pt x="10909" y="7675"/>
                  </a:lnTo>
                  <a:lnTo>
                    <a:pt x="10926" y="7692"/>
                  </a:lnTo>
                  <a:lnTo>
                    <a:pt x="10942" y="7710"/>
                  </a:lnTo>
                  <a:lnTo>
                    <a:pt x="10957" y="7729"/>
                  </a:lnTo>
                  <a:lnTo>
                    <a:pt x="10971" y="7749"/>
                  </a:lnTo>
                  <a:lnTo>
                    <a:pt x="10984" y="7769"/>
                  </a:lnTo>
                  <a:lnTo>
                    <a:pt x="10997" y="7790"/>
                  </a:lnTo>
                  <a:lnTo>
                    <a:pt x="11008" y="7811"/>
                  </a:lnTo>
                  <a:lnTo>
                    <a:pt x="11018" y="7834"/>
                  </a:lnTo>
                  <a:lnTo>
                    <a:pt x="11027" y="7856"/>
                  </a:lnTo>
                  <a:lnTo>
                    <a:pt x="11035" y="7879"/>
                  </a:lnTo>
                  <a:lnTo>
                    <a:pt x="11041" y="7904"/>
                  </a:lnTo>
                  <a:lnTo>
                    <a:pt x="11047" y="7928"/>
                  </a:lnTo>
                  <a:lnTo>
                    <a:pt x="11051" y="7953"/>
                  </a:lnTo>
                  <a:lnTo>
                    <a:pt x="11054" y="7978"/>
                  </a:lnTo>
                  <a:lnTo>
                    <a:pt x="11056" y="8003"/>
                  </a:lnTo>
                  <a:lnTo>
                    <a:pt x="11057" y="8029"/>
                  </a:lnTo>
                  <a:lnTo>
                    <a:pt x="11057" y="9534"/>
                  </a:lnTo>
                  <a:close/>
                  <a:moveTo>
                    <a:pt x="8041" y="4516"/>
                  </a:moveTo>
                  <a:lnTo>
                    <a:pt x="8041" y="4518"/>
                  </a:lnTo>
                  <a:lnTo>
                    <a:pt x="8041" y="6524"/>
                  </a:lnTo>
                  <a:lnTo>
                    <a:pt x="4021" y="6524"/>
                  </a:lnTo>
                  <a:lnTo>
                    <a:pt x="4021" y="4518"/>
                  </a:lnTo>
                  <a:lnTo>
                    <a:pt x="4021" y="4516"/>
                  </a:lnTo>
                  <a:lnTo>
                    <a:pt x="4024" y="4413"/>
                  </a:lnTo>
                  <a:lnTo>
                    <a:pt x="4031" y="4312"/>
                  </a:lnTo>
                  <a:lnTo>
                    <a:pt x="4044" y="4210"/>
                  </a:lnTo>
                  <a:lnTo>
                    <a:pt x="4062" y="4112"/>
                  </a:lnTo>
                  <a:lnTo>
                    <a:pt x="4084" y="4015"/>
                  </a:lnTo>
                  <a:lnTo>
                    <a:pt x="4111" y="3919"/>
                  </a:lnTo>
                  <a:lnTo>
                    <a:pt x="4142" y="3826"/>
                  </a:lnTo>
                  <a:lnTo>
                    <a:pt x="4178" y="3735"/>
                  </a:lnTo>
                  <a:lnTo>
                    <a:pt x="4219" y="3646"/>
                  </a:lnTo>
                  <a:lnTo>
                    <a:pt x="4263" y="3560"/>
                  </a:lnTo>
                  <a:lnTo>
                    <a:pt x="4312" y="3476"/>
                  </a:lnTo>
                  <a:lnTo>
                    <a:pt x="4364" y="3394"/>
                  </a:lnTo>
                  <a:lnTo>
                    <a:pt x="4420" y="3315"/>
                  </a:lnTo>
                  <a:lnTo>
                    <a:pt x="4480" y="3240"/>
                  </a:lnTo>
                  <a:lnTo>
                    <a:pt x="4543" y="3166"/>
                  </a:lnTo>
                  <a:lnTo>
                    <a:pt x="4610" y="3097"/>
                  </a:lnTo>
                  <a:lnTo>
                    <a:pt x="4679" y="3031"/>
                  </a:lnTo>
                  <a:lnTo>
                    <a:pt x="4752" y="2968"/>
                  </a:lnTo>
                  <a:lnTo>
                    <a:pt x="4828" y="2908"/>
                  </a:lnTo>
                  <a:lnTo>
                    <a:pt x="4907" y="2852"/>
                  </a:lnTo>
                  <a:lnTo>
                    <a:pt x="4989" y="2800"/>
                  </a:lnTo>
                  <a:lnTo>
                    <a:pt x="5073" y="2751"/>
                  </a:lnTo>
                  <a:lnTo>
                    <a:pt x="5160" y="2707"/>
                  </a:lnTo>
                  <a:lnTo>
                    <a:pt x="5248" y="2667"/>
                  </a:lnTo>
                  <a:lnTo>
                    <a:pt x="5339" y="2631"/>
                  </a:lnTo>
                  <a:lnTo>
                    <a:pt x="5433" y="2599"/>
                  </a:lnTo>
                  <a:lnTo>
                    <a:pt x="5528" y="2572"/>
                  </a:lnTo>
                  <a:lnTo>
                    <a:pt x="5626" y="2550"/>
                  </a:lnTo>
                  <a:lnTo>
                    <a:pt x="5724" y="2532"/>
                  </a:lnTo>
                  <a:lnTo>
                    <a:pt x="5825" y="2519"/>
                  </a:lnTo>
                  <a:lnTo>
                    <a:pt x="5927" y="2512"/>
                  </a:lnTo>
                  <a:lnTo>
                    <a:pt x="6031" y="2509"/>
                  </a:lnTo>
                  <a:lnTo>
                    <a:pt x="6135" y="2512"/>
                  </a:lnTo>
                  <a:lnTo>
                    <a:pt x="6236" y="2519"/>
                  </a:lnTo>
                  <a:lnTo>
                    <a:pt x="6338" y="2532"/>
                  </a:lnTo>
                  <a:lnTo>
                    <a:pt x="6436" y="2550"/>
                  </a:lnTo>
                  <a:lnTo>
                    <a:pt x="6534" y="2572"/>
                  </a:lnTo>
                  <a:lnTo>
                    <a:pt x="6629" y="2599"/>
                  </a:lnTo>
                  <a:lnTo>
                    <a:pt x="6723" y="2631"/>
                  </a:lnTo>
                  <a:lnTo>
                    <a:pt x="6813" y="2667"/>
                  </a:lnTo>
                  <a:lnTo>
                    <a:pt x="6902" y="2707"/>
                  </a:lnTo>
                  <a:lnTo>
                    <a:pt x="6989" y="2751"/>
                  </a:lnTo>
                  <a:lnTo>
                    <a:pt x="7073" y="2800"/>
                  </a:lnTo>
                  <a:lnTo>
                    <a:pt x="7155" y="2852"/>
                  </a:lnTo>
                  <a:lnTo>
                    <a:pt x="7234" y="2908"/>
                  </a:lnTo>
                  <a:lnTo>
                    <a:pt x="7310" y="2968"/>
                  </a:lnTo>
                  <a:lnTo>
                    <a:pt x="7383" y="3031"/>
                  </a:lnTo>
                  <a:lnTo>
                    <a:pt x="7452" y="3097"/>
                  </a:lnTo>
                  <a:lnTo>
                    <a:pt x="7519" y="3166"/>
                  </a:lnTo>
                  <a:lnTo>
                    <a:pt x="7582" y="3240"/>
                  </a:lnTo>
                  <a:lnTo>
                    <a:pt x="7642" y="3315"/>
                  </a:lnTo>
                  <a:lnTo>
                    <a:pt x="7698" y="3394"/>
                  </a:lnTo>
                  <a:lnTo>
                    <a:pt x="7750" y="3476"/>
                  </a:lnTo>
                  <a:lnTo>
                    <a:pt x="7799" y="3560"/>
                  </a:lnTo>
                  <a:lnTo>
                    <a:pt x="7843" y="3646"/>
                  </a:lnTo>
                  <a:lnTo>
                    <a:pt x="7884" y="3735"/>
                  </a:lnTo>
                  <a:lnTo>
                    <a:pt x="7920" y="3826"/>
                  </a:lnTo>
                  <a:lnTo>
                    <a:pt x="7951" y="3919"/>
                  </a:lnTo>
                  <a:lnTo>
                    <a:pt x="7978" y="4015"/>
                  </a:lnTo>
                  <a:lnTo>
                    <a:pt x="8000" y="4112"/>
                  </a:lnTo>
                  <a:lnTo>
                    <a:pt x="8018" y="4210"/>
                  </a:lnTo>
                  <a:lnTo>
                    <a:pt x="8031" y="4312"/>
                  </a:lnTo>
                  <a:lnTo>
                    <a:pt x="8038" y="4413"/>
                  </a:lnTo>
                  <a:lnTo>
                    <a:pt x="8041" y="4516"/>
                  </a:lnTo>
                  <a:close/>
                  <a:moveTo>
                    <a:pt x="2513" y="4516"/>
                  </a:moveTo>
                  <a:lnTo>
                    <a:pt x="2517" y="4336"/>
                  </a:lnTo>
                  <a:lnTo>
                    <a:pt x="2531" y="4157"/>
                  </a:lnTo>
                  <a:lnTo>
                    <a:pt x="2553" y="3981"/>
                  </a:lnTo>
                  <a:lnTo>
                    <a:pt x="2584" y="3809"/>
                  </a:lnTo>
                  <a:lnTo>
                    <a:pt x="2623" y="3638"/>
                  </a:lnTo>
                  <a:lnTo>
                    <a:pt x="2671" y="3472"/>
                  </a:lnTo>
                  <a:lnTo>
                    <a:pt x="2726" y="3309"/>
                  </a:lnTo>
                  <a:lnTo>
                    <a:pt x="2789" y="3149"/>
                  </a:lnTo>
                  <a:lnTo>
                    <a:pt x="2860" y="2994"/>
                  </a:lnTo>
                  <a:lnTo>
                    <a:pt x="2937" y="2842"/>
                  </a:lnTo>
                  <a:lnTo>
                    <a:pt x="3023" y="2695"/>
                  </a:lnTo>
                  <a:lnTo>
                    <a:pt x="3114" y="2552"/>
                  </a:lnTo>
                  <a:lnTo>
                    <a:pt x="3212" y="2415"/>
                  </a:lnTo>
                  <a:lnTo>
                    <a:pt x="3316" y="2282"/>
                  </a:lnTo>
                  <a:lnTo>
                    <a:pt x="3427" y="2155"/>
                  </a:lnTo>
                  <a:lnTo>
                    <a:pt x="3543" y="2032"/>
                  </a:lnTo>
                  <a:lnTo>
                    <a:pt x="3666" y="1916"/>
                  </a:lnTo>
                  <a:lnTo>
                    <a:pt x="3793" y="1806"/>
                  </a:lnTo>
                  <a:lnTo>
                    <a:pt x="3926" y="1701"/>
                  </a:lnTo>
                  <a:lnTo>
                    <a:pt x="4064" y="1604"/>
                  </a:lnTo>
                  <a:lnTo>
                    <a:pt x="4207" y="1512"/>
                  </a:lnTo>
                  <a:lnTo>
                    <a:pt x="4354" y="1427"/>
                  </a:lnTo>
                  <a:lnTo>
                    <a:pt x="4505" y="1350"/>
                  </a:lnTo>
                  <a:lnTo>
                    <a:pt x="4662" y="1280"/>
                  </a:lnTo>
                  <a:lnTo>
                    <a:pt x="4821" y="1216"/>
                  </a:lnTo>
                  <a:lnTo>
                    <a:pt x="4985" y="1161"/>
                  </a:lnTo>
                  <a:lnTo>
                    <a:pt x="5151" y="1114"/>
                  </a:lnTo>
                  <a:lnTo>
                    <a:pt x="5322" y="1075"/>
                  </a:lnTo>
                  <a:lnTo>
                    <a:pt x="5495" y="1044"/>
                  </a:lnTo>
                  <a:lnTo>
                    <a:pt x="5671" y="1022"/>
                  </a:lnTo>
                  <a:lnTo>
                    <a:pt x="5850" y="1009"/>
                  </a:lnTo>
                  <a:lnTo>
                    <a:pt x="6031" y="1004"/>
                  </a:lnTo>
                  <a:lnTo>
                    <a:pt x="6212" y="1009"/>
                  </a:lnTo>
                  <a:lnTo>
                    <a:pt x="6391" y="1022"/>
                  </a:lnTo>
                  <a:lnTo>
                    <a:pt x="6567" y="1044"/>
                  </a:lnTo>
                  <a:lnTo>
                    <a:pt x="6740" y="1075"/>
                  </a:lnTo>
                  <a:lnTo>
                    <a:pt x="6911" y="1114"/>
                  </a:lnTo>
                  <a:lnTo>
                    <a:pt x="7077" y="1161"/>
                  </a:lnTo>
                  <a:lnTo>
                    <a:pt x="7240" y="1216"/>
                  </a:lnTo>
                  <a:lnTo>
                    <a:pt x="7400" y="1280"/>
                  </a:lnTo>
                  <a:lnTo>
                    <a:pt x="7556" y="1350"/>
                  </a:lnTo>
                  <a:lnTo>
                    <a:pt x="7708" y="1427"/>
                  </a:lnTo>
                  <a:lnTo>
                    <a:pt x="7855" y="1512"/>
                  </a:lnTo>
                  <a:lnTo>
                    <a:pt x="7998" y="1604"/>
                  </a:lnTo>
                  <a:lnTo>
                    <a:pt x="8136" y="1701"/>
                  </a:lnTo>
                  <a:lnTo>
                    <a:pt x="8269" y="1806"/>
                  </a:lnTo>
                  <a:lnTo>
                    <a:pt x="8396" y="1916"/>
                  </a:lnTo>
                  <a:lnTo>
                    <a:pt x="8519" y="2032"/>
                  </a:lnTo>
                  <a:lnTo>
                    <a:pt x="8635" y="2155"/>
                  </a:lnTo>
                  <a:lnTo>
                    <a:pt x="8746" y="2282"/>
                  </a:lnTo>
                  <a:lnTo>
                    <a:pt x="8850" y="2415"/>
                  </a:lnTo>
                  <a:lnTo>
                    <a:pt x="8948" y="2552"/>
                  </a:lnTo>
                  <a:lnTo>
                    <a:pt x="9039" y="2695"/>
                  </a:lnTo>
                  <a:lnTo>
                    <a:pt x="9125" y="2842"/>
                  </a:lnTo>
                  <a:lnTo>
                    <a:pt x="9202" y="2994"/>
                  </a:lnTo>
                  <a:lnTo>
                    <a:pt x="9273" y="3149"/>
                  </a:lnTo>
                  <a:lnTo>
                    <a:pt x="9336" y="3309"/>
                  </a:lnTo>
                  <a:lnTo>
                    <a:pt x="9391" y="3472"/>
                  </a:lnTo>
                  <a:lnTo>
                    <a:pt x="9439" y="3638"/>
                  </a:lnTo>
                  <a:lnTo>
                    <a:pt x="9478" y="3809"/>
                  </a:lnTo>
                  <a:lnTo>
                    <a:pt x="9509" y="3981"/>
                  </a:lnTo>
                  <a:lnTo>
                    <a:pt x="9531" y="4157"/>
                  </a:lnTo>
                  <a:lnTo>
                    <a:pt x="9544" y="4336"/>
                  </a:lnTo>
                  <a:lnTo>
                    <a:pt x="9549" y="4516"/>
                  </a:lnTo>
                  <a:lnTo>
                    <a:pt x="9549" y="6524"/>
                  </a:lnTo>
                  <a:lnTo>
                    <a:pt x="8544" y="6524"/>
                  </a:lnTo>
                  <a:lnTo>
                    <a:pt x="8544" y="4518"/>
                  </a:lnTo>
                  <a:lnTo>
                    <a:pt x="8541" y="4389"/>
                  </a:lnTo>
                  <a:lnTo>
                    <a:pt x="8531" y="4261"/>
                  </a:lnTo>
                  <a:lnTo>
                    <a:pt x="8515" y="4136"/>
                  </a:lnTo>
                  <a:lnTo>
                    <a:pt x="8493" y="4012"/>
                  </a:lnTo>
                  <a:lnTo>
                    <a:pt x="8465" y="3891"/>
                  </a:lnTo>
                  <a:lnTo>
                    <a:pt x="8431" y="3772"/>
                  </a:lnTo>
                  <a:lnTo>
                    <a:pt x="8391" y="3655"/>
                  </a:lnTo>
                  <a:lnTo>
                    <a:pt x="8347" y="3541"/>
                  </a:lnTo>
                  <a:lnTo>
                    <a:pt x="8297" y="3430"/>
                  </a:lnTo>
                  <a:lnTo>
                    <a:pt x="8240" y="3322"/>
                  </a:lnTo>
                  <a:lnTo>
                    <a:pt x="8180" y="3217"/>
                  </a:lnTo>
                  <a:lnTo>
                    <a:pt x="8115" y="3115"/>
                  </a:lnTo>
                  <a:lnTo>
                    <a:pt x="8044" y="3017"/>
                  </a:lnTo>
                  <a:lnTo>
                    <a:pt x="7970" y="2922"/>
                  </a:lnTo>
                  <a:lnTo>
                    <a:pt x="7892" y="2830"/>
                  </a:lnTo>
                  <a:lnTo>
                    <a:pt x="7808" y="2744"/>
                  </a:lnTo>
                  <a:lnTo>
                    <a:pt x="7721" y="2661"/>
                  </a:lnTo>
                  <a:lnTo>
                    <a:pt x="7629" y="2581"/>
                  </a:lnTo>
                  <a:lnTo>
                    <a:pt x="7535" y="2507"/>
                  </a:lnTo>
                  <a:lnTo>
                    <a:pt x="7436" y="2437"/>
                  </a:lnTo>
                  <a:lnTo>
                    <a:pt x="7334" y="2372"/>
                  </a:lnTo>
                  <a:lnTo>
                    <a:pt x="7229" y="2311"/>
                  </a:lnTo>
                  <a:lnTo>
                    <a:pt x="7121" y="2256"/>
                  </a:lnTo>
                  <a:lnTo>
                    <a:pt x="7009" y="2206"/>
                  </a:lnTo>
                  <a:lnTo>
                    <a:pt x="6895" y="2161"/>
                  </a:lnTo>
                  <a:lnTo>
                    <a:pt x="6779" y="2122"/>
                  </a:lnTo>
                  <a:lnTo>
                    <a:pt x="6659" y="2088"/>
                  </a:lnTo>
                  <a:lnTo>
                    <a:pt x="6538" y="2059"/>
                  </a:lnTo>
                  <a:lnTo>
                    <a:pt x="6414" y="2037"/>
                  </a:lnTo>
                  <a:lnTo>
                    <a:pt x="6288" y="2021"/>
                  </a:lnTo>
                  <a:lnTo>
                    <a:pt x="6161" y="2012"/>
                  </a:lnTo>
                  <a:lnTo>
                    <a:pt x="6031" y="2009"/>
                  </a:lnTo>
                  <a:lnTo>
                    <a:pt x="5901" y="2012"/>
                  </a:lnTo>
                  <a:lnTo>
                    <a:pt x="5774" y="2021"/>
                  </a:lnTo>
                  <a:lnTo>
                    <a:pt x="5648" y="2037"/>
                  </a:lnTo>
                  <a:lnTo>
                    <a:pt x="5524" y="2059"/>
                  </a:lnTo>
                  <a:lnTo>
                    <a:pt x="5403" y="2088"/>
                  </a:lnTo>
                  <a:lnTo>
                    <a:pt x="5283" y="2122"/>
                  </a:lnTo>
                  <a:lnTo>
                    <a:pt x="5167" y="2161"/>
                  </a:lnTo>
                  <a:lnTo>
                    <a:pt x="5053" y="2206"/>
                  </a:lnTo>
                  <a:lnTo>
                    <a:pt x="4941" y="2256"/>
                  </a:lnTo>
                  <a:lnTo>
                    <a:pt x="4833" y="2311"/>
                  </a:lnTo>
                  <a:lnTo>
                    <a:pt x="4727" y="2372"/>
                  </a:lnTo>
                  <a:lnTo>
                    <a:pt x="4626" y="2437"/>
                  </a:lnTo>
                  <a:lnTo>
                    <a:pt x="4527" y="2507"/>
                  </a:lnTo>
                  <a:lnTo>
                    <a:pt x="4433" y="2581"/>
                  </a:lnTo>
                  <a:lnTo>
                    <a:pt x="4341" y="2661"/>
                  </a:lnTo>
                  <a:lnTo>
                    <a:pt x="4254" y="2744"/>
                  </a:lnTo>
                  <a:lnTo>
                    <a:pt x="4170" y="2830"/>
                  </a:lnTo>
                  <a:lnTo>
                    <a:pt x="4092" y="2922"/>
                  </a:lnTo>
                  <a:lnTo>
                    <a:pt x="4017" y="3017"/>
                  </a:lnTo>
                  <a:lnTo>
                    <a:pt x="3947" y="3115"/>
                  </a:lnTo>
                  <a:lnTo>
                    <a:pt x="3882" y="3217"/>
                  </a:lnTo>
                  <a:lnTo>
                    <a:pt x="3822" y="3322"/>
                  </a:lnTo>
                  <a:lnTo>
                    <a:pt x="3765" y="3430"/>
                  </a:lnTo>
                  <a:lnTo>
                    <a:pt x="3715" y="3541"/>
                  </a:lnTo>
                  <a:lnTo>
                    <a:pt x="3671" y="3655"/>
                  </a:lnTo>
                  <a:lnTo>
                    <a:pt x="3631" y="3772"/>
                  </a:lnTo>
                  <a:lnTo>
                    <a:pt x="3597" y="3891"/>
                  </a:lnTo>
                  <a:lnTo>
                    <a:pt x="3569" y="4012"/>
                  </a:lnTo>
                  <a:lnTo>
                    <a:pt x="3547" y="4136"/>
                  </a:lnTo>
                  <a:lnTo>
                    <a:pt x="3531" y="4261"/>
                  </a:lnTo>
                  <a:lnTo>
                    <a:pt x="3521" y="4389"/>
                  </a:lnTo>
                  <a:lnTo>
                    <a:pt x="3518" y="4518"/>
                  </a:lnTo>
                  <a:lnTo>
                    <a:pt x="3518" y="6524"/>
                  </a:lnTo>
                  <a:lnTo>
                    <a:pt x="2513" y="6524"/>
                  </a:lnTo>
                  <a:lnTo>
                    <a:pt x="2513" y="4516"/>
                  </a:lnTo>
                  <a:close/>
                  <a:moveTo>
                    <a:pt x="10554" y="6524"/>
                  </a:moveTo>
                  <a:lnTo>
                    <a:pt x="10554" y="4516"/>
                  </a:lnTo>
                  <a:lnTo>
                    <a:pt x="10548" y="4283"/>
                  </a:lnTo>
                  <a:lnTo>
                    <a:pt x="10531" y="4055"/>
                  </a:lnTo>
                  <a:lnTo>
                    <a:pt x="10502" y="3829"/>
                  </a:lnTo>
                  <a:lnTo>
                    <a:pt x="10463" y="3606"/>
                  </a:lnTo>
                  <a:lnTo>
                    <a:pt x="10412" y="3387"/>
                  </a:lnTo>
                  <a:lnTo>
                    <a:pt x="10351" y="3173"/>
                  </a:lnTo>
                  <a:lnTo>
                    <a:pt x="10280" y="2964"/>
                  </a:lnTo>
                  <a:lnTo>
                    <a:pt x="10198" y="2758"/>
                  </a:lnTo>
                  <a:lnTo>
                    <a:pt x="10108" y="2558"/>
                  </a:lnTo>
                  <a:lnTo>
                    <a:pt x="10008" y="2364"/>
                  </a:lnTo>
                  <a:lnTo>
                    <a:pt x="9900" y="2175"/>
                  </a:lnTo>
                  <a:lnTo>
                    <a:pt x="9782" y="1991"/>
                  </a:lnTo>
                  <a:lnTo>
                    <a:pt x="9656" y="1815"/>
                  </a:lnTo>
                  <a:lnTo>
                    <a:pt x="9521" y="1643"/>
                  </a:lnTo>
                  <a:lnTo>
                    <a:pt x="9379" y="1479"/>
                  </a:lnTo>
                  <a:lnTo>
                    <a:pt x="9229" y="1323"/>
                  </a:lnTo>
                  <a:lnTo>
                    <a:pt x="9073" y="1173"/>
                  </a:lnTo>
                  <a:lnTo>
                    <a:pt x="8908" y="1032"/>
                  </a:lnTo>
                  <a:lnTo>
                    <a:pt x="8737" y="897"/>
                  </a:lnTo>
                  <a:lnTo>
                    <a:pt x="8560" y="771"/>
                  </a:lnTo>
                  <a:lnTo>
                    <a:pt x="8376" y="653"/>
                  </a:lnTo>
                  <a:lnTo>
                    <a:pt x="8187" y="545"/>
                  </a:lnTo>
                  <a:lnTo>
                    <a:pt x="7992" y="446"/>
                  </a:lnTo>
                  <a:lnTo>
                    <a:pt x="7792" y="355"/>
                  </a:lnTo>
                  <a:lnTo>
                    <a:pt x="7586" y="274"/>
                  </a:lnTo>
                  <a:lnTo>
                    <a:pt x="7376" y="203"/>
                  </a:lnTo>
                  <a:lnTo>
                    <a:pt x="7162" y="143"/>
                  </a:lnTo>
                  <a:lnTo>
                    <a:pt x="6943" y="91"/>
                  </a:lnTo>
                  <a:lnTo>
                    <a:pt x="6720" y="52"/>
                  </a:lnTo>
                  <a:lnTo>
                    <a:pt x="6493" y="23"/>
                  </a:lnTo>
                  <a:lnTo>
                    <a:pt x="6264" y="6"/>
                  </a:lnTo>
                  <a:lnTo>
                    <a:pt x="6031" y="0"/>
                  </a:lnTo>
                  <a:lnTo>
                    <a:pt x="5798" y="6"/>
                  </a:lnTo>
                  <a:lnTo>
                    <a:pt x="5569" y="23"/>
                  </a:lnTo>
                  <a:lnTo>
                    <a:pt x="5342" y="52"/>
                  </a:lnTo>
                  <a:lnTo>
                    <a:pt x="5119" y="91"/>
                  </a:lnTo>
                  <a:lnTo>
                    <a:pt x="4900" y="143"/>
                  </a:lnTo>
                  <a:lnTo>
                    <a:pt x="4686" y="203"/>
                  </a:lnTo>
                  <a:lnTo>
                    <a:pt x="4476" y="274"/>
                  </a:lnTo>
                  <a:lnTo>
                    <a:pt x="4270" y="355"/>
                  </a:lnTo>
                  <a:lnTo>
                    <a:pt x="4070" y="446"/>
                  </a:lnTo>
                  <a:lnTo>
                    <a:pt x="3875" y="545"/>
                  </a:lnTo>
                  <a:lnTo>
                    <a:pt x="3685" y="653"/>
                  </a:lnTo>
                  <a:lnTo>
                    <a:pt x="3502" y="771"/>
                  </a:lnTo>
                  <a:lnTo>
                    <a:pt x="3324" y="897"/>
                  </a:lnTo>
                  <a:lnTo>
                    <a:pt x="3153" y="1032"/>
                  </a:lnTo>
                  <a:lnTo>
                    <a:pt x="2989" y="1173"/>
                  </a:lnTo>
                  <a:lnTo>
                    <a:pt x="2833" y="1323"/>
                  </a:lnTo>
                  <a:lnTo>
                    <a:pt x="2683" y="1479"/>
                  </a:lnTo>
                  <a:lnTo>
                    <a:pt x="2540" y="1643"/>
                  </a:lnTo>
                  <a:lnTo>
                    <a:pt x="2406" y="1815"/>
                  </a:lnTo>
                  <a:lnTo>
                    <a:pt x="2280" y="1991"/>
                  </a:lnTo>
                  <a:lnTo>
                    <a:pt x="2162" y="2175"/>
                  </a:lnTo>
                  <a:lnTo>
                    <a:pt x="2054" y="2364"/>
                  </a:lnTo>
                  <a:lnTo>
                    <a:pt x="1954" y="2558"/>
                  </a:lnTo>
                  <a:lnTo>
                    <a:pt x="1864" y="2758"/>
                  </a:lnTo>
                  <a:lnTo>
                    <a:pt x="1782" y="2964"/>
                  </a:lnTo>
                  <a:lnTo>
                    <a:pt x="1711" y="3173"/>
                  </a:lnTo>
                  <a:lnTo>
                    <a:pt x="1650" y="3387"/>
                  </a:lnTo>
                  <a:lnTo>
                    <a:pt x="1599" y="3606"/>
                  </a:lnTo>
                  <a:lnTo>
                    <a:pt x="1560" y="3829"/>
                  </a:lnTo>
                  <a:lnTo>
                    <a:pt x="1531" y="4055"/>
                  </a:lnTo>
                  <a:lnTo>
                    <a:pt x="1514" y="4283"/>
                  </a:lnTo>
                  <a:lnTo>
                    <a:pt x="1508" y="4516"/>
                  </a:lnTo>
                  <a:lnTo>
                    <a:pt x="1508" y="6524"/>
                  </a:lnTo>
                  <a:lnTo>
                    <a:pt x="1430" y="6526"/>
                  </a:lnTo>
                  <a:lnTo>
                    <a:pt x="1354" y="6532"/>
                  </a:lnTo>
                  <a:lnTo>
                    <a:pt x="1278" y="6541"/>
                  </a:lnTo>
                  <a:lnTo>
                    <a:pt x="1204" y="6555"/>
                  </a:lnTo>
                  <a:lnTo>
                    <a:pt x="1131" y="6571"/>
                  </a:lnTo>
                  <a:lnTo>
                    <a:pt x="1059" y="6592"/>
                  </a:lnTo>
                  <a:lnTo>
                    <a:pt x="989" y="6615"/>
                  </a:lnTo>
                  <a:lnTo>
                    <a:pt x="921" y="6642"/>
                  </a:lnTo>
                  <a:lnTo>
                    <a:pt x="854" y="6672"/>
                  </a:lnTo>
                  <a:lnTo>
                    <a:pt x="789" y="6705"/>
                  </a:lnTo>
                  <a:lnTo>
                    <a:pt x="726" y="6741"/>
                  </a:lnTo>
                  <a:lnTo>
                    <a:pt x="664" y="6780"/>
                  </a:lnTo>
                  <a:lnTo>
                    <a:pt x="605" y="6823"/>
                  </a:lnTo>
                  <a:lnTo>
                    <a:pt x="549" y="6868"/>
                  </a:lnTo>
                  <a:lnTo>
                    <a:pt x="494" y="6915"/>
                  </a:lnTo>
                  <a:lnTo>
                    <a:pt x="441" y="6964"/>
                  </a:lnTo>
                  <a:lnTo>
                    <a:pt x="392" y="7016"/>
                  </a:lnTo>
                  <a:lnTo>
                    <a:pt x="344" y="7072"/>
                  </a:lnTo>
                  <a:lnTo>
                    <a:pt x="300" y="7129"/>
                  </a:lnTo>
                  <a:lnTo>
                    <a:pt x="257" y="7187"/>
                  </a:lnTo>
                  <a:lnTo>
                    <a:pt x="218" y="7248"/>
                  </a:lnTo>
                  <a:lnTo>
                    <a:pt x="182" y="7311"/>
                  </a:lnTo>
                  <a:lnTo>
                    <a:pt x="149" y="7377"/>
                  </a:lnTo>
                  <a:lnTo>
                    <a:pt x="119" y="7443"/>
                  </a:lnTo>
                  <a:lnTo>
                    <a:pt x="91" y="7511"/>
                  </a:lnTo>
                  <a:lnTo>
                    <a:pt x="67" y="7581"/>
                  </a:lnTo>
                  <a:lnTo>
                    <a:pt x="47" y="7653"/>
                  </a:lnTo>
                  <a:lnTo>
                    <a:pt x="30" y="7726"/>
                  </a:lnTo>
                  <a:lnTo>
                    <a:pt x="17" y="7800"/>
                  </a:lnTo>
                  <a:lnTo>
                    <a:pt x="8" y="7875"/>
                  </a:lnTo>
                  <a:lnTo>
                    <a:pt x="2" y="7952"/>
                  </a:lnTo>
                  <a:lnTo>
                    <a:pt x="0" y="8029"/>
                  </a:lnTo>
                  <a:lnTo>
                    <a:pt x="0" y="9534"/>
                  </a:lnTo>
                  <a:lnTo>
                    <a:pt x="0" y="10036"/>
                  </a:lnTo>
                  <a:lnTo>
                    <a:pt x="0" y="11040"/>
                  </a:lnTo>
                  <a:lnTo>
                    <a:pt x="0" y="11542"/>
                  </a:lnTo>
                  <a:lnTo>
                    <a:pt x="6" y="11775"/>
                  </a:lnTo>
                  <a:lnTo>
                    <a:pt x="23" y="12003"/>
                  </a:lnTo>
                  <a:lnTo>
                    <a:pt x="52" y="12229"/>
                  </a:lnTo>
                  <a:lnTo>
                    <a:pt x="91" y="12452"/>
                  </a:lnTo>
                  <a:lnTo>
                    <a:pt x="143" y="12671"/>
                  </a:lnTo>
                  <a:lnTo>
                    <a:pt x="203" y="12885"/>
                  </a:lnTo>
                  <a:lnTo>
                    <a:pt x="274" y="13094"/>
                  </a:lnTo>
                  <a:lnTo>
                    <a:pt x="356" y="13300"/>
                  </a:lnTo>
                  <a:lnTo>
                    <a:pt x="446" y="13500"/>
                  </a:lnTo>
                  <a:lnTo>
                    <a:pt x="546" y="13694"/>
                  </a:lnTo>
                  <a:lnTo>
                    <a:pt x="654" y="13884"/>
                  </a:lnTo>
                  <a:lnTo>
                    <a:pt x="772" y="14067"/>
                  </a:lnTo>
                  <a:lnTo>
                    <a:pt x="899" y="14243"/>
                  </a:lnTo>
                  <a:lnTo>
                    <a:pt x="1032" y="14415"/>
                  </a:lnTo>
                  <a:lnTo>
                    <a:pt x="1175" y="14579"/>
                  </a:lnTo>
                  <a:lnTo>
                    <a:pt x="1325" y="14735"/>
                  </a:lnTo>
                  <a:lnTo>
                    <a:pt x="1482" y="14885"/>
                  </a:lnTo>
                  <a:lnTo>
                    <a:pt x="1646" y="15027"/>
                  </a:lnTo>
                  <a:lnTo>
                    <a:pt x="1817" y="15161"/>
                  </a:lnTo>
                  <a:lnTo>
                    <a:pt x="1994" y="15287"/>
                  </a:lnTo>
                  <a:lnTo>
                    <a:pt x="2177" y="15405"/>
                  </a:lnTo>
                  <a:lnTo>
                    <a:pt x="2367" y="15513"/>
                  </a:lnTo>
                  <a:lnTo>
                    <a:pt x="2562" y="15612"/>
                  </a:lnTo>
                  <a:lnTo>
                    <a:pt x="2762" y="15703"/>
                  </a:lnTo>
                  <a:lnTo>
                    <a:pt x="2968" y="15784"/>
                  </a:lnTo>
                  <a:lnTo>
                    <a:pt x="3178" y="15855"/>
                  </a:lnTo>
                  <a:lnTo>
                    <a:pt x="3392" y="15915"/>
                  </a:lnTo>
                  <a:lnTo>
                    <a:pt x="3612" y="15967"/>
                  </a:lnTo>
                  <a:lnTo>
                    <a:pt x="3835" y="16006"/>
                  </a:lnTo>
                  <a:lnTo>
                    <a:pt x="4061" y="16035"/>
                  </a:lnTo>
                  <a:lnTo>
                    <a:pt x="4290" y="16052"/>
                  </a:lnTo>
                  <a:lnTo>
                    <a:pt x="4523" y="16058"/>
                  </a:lnTo>
                  <a:lnTo>
                    <a:pt x="7539" y="16058"/>
                  </a:lnTo>
                  <a:lnTo>
                    <a:pt x="7771" y="16052"/>
                  </a:lnTo>
                  <a:lnTo>
                    <a:pt x="8001" y="16035"/>
                  </a:lnTo>
                  <a:lnTo>
                    <a:pt x="8227" y="16006"/>
                  </a:lnTo>
                  <a:lnTo>
                    <a:pt x="8450" y="15967"/>
                  </a:lnTo>
                  <a:lnTo>
                    <a:pt x="8670" y="15915"/>
                  </a:lnTo>
                  <a:lnTo>
                    <a:pt x="8884" y="15855"/>
                  </a:lnTo>
                  <a:lnTo>
                    <a:pt x="9094" y="15784"/>
                  </a:lnTo>
                  <a:lnTo>
                    <a:pt x="9300" y="15703"/>
                  </a:lnTo>
                  <a:lnTo>
                    <a:pt x="9500" y="15612"/>
                  </a:lnTo>
                  <a:lnTo>
                    <a:pt x="9695" y="15513"/>
                  </a:lnTo>
                  <a:lnTo>
                    <a:pt x="9884" y="15405"/>
                  </a:lnTo>
                  <a:lnTo>
                    <a:pt x="10068" y="15287"/>
                  </a:lnTo>
                  <a:lnTo>
                    <a:pt x="10245" y="15161"/>
                  </a:lnTo>
                  <a:lnTo>
                    <a:pt x="10416" y="15027"/>
                  </a:lnTo>
                  <a:lnTo>
                    <a:pt x="10580" y="14885"/>
                  </a:lnTo>
                  <a:lnTo>
                    <a:pt x="10737" y="14735"/>
                  </a:lnTo>
                  <a:lnTo>
                    <a:pt x="10887" y="14579"/>
                  </a:lnTo>
                  <a:lnTo>
                    <a:pt x="11029" y="14415"/>
                  </a:lnTo>
                  <a:lnTo>
                    <a:pt x="11163" y="14243"/>
                  </a:lnTo>
                  <a:lnTo>
                    <a:pt x="11290" y="14067"/>
                  </a:lnTo>
                  <a:lnTo>
                    <a:pt x="11408" y="13884"/>
                  </a:lnTo>
                  <a:lnTo>
                    <a:pt x="11516" y="13694"/>
                  </a:lnTo>
                  <a:lnTo>
                    <a:pt x="11616" y="13500"/>
                  </a:lnTo>
                  <a:lnTo>
                    <a:pt x="11706" y="13300"/>
                  </a:lnTo>
                  <a:lnTo>
                    <a:pt x="11788" y="13094"/>
                  </a:lnTo>
                  <a:lnTo>
                    <a:pt x="11859" y="12885"/>
                  </a:lnTo>
                  <a:lnTo>
                    <a:pt x="11919" y="12671"/>
                  </a:lnTo>
                  <a:lnTo>
                    <a:pt x="11971" y="12452"/>
                  </a:lnTo>
                  <a:lnTo>
                    <a:pt x="12010" y="12229"/>
                  </a:lnTo>
                  <a:lnTo>
                    <a:pt x="12039" y="12003"/>
                  </a:lnTo>
                  <a:lnTo>
                    <a:pt x="12056" y="11775"/>
                  </a:lnTo>
                  <a:lnTo>
                    <a:pt x="12062" y="11542"/>
                  </a:lnTo>
                  <a:lnTo>
                    <a:pt x="12062" y="11040"/>
                  </a:lnTo>
                  <a:lnTo>
                    <a:pt x="12062" y="10036"/>
                  </a:lnTo>
                  <a:lnTo>
                    <a:pt x="12062" y="9534"/>
                  </a:lnTo>
                  <a:lnTo>
                    <a:pt x="12062" y="8029"/>
                  </a:lnTo>
                  <a:lnTo>
                    <a:pt x="12060" y="7952"/>
                  </a:lnTo>
                  <a:lnTo>
                    <a:pt x="12054" y="7875"/>
                  </a:lnTo>
                  <a:lnTo>
                    <a:pt x="12045" y="7800"/>
                  </a:lnTo>
                  <a:lnTo>
                    <a:pt x="12032" y="7726"/>
                  </a:lnTo>
                  <a:lnTo>
                    <a:pt x="12015" y="7653"/>
                  </a:lnTo>
                  <a:lnTo>
                    <a:pt x="11995" y="7581"/>
                  </a:lnTo>
                  <a:lnTo>
                    <a:pt x="11971" y="7511"/>
                  </a:lnTo>
                  <a:lnTo>
                    <a:pt x="11943" y="7443"/>
                  </a:lnTo>
                  <a:lnTo>
                    <a:pt x="11913" y="7377"/>
                  </a:lnTo>
                  <a:lnTo>
                    <a:pt x="11880" y="7311"/>
                  </a:lnTo>
                  <a:lnTo>
                    <a:pt x="11844" y="7248"/>
                  </a:lnTo>
                  <a:lnTo>
                    <a:pt x="11805" y="7187"/>
                  </a:lnTo>
                  <a:lnTo>
                    <a:pt x="11762" y="7129"/>
                  </a:lnTo>
                  <a:lnTo>
                    <a:pt x="11717" y="7072"/>
                  </a:lnTo>
                  <a:lnTo>
                    <a:pt x="11670" y="7016"/>
                  </a:lnTo>
                  <a:lnTo>
                    <a:pt x="11621" y="6964"/>
                  </a:lnTo>
                  <a:lnTo>
                    <a:pt x="11568" y="6915"/>
                  </a:lnTo>
                  <a:lnTo>
                    <a:pt x="11513" y="6868"/>
                  </a:lnTo>
                  <a:lnTo>
                    <a:pt x="11456" y="6823"/>
                  </a:lnTo>
                  <a:lnTo>
                    <a:pt x="11398" y="6780"/>
                  </a:lnTo>
                  <a:lnTo>
                    <a:pt x="11336" y="6741"/>
                  </a:lnTo>
                  <a:lnTo>
                    <a:pt x="11273" y="6705"/>
                  </a:lnTo>
                  <a:lnTo>
                    <a:pt x="11208" y="6672"/>
                  </a:lnTo>
                  <a:lnTo>
                    <a:pt x="11141" y="6642"/>
                  </a:lnTo>
                  <a:lnTo>
                    <a:pt x="11073" y="6615"/>
                  </a:lnTo>
                  <a:lnTo>
                    <a:pt x="11003" y="6592"/>
                  </a:lnTo>
                  <a:lnTo>
                    <a:pt x="10931" y="6571"/>
                  </a:lnTo>
                  <a:lnTo>
                    <a:pt x="10858" y="6555"/>
                  </a:lnTo>
                  <a:lnTo>
                    <a:pt x="10783" y="6541"/>
                  </a:lnTo>
                  <a:lnTo>
                    <a:pt x="10708" y="6532"/>
                  </a:lnTo>
                  <a:lnTo>
                    <a:pt x="10632" y="6526"/>
                  </a:lnTo>
                  <a:lnTo>
                    <a:pt x="10554" y="65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75" name="ïSľídè">
              <a:extLst>
                <a:ext uri="{FF2B5EF4-FFF2-40B4-BE49-F238E27FC236}">
                  <a16:creationId xmlns:a16="http://schemas.microsoft.com/office/drawing/2014/main" id="{32F2313C-1383-4AFA-99D0-A9D2966E37F2}"/>
                </a:ext>
              </a:extLst>
            </p:cNvPr>
            <p:cNvSpPr/>
            <p:nvPr/>
          </p:nvSpPr>
          <p:spPr bwMode="auto">
            <a:xfrm>
              <a:off x="10535543" y="954104"/>
              <a:ext cx="76139" cy="114208"/>
            </a:xfrm>
            <a:custGeom>
              <a:avLst/>
              <a:gdLst>
                <a:gd name="T0" fmla="*/ 902 w 2010"/>
                <a:gd name="T1" fmla="*/ 5 h 3011"/>
                <a:gd name="T2" fmla="*/ 754 w 2010"/>
                <a:gd name="T3" fmla="*/ 33 h 3011"/>
                <a:gd name="T4" fmla="*/ 614 w 2010"/>
                <a:gd name="T5" fmla="*/ 80 h 3011"/>
                <a:gd name="T6" fmla="*/ 484 w 2010"/>
                <a:gd name="T7" fmla="*/ 146 h 3011"/>
                <a:gd name="T8" fmla="*/ 366 w 2010"/>
                <a:gd name="T9" fmla="*/ 229 h 3011"/>
                <a:gd name="T10" fmla="*/ 261 w 2010"/>
                <a:gd name="T11" fmla="*/ 330 h 3011"/>
                <a:gd name="T12" fmla="*/ 172 w 2010"/>
                <a:gd name="T13" fmla="*/ 443 h 3011"/>
                <a:gd name="T14" fmla="*/ 99 w 2010"/>
                <a:gd name="T15" fmla="*/ 569 h 3011"/>
                <a:gd name="T16" fmla="*/ 45 w 2010"/>
                <a:gd name="T17" fmla="*/ 706 h 3011"/>
                <a:gd name="T18" fmla="*/ 11 w 2010"/>
                <a:gd name="T19" fmla="*/ 852 h 3011"/>
                <a:gd name="T20" fmla="*/ 0 w 2010"/>
                <a:gd name="T21" fmla="*/ 1004 h 3011"/>
                <a:gd name="T22" fmla="*/ 4 w 2010"/>
                <a:gd name="T23" fmla="*/ 1096 h 3011"/>
                <a:gd name="T24" fmla="*/ 16 w 2010"/>
                <a:gd name="T25" fmla="*/ 1202 h 3011"/>
                <a:gd name="T26" fmla="*/ 44 w 2010"/>
                <a:gd name="T27" fmla="*/ 1358 h 3011"/>
                <a:gd name="T28" fmla="*/ 104 w 2010"/>
                <a:gd name="T29" fmla="*/ 1617 h 3011"/>
                <a:gd name="T30" fmla="*/ 183 w 2010"/>
                <a:gd name="T31" fmla="*/ 1892 h 3011"/>
                <a:gd name="T32" fmla="*/ 272 w 2010"/>
                <a:gd name="T33" fmla="*/ 2168 h 3011"/>
                <a:gd name="T34" fmla="*/ 361 w 2010"/>
                <a:gd name="T35" fmla="*/ 2414 h 3011"/>
                <a:gd name="T36" fmla="*/ 417 w 2010"/>
                <a:gd name="T37" fmla="*/ 2545 h 3011"/>
                <a:gd name="T38" fmla="*/ 462 w 2010"/>
                <a:gd name="T39" fmla="*/ 2636 h 3011"/>
                <a:gd name="T40" fmla="*/ 511 w 2010"/>
                <a:gd name="T41" fmla="*/ 2719 h 3011"/>
                <a:gd name="T42" fmla="*/ 567 w 2010"/>
                <a:gd name="T43" fmla="*/ 2795 h 3011"/>
                <a:gd name="T44" fmla="*/ 626 w 2010"/>
                <a:gd name="T45" fmla="*/ 2860 h 3011"/>
                <a:gd name="T46" fmla="*/ 693 w 2010"/>
                <a:gd name="T47" fmla="*/ 2916 h 3011"/>
                <a:gd name="T48" fmla="*/ 767 w 2010"/>
                <a:gd name="T49" fmla="*/ 2959 h 3011"/>
                <a:gd name="T50" fmla="*/ 849 w 2010"/>
                <a:gd name="T51" fmla="*/ 2990 h 3011"/>
                <a:gd name="T52" fmla="*/ 940 w 2010"/>
                <a:gd name="T53" fmla="*/ 3007 h 3011"/>
                <a:gd name="T54" fmla="*/ 1041 w 2010"/>
                <a:gd name="T55" fmla="*/ 3010 h 3011"/>
                <a:gd name="T56" fmla="*/ 1141 w 2010"/>
                <a:gd name="T57" fmla="*/ 2997 h 3011"/>
                <a:gd name="T58" fmla="*/ 1229 w 2010"/>
                <a:gd name="T59" fmla="*/ 2971 h 3011"/>
                <a:gd name="T60" fmla="*/ 1307 w 2010"/>
                <a:gd name="T61" fmla="*/ 2932 h 3011"/>
                <a:gd name="T62" fmla="*/ 1375 w 2010"/>
                <a:gd name="T63" fmla="*/ 2881 h 3011"/>
                <a:gd name="T64" fmla="*/ 1436 w 2010"/>
                <a:gd name="T65" fmla="*/ 2820 h 3011"/>
                <a:gd name="T66" fmla="*/ 1489 w 2010"/>
                <a:gd name="T67" fmla="*/ 2747 h 3011"/>
                <a:gd name="T68" fmla="*/ 1538 w 2010"/>
                <a:gd name="T69" fmla="*/ 2667 h 3011"/>
                <a:gd name="T70" fmla="*/ 1582 w 2010"/>
                <a:gd name="T71" fmla="*/ 2580 h 3011"/>
                <a:gd name="T72" fmla="*/ 1623 w 2010"/>
                <a:gd name="T73" fmla="*/ 2484 h 3011"/>
                <a:gd name="T74" fmla="*/ 1708 w 2010"/>
                <a:gd name="T75" fmla="*/ 2263 h 3011"/>
                <a:gd name="T76" fmla="*/ 1799 w 2010"/>
                <a:gd name="T77" fmla="*/ 1990 h 3011"/>
                <a:gd name="T78" fmla="*/ 1883 w 2010"/>
                <a:gd name="T79" fmla="*/ 1711 h 3011"/>
                <a:gd name="T80" fmla="*/ 1949 w 2010"/>
                <a:gd name="T81" fmla="*/ 1444 h 3011"/>
                <a:gd name="T82" fmla="*/ 1988 w 2010"/>
                <a:gd name="T83" fmla="*/ 1240 h 3011"/>
                <a:gd name="T84" fmla="*/ 2003 w 2010"/>
                <a:gd name="T85" fmla="*/ 1132 h 3011"/>
                <a:gd name="T86" fmla="*/ 2009 w 2010"/>
                <a:gd name="T87" fmla="*/ 1033 h 3011"/>
                <a:gd name="T88" fmla="*/ 2005 w 2010"/>
                <a:gd name="T89" fmla="*/ 902 h 3011"/>
                <a:gd name="T90" fmla="*/ 1978 w 2010"/>
                <a:gd name="T91" fmla="*/ 753 h 3011"/>
                <a:gd name="T92" fmla="*/ 1931 w 2010"/>
                <a:gd name="T93" fmla="*/ 614 h 3011"/>
                <a:gd name="T94" fmla="*/ 1864 w 2010"/>
                <a:gd name="T95" fmla="*/ 484 h 3011"/>
                <a:gd name="T96" fmla="*/ 1780 w 2010"/>
                <a:gd name="T97" fmla="*/ 366 h 3011"/>
                <a:gd name="T98" fmla="*/ 1680 w 2010"/>
                <a:gd name="T99" fmla="*/ 261 h 3011"/>
                <a:gd name="T100" fmla="*/ 1567 w 2010"/>
                <a:gd name="T101" fmla="*/ 172 h 3011"/>
                <a:gd name="T102" fmla="*/ 1440 w 2010"/>
                <a:gd name="T103" fmla="*/ 100 h 3011"/>
                <a:gd name="T104" fmla="*/ 1304 w 2010"/>
                <a:gd name="T105" fmla="*/ 46 h 3011"/>
                <a:gd name="T106" fmla="*/ 1158 w 2010"/>
                <a:gd name="T107" fmla="*/ 11 h 3011"/>
                <a:gd name="T108" fmla="*/ 1005 w 2010"/>
                <a:gd name="T109" fmla="*/ 0 h 30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10" h="3011">
                  <a:moveTo>
                    <a:pt x="1005" y="0"/>
                  </a:moveTo>
                  <a:lnTo>
                    <a:pt x="953" y="1"/>
                  </a:lnTo>
                  <a:lnTo>
                    <a:pt x="902" y="5"/>
                  </a:lnTo>
                  <a:lnTo>
                    <a:pt x="852" y="11"/>
                  </a:lnTo>
                  <a:lnTo>
                    <a:pt x="803" y="21"/>
                  </a:lnTo>
                  <a:lnTo>
                    <a:pt x="754" y="33"/>
                  </a:lnTo>
                  <a:lnTo>
                    <a:pt x="706" y="46"/>
                  </a:lnTo>
                  <a:lnTo>
                    <a:pt x="659" y="62"/>
                  </a:lnTo>
                  <a:lnTo>
                    <a:pt x="614" y="80"/>
                  </a:lnTo>
                  <a:lnTo>
                    <a:pt x="570" y="100"/>
                  </a:lnTo>
                  <a:lnTo>
                    <a:pt x="526" y="122"/>
                  </a:lnTo>
                  <a:lnTo>
                    <a:pt x="484" y="146"/>
                  </a:lnTo>
                  <a:lnTo>
                    <a:pt x="443" y="172"/>
                  </a:lnTo>
                  <a:lnTo>
                    <a:pt x="404" y="200"/>
                  </a:lnTo>
                  <a:lnTo>
                    <a:pt x="366" y="229"/>
                  </a:lnTo>
                  <a:lnTo>
                    <a:pt x="330" y="261"/>
                  </a:lnTo>
                  <a:lnTo>
                    <a:pt x="294" y="294"/>
                  </a:lnTo>
                  <a:lnTo>
                    <a:pt x="261" y="330"/>
                  </a:lnTo>
                  <a:lnTo>
                    <a:pt x="229" y="366"/>
                  </a:lnTo>
                  <a:lnTo>
                    <a:pt x="200" y="404"/>
                  </a:lnTo>
                  <a:lnTo>
                    <a:pt x="172" y="443"/>
                  </a:lnTo>
                  <a:lnTo>
                    <a:pt x="146" y="484"/>
                  </a:lnTo>
                  <a:lnTo>
                    <a:pt x="121" y="526"/>
                  </a:lnTo>
                  <a:lnTo>
                    <a:pt x="99" y="569"/>
                  </a:lnTo>
                  <a:lnTo>
                    <a:pt x="79" y="614"/>
                  </a:lnTo>
                  <a:lnTo>
                    <a:pt x="61" y="659"/>
                  </a:lnTo>
                  <a:lnTo>
                    <a:pt x="45" y="706"/>
                  </a:lnTo>
                  <a:lnTo>
                    <a:pt x="31" y="753"/>
                  </a:lnTo>
                  <a:lnTo>
                    <a:pt x="20" y="802"/>
                  </a:lnTo>
                  <a:lnTo>
                    <a:pt x="11" y="852"/>
                  </a:lnTo>
                  <a:lnTo>
                    <a:pt x="5" y="902"/>
                  </a:lnTo>
                  <a:lnTo>
                    <a:pt x="1" y="953"/>
                  </a:lnTo>
                  <a:lnTo>
                    <a:pt x="0" y="1004"/>
                  </a:lnTo>
                  <a:lnTo>
                    <a:pt x="0" y="1033"/>
                  </a:lnTo>
                  <a:lnTo>
                    <a:pt x="2" y="1064"/>
                  </a:lnTo>
                  <a:lnTo>
                    <a:pt x="4" y="1096"/>
                  </a:lnTo>
                  <a:lnTo>
                    <a:pt x="7" y="1131"/>
                  </a:lnTo>
                  <a:lnTo>
                    <a:pt x="12" y="1166"/>
                  </a:lnTo>
                  <a:lnTo>
                    <a:pt x="16" y="1202"/>
                  </a:lnTo>
                  <a:lnTo>
                    <a:pt x="22" y="1239"/>
                  </a:lnTo>
                  <a:lnTo>
                    <a:pt x="29" y="1278"/>
                  </a:lnTo>
                  <a:lnTo>
                    <a:pt x="44" y="1358"/>
                  </a:lnTo>
                  <a:lnTo>
                    <a:pt x="61" y="1442"/>
                  </a:lnTo>
                  <a:lnTo>
                    <a:pt x="82" y="1528"/>
                  </a:lnTo>
                  <a:lnTo>
                    <a:pt x="104" y="1617"/>
                  </a:lnTo>
                  <a:lnTo>
                    <a:pt x="128" y="1708"/>
                  </a:lnTo>
                  <a:lnTo>
                    <a:pt x="156" y="1800"/>
                  </a:lnTo>
                  <a:lnTo>
                    <a:pt x="183" y="1892"/>
                  </a:lnTo>
                  <a:lnTo>
                    <a:pt x="212" y="1986"/>
                  </a:lnTo>
                  <a:lnTo>
                    <a:pt x="242" y="2078"/>
                  </a:lnTo>
                  <a:lnTo>
                    <a:pt x="272" y="2168"/>
                  </a:lnTo>
                  <a:lnTo>
                    <a:pt x="303" y="2258"/>
                  </a:lnTo>
                  <a:lnTo>
                    <a:pt x="335" y="2345"/>
                  </a:lnTo>
                  <a:lnTo>
                    <a:pt x="361" y="2414"/>
                  </a:lnTo>
                  <a:lnTo>
                    <a:pt x="388" y="2480"/>
                  </a:lnTo>
                  <a:lnTo>
                    <a:pt x="402" y="2513"/>
                  </a:lnTo>
                  <a:lnTo>
                    <a:pt x="417" y="2545"/>
                  </a:lnTo>
                  <a:lnTo>
                    <a:pt x="431" y="2576"/>
                  </a:lnTo>
                  <a:lnTo>
                    <a:pt x="446" y="2606"/>
                  </a:lnTo>
                  <a:lnTo>
                    <a:pt x="462" y="2636"/>
                  </a:lnTo>
                  <a:lnTo>
                    <a:pt x="478" y="2664"/>
                  </a:lnTo>
                  <a:lnTo>
                    <a:pt x="494" y="2692"/>
                  </a:lnTo>
                  <a:lnTo>
                    <a:pt x="511" y="2719"/>
                  </a:lnTo>
                  <a:lnTo>
                    <a:pt x="530" y="2745"/>
                  </a:lnTo>
                  <a:lnTo>
                    <a:pt x="548" y="2770"/>
                  </a:lnTo>
                  <a:lnTo>
                    <a:pt x="567" y="2795"/>
                  </a:lnTo>
                  <a:lnTo>
                    <a:pt x="586" y="2818"/>
                  </a:lnTo>
                  <a:lnTo>
                    <a:pt x="606" y="2840"/>
                  </a:lnTo>
                  <a:lnTo>
                    <a:pt x="626" y="2860"/>
                  </a:lnTo>
                  <a:lnTo>
                    <a:pt x="648" y="2880"/>
                  </a:lnTo>
                  <a:lnTo>
                    <a:pt x="670" y="2898"/>
                  </a:lnTo>
                  <a:lnTo>
                    <a:pt x="693" y="2916"/>
                  </a:lnTo>
                  <a:lnTo>
                    <a:pt x="717" y="2931"/>
                  </a:lnTo>
                  <a:lnTo>
                    <a:pt x="742" y="2946"/>
                  </a:lnTo>
                  <a:lnTo>
                    <a:pt x="767" y="2959"/>
                  </a:lnTo>
                  <a:lnTo>
                    <a:pt x="793" y="2971"/>
                  </a:lnTo>
                  <a:lnTo>
                    <a:pt x="821" y="2981"/>
                  </a:lnTo>
                  <a:lnTo>
                    <a:pt x="849" y="2990"/>
                  </a:lnTo>
                  <a:lnTo>
                    <a:pt x="878" y="2997"/>
                  </a:lnTo>
                  <a:lnTo>
                    <a:pt x="909" y="3003"/>
                  </a:lnTo>
                  <a:lnTo>
                    <a:pt x="940" y="3007"/>
                  </a:lnTo>
                  <a:lnTo>
                    <a:pt x="972" y="3010"/>
                  </a:lnTo>
                  <a:lnTo>
                    <a:pt x="1005" y="3011"/>
                  </a:lnTo>
                  <a:lnTo>
                    <a:pt x="1041" y="3010"/>
                  </a:lnTo>
                  <a:lnTo>
                    <a:pt x="1075" y="3007"/>
                  </a:lnTo>
                  <a:lnTo>
                    <a:pt x="1109" y="3003"/>
                  </a:lnTo>
                  <a:lnTo>
                    <a:pt x="1141" y="2997"/>
                  </a:lnTo>
                  <a:lnTo>
                    <a:pt x="1172" y="2990"/>
                  </a:lnTo>
                  <a:lnTo>
                    <a:pt x="1201" y="2981"/>
                  </a:lnTo>
                  <a:lnTo>
                    <a:pt x="1229" y="2971"/>
                  </a:lnTo>
                  <a:lnTo>
                    <a:pt x="1256" y="2960"/>
                  </a:lnTo>
                  <a:lnTo>
                    <a:pt x="1281" y="2947"/>
                  </a:lnTo>
                  <a:lnTo>
                    <a:pt x="1307" y="2932"/>
                  </a:lnTo>
                  <a:lnTo>
                    <a:pt x="1331" y="2916"/>
                  </a:lnTo>
                  <a:lnTo>
                    <a:pt x="1354" y="2899"/>
                  </a:lnTo>
                  <a:lnTo>
                    <a:pt x="1375" y="2881"/>
                  </a:lnTo>
                  <a:lnTo>
                    <a:pt x="1396" y="2862"/>
                  </a:lnTo>
                  <a:lnTo>
                    <a:pt x="1416" y="2841"/>
                  </a:lnTo>
                  <a:lnTo>
                    <a:pt x="1436" y="2820"/>
                  </a:lnTo>
                  <a:lnTo>
                    <a:pt x="1454" y="2797"/>
                  </a:lnTo>
                  <a:lnTo>
                    <a:pt x="1472" y="2772"/>
                  </a:lnTo>
                  <a:lnTo>
                    <a:pt x="1489" y="2747"/>
                  </a:lnTo>
                  <a:lnTo>
                    <a:pt x="1507" y="2722"/>
                  </a:lnTo>
                  <a:lnTo>
                    <a:pt x="1523" y="2695"/>
                  </a:lnTo>
                  <a:lnTo>
                    <a:pt x="1538" y="2667"/>
                  </a:lnTo>
                  <a:lnTo>
                    <a:pt x="1554" y="2639"/>
                  </a:lnTo>
                  <a:lnTo>
                    <a:pt x="1568" y="2610"/>
                  </a:lnTo>
                  <a:lnTo>
                    <a:pt x="1582" y="2580"/>
                  </a:lnTo>
                  <a:lnTo>
                    <a:pt x="1596" y="2549"/>
                  </a:lnTo>
                  <a:lnTo>
                    <a:pt x="1610" y="2517"/>
                  </a:lnTo>
                  <a:lnTo>
                    <a:pt x="1623" y="2484"/>
                  </a:lnTo>
                  <a:lnTo>
                    <a:pt x="1649" y="2418"/>
                  </a:lnTo>
                  <a:lnTo>
                    <a:pt x="1675" y="2350"/>
                  </a:lnTo>
                  <a:lnTo>
                    <a:pt x="1708" y="2263"/>
                  </a:lnTo>
                  <a:lnTo>
                    <a:pt x="1739" y="2173"/>
                  </a:lnTo>
                  <a:lnTo>
                    <a:pt x="1769" y="2082"/>
                  </a:lnTo>
                  <a:lnTo>
                    <a:pt x="1799" y="1990"/>
                  </a:lnTo>
                  <a:lnTo>
                    <a:pt x="1828" y="1896"/>
                  </a:lnTo>
                  <a:lnTo>
                    <a:pt x="1856" y="1803"/>
                  </a:lnTo>
                  <a:lnTo>
                    <a:pt x="1883" y="1711"/>
                  </a:lnTo>
                  <a:lnTo>
                    <a:pt x="1907" y="1620"/>
                  </a:lnTo>
                  <a:lnTo>
                    <a:pt x="1929" y="1531"/>
                  </a:lnTo>
                  <a:lnTo>
                    <a:pt x="1949" y="1444"/>
                  </a:lnTo>
                  <a:lnTo>
                    <a:pt x="1967" y="1359"/>
                  </a:lnTo>
                  <a:lnTo>
                    <a:pt x="1982" y="1279"/>
                  </a:lnTo>
                  <a:lnTo>
                    <a:pt x="1988" y="1240"/>
                  </a:lnTo>
                  <a:lnTo>
                    <a:pt x="1994" y="1203"/>
                  </a:lnTo>
                  <a:lnTo>
                    <a:pt x="1998" y="1167"/>
                  </a:lnTo>
                  <a:lnTo>
                    <a:pt x="2003" y="1132"/>
                  </a:lnTo>
                  <a:lnTo>
                    <a:pt x="2006" y="1097"/>
                  </a:lnTo>
                  <a:lnTo>
                    <a:pt x="2008" y="1064"/>
                  </a:lnTo>
                  <a:lnTo>
                    <a:pt x="2009" y="1033"/>
                  </a:lnTo>
                  <a:lnTo>
                    <a:pt x="2010" y="1004"/>
                  </a:lnTo>
                  <a:lnTo>
                    <a:pt x="2009" y="953"/>
                  </a:lnTo>
                  <a:lnTo>
                    <a:pt x="2005" y="902"/>
                  </a:lnTo>
                  <a:lnTo>
                    <a:pt x="1998" y="852"/>
                  </a:lnTo>
                  <a:lnTo>
                    <a:pt x="1990" y="802"/>
                  </a:lnTo>
                  <a:lnTo>
                    <a:pt x="1978" y="753"/>
                  </a:lnTo>
                  <a:lnTo>
                    <a:pt x="1965" y="706"/>
                  </a:lnTo>
                  <a:lnTo>
                    <a:pt x="1949" y="659"/>
                  </a:lnTo>
                  <a:lnTo>
                    <a:pt x="1931" y="614"/>
                  </a:lnTo>
                  <a:lnTo>
                    <a:pt x="1911" y="569"/>
                  </a:lnTo>
                  <a:lnTo>
                    <a:pt x="1889" y="526"/>
                  </a:lnTo>
                  <a:lnTo>
                    <a:pt x="1864" y="484"/>
                  </a:lnTo>
                  <a:lnTo>
                    <a:pt x="1838" y="443"/>
                  </a:lnTo>
                  <a:lnTo>
                    <a:pt x="1810" y="404"/>
                  </a:lnTo>
                  <a:lnTo>
                    <a:pt x="1780" y="366"/>
                  </a:lnTo>
                  <a:lnTo>
                    <a:pt x="1749" y="330"/>
                  </a:lnTo>
                  <a:lnTo>
                    <a:pt x="1716" y="294"/>
                  </a:lnTo>
                  <a:lnTo>
                    <a:pt x="1680" y="261"/>
                  </a:lnTo>
                  <a:lnTo>
                    <a:pt x="1644" y="229"/>
                  </a:lnTo>
                  <a:lnTo>
                    <a:pt x="1606" y="200"/>
                  </a:lnTo>
                  <a:lnTo>
                    <a:pt x="1567" y="172"/>
                  </a:lnTo>
                  <a:lnTo>
                    <a:pt x="1526" y="146"/>
                  </a:lnTo>
                  <a:lnTo>
                    <a:pt x="1484" y="122"/>
                  </a:lnTo>
                  <a:lnTo>
                    <a:pt x="1440" y="100"/>
                  </a:lnTo>
                  <a:lnTo>
                    <a:pt x="1396" y="80"/>
                  </a:lnTo>
                  <a:lnTo>
                    <a:pt x="1351" y="62"/>
                  </a:lnTo>
                  <a:lnTo>
                    <a:pt x="1304" y="46"/>
                  </a:lnTo>
                  <a:lnTo>
                    <a:pt x="1256" y="33"/>
                  </a:lnTo>
                  <a:lnTo>
                    <a:pt x="1207" y="21"/>
                  </a:lnTo>
                  <a:lnTo>
                    <a:pt x="1158" y="11"/>
                  </a:lnTo>
                  <a:lnTo>
                    <a:pt x="1108" y="5"/>
                  </a:lnTo>
                  <a:lnTo>
                    <a:pt x="1056" y="1"/>
                  </a:lnTo>
                  <a:lnTo>
                    <a:pt x="10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76" name="iš1ïḍé">
              <a:extLst>
                <a:ext uri="{FF2B5EF4-FFF2-40B4-BE49-F238E27FC236}">
                  <a16:creationId xmlns:a16="http://schemas.microsoft.com/office/drawing/2014/main" id="{DC52BDE0-DF1E-4D29-966D-1ED16F14DB4D}"/>
                </a:ext>
              </a:extLst>
            </p:cNvPr>
            <p:cNvSpPr/>
            <p:nvPr/>
          </p:nvSpPr>
          <p:spPr bwMode="auto">
            <a:xfrm>
              <a:off x="10388558" y="337956"/>
              <a:ext cx="231062" cy="231062"/>
            </a:xfrm>
            <a:custGeom>
              <a:avLst/>
              <a:gdLst>
                <a:gd name="T0" fmla="*/ 15044 w 16095"/>
                <a:gd name="T1" fmla="*/ 14382 h 16095"/>
                <a:gd name="T2" fmla="*/ 14889 w 16095"/>
                <a:gd name="T3" fmla="*/ 14685 h 16095"/>
                <a:gd name="T4" fmla="*/ 14645 w 16095"/>
                <a:gd name="T5" fmla="*/ 14917 h 16095"/>
                <a:gd name="T6" fmla="*/ 14335 w 16095"/>
                <a:gd name="T7" fmla="*/ 15057 h 16095"/>
                <a:gd name="T8" fmla="*/ 1961 w 16095"/>
                <a:gd name="T9" fmla="*/ 15088 h 16095"/>
                <a:gd name="T10" fmla="*/ 1621 w 16095"/>
                <a:gd name="T11" fmla="*/ 15010 h 16095"/>
                <a:gd name="T12" fmla="*/ 1336 w 16095"/>
                <a:gd name="T13" fmla="*/ 14828 h 16095"/>
                <a:gd name="T14" fmla="*/ 1128 w 16095"/>
                <a:gd name="T15" fmla="*/ 14562 h 16095"/>
                <a:gd name="T16" fmla="*/ 1017 w 16095"/>
                <a:gd name="T17" fmla="*/ 14236 h 16095"/>
                <a:gd name="T18" fmla="*/ 1012 w 16095"/>
                <a:gd name="T19" fmla="*/ 3947 h 16095"/>
                <a:gd name="T20" fmla="*/ 1066 w 16095"/>
                <a:gd name="T21" fmla="*/ 3784 h 16095"/>
                <a:gd name="T22" fmla="*/ 1171 w 16095"/>
                <a:gd name="T23" fmla="*/ 3652 h 16095"/>
                <a:gd name="T24" fmla="*/ 1313 w 16095"/>
                <a:gd name="T25" fmla="*/ 3560 h 16095"/>
                <a:gd name="T26" fmla="*/ 1483 w 16095"/>
                <a:gd name="T27" fmla="*/ 3522 h 16095"/>
                <a:gd name="T28" fmla="*/ 2022 w 16095"/>
                <a:gd name="T29" fmla="*/ 13682 h 16095"/>
                <a:gd name="T30" fmla="*/ 2084 w 16095"/>
                <a:gd name="T31" fmla="*/ 13841 h 16095"/>
                <a:gd name="T32" fmla="*/ 2195 w 16095"/>
                <a:gd name="T33" fmla="*/ 13968 h 16095"/>
                <a:gd name="T34" fmla="*/ 2342 w 16095"/>
                <a:gd name="T35" fmla="*/ 14053 h 16095"/>
                <a:gd name="T36" fmla="*/ 2515 w 16095"/>
                <a:gd name="T37" fmla="*/ 14083 h 16095"/>
                <a:gd name="T38" fmla="*/ 2688 w 16095"/>
                <a:gd name="T39" fmla="*/ 14053 h 16095"/>
                <a:gd name="T40" fmla="*/ 2835 w 16095"/>
                <a:gd name="T41" fmla="*/ 13968 h 16095"/>
                <a:gd name="T42" fmla="*/ 2945 w 16095"/>
                <a:gd name="T43" fmla="*/ 13841 h 16095"/>
                <a:gd name="T44" fmla="*/ 3008 w 16095"/>
                <a:gd name="T45" fmla="*/ 13682 h 16095"/>
                <a:gd name="T46" fmla="*/ 3021 w 16095"/>
                <a:gd name="T47" fmla="*/ 1458 h 16095"/>
                <a:gd name="T48" fmla="*/ 3067 w 16095"/>
                <a:gd name="T49" fmla="*/ 1291 h 16095"/>
                <a:gd name="T50" fmla="*/ 3166 w 16095"/>
                <a:gd name="T51" fmla="*/ 1154 h 16095"/>
                <a:gd name="T52" fmla="*/ 3302 w 16095"/>
                <a:gd name="T53" fmla="*/ 1055 h 16095"/>
                <a:gd name="T54" fmla="*/ 3469 w 16095"/>
                <a:gd name="T55" fmla="*/ 1009 h 16095"/>
                <a:gd name="T56" fmla="*/ 14688 w 16095"/>
                <a:gd name="T57" fmla="*/ 1016 h 16095"/>
                <a:gd name="T58" fmla="*/ 14847 w 16095"/>
                <a:gd name="T59" fmla="*/ 1079 h 16095"/>
                <a:gd name="T60" fmla="*/ 14974 w 16095"/>
                <a:gd name="T61" fmla="*/ 1189 h 16095"/>
                <a:gd name="T62" fmla="*/ 15059 w 16095"/>
                <a:gd name="T63" fmla="*/ 1336 h 16095"/>
                <a:gd name="T64" fmla="*/ 15089 w 16095"/>
                <a:gd name="T65" fmla="*/ 1509 h 16095"/>
                <a:gd name="T66" fmla="*/ 3217 w 16095"/>
                <a:gd name="T67" fmla="*/ 30 h 16095"/>
                <a:gd name="T68" fmla="*/ 2738 w 16095"/>
                <a:gd name="T69" fmla="*/ 218 h 16095"/>
                <a:gd name="T70" fmla="*/ 2356 w 16095"/>
                <a:gd name="T71" fmla="*/ 549 h 16095"/>
                <a:gd name="T72" fmla="*/ 2103 w 16095"/>
                <a:gd name="T73" fmla="*/ 990 h 16095"/>
                <a:gd name="T74" fmla="*/ 2012 w 16095"/>
                <a:gd name="T75" fmla="*/ 1509 h 16095"/>
                <a:gd name="T76" fmla="*/ 1132 w 16095"/>
                <a:gd name="T77" fmla="*/ 2562 h 16095"/>
                <a:gd name="T78" fmla="*/ 665 w 16095"/>
                <a:gd name="T79" fmla="*/ 2772 h 16095"/>
                <a:gd name="T80" fmla="*/ 300 w 16095"/>
                <a:gd name="T81" fmla="*/ 3120 h 16095"/>
                <a:gd name="T82" fmla="*/ 67 w 16095"/>
                <a:gd name="T83" fmla="*/ 3575 h 16095"/>
                <a:gd name="T84" fmla="*/ 0 w 16095"/>
                <a:gd name="T85" fmla="*/ 14083 h 16095"/>
                <a:gd name="T86" fmla="*/ 122 w 16095"/>
                <a:gd name="T87" fmla="*/ 14775 h 16095"/>
                <a:gd name="T88" fmla="*/ 460 w 16095"/>
                <a:gd name="T89" fmla="*/ 15363 h 16095"/>
                <a:gd name="T90" fmla="*/ 969 w 16095"/>
                <a:gd name="T91" fmla="*/ 15803 h 16095"/>
                <a:gd name="T92" fmla="*/ 1606 w 16095"/>
                <a:gd name="T93" fmla="*/ 16054 h 16095"/>
                <a:gd name="T94" fmla="*/ 14289 w 16095"/>
                <a:gd name="T95" fmla="*/ 16085 h 16095"/>
                <a:gd name="T96" fmla="*/ 14955 w 16095"/>
                <a:gd name="T97" fmla="*/ 15897 h 16095"/>
                <a:gd name="T98" fmla="*/ 15506 w 16095"/>
                <a:gd name="T99" fmla="*/ 15506 h 16095"/>
                <a:gd name="T100" fmla="*/ 15897 w 16095"/>
                <a:gd name="T101" fmla="*/ 14955 h 16095"/>
                <a:gd name="T102" fmla="*/ 16085 w 16095"/>
                <a:gd name="T103" fmla="*/ 14289 h 16095"/>
                <a:gd name="T104" fmla="*/ 16065 w 16095"/>
                <a:gd name="T105" fmla="*/ 1204 h 16095"/>
                <a:gd name="T106" fmla="*/ 15877 w 16095"/>
                <a:gd name="T107" fmla="*/ 726 h 16095"/>
                <a:gd name="T108" fmla="*/ 15546 w 16095"/>
                <a:gd name="T109" fmla="*/ 344 h 16095"/>
                <a:gd name="T110" fmla="*/ 15105 w 16095"/>
                <a:gd name="T111" fmla="*/ 92 h 16095"/>
                <a:gd name="T112" fmla="*/ 14586 w 16095"/>
                <a:gd name="T113" fmla="*/ 0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6095">
                  <a:moveTo>
                    <a:pt x="15089" y="14083"/>
                  </a:moveTo>
                  <a:lnTo>
                    <a:pt x="15088" y="14134"/>
                  </a:lnTo>
                  <a:lnTo>
                    <a:pt x="15084" y="14186"/>
                  </a:lnTo>
                  <a:lnTo>
                    <a:pt x="15077" y="14236"/>
                  </a:lnTo>
                  <a:lnTo>
                    <a:pt x="15069" y="14285"/>
                  </a:lnTo>
                  <a:lnTo>
                    <a:pt x="15057" y="14334"/>
                  </a:lnTo>
                  <a:lnTo>
                    <a:pt x="15044" y="14382"/>
                  </a:lnTo>
                  <a:lnTo>
                    <a:pt x="15028" y="14428"/>
                  </a:lnTo>
                  <a:lnTo>
                    <a:pt x="15010" y="14474"/>
                  </a:lnTo>
                  <a:lnTo>
                    <a:pt x="14989" y="14519"/>
                  </a:lnTo>
                  <a:lnTo>
                    <a:pt x="14967" y="14562"/>
                  </a:lnTo>
                  <a:lnTo>
                    <a:pt x="14943" y="14604"/>
                  </a:lnTo>
                  <a:lnTo>
                    <a:pt x="14917" y="14645"/>
                  </a:lnTo>
                  <a:lnTo>
                    <a:pt x="14889" y="14685"/>
                  </a:lnTo>
                  <a:lnTo>
                    <a:pt x="14859" y="14723"/>
                  </a:lnTo>
                  <a:lnTo>
                    <a:pt x="14828" y="14759"/>
                  </a:lnTo>
                  <a:lnTo>
                    <a:pt x="14794" y="14794"/>
                  </a:lnTo>
                  <a:lnTo>
                    <a:pt x="14759" y="14828"/>
                  </a:lnTo>
                  <a:lnTo>
                    <a:pt x="14723" y="14859"/>
                  </a:lnTo>
                  <a:lnTo>
                    <a:pt x="14685" y="14889"/>
                  </a:lnTo>
                  <a:lnTo>
                    <a:pt x="14645" y="14917"/>
                  </a:lnTo>
                  <a:lnTo>
                    <a:pt x="14604" y="14943"/>
                  </a:lnTo>
                  <a:lnTo>
                    <a:pt x="14562" y="14967"/>
                  </a:lnTo>
                  <a:lnTo>
                    <a:pt x="14519" y="14989"/>
                  </a:lnTo>
                  <a:lnTo>
                    <a:pt x="14474" y="15010"/>
                  </a:lnTo>
                  <a:lnTo>
                    <a:pt x="14429" y="15028"/>
                  </a:lnTo>
                  <a:lnTo>
                    <a:pt x="14382" y="15044"/>
                  </a:lnTo>
                  <a:lnTo>
                    <a:pt x="14335" y="15057"/>
                  </a:lnTo>
                  <a:lnTo>
                    <a:pt x="14285" y="15069"/>
                  </a:lnTo>
                  <a:lnTo>
                    <a:pt x="14236" y="15077"/>
                  </a:lnTo>
                  <a:lnTo>
                    <a:pt x="14186" y="15084"/>
                  </a:lnTo>
                  <a:lnTo>
                    <a:pt x="14134" y="15088"/>
                  </a:lnTo>
                  <a:lnTo>
                    <a:pt x="14083" y="15089"/>
                  </a:lnTo>
                  <a:lnTo>
                    <a:pt x="2012" y="15089"/>
                  </a:lnTo>
                  <a:lnTo>
                    <a:pt x="1961" y="15088"/>
                  </a:lnTo>
                  <a:lnTo>
                    <a:pt x="1909" y="15084"/>
                  </a:lnTo>
                  <a:lnTo>
                    <a:pt x="1859" y="15077"/>
                  </a:lnTo>
                  <a:lnTo>
                    <a:pt x="1810" y="15069"/>
                  </a:lnTo>
                  <a:lnTo>
                    <a:pt x="1760" y="15057"/>
                  </a:lnTo>
                  <a:lnTo>
                    <a:pt x="1713" y="15044"/>
                  </a:lnTo>
                  <a:lnTo>
                    <a:pt x="1666" y="15028"/>
                  </a:lnTo>
                  <a:lnTo>
                    <a:pt x="1621" y="15010"/>
                  </a:lnTo>
                  <a:lnTo>
                    <a:pt x="1576" y="14989"/>
                  </a:lnTo>
                  <a:lnTo>
                    <a:pt x="1533" y="14967"/>
                  </a:lnTo>
                  <a:lnTo>
                    <a:pt x="1491" y="14943"/>
                  </a:lnTo>
                  <a:lnTo>
                    <a:pt x="1450" y="14917"/>
                  </a:lnTo>
                  <a:lnTo>
                    <a:pt x="1410" y="14889"/>
                  </a:lnTo>
                  <a:lnTo>
                    <a:pt x="1372" y="14859"/>
                  </a:lnTo>
                  <a:lnTo>
                    <a:pt x="1336" y="14828"/>
                  </a:lnTo>
                  <a:lnTo>
                    <a:pt x="1301" y="14794"/>
                  </a:lnTo>
                  <a:lnTo>
                    <a:pt x="1267" y="14759"/>
                  </a:lnTo>
                  <a:lnTo>
                    <a:pt x="1236" y="14723"/>
                  </a:lnTo>
                  <a:lnTo>
                    <a:pt x="1206" y="14685"/>
                  </a:lnTo>
                  <a:lnTo>
                    <a:pt x="1178" y="14645"/>
                  </a:lnTo>
                  <a:lnTo>
                    <a:pt x="1152" y="14604"/>
                  </a:lnTo>
                  <a:lnTo>
                    <a:pt x="1128" y="14562"/>
                  </a:lnTo>
                  <a:lnTo>
                    <a:pt x="1106" y="14519"/>
                  </a:lnTo>
                  <a:lnTo>
                    <a:pt x="1085" y="14474"/>
                  </a:lnTo>
                  <a:lnTo>
                    <a:pt x="1067" y="14428"/>
                  </a:lnTo>
                  <a:lnTo>
                    <a:pt x="1051" y="14382"/>
                  </a:lnTo>
                  <a:lnTo>
                    <a:pt x="1037" y="14334"/>
                  </a:lnTo>
                  <a:lnTo>
                    <a:pt x="1026" y="14285"/>
                  </a:lnTo>
                  <a:lnTo>
                    <a:pt x="1017" y="14236"/>
                  </a:lnTo>
                  <a:lnTo>
                    <a:pt x="1011" y="14186"/>
                  </a:lnTo>
                  <a:lnTo>
                    <a:pt x="1007" y="14134"/>
                  </a:lnTo>
                  <a:lnTo>
                    <a:pt x="1006" y="14083"/>
                  </a:lnTo>
                  <a:lnTo>
                    <a:pt x="1006" y="4024"/>
                  </a:lnTo>
                  <a:lnTo>
                    <a:pt x="1007" y="3998"/>
                  </a:lnTo>
                  <a:lnTo>
                    <a:pt x="1009" y="3972"/>
                  </a:lnTo>
                  <a:lnTo>
                    <a:pt x="1012" y="3947"/>
                  </a:lnTo>
                  <a:lnTo>
                    <a:pt x="1016" y="3922"/>
                  </a:lnTo>
                  <a:lnTo>
                    <a:pt x="1022" y="3898"/>
                  </a:lnTo>
                  <a:lnTo>
                    <a:pt x="1028" y="3874"/>
                  </a:lnTo>
                  <a:lnTo>
                    <a:pt x="1036" y="3851"/>
                  </a:lnTo>
                  <a:lnTo>
                    <a:pt x="1045" y="3828"/>
                  </a:lnTo>
                  <a:lnTo>
                    <a:pt x="1055" y="3805"/>
                  </a:lnTo>
                  <a:lnTo>
                    <a:pt x="1066" y="3784"/>
                  </a:lnTo>
                  <a:lnTo>
                    <a:pt x="1078" y="3763"/>
                  </a:lnTo>
                  <a:lnTo>
                    <a:pt x="1091" y="3743"/>
                  </a:lnTo>
                  <a:lnTo>
                    <a:pt x="1106" y="3723"/>
                  </a:lnTo>
                  <a:lnTo>
                    <a:pt x="1121" y="3704"/>
                  </a:lnTo>
                  <a:lnTo>
                    <a:pt x="1137" y="3686"/>
                  </a:lnTo>
                  <a:lnTo>
                    <a:pt x="1153" y="3669"/>
                  </a:lnTo>
                  <a:lnTo>
                    <a:pt x="1171" y="3652"/>
                  </a:lnTo>
                  <a:lnTo>
                    <a:pt x="1189" y="3635"/>
                  </a:lnTo>
                  <a:lnTo>
                    <a:pt x="1208" y="3620"/>
                  </a:lnTo>
                  <a:lnTo>
                    <a:pt x="1227" y="3606"/>
                  </a:lnTo>
                  <a:lnTo>
                    <a:pt x="1248" y="3593"/>
                  </a:lnTo>
                  <a:lnTo>
                    <a:pt x="1269" y="3581"/>
                  </a:lnTo>
                  <a:lnTo>
                    <a:pt x="1291" y="3570"/>
                  </a:lnTo>
                  <a:lnTo>
                    <a:pt x="1313" y="3560"/>
                  </a:lnTo>
                  <a:lnTo>
                    <a:pt x="1336" y="3551"/>
                  </a:lnTo>
                  <a:lnTo>
                    <a:pt x="1359" y="3544"/>
                  </a:lnTo>
                  <a:lnTo>
                    <a:pt x="1383" y="3537"/>
                  </a:lnTo>
                  <a:lnTo>
                    <a:pt x="1407" y="3531"/>
                  </a:lnTo>
                  <a:lnTo>
                    <a:pt x="1432" y="3527"/>
                  </a:lnTo>
                  <a:lnTo>
                    <a:pt x="1458" y="3524"/>
                  </a:lnTo>
                  <a:lnTo>
                    <a:pt x="1483" y="3522"/>
                  </a:lnTo>
                  <a:lnTo>
                    <a:pt x="1509" y="3521"/>
                  </a:lnTo>
                  <a:lnTo>
                    <a:pt x="2012" y="3521"/>
                  </a:lnTo>
                  <a:lnTo>
                    <a:pt x="2012" y="13580"/>
                  </a:lnTo>
                  <a:lnTo>
                    <a:pt x="2013" y="13606"/>
                  </a:lnTo>
                  <a:lnTo>
                    <a:pt x="2015" y="13631"/>
                  </a:lnTo>
                  <a:lnTo>
                    <a:pt x="2018" y="13657"/>
                  </a:lnTo>
                  <a:lnTo>
                    <a:pt x="2022" y="13682"/>
                  </a:lnTo>
                  <a:lnTo>
                    <a:pt x="2028" y="13706"/>
                  </a:lnTo>
                  <a:lnTo>
                    <a:pt x="2034" y="13730"/>
                  </a:lnTo>
                  <a:lnTo>
                    <a:pt x="2042" y="13753"/>
                  </a:lnTo>
                  <a:lnTo>
                    <a:pt x="2051" y="13776"/>
                  </a:lnTo>
                  <a:lnTo>
                    <a:pt x="2061" y="13798"/>
                  </a:lnTo>
                  <a:lnTo>
                    <a:pt x="2072" y="13821"/>
                  </a:lnTo>
                  <a:lnTo>
                    <a:pt x="2084" y="13841"/>
                  </a:lnTo>
                  <a:lnTo>
                    <a:pt x="2097" y="13862"/>
                  </a:lnTo>
                  <a:lnTo>
                    <a:pt x="2111" y="13881"/>
                  </a:lnTo>
                  <a:lnTo>
                    <a:pt x="2127" y="13900"/>
                  </a:lnTo>
                  <a:lnTo>
                    <a:pt x="2143" y="13918"/>
                  </a:lnTo>
                  <a:lnTo>
                    <a:pt x="2159" y="13936"/>
                  </a:lnTo>
                  <a:lnTo>
                    <a:pt x="2177" y="13952"/>
                  </a:lnTo>
                  <a:lnTo>
                    <a:pt x="2195" y="13968"/>
                  </a:lnTo>
                  <a:lnTo>
                    <a:pt x="2214" y="13984"/>
                  </a:lnTo>
                  <a:lnTo>
                    <a:pt x="2233" y="13998"/>
                  </a:lnTo>
                  <a:lnTo>
                    <a:pt x="2254" y="14011"/>
                  </a:lnTo>
                  <a:lnTo>
                    <a:pt x="2275" y="14023"/>
                  </a:lnTo>
                  <a:lnTo>
                    <a:pt x="2297" y="14034"/>
                  </a:lnTo>
                  <a:lnTo>
                    <a:pt x="2319" y="14044"/>
                  </a:lnTo>
                  <a:lnTo>
                    <a:pt x="2342" y="14053"/>
                  </a:lnTo>
                  <a:lnTo>
                    <a:pt x="2365" y="14061"/>
                  </a:lnTo>
                  <a:lnTo>
                    <a:pt x="2389" y="14067"/>
                  </a:lnTo>
                  <a:lnTo>
                    <a:pt x="2413" y="14073"/>
                  </a:lnTo>
                  <a:lnTo>
                    <a:pt x="2438" y="14077"/>
                  </a:lnTo>
                  <a:lnTo>
                    <a:pt x="2464" y="14080"/>
                  </a:lnTo>
                  <a:lnTo>
                    <a:pt x="2489" y="14082"/>
                  </a:lnTo>
                  <a:lnTo>
                    <a:pt x="2515" y="14083"/>
                  </a:lnTo>
                  <a:lnTo>
                    <a:pt x="2541" y="14082"/>
                  </a:lnTo>
                  <a:lnTo>
                    <a:pt x="2566" y="14080"/>
                  </a:lnTo>
                  <a:lnTo>
                    <a:pt x="2591" y="14077"/>
                  </a:lnTo>
                  <a:lnTo>
                    <a:pt x="2616" y="14073"/>
                  </a:lnTo>
                  <a:lnTo>
                    <a:pt x="2641" y="14067"/>
                  </a:lnTo>
                  <a:lnTo>
                    <a:pt x="2665" y="14061"/>
                  </a:lnTo>
                  <a:lnTo>
                    <a:pt x="2688" y="14053"/>
                  </a:lnTo>
                  <a:lnTo>
                    <a:pt x="2711" y="14044"/>
                  </a:lnTo>
                  <a:lnTo>
                    <a:pt x="2733" y="14034"/>
                  </a:lnTo>
                  <a:lnTo>
                    <a:pt x="2755" y="14023"/>
                  </a:lnTo>
                  <a:lnTo>
                    <a:pt x="2775" y="14011"/>
                  </a:lnTo>
                  <a:lnTo>
                    <a:pt x="2797" y="13998"/>
                  </a:lnTo>
                  <a:lnTo>
                    <a:pt x="2816" y="13984"/>
                  </a:lnTo>
                  <a:lnTo>
                    <a:pt x="2835" y="13968"/>
                  </a:lnTo>
                  <a:lnTo>
                    <a:pt x="2853" y="13952"/>
                  </a:lnTo>
                  <a:lnTo>
                    <a:pt x="2871" y="13936"/>
                  </a:lnTo>
                  <a:lnTo>
                    <a:pt x="2887" y="13918"/>
                  </a:lnTo>
                  <a:lnTo>
                    <a:pt x="2903" y="13900"/>
                  </a:lnTo>
                  <a:lnTo>
                    <a:pt x="2918" y="13881"/>
                  </a:lnTo>
                  <a:lnTo>
                    <a:pt x="2932" y="13862"/>
                  </a:lnTo>
                  <a:lnTo>
                    <a:pt x="2945" y="13841"/>
                  </a:lnTo>
                  <a:lnTo>
                    <a:pt x="2957" y="13821"/>
                  </a:lnTo>
                  <a:lnTo>
                    <a:pt x="2969" y="13798"/>
                  </a:lnTo>
                  <a:lnTo>
                    <a:pt x="2979" y="13776"/>
                  </a:lnTo>
                  <a:lnTo>
                    <a:pt x="2988" y="13753"/>
                  </a:lnTo>
                  <a:lnTo>
                    <a:pt x="2996" y="13730"/>
                  </a:lnTo>
                  <a:lnTo>
                    <a:pt x="3002" y="13706"/>
                  </a:lnTo>
                  <a:lnTo>
                    <a:pt x="3008" y="13682"/>
                  </a:lnTo>
                  <a:lnTo>
                    <a:pt x="3012" y="13657"/>
                  </a:lnTo>
                  <a:lnTo>
                    <a:pt x="3015" y="13631"/>
                  </a:lnTo>
                  <a:lnTo>
                    <a:pt x="3017" y="13606"/>
                  </a:lnTo>
                  <a:lnTo>
                    <a:pt x="3018" y="13580"/>
                  </a:lnTo>
                  <a:lnTo>
                    <a:pt x="3018" y="1509"/>
                  </a:lnTo>
                  <a:lnTo>
                    <a:pt x="3019" y="1483"/>
                  </a:lnTo>
                  <a:lnTo>
                    <a:pt x="3021" y="1458"/>
                  </a:lnTo>
                  <a:lnTo>
                    <a:pt x="3024" y="1432"/>
                  </a:lnTo>
                  <a:lnTo>
                    <a:pt x="3028" y="1407"/>
                  </a:lnTo>
                  <a:lnTo>
                    <a:pt x="3034" y="1383"/>
                  </a:lnTo>
                  <a:lnTo>
                    <a:pt x="3041" y="1359"/>
                  </a:lnTo>
                  <a:lnTo>
                    <a:pt x="3048" y="1336"/>
                  </a:lnTo>
                  <a:lnTo>
                    <a:pt x="3057" y="1313"/>
                  </a:lnTo>
                  <a:lnTo>
                    <a:pt x="3067" y="1291"/>
                  </a:lnTo>
                  <a:lnTo>
                    <a:pt x="3078" y="1269"/>
                  </a:lnTo>
                  <a:lnTo>
                    <a:pt x="3090" y="1248"/>
                  </a:lnTo>
                  <a:lnTo>
                    <a:pt x="3103" y="1227"/>
                  </a:lnTo>
                  <a:lnTo>
                    <a:pt x="3117" y="1208"/>
                  </a:lnTo>
                  <a:lnTo>
                    <a:pt x="3132" y="1189"/>
                  </a:lnTo>
                  <a:lnTo>
                    <a:pt x="3149" y="1171"/>
                  </a:lnTo>
                  <a:lnTo>
                    <a:pt x="3166" y="1154"/>
                  </a:lnTo>
                  <a:lnTo>
                    <a:pt x="3183" y="1137"/>
                  </a:lnTo>
                  <a:lnTo>
                    <a:pt x="3201" y="1121"/>
                  </a:lnTo>
                  <a:lnTo>
                    <a:pt x="3220" y="1106"/>
                  </a:lnTo>
                  <a:lnTo>
                    <a:pt x="3240" y="1092"/>
                  </a:lnTo>
                  <a:lnTo>
                    <a:pt x="3260" y="1079"/>
                  </a:lnTo>
                  <a:lnTo>
                    <a:pt x="3281" y="1066"/>
                  </a:lnTo>
                  <a:lnTo>
                    <a:pt x="3302" y="1055"/>
                  </a:lnTo>
                  <a:lnTo>
                    <a:pt x="3325" y="1045"/>
                  </a:lnTo>
                  <a:lnTo>
                    <a:pt x="3348" y="1036"/>
                  </a:lnTo>
                  <a:lnTo>
                    <a:pt x="3371" y="1029"/>
                  </a:lnTo>
                  <a:lnTo>
                    <a:pt x="3395" y="1022"/>
                  </a:lnTo>
                  <a:lnTo>
                    <a:pt x="3419" y="1016"/>
                  </a:lnTo>
                  <a:lnTo>
                    <a:pt x="3444" y="1012"/>
                  </a:lnTo>
                  <a:lnTo>
                    <a:pt x="3469" y="1009"/>
                  </a:lnTo>
                  <a:lnTo>
                    <a:pt x="3495" y="1007"/>
                  </a:lnTo>
                  <a:lnTo>
                    <a:pt x="3521" y="1006"/>
                  </a:lnTo>
                  <a:lnTo>
                    <a:pt x="14586" y="1006"/>
                  </a:lnTo>
                  <a:lnTo>
                    <a:pt x="14612" y="1007"/>
                  </a:lnTo>
                  <a:lnTo>
                    <a:pt x="14637" y="1009"/>
                  </a:lnTo>
                  <a:lnTo>
                    <a:pt x="14663" y="1012"/>
                  </a:lnTo>
                  <a:lnTo>
                    <a:pt x="14688" y="1016"/>
                  </a:lnTo>
                  <a:lnTo>
                    <a:pt x="14712" y="1022"/>
                  </a:lnTo>
                  <a:lnTo>
                    <a:pt x="14736" y="1029"/>
                  </a:lnTo>
                  <a:lnTo>
                    <a:pt x="14759" y="1036"/>
                  </a:lnTo>
                  <a:lnTo>
                    <a:pt x="14782" y="1045"/>
                  </a:lnTo>
                  <a:lnTo>
                    <a:pt x="14804" y="1055"/>
                  </a:lnTo>
                  <a:lnTo>
                    <a:pt x="14826" y="1066"/>
                  </a:lnTo>
                  <a:lnTo>
                    <a:pt x="14847" y="1079"/>
                  </a:lnTo>
                  <a:lnTo>
                    <a:pt x="14867" y="1092"/>
                  </a:lnTo>
                  <a:lnTo>
                    <a:pt x="14887" y="1106"/>
                  </a:lnTo>
                  <a:lnTo>
                    <a:pt x="14906" y="1121"/>
                  </a:lnTo>
                  <a:lnTo>
                    <a:pt x="14924" y="1137"/>
                  </a:lnTo>
                  <a:lnTo>
                    <a:pt x="14942" y="1154"/>
                  </a:lnTo>
                  <a:lnTo>
                    <a:pt x="14958" y="1171"/>
                  </a:lnTo>
                  <a:lnTo>
                    <a:pt x="14974" y="1189"/>
                  </a:lnTo>
                  <a:lnTo>
                    <a:pt x="14989" y="1208"/>
                  </a:lnTo>
                  <a:lnTo>
                    <a:pt x="15004" y="1227"/>
                  </a:lnTo>
                  <a:lnTo>
                    <a:pt x="15017" y="1248"/>
                  </a:lnTo>
                  <a:lnTo>
                    <a:pt x="15029" y="1269"/>
                  </a:lnTo>
                  <a:lnTo>
                    <a:pt x="15040" y="1291"/>
                  </a:lnTo>
                  <a:lnTo>
                    <a:pt x="15050" y="1313"/>
                  </a:lnTo>
                  <a:lnTo>
                    <a:pt x="15059" y="1336"/>
                  </a:lnTo>
                  <a:lnTo>
                    <a:pt x="15066" y="1359"/>
                  </a:lnTo>
                  <a:lnTo>
                    <a:pt x="15073" y="1383"/>
                  </a:lnTo>
                  <a:lnTo>
                    <a:pt x="15079" y="1407"/>
                  </a:lnTo>
                  <a:lnTo>
                    <a:pt x="15083" y="1432"/>
                  </a:lnTo>
                  <a:lnTo>
                    <a:pt x="15086" y="1458"/>
                  </a:lnTo>
                  <a:lnTo>
                    <a:pt x="15088" y="1483"/>
                  </a:lnTo>
                  <a:lnTo>
                    <a:pt x="15089" y="1509"/>
                  </a:lnTo>
                  <a:lnTo>
                    <a:pt x="15089" y="14083"/>
                  </a:lnTo>
                  <a:close/>
                  <a:moveTo>
                    <a:pt x="14586" y="0"/>
                  </a:moveTo>
                  <a:lnTo>
                    <a:pt x="3521" y="0"/>
                  </a:lnTo>
                  <a:lnTo>
                    <a:pt x="3443" y="2"/>
                  </a:lnTo>
                  <a:lnTo>
                    <a:pt x="3367" y="8"/>
                  </a:lnTo>
                  <a:lnTo>
                    <a:pt x="3291" y="17"/>
                  </a:lnTo>
                  <a:lnTo>
                    <a:pt x="3217" y="30"/>
                  </a:lnTo>
                  <a:lnTo>
                    <a:pt x="3144" y="47"/>
                  </a:lnTo>
                  <a:lnTo>
                    <a:pt x="3072" y="67"/>
                  </a:lnTo>
                  <a:lnTo>
                    <a:pt x="3002" y="92"/>
                  </a:lnTo>
                  <a:lnTo>
                    <a:pt x="2933" y="119"/>
                  </a:lnTo>
                  <a:lnTo>
                    <a:pt x="2867" y="149"/>
                  </a:lnTo>
                  <a:lnTo>
                    <a:pt x="2802" y="182"/>
                  </a:lnTo>
                  <a:lnTo>
                    <a:pt x="2738" y="218"/>
                  </a:lnTo>
                  <a:lnTo>
                    <a:pt x="2677" y="258"/>
                  </a:lnTo>
                  <a:lnTo>
                    <a:pt x="2617" y="300"/>
                  </a:lnTo>
                  <a:lnTo>
                    <a:pt x="2561" y="344"/>
                  </a:lnTo>
                  <a:lnTo>
                    <a:pt x="2506" y="391"/>
                  </a:lnTo>
                  <a:lnTo>
                    <a:pt x="2453" y="442"/>
                  </a:lnTo>
                  <a:lnTo>
                    <a:pt x="2404" y="494"/>
                  </a:lnTo>
                  <a:lnTo>
                    <a:pt x="2356" y="549"/>
                  </a:lnTo>
                  <a:lnTo>
                    <a:pt x="2312" y="606"/>
                  </a:lnTo>
                  <a:lnTo>
                    <a:pt x="2269" y="665"/>
                  </a:lnTo>
                  <a:lnTo>
                    <a:pt x="2230" y="726"/>
                  </a:lnTo>
                  <a:lnTo>
                    <a:pt x="2194" y="790"/>
                  </a:lnTo>
                  <a:lnTo>
                    <a:pt x="2161" y="854"/>
                  </a:lnTo>
                  <a:lnTo>
                    <a:pt x="2131" y="921"/>
                  </a:lnTo>
                  <a:lnTo>
                    <a:pt x="2103" y="990"/>
                  </a:lnTo>
                  <a:lnTo>
                    <a:pt x="2079" y="1060"/>
                  </a:lnTo>
                  <a:lnTo>
                    <a:pt x="2059" y="1132"/>
                  </a:lnTo>
                  <a:lnTo>
                    <a:pt x="2042" y="1204"/>
                  </a:lnTo>
                  <a:lnTo>
                    <a:pt x="2029" y="1279"/>
                  </a:lnTo>
                  <a:lnTo>
                    <a:pt x="2020" y="1354"/>
                  </a:lnTo>
                  <a:lnTo>
                    <a:pt x="2014" y="1431"/>
                  </a:lnTo>
                  <a:lnTo>
                    <a:pt x="2012" y="1509"/>
                  </a:lnTo>
                  <a:lnTo>
                    <a:pt x="2012" y="2515"/>
                  </a:lnTo>
                  <a:lnTo>
                    <a:pt x="1509" y="2515"/>
                  </a:lnTo>
                  <a:lnTo>
                    <a:pt x="1431" y="2517"/>
                  </a:lnTo>
                  <a:lnTo>
                    <a:pt x="1355" y="2523"/>
                  </a:lnTo>
                  <a:lnTo>
                    <a:pt x="1280" y="2532"/>
                  </a:lnTo>
                  <a:lnTo>
                    <a:pt x="1205" y="2545"/>
                  </a:lnTo>
                  <a:lnTo>
                    <a:pt x="1132" y="2562"/>
                  </a:lnTo>
                  <a:lnTo>
                    <a:pt x="1060" y="2582"/>
                  </a:lnTo>
                  <a:lnTo>
                    <a:pt x="990" y="2606"/>
                  </a:lnTo>
                  <a:lnTo>
                    <a:pt x="921" y="2634"/>
                  </a:lnTo>
                  <a:lnTo>
                    <a:pt x="855" y="2664"/>
                  </a:lnTo>
                  <a:lnTo>
                    <a:pt x="790" y="2697"/>
                  </a:lnTo>
                  <a:lnTo>
                    <a:pt x="726" y="2733"/>
                  </a:lnTo>
                  <a:lnTo>
                    <a:pt x="665" y="2772"/>
                  </a:lnTo>
                  <a:lnTo>
                    <a:pt x="607" y="2815"/>
                  </a:lnTo>
                  <a:lnTo>
                    <a:pt x="549" y="2859"/>
                  </a:lnTo>
                  <a:lnTo>
                    <a:pt x="494" y="2907"/>
                  </a:lnTo>
                  <a:lnTo>
                    <a:pt x="442" y="2956"/>
                  </a:lnTo>
                  <a:lnTo>
                    <a:pt x="392" y="3009"/>
                  </a:lnTo>
                  <a:lnTo>
                    <a:pt x="345" y="3064"/>
                  </a:lnTo>
                  <a:lnTo>
                    <a:pt x="300" y="3120"/>
                  </a:lnTo>
                  <a:lnTo>
                    <a:pt x="258" y="3180"/>
                  </a:lnTo>
                  <a:lnTo>
                    <a:pt x="218" y="3241"/>
                  </a:lnTo>
                  <a:lnTo>
                    <a:pt x="182" y="3305"/>
                  </a:lnTo>
                  <a:lnTo>
                    <a:pt x="149" y="3369"/>
                  </a:lnTo>
                  <a:lnTo>
                    <a:pt x="119" y="3436"/>
                  </a:lnTo>
                  <a:lnTo>
                    <a:pt x="92" y="3505"/>
                  </a:lnTo>
                  <a:lnTo>
                    <a:pt x="67" y="3575"/>
                  </a:lnTo>
                  <a:lnTo>
                    <a:pt x="47" y="3647"/>
                  </a:lnTo>
                  <a:lnTo>
                    <a:pt x="30" y="3720"/>
                  </a:lnTo>
                  <a:lnTo>
                    <a:pt x="17" y="3793"/>
                  </a:lnTo>
                  <a:lnTo>
                    <a:pt x="8" y="3869"/>
                  </a:lnTo>
                  <a:lnTo>
                    <a:pt x="2" y="3946"/>
                  </a:lnTo>
                  <a:lnTo>
                    <a:pt x="0" y="4024"/>
                  </a:lnTo>
                  <a:lnTo>
                    <a:pt x="0" y="14083"/>
                  </a:lnTo>
                  <a:lnTo>
                    <a:pt x="3" y="14187"/>
                  </a:lnTo>
                  <a:lnTo>
                    <a:pt x="10" y="14289"/>
                  </a:lnTo>
                  <a:lnTo>
                    <a:pt x="23" y="14390"/>
                  </a:lnTo>
                  <a:lnTo>
                    <a:pt x="41" y="14489"/>
                  </a:lnTo>
                  <a:lnTo>
                    <a:pt x="63" y="14586"/>
                  </a:lnTo>
                  <a:lnTo>
                    <a:pt x="91" y="14682"/>
                  </a:lnTo>
                  <a:lnTo>
                    <a:pt x="122" y="14775"/>
                  </a:lnTo>
                  <a:lnTo>
                    <a:pt x="158" y="14867"/>
                  </a:lnTo>
                  <a:lnTo>
                    <a:pt x="198" y="14955"/>
                  </a:lnTo>
                  <a:lnTo>
                    <a:pt x="242" y="15042"/>
                  </a:lnTo>
                  <a:lnTo>
                    <a:pt x="292" y="15126"/>
                  </a:lnTo>
                  <a:lnTo>
                    <a:pt x="344" y="15208"/>
                  </a:lnTo>
                  <a:lnTo>
                    <a:pt x="399" y="15287"/>
                  </a:lnTo>
                  <a:lnTo>
                    <a:pt x="460" y="15363"/>
                  </a:lnTo>
                  <a:lnTo>
                    <a:pt x="523" y="15436"/>
                  </a:lnTo>
                  <a:lnTo>
                    <a:pt x="589" y="15506"/>
                  </a:lnTo>
                  <a:lnTo>
                    <a:pt x="659" y="15572"/>
                  </a:lnTo>
                  <a:lnTo>
                    <a:pt x="732" y="15635"/>
                  </a:lnTo>
                  <a:lnTo>
                    <a:pt x="808" y="15696"/>
                  </a:lnTo>
                  <a:lnTo>
                    <a:pt x="887" y="15751"/>
                  </a:lnTo>
                  <a:lnTo>
                    <a:pt x="969" y="15803"/>
                  </a:lnTo>
                  <a:lnTo>
                    <a:pt x="1053" y="15853"/>
                  </a:lnTo>
                  <a:lnTo>
                    <a:pt x="1140" y="15897"/>
                  </a:lnTo>
                  <a:lnTo>
                    <a:pt x="1228" y="15937"/>
                  </a:lnTo>
                  <a:lnTo>
                    <a:pt x="1320" y="15973"/>
                  </a:lnTo>
                  <a:lnTo>
                    <a:pt x="1413" y="16004"/>
                  </a:lnTo>
                  <a:lnTo>
                    <a:pt x="1509" y="16032"/>
                  </a:lnTo>
                  <a:lnTo>
                    <a:pt x="1606" y="16054"/>
                  </a:lnTo>
                  <a:lnTo>
                    <a:pt x="1705" y="16072"/>
                  </a:lnTo>
                  <a:lnTo>
                    <a:pt x="1806" y="16085"/>
                  </a:lnTo>
                  <a:lnTo>
                    <a:pt x="1908" y="16092"/>
                  </a:lnTo>
                  <a:lnTo>
                    <a:pt x="2012" y="16095"/>
                  </a:lnTo>
                  <a:lnTo>
                    <a:pt x="14083" y="16095"/>
                  </a:lnTo>
                  <a:lnTo>
                    <a:pt x="14187" y="16092"/>
                  </a:lnTo>
                  <a:lnTo>
                    <a:pt x="14289" y="16085"/>
                  </a:lnTo>
                  <a:lnTo>
                    <a:pt x="14390" y="16072"/>
                  </a:lnTo>
                  <a:lnTo>
                    <a:pt x="14489" y="16054"/>
                  </a:lnTo>
                  <a:lnTo>
                    <a:pt x="14586" y="16032"/>
                  </a:lnTo>
                  <a:lnTo>
                    <a:pt x="14682" y="16004"/>
                  </a:lnTo>
                  <a:lnTo>
                    <a:pt x="14775" y="15973"/>
                  </a:lnTo>
                  <a:lnTo>
                    <a:pt x="14867" y="15937"/>
                  </a:lnTo>
                  <a:lnTo>
                    <a:pt x="14955" y="15897"/>
                  </a:lnTo>
                  <a:lnTo>
                    <a:pt x="15042" y="15853"/>
                  </a:lnTo>
                  <a:lnTo>
                    <a:pt x="15126" y="15803"/>
                  </a:lnTo>
                  <a:lnTo>
                    <a:pt x="15208" y="15751"/>
                  </a:lnTo>
                  <a:lnTo>
                    <a:pt x="15287" y="15696"/>
                  </a:lnTo>
                  <a:lnTo>
                    <a:pt x="15363" y="15635"/>
                  </a:lnTo>
                  <a:lnTo>
                    <a:pt x="15436" y="15572"/>
                  </a:lnTo>
                  <a:lnTo>
                    <a:pt x="15506" y="15506"/>
                  </a:lnTo>
                  <a:lnTo>
                    <a:pt x="15572" y="15436"/>
                  </a:lnTo>
                  <a:lnTo>
                    <a:pt x="15635" y="15363"/>
                  </a:lnTo>
                  <a:lnTo>
                    <a:pt x="15696" y="15287"/>
                  </a:lnTo>
                  <a:lnTo>
                    <a:pt x="15751" y="15208"/>
                  </a:lnTo>
                  <a:lnTo>
                    <a:pt x="15803" y="15126"/>
                  </a:lnTo>
                  <a:lnTo>
                    <a:pt x="15853" y="15042"/>
                  </a:lnTo>
                  <a:lnTo>
                    <a:pt x="15897" y="14955"/>
                  </a:lnTo>
                  <a:lnTo>
                    <a:pt x="15937" y="14867"/>
                  </a:lnTo>
                  <a:lnTo>
                    <a:pt x="15973" y="14775"/>
                  </a:lnTo>
                  <a:lnTo>
                    <a:pt x="16004" y="14682"/>
                  </a:lnTo>
                  <a:lnTo>
                    <a:pt x="16032" y="14586"/>
                  </a:lnTo>
                  <a:lnTo>
                    <a:pt x="16054" y="14489"/>
                  </a:lnTo>
                  <a:lnTo>
                    <a:pt x="16072" y="14390"/>
                  </a:lnTo>
                  <a:lnTo>
                    <a:pt x="16085" y="14289"/>
                  </a:lnTo>
                  <a:lnTo>
                    <a:pt x="16092" y="14187"/>
                  </a:lnTo>
                  <a:lnTo>
                    <a:pt x="16095" y="14083"/>
                  </a:lnTo>
                  <a:lnTo>
                    <a:pt x="16095" y="1509"/>
                  </a:lnTo>
                  <a:lnTo>
                    <a:pt x="16093" y="1431"/>
                  </a:lnTo>
                  <a:lnTo>
                    <a:pt x="16087" y="1354"/>
                  </a:lnTo>
                  <a:lnTo>
                    <a:pt x="16078" y="1279"/>
                  </a:lnTo>
                  <a:lnTo>
                    <a:pt x="16065" y="1204"/>
                  </a:lnTo>
                  <a:lnTo>
                    <a:pt x="16048" y="1132"/>
                  </a:lnTo>
                  <a:lnTo>
                    <a:pt x="16028" y="1060"/>
                  </a:lnTo>
                  <a:lnTo>
                    <a:pt x="16003" y="990"/>
                  </a:lnTo>
                  <a:lnTo>
                    <a:pt x="15976" y="921"/>
                  </a:lnTo>
                  <a:lnTo>
                    <a:pt x="15946" y="854"/>
                  </a:lnTo>
                  <a:lnTo>
                    <a:pt x="15913" y="790"/>
                  </a:lnTo>
                  <a:lnTo>
                    <a:pt x="15877" y="726"/>
                  </a:lnTo>
                  <a:lnTo>
                    <a:pt x="15837" y="665"/>
                  </a:lnTo>
                  <a:lnTo>
                    <a:pt x="15795" y="606"/>
                  </a:lnTo>
                  <a:lnTo>
                    <a:pt x="15750" y="549"/>
                  </a:lnTo>
                  <a:lnTo>
                    <a:pt x="15703" y="494"/>
                  </a:lnTo>
                  <a:lnTo>
                    <a:pt x="15653" y="442"/>
                  </a:lnTo>
                  <a:lnTo>
                    <a:pt x="15601" y="391"/>
                  </a:lnTo>
                  <a:lnTo>
                    <a:pt x="15546" y="344"/>
                  </a:lnTo>
                  <a:lnTo>
                    <a:pt x="15488" y="300"/>
                  </a:lnTo>
                  <a:lnTo>
                    <a:pt x="15430" y="258"/>
                  </a:lnTo>
                  <a:lnTo>
                    <a:pt x="15369" y="218"/>
                  </a:lnTo>
                  <a:lnTo>
                    <a:pt x="15305" y="182"/>
                  </a:lnTo>
                  <a:lnTo>
                    <a:pt x="15240" y="149"/>
                  </a:lnTo>
                  <a:lnTo>
                    <a:pt x="15174" y="119"/>
                  </a:lnTo>
                  <a:lnTo>
                    <a:pt x="15105" y="92"/>
                  </a:lnTo>
                  <a:lnTo>
                    <a:pt x="15035" y="67"/>
                  </a:lnTo>
                  <a:lnTo>
                    <a:pt x="14963" y="47"/>
                  </a:lnTo>
                  <a:lnTo>
                    <a:pt x="14890" y="30"/>
                  </a:lnTo>
                  <a:lnTo>
                    <a:pt x="14815" y="17"/>
                  </a:lnTo>
                  <a:lnTo>
                    <a:pt x="14740" y="8"/>
                  </a:lnTo>
                  <a:lnTo>
                    <a:pt x="14664" y="2"/>
                  </a:lnTo>
                  <a:lnTo>
                    <a:pt x="145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77" name="í$ľîdè">
              <a:extLst>
                <a:ext uri="{FF2B5EF4-FFF2-40B4-BE49-F238E27FC236}">
                  <a16:creationId xmlns:a16="http://schemas.microsoft.com/office/drawing/2014/main" id="{E61CB8C1-AF97-43CF-9DDB-0C467470607F}"/>
                </a:ext>
              </a:extLst>
            </p:cNvPr>
            <p:cNvSpPr/>
            <p:nvPr/>
          </p:nvSpPr>
          <p:spPr bwMode="auto">
            <a:xfrm>
              <a:off x="10525602" y="424538"/>
              <a:ext cx="65335" cy="7436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1 h 503"/>
                <a:gd name="T8" fmla="*/ 4427 w 4527"/>
                <a:gd name="T9" fmla="*/ 452 h 503"/>
                <a:gd name="T10" fmla="*/ 4454 w 4527"/>
                <a:gd name="T11" fmla="*/ 428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1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0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1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89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1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5 h 503"/>
                <a:gd name="T80" fmla="*/ 154 w 4527"/>
                <a:gd name="T81" fmla="*/ 482 h 503"/>
                <a:gd name="T82" fmla="*/ 190 w 4527"/>
                <a:gd name="T83" fmla="*/ 495 h 503"/>
                <a:gd name="T84" fmla="*/ 227 w 4527"/>
                <a:gd name="T85" fmla="*/ 50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1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1"/>
                  </a:lnTo>
                  <a:lnTo>
                    <a:pt x="4362" y="488"/>
                  </a:lnTo>
                  <a:lnTo>
                    <a:pt x="4374" y="482"/>
                  </a:lnTo>
                  <a:lnTo>
                    <a:pt x="4385" y="477"/>
                  </a:lnTo>
                  <a:lnTo>
                    <a:pt x="4396" y="471"/>
                  </a:lnTo>
                  <a:lnTo>
                    <a:pt x="4406" y="465"/>
                  </a:lnTo>
                  <a:lnTo>
                    <a:pt x="4416" y="459"/>
                  </a:lnTo>
                  <a:lnTo>
                    <a:pt x="4427" y="452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8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1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3"/>
                  </a:lnTo>
                  <a:lnTo>
                    <a:pt x="4522" y="301"/>
                  </a:lnTo>
                  <a:lnTo>
                    <a:pt x="4525" y="289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1"/>
                  </a:lnTo>
                  <a:lnTo>
                    <a:pt x="4497" y="131"/>
                  </a:lnTo>
                  <a:lnTo>
                    <a:pt x="4491" y="120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0"/>
                  </a:lnTo>
                  <a:lnTo>
                    <a:pt x="32" y="131"/>
                  </a:lnTo>
                  <a:lnTo>
                    <a:pt x="26" y="141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6" y="301"/>
                  </a:lnTo>
                  <a:lnTo>
                    <a:pt x="8" y="313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1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8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2"/>
                  </a:lnTo>
                  <a:lnTo>
                    <a:pt x="112" y="459"/>
                  </a:lnTo>
                  <a:lnTo>
                    <a:pt x="122" y="465"/>
                  </a:lnTo>
                  <a:lnTo>
                    <a:pt x="132" y="471"/>
                  </a:lnTo>
                  <a:lnTo>
                    <a:pt x="143" y="477"/>
                  </a:lnTo>
                  <a:lnTo>
                    <a:pt x="154" y="482"/>
                  </a:lnTo>
                  <a:lnTo>
                    <a:pt x="166" y="488"/>
                  </a:lnTo>
                  <a:lnTo>
                    <a:pt x="177" y="491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1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78" name="ïṩḷîḍè">
              <a:extLst>
                <a:ext uri="{FF2B5EF4-FFF2-40B4-BE49-F238E27FC236}">
                  <a16:creationId xmlns:a16="http://schemas.microsoft.com/office/drawing/2014/main" id="{B3169ED8-42F8-4619-AA8A-ECFD0ED0DF01}"/>
                </a:ext>
              </a:extLst>
            </p:cNvPr>
            <p:cNvSpPr/>
            <p:nvPr/>
          </p:nvSpPr>
          <p:spPr bwMode="auto">
            <a:xfrm>
              <a:off x="10525602" y="402760"/>
              <a:ext cx="65335" cy="7436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3 h 503"/>
                <a:gd name="T8" fmla="*/ 4427 w 4527"/>
                <a:gd name="T9" fmla="*/ 452 h 503"/>
                <a:gd name="T10" fmla="*/ 4454 w 4527"/>
                <a:gd name="T11" fmla="*/ 429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2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0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2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89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2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6 h 503"/>
                <a:gd name="T80" fmla="*/ 154 w 4527"/>
                <a:gd name="T81" fmla="*/ 483 h 503"/>
                <a:gd name="T82" fmla="*/ 190 w 4527"/>
                <a:gd name="T83" fmla="*/ 495 h 503"/>
                <a:gd name="T84" fmla="*/ 227 w 4527"/>
                <a:gd name="T85" fmla="*/ 50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1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1"/>
                  </a:lnTo>
                  <a:lnTo>
                    <a:pt x="4362" y="488"/>
                  </a:lnTo>
                  <a:lnTo>
                    <a:pt x="4374" y="483"/>
                  </a:lnTo>
                  <a:lnTo>
                    <a:pt x="4385" y="478"/>
                  </a:lnTo>
                  <a:lnTo>
                    <a:pt x="4396" y="473"/>
                  </a:lnTo>
                  <a:lnTo>
                    <a:pt x="4406" y="466"/>
                  </a:lnTo>
                  <a:lnTo>
                    <a:pt x="4416" y="459"/>
                  </a:lnTo>
                  <a:lnTo>
                    <a:pt x="4427" y="452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9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2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4"/>
                  </a:lnTo>
                  <a:lnTo>
                    <a:pt x="4522" y="302"/>
                  </a:lnTo>
                  <a:lnTo>
                    <a:pt x="4525" y="289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2"/>
                  </a:lnTo>
                  <a:lnTo>
                    <a:pt x="4497" y="132"/>
                  </a:lnTo>
                  <a:lnTo>
                    <a:pt x="4491" y="120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0"/>
                  </a:lnTo>
                  <a:lnTo>
                    <a:pt x="32" y="132"/>
                  </a:lnTo>
                  <a:lnTo>
                    <a:pt x="26" y="142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6" y="302"/>
                  </a:lnTo>
                  <a:lnTo>
                    <a:pt x="8" y="314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2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9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2"/>
                  </a:lnTo>
                  <a:lnTo>
                    <a:pt x="112" y="459"/>
                  </a:lnTo>
                  <a:lnTo>
                    <a:pt x="122" y="466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6" y="488"/>
                  </a:lnTo>
                  <a:lnTo>
                    <a:pt x="177" y="491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1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79" name="išḷídê">
              <a:extLst>
                <a:ext uri="{FF2B5EF4-FFF2-40B4-BE49-F238E27FC236}">
                  <a16:creationId xmlns:a16="http://schemas.microsoft.com/office/drawing/2014/main" id="{3CA233F6-AF9B-4B52-A362-414FFBA41586}"/>
                </a:ext>
              </a:extLst>
            </p:cNvPr>
            <p:cNvSpPr/>
            <p:nvPr/>
          </p:nvSpPr>
          <p:spPr bwMode="auto">
            <a:xfrm>
              <a:off x="10525602" y="381512"/>
              <a:ext cx="65335" cy="6905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3 h 503"/>
                <a:gd name="T8" fmla="*/ 4427 w 4527"/>
                <a:gd name="T9" fmla="*/ 453 h 503"/>
                <a:gd name="T10" fmla="*/ 4454 w 4527"/>
                <a:gd name="T11" fmla="*/ 428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2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1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2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90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2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7 h 503"/>
                <a:gd name="T80" fmla="*/ 154 w 4527"/>
                <a:gd name="T81" fmla="*/ 483 h 503"/>
                <a:gd name="T82" fmla="*/ 190 w 4527"/>
                <a:gd name="T83" fmla="*/ 495 h 503"/>
                <a:gd name="T84" fmla="*/ 227 w 4527"/>
                <a:gd name="T85" fmla="*/ 50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2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2"/>
                  </a:lnTo>
                  <a:lnTo>
                    <a:pt x="4362" y="488"/>
                  </a:lnTo>
                  <a:lnTo>
                    <a:pt x="4374" y="483"/>
                  </a:lnTo>
                  <a:lnTo>
                    <a:pt x="4385" y="478"/>
                  </a:lnTo>
                  <a:lnTo>
                    <a:pt x="4396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8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2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4"/>
                  </a:lnTo>
                  <a:lnTo>
                    <a:pt x="4522" y="302"/>
                  </a:lnTo>
                  <a:lnTo>
                    <a:pt x="4525" y="290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2"/>
                  </a:lnTo>
                  <a:lnTo>
                    <a:pt x="4497" y="132"/>
                  </a:lnTo>
                  <a:lnTo>
                    <a:pt x="4491" y="121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1"/>
                  </a:lnTo>
                  <a:lnTo>
                    <a:pt x="32" y="132"/>
                  </a:lnTo>
                  <a:lnTo>
                    <a:pt x="26" y="142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90"/>
                  </a:lnTo>
                  <a:lnTo>
                    <a:pt x="6" y="302"/>
                  </a:lnTo>
                  <a:lnTo>
                    <a:pt x="8" y="314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2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8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3"/>
                  </a:lnTo>
                  <a:lnTo>
                    <a:pt x="112" y="460"/>
                  </a:lnTo>
                  <a:lnTo>
                    <a:pt x="122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6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80" name="ïSḻïḍè">
              <a:extLst>
                <a:ext uri="{FF2B5EF4-FFF2-40B4-BE49-F238E27FC236}">
                  <a16:creationId xmlns:a16="http://schemas.microsoft.com/office/drawing/2014/main" id="{FCED500F-4B38-4A2F-B143-D626E99D0385}"/>
                </a:ext>
              </a:extLst>
            </p:cNvPr>
            <p:cNvSpPr/>
            <p:nvPr/>
          </p:nvSpPr>
          <p:spPr bwMode="auto">
            <a:xfrm>
              <a:off x="10446456" y="532898"/>
              <a:ext cx="64804" cy="7436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0 h 503"/>
                <a:gd name="T8" fmla="*/ 100 w 4526"/>
                <a:gd name="T9" fmla="*/ 50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1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50 h 503"/>
                <a:gd name="T28" fmla="*/ 36 w 4526"/>
                <a:gd name="T29" fmla="*/ 382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2 h 503"/>
                <a:gd name="T58" fmla="*/ 4501 w 4526"/>
                <a:gd name="T59" fmla="*/ 361 h 503"/>
                <a:gd name="T60" fmla="*/ 4515 w 4526"/>
                <a:gd name="T61" fmla="*/ 327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3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6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3"/>
                  </a:lnTo>
                  <a:lnTo>
                    <a:pt x="100" y="50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7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4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4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2"/>
                  </a:lnTo>
                  <a:lnTo>
                    <a:pt x="4490" y="382"/>
                  </a:lnTo>
                  <a:lnTo>
                    <a:pt x="4496" y="371"/>
                  </a:lnTo>
                  <a:lnTo>
                    <a:pt x="4501" y="361"/>
                  </a:lnTo>
                  <a:lnTo>
                    <a:pt x="4506" y="350"/>
                  </a:lnTo>
                  <a:lnTo>
                    <a:pt x="4511" y="338"/>
                  </a:lnTo>
                  <a:lnTo>
                    <a:pt x="4515" y="327"/>
                  </a:lnTo>
                  <a:lnTo>
                    <a:pt x="4518" y="315"/>
                  </a:lnTo>
                  <a:lnTo>
                    <a:pt x="4521" y="303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3"/>
                  </a:lnTo>
                  <a:lnTo>
                    <a:pt x="4521" y="201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0"/>
                  </a:lnTo>
                  <a:lnTo>
                    <a:pt x="4416" y="43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81" name="îṩļïḋé">
              <a:extLst>
                <a:ext uri="{FF2B5EF4-FFF2-40B4-BE49-F238E27FC236}">
                  <a16:creationId xmlns:a16="http://schemas.microsoft.com/office/drawing/2014/main" id="{E90B1CAB-6A56-4ECD-903D-848827C328A3}"/>
                </a:ext>
              </a:extLst>
            </p:cNvPr>
            <p:cNvSpPr/>
            <p:nvPr/>
          </p:nvSpPr>
          <p:spPr bwMode="auto">
            <a:xfrm>
              <a:off x="10446456" y="511120"/>
              <a:ext cx="64804" cy="7436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0 h 503"/>
                <a:gd name="T8" fmla="*/ 100 w 4526"/>
                <a:gd name="T9" fmla="*/ 51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1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49 h 503"/>
                <a:gd name="T28" fmla="*/ 36 w 4526"/>
                <a:gd name="T29" fmla="*/ 383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3 h 503"/>
                <a:gd name="T58" fmla="*/ 4501 w 4526"/>
                <a:gd name="T59" fmla="*/ 361 h 503"/>
                <a:gd name="T60" fmla="*/ 4515 w 4526"/>
                <a:gd name="T61" fmla="*/ 326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4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6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3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3"/>
                  </a:lnTo>
                  <a:lnTo>
                    <a:pt x="4490" y="383"/>
                  </a:lnTo>
                  <a:lnTo>
                    <a:pt x="4496" y="371"/>
                  </a:lnTo>
                  <a:lnTo>
                    <a:pt x="4501" y="361"/>
                  </a:lnTo>
                  <a:lnTo>
                    <a:pt x="4506" y="349"/>
                  </a:lnTo>
                  <a:lnTo>
                    <a:pt x="4511" y="338"/>
                  </a:lnTo>
                  <a:lnTo>
                    <a:pt x="4515" y="326"/>
                  </a:lnTo>
                  <a:lnTo>
                    <a:pt x="4518" y="315"/>
                  </a:lnTo>
                  <a:lnTo>
                    <a:pt x="4521" y="302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4"/>
                  </a:lnTo>
                  <a:lnTo>
                    <a:pt x="4521" y="201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1"/>
                  </a:lnTo>
                  <a:lnTo>
                    <a:pt x="4416" y="44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82" name="iś1ïďè">
              <a:extLst>
                <a:ext uri="{FF2B5EF4-FFF2-40B4-BE49-F238E27FC236}">
                  <a16:creationId xmlns:a16="http://schemas.microsoft.com/office/drawing/2014/main" id="{EC85EAF2-4BBC-4A5B-86CD-D1D94E91CCD5}"/>
                </a:ext>
              </a:extLst>
            </p:cNvPr>
            <p:cNvSpPr/>
            <p:nvPr/>
          </p:nvSpPr>
          <p:spPr bwMode="auto">
            <a:xfrm>
              <a:off x="10446456" y="489873"/>
              <a:ext cx="64804" cy="6905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1 h 503"/>
                <a:gd name="T8" fmla="*/ 100 w 4526"/>
                <a:gd name="T9" fmla="*/ 51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2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50 h 503"/>
                <a:gd name="T28" fmla="*/ 36 w 4526"/>
                <a:gd name="T29" fmla="*/ 383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3 h 503"/>
                <a:gd name="T58" fmla="*/ 4501 w 4526"/>
                <a:gd name="T59" fmla="*/ 361 h 503"/>
                <a:gd name="T60" fmla="*/ 4515 w 4526"/>
                <a:gd name="T61" fmla="*/ 326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4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7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0" y="37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1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3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3"/>
                  </a:lnTo>
                  <a:lnTo>
                    <a:pt x="4490" y="383"/>
                  </a:lnTo>
                  <a:lnTo>
                    <a:pt x="4496" y="372"/>
                  </a:lnTo>
                  <a:lnTo>
                    <a:pt x="4501" y="361"/>
                  </a:lnTo>
                  <a:lnTo>
                    <a:pt x="4506" y="350"/>
                  </a:lnTo>
                  <a:lnTo>
                    <a:pt x="4511" y="338"/>
                  </a:lnTo>
                  <a:lnTo>
                    <a:pt x="4515" y="326"/>
                  </a:lnTo>
                  <a:lnTo>
                    <a:pt x="4518" y="315"/>
                  </a:lnTo>
                  <a:lnTo>
                    <a:pt x="4521" y="302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4"/>
                  </a:lnTo>
                  <a:lnTo>
                    <a:pt x="4521" y="202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1"/>
                  </a:lnTo>
                  <a:lnTo>
                    <a:pt x="4416" y="44"/>
                  </a:lnTo>
                  <a:lnTo>
                    <a:pt x="4406" y="37"/>
                  </a:lnTo>
                  <a:lnTo>
                    <a:pt x="4395" y="31"/>
                  </a:lnTo>
                  <a:lnTo>
                    <a:pt x="4384" y="26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83" name="îŝḷïḋe">
              <a:extLst>
                <a:ext uri="{FF2B5EF4-FFF2-40B4-BE49-F238E27FC236}">
                  <a16:creationId xmlns:a16="http://schemas.microsoft.com/office/drawing/2014/main" id="{058134FC-E841-49A8-8AB4-47290292C231}"/>
                </a:ext>
              </a:extLst>
            </p:cNvPr>
            <p:cNvSpPr/>
            <p:nvPr/>
          </p:nvSpPr>
          <p:spPr bwMode="auto">
            <a:xfrm>
              <a:off x="10525602" y="532898"/>
              <a:ext cx="65335" cy="7436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0 h 503"/>
                <a:gd name="T8" fmla="*/ 102 w 4527"/>
                <a:gd name="T9" fmla="*/ 50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1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50 h 503"/>
                <a:gd name="T28" fmla="*/ 37 w 4527"/>
                <a:gd name="T29" fmla="*/ 382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2 h 503"/>
                <a:gd name="T58" fmla="*/ 4502 w 4527"/>
                <a:gd name="T59" fmla="*/ 361 h 503"/>
                <a:gd name="T60" fmla="*/ 4516 w 4527"/>
                <a:gd name="T61" fmla="*/ 327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3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6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3"/>
                  </a:lnTo>
                  <a:lnTo>
                    <a:pt x="102" y="50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7"/>
                  </a:lnTo>
                  <a:lnTo>
                    <a:pt x="15" y="338"/>
                  </a:lnTo>
                  <a:lnTo>
                    <a:pt x="21" y="350"/>
                  </a:lnTo>
                  <a:lnTo>
                    <a:pt x="26" y="361"/>
                  </a:lnTo>
                  <a:lnTo>
                    <a:pt x="31" y="371"/>
                  </a:lnTo>
                  <a:lnTo>
                    <a:pt x="37" y="382"/>
                  </a:lnTo>
                  <a:lnTo>
                    <a:pt x="44" y="392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4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4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2"/>
                  </a:lnTo>
                  <a:lnTo>
                    <a:pt x="4491" y="382"/>
                  </a:lnTo>
                  <a:lnTo>
                    <a:pt x="4497" y="371"/>
                  </a:lnTo>
                  <a:lnTo>
                    <a:pt x="4502" y="361"/>
                  </a:lnTo>
                  <a:lnTo>
                    <a:pt x="4507" y="350"/>
                  </a:lnTo>
                  <a:lnTo>
                    <a:pt x="4512" y="338"/>
                  </a:lnTo>
                  <a:lnTo>
                    <a:pt x="4516" y="327"/>
                  </a:lnTo>
                  <a:lnTo>
                    <a:pt x="4519" y="315"/>
                  </a:lnTo>
                  <a:lnTo>
                    <a:pt x="4522" y="303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3"/>
                  </a:lnTo>
                  <a:lnTo>
                    <a:pt x="4522" y="201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0"/>
                  </a:lnTo>
                  <a:lnTo>
                    <a:pt x="4416" y="43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84" name="ïsļiḋè">
              <a:extLst>
                <a:ext uri="{FF2B5EF4-FFF2-40B4-BE49-F238E27FC236}">
                  <a16:creationId xmlns:a16="http://schemas.microsoft.com/office/drawing/2014/main" id="{2BCEED29-6D49-4401-A968-CC6E92506498}"/>
                </a:ext>
              </a:extLst>
            </p:cNvPr>
            <p:cNvSpPr/>
            <p:nvPr/>
          </p:nvSpPr>
          <p:spPr bwMode="auto">
            <a:xfrm>
              <a:off x="10525602" y="511120"/>
              <a:ext cx="65335" cy="7436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0 h 503"/>
                <a:gd name="T8" fmla="*/ 102 w 4527"/>
                <a:gd name="T9" fmla="*/ 51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1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49 h 503"/>
                <a:gd name="T28" fmla="*/ 37 w 4527"/>
                <a:gd name="T29" fmla="*/ 383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3 h 503"/>
                <a:gd name="T58" fmla="*/ 4502 w 4527"/>
                <a:gd name="T59" fmla="*/ 361 h 503"/>
                <a:gd name="T60" fmla="*/ 4516 w 4527"/>
                <a:gd name="T61" fmla="*/ 326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4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6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4"/>
                  </a:lnTo>
                  <a:lnTo>
                    <a:pt x="102" y="51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1" y="349"/>
                  </a:lnTo>
                  <a:lnTo>
                    <a:pt x="26" y="361"/>
                  </a:lnTo>
                  <a:lnTo>
                    <a:pt x="31" y="371"/>
                  </a:lnTo>
                  <a:lnTo>
                    <a:pt x="37" y="383"/>
                  </a:lnTo>
                  <a:lnTo>
                    <a:pt x="44" y="393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3"/>
                  </a:lnTo>
                  <a:lnTo>
                    <a:pt x="4491" y="383"/>
                  </a:lnTo>
                  <a:lnTo>
                    <a:pt x="4497" y="371"/>
                  </a:lnTo>
                  <a:lnTo>
                    <a:pt x="4502" y="361"/>
                  </a:lnTo>
                  <a:lnTo>
                    <a:pt x="4507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19" y="315"/>
                  </a:lnTo>
                  <a:lnTo>
                    <a:pt x="4522" y="302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4"/>
                  </a:lnTo>
                  <a:lnTo>
                    <a:pt x="4522" y="201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1"/>
                  </a:lnTo>
                  <a:lnTo>
                    <a:pt x="4416" y="44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85" name="îṣḷidè">
              <a:extLst>
                <a:ext uri="{FF2B5EF4-FFF2-40B4-BE49-F238E27FC236}">
                  <a16:creationId xmlns:a16="http://schemas.microsoft.com/office/drawing/2014/main" id="{20162013-75B3-4A85-BE41-2F047D5052ED}"/>
                </a:ext>
              </a:extLst>
            </p:cNvPr>
            <p:cNvSpPr/>
            <p:nvPr/>
          </p:nvSpPr>
          <p:spPr bwMode="auto">
            <a:xfrm>
              <a:off x="10525602" y="489873"/>
              <a:ext cx="65335" cy="6905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1 h 503"/>
                <a:gd name="T8" fmla="*/ 102 w 4527"/>
                <a:gd name="T9" fmla="*/ 51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2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50 h 503"/>
                <a:gd name="T28" fmla="*/ 37 w 4527"/>
                <a:gd name="T29" fmla="*/ 383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3 h 503"/>
                <a:gd name="T58" fmla="*/ 4502 w 4527"/>
                <a:gd name="T59" fmla="*/ 361 h 503"/>
                <a:gd name="T60" fmla="*/ 4516 w 4527"/>
                <a:gd name="T61" fmla="*/ 326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4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7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1" y="37"/>
                  </a:lnTo>
                  <a:lnTo>
                    <a:pt x="111" y="44"/>
                  </a:lnTo>
                  <a:lnTo>
                    <a:pt x="102" y="51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1" y="350"/>
                  </a:lnTo>
                  <a:lnTo>
                    <a:pt x="26" y="361"/>
                  </a:lnTo>
                  <a:lnTo>
                    <a:pt x="31" y="372"/>
                  </a:lnTo>
                  <a:lnTo>
                    <a:pt x="37" y="383"/>
                  </a:lnTo>
                  <a:lnTo>
                    <a:pt x="44" y="393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3"/>
                  </a:lnTo>
                  <a:lnTo>
                    <a:pt x="4491" y="383"/>
                  </a:lnTo>
                  <a:lnTo>
                    <a:pt x="4497" y="372"/>
                  </a:lnTo>
                  <a:lnTo>
                    <a:pt x="4502" y="361"/>
                  </a:lnTo>
                  <a:lnTo>
                    <a:pt x="4507" y="350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19" y="315"/>
                  </a:lnTo>
                  <a:lnTo>
                    <a:pt x="4522" y="302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4"/>
                  </a:lnTo>
                  <a:lnTo>
                    <a:pt x="4522" y="202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1"/>
                  </a:lnTo>
                  <a:lnTo>
                    <a:pt x="4416" y="44"/>
                  </a:lnTo>
                  <a:lnTo>
                    <a:pt x="4406" y="37"/>
                  </a:lnTo>
                  <a:lnTo>
                    <a:pt x="4395" y="31"/>
                  </a:lnTo>
                  <a:lnTo>
                    <a:pt x="4384" y="26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86" name="îṡḻïďé">
              <a:extLst>
                <a:ext uri="{FF2B5EF4-FFF2-40B4-BE49-F238E27FC236}">
                  <a16:creationId xmlns:a16="http://schemas.microsoft.com/office/drawing/2014/main" id="{F2D612A3-BFBB-4FAF-BC38-CF111F024494}"/>
                </a:ext>
              </a:extLst>
            </p:cNvPr>
            <p:cNvSpPr/>
            <p:nvPr/>
          </p:nvSpPr>
          <p:spPr bwMode="auto">
            <a:xfrm>
              <a:off x="10446456" y="446316"/>
              <a:ext cx="144480" cy="7436"/>
            </a:xfrm>
            <a:custGeom>
              <a:avLst/>
              <a:gdLst>
                <a:gd name="T0" fmla="*/ 238 w 10059"/>
                <a:gd name="T1" fmla="*/ 1 h 503"/>
                <a:gd name="T2" fmla="*/ 201 w 10059"/>
                <a:gd name="T3" fmla="*/ 5 h 503"/>
                <a:gd name="T4" fmla="*/ 165 w 10059"/>
                <a:gd name="T5" fmla="*/ 15 h 503"/>
                <a:gd name="T6" fmla="*/ 132 w 10059"/>
                <a:gd name="T7" fmla="*/ 30 h 503"/>
                <a:gd name="T8" fmla="*/ 100 w 10059"/>
                <a:gd name="T9" fmla="*/ 50 h 503"/>
                <a:gd name="T10" fmla="*/ 73 w 10059"/>
                <a:gd name="T11" fmla="*/ 73 h 503"/>
                <a:gd name="T12" fmla="*/ 50 w 10059"/>
                <a:gd name="T13" fmla="*/ 101 h 503"/>
                <a:gd name="T14" fmla="*/ 30 w 10059"/>
                <a:gd name="T15" fmla="*/ 131 h 503"/>
                <a:gd name="T16" fmla="*/ 15 w 10059"/>
                <a:gd name="T17" fmla="*/ 165 h 503"/>
                <a:gd name="T18" fmla="*/ 5 w 10059"/>
                <a:gd name="T19" fmla="*/ 201 h 503"/>
                <a:gd name="T20" fmla="*/ 0 w 10059"/>
                <a:gd name="T21" fmla="*/ 238 h 503"/>
                <a:gd name="T22" fmla="*/ 1 w 10059"/>
                <a:gd name="T23" fmla="*/ 277 h 503"/>
                <a:gd name="T24" fmla="*/ 8 w 10059"/>
                <a:gd name="T25" fmla="*/ 314 h 503"/>
                <a:gd name="T26" fmla="*/ 20 w 10059"/>
                <a:gd name="T27" fmla="*/ 349 h 503"/>
                <a:gd name="T28" fmla="*/ 36 w 10059"/>
                <a:gd name="T29" fmla="*/ 382 h 503"/>
                <a:gd name="T30" fmla="*/ 57 w 10059"/>
                <a:gd name="T31" fmla="*/ 411 h 503"/>
                <a:gd name="T32" fmla="*/ 82 w 10059"/>
                <a:gd name="T33" fmla="*/ 437 h 503"/>
                <a:gd name="T34" fmla="*/ 110 w 10059"/>
                <a:gd name="T35" fmla="*/ 460 h 503"/>
                <a:gd name="T36" fmla="*/ 143 w 10059"/>
                <a:gd name="T37" fmla="*/ 478 h 503"/>
                <a:gd name="T38" fmla="*/ 177 w 10059"/>
                <a:gd name="T39" fmla="*/ 491 h 503"/>
                <a:gd name="T40" fmla="*/ 213 w 10059"/>
                <a:gd name="T41" fmla="*/ 499 h 503"/>
                <a:gd name="T42" fmla="*/ 251 w 10059"/>
                <a:gd name="T43" fmla="*/ 503 h 503"/>
                <a:gd name="T44" fmla="*/ 9834 w 10059"/>
                <a:gd name="T45" fmla="*/ 502 h 503"/>
                <a:gd name="T46" fmla="*/ 9870 w 10059"/>
                <a:gd name="T47" fmla="*/ 494 h 503"/>
                <a:gd name="T48" fmla="*/ 9905 w 10059"/>
                <a:gd name="T49" fmla="*/ 483 h 503"/>
                <a:gd name="T50" fmla="*/ 9938 w 10059"/>
                <a:gd name="T51" fmla="*/ 466 h 503"/>
                <a:gd name="T52" fmla="*/ 9968 w 10059"/>
                <a:gd name="T53" fmla="*/ 445 h 503"/>
                <a:gd name="T54" fmla="*/ 9994 w 10059"/>
                <a:gd name="T55" fmla="*/ 420 h 503"/>
                <a:gd name="T56" fmla="*/ 10016 w 10059"/>
                <a:gd name="T57" fmla="*/ 392 h 503"/>
                <a:gd name="T58" fmla="*/ 10034 w 10059"/>
                <a:gd name="T59" fmla="*/ 361 h 503"/>
                <a:gd name="T60" fmla="*/ 10048 w 10059"/>
                <a:gd name="T61" fmla="*/ 326 h 503"/>
                <a:gd name="T62" fmla="*/ 10056 w 10059"/>
                <a:gd name="T63" fmla="*/ 289 h 503"/>
                <a:gd name="T64" fmla="*/ 10059 w 10059"/>
                <a:gd name="T65" fmla="*/ 251 h 503"/>
                <a:gd name="T66" fmla="*/ 10056 w 10059"/>
                <a:gd name="T67" fmla="*/ 213 h 503"/>
                <a:gd name="T68" fmla="*/ 10048 w 10059"/>
                <a:gd name="T69" fmla="*/ 177 h 503"/>
                <a:gd name="T70" fmla="*/ 10034 w 10059"/>
                <a:gd name="T71" fmla="*/ 142 h 503"/>
                <a:gd name="T72" fmla="*/ 10016 w 10059"/>
                <a:gd name="T73" fmla="*/ 110 h 503"/>
                <a:gd name="T74" fmla="*/ 9994 w 10059"/>
                <a:gd name="T75" fmla="*/ 82 h 503"/>
                <a:gd name="T76" fmla="*/ 9968 w 10059"/>
                <a:gd name="T77" fmla="*/ 57 h 503"/>
                <a:gd name="T78" fmla="*/ 9938 w 10059"/>
                <a:gd name="T79" fmla="*/ 36 h 503"/>
                <a:gd name="T80" fmla="*/ 9905 w 10059"/>
                <a:gd name="T81" fmla="*/ 20 h 503"/>
                <a:gd name="T82" fmla="*/ 9870 w 10059"/>
                <a:gd name="T83" fmla="*/ 8 h 503"/>
                <a:gd name="T84" fmla="*/ 9834 w 10059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9" h="503">
                  <a:moveTo>
                    <a:pt x="9808" y="0"/>
                  </a:moveTo>
                  <a:lnTo>
                    <a:pt x="251" y="0"/>
                  </a:lnTo>
                  <a:lnTo>
                    <a:pt x="238" y="1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3"/>
                  </a:lnTo>
                  <a:lnTo>
                    <a:pt x="100" y="50"/>
                  </a:lnTo>
                  <a:lnTo>
                    <a:pt x="91" y="57"/>
                  </a:lnTo>
                  <a:lnTo>
                    <a:pt x="82" y="65"/>
                  </a:lnTo>
                  <a:lnTo>
                    <a:pt x="73" y="73"/>
                  </a:lnTo>
                  <a:lnTo>
                    <a:pt x="65" y="82"/>
                  </a:lnTo>
                  <a:lnTo>
                    <a:pt x="57" y="91"/>
                  </a:lnTo>
                  <a:lnTo>
                    <a:pt x="50" y="101"/>
                  </a:lnTo>
                  <a:lnTo>
                    <a:pt x="43" y="110"/>
                  </a:lnTo>
                  <a:lnTo>
                    <a:pt x="36" y="121"/>
                  </a:lnTo>
                  <a:lnTo>
                    <a:pt x="30" y="131"/>
                  </a:lnTo>
                  <a:lnTo>
                    <a:pt x="25" y="142"/>
                  </a:lnTo>
                  <a:lnTo>
                    <a:pt x="20" y="153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6"/>
                  </a:lnTo>
                  <a:lnTo>
                    <a:pt x="0" y="238"/>
                  </a:lnTo>
                  <a:lnTo>
                    <a:pt x="0" y="251"/>
                  </a:lnTo>
                  <a:lnTo>
                    <a:pt x="0" y="264"/>
                  </a:lnTo>
                  <a:lnTo>
                    <a:pt x="1" y="277"/>
                  </a:lnTo>
                  <a:lnTo>
                    <a:pt x="3" y="289"/>
                  </a:lnTo>
                  <a:lnTo>
                    <a:pt x="5" y="302"/>
                  </a:lnTo>
                  <a:lnTo>
                    <a:pt x="8" y="314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2"/>
                  </a:lnTo>
                  <a:lnTo>
                    <a:pt x="57" y="411"/>
                  </a:lnTo>
                  <a:lnTo>
                    <a:pt x="65" y="420"/>
                  </a:lnTo>
                  <a:lnTo>
                    <a:pt x="73" y="429"/>
                  </a:lnTo>
                  <a:lnTo>
                    <a:pt x="82" y="437"/>
                  </a:lnTo>
                  <a:lnTo>
                    <a:pt x="91" y="445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6"/>
                  </a:lnTo>
                  <a:lnTo>
                    <a:pt x="132" y="472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7"/>
                  </a:lnTo>
                  <a:lnTo>
                    <a:pt x="177" y="491"/>
                  </a:lnTo>
                  <a:lnTo>
                    <a:pt x="189" y="494"/>
                  </a:lnTo>
                  <a:lnTo>
                    <a:pt x="201" y="497"/>
                  </a:lnTo>
                  <a:lnTo>
                    <a:pt x="213" y="499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9808" y="503"/>
                  </a:lnTo>
                  <a:lnTo>
                    <a:pt x="9821" y="503"/>
                  </a:lnTo>
                  <a:lnTo>
                    <a:pt x="9834" y="502"/>
                  </a:lnTo>
                  <a:lnTo>
                    <a:pt x="9846" y="499"/>
                  </a:lnTo>
                  <a:lnTo>
                    <a:pt x="9858" y="497"/>
                  </a:lnTo>
                  <a:lnTo>
                    <a:pt x="9870" y="494"/>
                  </a:lnTo>
                  <a:lnTo>
                    <a:pt x="9882" y="491"/>
                  </a:lnTo>
                  <a:lnTo>
                    <a:pt x="9894" y="487"/>
                  </a:lnTo>
                  <a:lnTo>
                    <a:pt x="9905" y="483"/>
                  </a:lnTo>
                  <a:lnTo>
                    <a:pt x="9916" y="478"/>
                  </a:lnTo>
                  <a:lnTo>
                    <a:pt x="9927" y="472"/>
                  </a:lnTo>
                  <a:lnTo>
                    <a:pt x="9938" y="466"/>
                  </a:lnTo>
                  <a:lnTo>
                    <a:pt x="9948" y="460"/>
                  </a:lnTo>
                  <a:lnTo>
                    <a:pt x="9959" y="453"/>
                  </a:lnTo>
                  <a:lnTo>
                    <a:pt x="9968" y="445"/>
                  </a:lnTo>
                  <a:lnTo>
                    <a:pt x="9977" y="437"/>
                  </a:lnTo>
                  <a:lnTo>
                    <a:pt x="9986" y="429"/>
                  </a:lnTo>
                  <a:lnTo>
                    <a:pt x="9994" y="420"/>
                  </a:lnTo>
                  <a:lnTo>
                    <a:pt x="10002" y="411"/>
                  </a:lnTo>
                  <a:lnTo>
                    <a:pt x="10009" y="402"/>
                  </a:lnTo>
                  <a:lnTo>
                    <a:pt x="10016" y="392"/>
                  </a:lnTo>
                  <a:lnTo>
                    <a:pt x="10023" y="382"/>
                  </a:lnTo>
                  <a:lnTo>
                    <a:pt x="10029" y="371"/>
                  </a:lnTo>
                  <a:lnTo>
                    <a:pt x="10034" y="361"/>
                  </a:lnTo>
                  <a:lnTo>
                    <a:pt x="10039" y="349"/>
                  </a:lnTo>
                  <a:lnTo>
                    <a:pt x="10044" y="338"/>
                  </a:lnTo>
                  <a:lnTo>
                    <a:pt x="10048" y="326"/>
                  </a:lnTo>
                  <a:lnTo>
                    <a:pt x="10051" y="314"/>
                  </a:lnTo>
                  <a:lnTo>
                    <a:pt x="10054" y="302"/>
                  </a:lnTo>
                  <a:lnTo>
                    <a:pt x="10056" y="289"/>
                  </a:lnTo>
                  <a:lnTo>
                    <a:pt x="10058" y="277"/>
                  </a:lnTo>
                  <a:lnTo>
                    <a:pt x="10059" y="264"/>
                  </a:lnTo>
                  <a:lnTo>
                    <a:pt x="10059" y="251"/>
                  </a:lnTo>
                  <a:lnTo>
                    <a:pt x="10059" y="238"/>
                  </a:lnTo>
                  <a:lnTo>
                    <a:pt x="10058" y="226"/>
                  </a:lnTo>
                  <a:lnTo>
                    <a:pt x="10056" y="213"/>
                  </a:lnTo>
                  <a:lnTo>
                    <a:pt x="10054" y="201"/>
                  </a:lnTo>
                  <a:lnTo>
                    <a:pt x="10051" y="189"/>
                  </a:lnTo>
                  <a:lnTo>
                    <a:pt x="10048" y="177"/>
                  </a:lnTo>
                  <a:lnTo>
                    <a:pt x="10044" y="165"/>
                  </a:lnTo>
                  <a:lnTo>
                    <a:pt x="10039" y="153"/>
                  </a:lnTo>
                  <a:lnTo>
                    <a:pt x="10034" y="142"/>
                  </a:lnTo>
                  <a:lnTo>
                    <a:pt x="10029" y="131"/>
                  </a:lnTo>
                  <a:lnTo>
                    <a:pt x="10023" y="121"/>
                  </a:lnTo>
                  <a:lnTo>
                    <a:pt x="10016" y="110"/>
                  </a:lnTo>
                  <a:lnTo>
                    <a:pt x="10009" y="101"/>
                  </a:lnTo>
                  <a:lnTo>
                    <a:pt x="10002" y="91"/>
                  </a:lnTo>
                  <a:lnTo>
                    <a:pt x="9994" y="82"/>
                  </a:lnTo>
                  <a:lnTo>
                    <a:pt x="9986" y="73"/>
                  </a:lnTo>
                  <a:lnTo>
                    <a:pt x="9977" y="65"/>
                  </a:lnTo>
                  <a:lnTo>
                    <a:pt x="9968" y="57"/>
                  </a:lnTo>
                  <a:lnTo>
                    <a:pt x="9959" y="50"/>
                  </a:lnTo>
                  <a:lnTo>
                    <a:pt x="9948" y="43"/>
                  </a:lnTo>
                  <a:lnTo>
                    <a:pt x="9938" y="36"/>
                  </a:lnTo>
                  <a:lnTo>
                    <a:pt x="9927" y="30"/>
                  </a:lnTo>
                  <a:lnTo>
                    <a:pt x="9916" y="25"/>
                  </a:lnTo>
                  <a:lnTo>
                    <a:pt x="9905" y="20"/>
                  </a:lnTo>
                  <a:lnTo>
                    <a:pt x="9894" y="15"/>
                  </a:lnTo>
                  <a:lnTo>
                    <a:pt x="9882" y="11"/>
                  </a:lnTo>
                  <a:lnTo>
                    <a:pt x="9870" y="8"/>
                  </a:lnTo>
                  <a:lnTo>
                    <a:pt x="9858" y="5"/>
                  </a:lnTo>
                  <a:lnTo>
                    <a:pt x="9846" y="3"/>
                  </a:lnTo>
                  <a:lnTo>
                    <a:pt x="9834" y="1"/>
                  </a:lnTo>
                  <a:lnTo>
                    <a:pt x="9821" y="1"/>
                  </a:lnTo>
                  <a:lnTo>
                    <a:pt x="98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87" name="îşlïḍe">
              <a:extLst>
                <a:ext uri="{FF2B5EF4-FFF2-40B4-BE49-F238E27FC236}">
                  <a16:creationId xmlns:a16="http://schemas.microsoft.com/office/drawing/2014/main" id="{CC94BECC-798F-4790-8CBC-2B77A123B7F8}"/>
                </a:ext>
              </a:extLst>
            </p:cNvPr>
            <p:cNvSpPr/>
            <p:nvPr/>
          </p:nvSpPr>
          <p:spPr bwMode="auto">
            <a:xfrm>
              <a:off x="10446456" y="468094"/>
              <a:ext cx="144480" cy="6905"/>
            </a:xfrm>
            <a:custGeom>
              <a:avLst/>
              <a:gdLst>
                <a:gd name="T0" fmla="*/ 238 w 10059"/>
                <a:gd name="T1" fmla="*/ 0 h 503"/>
                <a:gd name="T2" fmla="*/ 201 w 10059"/>
                <a:gd name="T3" fmla="*/ 5 h 503"/>
                <a:gd name="T4" fmla="*/ 165 w 10059"/>
                <a:gd name="T5" fmla="*/ 16 h 503"/>
                <a:gd name="T6" fmla="*/ 132 w 10059"/>
                <a:gd name="T7" fmla="*/ 31 h 503"/>
                <a:gd name="T8" fmla="*/ 100 w 10059"/>
                <a:gd name="T9" fmla="*/ 51 h 503"/>
                <a:gd name="T10" fmla="*/ 73 w 10059"/>
                <a:gd name="T11" fmla="*/ 74 h 503"/>
                <a:gd name="T12" fmla="*/ 50 w 10059"/>
                <a:gd name="T13" fmla="*/ 102 h 503"/>
                <a:gd name="T14" fmla="*/ 30 w 10059"/>
                <a:gd name="T15" fmla="*/ 132 h 503"/>
                <a:gd name="T16" fmla="*/ 15 w 10059"/>
                <a:gd name="T17" fmla="*/ 165 h 503"/>
                <a:gd name="T18" fmla="*/ 5 w 10059"/>
                <a:gd name="T19" fmla="*/ 202 h 503"/>
                <a:gd name="T20" fmla="*/ 0 w 10059"/>
                <a:gd name="T21" fmla="*/ 239 h 503"/>
                <a:gd name="T22" fmla="*/ 1 w 10059"/>
                <a:gd name="T23" fmla="*/ 278 h 503"/>
                <a:gd name="T24" fmla="*/ 8 w 10059"/>
                <a:gd name="T25" fmla="*/ 315 h 503"/>
                <a:gd name="T26" fmla="*/ 20 w 10059"/>
                <a:gd name="T27" fmla="*/ 350 h 503"/>
                <a:gd name="T28" fmla="*/ 36 w 10059"/>
                <a:gd name="T29" fmla="*/ 383 h 503"/>
                <a:gd name="T30" fmla="*/ 57 w 10059"/>
                <a:gd name="T31" fmla="*/ 412 h 503"/>
                <a:gd name="T32" fmla="*/ 82 w 10059"/>
                <a:gd name="T33" fmla="*/ 438 h 503"/>
                <a:gd name="T34" fmla="*/ 110 w 10059"/>
                <a:gd name="T35" fmla="*/ 460 h 503"/>
                <a:gd name="T36" fmla="*/ 143 w 10059"/>
                <a:gd name="T37" fmla="*/ 478 h 503"/>
                <a:gd name="T38" fmla="*/ 177 w 10059"/>
                <a:gd name="T39" fmla="*/ 492 h 503"/>
                <a:gd name="T40" fmla="*/ 213 w 10059"/>
                <a:gd name="T41" fmla="*/ 500 h 503"/>
                <a:gd name="T42" fmla="*/ 251 w 10059"/>
                <a:gd name="T43" fmla="*/ 503 h 503"/>
                <a:gd name="T44" fmla="*/ 9834 w 10059"/>
                <a:gd name="T45" fmla="*/ 502 h 503"/>
                <a:gd name="T46" fmla="*/ 9870 w 10059"/>
                <a:gd name="T47" fmla="*/ 495 h 503"/>
                <a:gd name="T48" fmla="*/ 9905 w 10059"/>
                <a:gd name="T49" fmla="*/ 483 h 503"/>
                <a:gd name="T50" fmla="*/ 9938 w 10059"/>
                <a:gd name="T51" fmla="*/ 467 h 503"/>
                <a:gd name="T52" fmla="*/ 9968 w 10059"/>
                <a:gd name="T53" fmla="*/ 446 h 503"/>
                <a:gd name="T54" fmla="*/ 9994 w 10059"/>
                <a:gd name="T55" fmla="*/ 421 h 503"/>
                <a:gd name="T56" fmla="*/ 10016 w 10059"/>
                <a:gd name="T57" fmla="*/ 393 h 503"/>
                <a:gd name="T58" fmla="*/ 10034 w 10059"/>
                <a:gd name="T59" fmla="*/ 362 h 503"/>
                <a:gd name="T60" fmla="*/ 10048 w 10059"/>
                <a:gd name="T61" fmla="*/ 326 h 503"/>
                <a:gd name="T62" fmla="*/ 10056 w 10059"/>
                <a:gd name="T63" fmla="*/ 290 h 503"/>
                <a:gd name="T64" fmla="*/ 10059 w 10059"/>
                <a:gd name="T65" fmla="*/ 252 h 503"/>
                <a:gd name="T66" fmla="*/ 10056 w 10059"/>
                <a:gd name="T67" fmla="*/ 214 h 503"/>
                <a:gd name="T68" fmla="*/ 10048 w 10059"/>
                <a:gd name="T69" fmla="*/ 177 h 503"/>
                <a:gd name="T70" fmla="*/ 10034 w 10059"/>
                <a:gd name="T71" fmla="*/ 143 h 503"/>
                <a:gd name="T72" fmla="*/ 10016 w 10059"/>
                <a:gd name="T73" fmla="*/ 112 h 503"/>
                <a:gd name="T74" fmla="*/ 9994 w 10059"/>
                <a:gd name="T75" fmla="*/ 83 h 503"/>
                <a:gd name="T76" fmla="*/ 9968 w 10059"/>
                <a:gd name="T77" fmla="*/ 58 h 503"/>
                <a:gd name="T78" fmla="*/ 9938 w 10059"/>
                <a:gd name="T79" fmla="*/ 37 h 503"/>
                <a:gd name="T80" fmla="*/ 9905 w 10059"/>
                <a:gd name="T81" fmla="*/ 21 h 503"/>
                <a:gd name="T82" fmla="*/ 9870 w 10059"/>
                <a:gd name="T83" fmla="*/ 8 h 503"/>
                <a:gd name="T84" fmla="*/ 9834 w 10059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9" h="503">
                  <a:moveTo>
                    <a:pt x="9808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2"/>
                  </a:lnTo>
                  <a:lnTo>
                    <a:pt x="165" y="16"/>
                  </a:lnTo>
                  <a:lnTo>
                    <a:pt x="154" y="21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0" y="37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2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90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2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4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9808" y="503"/>
                  </a:lnTo>
                  <a:lnTo>
                    <a:pt x="9821" y="503"/>
                  </a:lnTo>
                  <a:lnTo>
                    <a:pt x="9834" y="502"/>
                  </a:lnTo>
                  <a:lnTo>
                    <a:pt x="9846" y="500"/>
                  </a:lnTo>
                  <a:lnTo>
                    <a:pt x="9858" y="498"/>
                  </a:lnTo>
                  <a:lnTo>
                    <a:pt x="9870" y="495"/>
                  </a:lnTo>
                  <a:lnTo>
                    <a:pt x="9882" y="492"/>
                  </a:lnTo>
                  <a:lnTo>
                    <a:pt x="9894" y="488"/>
                  </a:lnTo>
                  <a:lnTo>
                    <a:pt x="9905" y="483"/>
                  </a:lnTo>
                  <a:lnTo>
                    <a:pt x="9916" y="478"/>
                  </a:lnTo>
                  <a:lnTo>
                    <a:pt x="9927" y="473"/>
                  </a:lnTo>
                  <a:lnTo>
                    <a:pt x="9938" y="467"/>
                  </a:lnTo>
                  <a:lnTo>
                    <a:pt x="9948" y="460"/>
                  </a:lnTo>
                  <a:lnTo>
                    <a:pt x="9959" y="454"/>
                  </a:lnTo>
                  <a:lnTo>
                    <a:pt x="9968" y="446"/>
                  </a:lnTo>
                  <a:lnTo>
                    <a:pt x="9977" y="438"/>
                  </a:lnTo>
                  <a:lnTo>
                    <a:pt x="9986" y="430"/>
                  </a:lnTo>
                  <a:lnTo>
                    <a:pt x="9994" y="421"/>
                  </a:lnTo>
                  <a:lnTo>
                    <a:pt x="10002" y="412"/>
                  </a:lnTo>
                  <a:lnTo>
                    <a:pt x="10009" y="403"/>
                  </a:lnTo>
                  <a:lnTo>
                    <a:pt x="10016" y="393"/>
                  </a:lnTo>
                  <a:lnTo>
                    <a:pt x="10023" y="383"/>
                  </a:lnTo>
                  <a:lnTo>
                    <a:pt x="10029" y="372"/>
                  </a:lnTo>
                  <a:lnTo>
                    <a:pt x="10034" y="362"/>
                  </a:lnTo>
                  <a:lnTo>
                    <a:pt x="10039" y="350"/>
                  </a:lnTo>
                  <a:lnTo>
                    <a:pt x="10044" y="338"/>
                  </a:lnTo>
                  <a:lnTo>
                    <a:pt x="10048" y="326"/>
                  </a:lnTo>
                  <a:lnTo>
                    <a:pt x="10051" y="315"/>
                  </a:lnTo>
                  <a:lnTo>
                    <a:pt x="10054" y="302"/>
                  </a:lnTo>
                  <a:lnTo>
                    <a:pt x="10056" y="290"/>
                  </a:lnTo>
                  <a:lnTo>
                    <a:pt x="10058" y="278"/>
                  </a:lnTo>
                  <a:lnTo>
                    <a:pt x="10059" y="265"/>
                  </a:lnTo>
                  <a:lnTo>
                    <a:pt x="10059" y="252"/>
                  </a:lnTo>
                  <a:lnTo>
                    <a:pt x="10059" y="239"/>
                  </a:lnTo>
                  <a:lnTo>
                    <a:pt x="10058" y="227"/>
                  </a:lnTo>
                  <a:lnTo>
                    <a:pt x="10056" y="214"/>
                  </a:lnTo>
                  <a:lnTo>
                    <a:pt x="10054" y="202"/>
                  </a:lnTo>
                  <a:lnTo>
                    <a:pt x="10051" y="190"/>
                  </a:lnTo>
                  <a:lnTo>
                    <a:pt x="10048" y="177"/>
                  </a:lnTo>
                  <a:lnTo>
                    <a:pt x="10044" y="165"/>
                  </a:lnTo>
                  <a:lnTo>
                    <a:pt x="10039" y="154"/>
                  </a:lnTo>
                  <a:lnTo>
                    <a:pt x="10034" y="143"/>
                  </a:lnTo>
                  <a:lnTo>
                    <a:pt x="10029" y="132"/>
                  </a:lnTo>
                  <a:lnTo>
                    <a:pt x="10023" y="122"/>
                  </a:lnTo>
                  <a:lnTo>
                    <a:pt x="10016" y="112"/>
                  </a:lnTo>
                  <a:lnTo>
                    <a:pt x="10009" y="102"/>
                  </a:lnTo>
                  <a:lnTo>
                    <a:pt x="10002" y="92"/>
                  </a:lnTo>
                  <a:lnTo>
                    <a:pt x="9994" y="83"/>
                  </a:lnTo>
                  <a:lnTo>
                    <a:pt x="9986" y="74"/>
                  </a:lnTo>
                  <a:lnTo>
                    <a:pt x="9977" y="66"/>
                  </a:lnTo>
                  <a:lnTo>
                    <a:pt x="9968" y="58"/>
                  </a:lnTo>
                  <a:lnTo>
                    <a:pt x="9959" y="51"/>
                  </a:lnTo>
                  <a:lnTo>
                    <a:pt x="9948" y="44"/>
                  </a:lnTo>
                  <a:lnTo>
                    <a:pt x="9938" y="37"/>
                  </a:lnTo>
                  <a:lnTo>
                    <a:pt x="9927" y="31"/>
                  </a:lnTo>
                  <a:lnTo>
                    <a:pt x="9916" y="26"/>
                  </a:lnTo>
                  <a:lnTo>
                    <a:pt x="9905" y="21"/>
                  </a:lnTo>
                  <a:lnTo>
                    <a:pt x="9894" y="16"/>
                  </a:lnTo>
                  <a:lnTo>
                    <a:pt x="9882" y="12"/>
                  </a:lnTo>
                  <a:lnTo>
                    <a:pt x="9870" y="8"/>
                  </a:lnTo>
                  <a:lnTo>
                    <a:pt x="9858" y="5"/>
                  </a:lnTo>
                  <a:lnTo>
                    <a:pt x="9846" y="3"/>
                  </a:lnTo>
                  <a:lnTo>
                    <a:pt x="9834" y="1"/>
                  </a:lnTo>
                  <a:lnTo>
                    <a:pt x="9821" y="0"/>
                  </a:lnTo>
                  <a:lnTo>
                    <a:pt x="98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88" name="i$ḻíḓè">
              <a:extLst>
                <a:ext uri="{FF2B5EF4-FFF2-40B4-BE49-F238E27FC236}">
                  <a16:creationId xmlns:a16="http://schemas.microsoft.com/office/drawing/2014/main" id="{CE55500B-A026-495E-83D5-38064126EE1C}"/>
                </a:ext>
              </a:extLst>
            </p:cNvPr>
            <p:cNvSpPr/>
            <p:nvPr/>
          </p:nvSpPr>
          <p:spPr bwMode="auto">
            <a:xfrm>
              <a:off x="10446456" y="366640"/>
              <a:ext cx="64804" cy="65335"/>
            </a:xfrm>
            <a:custGeom>
              <a:avLst/>
              <a:gdLst>
                <a:gd name="T0" fmla="*/ 3521 w 4526"/>
                <a:gd name="T1" fmla="*/ 3519 h 4525"/>
                <a:gd name="T2" fmla="*/ 503 w 4526"/>
                <a:gd name="T3" fmla="*/ 4525 h 4525"/>
                <a:gd name="T4" fmla="*/ 4075 w 4526"/>
                <a:gd name="T5" fmla="*/ 4522 h 4525"/>
                <a:gd name="T6" fmla="*/ 4149 w 4526"/>
                <a:gd name="T7" fmla="*/ 4508 h 4525"/>
                <a:gd name="T8" fmla="*/ 4220 w 4526"/>
                <a:gd name="T9" fmla="*/ 4485 h 4525"/>
                <a:gd name="T10" fmla="*/ 4284 w 4526"/>
                <a:gd name="T11" fmla="*/ 4452 h 4525"/>
                <a:gd name="T12" fmla="*/ 4343 w 4526"/>
                <a:gd name="T13" fmla="*/ 4410 h 4525"/>
                <a:gd name="T14" fmla="*/ 4396 w 4526"/>
                <a:gd name="T15" fmla="*/ 4360 h 4525"/>
                <a:gd name="T16" fmla="*/ 4441 w 4526"/>
                <a:gd name="T17" fmla="*/ 4302 h 4525"/>
                <a:gd name="T18" fmla="*/ 4477 w 4526"/>
                <a:gd name="T19" fmla="*/ 4240 h 4525"/>
                <a:gd name="T20" fmla="*/ 4504 w 4526"/>
                <a:gd name="T21" fmla="*/ 4172 h 4525"/>
                <a:gd name="T22" fmla="*/ 4520 w 4526"/>
                <a:gd name="T23" fmla="*/ 4098 h 4525"/>
                <a:gd name="T24" fmla="*/ 4526 w 4526"/>
                <a:gd name="T25" fmla="*/ 4022 h 4525"/>
                <a:gd name="T26" fmla="*/ 4523 w 4526"/>
                <a:gd name="T27" fmla="*/ 452 h 4525"/>
                <a:gd name="T28" fmla="*/ 4510 w 4526"/>
                <a:gd name="T29" fmla="*/ 377 h 4525"/>
                <a:gd name="T30" fmla="*/ 4487 w 4526"/>
                <a:gd name="T31" fmla="*/ 308 h 4525"/>
                <a:gd name="T32" fmla="*/ 4454 w 4526"/>
                <a:gd name="T33" fmla="*/ 242 h 4525"/>
                <a:gd name="T34" fmla="*/ 4412 w 4526"/>
                <a:gd name="T35" fmla="*/ 183 h 4525"/>
                <a:gd name="T36" fmla="*/ 4361 w 4526"/>
                <a:gd name="T37" fmla="*/ 131 h 4525"/>
                <a:gd name="T38" fmla="*/ 4305 w 4526"/>
                <a:gd name="T39" fmla="*/ 85 h 4525"/>
                <a:gd name="T40" fmla="*/ 4242 w 4526"/>
                <a:gd name="T41" fmla="*/ 49 h 4525"/>
                <a:gd name="T42" fmla="*/ 4173 w 4526"/>
                <a:gd name="T43" fmla="*/ 22 h 4525"/>
                <a:gd name="T44" fmla="*/ 4100 w 4526"/>
                <a:gd name="T45" fmla="*/ 6 h 4525"/>
                <a:gd name="T46" fmla="*/ 4024 w 4526"/>
                <a:gd name="T47" fmla="*/ 0 h 4525"/>
                <a:gd name="T48" fmla="*/ 451 w 4526"/>
                <a:gd name="T49" fmla="*/ 3 h 4525"/>
                <a:gd name="T50" fmla="*/ 377 w 4526"/>
                <a:gd name="T51" fmla="*/ 16 h 4525"/>
                <a:gd name="T52" fmla="*/ 307 w 4526"/>
                <a:gd name="T53" fmla="*/ 39 h 4525"/>
                <a:gd name="T54" fmla="*/ 242 w 4526"/>
                <a:gd name="T55" fmla="*/ 72 h 4525"/>
                <a:gd name="T56" fmla="*/ 183 w 4526"/>
                <a:gd name="T57" fmla="*/ 115 h 4525"/>
                <a:gd name="T58" fmla="*/ 131 w 4526"/>
                <a:gd name="T59" fmla="*/ 165 h 4525"/>
                <a:gd name="T60" fmla="*/ 85 w 4526"/>
                <a:gd name="T61" fmla="*/ 222 h 4525"/>
                <a:gd name="T62" fmla="*/ 49 w 4526"/>
                <a:gd name="T63" fmla="*/ 285 h 4525"/>
                <a:gd name="T64" fmla="*/ 22 w 4526"/>
                <a:gd name="T65" fmla="*/ 353 h 4525"/>
                <a:gd name="T66" fmla="*/ 6 w 4526"/>
                <a:gd name="T67" fmla="*/ 426 h 4525"/>
                <a:gd name="T68" fmla="*/ 0 w 4526"/>
                <a:gd name="T69" fmla="*/ 503 h 4525"/>
                <a:gd name="T70" fmla="*/ 3 w 4526"/>
                <a:gd name="T71" fmla="*/ 4073 h 4525"/>
                <a:gd name="T72" fmla="*/ 16 w 4526"/>
                <a:gd name="T73" fmla="*/ 4147 h 4525"/>
                <a:gd name="T74" fmla="*/ 39 w 4526"/>
                <a:gd name="T75" fmla="*/ 4218 h 4525"/>
                <a:gd name="T76" fmla="*/ 72 w 4526"/>
                <a:gd name="T77" fmla="*/ 4282 h 4525"/>
                <a:gd name="T78" fmla="*/ 114 w 4526"/>
                <a:gd name="T79" fmla="*/ 4342 h 4525"/>
                <a:gd name="T80" fmla="*/ 165 w 4526"/>
                <a:gd name="T81" fmla="*/ 4394 h 4525"/>
                <a:gd name="T82" fmla="*/ 221 w 4526"/>
                <a:gd name="T83" fmla="*/ 4439 h 4525"/>
                <a:gd name="T84" fmla="*/ 284 w 4526"/>
                <a:gd name="T85" fmla="*/ 4475 h 4525"/>
                <a:gd name="T86" fmla="*/ 353 w 4526"/>
                <a:gd name="T87" fmla="*/ 4501 h 4525"/>
                <a:gd name="T88" fmla="*/ 426 w 4526"/>
                <a:gd name="T89" fmla="*/ 4519 h 4525"/>
                <a:gd name="T90" fmla="*/ 503 w 4526"/>
                <a:gd name="T91" fmla="*/ 4525 h 4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526" h="4525">
                  <a:moveTo>
                    <a:pt x="1006" y="1004"/>
                  </a:moveTo>
                  <a:lnTo>
                    <a:pt x="3521" y="1004"/>
                  </a:lnTo>
                  <a:lnTo>
                    <a:pt x="3521" y="3519"/>
                  </a:lnTo>
                  <a:lnTo>
                    <a:pt x="1006" y="3519"/>
                  </a:lnTo>
                  <a:lnTo>
                    <a:pt x="1006" y="1004"/>
                  </a:lnTo>
                  <a:close/>
                  <a:moveTo>
                    <a:pt x="503" y="4525"/>
                  </a:moveTo>
                  <a:lnTo>
                    <a:pt x="4024" y="4525"/>
                  </a:lnTo>
                  <a:lnTo>
                    <a:pt x="4050" y="4524"/>
                  </a:lnTo>
                  <a:lnTo>
                    <a:pt x="4075" y="4522"/>
                  </a:lnTo>
                  <a:lnTo>
                    <a:pt x="4100" y="4519"/>
                  </a:lnTo>
                  <a:lnTo>
                    <a:pt x="4125" y="4515"/>
                  </a:lnTo>
                  <a:lnTo>
                    <a:pt x="4149" y="4508"/>
                  </a:lnTo>
                  <a:lnTo>
                    <a:pt x="4173" y="4501"/>
                  </a:lnTo>
                  <a:lnTo>
                    <a:pt x="4197" y="4494"/>
                  </a:lnTo>
                  <a:lnTo>
                    <a:pt x="4220" y="4485"/>
                  </a:lnTo>
                  <a:lnTo>
                    <a:pt x="4242" y="4475"/>
                  </a:lnTo>
                  <a:lnTo>
                    <a:pt x="4263" y="4464"/>
                  </a:lnTo>
                  <a:lnTo>
                    <a:pt x="4284" y="4452"/>
                  </a:lnTo>
                  <a:lnTo>
                    <a:pt x="4305" y="4439"/>
                  </a:lnTo>
                  <a:lnTo>
                    <a:pt x="4324" y="4425"/>
                  </a:lnTo>
                  <a:lnTo>
                    <a:pt x="4343" y="4410"/>
                  </a:lnTo>
                  <a:lnTo>
                    <a:pt x="4361" y="4394"/>
                  </a:lnTo>
                  <a:lnTo>
                    <a:pt x="4380" y="4378"/>
                  </a:lnTo>
                  <a:lnTo>
                    <a:pt x="4396" y="4360"/>
                  </a:lnTo>
                  <a:lnTo>
                    <a:pt x="4412" y="4342"/>
                  </a:lnTo>
                  <a:lnTo>
                    <a:pt x="4427" y="4322"/>
                  </a:lnTo>
                  <a:lnTo>
                    <a:pt x="4441" y="4302"/>
                  </a:lnTo>
                  <a:lnTo>
                    <a:pt x="4454" y="4282"/>
                  </a:lnTo>
                  <a:lnTo>
                    <a:pt x="4466" y="4261"/>
                  </a:lnTo>
                  <a:lnTo>
                    <a:pt x="4477" y="4240"/>
                  </a:lnTo>
                  <a:lnTo>
                    <a:pt x="4487" y="4218"/>
                  </a:lnTo>
                  <a:lnTo>
                    <a:pt x="4496" y="4195"/>
                  </a:lnTo>
                  <a:lnTo>
                    <a:pt x="4504" y="4172"/>
                  </a:lnTo>
                  <a:lnTo>
                    <a:pt x="4510" y="4147"/>
                  </a:lnTo>
                  <a:lnTo>
                    <a:pt x="4516" y="4123"/>
                  </a:lnTo>
                  <a:lnTo>
                    <a:pt x="4520" y="4098"/>
                  </a:lnTo>
                  <a:lnTo>
                    <a:pt x="4523" y="4073"/>
                  </a:lnTo>
                  <a:lnTo>
                    <a:pt x="4525" y="4048"/>
                  </a:lnTo>
                  <a:lnTo>
                    <a:pt x="4526" y="4022"/>
                  </a:lnTo>
                  <a:lnTo>
                    <a:pt x="4526" y="503"/>
                  </a:lnTo>
                  <a:lnTo>
                    <a:pt x="4525" y="477"/>
                  </a:lnTo>
                  <a:lnTo>
                    <a:pt x="4523" y="452"/>
                  </a:lnTo>
                  <a:lnTo>
                    <a:pt x="4520" y="426"/>
                  </a:lnTo>
                  <a:lnTo>
                    <a:pt x="4516" y="401"/>
                  </a:lnTo>
                  <a:lnTo>
                    <a:pt x="4510" y="377"/>
                  </a:lnTo>
                  <a:lnTo>
                    <a:pt x="4504" y="353"/>
                  </a:lnTo>
                  <a:lnTo>
                    <a:pt x="4496" y="330"/>
                  </a:lnTo>
                  <a:lnTo>
                    <a:pt x="4487" y="308"/>
                  </a:lnTo>
                  <a:lnTo>
                    <a:pt x="4477" y="285"/>
                  </a:lnTo>
                  <a:lnTo>
                    <a:pt x="4466" y="263"/>
                  </a:lnTo>
                  <a:lnTo>
                    <a:pt x="4454" y="242"/>
                  </a:lnTo>
                  <a:lnTo>
                    <a:pt x="4441" y="222"/>
                  </a:lnTo>
                  <a:lnTo>
                    <a:pt x="4427" y="202"/>
                  </a:lnTo>
                  <a:lnTo>
                    <a:pt x="4412" y="183"/>
                  </a:lnTo>
                  <a:lnTo>
                    <a:pt x="4396" y="165"/>
                  </a:lnTo>
                  <a:lnTo>
                    <a:pt x="4380" y="148"/>
                  </a:lnTo>
                  <a:lnTo>
                    <a:pt x="4361" y="131"/>
                  </a:lnTo>
                  <a:lnTo>
                    <a:pt x="4343" y="115"/>
                  </a:lnTo>
                  <a:lnTo>
                    <a:pt x="4324" y="99"/>
                  </a:lnTo>
                  <a:lnTo>
                    <a:pt x="4305" y="85"/>
                  </a:lnTo>
                  <a:lnTo>
                    <a:pt x="4284" y="72"/>
                  </a:lnTo>
                  <a:lnTo>
                    <a:pt x="4263" y="60"/>
                  </a:lnTo>
                  <a:lnTo>
                    <a:pt x="4242" y="49"/>
                  </a:lnTo>
                  <a:lnTo>
                    <a:pt x="4220" y="39"/>
                  </a:lnTo>
                  <a:lnTo>
                    <a:pt x="4197" y="30"/>
                  </a:lnTo>
                  <a:lnTo>
                    <a:pt x="4173" y="22"/>
                  </a:lnTo>
                  <a:lnTo>
                    <a:pt x="4149" y="16"/>
                  </a:lnTo>
                  <a:lnTo>
                    <a:pt x="4125" y="10"/>
                  </a:lnTo>
                  <a:lnTo>
                    <a:pt x="4100" y="6"/>
                  </a:lnTo>
                  <a:lnTo>
                    <a:pt x="4075" y="3"/>
                  </a:lnTo>
                  <a:lnTo>
                    <a:pt x="4050" y="1"/>
                  </a:lnTo>
                  <a:lnTo>
                    <a:pt x="4024" y="0"/>
                  </a:lnTo>
                  <a:lnTo>
                    <a:pt x="503" y="0"/>
                  </a:lnTo>
                  <a:lnTo>
                    <a:pt x="477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4" y="49"/>
                  </a:lnTo>
                  <a:lnTo>
                    <a:pt x="262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8"/>
                  </a:lnTo>
                  <a:lnTo>
                    <a:pt x="131" y="165"/>
                  </a:lnTo>
                  <a:lnTo>
                    <a:pt x="114" y="183"/>
                  </a:lnTo>
                  <a:lnTo>
                    <a:pt x="99" y="202"/>
                  </a:lnTo>
                  <a:lnTo>
                    <a:pt x="85" y="222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8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0" y="4022"/>
                  </a:lnTo>
                  <a:lnTo>
                    <a:pt x="1" y="4048"/>
                  </a:lnTo>
                  <a:lnTo>
                    <a:pt x="3" y="4073"/>
                  </a:lnTo>
                  <a:lnTo>
                    <a:pt x="6" y="4098"/>
                  </a:lnTo>
                  <a:lnTo>
                    <a:pt x="10" y="4123"/>
                  </a:lnTo>
                  <a:lnTo>
                    <a:pt x="16" y="4147"/>
                  </a:lnTo>
                  <a:lnTo>
                    <a:pt x="22" y="4172"/>
                  </a:lnTo>
                  <a:lnTo>
                    <a:pt x="30" y="4195"/>
                  </a:lnTo>
                  <a:lnTo>
                    <a:pt x="39" y="4218"/>
                  </a:lnTo>
                  <a:lnTo>
                    <a:pt x="49" y="4240"/>
                  </a:lnTo>
                  <a:lnTo>
                    <a:pt x="60" y="4261"/>
                  </a:lnTo>
                  <a:lnTo>
                    <a:pt x="72" y="4282"/>
                  </a:lnTo>
                  <a:lnTo>
                    <a:pt x="85" y="4302"/>
                  </a:lnTo>
                  <a:lnTo>
                    <a:pt x="99" y="4322"/>
                  </a:lnTo>
                  <a:lnTo>
                    <a:pt x="114" y="4342"/>
                  </a:lnTo>
                  <a:lnTo>
                    <a:pt x="131" y="4360"/>
                  </a:lnTo>
                  <a:lnTo>
                    <a:pt x="147" y="4378"/>
                  </a:lnTo>
                  <a:lnTo>
                    <a:pt x="165" y="4394"/>
                  </a:lnTo>
                  <a:lnTo>
                    <a:pt x="183" y="4410"/>
                  </a:lnTo>
                  <a:lnTo>
                    <a:pt x="202" y="4425"/>
                  </a:lnTo>
                  <a:lnTo>
                    <a:pt x="221" y="4439"/>
                  </a:lnTo>
                  <a:lnTo>
                    <a:pt x="242" y="4452"/>
                  </a:lnTo>
                  <a:lnTo>
                    <a:pt x="262" y="4464"/>
                  </a:lnTo>
                  <a:lnTo>
                    <a:pt x="284" y="4475"/>
                  </a:lnTo>
                  <a:lnTo>
                    <a:pt x="307" y="4485"/>
                  </a:lnTo>
                  <a:lnTo>
                    <a:pt x="330" y="4494"/>
                  </a:lnTo>
                  <a:lnTo>
                    <a:pt x="353" y="4501"/>
                  </a:lnTo>
                  <a:lnTo>
                    <a:pt x="377" y="4508"/>
                  </a:lnTo>
                  <a:lnTo>
                    <a:pt x="401" y="4515"/>
                  </a:lnTo>
                  <a:lnTo>
                    <a:pt x="426" y="4519"/>
                  </a:lnTo>
                  <a:lnTo>
                    <a:pt x="451" y="4522"/>
                  </a:lnTo>
                  <a:lnTo>
                    <a:pt x="477" y="4524"/>
                  </a:lnTo>
                  <a:lnTo>
                    <a:pt x="503" y="45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89" name="işḷîde">
              <a:extLst>
                <a:ext uri="{FF2B5EF4-FFF2-40B4-BE49-F238E27FC236}">
                  <a16:creationId xmlns:a16="http://schemas.microsoft.com/office/drawing/2014/main" id="{055015D7-8251-4E60-A933-DF908F045E3C}"/>
                </a:ext>
              </a:extLst>
            </p:cNvPr>
            <p:cNvSpPr/>
            <p:nvPr/>
          </p:nvSpPr>
          <p:spPr bwMode="auto">
            <a:xfrm>
              <a:off x="10135370" y="93739"/>
              <a:ext cx="238394" cy="347625"/>
            </a:xfrm>
            <a:custGeom>
              <a:avLst/>
              <a:gdLst>
                <a:gd name="T0" fmla="*/ 9581 w 11062"/>
                <a:gd name="T1" fmla="*/ 13339 h 16132"/>
                <a:gd name="T2" fmla="*/ 8775 w 11062"/>
                <a:gd name="T3" fmla="*/ 14325 h 16132"/>
                <a:gd name="T4" fmla="*/ 6999 w 11062"/>
                <a:gd name="T5" fmla="*/ 14980 h 16132"/>
                <a:gd name="T6" fmla="*/ 4346 w 11062"/>
                <a:gd name="T7" fmla="*/ 15077 h 16132"/>
                <a:gd name="T8" fmla="*/ 2649 w 11062"/>
                <a:gd name="T9" fmla="*/ 14454 h 16132"/>
                <a:gd name="T10" fmla="*/ 1519 w 11062"/>
                <a:gd name="T11" fmla="*/ 13302 h 16132"/>
                <a:gd name="T12" fmla="*/ 1023 w 11062"/>
                <a:gd name="T13" fmla="*/ 11870 h 16132"/>
                <a:gd name="T14" fmla="*/ 1038 w 11062"/>
                <a:gd name="T15" fmla="*/ 10686 h 16132"/>
                <a:gd name="T16" fmla="*/ 1161 w 11062"/>
                <a:gd name="T17" fmla="*/ 9659 h 16132"/>
                <a:gd name="T18" fmla="*/ 1368 w 11062"/>
                <a:gd name="T19" fmla="*/ 8565 h 16132"/>
                <a:gd name="T20" fmla="*/ 1751 w 11062"/>
                <a:gd name="T21" fmla="*/ 6782 h 16132"/>
                <a:gd name="T22" fmla="*/ 1969 w 11062"/>
                <a:gd name="T23" fmla="*/ 5444 h 16132"/>
                <a:gd name="T24" fmla="*/ 2066 w 11062"/>
                <a:gd name="T25" fmla="*/ 3973 h 16132"/>
                <a:gd name="T26" fmla="*/ 2442 w 11062"/>
                <a:gd name="T27" fmla="*/ 3510 h 16132"/>
                <a:gd name="T28" fmla="*/ 3378 w 11062"/>
                <a:gd name="T29" fmla="*/ 5418 h 16132"/>
                <a:gd name="T30" fmla="*/ 3921 w 11062"/>
                <a:gd name="T31" fmla="*/ 7026 h 16132"/>
                <a:gd name="T32" fmla="*/ 4134 w 11062"/>
                <a:gd name="T33" fmla="*/ 7893 h 16132"/>
                <a:gd name="T34" fmla="*/ 4981 w 11062"/>
                <a:gd name="T35" fmla="*/ 6640 h 16132"/>
                <a:gd name="T36" fmla="*/ 5652 w 11062"/>
                <a:gd name="T37" fmla="*/ 5541 h 16132"/>
                <a:gd name="T38" fmla="*/ 6048 w 11062"/>
                <a:gd name="T39" fmla="*/ 5124 h 16132"/>
                <a:gd name="T40" fmla="*/ 6276 w 11062"/>
                <a:gd name="T41" fmla="*/ 6127 h 16132"/>
                <a:gd name="T42" fmla="*/ 6449 w 11062"/>
                <a:gd name="T43" fmla="*/ 7550 h 16132"/>
                <a:gd name="T44" fmla="*/ 6532 w 11062"/>
                <a:gd name="T45" fmla="*/ 9200 h 16132"/>
                <a:gd name="T46" fmla="*/ 6940 w 11062"/>
                <a:gd name="T47" fmla="*/ 9209 h 16132"/>
                <a:gd name="T48" fmla="*/ 7692 w 11062"/>
                <a:gd name="T49" fmla="*/ 8420 h 16132"/>
                <a:gd name="T50" fmla="*/ 8583 w 11062"/>
                <a:gd name="T51" fmla="*/ 7268 h 16132"/>
                <a:gd name="T52" fmla="*/ 9393 w 11062"/>
                <a:gd name="T53" fmla="*/ 7890 h 16132"/>
                <a:gd name="T54" fmla="*/ 9897 w 11062"/>
                <a:gd name="T55" fmla="*/ 9499 h 16132"/>
                <a:gd name="T56" fmla="*/ 10055 w 11062"/>
                <a:gd name="T57" fmla="*/ 11059 h 16132"/>
                <a:gd name="T58" fmla="*/ 8546 w 11062"/>
                <a:gd name="T59" fmla="*/ 4537 h 16132"/>
                <a:gd name="T60" fmla="*/ 8332 w 11062"/>
                <a:gd name="T61" fmla="*/ 5604 h 16132"/>
                <a:gd name="T62" fmla="*/ 7919 w 11062"/>
                <a:gd name="T63" fmla="*/ 6448 h 16132"/>
                <a:gd name="T64" fmla="*/ 7572 w 11062"/>
                <a:gd name="T65" fmla="*/ 6944 h 16132"/>
                <a:gd name="T66" fmla="*/ 7322 w 11062"/>
                <a:gd name="T67" fmla="*/ 5677 h 16132"/>
                <a:gd name="T68" fmla="*/ 6610 w 11062"/>
                <a:gd name="T69" fmla="*/ 3988 h 16132"/>
                <a:gd name="T70" fmla="*/ 5839 w 11062"/>
                <a:gd name="T71" fmla="*/ 2871 h 16132"/>
                <a:gd name="T72" fmla="*/ 5524 w 11062"/>
                <a:gd name="T73" fmla="*/ 2624 h 16132"/>
                <a:gd name="T74" fmla="*/ 5435 w 11062"/>
                <a:gd name="T75" fmla="*/ 3254 h 16132"/>
                <a:gd name="T76" fmla="*/ 5137 w 11062"/>
                <a:gd name="T77" fmla="*/ 4285 h 16132"/>
                <a:gd name="T78" fmla="*/ 4503 w 11062"/>
                <a:gd name="T79" fmla="*/ 5519 h 16132"/>
                <a:gd name="T80" fmla="*/ 3295 w 11062"/>
                <a:gd name="T81" fmla="*/ 2924 h 16132"/>
                <a:gd name="T82" fmla="*/ 1805 w 11062"/>
                <a:gd name="T83" fmla="*/ 1110 h 16132"/>
                <a:gd name="T84" fmla="*/ 701 w 11062"/>
                <a:gd name="T85" fmla="*/ 145 h 16132"/>
                <a:gd name="T86" fmla="*/ 1011 w 11062"/>
                <a:gd name="T87" fmla="*/ 2771 h 16132"/>
                <a:gd name="T88" fmla="*/ 870 w 11062"/>
                <a:gd name="T89" fmla="*/ 6014 h 16132"/>
                <a:gd name="T90" fmla="*/ 290 w 11062"/>
                <a:gd name="T91" fmla="*/ 8820 h 16132"/>
                <a:gd name="T92" fmla="*/ 6 w 11062"/>
                <a:gd name="T93" fmla="*/ 11760 h 16132"/>
                <a:gd name="T94" fmla="*/ 554 w 11062"/>
                <a:gd name="T95" fmla="*/ 13649 h 16132"/>
                <a:gd name="T96" fmla="*/ 1906 w 11062"/>
                <a:gd name="T97" fmla="*/ 15167 h 16132"/>
                <a:gd name="T98" fmla="*/ 3939 w 11062"/>
                <a:gd name="T99" fmla="*/ 16031 h 16132"/>
                <a:gd name="T100" fmla="*/ 6884 w 11062"/>
                <a:gd name="T101" fmla="*/ 16016 h 16132"/>
                <a:gd name="T102" fmla="*/ 9121 w 11062"/>
                <a:gd name="T103" fmla="*/ 15301 h 16132"/>
                <a:gd name="T104" fmla="*/ 10305 w 11062"/>
                <a:gd name="T105" fmla="*/ 14100 h 16132"/>
                <a:gd name="T106" fmla="*/ 10866 w 11062"/>
                <a:gd name="T107" fmla="*/ 12606 h 16132"/>
                <a:gd name="T108" fmla="*/ 11039 w 11062"/>
                <a:gd name="T109" fmla="*/ 10358 h 16132"/>
                <a:gd name="T110" fmla="*/ 10527 w 11062"/>
                <a:gd name="T111" fmla="*/ 8031 h 16132"/>
                <a:gd name="T112" fmla="*/ 9405 w 11062"/>
                <a:gd name="T113" fmla="*/ 5745 h 16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062" h="16132">
                  <a:moveTo>
                    <a:pt x="9891" y="12362"/>
                  </a:moveTo>
                  <a:lnTo>
                    <a:pt x="9860" y="12483"/>
                  </a:lnTo>
                  <a:lnTo>
                    <a:pt x="9829" y="12606"/>
                  </a:lnTo>
                  <a:lnTo>
                    <a:pt x="9795" y="12729"/>
                  </a:lnTo>
                  <a:lnTo>
                    <a:pt x="9760" y="12852"/>
                  </a:lnTo>
                  <a:lnTo>
                    <a:pt x="9722" y="12975"/>
                  </a:lnTo>
                  <a:lnTo>
                    <a:pt x="9680" y="13097"/>
                  </a:lnTo>
                  <a:lnTo>
                    <a:pt x="9634" y="13219"/>
                  </a:lnTo>
                  <a:lnTo>
                    <a:pt x="9581" y="13339"/>
                  </a:lnTo>
                  <a:lnTo>
                    <a:pt x="9524" y="13458"/>
                  </a:lnTo>
                  <a:lnTo>
                    <a:pt x="9461" y="13576"/>
                  </a:lnTo>
                  <a:lnTo>
                    <a:pt x="9389" y="13691"/>
                  </a:lnTo>
                  <a:lnTo>
                    <a:pt x="9311" y="13805"/>
                  </a:lnTo>
                  <a:lnTo>
                    <a:pt x="9223" y="13915"/>
                  </a:lnTo>
                  <a:lnTo>
                    <a:pt x="9127" y="14023"/>
                  </a:lnTo>
                  <a:lnTo>
                    <a:pt x="9020" y="14128"/>
                  </a:lnTo>
                  <a:lnTo>
                    <a:pt x="8904" y="14228"/>
                  </a:lnTo>
                  <a:lnTo>
                    <a:pt x="8775" y="14325"/>
                  </a:lnTo>
                  <a:lnTo>
                    <a:pt x="8635" y="14419"/>
                  </a:lnTo>
                  <a:lnTo>
                    <a:pt x="8482" y="14508"/>
                  </a:lnTo>
                  <a:lnTo>
                    <a:pt x="8316" y="14591"/>
                  </a:lnTo>
                  <a:lnTo>
                    <a:pt x="8136" y="14670"/>
                  </a:lnTo>
                  <a:lnTo>
                    <a:pt x="7941" y="14744"/>
                  </a:lnTo>
                  <a:lnTo>
                    <a:pt x="7730" y="14812"/>
                  </a:lnTo>
                  <a:lnTo>
                    <a:pt x="7503" y="14875"/>
                  </a:lnTo>
                  <a:lnTo>
                    <a:pt x="7260" y="14930"/>
                  </a:lnTo>
                  <a:lnTo>
                    <a:pt x="6999" y="14980"/>
                  </a:lnTo>
                  <a:lnTo>
                    <a:pt x="6719" y="15023"/>
                  </a:lnTo>
                  <a:lnTo>
                    <a:pt x="6422" y="15058"/>
                  </a:lnTo>
                  <a:lnTo>
                    <a:pt x="6104" y="15086"/>
                  </a:lnTo>
                  <a:lnTo>
                    <a:pt x="5766" y="15107"/>
                  </a:lnTo>
                  <a:lnTo>
                    <a:pt x="5407" y="15120"/>
                  </a:lnTo>
                  <a:lnTo>
                    <a:pt x="5027" y="15124"/>
                  </a:lnTo>
                  <a:lnTo>
                    <a:pt x="4794" y="15119"/>
                  </a:lnTo>
                  <a:lnTo>
                    <a:pt x="4567" y="15103"/>
                  </a:lnTo>
                  <a:lnTo>
                    <a:pt x="4346" y="15077"/>
                  </a:lnTo>
                  <a:lnTo>
                    <a:pt x="4132" y="15042"/>
                  </a:lnTo>
                  <a:lnTo>
                    <a:pt x="3924" y="14998"/>
                  </a:lnTo>
                  <a:lnTo>
                    <a:pt x="3722" y="14944"/>
                  </a:lnTo>
                  <a:lnTo>
                    <a:pt x="3525" y="14882"/>
                  </a:lnTo>
                  <a:lnTo>
                    <a:pt x="3336" y="14811"/>
                  </a:lnTo>
                  <a:lnTo>
                    <a:pt x="3155" y="14734"/>
                  </a:lnTo>
                  <a:lnTo>
                    <a:pt x="2979" y="14648"/>
                  </a:lnTo>
                  <a:lnTo>
                    <a:pt x="2811" y="14554"/>
                  </a:lnTo>
                  <a:lnTo>
                    <a:pt x="2649" y="14454"/>
                  </a:lnTo>
                  <a:lnTo>
                    <a:pt x="2494" y="14347"/>
                  </a:lnTo>
                  <a:lnTo>
                    <a:pt x="2346" y="14235"/>
                  </a:lnTo>
                  <a:lnTo>
                    <a:pt x="2206" y="14117"/>
                  </a:lnTo>
                  <a:lnTo>
                    <a:pt x="2073" y="13992"/>
                  </a:lnTo>
                  <a:lnTo>
                    <a:pt x="1946" y="13863"/>
                  </a:lnTo>
                  <a:lnTo>
                    <a:pt x="1829" y="13729"/>
                  </a:lnTo>
                  <a:lnTo>
                    <a:pt x="1718" y="13590"/>
                  </a:lnTo>
                  <a:lnTo>
                    <a:pt x="1614" y="13448"/>
                  </a:lnTo>
                  <a:lnTo>
                    <a:pt x="1519" y="13302"/>
                  </a:lnTo>
                  <a:lnTo>
                    <a:pt x="1432" y="13152"/>
                  </a:lnTo>
                  <a:lnTo>
                    <a:pt x="1352" y="12998"/>
                  </a:lnTo>
                  <a:lnTo>
                    <a:pt x="1280" y="12843"/>
                  </a:lnTo>
                  <a:lnTo>
                    <a:pt x="1216" y="12685"/>
                  </a:lnTo>
                  <a:lnTo>
                    <a:pt x="1161" y="12524"/>
                  </a:lnTo>
                  <a:lnTo>
                    <a:pt x="1114" y="12363"/>
                  </a:lnTo>
                  <a:lnTo>
                    <a:pt x="1076" y="12200"/>
                  </a:lnTo>
                  <a:lnTo>
                    <a:pt x="1045" y="12035"/>
                  </a:lnTo>
                  <a:lnTo>
                    <a:pt x="1023" y="11870"/>
                  </a:lnTo>
                  <a:lnTo>
                    <a:pt x="1010" y="11706"/>
                  </a:lnTo>
                  <a:lnTo>
                    <a:pt x="1006" y="11540"/>
                  </a:lnTo>
                  <a:lnTo>
                    <a:pt x="1006" y="11414"/>
                  </a:lnTo>
                  <a:lnTo>
                    <a:pt x="1008" y="11289"/>
                  </a:lnTo>
                  <a:lnTo>
                    <a:pt x="1012" y="11166"/>
                  </a:lnTo>
                  <a:lnTo>
                    <a:pt x="1017" y="11044"/>
                  </a:lnTo>
                  <a:lnTo>
                    <a:pt x="1023" y="10924"/>
                  </a:lnTo>
                  <a:lnTo>
                    <a:pt x="1030" y="10804"/>
                  </a:lnTo>
                  <a:lnTo>
                    <a:pt x="1038" y="10686"/>
                  </a:lnTo>
                  <a:lnTo>
                    <a:pt x="1048" y="10568"/>
                  </a:lnTo>
                  <a:lnTo>
                    <a:pt x="1059" y="10453"/>
                  </a:lnTo>
                  <a:lnTo>
                    <a:pt x="1071" y="10337"/>
                  </a:lnTo>
                  <a:lnTo>
                    <a:pt x="1084" y="10222"/>
                  </a:lnTo>
                  <a:lnTo>
                    <a:pt x="1097" y="10108"/>
                  </a:lnTo>
                  <a:lnTo>
                    <a:pt x="1112" y="9995"/>
                  </a:lnTo>
                  <a:lnTo>
                    <a:pt x="1128" y="9883"/>
                  </a:lnTo>
                  <a:lnTo>
                    <a:pt x="1144" y="9771"/>
                  </a:lnTo>
                  <a:lnTo>
                    <a:pt x="1161" y="9659"/>
                  </a:lnTo>
                  <a:lnTo>
                    <a:pt x="1179" y="9548"/>
                  </a:lnTo>
                  <a:lnTo>
                    <a:pt x="1197" y="9438"/>
                  </a:lnTo>
                  <a:lnTo>
                    <a:pt x="1217" y="9328"/>
                  </a:lnTo>
                  <a:lnTo>
                    <a:pt x="1237" y="9218"/>
                  </a:lnTo>
                  <a:lnTo>
                    <a:pt x="1258" y="9110"/>
                  </a:lnTo>
                  <a:lnTo>
                    <a:pt x="1279" y="9001"/>
                  </a:lnTo>
                  <a:lnTo>
                    <a:pt x="1301" y="8892"/>
                  </a:lnTo>
                  <a:lnTo>
                    <a:pt x="1322" y="8783"/>
                  </a:lnTo>
                  <a:lnTo>
                    <a:pt x="1368" y="8565"/>
                  </a:lnTo>
                  <a:lnTo>
                    <a:pt x="1414" y="8348"/>
                  </a:lnTo>
                  <a:lnTo>
                    <a:pt x="1463" y="8130"/>
                  </a:lnTo>
                  <a:lnTo>
                    <a:pt x="1511" y="7911"/>
                  </a:lnTo>
                  <a:lnTo>
                    <a:pt x="1572" y="7631"/>
                  </a:lnTo>
                  <a:lnTo>
                    <a:pt x="1634" y="7351"/>
                  </a:lnTo>
                  <a:lnTo>
                    <a:pt x="1664" y="7210"/>
                  </a:lnTo>
                  <a:lnTo>
                    <a:pt x="1694" y="7068"/>
                  </a:lnTo>
                  <a:lnTo>
                    <a:pt x="1723" y="6926"/>
                  </a:lnTo>
                  <a:lnTo>
                    <a:pt x="1751" y="6782"/>
                  </a:lnTo>
                  <a:lnTo>
                    <a:pt x="1779" y="6638"/>
                  </a:lnTo>
                  <a:lnTo>
                    <a:pt x="1806" y="6493"/>
                  </a:lnTo>
                  <a:lnTo>
                    <a:pt x="1834" y="6347"/>
                  </a:lnTo>
                  <a:lnTo>
                    <a:pt x="1859" y="6200"/>
                  </a:lnTo>
                  <a:lnTo>
                    <a:pt x="1883" y="6051"/>
                  </a:lnTo>
                  <a:lnTo>
                    <a:pt x="1907" y="5901"/>
                  </a:lnTo>
                  <a:lnTo>
                    <a:pt x="1929" y="5750"/>
                  </a:lnTo>
                  <a:lnTo>
                    <a:pt x="1949" y="5598"/>
                  </a:lnTo>
                  <a:lnTo>
                    <a:pt x="1969" y="5444"/>
                  </a:lnTo>
                  <a:lnTo>
                    <a:pt x="1987" y="5287"/>
                  </a:lnTo>
                  <a:lnTo>
                    <a:pt x="2004" y="5130"/>
                  </a:lnTo>
                  <a:lnTo>
                    <a:pt x="2018" y="4971"/>
                  </a:lnTo>
                  <a:lnTo>
                    <a:pt x="2031" y="4809"/>
                  </a:lnTo>
                  <a:lnTo>
                    <a:pt x="2042" y="4646"/>
                  </a:lnTo>
                  <a:lnTo>
                    <a:pt x="2051" y="4482"/>
                  </a:lnTo>
                  <a:lnTo>
                    <a:pt x="2059" y="4314"/>
                  </a:lnTo>
                  <a:lnTo>
                    <a:pt x="2064" y="4145"/>
                  </a:lnTo>
                  <a:lnTo>
                    <a:pt x="2066" y="3973"/>
                  </a:lnTo>
                  <a:lnTo>
                    <a:pt x="2067" y="3798"/>
                  </a:lnTo>
                  <a:lnTo>
                    <a:pt x="2065" y="3622"/>
                  </a:lnTo>
                  <a:lnTo>
                    <a:pt x="2061" y="3443"/>
                  </a:lnTo>
                  <a:lnTo>
                    <a:pt x="2054" y="3261"/>
                  </a:lnTo>
                  <a:lnTo>
                    <a:pt x="2044" y="3076"/>
                  </a:lnTo>
                  <a:lnTo>
                    <a:pt x="2032" y="2890"/>
                  </a:lnTo>
                  <a:lnTo>
                    <a:pt x="2174" y="3093"/>
                  </a:lnTo>
                  <a:lnTo>
                    <a:pt x="2311" y="3300"/>
                  </a:lnTo>
                  <a:lnTo>
                    <a:pt x="2442" y="3510"/>
                  </a:lnTo>
                  <a:lnTo>
                    <a:pt x="2567" y="3722"/>
                  </a:lnTo>
                  <a:lnTo>
                    <a:pt x="2687" y="3935"/>
                  </a:lnTo>
                  <a:lnTo>
                    <a:pt x="2802" y="4150"/>
                  </a:lnTo>
                  <a:lnTo>
                    <a:pt x="2910" y="4365"/>
                  </a:lnTo>
                  <a:lnTo>
                    <a:pt x="3014" y="4578"/>
                  </a:lnTo>
                  <a:lnTo>
                    <a:pt x="3112" y="4792"/>
                  </a:lnTo>
                  <a:lnTo>
                    <a:pt x="3206" y="5003"/>
                  </a:lnTo>
                  <a:lnTo>
                    <a:pt x="3294" y="5213"/>
                  </a:lnTo>
                  <a:lnTo>
                    <a:pt x="3378" y="5418"/>
                  </a:lnTo>
                  <a:lnTo>
                    <a:pt x="3457" y="5620"/>
                  </a:lnTo>
                  <a:lnTo>
                    <a:pt x="3531" y="5818"/>
                  </a:lnTo>
                  <a:lnTo>
                    <a:pt x="3600" y="6011"/>
                  </a:lnTo>
                  <a:lnTo>
                    <a:pt x="3664" y="6198"/>
                  </a:lnTo>
                  <a:lnTo>
                    <a:pt x="3725" y="6379"/>
                  </a:lnTo>
                  <a:lnTo>
                    <a:pt x="3780" y="6553"/>
                  </a:lnTo>
                  <a:lnTo>
                    <a:pt x="3831" y="6719"/>
                  </a:lnTo>
                  <a:lnTo>
                    <a:pt x="3877" y="6877"/>
                  </a:lnTo>
                  <a:lnTo>
                    <a:pt x="3921" y="7026"/>
                  </a:lnTo>
                  <a:lnTo>
                    <a:pt x="3959" y="7166"/>
                  </a:lnTo>
                  <a:lnTo>
                    <a:pt x="3993" y="7295"/>
                  </a:lnTo>
                  <a:lnTo>
                    <a:pt x="4023" y="7414"/>
                  </a:lnTo>
                  <a:lnTo>
                    <a:pt x="4050" y="7521"/>
                  </a:lnTo>
                  <a:lnTo>
                    <a:pt x="4072" y="7615"/>
                  </a:lnTo>
                  <a:lnTo>
                    <a:pt x="4091" y="7697"/>
                  </a:lnTo>
                  <a:lnTo>
                    <a:pt x="4108" y="7766"/>
                  </a:lnTo>
                  <a:lnTo>
                    <a:pt x="4128" y="7860"/>
                  </a:lnTo>
                  <a:lnTo>
                    <a:pt x="4134" y="7893"/>
                  </a:lnTo>
                  <a:lnTo>
                    <a:pt x="4150" y="7869"/>
                  </a:lnTo>
                  <a:lnTo>
                    <a:pt x="4197" y="7804"/>
                  </a:lnTo>
                  <a:lnTo>
                    <a:pt x="4269" y="7699"/>
                  </a:lnTo>
                  <a:lnTo>
                    <a:pt x="4366" y="7560"/>
                  </a:lnTo>
                  <a:lnTo>
                    <a:pt x="4480" y="7392"/>
                  </a:lnTo>
                  <a:lnTo>
                    <a:pt x="4611" y="7200"/>
                  </a:lnTo>
                  <a:lnTo>
                    <a:pt x="4753" y="6987"/>
                  </a:lnTo>
                  <a:lnTo>
                    <a:pt x="4904" y="6758"/>
                  </a:lnTo>
                  <a:lnTo>
                    <a:pt x="4981" y="6640"/>
                  </a:lnTo>
                  <a:lnTo>
                    <a:pt x="5059" y="6519"/>
                  </a:lnTo>
                  <a:lnTo>
                    <a:pt x="5137" y="6396"/>
                  </a:lnTo>
                  <a:lnTo>
                    <a:pt x="5215" y="6273"/>
                  </a:lnTo>
                  <a:lnTo>
                    <a:pt x="5292" y="6149"/>
                  </a:lnTo>
                  <a:lnTo>
                    <a:pt x="5368" y="6025"/>
                  </a:lnTo>
                  <a:lnTo>
                    <a:pt x="5443" y="5901"/>
                  </a:lnTo>
                  <a:lnTo>
                    <a:pt x="5515" y="5779"/>
                  </a:lnTo>
                  <a:lnTo>
                    <a:pt x="5585" y="5659"/>
                  </a:lnTo>
                  <a:lnTo>
                    <a:pt x="5652" y="5541"/>
                  </a:lnTo>
                  <a:lnTo>
                    <a:pt x="5715" y="5426"/>
                  </a:lnTo>
                  <a:lnTo>
                    <a:pt x="5774" y="5315"/>
                  </a:lnTo>
                  <a:lnTo>
                    <a:pt x="5830" y="5208"/>
                  </a:lnTo>
                  <a:lnTo>
                    <a:pt x="5880" y="5106"/>
                  </a:lnTo>
                  <a:lnTo>
                    <a:pt x="5925" y="5008"/>
                  </a:lnTo>
                  <a:lnTo>
                    <a:pt x="5964" y="4916"/>
                  </a:lnTo>
                  <a:lnTo>
                    <a:pt x="5992" y="4978"/>
                  </a:lnTo>
                  <a:lnTo>
                    <a:pt x="6020" y="5046"/>
                  </a:lnTo>
                  <a:lnTo>
                    <a:pt x="6048" y="5124"/>
                  </a:lnTo>
                  <a:lnTo>
                    <a:pt x="6075" y="5209"/>
                  </a:lnTo>
                  <a:lnTo>
                    <a:pt x="6101" y="5300"/>
                  </a:lnTo>
                  <a:lnTo>
                    <a:pt x="6128" y="5399"/>
                  </a:lnTo>
                  <a:lnTo>
                    <a:pt x="6153" y="5505"/>
                  </a:lnTo>
                  <a:lnTo>
                    <a:pt x="6179" y="5617"/>
                  </a:lnTo>
                  <a:lnTo>
                    <a:pt x="6205" y="5736"/>
                  </a:lnTo>
                  <a:lnTo>
                    <a:pt x="6229" y="5861"/>
                  </a:lnTo>
                  <a:lnTo>
                    <a:pt x="6253" y="5991"/>
                  </a:lnTo>
                  <a:lnTo>
                    <a:pt x="6276" y="6127"/>
                  </a:lnTo>
                  <a:lnTo>
                    <a:pt x="6298" y="6267"/>
                  </a:lnTo>
                  <a:lnTo>
                    <a:pt x="6320" y="6413"/>
                  </a:lnTo>
                  <a:lnTo>
                    <a:pt x="6341" y="6564"/>
                  </a:lnTo>
                  <a:lnTo>
                    <a:pt x="6361" y="6719"/>
                  </a:lnTo>
                  <a:lnTo>
                    <a:pt x="6380" y="6878"/>
                  </a:lnTo>
                  <a:lnTo>
                    <a:pt x="6400" y="7041"/>
                  </a:lnTo>
                  <a:lnTo>
                    <a:pt x="6417" y="7208"/>
                  </a:lnTo>
                  <a:lnTo>
                    <a:pt x="6433" y="7377"/>
                  </a:lnTo>
                  <a:lnTo>
                    <a:pt x="6449" y="7550"/>
                  </a:lnTo>
                  <a:lnTo>
                    <a:pt x="6463" y="7726"/>
                  </a:lnTo>
                  <a:lnTo>
                    <a:pt x="6476" y="7904"/>
                  </a:lnTo>
                  <a:lnTo>
                    <a:pt x="6488" y="8085"/>
                  </a:lnTo>
                  <a:lnTo>
                    <a:pt x="6498" y="8268"/>
                  </a:lnTo>
                  <a:lnTo>
                    <a:pt x="6508" y="8451"/>
                  </a:lnTo>
                  <a:lnTo>
                    <a:pt x="6516" y="8637"/>
                  </a:lnTo>
                  <a:lnTo>
                    <a:pt x="6523" y="8824"/>
                  </a:lnTo>
                  <a:lnTo>
                    <a:pt x="6528" y="9012"/>
                  </a:lnTo>
                  <a:lnTo>
                    <a:pt x="6532" y="9200"/>
                  </a:lnTo>
                  <a:lnTo>
                    <a:pt x="6534" y="9390"/>
                  </a:lnTo>
                  <a:lnTo>
                    <a:pt x="6535" y="9578"/>
                  </a:lnTo>
                  <a:lnTo>
                    <a:pt x="6550" y="9565"/>
                  </a:lnTo>
                  <a:lnTo>
                    <a:pt x="6595" y="9528"/>
                  </a:lnTo>
                  <a:lnTo>
                    <a:pt x="6665" y="9465"/>
                  </a:lnTo>
                  <a:lnTo>
                    <a:pt x="6759" y="9380"/>
                  </a:lnTo>
                  <a:lnTo>
                    <a:pt x="6815" y="9329"/>
                  </a:lnTo>
                  <a:lnTo>
                    <a:pt x="6875" y="9272"/>
                  </a:lnTo>
                  <a:lnTo>
                    <a:pt x="6940" y="9209"/>
                  </a:lnTo>
                  <a:lnTo>
                    <a:pt x="7011" y="9142"/>
                  </a:lnTo>
                  <a:lnTo>
                    <a:pt x="7084" y="9069"/>
                  </a:lnTo>
                  <a:lnTo>
                    <a:pt x="7162" y="8991"/>
                  </a:lnTo>
                  <a:lnTo>
                    <a:pt x="7243" y="8908"/>
                  </a:lnTo>
                  <a:lnTo>
                    <a:pt x="7327" y="8819"/>
                  </a:lnTo>
                  <a:lnTo>
                    <a:pt x="7415" y="8726"/>
                  </a:lnTo>
                  <a:lnTo>
                    <a:pt x="7505" y="8629"/>
                  </a:lnTo>
                  <a:lnTo>
                    <a:pt x="7598" y="8527"/>
                  </a:lnTo>
                  <a:lnTo>
                    <a:pt x="7692" y="8420"/>
                  </a:lnTo>
                  <a:lnTo>
                    <a:pt x="7789" y="8308"/>
                  </a:lnTo>
                  <a:lnTo>
                    <a:pt x="7886" y="8192"/>
                  </a:lnTo>
                  <a:lnTo>
                    <a:pt x="7985" y="8072"/>
                  </a:lnTo>
                  <a:lnTo>
                    <a:pt x="8084" y="7948"/>
                  </a:lnTo>
                  <a:lnTo>
                    <a:pt x="8184" y="7820"/>
                  </a:lnTo>
                  <a:lnTo>
                    <a:pt x="8284" y="7688"/>
                  </a:lnTo>
                  <a:lnTo>
                    <a:pt x="8384" y="7552"/>
                  </a:lnTo>
                  <a:lnTo>
                    <a:pt x="8483" y="7412"/>
                  </a:lnTo>
                  <a:lnTo>
                    <a:pt x="8583" y="7268"/>
                  </a:lnTo>
                  <a:lnTo>
                    <a:pt x="8681" y="7121"/>
                  </a:lnTo>
                  <a:lnTo>
                    <a:pt x="8777" y="6971"/>
                  </a:lnTo>
                  <a:lnTo>
                    <a:pt x="8872" y="6817"/>
                  </a:lnTo>
                  <a:lnTo>
                    <a:pt x="8969" y="6995"/>
                  </a:lnTo>
                  <a:lnTo>
                    <a:pt x="9062" y="7174"/>
                  </a:lnTo>
                  <a:lnTo>
                    <a:pt x="9150" y="7352"/>
                  </a:lnTo>
                  <a:lnTo>
                    <a:pt x="9235" y="7532"/>
                  </a:lnTo>
                  <a:lnTo>
                    <a:pt x="9316" y="7710"/>
                  </a:lnTo>
                  <a:lnTo>
                    <a:pt x="9393" y="7890"/>
                  </a:lnTo>
                  <a:lnTo>
                    <a:pt x="9466" y="8069"/>
                  </a:lnTo>
                  <a:lnTo>
                    <a:pt x="9534" y="8248"/>
                  </a:lnTo>
                  <a:lnTo>
                    <a:pt x="9598" y="8428"/>
                  </a:lnTo>
                  <a:lnTo>
                    <a:pt x="9659" y="8607"/>
                  </a:lnTo>
                  <a:lnTo>
                    <a:pt x="9715" y="8787"/>
                  </a:lnTo>
                  <a:lnTo>
                    <a:pt x="9767" y="8965"/>
                  </a:lnTo>
                  <a:lnTo>
                    <a:pt x="9814" y="9144"/>
                  </a:lnTo>
                  <a:lnTo>
                    <a:pt x="9858" y="9321"/>
                  </a:lnTo>
                  <a:lnTo>
                    <a:pt x="9897" y="9499"/>
                  </a:lnTo>
                  <a:lnTo>
                    <a:pt x="9932" y="9675"/>
                  </a:lnTo>
                  <a:lnTo>
                    <a:pt x="9963" y="9852"/>
                  </a:lnTo>
                  <a:lnTo>
                    <a:pt x="9989" y="10027"/>
                  </a:lnTo>
                  <a:lnTo>
                    <a:pt x="10011" y="10201"/>
                  </a:lnTo>
                  <a:lnTo>
                    <a:pt x="10029" y="10375"/>
                  </a:lnTo>
                  <a:lnTo>
                    <a:pt x="10042" y="10547"/>
                  </a:lnTo>
                  <a:lnTo>
                    <a:pt x="10051" y="10720"/>
                  </a:lnTo>
                  <a:lnTo>
                    <a:pt x="10055" y="10890"/>
                  </a:lnTo>
                  <a:lnTo>
                    <a:pt x="10055" y="11059"/>
                  </a:lnTo>
                  <a:lnTo>
                    <a:pt x="10051" y="11227"/>
                  </a:lnTo>
                  <a:lnTo>
                    <a:pt x="10042" y="11394"/>
                  </a:lnTo>
                  <a:lnTo>
                    <a:pt x="10028" y="11559"/>
                  </a:lnTo>
                  <a:lnTo>
                    <a:pt x="10009" y="11723"/>
                  </a:lnTo>
                  <a:lnTo>
                    <a:pt x="9986" y="11885"/>
                  </a:lnTo>
                  <a:lnTo>
                    <a:pt x="9959" y="12046"/>
                  </a:lnTo>
                  <a:lnTo>
                    <a:pt x="9927" y="12205"/>
                  </a:lnTo>
                  <a:lnTo>
                    <a:pt x="9891" y="12362"/>
                  </a:lnTo>
                  <a:close/>
                  <a:moveTo>
                    <a:pt x="8546" y="4537"/>
                  </a:moveTo>
                  <a:lnTo>
                    <a:pt x="8540" y="4663"/>
                  </a:lnTo>
                  <a:lnTo>
                    <a:pt x="8529" y="4787"/>
                  </a:lnTo>
                  <a:lnTo>
                    <a:pt x="8513" y="4910"/>
                  </a:lnTo>
                  <a:lnTo>
                    <a:pt x="8492" y="5031"/>
                  </a:lnTo>
                  <a:lnTo>
                    <a:pt x="8467" y="5150"/>
                  </a:lnTo>
                  <a:lnTo>
                    <a:pt x="8438" y="5267"/>
                  </a:lnTo>
                  <a:lnTo>
                    <a:pt x="8406" y="5382"/>
                  </a:lnTo>
                  <a:lnTo>
                    <a:pt x="8370" y="5494"/>
                  </a:lnTo>
                  <a:lnTo>
                    <a:pt x="8332" y="5604"/>
                  </a:lnTo>
                  <a:lnTo>
                    <a:pt x="8290" y="5712"/>
                  </a:lnTo>
                  <a:lnTo>
                    <a:pt x="8247" y="5816"/>
                  </a:lnTo>
                  <a:lnTo>
                    <a:pt x="8203" y="5916"/>
                  </a:lnTo>
                  <a:lnTo>
                    <a:pt x="8157" y="6014"/>
                  </a:lnTo>
                  <a:lnTo>
                    <a:pt x="8110" y="6108"/>
                  </a:lnTo>
                  <a:lnTo>
                    <a:pt x="8061" y="6199"/>
                  </a:lnTo>
                  <a:lnTo>
                    <a:pt x="8014" y="6286"/>
                  </a:lnTo>
                  <a:lnTo>
                    <a:pt x="7966" y="6369"/>
                  </a:lnTo>
                  <a:lnTo>
                    <a:pt x="7919" y="6448"/>
                  </a:lnTo>
                  <a:lnTo>
                    <a:pt x="7871" y="6522"/>
                  </a:lnTo>
                  <a:lnTo>
                    <a:pt x="7826" y="6593"/>
                  </a:lnTo>
                  <a:lnTo>
                    <a:pt x="7782" y="6658"/>
                  </a:lnTo>
                  <a:lnTo>
                    <a:pt x="7741" y="6719"/>
                  </a:lnTo>
                  <a:lnTo>
                    <a:pt x="7700" y="6774"/>
                  </a:lnTo>
                  <a:lnTo>
                    <a:pt x="7663" y="6825"/>
                  </a:lnTo>
                  <a:lnTo>
                    <a:pt x="7629" y="6870"/>
                  </a:lnTo>
                  <a:lnTo>
                    <a:pt x="7599" y="6911"/>
                  </a:lnTo>
                  <a:lnTo>
                    <a:pt x="7572" y="6944"/>
                  </a:lnTo>
                  <a:lnTo>
                    <a:pt x="7549" y="6972"/>
                  </a:lnTo>
                  <a:lnTo>
                    <a:pt x="7516" y="7011"/>
                  </a:lnTo>
                  <a:lnTo>
                    <a:pt x="7505" y="7024"/>
                  </a:lnTo>
                  <a:lnTo>
                    <a:pt x="7499" y="6791"/>
                  </a:lnTo>
                  <a:lnTo>
                    <a:pt x="7483" y="6560"/>
                  </a:lnTo>
                  <a:lnTo>
                    <a:pt x="7456" y="6334"/>
                  </a:lnTo>
                  <a:lnTo>
                    <a:pt x="7420" y="6110"/>
                  </a:lnTo>
                  <a:lnTo>
                    <a:pt x="7376" y="5891"/>
                  </a:lnTo>
                  <a:lnTo>
                    <a:pt x="7322" y="5677"/>
                  </a:lnTo>
                  <a:lnTo>
                    <a:pt x="7263" y="5468"/>
                  </a:lnTo>
                  <a:lnTo>
                    <a:pt x="7197" y="5262"/>
                  </a:lnTo>
                  <a:lnTo>
                    <a:pt x="7124" y="5062"/>
                  </a:lnTo>
                  <a:lnTo>
                    <a:pt x="7047" y="4868"/>
                  </a:lnTo>
                  <a:lnTo>
                    <a:pt x="6966" y="4679"/>
                  </a:lnTo>
                  <a:lnTo>
                    <a:pt x="6880" y="4497"/>
                  </a:lnTo>
                  <a:lnTo>
                    <a:pt x="6792" y="4320"/>
                  </a:lnTo>
                  <a:lnTo>
                    <a:pt x="6702" y="4151"/>
                  </a:lnTo>
                  <a:lnTo>
                    <a:pt x="6610" y="3988"/>
                  </a:lnTo>
                  <a:lnTo>
                    <a:pt x="6517" y="3832"/>
                  </a:lnTo>
                  <a:lnTo>
                    <a:pt x="6425" y="3683"/>
                  </a:lnTo>
                  <a:lnTo>
                    <a:pt x="6333" y="3542"/>
                  </a:lnTo>
                  <a:lnTo>
                    <a:pt x="6243" y="3409"/>
                  </a:lnTo>
                  <a:lnTo>
                    <a:pt x="6154" y="3284"/>
                  </a:lnTo>
                  <a:lnTo>
                    <a:pt x="6070" y="3168"/>
                  </a:lnTo>
                  <a:lnTo>
                    <a:pt x="5987" y="3060"/>
                  </a:lnTo>
                  <a:lnTo>
                    <a:pt x="5911" y="2961"/>
                  </a:lnTo>
                  <a:lnTo>
                    <a:pt x="5839" y="2871"/>
                  </a:lnTo>
                  <a:lnTo>
                    <a:pt x="5772" y="2792"/>
                  </a:lnTo>
                  <a:lnTo>
                    <a:pt x="5712" y="2721"/>
                  </a:lnTo>
                  <a:lnTo>
                    <a:pt x="5660" y="2661"/>
                  </a:lnTo>
                  <a:lnTo>
                    <a:pt x="5614" y="2611"/>
                  </a:lnTo>
                  <a:lnTo>
                    <a:pt x="5552" y="2544"/>
                  </a:lnTo>
                  <a:lnTo>
                    <a:pt x="5530" y="2521"/>
                  </a:lnTo>
                  <a:lnTo>
                    <a:pt x="5529" y="2538"/>
                  </a:lnTo>
                  <a:lnTo>
                    <a:pt x="5527" y="2588"/>
                  </a:lnTo>
                  <a:lnTo>
                    <a:pt x="5524" y="2624"/>
                  </a:lnTo>
                  <a:lnTo>
                    <a:pt x="5521" y="2669"/>
                  </a:lnTo>
                  <a:lnTo>
                    <a:pt x="5516" y="2719"/>
                  </a:lnTo>
                  <a:lnTo>
                    <a:pt x="5510" y="2778"/>
                  </a:lnTo>
                  <a:lnTo>
                    <a:pt x="5503" y="2842"/>
                  </a:lnTo>
                  <a:lnTo>
                    <a:pt x="5493" y="2913"/>
                  </a:lnTo>
                  <a:lnTo>
                    <a:pt x="5482" y="2989"/>
                  </a:lnTo>
                  <a:lnTo>
                    <a:pt x="5469" y="3072"/>
                  </a:lnTo>
                  <a:lnTo>
                    <a:pt x="5453" y="3161"/>
                  </a:lnTo>
                  <a:lnTo>
                    <a:pt x="5435" y="3254"/>
                  </a:lnTo>
                  <a:lnTo>
                    <a:pt x="5414" y="3352"/>
                  </a:lnTo>
                  <a:lnTo>
                    <a:pt x="5391" y="3455"/>
                  </a:lnTo>
                  <a:lnTo>
                    <a:pt x="5365" y="3563"/>
                  </a:lnTo>
                  <a:lnTo>
                    <a:pt x="5336" y="3674"/>
                  </a:lnTo>
                  <a:lnTo>
                    <a:pt x="5304" y="3790"/>
                  </a:lnTo>
                  <a:lnTo>
                    <a:pt x="5268" y="3909"/>
                  </a:lnTo>
                  <a:lnTo>
                    <a:pt x="5227" y="4031"/>
                  </a:lnTo>
                  <a:lnTo>
                    <a:pt x="5184" y="4156"/>
                  </a:lnTo>
                  <a:lnTo>
                    <a:pt x="5137" y="4285"/>
                  </a:lnTo>
                  <a:lnTo>
                    <a:pt x="5086" y="4415"/>
                  </a:lnTo>
                  <a:lnTo>
                    <a:pt x="5029" y="4548"/>
                  </a:lnTo>
                  <a:lnTo>
                    <a:pt x="4969" y="4683"/>
                  </a:lnTo>
                  <a:lnTo>
                    <a:pt x="4904" y="4819"/>
                  </a:lnTo>
                  <a:lnTo>
                    <a:pt x="4834" y="4958"/>
                  </a:lnTo>
                  <a:lnTo>
                    <a:pt x="4759" y="5097"/>
                  </a:lnTo>
                  <a:lnTo>
                    <a:pt x="4680" y="5237"/>
                  </a:lnTo>
                  <a:lnTo>
                    <a:pt x="4594" y="5378"/>
                  </a:lnTo>
                  <a:lnTo>
                    <a:pt x="4503" y="5519"/>
                  </a:lnTo>
                  <a:lnTo>
                    <a:pt x="4403" y="5195"/>
                  </a:lnTo>
                  <a:lnTo>
                    <a:pt x="4293" y="4878"/>
                  </a:lnTo>
                  <a:lnTo>
                    <a:pt x="4173" y="4571"/>
                  </a:lnTo>
                  <a:lnTo>
                    <a:pt x="4043" y="4274"/>
                  </a:lnTo>
                  <a:lnTo>
                    <a:pt x="3906" y="3985"/>
                  </a:lnTo>
                  <a:lnTo>
                    <a:pt x="3762" y="3705"/>
                  </a:lnTo>
                  <a:lnTo>
                    <a:pt x="3611" y="3435"/>
                  </a:lnTo>
                  <a:lnTo>
                    <a:pt x="3455" y="3175"/>
                  </a:lnTo>
                  <a:lnTo>
                    <a:pt x="3295" y="2924"/>
                  </a:lnTo>
                  <a:lnTo>
                    <a:pt x="3131" y="2683"/>
                  </a:lnTo>
                  <a:lnTo>
                    <a:pt x="2965" y="2451"/>
                  </a:lnTo>
                  <a:lnTo>
                    <a:pt x="2797" y="2229"/>
                  </a:lnTo>
                  <a:lnTo>
                    <a:pt x="2628" y="2018"/>
                  </a:lnTo>
                  <a:lnTo>
                    <a:pt x="2459" y="1816"/>
                  </a:lnTo>
                  <a:lnTo>
                    <a:pt x="2292" y="1624"/>
                  </a:lnTo>
                  <a:lnTo>
                    <a:pt x="2126" y="1443"/>
                  </a:lnTo>
                  <a:lnTo>
                    <a:pt x="1964" y="1271"/>
                  </a:lnTo>
                  <a:lnTo>
                    <a:pt x="1805" y="1110"/>
                  </a:lnTo>
                  <a:lnTo>
                    <a:pt x="1651" y="960"/>
                  </a:lnTo>
                  <a:lnTo>
                    <a:pt x="1503" y="820"/>
                  </a:lnTo>
                  <a:lnTo>
                    <a:pt x="1361" y="691"/>
                  </a:lnTo>
                  <a:lnTo>
                    <a:pt x="1227" y="573"/>
                  </a:lnTo>
                  <a:lnTo>
                    <a:pt x="1102" y="465"/>
                  </a:lnTo>
                  <a:lnTo>
                    <a:pt x="985" y="368"/>
                  </a:lnTo>
                  <a:lnTo>
                    <a:pt x="879" y="283"/>
                  </a:lnTo>
                  <a:lnTo>
                    <a:pt x="784" y="209"/>
                  </a:lnTo>
                  <a:lnTo>
                    <a:pt x="701" y="145"/>
                  </a:lnTo>
                  <a:lnTo>
                    <a:pt x="631" y="93"/>
                  </a:lnTo>
                  <a:lnTo>
                    <a:pt x="534" y="23"/>
                  </a:lnTo>
                  <a:lnTo>
                    <a:pt x="501" y="0"/>
                  </a:lnTo>
                  <a:lnTo>
                    <a:pt x="630" y="507"/>
                  </a:lnTo>
                  <a:lnTo>
                    <a:pt x="742" y="995"/>
                  </a:lnTo>
                  <a:lnTo>
                    <a:pt x="834" y="1464"/>
                  </a:lnTo>
                  <a:lnTo>
                    <a:pt x="910" y="1916"/>
                  </a:lnTo>
                  <a:lnTo>
                    <a:pt x="968" y="2351"/>
                  </a:lnTo>
                  <a:lnTo>
                    <a:pt x="1011" y="2771"/>
                  </a:lnTo>
                  <a:lnTo>
                    <a:pt x="1040" y="3176"/>
                  </a:lnTo>
                  <a:lnTo>
                    <a:pt x="1056" y="3567"/>
                  </a:lnTo>
                  <a:lnTo>
                    <a:pt x="1059" y="3946"/>
                  </a:lnTo>
                  <a:lnTo>
                    <a:pt x="1050" y="4313"/>
                  </a:lnTo>
                  <a:lnTo>
                    <a:pt x="1030" y="4671"/>
                  </a:lnTo>
                  <a:lnTo>
                    <a:pt x="1001" y="5018"/>
                  </a:lnTo>
                  <a:lnTo>
                    <a:pt x="965" y="5358"/>
                  </a:lnTo>
                  <a:lnTo>
                    <a:pt x="920" y="5690"/>
                  </a:lnTo>
                  <a:lnTo>
                    <a:pt x="870" y="6014"/>
                  </a:lnTo>
                  <a:lnTo>
                    <a:pt x="813" y="6335"/>
                  </a:lnTo>
                  <a:lnTo>
                    <a:pt x="753" y="6650"/>
                  </a:lnTo>
                  <a:lnTo>
                    <a:pt x="689" y="6962"/>
                  </a:lnTo>
                  <a:lnTo>
                    <a:pt x="622" y="7271"/>
                  </a:lnTo>
                  <a:lnTo>
                    <a:pt x="554" y="7580"/>
                  </a:lnTo>
                  <a:lnTo>
                    <a:pt x="486" y="7888"/>
                  </a:lnTo>
                  <a:lnTo>
                    <a:pt x="418" y="8197"/>
                  </a:lnTo>
                  <a:lnTo>
                    <a:pt x="353" y="8507"/>
                  </a:lnTo>
                  <a:lnTo>
                    <a:pt x="290" y="8820"/>
                  </a:lnTo>
                  <a:lnTo>
                    <a:pt x="229" y="9137"/>
                  </a:lnTo>
                  <a:lnTo>
                    <a:pt x="175" y="9457"/>
                  </a:lnTo>
                  <a:lnTo>
                    <a:pt x="126" y="9784"/>
                  </a:lnTo>
                  <a:lnTo>
                    <a:pt x="83" y="10118"/>
                  </a:lnTo>
                  <a:lnTo>
                    <a:pt x="48" y="10460"/>
                  </a:lnTo>
                  <a:lnTo>
                    <a:pt x="22" y="10809"/>
                  </a:lnTo>
                  <a:lnTo>
                    <a:pt x="6" y="11169"/>
                  </a:lnTo>
                  <a:lnTo>
                    <a:pt x="0" y="11540"/>
                  </a:lnTo>
                  <a:lnTo>
                    <a:pt x="6" y="11760"/>
                  </a:lnTo>
                  <a:lnTo>
                    <a:pt x="23" y="11980"/>
                  </a:lnTo>
                  <a:lnTo>
                    <a:pt x="51" y="12198"/>
                  </a:lnTo>
                  <a:lnTo>
                    <a:pt x="91" y="12414"/>
                  </a:lnTo>
                  <a:lnTo>
                    <a:pt x="142" y="12627"/>
                  </a:lnTo>
                  <a:lnTo>
                    <a:pt x="203" y="12838"/>
                  </a:lnTo>
                  <a:lnTo>
                    <a:pt x="275" y="13047"/>
                  </a:lnTo>
                  <a:lnTo>
                    <a:pt x="358" y="13251"/>
                  </a:lnTo>
                  <a:lnTo>
                    <a:pt x="450" y="13452"/>
                  </a:lnTo>
                  <a:lnTo>
                    <a:pt x="554" y="13649"/>
                  </a:lnTo>
                  <a:lnTo>
                    <a:pt x="666" y="13841"/>
                  </a:lnTo>
                  <a:lnTo>
                    <a:pt x="789" y="14028"/>
                  </a:lnTo>
                  <a:lnTo>
                    <a:pt x="922" y="14210"/>
                  </a:lnTo>
                  <a:lnTo>
                    <a:pt x="1063" y="14386"/>
                  </a:lnTo>
                  <a:lnTo>
                    <a:pt x="1213" y="14556"/>
                  </a:lnTo>
                  <a:lnTo>
                    <a:pt x="1374" y="14719"/>
                  </a:lnTo>
                  <a:lnTo>
                    <a:pt x="1542" y="14876"/>
                  </a:lnTo>
                  <a:lnTo>
                    <a:pt x="1720" y="15025"/>
                  </a:lnTo>
                  <a:lnTo>
                    <a:pt x="1906" y="15167"/>
                  </a:lnTo>
                  <a:lnTo>
                    <a:pt x="2101" y="15300"/>
                  </a:lnTo>
                  <a:lnTo>
                    <a:pt x="2303" y="15425"/>
                  </a:lnTo>
                  <a:lnTo>
                    <a:pt x="2514" y="15541"/>
                  </a:lnTo>
                  <a:lnTo>
                    <a:pt x="2733" y="15648"/>
                  </a:lnTo>
                  <a:lnTo>
                    <a:pt x="2960" y="15746"/>
                  </a:lnTo>
                  <a:lnTo>
                    <a:pt x="3193" y="15834"/>
                  </a:lnTo>
                  <a:lnTo>
                    <a:pt x="3434" y="15910"/>
                  </a:lnTo>
                  <a:lnTo>
                    <a:pt x="3683" y="15977"/>
                  </a:lnTo>
                  <a:lnTo>
                    <a:pt x="3939" y="16031"/>
                  </a:lnTo>
                  <a:lnTo>
                    <a:pt x="4201" y="16075"/>
                  </a:lnTo>
                  <a:lnTo>
                    <a:pt x="4469" y="16107"/>
                  </a:lnTo>
                  <a:lnTo>
                    <a:pt x="4745" y="16126"/>
                  </a:lnTo>
                  <a:lnTo>
                    <a:pt x="5027" y="16132"/>
                  </a:lnTo>
                  <a:lnTo>
                    <a:pt x="5439" y="16127"/>
                  </a:lnTo>
                  <a:lnTo>
                    <a:pt x="5830" y="16113"/>
                  </a:lnTo>
                  <a:lnTo>
                    <a:pt x="6201" y="16090"/>
                  </a:lnTo>
                  <a:lnTo>
                    <a:pt x="6551" y="16057"/>
                  </a:lnTo>
                  <a:lnTo>
                    <a:pt x="6884" y="16016"/>
                  </a:lnTo>
                  <a:lnTo>
                    <a:pt x="7198" y="15967"/>
                  </a:lnTo>
                  <a:lnTo>
                    <a:pt x="7494" y="15909"/>
                  </a:lnTo>
                  <a:lnTo>
                    <a:pt x="7774" y="15844"/>
                  </a:lnTo>
                  <a:lnTo>
                    <a:pt x="8036" y="15771"/>
                  </a:lnTo>
                  <a:lnTo>
                    <a:pt x="8282" y="15690"/>
                  </a:lnTo>
                  <a:lnTo>
                    <a:pt x="8514" y="15603"/>
                  </a:lnTo>
                  <a:lnTo>
                    <a:pt x="8731" y="15509"/>
                  </a:lnTo>
                  <a:lnTo>
                    <a:pt x="8933" y="15408"/>
                  </a:lnTo>
                  <a:lnTo>
                    <a:pt x="9121" y="15301"/>
                  </a:lnTo>
                  <a:lnTo>
                    <a:pt x="9297" y="15188"/>
                  </a:lnTo>
                  <a:lnTo>
                    <a:pt x="9461" y="15069"/>
                  </a:lnTo>
                  <a:lnTo>
                    <a:pt x="9611" y="14945"/>
                  </a:lnTo>
                  <a:lnTo>
                    <a:pt x="9752" y="14816"/>
                  </a:lnTo>
                  <a:lnTo>
                    <a:pt x="9882" y="14681"/>
                  </a:lnTo>
                  <a:lnTo>
                    <a:pt x="10001" y="14543"/>
                  </a:lnTo>
                  <a:lnTo>
                    <a:pt x="10111" y="14399"/>
                  </a:lnTo>
                  <a:lnTo>
                    <a:pt x="10213" y="14252"/>
                  </a:lnTo>
                  <a:lnTo>
                    <a:pt x="10305" y="14100"/>
                  </a:lnTo>
                  <a:lnTo>
                    <a:pt x="10390" y="13945"/>
                  </a:lnTo>
                  <a:lnTo>
                    <a:pt x="10468" y="13787"/>
                  </a:lnTo>
                  <a:lnTo>
                    <a:pt x="10540" y="13625"/>
                  </a:lnTo>
                  <a:lnTo>
                    <a:pt x="10606" y="13461"/>
                  </a:lnTo>
                  <a:lnTo>
                    <a:pt x="10666" y="13294"/>
                  </a:lnTo>
                  <a:lnTo>
                    <a:pt x="10721" y="13124"/>
                  </a:lnTo>
                  <a:lnTo>
                    <a:pt x="10772" y="12954"/>
                  </a:lnTo>
                  <a:lnTo>
                    <a:pt x="10821" y="12781"/>
                  </a:lnTo>
                  <a:lnTo>
                    <a:pt x="10866" y="12606"/>
                  </a:lnTo>
                  <a:lnTo>
                    <a:pt x="10921" y="12364"/>
                  </a:lnTo>
                  <a:lnTo>
                    <a:pt x="10967" y="12119"/>
                  </a:lnTo>
                  <a:lnTo>
                    <a:pt x="11004" y="11873"/>
                  </a:lnTo>
                  <a:lnTo>
                    <a:pt x="11032" y="11624"/>
                  </a:lnTo>
                  <a:lnTo>
                    <a:pt x="11051" y="11374"/>
                  </a:lnTo>
                  <a:lnTo>
                    <a:pt x="11061" y="11122"/>
                  </a:lnTo>
                  <a:lnTo>
                    <a:pt x="11062" y="10868"/>
                  </a:lnTo>
                  <a:lnTo>
                    <a:pt x="11055" y="10614"/>
                  </a:lnTo>
                  <a:lnTo>
                    <a:pt x="11039" y="10358"/>
                  </a:lnTo>
                  <a:lnTo>
                    <a:pt x="11015" y="10101"/>
                  </a:lnTo>
                  <a:lnTo>
                    <a:pt x="10982" y="9843"/>
                  </a:lnTo>
                  <a:lnTo>
                    <a:pt x="10941" y="9584"/>
                  </a:lnTo>
                  <a:lnTo>
                    <a:pt x="10892" y="9325"/>
                  </a:lnTo>
                  <a:lnTo>
                    <a:pt x="10835" y="9066"/>
                  </a:lnTo>
                  <a:lnTo>
                    <a:pt x="10769" y="8807"/>
                  </a:lnTo>
                  <a:lnTo>
                    <a:pt x="10696" y="8548"/>
                  </a:lnTo>
                  <a:lnTo>
                    <a:pt x="10616" y="8289"/>
                  </a:lnTo>
                  <a:lnTo>
                    <a:pt x="10527" y="8031"/>
                  </a:lnTo>
                  <a:lnTo>
                    <a:pt x="10432" y="7772"/>
                  </a:lnTo>
                  <a:lnTo>
                    <a:pt x="10328" y="7514"/>
                  </a:lnTo>
                  <a:lnTo>
                    <a:pt x="10218" y="7257"/>
                  </a:lnTo>
                  <a:lnTo>
                    <a:pt x="10100" y="7002"/>
                  </a:lnTo>
                  <a:lnTo>
                    <a:pt x="9974" y="6747"/>
                  </a:lnTo>
                  <a:lnTo>
                    <a:pt x="9843" y="6494"/>
                  </a:lnTo>
                  <a:lnTo>
                    <a:pt x="9704" y="6243"/>
                  </a:lnTo>
                  <a:lnTo>
                    <a:pt x="9558" y="5993"/>
                  </a:lnTo>
                  <a:lnTo>
                    <a:pt x="9405" y="5745"/>
                  </a:lnTo>
                  <a:lnTo>
                    <a:pt x="9246" y="5498"/>
                  </a:lnTo>
                  <a:lnTo>
                    <a:pt x="9081" y="5254"/>
                  </a:lnTo>
                  <a:lnTo>
                    <a:pt x="8909" y="5013"/>
                  </a:lnTo>
                  <a:lnTo>
                    <a:pt x="8730" y="4774"/>
                  </a:lnTo>
                  <a:lnTo>
                    <a:pt x="8546" y="45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90" name="ïṩ1ídé">
              <a:extLst>
                <a:ext uri="{FF2B5EF4-FFF2-40B4-BE49-F238E27FC236}">
                  <a16:creationId xmlns:a16="http://schemas.microsoft.com/office/drawing/2014/main" id="{4FEA6D0B-9CFB-45D5-BE23-C19F5B28FE43}"/>
                </a:ext>
              </a:extLst>
            </p:cNvPr>
            <p:cNvSpPr/>
            <p:nvPr/>
          </p:nvSpPr>
          <p:spPr bwMode="auto">
            <a:xfrm>
              <a:off x="10174438" y="242038"/>
              <a:ext cx="153880" cy="124380"/>
            </a:xfrm>
            <a:custGeom>
              <a:avLst/>
              <a:gdLst>
                <a:gd name="T0" fmla="*/ 6161 w 7135"/>
                <a:gd name="T1" fmla="*/ 2475 h 5775"/>
                <a:gd name="T2" fmla="*/ 5762 w 7135"/>
                <a:gd name="T3" fmla="*/ 2876 h 5775"/>
                <a:gd name="T4" fmla="*/ 5263 w 7135"/>
                <a:gd name="T5" fmla="*/ 3283 h 5775"/>
                <a:gd name="T6" fmla="*/ 4610 w 7135"/>
                <a:gd name="T7" fmla="*/ 3704 h 5775"/>
                <a:gd name="T8" fmla="*/ 4041 w 7135"/>
                <a:gd name="T9" fmla="*/ 3621 h 5775"/>
                <a:gd name="T10" fmla="*/ 3918 w 7135"/>
                <a:gd name="T11" fmla="*/ 3141 h 5775"/>
                <a:gd name="T12" fmla="*/ 3836 w 7135"/>
                <a:gd name="T13" fmla="*/ 2666 h 5775"/>
                <a:gd name="T14" fmla="*/ 3788 w 7135"/>
                <a:gd name="T15" fmla="*/ 2122 h 5775"/>
                <a:gd name="T16" fmla="*/ 2970 w 7135"/>
                <a:gd name="T17" fmla="*/ 2186 h 5775"/>
                <a:gd name="T18" fmla="*/ 2646 w 7135"/>
                <a:gd name="T19" fmla="*/ 2694 h 5775"/>
                <a:gd name="T20" fmla="*/ 2288 w 7135"/>
                <a:gd name="T21" fmla="*/ 3226 h 5775"/>
                <a:gd name="T22" fmla="*/ 1744 w 7135"/>
                <a:gd name="T23" fmla="*/ 2191 h 5775"/>
                <a:gd name="T24" fmla="*/ 1302 w 7135"/>
                <a:gd name="T25" fmla="*/ 1101 h 5775"/>
                <a:gd name="T26" fmla="*/ 523 w 7135"/>
                <a:gd name="T27" fmla="*/ 1126 h 5775"/>
                <a:gd name="T28" fmla="*/ 322 w 7135"/>
                <a:gd name="T29" fmla="*/ 1803 h 5775"/>
                <a:gd name="T30" fmla="*/ 155 w 7135"/>
                <a:gd name="T31" fmla="*/ 2614 h 5775"/>
                <a:gd name="T32" fmla="*/ 42 w 7135"/>
                <a:gd name="T33" fmla="*/ 3654 h 5775"/>
                <a:gd name="T34" fmla="*/ 0 w 7135"/>
                <a:gd name="T35" fmla="*/ 5018 h 5775"/>
                <a:gd name="T36" fmla="*/ 15 w 7135"/>
                <a:gd name="T37" fmla="*/ 5105 h 5775"/>
                <a:gd name="T38" fmla="*/ 57 w 7135"/>
                <a:gd name="T39" fmla="*/ 5179 h 5775"/>
                <a:gd name="T40" fmla="*/ 120 w 7135"/>
                <a:gd name="T41" fmla="*/ 5234 h 5775"/>
                <a:gd name="T42" fmla="*/ 201 w 7135"/>
                <a:gd name="T43" fmla="*/ 5265 h 5775"/>
                <a:gd name="T44" fmla="*/ 289 w 7135"/>
                <a:gd name="T45" fmla="*/ 5267 h 5775"/>
                <a:gd name="T46" fmla="*/ 370 w 7135"/>
                <a:gd name="T47" fmla="*/ 5240 h 5775"/>
                <a:gd name="T48" fmla="*/ 437 w 7135"/>
                <a:gd name="T49" fmla="*/ 5188 h 5775"/>
                <a:gd name="T50" fmla="*/ 482 w 7135"/>
                <a:gd name="T51" fmla="*/ 5117 h 5775"/>
                <a:gd name="T52" fmla="*/ 502 w 7135"/>
                <a:gd name="T53" fmla="*/ 5032 h 5775"/>
                <a:gd name="T54" fmla="*/ 520 w 7135"/>
                <a:gd name="T55" fmla="*/ 4087 h 5775"/>
                <a:gd name="T56" fmla="*/ 584 w 7135"/>
                <a:gd name="T57" fmla="*/ 3203 h 5775"/>
                <a:gd name="T58" fmla="*/ 685 w 7135"/>
                <a:gd name="T59" fmla="*/ 2490 h 5775"/>
                <a:gd name="T60" fmla="*/ 816 w 7135"/>
                <a:gd name="T61" fmla="*/ 1897 h 5775"/>
                <a:gd name="T62" fmla="*/ 1026 w 7135"/>
                <a:gd name="T63" fmla="*/ 1774 h 5775"/>
                <a:gd name="T64" fmla="*/ 1436 w 7135"/>
                <a:gd name="T65" fmla="*/ 2753 h 5775"/>
                <a:gd name="T66" fmla="*/ 1949 w 7135"/>
                <a:gd name="T67" fmla="*/ 3914 h 5775"/>
                <a:gd name="T68" fmla="*/ 2728 w 7135"/>
                <a:gd name="T69" fmla="*/ 3474 h 5775"/>
                <a:gd name="T70" fmla="*/ 3116 w 7135"/>
                <a:gd name="T71" fmla="*/ 2895 h 5775"/>
                <a:gd name="T72" fmla="*/ 3343 w 7135"/>
                <a:gd name="T73" fmla="*/ 2782 h 5775"/>
                <a:gd name="T74" fmla="*/ 3419 w 7135"/>
                <a:gd name="T75" fmla="*/ 3221 h 5775"/>
                <a:gd name="T76" fmla="*/ 3595 w 7135"/>
                <a:gd name="T77" fmla="*/ 3883 h 5775"/>
                <a:gd name="T78" fmla="*/ 4108 w 7135"/>
                <a:gd name="T79" fmla="*/ 4532 h 5775"/>
                <a:gd name="T80" fmla="*/ 4902 w 7135"/>
                <a:gd name="T81" fmla="*/ 4116 h 5775"/>
                <a:gd name="T82" fmla="*/ 5527 w 7135"/>
                <a:gd name="T83" fmla="*/ 3714 h 5775"/>
                <a:gd name="T84" fmla="*/ 6017 w 7135"/>
                <a:gd name="T85" fmla="*/ 3324 h 5775"/>
                <a:gd name="T86" fmla="*/ 6411 w 7135"/>
                <a:gd name="T87" fmla="*/ 2943 h 5775"/>
                <a:gd name="T88" fmla="*/ 6624 w 7135"/>
                <a:gd name="T89" fmla="*/ 2997 h 5775"/>
                <a:gd name="T90" fmla="*/ 6623 w 7135"/>
                <a:gd name="T91" fmla="*/ 3626 h 5775"/>
                <a:gd name="T92" fmla="*/ 6567 w 7135"/>
                <a:gd name="T93" fmla="*/ 4245 h 5775"/>
                <a:gd name="T94" fmla="*/ 6457 w 7135"/>
                <a:gd name="T95" fmla="*/ 4831 h 5775"/>
                <a:gd name="T96" fmla="*/ 6297 w 7135"/>
                <a:gd name="T97" fmla="*/ 5360 h 5775"/>
                <a:gd name="T98" fmla="*/ 6251 w 7135"/>
                <a:gd name="T99" fmla="*/ 5502 h 5775"/>
                <a:gd name="T100" fmla="*/ 6259 w 7135"/>
                <a:gd name="T101" fmla="*/ 5587 h 5775"/>
                <a:gd name="T102" fmla="*/ 6295 w 7135"/>
                <a:gd name="T103" fmla="*/ 5664 h 5775"/>
                <a:gd name="T104" fmla="*/ 6353 w 7135"/>
                <a:gd name="T105" fmla="*/ 5726 h 5775"/>
                <a:gd name="T106" fmla="*/ 6431 w 7135"/>
                <a:gd name="T107" fmla="*/ 5765 h 5775"/>
                <a:gd name="T108" fmla="*/ 6522 w 7135"/>
                <a:gd name="T109" fmla="*/ 5775 h 5775"/>
                <a:gd name="T110" fmla="*/ 6641 w 7135"/>
                <a:gd name="T111" fmla="*/ 5733 h 5775"/>
                <a:gd name="T112" fmla="*/ 6728 w 7135"/>
                <a:gd name="T113" fmla="*/ 5635 h 5775"/>
                <a:gd name="T114" fmla="*/ 6926 w 7135"/>
                <a:gd name="T115" fmla="*/ 5033 h 5775"/>
                <a:gd name="T116" fmla="*/ 7072 w 7135"/>
                <a:gd name="T117" fmla="*/ 4273 h 5775"/>
                <a:gd name="T118" fmla="*/ 7134 w 7135"/>
                <a:gd name="T119" fmla="*/ 3469 h 5775"/>
                <a:gd name="T120" fmla="*/ 7108 w 7135"/>
                <a:gd name="T121" fmla="*/ 2658 h 5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135" h="5775">
                  <a:moveTo>
                    <a:pt x="6940" y="1575"/>
                  </a:moveTo>
                  <a:lnTo>
                    <a:pt x="6513" y="2072"/>
                  </a:lnTo>
                  <a:lnTo>
                    <a:pt x="6413" y="2188"/>
                  </a:lnTo>
                  <a:lnTo>
                    <a:pt x="6314" y="2303"/>
                  </a:lnTo>
                  <a:lnTo>
                    <a:pt x="6263" y="2361"/>
                  </a:lnTo>
                  <a:lnTo>
                    <a:pt x="6212" y="2418"/>
                  </a:lnTo>
                  <a:lnTo>
                    <a:pt x="6161" y="2475"/>
                  </a:lnTo>
                  <a:lnTo>
                    <a:pt x="6108" y="2532"/>
                  </a:lnTo>
                  <a:lnTo>
                    <a:pt x="6053" y="2590"/>
                  </a:lnTo>
                  <a:lnTo>
                    <a:pt x="5999" y="2647"/>
                  </a:lnTo>
                  <a:lnTo>
                    <a:pt x="5942" y="2704"/>
                  </a:lnTo>
                  <a:lnTo>
                    <a:pt x="5883" y="2761"/>
                  </a:lnTo>
                  <a:lnTo>
                    <a:pt x="5824" y="2818"/>
                  </a:lnTo>
                  <a:lnTo>
                    <a:pt x="5762" y="2876"/>
                  </a:lnTo>
                  <a:lnTo>
                    <a:pt x="5698" y="2933"/>
                  </a:lnTo>
                  <a:lnTo>
                    <a:pt x="5632" y="2992"/>
                  </a:lnTo>
                  <a:lnTo>
                    <a:pt x="5564" y="3049"/>
                  </a:lnTo>
                  <a:lnTo>
                    <a:pt x="5492" y="3108"/>
                  </a:lnTo>
                  <a:lnTo>
                    <a:pt x="5419" y="3166"/>
                  </a:lnTo>
                  <a:lnTo>
                    <a:pt x="5343" y="3225"/>
                  </a:lnTo>
                  <a:lnTo>
                    <a:pt x="5263" y="3283"/>
                  </a:lnTo>
                  <a:lnTo>
                    <a:pt x="5181" y="3343"/>
                  </a:lnTo>
                  <a:lnTo>
                    <a:pt x="5094" y="3402"/>
                  </a:lnTo>
                  <a:lnTo>
                    <a:pt x="5005" y="3462"/>
                  </a:lnTo>
                  <a:lnTo>
                    <a:pt x="4912" y="3521"/>
                  </a:lnTo>
                  <a:lnTo>
                    <a:pt x="4815" y="3582"/>
                  </a:lnTo>
                  <a:lnTo>
                    <a:pt x="4714" y="3642"/>
                  </a:lnTo>
                  <a:lnTo>
                    <a:pt x="4610" y="3704"/>
                  </a:lnTo>
                  <a:lnTo>
                    <a:pt x="4500" y="3765"/>
                  </a:lnTo>
                  <a:lnTo>
                    <a:pt x="4387" y="3828"/>
                  </a:lnTo>
                  <a:lnTo>
                    <a:pt x="4268" y="3890"/>
                  </a:lnTo>
                  <a:lnTo>
                    <a:pt x="4145" y="3953"/>
                  </a:lnTo>
                  <a:lnTo>
                    <a:pt x="4110" y="3844"/>
                  </a:lnTo>
                  <a:lnTo>
                    <a:pt x="4075" y="3734"/>
                  </a:lnTo>
                  <a:lnTo>
                    <a:pt x="4041" y="3621"/>
                  </a:lnTo>
                  <a:lnTo>
                    <a:pt x="4008" y="3506"/>
                  </a:lnTo>
                  <a:lnTo>
                    <a:pt x="3991" y="3448"/>
                  </a:lnTo>
                  <a:lnTo>
                    <a:pt x="3976" y="3388"/>
                  </a:lnTo>
                  <a:lnTo>
                    <a:pt x="3961" y="3328"/>
                  </a:lnTo>
                  <a:lnTo>
                    <a:pt x="3946" y="3266"/>
                  </a:lnTo>
                  <a:lnTo>
                    <a:pt x="3931" y="3204"/>
                  </a:lnTo>
                  <a:lnTo>
                    <a:pt x="3918" y="3141"/>
                  </a:lnTo>
                  <a:lnTo>
                    <a:pt x="3904" y="3077"/>
                  </a:lnTo>
                  <a:lnTo>
                    <a:pt x="3891" y="3011"/>
                  </a:lnTo>
                  <a:lnTo>
                    <a:pt x="3879" y="2944"/>
                  </a:lnTo>
                  <a:lnTo>
                    <a:pt x="3867" y="2877"/>
                  </a:lnTo>
                  <a:lnTo>
                    <a:pt x="3856" y="2807"/>
                  </a:lnTo>
                  <a:lnTo>
                    <a:pt x="3846" y="2738"/>
                  </a:lnTo>
                  <a:lnTo>
                    <a:pt x="3836" y="2666"/>
                  </a:lnTo>
                  <a:lnTo>
                    <a:pt x="3827" y="2593"/>
                  </a:lnTo>
                  <a:lnTo>
                    <a:pt x="3819" y="2518"/>
                  </a:lnTo>
                  <a:lnTo>
                    <a:pt x="3811" y="2442"/>
                  </a:lnTo>
                  <a:lnTo>
                    <a:pt x="3803" y="2365"/>
                  </a:lnTo>
                  <a:lnTo>
                    <a:pt x="3797" y="2285"/>
                  </a:lnTo>
                  <a:lnTo>
                    <a:pt x="3792" y="2204"/>
                  </a:lnTo>
                  <a:lnTo>
                    <a:pt x="3788" y="2122"/>
                  </a:lnTo>
                  <a:lnTo>
                    <a:pt x="3785" y="2038"/>
                  </a:lnTo>
                  <a:lnTo>
                    <a:pt x="3782" y="1951"/>
                  </a:lnTo>
                  <a:lnTo>
                    <a:pt x="3781" y="1864"/>
                  </a:lnTo>
                  <a:lnTo>
                    <a:pt x="3780" y="1774"/>
                  </a:lnTo>
                  <a:lnTo>
                    <a:pt x="3780" y="912"/>
                  </a:lnTo>
                  <a:lnTo>
                    <a:pt x="3017" y="2111"/>
                  </a:lnTo>
                  <a:lnTo>
                    <a:pt x="2970" y="2186"/>
                  </a:lnTo>
                  <a:lnTo>
                    <a:pt x="2923" y="2261"/>
                  </a:lnTo>
                  <a:lnTo>
                    <a:pt x="2877" y="2334"/>
                  </a:lnTo>
                  <a:lnTo>
                    <a:pt x="2830" y="2407"/>
                  </a:lnTo>
                  <a:lnTo>
                    <a:pt x="2785" y="2479"/>
                  </a:lnTo>
                  <a:lnTo>
                    <a:pt x="2739" y="2550"/>
                  </a:lnTo>
                  <a:lnTo>
                    <a:pt x="2693" y="2622"/>
                  </a:lnTo>
                  <a:lnTo>
                    <a:pt x="2646" y="2694"/>
                  </a:lnTo>
                  <a:lnTo>
                    <a:pt x="2599" y="2766"/>
                  </a:lnTo>
                  <a:lnTo>
                    <a:pt x="2551" y="2840"/>
                  </a:lnTo>
                  <a:lnTo>
                    <a:pt x="2502" y="2913"/>
                  </a:lnTo>
                  <a:lnTo>
                    <a:pt x="2450" y="2989"/>
                  </a:lnTo>
                  <a:lnTo>
                    <a:pt x="2398" y="3066"/>
                  </a:lnTo>
                  <a:lnTo>
                    <a:pt x="2344" y="3145"/>
                  </a:lnTo>
                  <a:lnTo>
                    <a:pt x="2288" y="3226"/>
                  </a:lnTo>
                  <a:lnTo>
                    <a:pt x="2229" y="3308"/>
                  </a:lnTo>
                  <a:lnTo>
                    <a:pt x="2141" y="3108"/>
                  </a:lnTo>
                  <a:lnTo>
                    <a:pt x="2055" y="2913"/>
                  </a:lnTo>
                  <a:lnTo>
                    <a:pt x="1973" y="2724"/>
                  </a:lnTo>
                  <a:lnTo>
                    <a:pt x="1893" y="2541"/>
                  </a:lnTo>
                  <a:lnTo>
                    <a:pt x="1817" y="2364"/>
                  </a:lnTo>
                  <a:lnTo>
                    <a:pt x="1744" y="2191"/>
                  </a:lnTo>
                  <a:lnTo>
                    <a:pt x="1672" y="2023"/>
                  </a:lnTo>
                  <a:lnTo>
                    <a:pt x="1605" y="1861"/>
                  </a:lnTo>
                  <a:lnTo>
                    <a:pt x="1540" y="1701"/>
                  </a:lnTo>
                  <a:lnTo>
                    <a:pt x="1476" y="1546"/>
                  </a:lnTo>
                  <a:lnTo>
                    <a:pt x="1416" y="1395"/>
                  </a:lnTo>
                  <a:lnTo>
                    <a:pt x="1358" y="1247"/>
                  </a:lnTo>
                  <a:lnTo>
                    <a:pt x="1302" y="1101"/>
                  </a:lnTo>
                  <a:lnTo>
                    <a:pt x="1249" y="959"/>
                  </a:lnTo>
                  <a:lnTo>
                    <a:pt x="1197" y="819"/>
                  </a:lnTo>
                  <a:lnTo>
                    <a:pt x="1148" y="681"/>
                  </a:lnTo>
                  <a:lnTo>
                    <a:pt x="907" y="0"/>
                  </a:lnTo>
                  <a:lnTo>
                    <a:pt x="646" y="762"/>
                  </a:lnTo>
                  <a:lnTo>
                    <a:pt x="584" y="943"/>
                  </a:lnTo>
                  <a:lnTo>
                    <a:pt x="523" y="1126"/>
                  </a:lnTo>
                  <a:lnTo>
                    <a:pt x="493" y="1217"/>
                  </a:lnTo>
                  <a:lnTo>
                    <a:pt x="463" y="1311"/>
                  </a:lnTo>
                  <a:lnTo>
                    <a:pt x="434" y="1406"/>
                  </a:lnTo>
                  <a:lnTo>
                    <a:pt x="405" y="1502"/>
                  </a:lnTo>
                  <a:lnTo>
                    <a:pt x="377" y="1599"/>
                  </a:lnTo>
                  <a:lnTo>
                    <a:pt x="348" y="1700"/>
                  </a:lnTo>
                  <a:lnTo>
                    <a:pt x="322" y="1803"/>
                  </a:lnTo>
                  <a:lnTo>
                    <a:pt x="295" y="1908"/>
                  </a:lnTo>
                  <a:lnTo>
                    <a:pt x="270" y="2017"/>
                  </a:lnTo>
                  <a:lnTo>
                    <a:pt x="245" y="2129"/>
                  </a:lnTo>
                  <a:lnTo>
                    <a:pt x="221" y="2244"/>
                  </a:lnTo>
                  <a:lnTo>
                    <a:pt x="199" y="2363"/>
                  </a:lnTo>
                  <a:lnTo>
                    <a:pt x="176" y="2487"/>
                  </a:lnTo>
                  <a:lnTo>
                    <a:pt x="155" y="2614"/>
                  </a:lnTo>
                  <a:lnTo>
                    <a:pt x="135" y="2747"/>
                  </a:lnTo>
                  <a:lnTo>
                    <a:pt x="116" y="2884"/>
                  </a:lnTo>
                  <a:lnTo>
                    <a:pt x="99" y="3026"/>
                  </a:lnTo>
                  <a:lnTo>
                    <a:pt x="83" y="3174"/>
                  </a:lnTo>
                  <a:lnTo>
                    <a:pt x="68" y="3329"/>
                  </a:lnTo>
                  <a:lnTo>
                    <a:pt x="54" y="3488"/>
                  </a:lnTo>
                  <a:lnTo>
                    <a:pt x="42" y="3654"/>
                  </a:lnTo>
                  <a:lnTo>
                    <a:pt x="31" y="3828"/>
                  </a:lnTo>
                  <a:lnTo>
                    <a:pt x="22" y="4007"/>
                  </a:lnTo>
                  <a:lnTo>
                    <a:pt x="14" y="4194"/>
                  </a:lnTo>
                  <a:lnTo>
                    <a:pt x="8" y="4388"/>
                  </a:lnTo>
                  <a:lnTo>
                    <a:pt x="4" y="4590"/>
                  </a:lnTo>
                  <a:lnTo>
                    <a:pt x="1" y="4801"/>
                  </a:lnTo>
                  <a:lnTo>
                    <a:pt x="0" y="5018"/>
                  </a:lnTo>
                  <a:lnTo>
                    <a:pt x="0" y="5032"/>
                  </a:lnTo>
                  <a:lnTo>
                    <a:pt x="1" y="5045"/>
                  </a:lnTo>
                  <a:lnTo>
                    <a:pt x="3" y="5057"/>
                  </a:lnTo>
                  <a:lnTo>
                    <a:pt x="5" y="5070"/>
                  </a:lnTo>
                  <a:lnTo>
                    <a:pt x="8" y="5082"/>
                  </a:lnTo>
                  <a:lnTo>
                    <a:pt x="11" y="5094"/>
                  </a:lnTo>
                  <a:lnTo>
                    <a:pt x="15" y="5105"/>
                  </a:lnTo>
                  <a:lnTo>
                    <a:pt x="20" y="5117"/>
                  </a:lnTo>
                  <a:lnTo>
                    <a:pt x="25" y="5128"/>
                  </a:lnTo>
                  <a:lnTo>
                    <a:pt x="30" y="5138"/>
                  </a:lnTo>
                  <a:lnTo>
                    <a:pt x="36" y="5150"/>
                  </a:lnTo>
                  <a:lnTo>
                    <a:pt x="43" y="5160"/>
                  </a:lnTo>
                  <a:lnTo>
                    <a:pt x="50" y="5170"/>
                  </a:lnTo>
                  <a:lnTo>
                    <a:pt x="57" y="5179"/>
                  </a:lnTo>
                  <a:lnTo>
                    <a:pt x="65" y="5188"/>
                  </a:lnTo>
                  <a:lnTo>
                    <a:pt x="73" y="5197"/>
                  </a:lnTo>
                  <a:lnTo>
                    <a:pt x="82" y="5205"/>
                  </a:lnTo>
                  <a:lnTo>
                    <a:pt x="91" y="5213"/>
                  </a:lnTo>
                  <a:lnTo>
                    <a:pt x="100" y="5221"/>
                  </a:lnTo>
                  <a:lnTo>
                    <a:pt x="110" y="5228"/>
                  </a:lnTo>
                  <a:lnTo>
                    <a:pt x="120" y="5234"/>
                  </a:lnTo>
                  <a:lnTo>
                    <a:pt x="131" y="5240"/>
                  </a:lnTo>
                  <a:lnTo>
                    <a:pt x="141" y="5246"/>
                  </a:lnTo>
                  <a:lnTo>
                    <a:pt x="152" y="5251"/>
                  </a:lnTo>
                  <a:lnTo>
                    <a:pt x="164" y="5255"/>
                  </a:lnTo>
                  <a:lnTo>
                    <a:pt x="176" y="5259"/>
                  </a:lnTo>
                  <a:lnTo>
                    <a:pt x="188" y="5262"/>
                  </a:lnTo>
                  <a:lnTo>
                    <a:pt x="201" y="5265"/>
                  </a:lnTo>
                  <a:lnTo>
                    <a:pt x="213" y="5267"/>
                  </a:lnTo>
                  <a:lnTo>
                    <a:pt x="225" y="5270"/>
                  </a:lnTo>
                  <a:lnTo>
                    <a:pt x="238" y="5271"/>
                  </a:lnTo>
                  <a:lnTo>
                    <a:pt x="251" y="5271"/>
                  </a:lnTo>
                  <a:lnTo>
                    <a:pt x="264" y="5271"/>
                  </a:lnTo>
                  <a:lnTo>
                    <a:pt x="277" y="5270"/>
                  </a:lnTo>
                  <a:lnTo>
                    <a:pt x="289" y="5267"/>
                  </a:lnTo>
                  <a:lnTo>
                    <a:pt x="301" y="5265"/>
                  </a:lnTo>
                  <a:lnTo>
                    <a:pt x="313" y="5262"/>
                  </a:lnTo>
                  <a:lnTo>
                    <a:pt x="325" y="5259"/>
                  </a:lnTo>
                  <a:lnTo>
                    <a:pt x="337" y="5255"/>
                  </a:lnTo>
                  <a:lnTo>
                    <a:pt x="348" y="5251"/>
                  </a:lnTo>
                  <a:lnTo>
                    <a:pt x="359" y="5246"/>
                  </a:lnTo>
                  <a:lnTo>
                    <a:pt x="370" y="5240"/>
                  </a:lnTo>
                  <a:lnTo>
                    <a:pt x="382" y="5234"/>
                  </a:lnTo>
                  <a:lnTo>
                    <a:pt x="392" y="5228"/>
                  </a:lnTo>
                  <a:lnTo>
                    <a:pt x="402" y="5221"/>
                  </a:lnTo>
                  <a:lnTo>
                    <a:pt x="411" y="5213"/>
                  </a:lnTo>
                  <a:lnTo>
                    <a:pt x="420" y="5205"/>
                  </a:lnTo>
                  <a:lnTo>
                    <a:pt x="429" y="5197"/>
                  </a:lnTo>
                  <a:lnTo>
                    <a:pt x="437" y="5188"/>
                  </a:lnTo>
                  <a:lnTo>
                    <a:pt x="445" y="5179"/>
                  </a:lnTo>
                  <a:lnTo>
                    <a:pt x="452" y="5170"/>
                  </a:lnTo>
                  <a:lnTo>
                    <a:pt x="459" y="5160"/>
                  </a:lnTo>
                  <a:lnTo>
                    <a:pt x="466" y="5150"/>
                  </a:lnTo>
                  <a:lnTo>
                    <a:pt x="472" y="5138"/>
                  </a:lnTo>
                  <a:lnTo>
                    <a:pt x="477" y="5128"/>
                  </a:lnTo>
                  <a:lnTo>
                    <a:pt x="482" y="5117"/>
                  </a:lnTo>
                  <a:lnTo>
                    <a:pt x="487" y="5105"/>
                  </a:lnTo>
                  <a:lnTo>
                    <a:pt x="491" y="5094"/>
                  </a:lnTo>
                  <a:lnTo>
                    <a:pt x="494" y="5082"/>
                  </a:lnTo>
                  <a:lnTo>
                    <a:pt x="497" y="5070"/>
                  </a:lnTo>
                  <a:lnTo>
                    <a:pt x="499" y="5057"/>
                  </a:lnTo>
                  <a:lnTo>
                    <a:pt x="501" y="5045"/>
                  </a:lnTo>
                  <a:lnTo>
                    <a:pt x="502" y="5032"/>
                  </a:lnTo>
                  <a:lnTo>
                    <a:pt x="502" y="5018"/>
                  </a:lnTo>
                  <a:lnTo>
                    <a:pt x="503" y="4851"/>
                  </a:lnTo>
                  <a:lnTo>
                    <a:pt x="504" y="4688"/>
                  </a:lnTo>
                  <a:lnTo>
                    <a:pt x="507" y="4530"/>
                  </a:lnTo>
                  <a:lnTo>
                    <a:pt x="510" y="4378"/>
                  </a:lnTo>
                  <a:lnTo>
                    <a:pt x="515" y="4230"/>
                  </a:lnTo>
                  <a:lnTo>
                    <a:pt x="520" y="4087"/>
                  </a:lnTo>
                  <a:lnTo>
                    <a:pt x="527" y="3949"/>
                  </a:lnTo>
                  <a:lnTo>
                    <a:pt x="534" y="3814"/>
                  </a:lnTo>
                  <a:lnTo>
                    <a:pt x="542" y="3684"/>
                  </a:lnTo>
                  <a:lnTo>
                    <a:pt x="551" y="3557"/>
                  </a:lnTo>
                  <a:lnTo>
                    <a:pt x="562" y="3435"/>
                  </a:lnTo>
                  <a:lnTo>
                    <a:pt x="573" y="3318"/>
                  </a:lnTo>
                  <a:lnTo>
                    <a:pt x="584" y="3203"/>
                  </a:lnTo>
                  <a:lnTo>
                    <a:pt x="596" y="3092"/>
                  </a:lnTo>
                  <a:lnTo>
                    <a:pt x="609" y="2984"/>
                  </a:lnTo>
                  <a:lnTo>
                    <a:pt x="623" y="2879"/>
                  </a:lnTo>
                  <a:lnTo>
                    <a:pt x="637" y="2777"/>
                  </a:lnTo>
                  <a:lnTo>
                    <a:pt x="653" y="2678"/>
                  </a:lnTo>
                  <a:lnTo>
                    <a:pt x="668" y="2583"/>
                  </a:lnTo>
                  <a:lnTo>
                    <a:pt x="685" y="2490"/>
                  </a:lnTo>
                  <a:lnTo>
                    <a:pt x="702" y="2398"/>
                  </a:lnTo>
                  <a:lnTo>
                    <a:pt x="719" y="2310"/>
                  </a:lnTo>
                  <a:lnTo>
                    <a:pt x="737" y="2224"/>
                  </a:lnTo>
                  <a:lnTo>
                    <a:pt x="757" y="2139"/>
                  </a:lnTo>
                  <a:lnTo>
                    <a:pt x="776" y="2056"/>
                  </a:lnTo>
                  <a:lnTo>
                    <a:pt x="796" y="1976"/>
                  </a:lnTo>
                  <a:lnTo>
                    <a:pt x="816" y="1897"/>
                  </a:lnTo>
                  <a:lnTo>
                    <a:pt x="837" y="1819"/>
                  </a:lnTo>
                  <a:lnTo>
                    <a:pt x="858" y="1743"/>
                  </a:lnTo>
                  <a:lnTo>
                    <a:pt x="880" y="1667"/>
                  </a:lnTo>
                  <a:lnTo>
                    <a:pt x="902" y="1593"/>
                  </a:lnTo>
                  <a:lnTo>
                    <a:pt x="924" y="1520"/>
                  </a:lnTo>
                  <a:lnTo>
                    <a:pt x="975" y="1646"/>
                  </a:lnTo>
                  <a:lnTo>
                    <a:pt x="1026" y="1774"/>
                  </a:lnTo>
                  <a:lnTo>
                    <a:pt x="1079" y="1905"/>
                  </a:lnTo>
                  <a:lnTo>
                    <a:pt x="1134" y="2038"/>
                  </a:lnTo>
                  <a:lnTo>
                    <a:pt x="1191" y="2175"/>
                  </a:lnTo>
                  <a:lnTo>
                    <a:pt x="1249" y="2314"/>
                  </a:lnTo>
                  <a:lnTo>
                    <a:pt x="1309" y="2456"/>
                  </a:lnTo>
                  <a:lnTo>
                    <a:pt x="1372" y="2603"/>
                  </a:lnTo>
                  <a:lnTo>
                    <a:pt x="1436" y="2753"/>
                  </a:lnTo>
                  <a:lnTo>
                    <a:pt x="1503" y="2906"/>
                  </a:lnTo>
                  <a:lnTo>
                    <a:pt x="1572" y="3063"/>
                  </a:lnTo>
                  <a:lnTo>
                    <a:pt x="1642" y="3225"/>
                  </a:lnTo>
                  <a:lnTo>
                    <a:pt x="1716" y="3390"/>
                  </a:lnTo>
                  <a:lnTo>
                    <a:pt x="1791" y="3561"/>
                  </a:lnTo>
                  <a:lnTo>
                    <a:pt x="1868" y="3735"/>
                  </a:lnTo>
                  <a:lnTo>
                    <a:pt x="1949" y="3914"/>
                  </a:lnTo>
                  <a:lnTo>
                    <a:pt x="2126" y="4310"/>
                  </a:lnTo>
                  <a:lnTo>
                    <a:pt x="2381" y="3960"/>
                  </a:lnTo>
                  <a:lnTo>
                    <a:pt x="2456" y="3856"/>
                  </a:lnTo>
                  <a:lnTo>
                    <a:pt x="2530" y="3755"/>
                  </a:lnTo>
                  <a:lnTo>
                    <a:pt x="2599" y="3658"/>
                  </a:lnTo>
                  <a:lnTo>
                    <a:pt x="2665" y="3565"/>
                  </a:lnTo>
                  <a:lnTo>
                    <a:pt x="2728" y="3474"/>
                  </a:lnTo>
                  <a:lnTo>
                    <a:pt x="2789" y="3386"/>
                  </a:lnTo>
                  <a:lnTo>
                    <a:pt x="2847" y="3300"/>
                  </a:lnTo>
                  <a:lnTo>
                    <a:pt x="2904" y="3217"/>
                  </a:lnTo>
                  <a:lnTo>
                    <a:pt x="2959" y="3135"/>
                  </a:lnTo>
                  <a:lnTo>
                    <a:pt x="3012" y="3054"/>
                  </a:lnTo>
                  <a:lnTo>
                    <a:pt x="3065" y="2974"/>
                  </a:lnTo>
                  <a:lnTo>
                    <a:pt x="3116" y="2895"/>
                  </a:lnTo>
                  <a:lnTo>
                    <a:pt x="3166" y="2816"/>
                  </a:lnTo>
                  <a:lnTo>
                    <a:pt x="3216" y="2737"/>
                  </a:lnTo>
                  <a:lnTo>
                    <a:pt x="3268" y="2657"/>
                  </a:lnTo>
                  <a:lnTo>
                    <a:pt x="3318" y="2577"/>
                  </a:lnTo>
                  <a:lnTo>
                    <a:pt x="3326" y="2647"/>
                  </a:lnTo>
                  <a:lnTo>
                    <a:pt x="3334" y="2715"/>
                  </a:lnTo>
                  <a:lnTo>
                    <a:pt x="3343" y="2782"/>
                  </a:lnTo>
                  <a:lnTo>
                    <a:pt x="3353" y="2848"/>
                  </a:lnTo>
                  <a:lnTo>
                    <a:pt x="3362" y="2912"/>
                  </a:lnTo>
                  <a:lnTo>
                    <a:pt x="3373" y="2976"/>
                  </a:lnTo>
                  <a:lnTo>
                    <a:pt x="3384" y="3038"/>
                  </a:lnTo>
                  <a:lnTo>
                    <a:pt x="3395" y="3101"/>
                  </a:lnTo>
                  <a:lnTo>
                    <a:pt x="3407" y="3161"/>
                  </a:lnTo>
                  <a:lnTo>
                    <a:pt x="3419" y="3221"/>
                  </a:lnTo>
                  <a:lnTo>
                    <a:pt x="3433" y="3280"/>
                  </a:lnTo>
                  <a:lnTo>
                    <a:pt x="3446" y="3339"/>
                  </a:lnTo>
                  <a:lnTo>
                    <a:pt x="3474" y="3453"/>
                  </a:lnTo>
                  <a:lnTo>
                    <a:pt x="3502" y="3564"/>
                  </a:lnTo>
                  <a:lnTo>
                    <a:pt x="3532" y="3672"/>
                  </a:lnTo>
                  <a:lnTo>
                    <a:pt x="3563" y="3778"/>
                  </a:lnTo>
                  <a:lnTo>
                    <a:pt x="3595" y="3883"/>
                  </a:lnTo>
                  <a:lnTo>
                    <a:pt x="3628" y="3986"/>
                  </a:lnTo>
                  <a:lnTo>
                    <a:pt x="3661" y="4088"/>
                  </a:lnTo>
                  <a:lnTo>
                    <a:pt x="3695" y="4188"/>
                  </a:lnTo>
                  <a:lnTo>
                    <a:pt x="3729" y="4287"/>
                  </a:lnTo>
                  <a:lnTo>
                    <a:pt x="3763" y="4387"/>
                  </a:lnTo>
                  <a:lnTo>
                    <a:pt x="3854" y="4653"/>
                  </a:lnTo>
                  <a:lnTo>
                    <a:pt x="4108" y="4532"/>
                  </a:lnTo>
                  <a:lnTo>
                    <a:pt x="4234" y="4472"/>
                  </a:lnTo>
                  <a:lnTo>
                    <a:pt x="4354" y="4412"/>
                  </a:lnTo>
                  <a:lnTo>
                    <a:pt x="4472" y="4352"/>
                  </a:lnTo>
                  <a:lnTo>
                    <a:pt x="4585" y="4293"/>
                  </a:lnTo>
                  <a:lnTo>
                    <a:pt x="4694" y="4233"/>
                  </a:lnTo>
                  <a:lnTo>
                    <a:pt x="4801" y="4175"/>
                  </a:lnTo>
                  <a:lnTo>
                    <a:pt x="4902" y="4116"/>
                  </a:lnTo>
                  <a:lnTo>
                    <a:pt x="5001" y="4058"/>
                  </a:lnTo>
                  <a:lnTo>
                    <a:pt x="5096" y="4000"/>
                  </a:lnTo>
                  <a:lnTo>
                    <a:pt x="5189" y="3942"/>
                  </a:lnTo>
                  <a:lnTo>
                    <a:pt x="5277" y="3884"/>
                  </a:lnTo>
                  <a:lnTo>
                    <a:pt x="5364" y="3828"/>
                  </a:lnTo>
                  <a:lnTo>
                    <a:pt x="5446" y="3770"/>
                  </a:lnTo>
                  <a:lnTo>
                    <a:pt x="5527" y="3714"/>
                  </a:lnTo>
                  <a:lnTo>
                    <a:pt x="5604" y="3657"/>
                  </a:lnTo>
                  <a:lnTo>
                    <a:pt x="5678" y="3601"/>
                  </a:lnTo>
                  <a:lnTo>
                    <a:pt x="5751" y="3545"/>
                  </a:lnTo>
                  <a:lnTo>
                    <a:pt x="5820" y="3489"/>
                  </a:lnTo>
                  <a:lnTo>
                    <a:pt x="5888" y="3433"/>
                  </a:lnTo>
                  <a:lnTo>
                    <a:pt x="5954" y="3379"/>
                  </a:lnTo>
                  <a:lnTo>
                    <a:pt x="6017" y="3324"/>
                  </a:lnTo>
                  <a:lnTo>
                    <a:pt x="6078" y="3269"/>
                  </a:lnTo>
                  <a:lnTo>
                    <a:pt x="6138" y="3214"/>
                  </a:lnTo>
                  <a:lnTo>
                    <a:pt x="6195" y="3159"/>
                  </a:lnTo>
                  <a:lnTo>
                    <a:pt x="6251" y="3106"/>
                  </a:lnTo>
                  <a:lnTo>
                    <a:pt x="6307" y="3051"/>
                  </a:lnTo>
                  <a:lnTo>
                    <a:pt x="6360" y="2998"/>
                  </a:lnTo>
                  <a:lnTo>
                    <a:pt x="6411" y="2943"/>
                  </a:lnTo>
                  <a:lnTo>
                    <a:pt x="6462" y="2890"/>
                  </a:lnTo>
                  <a:lnTo>
                    <a:pt x="6512" y="2837"/>
                  </a:lnTo>
                  <a:lnTo>
                    <a:pt x="6560" y="2783"/>
                  </a:lnTo>
                  <a:lnTo>
                    <a:pt x="6608" y="2731"/>
                  </a:lnTo>
                  <a:lnTo>
                    <a:pt x="6615" y="2818"/>
                  </a:lnTo>
                  <a:lnTo>
                    <a:pt x="6620" y="2907"/>
                  </a:lnTo>
                  <a:lnTo>
                    <a:pt x="6624" y="2997"/>
                  </a:lnTo>
                  <a:lnTo>
                    <a:pt x="6628" y="3087"/>
                  </a:lnTo>
                  <a:lnTo>
                    <a:pt x="6630" y="3176"/>
                  </a:lnTo>
                  <a:lnTo>
                    <a:pt x="6631" y="3266"/>
                  </a:lnTo>
                  <a:lnTo>
                    <a:pt x="6630" y="3356"/>
                  </a:lnTo>
                  <a:lnTo>
                    <a:pt x="6629" y="3446"/>
                  </a:lnTo>
                  <a:lnTo>
                    <a:pt x="6627" y="3535"/>
                  </a:lnTo>
                  <a:lnTo>
                    <a:pt x="6623" y="3626"/>
                  </a:lnTo>
                  <a:lnTo>
                    <a:pt x="6618" y="3715"/>
                  </a:lnTo>
                  <a:lnTo>
                    <a:pt x="6612" y="3805"/>
                  </a:lnTo>
                  <a:lnTo>
                    <a:pt x="6605" y="3893"/>
                  </a:lnTo>
                  <a:lnTo>
                    <a:pt x="6597" y="3982"/>
                  </a:lnTo>
                  <a:lnTo>
                    <a:pt x="6588" y="4071"/>
                  </a:lnTo>
                  <a:lnTo>
                    <a:pt x="6578" y="4158"/>
                  </a:lnTo>
                  <a:lnTo>
                    <a:pt x="6567" y="4245"/>
                  </a:lnTo>
                  <a:lnTo>
                    <a:pt x="6554" y="4332"/>
                  </a:lnTo>
                  <a:lnTo>
                    <a:pt x="6541" y="4418"/>
                  </a:lnTo>
                  <a:lnTo>
                    <a:pt x="6526" y="4502"/>
                  </a:lnTo>
                  <a:lnTo>
                    <a:pt x="6511" y="4586"/>
                  </a:lnTo>
                  <a:lnTo>
                    <a:pt x="6494" y="4669"/>
                  </a:lnTo>
                  <a:lnTo>
                    <a:pt x="6476" y="4750"/>
                  </a:lnTo>
                  <a:lnTo>
                    <a:pt x="6457" y="4831"/>
                  </a:lnTo>
                  <a:lnTo>
                    <a:pt x="6437" y="4911"/>
                  </a:lnTo>
                  <a:lnTo>
                    <a:pt x="6416" y="4989"/>
                  </a:lnTo>
                  <a:lnTo>
                    <a:pt x="6394" y="5067"/>
                  </a:lnTo>
                  <a:lnTo>
                    <a:pt x="6371" y="5142"/>
                  </a:lnTo>
                  <a:lnTo>
                    <a:pt x="6347" y="5216"/>
                  </a:lnTo>
                  <a:lnTo>
                    <a:pt x="6322" y="5289"/>
                  </a:lnTo>
                  <a:lnTo>
                    <a:pt x="6297" y="5360"/>
                  </a:lnTo>
                  <a:lnTo>
                    <a:pt x="6269" y="5429"/>
                  </a:lnTo>
                  <a:lnTo>
                    <a:pt x="6264" y="5441"/>
                  </a:lnTo>
                  <a:lnTo>
                    <a:pt x="6260" y="5453"/>
                  </a:lnTo>
                  <a:lnTo>
                    <a:pt x="6257" y="5466"/>
                  </a:lnTo>
                  <a:lnTo>
                    <a:pt x="6255" y="5478"/>
                  </a:lnTo>
                  <a:lnTo>
                    <a:pt x="6253" y="5490"/>
                  </a:lnTo>
                  <a:lnTo>
                    <a:pt x="6251" y="5502"/>
                  </a:lnTo>
                  <a:lnTo>
                    <a:pt x="6251" y="5515"/>
                  </a:lnTo>
                  <a:lnTo>
                    <a:pt x="6251" y="5528"/>
                  </a:lnTo>
                  <a:lnTo>
                    <a:pt x="6251" y="5540"/>
                  </a:lnTo>
                  <a:lnTo>
                    <a:pt x="6252" y="5552"/>
                  </a:lnTo>
                  <a:lnTo>
                    <a:pt x="6254" y="5564"/>
                  </a:lnTo>
                  <a:lnTo>
                    <a:pt x="6256" y="5575"/>
                  </a:lnTo>
                  <a:lnTo>
                    <a:pt x="6259" y="5587"/>
                  </a:lnTo>
                  <a:lnTo>
                    <a:pt x="6263" y="5599"/>
                  </a:lnTo>
                  <a:lnTo>
                    <a:pt x="6266" y="5610"/>
                  </a:lnTo>
                  <a:lnTo>
                    <a:pt x="6271" y="5621"/>
                  </a:lnTo>
                  <a:lnTo>
                    <a:pt x="6276" y="5632"/>
                  </a:lnTo>
                  <a:lnTo>
                    <a:pt x="6281" y="5644"/>
                  </a:lnTo>
                  <a:lnTo>
                    <a:pt x="6288" y="5654"/>
                  </a:lnTo>
                  <a:lnTo>
                    <a:pt x="6295" y="5664"/>
                  </a:lnTo>
                  <a:lnTo>
                    <a:pt x="6302" y="5674"/>
                  </a:lnTo>
                  <a:lnTo>
                    <a:pt x="6309" y="5683"/>
                  </a:lnTo>
                  <a:lnTo>
                    <a:pt x="6317" y="5693"/>
                  </a:lnTo>
                  <a:lnTo>
                    <a:pt x="6326" y="5702"/>
                  </a:lnTo>
                  <a:lnTo>
                    <a:pt x="6334" y="5710"/>
                  </a:lnTo>
                  <a:lnTo>
                    <a:pt x="6344" y="5718"/>
                  </a:lnTo>
                  <a:lnTo>
                    <a:pt x="6353" y="5726"/>
                  </a:lnTo>
                  <a:lnTo>
                    <a:pt x="6364" y="5733"/>
                  </a:lnTo>
                  <a:lnTo>
                    <a:pt x="6374" y="5739"/>
                  </a:lnTo>
                  <a:lnTo>
                    <a:pt x="6385" y="5745"/>
                  </a:lnTo>
                  <a:lnTo>
                    <a:pt x="6396" y="5751"/>
                  </a:lnTo>
                  <a:lnTo>
                    <a:pt x="6408" y="5756"/>
                  </a:lnTo>
                  <a:lnTo>
                    <a:pt x="6420" y="5761"/>
                  </a:lnTo>
                  <a:lnTo>
                    <a:pt x="6431" y="5765"/>
                  </a:lnTo>
                  <a:lnTo>
                    <a:pt x="6443" y="5768"/>
                  </a:lnTo>
                  <a:lnTo>
                    <a:pt x="6455" y="5771"/>
                  </a:lnTo>
                  <a:lnTo>
                    <a:pt x="6467" y="5773"/>
                  </a:lnTo>
                  <a:lnTo>
                    <a:pt x="6480" y="5774"/>
                  </a:lnTo>
                  <a:lnTo>
                    <a:pt x="6491" y="5775"/>
                  </a:lnTo>
                  <a:lnTo>
                    <a:pt x="6503" y="5775"/>
                  </a:lnTo>
                  <a:lnTo>
                    <a:pt x="6522" y="5775"/>
                  </a:lnTo>
                  <a:lnTo>
                    <a:pt x="6540" y="5773"/>
                  </a:lnTo>
                  <a:lnTo>
                    <a:pt x="6558" y="5769"/>
                  </a:lnTo>
                  <a:lnTo>
                    <a:pt x="6576" y="5765"/>
                  </a:lnTo>
                  <a:lnTo>
                    <a:pt x="6593" y="5759"/>
                  </a:lnTo>
                  <a:lnTo>
                    <a:pt x="6610" y="5750"/>
                  </a:lnTo>
                  <a:lnTo>
                    <a:pt x="6626" y="5742"/>
                  </a:lnTo>
                  <a:lnTo>
                    <a:pt x="6641" y="5733"/>
                  </a:lnTo>
                  <a:lnTo>
                    <a:pt x="6656" y="5722"/>
                  </a:lnTo>
                  <a:lnTo>
                    <a:pt x="6671" y="5710"/>
                  </a:lnTo>
                  <a:lnTo>
                    <a:pt x="6685" y="5697"/>
                  </a:lnTo>
                  <a:lnTo>
                    <a:pt x="6697" y="5683"/>
                  </a:lnTo>
                  <a:lnTo>
                    <a:pt x="6708" y="5668"/>
                  </a:lnTo>
                  <a:lnTo>
                    <a:pt x="6719" y="5652"/>
                  </a:lnTo>
                  <a:lnTo>
                    <a:pt x="6728" y="5635"/>
                  </a:lnTo>
                  <a:lnTo>
                    <a:pt x="6736" y="5617"/>
                  </a:lnTo>
                  <a:lnTo>
                    <a:pt x="6771" y="5525"/>
                  </a:lnTo>
                  <a:lnTo>
                    <a:pt x="6805" y="5431"/>
                  </a:lnTo>
                  <a:lnTo>
                    <a:pt x="6838" y="5334"/>
                  </a:lnTo>
                  <a:lnTo>
                    <a:pt x="6869" y="5235"/>
                  </a:lnTo>
                  <a:lnTo>
                    <a:pt x="6898" y="5134"/>
                  </a:lnTo>
                  <a:lnTo>
                    <a:pt x="6926" y="5033"/>
                  </a:lnTo>
                  <a:lnTo>
                    <a:pt x="6952" y="4928"/>
                  </a:lnTo>
                  <a:lnTo>
                    <a:pt x="6976" y="4822"/>
                  </a:lnTo>
                  <a:lnTo>
                    <a:pt x="6998" y="4715"/>
                  </a:lnTo>
                  <a:lnTo>
                    <a:pt x="7019" y="4606"/>
                  </a:lnTo>
                  <a:lnTo>
                    <a:pt x="7038" y="4496"/>
                  </a:lnTo>
                  <a:lnTo>
                    <a:pt x="7057" y="4385"/>
                  </a:lnTo>
                  <a:lnTo>
                    <a:pt x="7072" y="4273"/>
                  </a:lnTo>
                  <a:lnTo>
                    <a:pt x="7086" y="4160"/>
                  </a:lnTo>
                  <a:lnTo>
                    <a:pt x="7099" y="4046"/>
                  </a:lnTo>
                  <a:lnTo>
                    <a:pt x="7109" y="3932"/>
                  </a:lnTo>
                  <a:lnTo>
                    <a:pt x="7118" y="3817"/>
                  </a:lnTo>
                  <a:lnTo>
                    <a:pt x="7125" y="3701"/>
                  </a:lnTo>
                  <a:lnTo>
                    <a:pt x="7130" y="3585"/>
                  </a:lnTo>
                  <a:lnTo>
                    <a:pt x="7134" y="3469"/>
                  </a:lnTo>
                  <a:lnTo>
                    <a:pt x="7135" y="3353"/>
                  </a:lnTo>
                  <a:lnTo>
                    <a:pt x="7135" y="3236"/>
                  </a:lnTo>
                  <a:lnTo>
                    <a:pt x="7133" y="3120"/>
                  </a:lnTo>
                  <a:lnTo>
                    <a:pt x="7130" y="3004"/>
                  </a:lnTo>
                  <a:lnTo>
                    <a:pt x="7124" y="2888"/>
                  </a:lnTo>
                  <a:lnTo>
                    <a:pt x="7117" y="2773"/>
                  </a:lnTo>
                  <a:lnTo>
                    <a:pt x="7108" y="2658"/>
                  </a:lnTo>
                  <a:lnTo>
                    <a:pt x="7097" y="2544"/>
                  </a:lnTo>
                  <a:lnTo>
                    <a:pt x="7084" y="2430"/>
                  </a:lnTo>
                  <a:lnTo>
                    <a:pt x="7069" y="2318"/>
                  </a:lnTo>
                  <a:lnTo>
                    <a:pt x="7052" y="2207"/>
                  </a:lnTo>
                  <a:lnTo>
                    <a:pt x="7033" y="2097"/>
                  </a:lnTo>
                  <a:lnTo>
                    <a:pt x="6940" y="15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91" name="ïslîḋé">
              <a:extLst>
                <a:ext uri="{FF2B5EF4-FFF2-40B4-BE49-F238E27FC236}">
                  <a16:creationId xmlns:a16="http://schemas.microsoft.com/office/drawing/2014/main" id="{DCCBA8D0-CDB5-4F7A-A841-01B527F0AA0D}"/>
                </a:ext>
              </a:extLst>
            </p:cNvPr>
            <p:cNvSpPr/>
            <p:nvPr/>
          </p:nvSpPr>
          <p:spPr bwMode="auto">
            <a:xfrm>
              <a:off x="10860550" y="682846"/>
              <a:ext cx="131262" cy="131262"/>
            </a:xfrm>
            <a:custGeom>
              <a:avLst/>
              <a:gdLst>
                <a:gd name="T0" fmla="*/ 3521 w 6031"/>
                <a:gd name="T1" fmla="*/ 553 h 6022"/>
                <a:gd name="T2" fmla="*/ 4104 w 6031"/>
                <a:gd name="T3" fmla="*/ 750 h 6022"/>
                <a:gd name="T4" fmla="*/ 4613 w 6031"/>
                <a:gd name="T5" fmla="*/ 1076 h 6022"/>
                <a:gd name="T6" fmla="*/ 5029 w 6031"/>
                <a:gd name="T7" fmla="*/ 1511 h 6022"/>
                <a:gd name="T8" fmla="*/ 5330 w 6031"/>
                <a:gd name="T9" fmla="*/ 2036 h 6022"/>
                <a:gd name="T10" fmla="*/ 5499 w 6031"/>
                <a:gd name="T11" fmla="*/ 2630 h 6022"/>
                <a:gd name="T12" fmla="*/ 5515 w 6031"/>
                <a:gd name="T13" fmla="*/ 3268 h 6022"/>
                <a:gd name="T14" fmla="*/ 5375 w 6031"/>
                <a:gd name="T15" fmla="*/ 3873 h 6022"/>
                <a:gd name="T16" fmla="*/ 5098 w 6031"/>
                <a:gd name="T17" fmla="*/ 4413 h 6022"/>
                <a:gd name="T18" fmla="*/ 4704 w 6031"/>
                <a:gd name="T19" fmla="*/ 4868 h 6022"/>
                <a:gd name="T20" fmla="*/ 4213 w 6031"/>
                <a:gd name="T21" fmla="*/ 5217 h 6022"/>
                <a:gd name="T22" fmla="*/ 3643 w 6031"/>
                <a:gd name="T23" fmla="*/ 5441 h 6022"/>
                <a:gd name="T24" fmla="*/ 3016 w 6031"/>
                <a:gd name="T25" fmla="*/ 5520 h 6022"/>
                <a:gd name="T26" fmla="*/ 2388 w 6031"/>
                <a:gd name="T27" fmla="*/ 5441 h 6022"/>
                <a:gd name="T28" fmla="*/ 1818 w 6031"/>
                <a:gd name="T29" fmla="*/ 5217 h 6022"/>
                <a:gd name="T30" fmla="*/ 1327 w 6031"/>
                <a:gd name="T31" fmla="*/ 4868 h 6022"/>
                <a:gd name="T32" fmla="*/ 932 w 6031"/>
                <a:gd name="T33" fmla="*/ 4413 h 6022"/>
                <a:gd name="T34" fmla="*/ 656 w 6031"/>
                <a:gd name="T35" fmla="*/ 3873 h 6022"/>
                <a:gd name="T36" fmla="*/ 516 w 6031"/>
                <a:gd name="T37" fmla="*/ 3268 h 6022"/>
                <a:gd name="T38" fmla="*/ 532 w 6031"/>
                <a:gd name="T39" fmla="*/ 2630 h 6022"/>
                <a:gd name="T40" fmla="*/ 701 w 6031"/>
                <a:gd name="T41" fmla="*/ 2036 h 6022"/>
                <a:gd name="T42" fmla="*/ 1002 w 6031"/>
                <a:gd name="T43" fmla="*/ 1511 h 6022"/>
                <a:gd name="T44" fmla="*/ 1417 w 6031"/>
                <a:gd name="T45" fmla="*/ 1076 h 6022"/>
                <a:gd name="T46" fmla="*/ 1927 w 6031"/>
                <a:gd name="T47" fmla="*/ 750 h 6022"/>
                <a:gd name="T48" fmla="*/ 2510 w 6031"/>
                <a:gd name="T49" fmla="*/ 553 h 6022"/>
                <a:gd name="T50" fmla="*/ 3016 w 6031"/>
                <a:gd name="T51" fmla="*/ 6022 h 6022"/>
                <a:gd name="T52" fmla="*/ 3768 w 6031"/>
                <a:gd name="T53" fmla="*/ 5928 h 6022"/>
                <a:gd name="T54" fmla="*/ 4452 w 6031"/>
                <a:gd name="T55" fmla="*/ 5659 h 6022"/>
                <a:gd name="T56" fmla="*/ 5042 w 6031"/>
                <a:gd name="T57" fmla="*/ 5239 h 6022"/>
                <a:gd name="T58" fmla="*/ 5515 w 6031"/>
                <a:gd name="T59" fmla="*/ 4693 h 6022"/>
                <a:gd name="T60" fmla="*/ 5848 w 6031"/>
                <a:gd name="T61" fmla="*/ 4046 h 6022"/>
                <a:gd name="T62" fmla="*/ 6015 w 6031"/>
                <a:gd name="T63" fmla="*/ 3318 h 6022"/>
                <a:gd name="T64" fmla="*/ 5996 w 6031"/>
                <a:gd name="T65" fmla="*/ 2554 h 6022"/>
                <a:gd name="T66" fmla="*/ 5794 w 6031"/>
                <a:gd name="T67" fmla="*/ 1840 h 6022"/>
                <a:gd name="T68" fmla="*/ 5431 w 6031"/>
                <a:gd name="T69" fmla="*/ 1211 h 6022"/>
                <a:gd name="T70" fmla="*/ 4932 w 6031"/>
                <a:gd name="T71" fmla="*/ 689 h 6022"/>
                <a:gd name="T72" fmla="*/ 4322 w 6031"/>
                <a:gd name="T73" fmla="*/ 297 h 6022"/>
                <a:gd name="T74" fmla="*/ 3623 w 6031"/>
                <a:gd name="T75" fmla="*/ 62 h 6022"/>
                <a:gd name="T76" fmla="*/ 2861 w 6031"/>
                <a:gd name="T77" fmla="*/ 4 h 6022"/>
                <a:gd name="T78" fmla="*/ 2120 w 6031"/>
                <a:gd name="T79" fmla="*/ 136 h 6022"/>
                <a:gd name="T80" fmla="*/ 1453 w 6031"/>
                <a:gd name="T81" fmla="*/ 437 h 6022"/>
                <a:gd name="T82" fmla="*/ 884 w 6031"/>
                <a:gd name="T83" fmla="*/ 884 h 6022"/>
                <a:gd name="T84" fmla="*/ 437 w 6031"/>
                <a:gd name="T85" fmla="*/ 1452 h 6022"/>
                <a:gd name="T86" fmla="*/ 136 w 6031"/>
                <a:gd name="T87" fmla="*/ 2117 h 6022"/>
                <a:gd name="T88" fmla="*/ 4 w 6031"/>
                <a:gd name="T89" fmla="*/ 2857 h 6022"/>
                <a:gd name="T90" fmla="*/ 62 w 6031"/>
                <a:gd name="T91" fmla="*/ 3617 h 6022"/>
                <a:gd name="T92" fmla="*/ 298 w 6031"/>
                <a:gd name="T93" fmla="*/ 4316 h 6022"/>
                <a:gd name="T94" fmla="*/ 690 w 6031"/>
                <a:gd name="T95" fmla="*/ 4925 h 6022"/>
                <a:gd name="T96" fmla="*/ 1212 w 6031"/>
                <a:gd name="T97" fmla="*/ 5424 h 6022"/>
                <a:gd name="T98" fmla="*/ 1843 w 6031"/>
                <a:gd name="T99" fmla="*/ 5785 h 6022"/>
                <a:gd name="T100" fmla="*/ 2557 w 6031"/>
                <a:gd name="T101" fmla="*/ 5988 h 6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31" h="6022">
                  <a:moveTo>
                    <a:pt x="3016" y="502"/>
                  </a:moveTo>
                  <a:lnTo>
                    <a:pt x="3144" y="505"/>
                  </a:lnTo>
                  <a:lnTo>
                    <a:pt x="3272" y="515"/>
                  </a:lnTo>
                  <a:lnTo>
                    <a:pt x="3397" y="531"/>
                  </a:lnTo>
                  <a:lnTo>
                    <a:pt x="3521" y="553"/>
                  </a:lnTo>
                  <a:lnTo>
                    <a:pt x="3643" y="582"/>
                  </a:lnTo>
                  <a:lnTo>
                    <a:pt x="3762" y="616"/>
                  </a:lnTo>
                  <a:lnTo>
                    <a:pt x="3879" y="655"/>
                  </a:lnTo>
                  <a:lnTo>
                    <a:pt x="3992" y="700"/>
                  </a:lnTo>
                  <a:lnTo>
                    <a:pt x="4104" y="750"/>
                  </a:lnTo>
                  <a:lnTo>
                    <a:pt x="4213" y="805"/>
                  </a:lnTo>
                  <a:lnTo>
                    <a:pt x="4318" y="866"/>
                  </a:lnTo>
                  <a:lnTo>
                    <a:pt x="4420" y="932"/>
                  </a:lnTo>
                  <a:lnTo>
                    <a:pt x="4518" y="1001"/>
                  </a:lnTo>
                  <a:lnTo>
                    <a:pt x="4613" y="1076"/>
                  </a:lnTo>
                  <a:lnTo>
                    <a:pt x="4704" y="1155"/>
                  </a:lnTo>
                  <a:lnTo>
                    <a:pt x="4791" y="1238"/>
                  </a:lnTo>
                  <a:lnTo>
                    <a:pt x="4875" y="1325"/>
                  </a:lnTo>
                  <a:lnTo>
                    <a:pt x="4954" y="1417"/>
                  </a:lnTo>
                  <a:lnTo>
                    <a:pt x="5029" y="1511"/>
                  </a:lnTo>
                  <a:lnTo>
                    <a:pt x="5098" y="1609"/>
                  </a:lnTo>
                  <a:lnTo>
                    <a:pt x="5164" y="1712"/>
                  </a:lnTo>
                  <a:lnTo>
                    <a:pt x="5225" y="1816"/>
                  </a:lnTo>
                  <a:lnTo>
                    <a:pt x="5280" y="1924"/>
                  </a:lnTo>
                  <a:lnTo>
                    <a:pt x="5330" y="2036"/>
                  </a:lnTo>
                  <a:lnTo>
                    <a:pt x="5375" y="2149"/>
                  </a:lnTo>
                  <a:lnTo>
                    <a:pt x="5415" y="2266"/>
                  </a:lnTo>
                  <a:lnTo>
                    <a:pt x="5449" y="2385"/>
                  </a:lnTo>
                  <a:lnTo>
                    <a:pt x="5477" y="2506"/>
                  </a:lnTo>
                  <a:lnTo>
                    <a:pt x="5499" y="2630"/>
                  </a:lnTo>
                  <a:lnTo>
                    <a:pt x="5515" y="2755"/>
                  </a:lnTo>
                  <a:lnTo>
                    <a:pt x="5525" y="2883"/>
                  </a:lnTo>
                  <a:lnTo>
                    <a:pt x="5528" y="3011"/>
                  </a:lnTo>
                  <a:lnTo>
                    <a:pt x="5525" y="3141"/>
                  </a:lnTo>
                  <a:lnTo>
                    <a:pt x="5515" y="3268"/>
                  </a:lnTo>
                  <a:lnTo>
                    <a:pt x="5499" y="3394"/>
                  </a:lnTo>
                  <a:lnTo>
                    <a:pt x="5477" y="3517"/>
                  </a:lnTo>
                  <a:lnTo>
                    <a:pt x="5449" y="3638"/>
                  </a:lnTo>
                  <a:lnTo>
                    <a:pt x="5415" y="3757"/>
                  </a:lnTo>
                  <a:lnTo>
                    <a:pt x="5375" y="3873"/>
                  </a:lnTo>
                  <a:lnTo>
                    <a:pt x="5330" y="3988"/>
                  </a:lnTo>
                  <a:lnTo>
                    <a:pt x="5280" y="4098"/>
                  </a:lnTo>
                  <a:lnTo>
                    <a:pt x="5225" y="4207"/>
                  </a:lnTo>
                  <a:lnTo>
                    <a:pt x="5164" y="4312"/>
                  </a:lnTo>
                  <a:lnTo>
                    <a:pt x="5098" y="4413"/>
                  </a:lnTo>
                  <a:lnTo>
                    <a:pt x="5029" y="4512"/>
                  </a:lnTo>
                  <a:lnTo>
                    <a:pt x="4954" y="4607"/>
                  </a:lnTo>
                  <a:lnTo>
                    <a:pt x="4875" y="4697"/>
                  </a:lnTo>
                  <a:lnTo>
                    <a:pt x="4791" y="4785"/>
                  </a:lnTo>
                  <a:lnTo>
                    <a:pt x="4704" y="4868"/>
                  </a:lnTo>
                  <a:lnTo>
                    <a:pt x="4613" y="4947"/>
                  </a:lnTo>
                  <a:lnTo>
                    <a:pt x="4518" y="5022"/>
                  </a:lnTo>
                  <a:lnTo>
                    <a:pt x="4420" y="5092"/>
                  </a:lnTo>
                  <a:lnTo>
                    <a:pt x="4318" y="5157"/>
                  </a:lnTo>
                  <a:lnTo>
                    <a:pt x="4213" y="5217"/>
                  </a:lnTo>
                  <a:lnTo>
                    <a:pt x="4104" y="5272"/>
                  </a:lnTo>
                  <a:lnTo>
                    <a:pt x="3992" y="5324"/>
                  </a:lnTo>
                  <a:lnTo>
                    <a:pt x="3879" y="5368"/>
                  </a:lnTo>
                  <a:lnTo>
                    <a:pt x="3762" y="5408"/>
                  </a:lnTo>
                  <a:lnTo>
                    <a:pt x="3643" y="5441"/>
                  </a:lnTo>
                  <a:lnTo>
                    <a:pt x="3521" y="5469"/>
                  </a:lnTo>
                  <a:lnTo>
                    <a:pt x="3397" y="5491"/>
                  </a:lnTo>
                  <a:lnTo>
                    <a:pt x="3272" y="5507"/>
                  </a:lnTo>
                  <a:lnTo>
                    <a:pt x="3144" y="5517"/>
                  </a:lnTo>
                  <a:lnTo>
                    <a:pt x="3016" y="5520"/>
                  </a:lnTo>
                  <a:lnTo>
                    <a:pt x="2886" y="5517"/>
                  </a:lnTo>
                  <a:lnTo>
                    <a:pt x="2759" y="5507"/>
                  </a:lnTo>
                  <a:lnTo>
                    <a:pt x="2634" y="5491"/>
                  </a:lnTo>
                  <a:lnTo>
                    <a:pt x="2510" y="5469"/>
                  </a:lnTo>
                  <a:lnTo>
                    <a:pt x="2388" y="5441"/>
                  </a:lnTo>
                  <a:lnTo>
                    <a:pt x="2269" y="5408"/>
                  </a:lnTo>
                  <a:lnTo>
                    <a:pt x="2152" y="5368"/>
                  </a:lnTo>
                  <a:lnTo>
                    <a:pt x="2039" y="5324"/>
                  </a:lnTo>
                  <a:lnTo>
                    <a:pt x="1927" y="5272"/>
                  </a:lnTo>
                  <a:lnTo>
                    <a:pt x="1818" y="5217"/>
                  </a:lnTo>
                  <a:lnTo>
                    <a:pt x="1713" y="5157"/>
                  </a:lnTo>
                  <a:lnTo>
                    <a:pt x="1611" y="5092"/>
                  </a:lnTo>
                  <a:lnTo>
                    <a:pt x="1513" y="5022"/>
                  </a:lnTo>
                  <a:lnTo>
                    <a:pt x="1417" y="4947"/>
                  </a:lnTo>
                  <a:lnTo>
                    <a:pt x="1327" y="4868"/>
                  </a:lnTo>
                  <a:lnTo>
                    <a:pt x="1240" y="4785"/>
                  </a:lnTo>
                  <a:lnTo>
                    <a:pt x="1156" y="4697"/>
                  </a:lnTo>
                  <a:lnTo>
                    <a:pt x="1077" y="4607"/>
                  </a:lnTo>
                  <a:lnTo>
                    <a:pt x="1002" y="4512"/>
                  </a:lnTo>
                  <a:lnTo>
                    <a:pt x="932" y="4413"/>
                  </a:lnTo>
                  <a:lnTo>
                    <a:pt x="867" y="4312"/>
                  </a:lnTo>
                  <a:lnTo>
                    <a:pt x="806" y="4207"/>
                  </a:lnTo>
                  <a:lnTo>
                    <a:pt x="751" y="4098"/>
                  </a:lnTo>
                  <a:lnTo>
                    <a:pt x="701" y="3988"/>
                  </a:lnTo>
                  <a:lnTo>
                    <a:pt x="656" y="3873"/>
                  </a:lnTo>
                  <a:lnTo>
                    <a:pt x="615" y="3757"/>
                  </a:lnTo>
                  <a:lnTo>
                    <a:pt x="582" y="3638"/>
                  </a:lnTo>
                  <a:lnTo>
                    <a:pt x="554" y="3517"/>
                  </a:lnTo>
                  <a:lnTo>
                    <a:pt x="532" y="3394"/>
                  </a:lnTo>
                  <a:lnTo>
                    <a:pt x="516" y="3268"/>
                  </a:lnTo>
                  <a:lnTo>
                    <a:pt x="506" y="3141"/>
                  </a:lnTo>
                  <a:lnTo>
                    <a:pt x="503" y="3011"/>
                  </a:lnTo>
                  <a:lnTo>
                    <a:pt x="506" y="2883"/>
                  </a:lnTo>
                  <a:lnTo>
                    <a:pt x="516" y="2755"/>
                  </a:lnTo>
                  <a:lnTo>
                    <a:pt x="532" y="2630"/>
                  </a:lnTo>
                  <a:lnTo>
                    <a:pt x="554" y="2506"/>
                  </a:lnTo>
                  <a:lnTo>
                    <a:pt x="582" y="2385"/>
                  </a:lnTo>
                  <a:lnTo>
                    <a:pt x="615" y="2266"/>
                  </a:lnTo>
                  <a:lnTo>
                    <a:pt x="656" y="2149"/>
                  </a:lnTo>
                  <a:lnTo>
                    <a:pt x="701" y="2036"/>
                  </a:lnTo>
                  <a:lnTo>
                    <a:pt x="751" y="1924"/>
                  </a:lnTo>
                  <a:lnTo>
                    <a:pt x="806" y="1816"/>
                  </a:lnTo>
                  <a:lnTo>
                    <a:pt x="867" y="1712"/>
                  </a:lnTo>
                  <a:lnTo>
                    <a:pt x="932" y="1609"/>
                  </a:lnTo>
                  <a:lnTo>
                    <a:pt x="1002" y="1511"/>
                  </a:lnTo>
                  <a:lnTo>
                    <a:pt x="1077" y="1417"/>
                  </a:lnTo>
                  <a:lnTo>
                    <a:pt x="1156" y="1325"/>
                  </a:lnTo>
                  <a:lnTo>
                    <a:pt x="1240" y="1238"/>
                  </a:lnTo>
                  <a:lnTo>
                    <a:pt x="1327" y="1155"/>
                  </a:lnTo>
                  <a:lnTo>
                    <a:pt x="1417" y="1076"/>
                  </a:lnTo>
                  <a:lnTo>
                    <a:pt x="1513" y="1001"/>
                  </a:lnTo>
                  <a:lnTo>
                    <a:pt x="1611" y="932"/>
                  </a:lnTo>
                  <a:lnTo>
                    <a:pt x="1713" y="866"/>
                  </a:lnTo>
                  <a:lnTo>
                    <a:pt x="1818" y="805"/>
                  </a:lnTo>
                  <a:lnTo>
                    <a:pt x="1927" y="750"/>
                  </a:lnTo>
                  <a:lnTo>
                    <a:pt x="2039" y="700"/>
                  </a:lnTo>
                  <a:lnTo>
                    <a:pt x="2152" y="655"/>
                  </a:lnTo>
                  <a:lnTo>
                    <a:pt x="2269" y="616"/>
                  </a:lnTo>
                  <a:lnTo>
                    <a:pt x="2388" y="582"/>
                  </a:lnTo>
                  <a:lnTo>
                    <a:pt x="2510" y="553"/>
                  </a:lnTo>
                  <a:lnTo>
                    <a:pt x="2634" y="531"/>
                  </a:lnTo>
                  <a:lnTo>
                    <a:pt x="2759" y="515"/>
                  </a:lnTo>
                  <a:lnTo>
                    <a:pt x="2886" y="505"/>
                  </a:lnTo>
                  <a:lnTo>
                    <a:pt x="3016" y="502"/>
                  </a:lnTo>
                  <a:close/>
                  <a:moveTo>
                    <a:pt x="3016" y="6022"/>
                  </a:moveTo>
                  <a:lnTo>
                    <a:pt x="3170" y="6018"/>
                  </a:lnTo>
                  <a:lnTo>
                    <a:pt x="3323" y="6007"/>
                  </a:lnTo>
                  <a:lnTo>
                    <a:pt x="3474" y="5988"/>
                  </a:lnTo>
                  <a:lnTo>
                    <a:pt x="3623" y="5961"/>
                  </a:lnTo>
                  <a:lnTo>
                    <a:pt x="3768" y="5928"/>
                  </a:lnTo>
                  <a:lnTo>
                    <a:pt x="3911" y="5887"/>
                  </a:lnTo>
                  <a:lnTo>
                    <a:pt x="4052" y="5840"/>
                  </a:lnTo>
                  <a:lnTo>
                    <a:pt x="4188" y="5785"/>
                  </a:lnTo>
                  <a:lnTo>
                    <a:pt x="4322" y="5725"/>
                  </a:lnTo>
                  <a:lnTo>
                    <a:pt x="4452" y="5659"/>
                  </a:lnTo>
                  <a:lnTo>
                    <a:pt x="4577" y="5586"/>
                  </a:lnTo>
                  <a:lnTo>
                    <a:pt x="4700" y="5507"/>
                  </a:lnTo>
                  <a:lnTo>
                    <a:pt x="4819" y="5424"/>
                  </a:lnTo>
                  <a:lnTo>
                    <a:pt x="4932" y="5334"/>
                  </a:lnTo>
                  <a:lnTo>
                    <a:pt x="5042" y="5239"/>
                  </a:lnTo>
                  <a:lnTo>
                    <a:pt x="5146" y="5140"/>
                  </a:lnTo>
                  <a:lnTo>
                    <a:pt x="5247" y="5035"/>
                  </a:lnTo>
                  <a:lnTo>
                    <a:pt x="5341" y="4925"/>
                  </a:lnTo>
                  <a:lnTo>
                    <a:pt x="5431" y="4812"/>
                  </a:lnTo>
                  <a:lnTo>
                    <a:pt x="5515" y="4693"/>
                  </a:lnTo>
                  <a:lnTo>
                    <a:pt x="5594" y="4572"/>
                  </a:lnTo>
                  <a:lnTo>
                    <a:pt x="5666" y="4445"/>
                  </a:lnTo>
                  <a:lnTo>
                    <a:pt x="5733" y="4316"/>
                  </a:lnTo>
                  <a:lnTo>
                    <a:pt x="5794" y="4183"/>
                  </a:lnTo>
                  <a:lnTo>
                    <a:pt x="5848" y="4046"/>
                  </a:lnTo>
                  <a:lnTo>
                    <a:pt x="5895" y="3906"/>
                  </a:lnTo>
                  <a:lnTo>
                    <a:pt x="5935" y="3763"/>
                  </a:lnTo>
                  <a:lnTo>
                    <a:pt x="5969" y="3617"/>
                  </a:lnTo>
                  <a:lnTo>
                    <a:pt x="5996" y="3469"/>
                  </a:lnTo>
                  <a:lnTo>
                    <a:pt x="6015" y="3318"/>
                  </a:lnTo>
                  <a:lnTo>
                    <a:pt x="6027" y="3166"/>
                  </a:lnTo>
                  <a:lnTo>
                    <a:pt x="6031" y="3011"/>
                  </a:lnTo>
                  <a:lnTo>
                    <a:pt x="6027" y="2857"/>
                  </a:lnTo>
                  <a:lnTo>
                    <a:pt x="6015" y="2704"/>
                  </a:lnTo>
                  <a:lnTo>
                    <a:pt x="5996" y="2554"/>
                  </a:lnTo>
                  <a:lnTo>
                    <a:pt x="5969" y="2405"/>
                  </a:lnTo>
                  <a:lnTo>
                    <a:pt x="5935" y="2260"/>
                  </a:lnTo>
                  <a:lnTo>
                    <a:pt x="5895" y="2117"/>
                  </a:lnTo>
                  <a:lnTo>
                    <a:pt x="5848" y="1978"/>
                  </a:lnTo>
                  <a:lnTo>
                    <a:pt x="5794" y="1840"/>
                  </a:lnTo>
                  <a:lnTo>
                    <a:pt x="5733" y="1708"/>
                  </a:lnTo>
                  <a:lnTo>
                    <a:pt x="5666" y="1577"/>
                  </a:lnTo>
                  <a:lnTo>
                    <a:pt x="5594" y="1452"/>
                  </a:lnTo>
                  <a:lnTo>
                    <a:pt x="5515" y="1329"/>
                  </a:lnTo>
                  <a:lnTo>
                    <a:pt x="5431" y="1211"/>
                  </a:lnTo>
                  <a:lnTo>
                    <a:pt x="5341" y="1097"/>
                  </a:lnTo>
                  <a:lnTo>
                    <a:pt x="5247" y="988"/>
                  </a:lnTo>
                  <a:lnTo>
                    <a:pt x="5146" y="884"/>
                  </a:lnTo>
                  <a:lnTo>
                    <a:pt x="5042" y="783"/>
                  </a:lnTo>
                  <a:lnTo>
                    <a:pt x="4932" y="689"/>
                  </a:lnTo>
                  <a:lnTo>
                    <a:pt x="4819" y="600"/>
                  </a:lnTo>
                  <a:lnTo>
                    <a:pt x="4700" y="515"/>
                  </a:lnTo>
                  <a:lnTo>
                    <a:pt x="4577" y="437"/>
                  </a:lnTo>
                  <a:lnTo>
                    <a:pt x="4452" y="365"/>
                  </a:lnTo>
                  <a:lnTo>
                    <a:pt x="4322" y="297"/>
                  </a:lnTo>
                  <a:lnTo>
                    <a:pt x="4188" y="237"/>
                  </a:lnTo>
                  <a:lnTo>
                    <a:pt x="4052" y="183"/>
                  </a:lnTo>
                  <a:lnTo>
                    <a:pt x="3911" y="136"/>
                  </a:lnTo>
                  <a:lnTo>
                    <a:pt x="3768" y="96"/>
                  </a:lnTo>
                  <a:lnTo>
                    <a:pt x="3623" y="62"/>
                  </a:lnTo>
                  <a:lnTo>
                    <a:pt x="3474" y="36"/>
                  </a:lnTo>
                  <a:lnTo>
                    <a:pt x="3323" y="16"/>
                  </a:lnTo>
                  <a:lnTo>
                    <a:pt x="3170" y="4"/>
                  </a:lnTo>
                  <a:lnTo>
                    <a:pt x="3016" y="0"/>
                  </a:lnTo>
                  <a:lnTo>
                    <a:pt x="2861" y="4"/>
                  </a:lnTo>
                  <a:lnTo>
                    <a:pt x="2708" y="16"/>
                  </a:lnTo>
                  <a:lnTo>
                    <a:pt x="2557" y="36"/>
                  </a:lnTo>
                  <a:lnTo>
                    <a:pt x="2408" y="62"/>
                  </a:lnTo>
                  <a:lnTo>
                    <a:pt x="2263" y="96"/>
                  </a:lnTo>
                  <a:lnTo>
                    <a:pt x="2120" y="136"/>
                  </a:lnTo>
                  <a:lnTo>
                    <a:pt x="1979" y="183"/>
                  </a:lnTo>
                  <a:lnTo>
                    <a:pt x="1843" y="237"/>
                  </a:lnTo>
                  <a:lnTo>
                    <a:pt x="1709" y="297"/>
                  </a:lnTo>
                  <a:lnTo>
                    <a:pt x="1579" y="365"/>
                  </a:lnTo>
                  <a:lnTo>
                    <a:pt x="1453" y="437"/>
                  </a:lnTo>
                  <a:lnTo>
                    <a:pt x="1331" y="515"/>
                  </a:lnTo>
                  <a:lnTo>
                    <a:pt x="1212" y="600"/>
                  </a:lnTo>
                  <a:lnTo>
                    <a:pt x="1099" y="689"/>
                  </a:lnTo>
                  <a:lnTo>
                    <a:pt x="989" y="783"/>
                  </a:lnTo>
                  <a:lnTo>
                    <a:pt x="884" y="884"/>
                  </a:lnTo>
                  <a:lnTo>
                    <a:pt x="784" y="988"/>
                  </a:lnTo>
                  <a:lnTo>
                    <a:pt x="690" y="1097"/>
                  </a:lnTo>
                  <a:lnTo>
                    <a:pt x="600" y="1211"/>
                  </a:lnTo>
                  <a:lnTo>
                    <a:pt x="516" y="1329"/>
                  </a:lnTo>
                  <a:lnTo>
                    <a:pt x="437" y="1452"/>
                  </a:lnTo>
                  <a:lnTo>
                    <a:pt x="364" y="1577"/>
                  </a:lnTo>
                  <a:lnTo>
                    <a:pt x="298" y="1708"/>
                  </a:lnTo>
                  <a:lnTo>
                    <a:pt x="237" y="1840"/>
                  </a:lnTo>
                  <a:lnTo>
                    <a:pt x="183" y="1978"/>
                  </a:lnTo>
                  <a:lnTo>
                    <a:pt x="136" y="2117"/>
                  </a:lnTo>
                  <a:lnTo>
                    <a:pt x="95" y="2260"/>
                  </a:lnTo>
                  <a:lnTo>
                    <a:pt x="62" y="2405"/>
                  </a:lnTo>
                  <a:lnTo>
                    <a:pt x="35" y="2554"/>
                  </a:lnTo>
                  <a:lnTo>
                    <a:pt x="15" y="2704"/>
                  </a:lnTo>
                  <a:lnTo>
                    <a:pt x="4" y="2857"/>
                  </a:lnTo>
                  <a:lnTo>
                    <a:pt x="0" y="3011"/>
                  </a:lnTo>
                  <a:lnTo>
                    <a:pt x="4" y="3166"/>
                  </a:lnTo>
                  <a:lnTo>
                    <a:pt x="15" y="3318"/>
                  </a:lnTo>
                  <a:lnTo>
                    <a:pt x="35" y="3469"/>
                  </a:lnTo>
                  <a:lnTo>
                    <a:pt x="62" y="3617"/>
                  </a:lnTo>
                  <a:lnTo>
                    <a:pt x="95" y="3763"/>
                  </a:lnTo>
                  <a:lnTo>
                    <a:pt x="136" y="3906"/>
                  </a:lnTo>
                  <a:lnTo>
                    <a:pt x="183" y="4046"/>
                  </a:lnTo>
                  <a:lnTo>
                    <a:pt x="237" y="4183"/>
                  </a:lnTo>
                  <a:lnTo>
                    <a:pt x="298" y="4316"/>
                  </a:lnTo>
                  <a:lnTo>
                    <a:pt x="364" y="4445"/>
                  </a:lnTo>
                  <a:lnTo>
                    <a:pt x="437" y="4572"/>
                  </a:lnTo>
                  <a:lnTo>
                    <a:pt x="516" y="4693"/>
                  </a:lnTo>
                  <a:lnTo>
                    <a:pt x="600" y="4812"/>
                  </a:lnTo>
                  <a:lnTo>
                    <a:pt x="690" y="4925"/>
                  </a:lnTo>
                  <a:lnTo>
                    <a:pt x="784" y="5035"/>
                  </a:lnTo>
                  <a:lnTo>
                    <a:pt x="884" y="5140"/>
                  </a:lnTo>
                  <a:lnTo>
                    <a:pt x="989" y="5239"/>
                  </a:lnTo>
                  <a:lnTo>
                    <a:pt x="1099" y="5334"/>
                  </a:lnTo>
                  <a:lnTo>
                    <a:pt x="1212" y="5424"/>
                  </a:lnTo>
                  <a:lnTo>
                    <a:pt x="1331" y="5507"/>
                  </a:lnTo>
                  <a:lnTo>
                    <a:pt x="1453" y="5586"/>
                  </a:lnTo>
                  <a:lnTo>
                    <a:pt x="1579" y="5659"/>
                  </a:lnTo>
                  <a:lnTo>
                    <a:pt x="1709" y="5725"/>
                  </a:lnTo>
                  <a:lnTo>
                    <a:pt x="1843" y="5785"/>
                  </a:lnTo>
                  <a:lnTo>
                    <a:pt x="1979" y="5840"/>
                  </a:lnTo>
                  <a:lnTo>
                    <a:pt x="2120" y="5887"/>
                  </a:lnTo>
                  <a:lnTo>
                    <a:pt x="2263" y="5928"/>
                  </a:lnTo>
                  <a:lnTo>
                    <a:pt x="2408" y="5961"/>
                  </a:lnTo>
                  <a:lnTo>
                    <a:pt x="2557" y="5988"/>
                  </a:lnTo>
                  <a:lnTo>
                    <a:pt x="2708" y="6007"/>
                  </a:lnTo>
                  <a:lnTo>
                    <a:pt x="2861" y="6018"/>
                  </a:lnTo>
                  <a:lnTo>
                    <a:pt x="3016" y="60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92" name="îṣḷidè">
              <a:extLst>
                <a:ext uri="{FF2B5EF4-FFF2-40B4-BE49-F238E27FC236}">
                  <a16:creationId xmlns:a16="http://schemas.microsoft.com/office/drawing/2014/main" id="{943EFA1B-78E2-4D7F-B444-BA2E9AEA086E}"/>
                </a:ext>
              </a:extLst>
            </p:cNvPr>
            <p:cNvSpPr/>
            <p:nvPr/>
          </p:nvSpPr>
          <p:spPr bwMode="auto">
            <a:xfrm>
              <a:off x="10794516" y="620034"/>
              <a:ext cx="262524" cy="349494"/>
            </a:xfrm>
            <a:custGeom>
              <a:avLst/>
              <a:gdLst>
                <a:gd name="T0" fmla="*/ 6018 w 12062"/>
                <a:gd name="T1" fmla="*/ 15039 h 16058"/>
                <a:gd name="T2" fmla="*/ 5780 w 12062"/>
                <a:gd name="T3" fmla="*/ 14775 h 16058"/>
                <a:gd name="T4" fmla="*/ 4611 w 12062"/>
                <a:gd name="T5" fmla="*/ 13399 h 16058"/>
                <a:gd name="T6" fmla="*/ 3378 w 12062"/>
                <a:gd name="T7" fmla="*/ 11797 h 16058"/>
                <a:gd name="T8" fmla="*/ 2251 w 12062"/>
                <a:gd name="T9" fmla="*/ 10038 h 16058"/>
                <a:gd name="T10" fmla="*/ 1406 w 12062"/>
                <a:gd name="T11" fmla="*/ 8193 h 16058"/>
                <a:gd name="T12" fmla="*/ 1014 w 12062"/>
                <a:gd name="T13" fmla="*/ 6330 h 16058"/>
                <a:gd name="T14" fmla="*/ 1164 w 12062"/>
                <a:gd name="T15" fmla="*/ 4770 h 16058"/>
                <a:gd name="T16" fmla="*/ 1734 w 12062"/>
                <a:gd name="T17" fmla="*/ 3422 h 16058"/>
                <a:gd name="T18" fmla="*/ 2653 w 12062"/>
                <a:gd name="T19" fmla="*/ 2309 h 16058"/>
                <a:gd name="T20" fmla="*/ 3854 w 12062"/>
                <a:gd name="T21" fmla="*/ 1499 h 16058"/>
                <a:gd name="T22" fmla="*/ 5267 w 12062"/>
                <a:gd name="T23" fmla="*/ 1062 h 16058"/>
                <a:gd name="T24" fmla="*/ 6795 w 12062"/>
                <a:gd name="T25" fmla="*/ 1062 h 16058"/>
                <a:gd name="T26" fmla="*/ 8208 w 12062"/>
                <a:gd name="T27" fmla="*/ 1499 h 16058"/>
                <a:gd name="T28" fmla="*/ 9409 w 12062"/>
                <a:gd name="T29" fmla="*/ 2309 h 16058"/>
                <a:gd name="T30" fmla="*/ 10328 w 12062"/>
                <a:gd name="T31" fmla="*/ 3422 h 16058"/>
                <a:gd name="T32" fmla="*/ 10898 w 12062"/>
                <a:gd name="T33" fmla="*/ 4770 h 16058"/>
                <a:gd name="T34" fmla="*/ 11048 w 12062"/>
                <a:gd name="T35" fmla="*/ 6330 h 16058"/>
                <a:gd name="T36" fmla="*/ 10656 w 12062"/>
                <a:gd name="T37" fmla="*/ 8193 h 16058"/>
                <a:gd name="T38" fmla="*/ 9810 w 12062"/>
                <a:gd name="T39" fmla="*/ 10039 h 16058"/>
                <a:gd name="T40" fmla="*/ 8681 w 12062"/>
                <a:gd name="T41" fmla="*/ 11801 h 16058"/>
                <a:gd name="T42" fmla="*/ 7443 w 12062"/>
                <a:gd name="T43" fmla="*/ 13407 h 16058"/>
                <a:gd name="T44" fmla="*/ 6267 w 12062"/>
                <a:gd name="T45" fmla="*/ 14791 h 16058"/>
                <a:gd name="T46" fmla="*/ 4817 w 12062"/>
                <a:gd name="T47" fmla="*/ 121 h 16058"/>
                <a:gd name="T48" fmla="*/ 3159 w 12062"/>
                <a:gd name="T49" fmla="*/ 722 h 16058"/>
                <a:gd name="T50" fmla="*/ 1768 w 12062"/>
                <a:gd name="T51" fmla="*/ 1753 h 16058"/>
                <a:gd name="T52" fmla="*/ 729 w 12062"/>
                <a:gd name="T53" fmla="*/ 3139 h 16058"/>
                <a:gd name="T54" fmla="*/ 123 w 12062"/>
                <a:gd name="T55" fmla="*/ 4801 h 16058"/>
                <a:gd name="T56" fmla="*/ 34 w 12062"/>
                <a:gd name="T57" fmla="*/ 6682 h 16058"/>
                <a:gd name="T58" fmla="*/ 506 w 12062"/>
                <a:gd name="T59" fmla="*/ 8654 h 16058"/>
                <a:gd name="T60" fmla="*/ 1411 w 12062"/>
                <a:gd name="T61" fmla="*/ 10583 h 16058"/>
                <a:gd name="T62" fmla="*/ 2598 w 12062"/>
                <a:gd name="T63" fmla="*/ 12423 h 16058"/>
                <a:gd name="T64" fmla="*/ 3917 w 12062"/>
                <a:gd name="T65" fmla="*/ 14129 h 16058"/>
                <a:gd name="T66" fmla="*/ 5214 w 12062"/>
                <a:gd name="T67" fmla="*/ 15655 h 16058"/>
                <a:gd name="T68" fmla="*/ 5355 w 12062"/>
                <a:gd name="T69" fmla="*/ 15786 h 16058"/>
                <a:gd name="T70" fmla="*/ 5509 w 12062"/>
                <a:gd name="T71" fmla="*/ 15897 h 16058"/>
                <a:gd name="T72" fmla="*/ 5705 w 12062"/>
                <a:gd name="T73" fmla="*/ 15997 h 16058"/>
                <a:gd name="T74" fmla="*/ 5931 w 12062"/>
                <a:gd name="T75" fmla="*/ 16054 h 16058"/>
                <a:gd name="T76" fmla="*/ 6170 w 12062"/>
                <a:gd name="T77" fmla="*/ 16048 h 16058"/>
                <a:gd name="T78" fmla="*/ 6392 w 12062"/>
                <a:gd name="T79" fmla="*/ 15982 h 16058"/>
                <a:gd name="T80" fmla="*/ 6581 w 12062"/>
                <a:gd name="T81" fmla="*/ 15878 h 16058"/>
                <a:gd name="T82" fmla="*/ 6747 w 12062"/>
                <a:gd name="T83" fmla="*/ 15752 h 16058"/>
                <a:gd name="T84" fmla="*/ 7056 w 12062"/>
                <a:gd name="T85" fmla="*/ 15415 h 16058"/>
                <a:gd name="T86" fmla="*/ 8368 w 12062"/>
                <a:gd name="T87" fmla="*/ 13856 h 16058"/>
                <a:gd name="T88" fmla="*/ 9675 w 12062"/>
                <a:gd name="T89" fmla="*/ 12125 h 16058"/>
                <a:gd name="T90" fmla="*/ 10826 w 12062"/>
                <a:gd name="T91" fmla="*/ 10267 h 16058"/>
                <a:gd name="T92" fmla="*/ 11669 w 12062"/>
                <a:gd name="T93" fmla="*/ 8328 h 16058"/>
                <a:gd name="T94" fmla="*/ 12053 w 12062"/>
                <a:gd name="T95" fmla="*/ 6352 h 16058"/>
                <a:gd name="T96" fmla="*/ 11872 w 12062"/>
                <a:gd name="T97" fmla="*/ 4508 h 16058"/>
                <a:gd name="T98" fmla="*/ 11188 w 12062"/>
                <a:gd name="T99" fmla="*/ 2887 h 16058"/>
                <a:gd name="T100" fmla="*/ 10084 w 12062"/>
                <a:gd name="T101" fmla="*/ 1555 h 16058"/>
                <a:gd name="T102" fmla="*/ 8644 w 12062"/>
                <a:gd name="T103" fmla="*/ 589 h 16058"/>
                <a:gd name="T104" fmla="*/ 6948 w 12062"/>
                <a:gd name="T105" fmla="*/ 68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062" h="16058">
                  <a:moveTo>
                    <a:pt x="6090" y="14996"/>
                  </a:moveTo>
                  <a:lnTo>
                    <a:pt x="6078" y="15005"/>
                  </a:lnTo>
                  <a:lnTo>
                    <a:pt x="6062" y="15018"/>
                  </a:lnTo>
                  <a:lnTo>
                    <a:pt x="6042" y="15032"/>
                  </a:lnTo>
                  <a:lnTo>
                    <a:pt x="6021" y="15045"/>
                  </a:lnTo>
                  <a:lnTo>
                    <a:pt x="6018" y="15039"/>
                  </a:lnTo>
                  <a:lnTo>
                    <a:pt x="6012" y="15032"/>
                  </a:lnTo>
                  <a:lnTo>
                    <a:pt x="6004" y="15024"/>
                  </a:lnTo>
                  <a:lnTo>
                    <a:pt x="5995" y="15015"/>
                  </a:lnTo>
                  <a:lnTo>
                    <a:pt x="5975" y="14996"/>
                  </a:lnTo>
                  <a:lnTo>
                    <a:pt x="5956" y="14978"/>
                  </a:lnTo>
                  <a:lnTo>
                    <a:pt x="5780" y="14775"/>
                  </a:lnTo>
                  <a:lnTo>
                    <a:pt x="5597" y="14565"/>
                  </a:lnTo>
                  <a:lnTo>
                    <a:pt x="5408" y="14346"/>
                  </a:lnTo>
                  <a:lnTo>
                    <a:pt x="5215" y="14120"/>
                  </a:lnTo>
                  <a:lnTo>
                    <a:pt x="5017" y="13886"/>
                  </a:lnTo>
                  <a:lnTo>
                    <a:pt x="4815" y="13646"/>
                  </a:lnTo>
                  <a:lnTo>
                    <a:pt x="4611" y="13399"/>
                  </a:lnTo>
                  <a:lnTo>
                    <a:pt x="4406" y="13145"/>
                  </a:lnTo>
                  <a:lnTo>
                    <a:pt x="4199" y="12887"/>
                  </a:lnTo>
                  <a:lnTo>
                    <a:pt x="3992" y="12622"/>
                  </a:lnTo>
                  <a:lnTo>
                    <a:pt x="3785" y="12352"/>
                  </a:lnTo>
                  <a:lnTo>
                    <a:pt x="3580" y="12077"/>
                  </a:lnTo>
                  <a:lnTo>
                    <a:pt x="3378" y="11797"/>
                  </a:lnTo>
                  <a:lnTo>
                    <a:pt x="3178" y="11513"/>
                  </a:lnTo>
                  <a:lnTo>
                    <a:pt x="2982" y="11225"/>
                  </a:lnTo>
                  <a:lnTo>
                    <a:pt x="2790" y="10932"/>
                  </a:lnTo>
                  <a:lnTo>
                    <a:pt x="2604" y="10637"/>
                  </a:lnTo>
                  <a:lnTo>
                    <a:pt x="2424" y="10339"/>
                  </a:lnTo>
                  <a:lnTo>
                    <a:pt x="2251" y="10038"/>
                  </a:lnTo>
                  <a:lnTo>
                    <a:pt x="2087" y="9734"/>
                  </a:lnTo>
                  <a:lnTo>
                    <a:pt x="1930" y="9429"/>
                  </a:lnTo>
                  <a:lnTo>
                    <a:pt x="1782" y="9122"/>
                  </a:lnTo>
                  <a:lnTo>
                    <a:pt x="1645" y="8813"/>
                  </a:lnTo>
                  <a:lnTo>
                    <a:pt x="1520" y="8504"/>
                  </a:lnTo>
                  <a:lnTo>
                    <a:pt x="1406" y="8193"/>
                  </a:lnTo>
                  <a:lnTo>
                    <a:pt x="1305" y="7881"/>
                  </a:lnTo>
                  <a:lnTo>
                    <a:pt x="1216" y="7570"/>
                  </a:lnTo>
                  <a:lnTo>
                    <a:pt x="1142" y="7259"/>
                  </a:lnTo>
                  <a:lnTo>
                    <a:pt x="1083" y="6948"/>
                  </a:lnTo>
                  <a:lnTo>
                    <a:pt x="1040" y="6639"/>
                  </a:lnTo>
                  <a:lnTo>
                    <a:pt x="1014" y="6330"/>
                  </a:lnTo>
                  <a:lnTo>
                    <a:pt x="1005" y="6023"/>
                  </a:lnTo>
                  <a:lnTo>
                    <a:pt x="1011" y="5765"/>
                  </a:lnTo>
                  <a:lnTo>
                    <a:pt x="1031" y="5510"/>
                  </a:lnTo>
                  <a:lnTo>
                    <a:pt x="1063" y="5259"/>
                  </a:lnTo>
                  <a:lnTo>
                    <a:pt x="1108" y="5012"/>
                  </a:lnTo>
                  <a:lnTo>
                    <a:pt x="1164" y="4770"/>
                  </a:lnTo>
                  <a:lnTo>
                    <a:pt x="1231" y="4532"/>
                  </a:lnTo>
                  <a:lnTo>
                    <a:pt x="1311" y="4299"/>
                  </a:lnTo>
                  <a:lnTo>
                    <a:pt x="1401" y="4071"/>
                  </a:lnTo>
                  <a:lnTo>
                    <a:pt x="1502" y="3849"/>
                  </a:lnTo>
                  <a:lnTo>
                    <a:pt x="1612" y="3632"/>
                  </a:lnTo>
                  <a:lnTo>
                    <a:pt x="1734" y="3422"/>
                  </a:lnTo>
                  <a:lnTo>
                    <a:pt x="1864" y="3219"/>
                  </a:lnTo>
                  <a:lnTo>
                    <a:pt x="2005" y="3022"/>
                  </a:lnTo>
                  <a:lnTo>
                    <a:pt x="2154" y="2832"/>
                  </a:lnTo>
                  <a:lnTo>
                    <a:pt x="2313" y="2650"/>
                  </a:lnTo>
                  <a:lnTo>
                    <a:pt x="2479" y="2475"/>
                  </a:lnTo>
                  <a:lnTo>
                    <a:pt x="2653" y="2309"/>
                  </a:lnTo>
                  <a:lnTo>
                    <a:pt x="2836" y="2151"/>
                  </a:lnTo>
                  <a:lnTo>
                    <a:pt x="3026" y="2002"/>
                  </a:lnTo>
                  <a:lnTo>
                    <a:pt x="3223" y="1862"/>
                  </a:lnTo>
                  <a:lnTo>
                    <a:pt x="3427" y="1731"/>
                  </a:lnTo>
                  <a:lnTo>
                    <a:pt x="3637" y="1610"/>
                  </a:lnTo>
                  <a:lnTo>
                    <a:pt x="3854" y="1499"/>
                  </a:lnTo>
                  <a:lnTo>
                    <a:pt x="4077" y="1399"/>
                  </a:lnTo>
                  <a:lnTo>
                    <a:pt x="4305" y="1309"/>
                  </a:lnTo>
                  <a:lnTo>
                    <a:pt x="4538" y="1229"/>
                  </a:lnTo>
                  <a:lnTo>
                    <a:pt x="4776" y="1162"/>
                  </a:lnTo>
                  <a:lnTo>
                    <a:pt x="5019" y="1106"/>
                  </a:lnTo>
                  <a:lnTo>
                    <a:pt x="5267" y="1062"/>
                  </a:lnTo>
                  <a:lnTo>
                    <a:pt x="5518" y="1030"/>
                  </a:lnTo>
                  <a:lnTo>
                    <a:pt x="5773" y="1010"/>
                  </a:lnTo>
                  <a:lnTo>
                    <a:pt x="6032" y="1004"/>
                  </a:lnTo>
                  <a:lnTo>
                    <a:pt x="6289" y="1010"/>
                  </a:lnTo>
                  <a:lnTo>
                    <a:pt x="6544" y="1030"/>
                  </a:lnTo>
                  <a:lnTo>
                    <a:pt x="6795" y="1062"/>
                  </a:lnTo>
                  <a:lnTo>
                    <a:pt x="7043" y="1106"/>
                  </a:lnTo>
                  <a:lnTo>
                    <a:pt x="7286" y="1162"/>
                  </a:lnTo>
                  <a:lnTo>
                    <a:pt x="7524" y="1229"/>
                  </a:lnTo>
                  <a:lnTo>
                    <a:pt x="7757" y="1309"/>
                  </a:lnTo>
                  <a:lnTo>
                    <a:pt x="7985" y="1399"/>
                  </a:lnTo>
                  <a:lnTo>
                    <a:pt x="8208" y="1499"/>
                  </a:lnTo>
                  <a:lnTo>
                    <a:pt x="8425" y="1610"/>
                  </a:lnTo>
                  <a:lnTo>
                    <a:pt x="8635" y="1731"/>
                  </a:lnTo>
                  <a:lnTo>
                    <a:pt x="8839" y="1862"/>
                  </a:lnTo>
                  <a:lnTo>
                    <a:pt x="9036" y="2002"/>
                  </a:lnTo>
                  <a:lnTo>
                    <a:pt x="9226" y="2151"/>
                  </a:lnTo>
                  <a:lnTo>
                    <a:pt x="9409" y="2309"/>
                  </a:lnTo>
                  <a:lnTo>
                    <a:pt x="9583" y="2475"/>
                  </a:lnTo>
                  <a:lnTo>
                    <a:pt x="9749" y="2650"/>
                  </a:lnTo>
                  <a:lnTo>
                    <a:pt x="9908" y="2832"/>
                  </a:lnTo>
                  <a:lnTo>
                    <a:pt x="10057" y="3022"/>
                  </a:lnTo>
                  <a:lnTo>
                    <a:pt x="10198" y="3219"/>
                  </a:lnTo>
                  <a:lnTo>
                    <a:pt x="10328" y="3422"/>
                  </a:lnTo>
                  <a:lnTo>
                    <a:pt x="10450" y="3632"/>
                  </a:lnTo>
                  <a:lnTo>
                    <a:pt x="10560" y="3849"/>
                  </a:lnTo>
                  <a:lnTo>
                    <a:pt x="10661" y="4071"/>
                  </a:lnTo>
                  <a:lnTo>
                    <a:pt x="10751" y="4299"/>
                  </a:lnTo>
                  <a:lnTo>
                    <a:pt x="10831" y="4532"/>
                  </a:lnTo>
                  <a:lnTo>
                    <a:pt x="10898" y="4770"/>
                  </a:lnTo>
                  <a:lnTo>
                    <a:pt x="10954" y="5012"/>
                  </a:lnTo>
                  <a:lnTo>
                    <a:pt x="10999" y="5259"/>
                  </a:lnTo>
                  <a:lnTo>
                    <a:pt x="11031" y="5510"/>
                  </a:lnTo>
                  <a:lnTo>
                    <a:pt x="11051" y="5765"/>
                  </a:lnTo>
                  <a:lnTo>
                    <a:pt x="11057" y="6023"/>
                  </a:lnTo>
                  <a:lnTo>
                    <a:pt x="11048" y="6330"/>
                  </a:lnTo>
                  <a:lnTo>
                    <a:pt x="11022" y="6639"/>
                  </a:lnTo>
                  <a:lnTo>
                    <a:pt x="10979" y="6948"/>
                  </a:lnTo>
                  <a:lnTo>
                    <a:pt x="10920" y="7259"/>
                  </a:lnTo>
                  <a:lnTo>
                    <a:pt x="10846" y="7570"/>
                  </a:lnTo>
                  <a:lnTo>
                    <a:pt x="10757" y="7881"/>
                  </a:lnTo>
                  <a:lnTo>
                    <a:pt x="10656" y="8193"/>
                  </a:lnTo>
                  <a:lnTo>
                    <a:pt x="10542" y="8504"/>
                  </a:lnTo>
                  <a:lnTo>
                    <a:pt x="10416" y="8814"/>
                  </a:lnTo>
                  <a:lnTo>
                    <a:pt x="10279" y="9122"/>
                  </a:lnTo>
                  <a:lnTo>
                    <a:pt x="10132" y="9430"/>
                  </a:lnTo>
                  <a:lnTo>
                    <a:pt x="9975" y="9735"/>
                  </a:lnTo>
                  <a:lnTo>
                    <a:pt x="9810" y="10039"/>
                  </a:lnTo>
                  <a:lnTo>
                    <a:pt x="9637" y="10340"/>
                  </a:lnTo>
                  <a:lnTo>
                    <a:pt x="9457" y="10639"/>
                  </a:lnTo>
                  <a:lnTo>
                    <a:pt x="9270" y="10934"/>
                  </a:lnTo>
                  <a:lnTo>
                    <a:pt x="9078" y="11227"/>
                  </a:lnTo>
                  <a:lnTo>
                    <a:pt x="8882" y="11516"/>
                  </a:lnTo>
                  <a:lnTo>
                    <a:pt x="8681" y="11801"/>
                  </a:lnTo>
                  <a:lnTo>
                    <a:pt x="8478" y="12081"/>
                  </a:lnTo>
                  <a:lnTo>
                    <a:pt x="8272" y="12357"/>
                  </a:lnTo>
                  <a:lnTo>
                    <a:pt x="8065" y="12628"/>
                  </a:lnTo>
                  <a:lnTo>
                    <a:pt x="7857" y="12893"/>
                  </a:lnTo>
                  <a:lnTo>
                    <a:pt x="7650" y="13154"/>
                  </a:lnTo>
                  <a:lnTo>
                    <a:pt x="7443" y="13407"/>
                  </a:lnTo>
                  <a:lnTo>
                    <a:pt x="7238" y="13655"/>
                  </a:lnTo>
                  <a:lnTo>
                    <a:pt x="7036" y="13897"/>
                  </a:lnTo>
                  <a:lnTo>
                    <a:pt x="6837" y="14132"/>
                  </a:lnTo>
                  <a:lnTo>
                    <a:pt x="6642" y="14359"/>
                  </a:lnTo>
                  <a:lnTo>
                    <a:pt x="6452" y="14579"/>
                  </a:lnTo>
                  <a:lnTo>
                    <a:pt x="6267" y="14791"/>
                  </a:lnTo>
                  <a:lnTo>
                    <a:pt x="6090" y="14996"/>
                  </a:lnTo>
                  <a:close/>
                  <a:moveTo>
                    <a:pt x="6032" y="0"/>
                  </a:moveTo>
                  <a:lnTo>
                    <a:pt x="5721" y="8"/>
                  </a:lnTo>
                  <a:lnTo>
                    <a:pt x="5415" y="31"/>
                  </a:lnTo>
                  <a:lnTo>
                    <a:pt x="5114" y="68"/>
                  </a:lnTo>
                  <a:lnTo>
                    <a:pt x="4817" y="121"/>
                  </a:lnTo>
                  <a:lnTo>
                    <a:pt x="4526" y="188"/>
                  </a:lnTo>
                  <a:lnTo>
                    <a:pt x="4239" y="268"/>
                  </a:lnTo>
                  <a:lnTo>
                    <a:pt x="3959" y="362"/>
                  </a:lnTo>
                  <a:lnTo>
                    <a:pt x="3686" y="470"/>
                  </a:lnTo>
                  <a:lnTo>
                    <a:pt x="3418" y="589"/>
                  </a:lnTo>
                  <a:lnTo>
                    <a:pt x="3159" y="722"/>
                  </a:lnTo>
                  <a:lnTo>
                    <a:pt x="2906" y="865"/>
                  </a:lnTo>
                  <a:lnTo>
                    <a:pt x="2661" y="1021"/>
                  </a:lnTo>
                  <a:lnTo>
                    <a:pt x="2424" y="1188"/>
                  </a:lnTo>
                  <a:lnTo>
                    <a:pt x="2197" y="1366"/>
                  </a:lnTo>
                  <a:lnTo>
                    <a:pt x="1978" y="1555"/>
                  </a:lnTo>
                  <a:lnTo>
                    <a:pt x="1768" y="1753"/>
                  </a:lnTo>
                  <a:lnTo>
                    <a:pt x="1569" y="1962"/>
                  </a:lnTo>
                  <a:lnTo>
                    <a:pt x="1379" y="2180"/>
                  </a:lnTo>
                  <a:lnTo>
                    <a:pt x="1200" y="2407"/>
                  </a:lnTo>
                  <a:lnTo>
                    <a:pt x="1031" y="2643"/>
                  </a:lnTo>
                  <a:lnTo>
                    <a:pt x="874" y="2887"/>
                  </a:lnTo>
                  <a:lnTo>
                    <a:pt x="729" y="3139"/>
                  </a:lnTo>
                  <a:lnTo>
                    <a:pt x="596" y="3399"/>
                  </a:lnTo>
                  <a:lnTo>
                    <a:pt x="474" y="3666"/>
                  </a:lnTo>
                  <a:lnTo>
                    <a:pt x="367" y="3940"/>
                  </a:lnTo>
                  <a:lnTo>
                    <a:pt x="271" y="4221"/>
                  </a:lnTo>
                  <a:lnTo>
                    <a:pt x="190" y="4508"/>
                  </a:lnTo>
                  <a:lnTo>
                    <a:pt x="123" y="4801"/>
                  </a:lnTo>
                  <a:lnTo>
                    <a:pt x="69" y="5099"/>
                  </a:lnTo>
                  <a:lnTo>
                    <a:pt x="31" y="5403"/>
                  </a:lnTo>
                  <a:lnTo>
                    <a:pt x="8" y="5711"/>
                  </a:lnTo>
                  <a:lnTo>
                    <a:pt x="0" y="6023"/>
                  </a:lnTo>
                  <a:lnTo>
                    <a:pt x="9" y="6352"/>
                  </a:lnTo>
                  <a:lnTo>
                    <a:pt x="34" y="6682"/>
                  </a:lnTo>
                  <a:lnTo>
                    <a:pt x="76" y="7012"/>
                  </a:lnTo>
                  <a:lnTo>
                    <a:pt x="134" y="7342"/>
                  </a:lnTo>
                  <a:lnTo>
                    <a:pt x="206" y="7671"/>
                  </a:lnTo>
                  <a:lnTo>
                    <a:pt x="292" y="8000"/>
                  </a:lnTo>
                  <a:lnTo>
                    <a:pt x="393" y="8328"/>
                  </a:lnTo>
                  <a:lnTo>
                    <a:pt x="506" y="8654"/>
                  </a:lnTo>
                  <a:lnTo>
                    <a:pt x="630" y="8980"/>
                  </a:lnTo>
                  <a:lnTo>
                    <a:pt x="767" y="9305"/>
                  </a:lnTo>
                  <a:lnTo>
                    <a:pt x="914" y="9628"/>
                  </a:lnTo>
                  <a:lnTo>
                    <a:pt x="1070" y="9948"/>
                  </a:lnTo>
                  <a:lnTo>
                    <a:pt x="1236" y="10267"/>
                  </a:lnTo>
                  <a:lnTo>
                    <a:pt x="1411" y="10583"/>
                  </a:lnTo>
                  <a:lnTo>
                    <a:pt x="1593" y="10897"/>
                  </a:lnTo>
                  <a:lnTo>
                    <a:pt x="1783" y="11208"/>
                  </a:lnTo>
                  <a:lnTo>
                    <a:pt x="1979" y="11518"/>
                  </a:lnTo>
                  <a:lnTo>
                    <a:pt x="2180" y="11823"/>
                  </a:lnTo>
                  <a:lnTo>
                    <a:pt x="2387" y="12125"/>
                  </a:lnTo>
                  <a:lnTo>
                    <a:pt x="2598" y="12423"/>
                  </a:lnTo>
                  <a:lnTo>
                    <a:pt x="2813" y="12718"/>
                  </a:lnTo>
                  <a:lnTo>
                    <a:pt x="3030" y="13009"/>
                  </a:lnTo>
                  <a:lnTo>
                    <a:pt x="3250" y="13296"/>
                  </a:lnTo>
                  <a:lnTo>
                    <a:pt x="3473" y="13578"/>
                  </a:lnTo>
                  <a:lnTo>
                    <a:pt x="3695" y="13856"/>
                  </a:lnTo>
                  <a:lnTo>
                    <a:pt x="3917" y="14129"/>
                  </a:lnTo>
                  <a:lnTo>
                    <a:pt x="4139" y="14397"/>
                  </a:lnTo>
                  <a:lnTo>
                    <a:pt x="4359" y="14659"/>
                  </a:lnTo>
                  <a:lnTo>
                    <a:pt x="4577" y="14917"/>
                  </a:lnTo>
                  <a:lnTo>
                    <a:pt x="4793" y="15169"/>
                  </a:lnTo>
                  <a:lnTo>
                    <a:pt x="5006" y="15415"/>
                  </a:lnTo>
                  <a:lnTo>
                    <a:pt x="5214" y="15655"/>
                  </a:lnTo>
                  <a:lnTo>
                    <a:pt x="5219" y="15661"/>
                  </a:lnTo>
                  <a:lnTo>
                    <a:pt x="5233" y="15675"/>
                  </a:lnTo>
                  <a:lnTo>
                    <a:pt x="5254" y="15695"/>
                  </a:lnTo>
                  <a:lnTo>
                    <a:pt x="5281" y="15722"/>
                  </a:lnTo>
                  <a:lnTo>
                    <a:pt x="5315" y="15752"/>
                  </a:lnTo>
                  <a:lnTo>
                    <a:pt x="5355" y="15786"/>
                  </a:lnTo>
                  <a:lnTo>
                    <a:pt x="5377" y="15804"/>
                  </a:lnTo>
                  <a:lnTo>
                    <a:pt x="5401" y="15822"/>
                  </a:lnTo>
                  <a:lnTo>
                    <a:pt x="5426" y="15841"/>
                  </a:lnTo>
                  <a:lnTo>
                    <a:pt x="5453" y="15860"/>
                  </a:lnTo>
                  <a:lnTo>
                    <a:pt x="5480" y="15878"/>
                  </a:lnTo>
                  <a:lnTo>
                    <a:pt x="5509" y="15897"/>
                  </a:lnTo>
                  <a:lnTo>
                    <a:pt x="5539" y="15915"/>
                  </a:lnTo>
                  <a:lnTo>
                    <a:pt x="5570" y="15933"/>
                  </a:lnTo>
                  <a:lnTo>
                    <a:pt x="5602" y="15950"/>
                  </a:lnTo>
                  <a:lnTo>
                    <a:pt x="5635" y="15967"/>
                  </a:lnTo>
                  <a:lnTo>
                    <a:pt x="5670" y="15982"/>
                  </a:lnTo>
                  <a:lnTo>
                    <a:pt x="5705" y="15997"/>
                  </a:lnTo>
                  <a:lnTo>
                    <a:pt x="5740" y="16010"/>
                  </a:lnTo>
                  <a:lnTo>
                    <a:pt x="5777" y="16022"/>
                  </a:lnTo>
                  <a:lnTo>
                    <a:pt x="5814" y="16032"/>
                  </a:lnTo>
                  <a:lnTo>
                    <a:pt x="5853" y="16041"/>
                  </a:lnTo>
                  <a:lnTo>
                    <a:pt x="5892" y="16048"/>
                  </a:lnTo>
                  <a:lnTo>
                    <a:pt x="5931" y="16054"/>
                  </a:lnTo>
                  <a:lnTo>
                    <a:pt x="5971" y="16057"/>
                  </a:lnTo>
                  <a:lnTo>
                    <a:pt x="6011" y="16058"/>
                  </a:lnTo>
                  <a:lnTo>
                    <a:pt x="6051" y="16058"/>
                  </a:lnTo>
                  <a:lnTo>
                    <a:pt x="6091" y="16057"/>
                  </a:lnTo>
                  <a:lnTo>
                    <a:pt x="6131" y="16054"/>
                  </a:lnTo>
                  <a:lnTo>
                    <a:pt x="6170" y="16048"/>
                  </a:lnTo>
                  <a:lnTo>
                    <a:pt x="6209" y="16041"/>
                  </a:lnTo>
                  <a:lnTo>
                    <a:pt x="6248" y="16032"/>
                  </a:lnTo>
                  <a:lnTo>
                    <a:pt x="6285" y="16022"/>
                  </a:lnTo>
                  <a:lnTo>
                    <a:pt x="6322" y="16010"/>
                  </a:lnTo>
                  <a:lnTo>
                    <a:pt x="6357" y="15997"/>
                  </a:lnTo>
                  <a:lnTo>
                    <a:pt x="6392" y="15982"/>
                  </a:lnTo>
                  <a:lnTo>
                    <a:pt x="6427" y="15967"/>
                  </a:lnTo>
                  <a:lnTo>
                    <a:pt x="6460" y="15950"/>
                  </a:lnTo>
                  <a:lnTo>
                    <a:pt x="6492" y="15933"/>
                  </a:lnTo>
                  <a:lnTo>
                    <a:pt x="6523" y="15915"/>
                  </a:lnTo>
                  <a:lnTo>
                    <a:pt x="6553" y="15897"/>
                  </a:lnTo>
                  <a:lnTo>
                    <a:pt x="6581" y="15878"/>
                  </a:lnTo>
                  <a:lnTo>
                    <a:pt x="6609" y="15860"/>
                  </a:lnTo>
                  <a:lnTo>
                    <a:pt x="6636" y="15841"/>
                  </a:lnTo>
                  <a:lnTo>
                    <a:pt x="6661" y="15822"/>
                  </a:lnTo>
                  <a:lnTo>
                    <a:pt x="6684" y="15804"/>
                  </a:lnTo>
                  <a:lnTo>
                    <a:pt x="6707" y="15786"/>
                  </a:lnTo>
                  <a:lnTo>
                    <a:pt x="6747" y="15752"/>
                  </a:lnTo>
                  <a:lnTo>
                    <a:pt x="6780" y="15722"/>
                  </a:lnTo>
                  <a:lnTo>
                    <a:pt x="6808" y="15695"/>
                  </a:lnTo>
                  <a:lnTo>
                    <a:pt x="6829" y="15675"/>
                  </a:lnTo>
                  <a:lnTo>
                    <a:pt x="6842" y="15661"/>
                  </a:lnTo>
                  <a:lnTo>
                    <a:pt x="6848" y="15655"/>
                  </a:lnTo>
                  <a:lnTo>
                    <a:pt x="7056" y="15415"/>
                  </a:lnTo>
                  <a:lnTo>
                    <a:pt x="7269" y="15169"/>
                  </a:lnTo>
                  <a:lnTo>
                    <a:pt x="7485" y="14917"/>
                  </a:lnTo>
                  <a:lnTo>
                    <a:pt x="7703" y="14659"/>
                  </a:lnTo>
                  <a:lnTo>
                    <a:pt x="7924" y="14397"/>
                  </a:lnTo>
                  <a:lnTo>
                    <a:pt x="8145" y="14129"/>
                  </a:lnTo>
                  <a:lnTo>
                    <a:pt x="8368" y="13856"/>
                  </a:lnTo>
                  <a:lnTo>
                    <a:pt x="8590" y="13578"/>
                  </a:lnTo>
                  <a:lnTo>
                    <a:pt x="8812" y="13296"/>
                  </a:lnTo>
                  <a:lnTo>
                    <a:pt x="9032" y="13009"/>
                  </a:lnTo>
                  <a:lnTo>
                    <a:pt x="9249" y="12718"/>
                  </a:lnTo>
                  <a:lnTo>
                    <a:pt x="9464" y="12423"/>
                  </a:lnTo>
                  <a:lnTo>
                    <a:pt x="9675" y="12125"/>
                  </a:lnTo>
                  <a:lnTo>
                    <a:pt x="9882" y="11823"/>
                  </a:lnTo>
                  <a:lnTo>
                    <a:pt x="10084" y="11518"/>
                  </a:lnTo>
                  <a:lnTo>
                    <a:pt x="10280" y="11208"/>
                  </a:lnTo>
                  <a:lnTo>
                    <a:pt x="10469" y="10897"/>
                  </a:lnTo>
                  <a:lnTo>
                    <a:pt x="10652" y="10583"/>
                  </a:lnTo>
                  <a:lnTo>
                    <a:pt x="10826" y="10267"/>
                  </a:lnTo>
                  <a:lnTo>
                    <a:pt x="10992" y="9948"/>
                  </a:lnTo>
                  <a:lnTo>
                    <a:pt x="11148" y="9628"/>
                  </a:lnTo>
                  <a:lnTo>
                    <a:pt x="11295" y="9305"/>
                  </a:lnTo>
                  <a:lnTo>
                    <a:pt x="11432" y="8980"/>
                  </a:lnTo>
                  <a:lnTo>
                    <a:pt x="11556" y="8654"/>
                  </a:lnTo>
                  <a:lnTo>
                    <a:pt x="11669" y="8328"/>
                  </a:lnTo>
                  <a:lnTo>
                    <a:pt x="11770" y="8000"/>
                  </a:lnTo>
                  <a:lnTo>
                    <a:pt x="11856" y="7671"/>
                  </a:lnTo>
                  <a:lnTo>
                    <a:pt x="11928" y="7342"/>
                  </a:lnTo>
                  <a:lnTo>
                    <a:pt x="11986" y="7012"/>
                  </a:lnTo>
                  <a:lnTo>
                    <a:pt x="12028" y="6682"/>
                  </a:lnTo>
                  <a:lnTo>
                    <a:pt x="12053" y="6352"/>
                  </a:lnTo>
                  <a:lnTo>
                    <a:pt x="12062" y="6023"/>
                  </a:lnTo>
                  <a:lnTo>
                    <a:pt x="12054" y="5711"/>
                  </a:lnTo>
                  <a:lnTo>
                    <a:pt x="12031" y="5403"/>
                  </a:lnTo>
                  <a:lnTo>
                    <a:pt x="11993" y="5099"/>
                  </a:lnTo>
                  <a:lnTo>
                    <a:pt x="11939" y="4801"/>
                  </a:lnTo>
                  <a:lnTo>
                    <a:pt x="11872" y="4508"/>
                  </a:lnTo>
                  <a:lnTo>
                    <a:pt x="11791" y="4221"/>
                  </a:lnTo>
                  <a:lnTo>
                    <a:pt x="11695" y="3940"/>
                  </a:lnTo>
                  <a:lnTo>
                    <a:pt x="11588" y="3666"/>
                  </a:lnTo>
                  <a:lnTo>
                    <a:pt x="11466" y="3399"/>
                  </a:lnTo>
                  <a:lnTo>
                    <a:pt x="11333" y="3139"/>
                  </a:lnTo>
                  <a:lnTo>
                    <a:pt x="11188" y="2887"/>
                  </a:lnTo>
                  <a:lnTo>
                    <a:pt x="11031" y="2643"/>
                  </a:lnTo>
                  <a:lnTo>
                    <a:pt x="10862" y="2407"/>
                  </a:lnTo>
                  <a:lnTo>
                    <a:pt x="10683" y="2180"/>
                  </a:lnTo>
                  <a:lnTo>
                    <a:pt x="10493" y="1962"/>
                  </a:lnTo>
                  <a:lnTo>
                    <a:pt x="10294" y="1753"/>
                  </a:lnTo>
                  <a:lnTo>
                    <a:pt x="10084" y="1555"/>
                  </a:lnTo>
                  <a:lnTo>
                    <a:pt x="9865" y="1366"/>
                  </a:lnTo>
                  <a:lnTo>
                    <a:pt x="9638" y="1188"/>
                  </a:lnTo>
                  <a:lnTo>
                    <a:pt x="9401" y="1021"/>
                  </a:lnTo>
                  <a:lnTo>
                    <a:pt x="9156" y="865"/>
                  </a:lnTo>
                  <a:lnTo>
                    <a:pt x="8903" y="722"/>
                  </a:lnTo>
                  <a:lnTo>
                    <a:pt x="8644" y="589"/>
                  </a:lnTo>
                  <a:lnTo>
                    <a:pt x="8376" y="470"/>
                  </a:lnTo>
                  <a:lnTo>
                    <a:pt x="8103" y="362"/>
                  </a:lnTo>
                  <a:lnTo>
                    <a:pt x="7823" y="268"/>
                  </a:lnTo>
                  <a:lnTo>
                    <a:pt x="7536" y="188"/>
                  </a:lnTo>
                  <a:lnTo>
                    <a:pt x="7245" y="121"/>
                  </a:lnTo>
                  <a:lnTo>
                    <a:pt x="6948" y="68"/>
                  </a:lnTo>
                  <a:lnTo>
                    <a:pt x="6647" y="31"/>
                  </a:lnTo>
                  <a:lnTo>
                    <a:pt x="6341" y="8"/>
                  </a:lnTo>
                  <a:lnTo>
                    <a:pt x="60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93" name="iṧḷíde">
              <a:extLst>
                <a:ext uri="{FF2B5EF4-FFF2-40B4-BE49-F238E27FC236}">
                  <a16:creationId xmlns:a16="http://schemas.microsoft.com/office/drawing/2014/main" id="{91DDCDD7-B61B-41E7-9E17-87742D6B21A0}"/>
                </a:ext>
              </a:extLst>
            </p:cNvPr>
            <p:cNvSpPr/>
            <p:nvPr/>
          </p:nvSpPr>
          <p:spPr bwMode="auto">
            <a:xfrm>
              <a:off x="9099546" y="2283754"/>
              <a:ext cx="265011" cy="190515"/>
            </a:xfrm>
            <a:custGeom>
              <a:avLst/>
              <a:gdLst>
                <a:gd name="T0" fmla="*/ 2486 w 16058"/>
                <a:gd name="T1" fmla="*/ 10403 h 11544"/>
                <a:gd name="T2" fmla="*/ 1591 w 16058"/>
                <a:gd name="T3" fmla="*/ 9798 h 11544"/>
                <a:gd name="T4" fmla="*/ 1075 w 16058"/>
                <a:gd name="T5" fmla="*/ 8845 h 11544"/>
                <a:gd name="T6" fmla="*/ 1034 w 16058"/>
                <a:gd name="T7" fmla="*/ 7911 h 11544"/>
                <a:gd name="T8" fmla="*/ 1269 w 16058"/>
                <a:gd name="T9" fmla="*/ 7227 h 11544"/>
                <a:gd name="T10" fmla="*/ 1712 w 16058"/>
                <a:gd name="T11" fmla="*/ 6654 h 11544"/>
                <a:gd name="T12" fmla="*/ 2311 w 16058"/>
                <a:gd name="T13" fmla="*/ 6236 h 11544"/>
                <a:gd name="T14" fmla="*/ 2677 w 16058"/>
                <a:gd name="T15" fmla="*/ 5951 h 11544"/>
                <a:gd name="T16" fmla="*/ 2739 w 16058"/>
                <a:gd name="T17" fmla="*/ 5626 h 11544"/>
                <a:gd name="T18" fmla="*/ 2564 w 16058"/>
                <a:gd name="T19" fmla="*/ 5102 h 11544"/>
                <a:gd name="T20" fmla="*/ 2509 w 16058"/>
                <a:gd name="T21" fmla="*/ 4790 h 11544"/>
                <a:gd name="T22" fmla="*/ 2634 w 16058"/>
                <a:gd name="T23" fmla="*/ 4225 h 11544"/>
                <a:gd name="T24" fmla="*/ 3014 w 16058"/>
                <a:gd name="T25" fmla="*/ 3763 h 11544"/>
                <a:gd name="T26" fmla="*/ 3573 w 16058"/>
                <a:gd name="T27" fmla="*/ 3528 h 11544"/>
                <a:gd name="T28" fmla="*/ 4022 w 16058"/>
                <a:gd name="T29" fmla="*/ 3524 h 11544"/>
                <a:gd name="T30" fmla="*/ 4410 w 16058"/>
                <a:gd name="T31" fmla="*/ 3616 h 11544"/>
                <a:gd name="T32" fmla="*/ 4822 w 16058"/>
                <a:gd name="T33" fmla="*/ 3718 h 11544"/>
                <a:gd name="T34" fmla="*/ 5077 w 16058"/>
                <a:gd name="T35" fmla="*/ 3578 h 11544"/>
                <a:gd name="T36" fmla="*/ 5304 w 16058"/>
                <a:gd name="T37" fmla="*/ 3154 h 11544"/>
                <a:gd name="T38" fmla="*/ 5986 w 16058"/>
                <a:gd name="T39" fmla="*/ 2112 h 11544"/>
                <a:gd name="T40" fmla="*/ 6970 w 16058"/>
                <a:gd name="T41" fmla="*/ 1377 h 11544"/>
                <a:gd name="T42" fmla="*/ 8153 w 16058"/>
                <a:gd name="T43" fmla="*/ 1025 h 11544"/>
                <a:gd name="T44" fmla="*/ 9661 w 16058"/>
                <a:gd name="T45" fmla="*/ 1190 h 11544"/>
                <a:gd name="T46" fmla="*/ 10994 w 16058"/>
                <a:gd name="T47" fmla="*/ 2023 h 11544"/>
                <a:gd name="T48" fmla="*/ 11831 w 16058"/>
                <a:gd name="T49" fmla="*/ 3370 h 11544"/>
                <a:gd name="T50" fmla="*/ 12046 w 16058"/>
                <a:gd name="T51" fmla="*/ 4561 h 11544"/>
                <a:gd name="T52" fmla="*/ 12173 w 16058"/>
                <a:gd name="T53" fmla="*/ 4853 h 11544"/>
                <a:gd name="T54" fmla="*/ 12517 w 16058"/>
                <a:gd name="T55" fmla="*/ 5002 h 11544"/>
                <a:gd name="T56" fmla="*/ 13610 w 16058"/>
                <a:gd name="T57" fmla="*/ 5356 h 11544"/>
                <a:gd name="T58" fmla="*/ 14494 w 16058"/>
                <a:gd name="T59" fmla="*/ 6116 h 11544"/>
                <a:gd name="T60" fmla="*/ 14988 w 16058"/>
                <a:gd name="T61" fmla="*/ 7177 h 11544"/>
                <a:gd name="T62" fmla="*/ 14968 w 16058"/>
                <a:gd name="T63" fmla="*/ 8469 h 11544"/>
                <a:gd name="T64" fmla="*/ 14337 w 16058"/>
                <a:gd name="T65" fmla="*/ 9634 h 11544"/>
                <a:gd name="T66" fmla="*/ 13243 w 16058"/>
                <a:gd name="T67" fmla="*/ 10372 h 11544"/>
                <a:gd name="T68" fmla="*/ 12944 w 16058"/>
                <a:gd name="T69" fmla="*/ 3664 h 11544"/>
                <a:gd name="T70" fmla="*/ 12111 w 16058"/>
                <a:gd name="T71" fmla="*/ 1788 h 11544"/>
                <a:gd name="T72" fmla="*/ 10564 w 16058"/>
                <a:gd name="T73" fmla="*/ 487 h 11544"/>
                <a:gd name="T74" fmla="*/ 8531 w 16058"/>
                <a:gd name="T75" fmla="*/ 0 h 11544"/>
                <a:gd name="T76" fmla="*/ 6922 w 16058"/>
                <a:gd name="T77" fmla="*/ 297 h 11544"/>
                <a:gd name="T78" fmla="*/ 5572 w 16058"/>
                <a:gd name="T79" fmla="*/ 1115 h 11544"/>
                <a:gd name="T80" fmla="*/ 4587 w 16058"/>
                <a:gd name="T81" fmla="*/ 2341 h 11544"/>
                <a:gd name="T82" fmla="*/ 4112 w 16058"/>
                <a:gd name="T83" fmla="*/ 2541 h 11544"/>
                <a:gd name="T84" fmla="*/ 3533 w 16058"/>
                <a:gd name="T85" fmla="*/ 2521 h 11544"/>
                <a:gd name="T86" fmla="*/ 2501 w 16058"/>
                <a:gd name="T87" fmla="*/ 2896 h 11544"/>
                <a:gd name="T88" fmla="*/ 1778 w 16058"/>
                <a:gd name="T89" fmla="*/ 3692 h 11544"/>
                <a:gd name="T90" fmla="*/ 1505 w 16058"/>
                <a:gd name="T91" fmla="*/ 4768 h 11544"/>
                <a:gd name="T92" fmla="*/ 1558 w 16058"/>
                <a:gd name="T93" fmla="*/ 5217 h 11544"/>
                <a:gd name="T94" fmla="*/ 1281 w 16058"/>
                <a:gd name="T95" fmla="*/ 5706 h 11544"/>
                <a:gd name="T96" fmla="*/ 564 w 16058"/>
                <a:gd name="T97" fmla="*/ 6461 h 11544"/>
                <a:gd name="T98" fmla="*/ 118 w 16058"/>
                <a:gd name="T99" fmla="*/ 7414 h 11544"/>
                <a:gd name="T100" fmla="*/ 17 w 16058"/>
                <a:gd name="T101" fmla="*/ 8615 h 11544"/>
                <a:gd name="T102" fmla="*/ 557 w 16058"/>
                <a:gd name="T103" fmla="*/ 10106 h 11544"/>
                <a:gd name="T104" fmla="*/ 1707 w 16058"/>
                <a:gd name="T105" fmla="*/ 11150 h 11544"/>
                <a:gd name="T106" fmla="*/ 3262 w 16058"/>
                <a:gd name="T107" fmla="*/ 11543 h 11544"/>
                <a:gd name="T108" fmla="*/ 13589 w 16058"/>
                <a:gd name="T109" fmla="*/ 11315 h 11544"/>
                <a:gd name="T110" fmla="*/ 15080 w 16058"/>
                <a:gd name="T111" fmla="*/ 10310 h 11544"/>
                <a:gd name="T112" fmla="*/ 15940 w 16058"/>
                <a:gd name="T113" fmla="*/ 8720 h 11544"/>
                <a:gd name="T114" fmla="*/ 15965 w 16058"/>
                <a:gd name="T115" fmla="*/ 6945 h 11544"/>
                <a:gd name="T116" fmla="*/ 15283 w 16058"/>
                <a:gd name="T117" fmla="*/ 5493 h 11544"/>
                <a:gd name="T118" fmla="*/ 14075 w 16058"/>
                <a:gd name="T119" fmla="*/ 4467 h 11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058" h="11544">
                  <a:moveTo>
                    <a:pt x="12294" y="10539"/>
                  </a:moveTo>
                  <a:lnTo>
                    <a:pt x="12294" y="10540"/>
                  </a:lnTo>
                  <a:lnTo>
                    <a:pt x="3262" y="10540"/>
                  </a:lnTo>
                  <a:lnTo>
                    <a:pt x="3145" y="10537"/>
                  </a:lnTo>
                  <a:lnTo>
                    <a:pt x="3031" y="10528"/>
                  </a:lnTo>
                  <a:lnTo>
                    <a:pt x="2919" y="10514"/>
                  </a:lnTo>
                  <a:lnTo>
                    <a:pt x="2807" y="10494"/>
                  </a:lnTo>
                  <a:lnTo>
                    <a:pt x="2698" y="10469"/>
                  </a:lnTo>
                  <a:lnTo>
                    <a:pt x="2591" y="10438"/>
                  </a:lnTo>
                  <a:lnTo>
                    <a:pt x="2486" y="10403"/>
                  </a:lnTo>
                  <a:lnTo>
                    <a:pt x="2384" y="10363"/>
                  </a:lnTo>
                  <a:lnTo>
                    <a:pt x="2284" y="10316"/>
                  </a:lnTo>
                  <a:lnTo>
                    <a:pt x="2187" y="10267"/>
                  </a:lnTo>
                  <a:lnTo>
                    <a:pt x="2092" y="10212"/>
                  </a:lnTo>
                  <a:lnTo>
                    <a:pt x="2000" y="10154"/>
                  </a:lnTo>
                  <a:lnTo>
                    <a:pt x="1912" y="10091"/>
                  </a:lnTo>
                  <a:lnTo>
                    <a:pt x="1827" y="10023"/>
                  </a:lnTo>
                  <a:lnTo>
                    <a:pt x="1744" y="9952"/>
                  </a:lnTo>
                  <a:lnTo>
                    <a:pt x="1666" y="9878"/>
                  </a:lnTo>
                  <a:lnTo>
                    <a:pt x="1591" y="9798"/>
                  </a:lnTo>
                  <a:lnTo>
                    <a:pt x="1520" y="9717"/>
                  </a:lnTo>
                  <a:lnTo>
                    <a:pt x="1453" y="9632"/>
                  </a:lnTo>
                  <a:lnTo>
                    <a:pt x="1390" y="9543"/>
                  </a:lnTo>
                  <a:lnTo>
                    <a:pt x="1331" y="9451"/>
                  </a:lnTo>
                  <a:lnTo>
                    <a:pt x="1277" y="9357"/>
                  </a:lnTo>
                  <a:lnTo>
                    <a:pt x="1226" y="9259"/>
                  </a:lnTo>
                  <a:lnTo>
                    <a:pt x="1181" y="9159"/>
                  </a:lnTo>
                  <a:lnTo>
                    <a:pt x="1141" y="9057"/>
                  </a:lnTo>
                  <a:lnTo>
                    <a:pt x="1105" y="8952"/>
                  </a:lnTo>
                  <a:lnTo>
                    <a:pt x="1075" y="8845"/>
                  </a:lnTo>
                  <a:lnTo>
                    <a:pt x="1050" y="8736"/>
                  </a:lnTo>
                  <a:lnTo>
                    <a:pt x="1030" y="8624"/>
                  </a:lnTo>
                  <a:lnTo>
                    <a:pt x="1016" y="8512"/>
                  </a:lnTo>
                  <a:lnTo>
                    <a:pt x="1007" y="8397"/>
                  </a:lnTo>
                  <a:lnTo>
                    <a:pt x="1004" y="8281"/>
                  </a:lnTo>
                  <a:lnTo>
                    <a:pt x="1005" y="8207"/>
                  </a:lnTo>
                  <a:lnTo>
                    <a:pt x="1009" y="8131"/>
                  </a:lnTo>
                  <a:lnTo>
                    <a:pt x="1015" y="8057"/>
                  </a:lnTo>
                  <a:lnTo>
                    <a:pt x="1024" y="7984"/>
                  </a:lnTo>
                  <a:lnTo>
                    <a:pt x="1034" y="7911"/>
                  </a:lnTo>
                  <a:lnTo>
                    <a:pt x="1048" y="7839"/>
                  </a:lnTo>
                  <a:lnTo>
                    <a:pt x="1063" y="7768"/>
                  </a:lnTo>
                  <a:lnTo>
                    <a:pt x="1081" y="7697"/>
                  </a:lnTo>
                  <a:lnTo>
                    <a:pt x="1101" y="7627"/>
                  </a:lnTo>
                  <a:lnTo>
                    <a:pt x="1123" y="7558"/>
                  </a:lnTo>
                  <a:lnTo>
                    <a:pt x="1148" y="7490"/>
                  </a:lnTo>
                  <a:lnTo>
                    <a:pt x="1175" y="7423"/>
                  </a:lnTo>
                  <a:lnTo>
                    <a:pt x="1203" y="7356"/>
                  </a:lnTo>
                  <a:lnTo>
                    <a:pt x="1235" y="7291"/>
                  </a:lnTo>
                  <a:lnTo>
                    <a:pt x="1269" y="7227"/>
                  </a:lnTo>
                  <a:lnTo>
                    <a:pt x="1304" y="7165"/>
                  </a:lnTo>
                  <a:lnTo>
                    <a:pt x="1341" y="7102"/>
                  </a:lnTo>
                  <a:lnTo>
                    <a:pt x="1381" y="7041"/>
                  </a:lnTo>
                  <a:lnTo>
                    <a:pt x="1422" y="6982"/>
                  </a:lnTo>
                  <a:lnTo>
                    <a:pt x="1465" y="6924"/>
                  </a:lnTo>
                  <a:lnTo>
                    <a:pt x="1511" y="6867"/>
                  </a:lnTo>
                  <a:lnTo>
                    <a:pt x="1559" y="6811"/>
                  </a:lnTo>
                  <a:lnTo>
                    <a:pt x="1608" y="6757"/>
                  </a:lnTo>
                  <a:lnTo>
                    <a:pt x="1659" y="6705"/>
                  </a:lnTo>
                  <a:lnTo>
                    <a:pt x="1712" y="6654"/>
                  </a:lnTo>
                  <a:lnTo>
                    <a:pt x="1767" y="6604"/>
                  </a:lnTo>
                  <a:lnTo>
                    <a:pt x="1825" y="6555"/>
                  </a:lnTo>
                  <a:lnTo>
                    <a:pt x="1883" y="6509"/>
                  </a:lnTo>
                  <a:lnTo>
                    <a:pt x="1943" y="6464"/>
                  </a:lnTo>
                  <a:lnTo>
                    <a:pt x="2005" y="6421"/>
                  </a:lnTo>
                  <a:lnTo>
                    <a:pt x="2069" y="6380"/>
                  </a:lnTo>
                  <a:lnTo>
                    <a:pt x="2135" y="6341"/>
                  </a:lnTo>
                  <a:lnTo>
                    <a:pt x="2198" y="6304"/>
                  </a:lnTo>
                  <a:lnTo>
                    <a:pt x="2256" y="6269"/>
                  </a:lnTo>
                  <a:lnTo>
                    <a:pt x="2311" y="6236"/>
                  </a:lnTo>
                  <a:lnTo>
                    <a:pt x="2364" y="6205"/>
                  </a:lnTo>
                  <a:lnTo>
                    <a:pt x="2412" y="6174"/>
                  </a:lnTo>
                  <a:lnTo>
                    <a:pt x="2456" y="6145"/>
                  </a:lnTo>
                  <a:lnTo>
                    <a:pt x="2498" y="6116"/>
                  </a:lnTo>
                  <a:lnTo>
                    <a:pt x="2535" y="6088"/>
                  </a:lnTo>
                  <a:lnTo>
                    <a:pt x="2570" y="6061"/>
                  </a:lnTo>
                  <a:lnTo>
                    <a:pt x="2601" y="6033"/>
                  </a:lnTo>
                  <a:lnTo>
                    <a:pt x="2629" y="6006"/>
                  </a:lnTo>
                  <a:lnTo>
                    <a:pt x="2655" y="5979"/>
                  </a:lnTo>
                  <a:lnTo>
                    <a:pt x="2677" y="5951"/>
                  </a:lnTo>
                  <a:lnTo>
                    <a:pt x="2696" y="5923"/>
                  </a:lnTo>
                  <a:lnTo>
                    <a:pt x="2712" y="5895"/>
                  </a:lnTo>
                  <a:lnTo>
                    <a:pt x="2725" y="5866"/>
                  </a:lnTo>
                  <a:lnTo>
                    <a:pt x="2735" y="5836"/>
                  </a:lnTo>
                  <a:lnTo>
                    <a:pt x="2742" y="5805"/>
                  </a:lnTo>
                  <a:lnTo>
                    <a:pt x="2747" y="5773"/>
                  </a:lnTo>
                  <a:lnTo>
                    <a:pt x="2748" y="5738"/>
                  </a:lnTo>
                  <a:lnTo>
                    <a:pt x="2748" y="5703"/>
                  </a:lnTo>
                  <a:lnTo>
                    <a:pt x="2744" y="5665"/>
                  </a:lnTo>
                  <a:lnTo>
                    <a:pt x="2739" y="5626"/>
                  </a:lnTo>
                  <a:lnTo>
                    <a:pt x="2730" y="5585"/>
                  </a:lnTo>
                  <a:lnTo>
                    <a:pt x="2720" y="5542"/>
                  </a:lnTo>
                  <a:lnTo>
                    <a:pt x="2707" y="5495"/>
                  </a:lnTo>
                  <a:lnTo>
                    <a:pt x="2691" y="5446"/>
                  </a:lnTo>
                  <a:lnTo>
                    <a:pt x="2674" y="5395"/>
                  </a:lnTo>
                  <a:lnTo>
                    <a:pt x="2654" y="5340"/>
                  </a:lnTo>
                  <a:lnTo>
                    <a:pt x="2632" y="5282"/>
                  </a:lnTo>
                  <a:lnTo>
                    <a:pt x="2607" y="5220"/>
                  </a:lnTo>
                  <a:lnTo>
                    <a:pt x="2581" y="5156"/>
                  </a:lnTo>
                  <a:lnTo>
                    <a:pt x="2564" y="5102"/>
                  </a:lnTo>
                  <a:lnTo>
                    <a:pt x="2549" y="5050"/>
                  </a:lnTo>
                  <a:lnTo>
                    <a:pt x="2537" y="5000"/>
                  </a:lnTo>
                  <a:lnTo>
                    <a:pt x="2527" y="4950"/>
                  </a:lnTo>
                  <a:lnTo>
                    <a:pt x="2523" y="4926"/>
                  </a:lnTo>
                  <a:lnTo>
                    <a:pt x="2519" y="4903"/>
                  </a:lnTo>
                  <a:lnTo>
                    <a:pt x="2516" y="4880"/>
                  </a:lnTo>
                  <a:lnTo>
                    <a:pt x="2514" y="4857"/>
                  </a:lnTo>
                  <a:lnTo>
                    <a:pt x="2512" y="4834"/>
                  </a:lnTo>
                  <a:lnTo>
                    <a:pt x="2510" y="4812"/>
                  </a:lnTo>
                  <a:lnTo>
                    <a:pt x="2509" y="4790"/>
                  </a:lnTo>
                  <a:lnTo>
                    <a:pt x="2509" y="4768"/>
                  </a:lnTo>
                  <a:lnTo>
                    <a:pt x="2511" y="4704"/>
                  </a:lnTo>
                  <a:lnTo>
                    <a:pt x="2516" y="4640"/>
                  </a:lnTo>
                  <a:lnTo>
                    <a:pt x="2524" y="4577"/>
                  </a:lnTo>
                  <a:lnTo>
                    <a:pt x="2535" y="4516"/>
                  </a:lnTo>
                  <a:lnTo>
                    <a:pt x="2549" y="4455"/>
                  </a:lnTo>
                  <a:lnTo>
                    <a:pt x="2565" y="4395"/>
                  </a:lnTo>
                  <a:lnTo>
                    <a:pt x="2585" y="4337"/>
                  </a:lnTo>
                  <a:lnTo>
                    <a:pt x="2608" y="4280"/>
                  </a:lnTo>
                  <a:lnTo>
                    <a:pt x="2634" y="4225"/>
                  </a:lnTo>
                  <a:lnTo>
                    <a:pt x="2661" y="4171"/>
                  </a:lnTo>
                  <a:lnTo>
                    <a:pt x="2691" y="4118"/>
                  </a:lnTo>
                  <a:lnTo>
                    <a:pt x="2724" y="4067"/>
                  </a:lnTo>
                  <a:lnTo>
                    <a:pt x="2759" y="4018"/>
                  </a:lnTo>
                  <a:lnTo>
                    <a:pt x="2796" y="3971"/>
                  </a:lnTo>
                  <a:lnTo>
                    <a:pt x="2835" y="3925"/>
                  </a:lnTo>
                  <a:lnTo>
                    <a:pt x="2877" y="3881"/>
                  </a:lnTo>
                  <a:lnTo>
                    <a:pt x="2921" y="3839"/>
                  </a:lnTo>
                  <a:lnTo>
                    <a:pt x="2966" y="3800"/>
                  </a:lnTo>
                  <a:lnTo>
                    <a:pt x="3014" y="3763"/>
                  </a:lnTo>
                  <a:lnTo>
                    <a:pt x="3063" y="3728"/>
                  </a:lnTo>
                  <a:lnTo>
                    <a:pt x="3113" y="3696"/>
                  </a:lnTo>
                  <a:lnTo>
                    <a:pt x="3166" y="3665"/>
                  </a:lnTo>
                  <a:lnTo>
                    <a:pt x="3221" y="3638"/>
                  </a:lnTo>
                  <a:lnTo>
                    <a:pt x="3276" y="3612"/>
                  </a:lnTo>
                  <a:lnTo>
                    <a:pt x="3333" y="3589"/>
                  </a:lnTo>
                  <a:lnTo>
                    <a:pt x="3391" y="3570"/>
                  </a:lnTo>
                  <a:lnTo>
                    <a:pt x="3450" y="3553"/>
                  </a:lnTo>
                  <a:lnTo>
                    <a:pt x="3512" y="3539"/>
                  </a:lnTo>
                  <a:lnTo>
                    <a:pt x="3573" y="3528"/>
                  </a:lnTo>
                  <a:lnTo>
                    <a:pt x="3636" y="3520"/>
                  </a:lnTo>
                  <a:lnTo>
                    <a:pt x="3699" y="3515"/>
                  </a:lnTo>
                  <a:lnTo>
                    <a:pt x="3764" y="3513"/>
                  </a:lnTo>
                  <a:lnTo>
                    <a:pt x="3779" y="3513"/>
                  </a:lnTo>
                  <a:lnTo>
                    <a:pt x="3821" y="3512"/>
                  </a:lnTo>
                  <a:lnTo>
                    <a:pt x="3851" y="3512"/>
                  </a:lnTo>
                  <a:lnTo>
                    <a:pt x="3886" y="3513"/>
                  </a:lnTo>
                  <a:lnTo>
                    <a:pt x="3927" y="3515"/>
                  </a:lnTo>
                  <a:lnTo>
                    <a:pt x="3972" y="3519"/>
                  </a:lnTo>
                  <a:lnTo>
                    <a:pt x="4022" y="3524"/>
                  </a:lnTo>
                  <a:lnTo>
                    <a:pt x="4074" y="3531"/>
                  </a:lnTo>
                  <a:lnTo>
                    <a:pt x="4130" y="3540"/>
                  </a:lnTo>
                  <a:lnTo>
                    <a:pt x="4189" y="3552"/>
                  </a:lnTo>
                  <a:lnTo>
                    <a:pt x="4219" y="3559"/>
                  </a:lnTo>
                  <a:lnTo>
                    <a:pt x="4250" y="3566"/>
                  </a:lnTo>
                  <a:lnTo>
                    <a:pt x="4281" y="3575"/>
                  </a:lnTo>
                  <a:lnTo>
                    <a:pt x="4314" y="3584"/>
                  </a:lnTo>
                  <a:lnTo>
                    <a:pt x="4345" y="3594"/>
                  </a:lnTo>
                  <a:lnTo>
                    <a:pt x="4378" y="3604"/>
                  </a:lnTo>
                  <a:lnTo>
                    <a:pt x="4410" y="3616"/>
                  </a:lnTo>
                  <a:lnTo>
                    <a:pt x="4443" y="3629"/>
                  </a:lnTo>
                  <a:lnTo>
                    <a:pt x="4495" y="3649"/>
                  </a:lnTo>
                  <a:lnTo>
                    <a:pt x="4544" y="3667"/>
                  </a:lnTo>
                  <a:lnTo>
                    <a:pt x="4592" y="3682"/>
                  </a:lnTo>
                  <a:lnTo>
                    <a:pt x="4636" y="3694"/>
                  </a:lnTo>
                  <a:lnTo>
                    <a:pt x="4678" y="3704"/>
                  </a:lnTo>
                  <a:lnTo>
                    <a:pt x="4717" y="3711"/>
                  </a:lnTo>
                  <a:lnTo>
                    <a:pt x="4754" y="3716"/>
                  </a:lnTo>
                  <a:lnTo>
                    <a:pt x="4789" y="3718"/>
                  </a:lnTo>
                  <a:lnTo>
                    <a:pt x="4822" y="3718"/>
                  </a:lnTo>
                  <a:lnTo>
                    <a:pt x="4855" y="3715"/>
                  </a:lnTo>
                  <a:lnTo>
                    <a:pt x="4884" y="3710"/>
                  </a:lnTo>
                  <a:lnTo>
                    <a:pt x="4912" y="3702"/>
                  </a:lnTo>
                  <a:lnTo>
                    <a:pt x="4939" y="3692"/>
                  </a:lnTo>
                  <a:lnTo>
                    <a:pt x="4964" y="3679"/>
                  </a:lnTo>
                  <a:lnTo>
                    <a:pt x="4989" y="3664"/>
                  </a:lnTo>
                  <a:lnTo>
                    <a:pt x="5012" y="3646"/>
                  </a:lnTo>
                  <a:lnTo>
                    <a:pt x="5034" y="3626"/>
                  </a:lnTo>
                  <a:lnTo>
                    <a:pt x="5056" y="3603"/>
                  </a:lnTo>
                  <a:lnTo>
                    <a:pt x="5077" y="3578"/>
                  </a:lnTo>
                  <a:lnTo>
                    <a:pt x="5097" y="3551"/>
                  </a:lnTo>
                  <a:lnTo>
                    <a:pt x="5117" y="3522"/>
                  </a:lnTo>
                  <a:lnTo>
                    <a:pt x="5138" y="3490"/>
                  </a:lnTo>
                  <a:lnTo>
                    <a:pt x="5158" y="3456"/>
                  </a:lnTo>
                  <a:lnTo>
                    <a:pt x="5177" y="3420"/>
                  </a:lnTo>
                  <a:lnTo>
                    <a:pt x="5197" y="3382"/>
                  </a:lnTo>
                  <a:lnTo>
                    <a:pt x="5218" y="3340"/>
                  </a:lnTo>
                  <a:lnTo>
                    <a:pt x="5238" y="3297"/>
                  </a:lnTo>
                  <a:lnTo>
                    <a:pt x="5260" y="3251"/>
                  </a:lnTo>
                  <a:lnTo>
                    <a:pt x="5304" y="3154"/>
                  </a:lnTo>
                  <a:lnTo>
                    <a:pt x="5353" y="3047"/>
                  </a:lnTo>
                  <a:lnTo>
                    <a:pt x="5409" y="2932"/>
                  </a:lnTo>
                  <a:lnTo>
                    <a:pt x="5469" y="2820"/>
                  </a:lnTo>
                  <a:lnTo>
                    <a:pt x="5532" y="2710"/>
                  </a:lnTo>
                  <a:lnTo>
                    <a:pt x="5599" y="2603"/>
                  </a:lnTo>
                  <a:lnTo>
                    <a:pt x="5669" y="2499"/>
                  </a:lnTo>
                  <a:lnTo>
                    <a:pt x="5744" y="2398"/>
                  </a:lnTo>
                  <a:lnTo>
                    <a:pt x="5821" y="2300"/>
                  </a:lnTo>
                  <a:lnTo>
                    <a:pt x="5902" y="2204"/>
                  </a:lnTo>
                  <a:lnTo>
                    <a:pt x="5986" y="2112"/>
                  </a:lnTo>
                  <a:lnTo>
                    <a:pt x="6072" y="2024"/>
                  </a:lnTo>
                  <a:lnTo>
                    <a:pt x="6161" y="1938"/>
                  </a:lnTo>
                  <a:lnTo>
                    <a:pt x="6255" y="1856"/>
                  </a:lnTo>
                  <a:lnTo>
                    <a:pt x="6349" y="1777"/>
                  </a:lnTo>
                  <a:lnTo>
                    <a:pt x="6447" y="1701"/>
                  </a:lnTo>
                  <a:lnTo>
                    <a:pt x="6547" y="1629"/>
                  </a:lnTo>
                  <a:lnTo>
                    <a:pt x="6650" y="1560"/>
                  </a:lnTo>
                  <a:lnTo>
                    <a:pt x="6754" y="1496"/>
                  </a:lnTo>
                  <a:lnTo>
                    <a:pt x="6862" y="1434"/>
                  </a:lnTo>
                  <a:lnTo>
                    <a:pt x="6970" y="1377"/>
                  </a:lnTo>
                  <a:lnTo>
                    <a:pt x="7082" y="1323"/>
                  </a:lnTo>
                  <a:lnTo>
                    <a:pt x="7195" y="1274"/>
                  </a:lnTo>
                  <a:lnTo>
                    <a:pt x="7309" y="1228"/>
                  </a:lnTo>
                  <a:lnTo>
                    <a:pt x="7426" y="1186"/>
                  </a:lnTo>
                  <a:lnTo>
                    <a:pt x="7543" y="1148"/>
                  </a:lnTo>
                  <a:lnTo>
                    <a:pt x="7663" y="1115"/>
                  </a:lnTo>
                  <a:lnTo>
                    <a:pt x="7784" y="1086"/>
                  </a:lnTo>
                  <a:lnTo>
                    <a:pt x="7906" y="1061"/>
                  </a:lnTo>
                  <a:lnTo>
                    <a:pt x="8029" y="1041"/>
                  </a:lnTo>
                  <a:lnTo>
                    <a:pt x="8153" y="1025"/>
                  </a:lnTo>
                  <a:lnTo>
                    <a:pt x="8278" y="1013"/>
                  </a:lnTo>
                  <a:lnTo>
                    <a:pt x="8404" y="1007"/>
                  </a:lnTo>
                  <a:lnTo>
                    <a:pt x="8531" y="1004"/>
                  </a:lnTo>
                  <a:lnTo>
                    <a:pt x="8699" y="1008"/>
                  </a:lnTo>
                  <a:lnTo>
                    <a:pt x="8866" y="1020"/>
                  </a:lnTo>
                  <a:lnTo>
                    <a:pt x="9030" y="1039"/>
                  </a:lnTo>
                  <a:lnTo>
                    <a:pt x="9192" y="1066"/>
                  </a:lnTo>
                  <a:lnTo>
                    <a:pt x="9351" y="1100"/>
                  </a:lnTo>
                  <a:lnTo>
                    <a:pt x="9507" y="1142"/>
                  </a:lnTo>
                  <a:lnTo>
                    <a:pt x="9661" y="1190"/>
                  </a:lnTo>
                  <a:lnTo>
                    <a:pt x="9811" y="1246"/>
                  </a:lnTo>
                  <a:lnTo>
                    <a:pt x="9959" y="1308"/>
                  </a:lnTo>
                  <a:lnTo>
                    <a:pt x="10102" y="1376"/>
                  </a:lnTo>
                  <a:lnTo>
                    <a:pt x="10242" y="1451"/>
                  </a:lnTo>
                  <a:lnTo>
                    <a:pt x="10378" y="1532"/>
                  </a:lnTo>
                  <a:lnTo>
                    <a:pt x="10510" y="1619"/>
                  </a:lnTo>
                  <a:lnTo>
                    <a:pt x="10638" y="1711"/>
                  </a:lnTo>
                  <a:lnTo>
                    <a:pt x="10761" y="1810"/>
                  </a:lnTo>
                  <a:lnTo>
                    <a:pt x="10880" y="1914"/>
                  </a:lnTo>
                  <a:lnTo>
                    <a:pt x="10994" y="2023"/>
                  </a:lnTo>
                  <a:lnTo>
                    <a:pt x="11103" y="2137"/>
                  </a:lnTo>
                  <a:lnTo>
                    <a:pt x="11207" y="2256"/>
                  </a:lnTo>
                  <a:lnTo>
                    <a:pt x="11306" y="2381"/>
                  </a:lnTo>
                  <a:lnTo>
                    <a:pt x="11398" y="2509"/>
                  </a:lnTo>
                  <a:lnTo>
                    <a:pt x="11486" y="2643"/>
                  </a:lnTo>
                  <a:lnTo>
                    <a:pt x="11568" y="2780"/>
                  </a:lnTo>
                  <a:lnTo>
                    <a:pt x="11643" y="2922"/>
                  </a:lnTo>
                  <a:lnTo>
                    <a:pt x="11712" y="3067"/>
                  </a:lnTo>
                  <a:lnTo>
                    <a:pt x="11775" y="3217"/>
                  </a:lnTo>
                  <a:lnTo>
                    <a:pt x="11831" y="3370"/>
                  </a:lnTo>
                  <a:lnTo>
                    <a:pt x="11880" y="3526"/>
                  </a:lnTo>
                  <a:lnTo>
                    <a:pt x="11922" y="3686"/>
                  </a:lnTo>
                  <a:lnTo>
                    <a:pt x="11957" y="3848"/>
                  </a:lnTo>
                  <a:lnTo>
                    <a:pt x="11985" y="4014"/>
                  </a:lnTo>
                  <a:lnTo>
                    <a:pt x="12005" y="4183"/>
                  </a:lnTo>
                  <a:lnTo>
                    <a:pt x="12016" y="4309"/>
                  </a:lnTo>
                  <a:lnTo>
                    <a:pt x="12027" y="4420"/>
                  </a:lnTo>
                  <a:lnTo>
                    <a:pt x="12032" y="4471"/>
                  </a:lnTo>
                  <a:lnTo>
                    <a:pt x="12038" y="4517"/>
                  </a:lnTo>
                  <a:lnTo>
                    <a:pt x="12046" y="4561"/>
                  </a:lnTo>
                  <a:lnTo>
                    <a:pt x="12053" y="4601"/>
                  </a:lnTo>
                  <a:lnTo>
                    <a:pt x="12061" y="4638"/>
                  </a:lnTo>
                  <a:lnTo>
                    <a:pt x="12070" y="4673"/>
                  </a:lnTo>
                  <a:lnTo>
                    <a:pt x="12081" y="4706"/>
                  </a:lnTo>
                  <a:lnTo>
                    <a:pt x="12092" y="4736"/>
                  </a:lnTo>
                  <a:lnTo>
                    <a:pt x="12105" y="4763"/>
                  </a:lnTo>
                  <a:lnTo>
                    <a:pt x="12119" y="4788"/>
                  </a:lnTo>
                  <a:lnTo>
                    <a:pt x="12135" y="4812"/>
                  </a:lnTo>
                  <a:lnTo>
                    <a:pt x="12153" y="4833"/>
                  </a:lnTo>
                  <a:lnTo>
                    <a:pt x="12173" y="4853"/>
                  </a:lnTo>
                  <a:lnTo>
                    <a:pt x="12195" y="4872"/>
                  </a:lnTo>
                  <a:lnTo>
                    <a:pt x="12220" y="4889"/>
                  </a:lnTo>
                  <a:lnTo>
                    <a:pt x="12247" y="4905"/>
                  </a:lnTo>
                  <a:lnTo>
                    <a:pt x="12276" y="4920"/>
                  </a:lnTo>
                  <a:lnTo>
                    <a:pt x="12308" y="4935"/>
                  </a:lnTo>
                  <a:lnTo>
                    <a:pt x="12344" y="4949"/>
                  </a:lnTo>
                  <a:lnTo>
                    <a:pt x="12383" y="4962"/>
                  </a:lnTo>
                  <a:lnTo>
                    <a:pt x="12424" y="4976"/>
                  </a:lnTo>
                  <a:lnTo>
                    <a:pt x="12468" y="4989"/>
                  </a:lnTo>
                  <a:lnTo>
                    <a:pt x="12517" y="5002"/>
                  </a:lnTo>
                  <a:lnTo>
                    <a:pt x="12568" y="5015"/>
                  </a:lnTo>
                  <a:lnTo>
                    <a:pt x="12684" y="5043"/>
                  </a:lnTo>
                  <a:lnTo>
                    <a:pt x="12816" y="5073"/>
                  </a:lnTo>
                  <a:lnTo>
                    <a:pt x="12937" y="5099"/>
                  </a:lnTo>
                  <a:lnTo>
                    <a:pt x="13055" y="5129"/>
                  </a:lnTo>
                  <a:lnTo>
                    <a:pt x="13171" y="5165"/>
                  </a:lnTo>
                  <a:lnTo>
                    <a:pt x="13285" y="5206"/>
                  </a:lnTo>
                  <a:lnTo>
                    <a:pt x="13395" y="5252"/>
                  </a:lnTo>
                  <a:lnTo>
                    <a:pt x="13505" y="5302"/>
                  </a:lnTo>
                  <a:lnTo>
                    <a:pt x="13610" y="5356"/>
                  </a:lnTo>
                  <a:lnTo>
                    <a:pt x="13714" y="5415"/>
                  </a:lnTo>
                  <a:lnTo>
                    <a:pt x="13813" y="5477"/>
                  </a:lnTo>
                  <a:lnTo>
                    <a:pt x="13910" y="5545"/>
                  </a:lnTo>
                  <a:lnTo>
                    <a:pt x="14004" y="5615"/>
                  </a:lnTo>
                  <a:lnTo>
                    <a:pt x="14095" y="5690"/>
                  </a:lnTo>
                  <a:lnTo>
                    <a:pt x="14181" y="5768"/>
                  </a:lnTo>
                  <a:lnTo>
                    <a:pt x="14266" y="5850"/>
                  </a:lnTo>
                  <a:lnTo>
                    <a:pt x="14346" y="5935"/>
                  </a:lnTo>
                  <a:lnTo>
                    <a:pt x="14422" y="6024"/>
                  </a:lnTo>
                  <a:lnTo>
                    <a:pt x="14494" y="6116"/>
                  </a:lnTo>
                  <a:lnTo>
                    <a:pt x="14564" y="6210"/>
                  </a:lnTo>
                  <a:lnTo>
                    <a:pt x="14628" y="6307"/>
                  </a:lnTo>
                  <a:lnTo>
                    <a:pt x="14689" y="6408"/>
                  </a:lnTo>
                  <a:lnTo>
                    <a:pt x="14745" y="6511"/>
                  </a:lnTo>
                  <a:lnTo>
                    <a:pt x="14796" y="6617"/>
                  </a:lnTo>
                  <a:lnTo>
                    <a:pt x="14845" y="6724"/>
                  </a:lnTo>
                  <a:lnTo>
                    <a:pt x="14888" y="6834"/>
                  </a:lnTo>
                  <a:lnTo>
                    <a:pt x="14926" y="6947"/>
                  </a:lnTo>
                  <a:lnTo>
                    <a:pt x="14959" y="7060"/>
                  </a:lnTo>
                  <a:lnTo>
                    <a:pt x="14988" y="7177"/>
                  </a:lnTo>
                  <a:lnTo>
                    <a:pt x="15012" y="7294"/>
                  </a:lnTo>
                  <a:lnTo>
                    <a:pt x="15030" y="7414"/>
                  </a:lnTo>
                  <a:lnTo>
                    <a:pt x="15044" y="7534"/>
                  </a:lnTo>
                  <a:lnTo>
                    <a:pt x="15052" y="7656"/>
                  </a:lnTo>
                  <a:lnTo>
                    <a:pt x="15055" y="7779"/>
                  </a:lnTo>
                  <a:lnTo>
                    <a:pt x="15051" y="7922"/>
                  </a:lnTo>
                  <a:lnTo>
                    <a:pt x="15040" y="8061"/>
                  </a:lnTo>
                  <a:lnTo>
                    <a:pt x="15023" y="8199"/>
                  </a:lnTo>
                  <a:lnTo>
                    <a:pt x="14999" y="8335"/>
                  </a:lnTo>
                  <a:lnTo>
                    <a:pt x="14968" y="8469"/>
                  </a:lnTo>
                  <a:lnTo>
                    <a:pt x="14931" y="8599"/>
                  </a:lnTo>
                  <a:lnTo>
                    <a:pt x="14887" y="8728"/>
                  </a:lnTo>
                  <a:lnTo>
                    <a:pt x="14838" y="8853"/>
                  </a:lnTo>
                  <a:lnTo>
                    <a:pt x="14782" y="8975"/>
                  </a:lnTo>
                  <a:lnTo>
                    <a:pt x="14721" y="9094"/>
                  </a:lnTo>
                  <a:lnTo>
                    <a:pt x="14655" y="9209"/>
                  </a:lnTo>
                  <a:lnTo>
                    <a:pt x="14583" y="9322"/>
                  </a:lnTo>
                  <a:lnTo>
                    <a:pt x="14505" y="9430"/>
                  </a:lnTo>
                  <a:lnTo>
                    <a:pt x="14424" y="9535"/>
                  </a:lnTo>
                  <a:lnTo>
                    <a:pt x="14337" y="9634"/>
                  </a:lnTo>
                  <a:lnTo>
                    <a:pt x="14245" y="9730"/>
                  </a:lnTo>
                  <a:lnTo>
                    <a:pt x="14150" y="9822"/>
                  </a:lnTo>
                  <a:lnTo>
                    <a:pt x="14050" y="9909"/>
                  </a:lnTo>
                  <a:lnTo>
                    <a:pt x="13945" y="9990"/>
                  </a:lnTo>
                  <a:lnTo>
                    <a:pt x="13837" y="10068"/>
                  </a:lnTo>
                  <a:lnTo>
                    <a:pt x="13725" y="10140"/>
                  </a:lnTo>
                  <a:lnTo>
                    <a:pt x="13609" y="10206"/>
                  </a:lnTo>
                  <a:lnTo>
                    <a:pt x="13491" y="10267"/>
                  </a:lnTo>
                  <a:lnTo>
                    <a:pt x="13368" y="10322"/>
                  </a:lnTo>
                  <a:lnTo>
                    <a:pt x="13243" y="10372"/>
                  </a:lnTo>
                  <a:lnTo>
                    <a:pt x="13114" y="10416"/>
                  </a:lnTo>
                  <a:lnTo>
                    <a:pt x="12984" y="10453"/>
                  </a:lnTo>
                  <a:lnTo>
                    <a:pt x="12850" y="10484"/>
                  </a:lnTo>
                  <a:lnTo>
                    <a:pt x="12715" y="10508"/>
                  </a:lnTo>
                  <a:lnTo>
                    <a:pt x="12576" y="10525"/>
                  </a:lnTo>
                  <a:lnTo>
                    <a:pt x="12437" y="10536"/>
                  </a:lnTo>
                  <a:lnTo>
                    <a:pt x="12294" y="10539"/>
                  </a:lnTo>
                  <a:close/>
                  <a:moveTo>
                    <a:pt x="13004" y="4087"/>
                  </a:moveTo>
                  <a:lnTo>
                    <a:pt x="12979" y="3874"/>
                  </a:lnTo>
                  <a:lnTo>
                    <a:pt x="12944" y="3664"/>
                  </a:lnTo>
                  <a:lnTo>
                    <a:pt x="12899" y="3457"/>
                  </a:lnTo>
                  <a:lnTo>
                    <a:pt x="12845" y="3254"/>
                  </a:lnTo>
                  <a:lnTo>
                    <a:pt x="12782" y="3054"/>
                  </a:lnTo>
                  <a:lnTo>
                    <a:pt x="12711" y="2860"/>
                  </a:lnTo>
                  <a:lnTo>
                    <a:pt x="12631" y="2669"/>
                  </a:lnTo>
                  <a:lnTo>
                    <a:pt x="12542" y="2482"/>
                  </a:lnTo>
                  <a:lnTo>
                    <a:pt x="12446" y="2301"/>
                  </a:lnTo>
                  <a:lnTo>
                    <a:pt x="12343" y="2124"/>
                  </a:lnTo>
                  <a:lnTo>
                    <a:pt x="12230" y="1953"/>
                  </a:lnTo>
                  <a:lnTo>
                    <a:pt x="12111" y="1788"/>
                  </a:lnTo>
                  <a:lnTo>
                    <a:pt x="11985" y="1628"/>
                  </a:lnTo>
                  <a:lnTo>
                    <a:pt x="11852" y="1473"/>
                  </a:lnTo>
                  <a:lnTo>
                    <a:pt x="11711" y="1326"/>
                  </a:lnTo>
                  <a:lnTo>
                    <a:pt x="11566" y="1184"/>
                  </a:lnTo>
                  <a:lnTo>
                    <a:pt x="11413" y="1050"/>
                  </a:lnTo>
                  <a:lnTo>
                    <a:pt x="11254" y="922"/>
                  </a:lnTo>
                  <a:lnTo>
                    <a:pt x="11090" y="802"/>
                  </a:lnTo>
                  <a:lnTo>
                    <a:pt x="10919" y="690"/>
                  </a:lnTo>
                  <a:lnTo>
                    <a:pt x="10745" y="584"/>
                  </a:lnTo>
                  <a:lnTo>
                    <a:pt x="10564" y="487"/>
                  </a:lnTo>
                  <a:lnTo>
                    <a:pt x="10378" y="397"/>
                  </a:lnTo>
                  <a:lnTo>
                    <a:pt x="10189" y="316"/>
                  </a:lnTo>
                  <a:lnTo>
                    <a:pt x="9995" y="244"/>
                  </a:lnTo>
                  <a:lnTo>
                    <a:pt x="9796" y="181"/>
                  </a:lnTo>
                  <a:lnTo>
                    <a:pt x="9594" y="126"/>
                  </a:lnTo>
                  <a:lnTo>
                    <a:pt x="9388" y="81"/>
                  </a:lnTo>
                  <a:lnTo>
                    <a:pt x="9178" y="46"/>
                  </a:lnTo>
                  <a:lnTo>
                    <a:pt x="8965" y="21"/>
                  </a:lnTo>
                  <a:lnTo>
                    <a:pt x="8750" y="5"/>
                  </a:lnTo>
                  <a:lnTo>
                    <a:pt x="8531" y="0"/>
                  </a:lnTo>
                  <a:lnTo>
                    <a:pt x="8361" y="3"/>
                  </a:lnTo>
                  <a:lnTo>
                    <a:pt x="8194" y="12"/>
                  </a:lnTo>
                  <a:lnTo>
                    <a:pt x="8027" y="28"/>
                  </a:lnTo>
                  <a:lnTo>
                    <a:pt x="7863" y="49"/>
                  </a:lnTo>
                  <a:lnTo>
                    <a:pt x="7701" y="76"/>
                  </a:lnTo>
                  <a:lnTo>
                    <a:pt x="7540" y="109"/>
                  </a:lnTo>
                  <a:lnTo>
                    <a:pt x="7383" y="149"/>
                  </a:lnTo>
                  <a:lnTo>
                    <a:pt x="7227" y="193"/>
                  </a:lnTo>
                  <a:lnTo>
                    <a:pt x="7074" y="242"/>
                  </a:lnTo>
                  <a:lnTo>
                    <a:pt x="6922" y="297"/>
                  </a:lnTo>
                  <a:lnTo>
                    <a:pt x="6773" y="357"/>
                  </a:lnTo>
                  <a:lnTo>
                    <a:pt x="6628" y="423"/>
                  </a:lnTo>
                  <a:lnTo>
                    <a:pt x="6485" y="493"/>
                  </a:lnTo>
                  <a:lnTo>
                    <a:pt x="6345" y="568"/>
                  </a:lnTo>
                  <a:lnTo>
                    <a:pt x="6208" y="648"/>
                  </a:lnTo>
                  <a:lnTo>
                    <a:pt x="6075" y="733"/>
                  </a:lnTo>
                  <a:lnTo>
                    <a:pt x="5943" y="821"/>
                  </a:lnTo>
                  <a:lnTo>
                    <a:pt x="5817" y="915"/>
                  </a:lnTo>
                  <a:lnTo>
                    <a:pt x="5693" y="1013"/>
                  </a:lnTo>
                  <a:lnTo>
                    <a:pt x="5572" y="1115"/>
                  </a:lnTo>
                  <a:lnTo>
                    <a:pt x="5456" y="1221"/>
                  </a:lnTo>
                  <a:lnTo>
                    <a:pt x="5342" y="1331"/>
                  </a:lnTo>
                  <a:lnTo>
                    <a:pt x="5234" y="1444"/>
                  </a:lnTo>
                  <a:lnTo>
                    <a:pt x="5129" y="1562"/>
                  </a:lnTo>
                  <a:lnTo>
                    <a:pt x="5027" y="1683"/>
                  </a:lnTo>
                  <a:lnTo>
                    <a:pt x="4931" y="1809"/>
                  </a:lnTo>
                  <a:lnTo>
                    <a:pt x="4837" y="1936"/>
                  </a:lnTo>
                  <a:lnTo>
                    <a:pt x="4750" y="2068"/>
                  </a:lnTo>
                  <a:lnTo>
                    <a:pt x="4666" y="2203"/>
                  </a:lnTo>
                  <a:lnTo>
                    <a:pt x="4587" y="2341"/>
                  </a:lnTo>
                  <a:lnTo>
                    <a:pt x="4512" y="2481"/>
                  </a:lnTo>
                  <a:lnTo>
                    <a:pt x="4443" y="2625"/>
                  </a:lnTo>
                  <a:lnTo>
                    <a:pt x="4402" y="2613"/>
                  </a:lnTo>
                  <a:lnTo>
                    <a:pt x="4362" y="2601"/>
                  </a:lnTo>
                  <a:lnTo>
                    <a:pt x="4321" y="2589"/>
                  </a:lnTo>
                  <a:lnTo>
                    <a:pt x="4279" y="2579"/>
                  </a:lnTo>
                  <a:lnTo>
                    <a:pt x="4237" y="2568"/>
                  </a:lnTo>
                  <a:lnTo>
                    <a:pt x="4196" y="2559"/>
                  </a:lnTo>
                  <a:lnTo>
                    <a:pt x="4154" y="2549"/>
                  </a:lnTo>
                  <a:lnTo>
                    <a:pt x="4112" y="2541"/>
                  </a:lnTo>
                  <a:lnTo>
                    <a:pt x="4070" y="2534"/>
                  </a:lnTo>
                  <a:lnTo>
                    <a:pt x="4027" y="2528"/>
                  </a:lnTo>
                  <a:lnTo>
                    <a:pt x="3983" y="2522"/>
                  </a:lnTo>
                  <a:lnTo>
                    <a:pt x="3940" y="2518"/>
                  </a:lnTo>
                  <a:lnTo>
                    <a:pt x="3896" y="2514"/>
                  </a:lnTo>
                  <a:lnTo>
                    <a:pt x="3853" y="2511"/>
                  </a:lnTo>
                  <a:lnTo>
                    <a:pt x="3809" y="2510"/>
                  </a:lnTo>
                  <a:lnTo>
                    <a:pt x="3764" y="2509"/>
                  </a:lnTo>
                  <a:lnTo>
                    <a:pt x="3647" y="2512"/>
                  </a:lnTo>
                  <a:lnTo>
                    <a:pt x="3533" y="2521"/>
                  </a:lnTo>
                  <a:lnTo>
                    <a:pt x="3420" y="2535"/>
                  </a:lnTo>
                  <a:lnTo>
                    <a:pt x="3309" y="2556"/>
                  </a:lnTo>
                  <a:lnTo>
                    <a:pt x="3200" y="2581"/>
                  </a:lnTo>
                  <a:lnTo>
                    <a:pt x="3092" y="2611"/>
                  </a:lnTo>
                  <a:lnTo>
                    <a:pt x="2988" y="2647"/>
                  </a:lnTo>
                  <a:lnTo>
                    <a:pt x="2884" y="2687"/>
                  </a:lnTo>
                  <a:lnTo>
                    <a:pt x="2785" y="2732"/>
                  </a:lnTo>
                  <a:lnTo>
                    <a:pt x="2688" y="2782"/>
                  </a:lnTo>
                  <a:lnTo>
                    <a:pt x="2593" y="2837"/>
                  </a:lnTo>
                  <a:lnTo>
                    <a:pt x="2501" y="2896"/>
                  </a:lnTo>
                  <a:lnTo>
                    <a:pt x="2413" y="2958"/>
                  </a:lnTo>
                  <a:lnTo>
                    <a:pt x="2327" y="3025"/>
                  </a:lnTo>
                  <a:lnTo>
                    <a:pt x="2245" y="3097"/>
                  </a:lnTo>
                  <a:lnTo>
                    <a:pt x="2167" y="3172"/>
                  </a:lnTo>
                  <a:lnTo>
                    <a:pt x="2093" y="3250"/>
                  </a:lnTo>
                  <a:lnTo>
                    <a:pt x="2021" y="3331"/>
                  </a:lnTo>
                  <a:lnTo>
                    <a:pt x="1954" y="3417"/>
                  </a:lnTo>
                  <a:lnTo>
                    <a:pt x="1891" y="3506"/>
                  </a:lnTo>
                  <a:lnTo>
                    <a:pt x="1833" y="3597"/>
                  </a:lnTo>
                  <a:lnTo>
                    <a:pt x="1778" y="3692"/>
                  </a:lnTo>
                  <a:lnTo>
                    <a:pt x="1728" y="3789"/>
                  </a:lnTo>
                  <a:lnTo>
                    <a:pt x="1683" y="3889"/>
                  </a:lnTo>
                  <a:lnTo>
                    <a:pt x="1643" y="3992"/>
                  </a:lnTo>
                  <a:lnTo>
                    <a:pt x="1607" y="4097"/>
                  </a:lnTo>
                  <a:lnTo>
                    <a:pt x="1577" y="4204"/>
                  </a:lnTo>
                  <a:lnTo>
                    <a:pt x="1552" y="4313"/>
                  </a:lnTo>
                  <a:lnTo>
                    <a:pt x="1532" y="4424"/>
                  </a:lnTo>
                  <a:lnTo>
                    <a:pt x="1517" y="4537"/>
                  </a:lnTo>
                  <a:lnTo>
                    <a:pt x="1508" y="4652"/>
                  </a:lnTo>
                  <a:lnTo>
                    <a:pt x="1505" y="4768"/>
                  </a:lnTo>
                  <a:lnTo>
                    <a:pt x="1506" y="4815"/>
                  </a:lnTo>
                  <a:lnTo>
                    <a:pt x="1507" y="4860"/>
                  </a:lnTo>
                  <a:lnTo>
                    <a:pt x="1510" y="4906"/>
                  </a:lnTo>
                  <a:lnTo>
                    <a:pt x="1514" y="4951"/>
                  </a:lnTo>
                  <a:lnTo>
                    <a:pt x="1519" y="4997"/>
                  </a:lnTo>
                  <a:lnTo>
                    <a:pt x="1526" y="5042"/>
                  </a:lnTo>
                  <a:lnTo>
                    <a:pt x="1532" y="5086"/>
                  </a:lnTo>
                  <a:lnTo>
                    <a:pt x="1540" y="5130"/>
                  </a:lnTo>
                  <a:lnTo>
                    <a:pt x="1548" y="5174"/>
                  </a:lnTo>
                  <a:lnTo>
                    <a:pt x="1558" y="5217"/>
                  </a:lnTo>
                  <a:lnTo>
                    <a:pt x="1568" y="5261"/>
                  </a:lnTo>
                  <a:lnTo>
                    <a:pt x="1579" y="5304"/>
                  </a:lnTo>
                  <a:lnTo>
                    <a:pt x="1590" y="5347"/>
                  </a:lnTo>
                  <a:lnTo>
                    <a:pt x="1603" y="5389"/>
                  </a:lnTo>
                  <a:lnTo>
                    <a:pt x="1616" y="5431"/>
                  </a:lnTo>
                  <a:lnTo>
                    <a:pt x="1629" y="5473"/>
                  </a:lnTo>
                  <a:lnTo>
                    <a:pt x="1539" y="5528"/>
                  </a:lnTo>
                  <a:lnTo>
                    <a:pt x="1451" y="5585"/>
                  </a:lnTo>
                  <a:lnTo>
                    <a:pt x="1365" y="5644"/>
                  </a:lnTo>
                  <a:lnTo>
                    <a:pt x="1281" y="5706"/>
                  </a:lnTo>
                  <a:lnTo>
                    <a:pt x="1198" y="5771"/>
                  </a:lnTo>
                  <a:lnTo>
                    <a:pt x="1118" y="5839"/>
                  </a:lnTo>
                  <a:lnTo>
                    <a:pt x="1041" y="5909"/>
                  </a:lnTo>
                  <a:lnTo>
                    <a:pt x="965" y="5981"/>
                  </a:lnTo>
                  <a:lnTo>
                    <a:pt x="892" y="6056"/>
                  </a:lnTo>
                  <a:lnTo>
                    <a:pt x="821" y="6133"/>
                  </a:lnTo>
                  <a:lnTo>
                    <a:pt x="753" y="6211"/>
                  </a:lnTo>
                  <a:lnTo>
                    <a:pt x="687" y="6292"/>
                  </a:lnTo>
                  <a:lnTo>
                    <a:pt x="624" y="6376"/>
                  </a:lnTo>
                  <a:lnTo>
                    <a:pt x="564" y="6461"/>
                  </a:lnTo>
                  <a:lnTo>
                    <a:pt x="506" y="6548"/>
                  </a:lnTo>
                  <a:lnTo>
                    <a:pt x="451" y="6638"/>
                  </a:lnTo>
                  <a:lnTo>
                    <a:pt x="398" y="6729"/>
                  </a:lnTo>
                  <a:lnTo>
                    <a:pt x="349" y="6821"/>
                  </a:lnTo>
                  <a:lnTo>
                    <a:pt x="303" y="6917"/>
                  </a:lnTo>
                  <a:lnTo>
                    <a:pt x="260" y="7013"/>
                  </a:lnTo>
                  <a:lnTo>
                    <a:pt x="220" y="7110"/>
                  </a:lnTo>
                  <a:lnTo>
                    <a:pt x="183" y="7210"/>
                  </a:lnTo>
                  <a:lnTo>
                    <a:pt x="149" y="7311"/>
                  </a:lnTo>
                  <a:lnTo>
                    <a:pt x="118" y="7414"/>
                  </a:lnTo>
                  <a:lnTo>
                    <a:pt x="91" y="7518"/>
                  </a:lnTo>
                  <a:lnTo>
                    <a:pt x="67" y="7623"/>
                  </a:lnTo>
                  <a:lnTo>
                    <a:pt x="47" y="7730"/>
                  </a:lnTo>
                  <a:lnTo>
                    <a:pt x="30" y="7838"/>
                  </a:lnTo>
                  <a:lnTo>
                    <a:pt x="17" y="7948"/>
                  </a:lnTo>
                  <a:lnTo>
                    <a:pt x="8" y="8057"/>
                  </a:lnTo>
                  <a:lnTo>
                    <a:pt x="2" y="8168"/>
                  </a:lnTo>
                  <a:lnTo>
                    <a:pt x="0" y="8281"/>
                  </a:lnTo>
                  <a:lnTo>
                    <a:pt x="4" y="8449"/>
                  </a:lnTo>
                  <a:lnTo>
                    <a:pt x="17" y="8615"/>
                  </a:lnTo>
                  <a:lnTo>
                    <a:pt x="37" y="8778"/>
                  </a:lnTo>
                  <a:lnTo>
                    <a:pt x="66" y="8938"/>
                  </a:lnTo>
                  <a:lnTo>
                    <a:pt x="102" y="9097"/>
                  </a:lnTo>
                  <a:lnTo>
                    <a:pt x="147" y="9251"/>
                  </a:lnTo>
                  <a:lnTo>
                    <a:pt x="198" y="9403"/>
                  </a:lnTo>
                  <a:lnTo>
                    <a:pt x="256" y="9551"/>
                  </a:lnTo>
                  <a:lnTo>
                    <a:pt x="322" y="9695"/>
                  </a:lnTo>
                  <a:lnTo>
                    <a:pt x="393" y="9837"/>
                  </a:lnTo>
                  <a:lnTo>
                    <a:pt x="473" y="9973"/>
                  </a:lnTo>
                  <a:lnTo>
                    <a:pt x="557" y="10106"/>
                  </a:lnTo>
                  <a:lnTo>
                    <a:pt x="648" y="10233"/>
                  </a:lnTo>
                  <a:lnTo>
                    <a:pt x="745" y="10357"/>
                  </a:lnTo>
                  <a:lnTo>
                    <a:pt x="847" y="10475"/>
                  </a:lnTo>
                  <a:lnTo>
                    <a:pt x="955" y="10588"/>
                  </a:lnTo>
                  <a:lnTo>
                    <a:pt x="1069" y="10696"/>
                  </a:lnTo>
                  <a:lnTo>
                    <a:pt x="1187" y="10798"/>
                  </a:lnTo>
                  <a:lnTo>
                    <a:pt x="1310" y="10896"/>
                  </a:lnTo>
                  <a:lnTo>
                    <a:pt x="1438" y="10986"/>
                  </a:lnTo>
                  <a:lnTo>
                    <a:pt x="1571" y="11071"/>
                  </a:lnTo>
                  <a:lnTo>
                    <a:pt x="1707" y="11150"/>
                  </a:lnTo>
                  <a:lnTo>
                    <a:pt x="1848" y="11222"/>
                  </a:lnTo>
                  <a:lnTo>
                    <a:pt x="1992" y="11287"/>
                  </a:lnTo>
                  <a:lnTo>
                    <a:pt x="2141" y="11345"/>
                  </a:lnTo>
                  <a:lnTo>
                    <a:pt x="2292" y="11396"/>
                  </a:lnTo>
                  <a:lnTo>
                    <a:pt x="2447" y="11441"/>
                  </a:lnTo>
                  <a:lnTo>
                    <a:pt x="2604" y="11478"/>
                  </a:lnTo>
                  <a:lnTo>
                    <a:pt x="2765" y="11506"/>
                  </a:lnTo>
                  <a:lnTo>
                    <a:pt x="2929" y="11527"/>
                  </a:lnTo>
                  <a:lnTo>
                    <a:pt x="3094" y="11539"/>
                  </a:lnTo>
                  <a:lnTo>
                    <a:pt x="3262" y="11543"/>
                  </a:lnTo>
                  <a:lnTo>
                    <a:pt x="3262" y="11544"/>
                  </a:lnTo>
                  <a:lnTo>
                    <a:pt x="12294" y="11544"/>
                  </a:lnTo>
                  <a:lnTo>
                    <a:pt x="12294" y="11543"/>
                  </a:lnTo>
                  <a:lnTo>
                    <a:pt x="12488" y="11539"/>
                  </a:lnTo>
                  <a:lnTo>
                    <a:pt x="12680" y="11524"/>
                  </a:lnTo>
                  <a:lnTo>
                    <a:pt x="12867" y="11500"/>
                  </a:lnTo>
                  <a:lnTo>
                    <a:pt x="13053" y="11467"/>
                  </a:lnTo>
                  <a:lnTo>
                    <a:pt x="13236" y="11425"/>
                  </a:lnTo>
                  <a:lnTo>
                    <a:pt x="13414" y="11374"/>
                  </a:lnTo>
                  <a:lnTo>
                    <a:pt x="13589" y="11315"/>
                  </a:lnTo>
                  <a:lnTo>
                    <a:pt x="13760" y="11248"/>
                  </a:lnTo>
                  <a:lnTo>
                    <a:pt x="13926" y="11173"/>
                  </a:lnTo>
                  <a:lnTo>
                    <a:pt x="14089" y="11089"/>
                  </a:lnTo>
                  <a:lnTo>
                    <a:pt x="14246" y="10999"/>
                  </a:lnTo>
                  <a:lnTo>
                    <a:pt x="14399" y="10901"/>
                  </a:lnTo>
                  <a:lnTo>
                    <a:pt x="14547" y="10796"/>
                  </a:lnTo>
                  <a:lnTo>
                    <a:pt x="14689" y="10684"/>
                  </a:lnTo>
                  <a:lnTo>
                    <a:pt x="14826" y="10565"/>
                  </a:lnTo>
                  <a:lnTo>
                    <a:pt x="14956" y="10441"/>
                  </a:lnTo>
                  <a:lnTo>
                    <a:pt x="15080" y="10310"/>
                  </a:lnTo>
                  <a:lnTo>
                    <a:pt x="15199" y="10174"/>
                  </a:lnTo>
                  <a:lnTo>
                    <a:pt x="15310" y="10031"/>
                  </a:lnTo>
                  <a:lnTo>
                    <a:pt x="15416" y="9884"/>
                  </a:lnTo>
                  <a:lnTo>
                    <a:pt x="15513" y="9731"/>
                  </a:lnTo>
                  <a:lnTo>
                    <a:pt x="15604" y="9574"/>
                  </a:lnTo>
                  <a:lnTo>
                    <a:pt x="15687" y="9411"/>
                  </a:lnTo>
                  <a:lnTo>
                    <a:pt x="15762" y="9244"/>
                  </a:lnTo>
                  <a:lnTo>
                    <a:pt x="15830" y="9074"/>
                  </a:lnTo>
                  <a:lnTo>
                    <a:pt x="15888" y="8899"/>
                  </a:lnTo>
                  <a:lnTo>
                    <a:pt x="15940" y="8720"/>
                  </a:lnTo>
                  <a:lnTo>
                    <a:pt x="15982" y="8538"/>
                  </a:lnTo>
                  <a:lnTo>
                    <a:pt x="16015" y="8352"/>
                  </a:lnTo>
                  <a:lnTo>
                    <a:pt x="16039" y="8164"/>
                  </a:lnTo>
                  <a:lnTo>
                    <a:pt x="16053" y="7973"/>
                  </a:lnTo>
                  <a:lnTo>
                    <a:pt x="16058" y="7779"/>
                  </a:lnTo>
                  <a:lnTo>
                    <a:pt x="16054" y="7608"/>
                  </a:lnTo>
                  <a:lnTo>
                    <a:pt x="16043" y="7439"/>
                  </a:lnTo>
                  <a:lnTo>
                    <a:pt x="16024" y="7272"/>
                  </a:lnTo>
                  <a:lnTo>
                    <a:pt x="15998" y="7107"/>
                  </a:lnTo>
                  <a:lnTo>
                    <a:pt x="15965" y="6945"/>
                  </a:lnTo>
                  <a:lnTo>
                    <a:pt x="15926" y="6785"/>
                  </a:lnTo>
                  <a:lnTo>
                    <a:pt x="15878" y="6629"/>
                  </a:lnTo>
                  <a:lnTo>
                    <a:pt x="15825" y="6475"/>
                  </a:lnTo>
                  <a:lnTo>
                    <a:pt x="15766" y="6324"/>
                  </a:lnTo>
                  <a:lnTo>
                    <a:pt x="15700" y="6176"/>
                  </a:lnTo>
                  <a:lnTo>
                    <a:pt x="15628" y="6032"/>
                  </a:lnTo>
                  <a:lnTo>
                    <a:pt x="15550" y="5892"/>
                  </a:lnTo>
                  <a:lnTo>
                    <a:pt x="15467" y="5755"/>
                  </a:lnTo>
                  <a:lnTo>
                    <a:pt x="15378" y="5623"/>
                  </a:lnTo>
                  <a:lnTo>
                    <a:pt x="15283" y="5493"/>
                  </a:lnTo>
                  <a:lnTo>
                    <a:pt x="15183" y="5369"/>
                  </a:lnTo>
                  <a:lnTo>
                    <a:pt x="15078" y="5250"/>
                  </a:lnTo>
                  <a:lnTo>
                    <a:pt x="14968" y="5134"/>
                  </a:lnTo>
                  <a:lnTo>
                    <a:pt x="14854" y="5023"/>
                  </a:lnTo>
                  <a:lnTo>
                    <a:pt x="14734" y="4917"/>
                  </a:lnTo>
                  <a:lnTo>
                    <a:pt x="14611" y="4817"/>
                  </a:lnTo>
                  <a:lnTo>
                    <a:pt x="14483" y="4721"/>
                  </a:lnTo>
                  <a:lnTo>
                    <a:pt x="14351" y="4630"/>
                  </a:lnTo>
                  <a:lnTo>
                    <a:pt x="14215" y="4546"/>
                  </a:lnTo>
                  <a:lnTo>
                    <a:pt x="14075" y="4467"/>
                  </a:lnTo>
                  <a:lnTo>
                    <a:pt x="13931" y="4394"/>
                  </a:lnTo>
                  <a:lnTo>
                    <a:pt x="13785" y="4327"/>
                  </a:lnTo>
                  <a:lnTo>
                    <a:pt x="13634" y="4266"/>
                  </a:lnTo>
                  <a:lnTo>
                    <a:pt x="13482" y="4212"/>
                  </a:lnTo>
                  <a:lnTo>
                    <a:pt x="13325" y="4164"/>
                  </a:lnTo>
                  <a:lnTo>
                    <a:pt x="13166" y="4121"/>
                  </a:lnTo>
                  <a:lnTo>
                    <a:pt x="13004" y="408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94" name="íṡḻíďe">
              <a:extLst>
                <a:ext uri="{FF2B5EF4-FFF2-40B4-BE49-F238E27FC236}">
                  <a16:creationId xmlns:a16="http://schemas.microsoft.com/office/drawing/2014/main" id="{4733AFC5-EBDE-4BC6-B874-5B32B37EBFD6}"/>
                </a:ext>
              </a:extLst>
            </p:cNvPr>
            <p:cNvSpPr/>
            <p:nvPr/>
          </p:nvSpPr>
          <p:spPr bwMode="auto">
            <a:xfrm>
              <a:off x="9417444" y="2146759"/>
              <a:ext cx="318473" cy="239222"/>
            </a:xfrm>
            <a:custGeom>
              <a:avLst/>
              <a:gdLst>
                <a:gd name="T0" fmla="*/ 3355 w 16058"/>
                <a:gd name="T1" fmla="*/ 1202 h 12062"/>
                <a:gd name="T2" fmla="*/ 12900 w 16058"/>
                <a:gd name="T3" fmla="*/ 3520 h 12062"/>
                <a:gd name="T4" fmla="*/ 6375 w 16058"/>
                <a:gd name="T5" fmla="*/ 9292 h 12062"/>
                <a:gd name="T6" fmla="*/ 7499 w 16058"/>
                <a:gd name="T7" fmla="*/ 10191 h 12062"/>
                <a:gd name="T8" fmla="*/ 3867 w 16058"/>
                <a:gd name="T9" fmla="*/ 3520 h 12062"/>
                <a:gd name="T10" fmla="*/ 4867 w 16058"/>
                <a:gd name="T11" fmla="*/ 1808 h 12062"/>
                <a:gd name="T12" fmla="*/ 10392 w 16058"/>
                <a:gd name="T13" fmla="*/ 1006 h 12062"/>
                <a:gd name="T14" fmla="*/ 11161 w 16058"/>
                <a:gd name="T15" fmla="*/ 2489 h 12062"/>
                <a:gd name="T16" fmla="*/ 8559 w 16058"/>
                <a:gd name="T17" fmla="*/ 10191 h 12062"/>
                <a:gd name="T18" fmla="*/ 9279 w 16058"/>
                <a:gd name="T19" fmla="*/ 4022 h 12062"/>
                <a:gd name="T20" fmla="*/ 6524 w 16058"/>
                <a:gd name="T21" fmla="*/ 3192 h 12062"/>
                <a:gd name="T22" fmla="*/ 8421 w 16058"/>
                <a:gd name="T23" fmla="*/ 2263 h 12062"/>
                <a:gd name="T24" fmla="*/ 15764 w 16058"/>
                <a:gd name="T25" fmla="*/ 2849 h 12062"/>
                <a:gd name="T26" fmla="*/ 13141 w 16058"/>
                <a:gd name="T27" fmla="*/ 228 h 12062"/>
                <a:gd name="T28" fmla="*/ 13041 w 16058"/>
                <a:gd name="T29" fmla="*/ 156 h 12062"/>
                <a:gd name="T30" fmla="*/ 12934 w 16058"/>
                <a:gd name="T31" fmla="*/ 97 h 12062"/>
                <a:gd name="T32" fmla="*/ 12820 w 16058"/>
                <a:gd name="T33" fmla="*/ 51 h 12062"/>
                <a:gd name="T34" fmla="*/ 12702 w 16058"/>
                <a:gd name="T35" fmla="*/ 19 h 12062"/>
                <a:gd name="T36" fmla="*/ 12579 w 16058"/>
                <a:gd name="T37" fmla="*/ 3 h 12062"/>
                <a:gd name="T38" fmla="*/ 3529 w 16058"/>
                <a:gd name="T39" fmla="*/ 0 h 12062"/>
                <a:gd name="T40" fmla="*/ 3405 w 16058"/>
                <a:gd name="T41" fmla="*/ 11 h 12062"/>
                <a:gd name="T42" fmla="*/ 3285 w 16058"/>
                <a:gd name="T43" fmla="*/ 36 h 12062"/>
                <a:gd name="T44" fmla="*/ 3169 w 16058"/>
                <a:gd name="T45" fmla="*/ 76 h 12062"/>
                <a:gd name="T46" fmla="*/ 3059 w 16058"/>
                <a:gd name="T47" fmla="*/ 131 h 12062"/>
                <a:gd name="T48" fmla="*/ 2957 w 16058"/>
                <a:gd name="T49" fmla="*/ 197 h 12062"/>
                <a:gd name="T50" fmla="*/ 2861 w 16058"/>
                <a:gd name="T51" fmla="*/ 278 h 12062"/>
                <a:gd name="T52" fmla="*/ 242 w 16058"/>
                <a:gd name="T53" fmla="*/ 2906 h 12062"/>
                <a:gd name="T54" fmla="*/ 166 w 16058"/>
                <a:gd name="T55" fmla="*/ 3008 h 12062"/>
                <a:gd name="T56" fmla="*/ 103 w 16058"/>
                <a:gd name="T57" fmla="*/ 3116 h 12062"/>
                <a:gd name="T58" fmla="*/ 56 w 16058"/>
                <a:gd name="T59" fmla="*/ 3231 h 12062"/>
                <a:gd name="T60" fmla="*/ 23 w 16058"/>
                <a:gd name="T61" fmla="*/ 3349 h 12062"/>
                <a:gd name="T62" fmla="*/ 5 w 16058"/>
                <a:gd name="T63" fmla="*/ 3469 h 12062"/>
                <a:gd name="T64" fmla="*/ 1 w 16058"/>
                <a:gd name="T65" fmla="*/ 3611 h 12062"/>
                <a:gd name="T66" fmla="*/ 37 w 16058"/>
                <a:gd name="T67" fmla="*/ 3830 h 12062"/>
                <a:gd name="T68" fmla="*/ 90 w 16058"/>
                <a:gd name="T69" fmla="*/ 3978 h 12062"/>
                <a:gd name="T70" fmla="*/ 144 w 16058"/>
                <a:gd name="T71" fmla="*/ 4079 h 12062"/>
                <a:gd name="T72" fmla="*/ 209 w 16058"/>
                <a:gd name="T73" fmla="*/ 4174 h 12062"/>
                <a:gd name="T74" fmla="*/ 7297 w 16058"/>
                <a:gd name="T75" fmla="*/ 11744 h 12062"/>
                <a:gd name="T76" fmla="*/ 7395 w 16058"/>
                <a:gd name="T77" fmla="*/ 11836 h 12062"/>
                <a:gd name="T78" fmla="*/ 7502 w 16058"/>
                <a:gd name="T79" fmla="*/ 11912 h 12062"/>
                <a:gd name="T80" fmla="*/ 7618 w 16058"/>
                <a:gd name="T81" fmla="*/ 11974 h 12062"/>
                <a:gd name="T82" fmla="*/ 7741 w 16058"/>
                <a:gd name="T83" fmla="*/ 12020 h 12062"/>
                <a:gd name="T84" fmla="*/ 7869 w 16058"/>
                <a:gd name="T85" fmla="*/ 12049 h 12062"/>
                <a:gd name="T86" fmla="*/ 8002 w 16058"/>
                <a:gd name="T87" fmla="*/ 12062 h 12062"/>
                <a:gd name="T88" fmla="*/ 8135 w 16058"/>
                <a:gd name="T89" fmla="*/ 12056 h 12062"/>
                <a:gd name="T90" fmla="*/ 8266 w 16058"/>
                <a:gd name="T91" fmla="*/ 12034 h 12062"/>
                <a:gd name="T92" fmla="*/ 8392 w 16058"/>
                <a:gd name="T93" fmla="*/ 11994 h 12062"/>
                <a:gd name="T94" fmla="*/ 8511 w 16058"/>
                <a:gd name="T95" fmla="*/ 11938 h 12062"/>
                <a:gd name="T96" fmla="*/ 8622 w 16058"/>
                <a:gd name="T97" fmla="*/ 11868 h 12062"/>
                <a:gd name="T98" fmla="*/ 8724 w 16058"/>
                <a:gd name="T99" fmla="*/ 11782 h 12062"/>
                <a:gd name="T100" fmla="*/ 15821 w 16058"/>
                <a:gd name="T101" fmla="*/ 4210 h 12062"/>
                <a:gd name="T102" fmla="*/ 15892 w 16058"/>
                <a:gd name="T103" fmla="*/ 4115 h 12062"/>
                <a:gd name="T104" fmla="*/ 15951 w 16058"/>
                <a:gd name="T105" fmla="*/ 4014 h 12062"/>
                <a:gd name="T106" fmla="*/ 15997 w 16058"/>
                <a:gd name="T107" fmla="*/ 3908 h 12062"/>
                <a:gd name="T108" fmla="*/ 16030 w 16058"/>
                <a:gd name="T109" fmla="*/ 3799 h 12062"/>
                <a:gd name="T110" fmla="*/ 16050 w 16058"/>
                <a:gd name="T111" fmla="*/ 3686 h 12062"/>
                <a:gd name="T112" fmla="*/ 16058 w 16058"/>
                <a:gd name="T113" fmla="*/ 3574 h 12062"/>
                <a:gd name="T114" fmla="*/ 16053 w 16058"/>
                <a:gd name="T115" fmla="*/ 3456 h 12062"/>
                <a:gd name="T116" fmla="*/ 16034 w 16058"/>
                <a:gd name="T117" fmla="*/ 3338 h 12062"/>
                <a:gd name="T118" fmla="*/ 16000 w 16058"/>
                <a:gd name="T119" fmla="*/ 3222 h 12062"/>
                <a:gd name="T120" fmla="*/ 15953 w 16058"/>
                <a:gd name="T121" fmla="*/ 3111 h 12062"/>
                <a:gd name="T122" fmla="*/ 15891 w 16058"/>
                <a:gd name="T123" fmla="*/ 3005 h 12062"/>
                <a:gd name="T124" fmla="*/ 15816 w 16058"/>
                <a:gd name="T125" fmla="*/ 2905 h 1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58" h="12062">
                  <a:moveTo>
                    <a:pt x="3355" y="1202"/>
                  </a:moveTo>
                  <a:lnTo>
                    <a:pt x="4509" y="2165"/>
                  </a:lnTo>
                  <a:lnTo>
                    <a:pt x="3157" y="3520"/>
                  </a:lnTo>
                  <a:lnTo>
                    <a:pt x="1007" y="3520"/>
                  </a:lnTo>
                  <a:lnTo>
                    <a:pt x="3355" y="1202"/>
                  </a:lnTo>
                  <a:close/>
                  <a:moveTo>
                    <a:pt x="12900" y="3520"/>
                  </a:moveTo>
                  <a:lnTo>
                    <a:pt x="11549" y="2165"/>
                  </a:lnTo>
                  <a:lnTo>
                    <a:pt x="12702" y="1203"/>
                  </a:lnTo>
                  <a:lnTo>
                    <a:pt x="15013" y="3520"/>
                  </a:lnTo>
                  <a:lnTo>
                    <a:pt x="12900" y="3520"/>
                  </a:lnTo>
                  <a:close/>
                  <a:moveTo>
                    <a:pt x="12837" y="4022"/>
                  </a:moveTo>
                  <a:lnTo>
                    <a:pt x="14621" y="4022"/>
                  </a:lnTo>
                  <a:lnTo>
                    <a:pt x="9682" y="9292"/>
                  </a:lnTo>
                  <a:lnTo>
                    <a:pt x="12837" y="4022"/>
                  </a:lnTo>
                  <a:close/>
                  <a:moveTo>
                    <a:pt x="6375" y="9292"/>
                  </a:moveTo>
                  <a:lnTo>
                    <a:pt x="1438" y="4022"/>
                  </a:lnTo>
                  <a:lnTo>
                    <a:pt x="3221" y="4022"/>
                  </a:lnTo>
                  <a:lnTo>
                    <a:pt x="6375" y="9292"/>
                  </a:lnTo>
                  <a:close/>
                  <a:moveTo>
                    <a:pt x="6268" y="4022"/>
                  </a:moveTo>
                  <a:lnTo>
                    <a:pt x="7499" y="10191"/>
                  </a:lnTo>
                  <a:lnTo>
                    <a:pt x="3806" y="4022"/>
                  </a:lnTo>
                  <a:lnTo>
                    <a:pt x="6268" y="4022"/>
                  </a:lnTo>
                  <a:close/>
                  <a:moveTo>
                    <a:pt x="4897" y="2489"/>
                  </a:moveTo>
                  <a:lnTo>
                    <a:pt x="6132" y="3520"/>
                  </a:lnTo>
                  <a:lnTo>
                    <a:pt x="3867" y="3520"/>
                  </a:lnTo>
                  <a:lnTo>
                    <a:pt x="4897" y="2489"/>
                  </a:lnTo>
                  <a:close/>
                  <a:moveTo>
                    <a:pt x="4867" y="1808"/>
                  </a:moveTo>
                  <a:lnTo>
                    <a:pt x="3905" y="1006"/>
                  </a:lnTo>
                  <a:lnTo>
                    <a:pt x="5666" y="1006"/>
                  </a:lnTo>
                  <a:lnTo>
                    <a:pt x="4867" y="1808"/>
                  </a:lnTo>
                  <a:close/>
                  <a:moveTo>
                    <a:pt x="8029" y="1936"/>
                  </a:moveTo>
                  <a:lnTo>
                    <a:pt x="6915" y="1006"/>
                  </a:lnTo>
                  <a:lnTo>
                    <a:pt x="9143" y="1006"/>
                  </a:lnTo>
                  <a:lnTo>
                    <a:pt x="8029" y="1936"/>
                  </a:lnTo>
                  <a:close/>
                  <a:moveTo>
                    <a:pt x="10392" y="1006"/>
                  </a:moveTo>
                  <a:lnTo>
                    <a:pt x="12154" y="1006"/>
                  </a:lnTo>
                  <a:lnTo>
                    <a:pt x="11192" y="1808"/>
                  </a:lnTo>
                  <a:lnTo>
                    <a:pt x="10392" y="1006"/>
                  </a:lnTo>
                  <a:close/>
                  <a:moveTo>
                    <a:pt x="9926" y="3520"/>
                  </a:moveTo>
                  <a:lnTo>
                    <a:pt x="11161" y="2489"/>
                  </a:lnTo>
                  <a:lnTo>
                    <a:pt x="12190" y="3520"/>
                  </a:lnTo>
                  <a:lnTo>
                    <a:pt x="9926" y="3520"/>
                  </a:lnTo>
                  <a:close/>
                  <a:moveTo>
                    <a:pt x="9790" y="4022"/>
                  </a:moveTo>
                  <a:lnTo>
                    <a:pt x="12252" y="4022"/>
                  </a:lnTo>
                  <a:lnTo>
                    <a:pt x="8559" y="10191"/>
                  </a:lnTo>
                  <a:lnTo>
                    <a:pt x="9790" y="4022"/>
                  </a:lnTo>
                  <a:close/>
                  <a:moveTo>
                    <a:pt x="9279" y="4022"/>
                  </a:moveTo>
                  <a:lnTo>
                    <a:pt x="8029" y="10283"/>
                  </a:lnTo>
                  <a:lnTo>
                    <a:pt x="6779" y="4022"/>
                  </a:lnTo>
                  <a:lnTo>
                    <a:pt x="9279" y="4022"/>
                  </a:lnTo>
                  <a:close/>
                  <a:moveTo>
                    <a:pt x="6524" y="3192"/>
                  </a:moveTo>
                  <a:lnTo>
                    <a:pt x="5253" y="2132"/>
                  </a:lnTo>
                  <a:lnTo>
                    <a:pt x="6266" y="1117"/>
                  </a:lnTo>
                  <a:lnTo>
                    <a:pt x="7637" y="2263"/>
                  </a:lnTo>
                  <a:lnTo>
                    <a:pt x="6524" y="3192"/>
                  </a:lnTo>
                  <a:close/>
                  <a:moveTo>
                    <a:pt x="8421" y="2263"/>
                  </a:moveTo>
                  <a:lnTo>
                    <a:pt x="9792" y="1117"/>
                  </a:lnTo>
                  <a:lnTo>
                    <a:pt x="10806" y="2132"/>
                  </a:lnTo>
                  <a:lnTo>
                    <a:pt x="9534" y="3192"/>
                  </a:lnTo>
                  <a:lnTo>
                    <a:pt x="8421" y="2263"/>
                  </a:lnTo>
                  <a:close/>
                  <a:moveTo>
                    <a:pt x="9143" y="3520"/>
                  </a:moveTo>
                  <a:lnTo>
                    <a:pt x="6915" y="3520"/>
                  </a:lnTo>
                  <a:lnTo>
                    <a:pt x="8029" y="2589"/>
                  </a:lnTo>
                  <a:lnTo>
                    <a:pt x="9143" y="3520"/>
                  </a:lnTo>
                  <a:close/>
                  <a:moveTo>
                    <a:pt x="15764" y="2849"/>
                  </a:moveTo>
                  <a:lnTo>
                    <a:pt x="13215" y="295"/>
                  </a:lnTo>
                  <a:lnTo>
                    <a:pt x="13197" y="278"/>
                  </a:lnTo>
                  <a:lnTo>
                    <a:pt x="13179" y="260"/>
                  </a:lnTo>
                  <a:lnTo>
                    <a:pt x="13160" y="243"/>
                  </a:lnTo>
                  <a:lnTo>
                    <a:pt x="13141" y="228"/>
                  </a:lnTo>
                  <a:lnTo>
                    <a:pt x="13121" y="212"/>
                  </a:lnTo>
                  <a:lnTo>
                    <a:pt x="13102" y="197"/>
                  </a:lnTo>
                  <a:lnTo>
                    <a:pt x="13082" y="183"/>
                  </a:lnTo>
                  <a:lnTo>
                    <a:pt x="13062" y="169"/>
                  </a:lnTo>
                  <a:lnTo>
                    <a:pt x="13041" y="156"/>
                  </a:lnTo>
                  <a:lnTo>
                    <a:pt x="13020" y="143"/>
                  </a:lnTo>
                  <a:lnTo>
                    <a:pt x="12999" y="131"/>
                  </a:lnTo>
                  <a:lnTo>
                    <a:pt x="12978" y="119"/>
                  </a:lnTo>
                  <a:lnTo>
                    <a:pt x="12956" y="108"/>
                  </a:lnTo>
                  <a:lnTo>
                    <a:pt x="12934" y="97"/>
                  </a:lnTo>
                  <a:lnTo>
                    <a:pt x="12912" y="86"/>
                  </a:lnTo>
                  <a:lnTo>
                    <a:pt x="12890" y="76"/>
                  </a:lnTo>
                  <a:lnTo>
                    <a:pt x="12866" y="67"/>
                  </a:lnTo>
                  <a:lnTo>
                    <a:pt x="12843" y="59"/>
                  </a:lnTo>
                  <a:lnTo>
                    <a:pt x="12820" y="51"/>
                  </a:lnTo>
                  <a:lnTo>
                    <a:pt x="12797" y="43"/>
                  </a:lnTo>
                  <a:lnTo>
                    <a:pt x="12773" y="36"/>
                  </a:lnTo>
                  <a:lnTo>
                    <a:pt x="12750" y="30"/>
                  </a:lnTo>
                  <a:lnTo>
                    <a:pt x="12726" y="25"/>
                  </a:lnTo>
                  <a:lnTo>
                    <a:pt x="12702" y="19"/>
                  </a:lnTo>
                  <a:lnTo>
                    <a:pt x="12678" y="15"/>
                  </a:lnTo>
                  <a:lnTo>
                    <a:pt x="12654" y="11"/>
                  </a:lnTo>
                  <a:lnTo>
                    <a:pt x="12629" y="8"/>
                  </a:lnTo>
                  <a:lnTo>
                    <a:pt x="12605" y="5"/>
                  </a:lnTo>
                  <a:lnTo>
                    <a:pt x="12579" y="3"/>
                  </a:lnTo>
                  <a:lnTo>
                    <a:pt x="12555" y="1"/>
                  </a:lnTo>
                  <a:lnTo>
                    <a:pt x="12530" y="0"/>
                  </a:lnTo>
                  <a:lnTo>
                    <a:pt x="12505" y="0"/>
                  </a:lnTo>
                  <a:lnTo>
                    <a:pt x="3554" y="0"/>
                  </a:lnTo>
                  <a:lnTo>
                    <a:pt x="3529" y="0"/>
                  </a:lnTo>
                  <a:lnTo>
                    <a:pt x="3504" y="1"/>
                  </a:lnTo>
                  <a:lnTo>
                    <a:pt x="3480" y="3"/>
                  </a:lnTo>
                  <a:lnTo>
                    <a:pt x="3454" y="5"/>
                  </a:lnTo>
                  <a:lnTo>
                    <a:pt x="3430" y="8"/>
                  </a:lnTo>
                  <a:lnTo>
                    <a:pt x="3405" y="11"/>
                  </a:lnTo>
                  <a:lnTo>
                    <a:pt x="3381" y="15"/>
                  </a:lnTo>
                  <a:lnTo>
                    <a:pt x="3357" y="19"/>
                  </a:lnTo>
                  <a:lnTo>
                    <a:pt x="3333" y="25"/>
                  </a:lnTo>
                  <a:lnTo>
                    <a:pt x="3309" y="30"/>
                  </a:lnTo>
                  <a:lnTo>
                    <a:pt x="3285" y="36"/>
                  </a:lnTo>
                  <a:lnTo>
                    <a:pt x="3262" y="43"/>
                  </a:lnTo>
                  <a:lnTo>
                    <a:pt x="3239" y="51"/>
                  </a:lnTo>
                  <a:lnTo>
                    <a:pt x="3216" y="59"/>
                  </a:lnTo>
                  <a:lnTo>
                    <a:pt x="3193" y="67"/>
                  </a:lnTo>
                  <a:lnTo>
                    <a:pt x="3169" y="76"/>
                  </a:lnTo>
                  <a:lnTo>
                    <a:pt x="3147" y="86"/>
                  </a:lnTo>
                  <a:lnTo>
                    <a:pt x="3124" y="97"/>
                  </a:lnTo>
                  <a:lnTo>
                    <a:pt x="3103" y="108"/>
                  </a:lnTo>
                  <a:lnTo>
                    <a:pt x="3081" y="119"/>
                  </a:lnTo>
                  <a:lnTo>
                    <a:pt x="3059" y="131"/>
                  </a:lnTo>
                  <a:lnTo>
                    <a:pt x="3038" y="143"/>
                  </a:lnTo>
                  <a:lnTo>
                    <a:pt x="3017" y="156"/>
                  </a:lnTo>
                  <a:lnTo>
                    <a:pt x="2997" y="169"/>
                  </a:lnTo>
                  <a:lnTo>
                    <a:pt x="2977" y="183"/>
                  </a:lnTo>
                  <a:lnTo>
                    <a:pt x="2957" y="197"/>
                  </a:lnTo>
                  <a:lnTo>
                    <a:pt x="2937" y="212"/>
                  </a:lnTo>
                  <a:lnTo>
                    <a:pt x="2918" y="228"/>
                  </a:lnTo>
                  <a:lnTo>
                    <a:pt x="2898" y="243"/>
                  </a:lnTo>
                  <a:lnTo>
                    <a:pt x="2880" y="260"/>
                  </a:lnTo>
                  <a:lnTo>
                    <a:pt x="2861" y="278"/>
                  </a:lnTo>
                  <a:lnTo>
                    <a:pt x="2844" y="295"/>
                  </a:lnTo>
                  <a:lnTo>
                    <a:pt x="295" y="2849"/>
                  </a:lnTo>
                  <a:lnTo>
                    <a:pt x="277" y="2868"/>
                  </a:lnTo>
                  <a:lnTo>
                    <a:pt x="259" y="2887"/>
                  </a:lnTo>
                  <a:lnTo>
                    <a:pt x="242" y="2906"/>
                  </a:lnTo>
                  <a:lnTo>
                    <a:pt x="226" y="2926"/>
                  </a:lnTo>
                  <a:lnTo>
                    <a:pt x="210" y="2946"/>
                  </a:lnTo>
                  <a:lnTo>
                    <a:pt x="195" y="2966"/>
                  </a:lnTo>
                  <a:lnTo>
                    <a:pt x="180" y="2987"/>
                  </a:lnTo>
                  <a:lnTo>
                    <a:pt x="166" y="3008"/>
                  </a:lnTo>
                  <a:lnTo>
                    <a:pt x="152" y="3029"/>
                  </a:lnTo>
                  <a:lnTo>
                    <a:pt x="140" y="3051"/>
                  </a:lnTo>
                  <a:lnTo>
                    <a:pt x="126" y="3072"/>
                  </a:lnTo>
                  <a:lnTo>
                    <a:pt x="114" y="3094"/>
                  </a:lnTo>
                  <a:lnTo>
                    <a:pt x="103" y="3116"/>
                  </a:lnTo>
                  <a:lnTo>
                    <a:pt x="93" y="3139"/>
                  </a:lnTo>
                  <a:lnTo>
                    <a:pt x="83" y="3162"/>
                  </a:lnTo>
                  <a:lnTo>
                    <a:pt x="73" y="3185"/>
                  </a:lnTo>
                  <a:lnTo>
                    <a:pt x="64" y="3208"/>
                  </a:lnTo>
                  <a:lnTo>
                    <a:pt x="56" y="3231"/>
                  </a:lnTo>
                  <a:lnTo>
                    <a:pt x="48" y="3254"/>
                  </a:lnTo>
                  <a:lnTo>
                    <a:pt x="41" y="3277"/>
                  </a:lnTo>
                  <a:lnTo>
                    <a:pt x="34" y="3301"/>
                  </a:lnTo>
                  <a:lnTo>
                    <a:pt x="28" y="3324"/>
                  </a:lnTo>
                  <a:lnTo>
                    <a:pt x="23" y="3349"/>
                  </a:lnTo>
                  <a:lnTo>
                    <a:pt x="18" y="3373"/>
                  </a:lnTo>
                  <a:lnTo>
                    <a:pt x="14" y="3397"/>
                  </a:lnTo>
                  <a:lnTo>
                    <a:pt x="10" y="3421"/>
                  </a:lnTo>
                  <a:lnTo>
                    <a:pt x="7" y="3445"/>
                  </a:lnTo>
                  <a:lnTo>
                    <a:pt x="5" y="3469"/>
                  </a:lnTo>
                  <a:lnTo>
                    <a:pt x="3" y="3493"/>
                  </a:lnTo>
                  <a:lnTo>
                    <a:pt x="1" y="3518"/>
                  </a:lnTo>
                  <a:lnTo>
                    <a:pt x="0" y="3543"/>
                  </a:lnTo>
                  <a:lnTo>
                    <a:pt x="0" y="3567"/>
                  </a:lnTo>
                  <a:lnTo>
                    <a:pt x="1" y="3611"/>
                  </a:lnTo>
                  <a:lnTo>
                    <a:pt x="5" y="3655"/>
                  </a:lnTo>
                  <a:lnTo>
                    <a:pt x="10" y="3700"/>
                  </a:lnTo>
                  <a:lnTo>
                    <a:pt x="17" y="3743"/>
                  </a:lnTo>
                  <a:lnTo>
                    <a:pt x="26" y="3787"/>
                  </a:lnTo>
                  <a:lnTo>
                    <a:pt x="37" y="3830"/>
                  </a:lnTo>
                  <a:lnTo>
                    <a:pt x="49" y="3874"/>
                  </a:lnTo>
                  <a:lnTo>
                    <a:pt x="64" y="3916"/>
                  </a:lnTo>
                  <a:lnTo>
                    <a:pt x="72" y="3936"/>
                  </a:lnTo>
                  <a:lnTo>
                    <a:pt x="81" y="3957"/>
                  </a:lnTo>
                  <a:lnTo>
                    <a:pt x="90" y="3978"/>
                  </a:lnTo>
                  <a:lnTo>
                    <a:pt x="100" y="3998"/>
                  </a:lnTo>
                  <a:lnTo>
                    <a:pt x="110" y="4018"/>
                  </a:lnTo>
                  <a:lnTo>
                    <a:pt x="120" y="4039"/>
                  </a:lnTo>
                  <a:lnTo>
                    <a:pt x="132" y="4059"/>
                  </a:lnTo>
                  <a:lnTo>
                    <a:pt x="144" y="4079"/>
                  </a:lnTo>
                  <a:lnTo>
                    <a:pt x="156" y="4099"/>
                  </a:lnTo>
                  <a:lnTo>
                    <a:pt x="169" y="4118"/>
                  </a:lnTo>
                  <a:lnTo>
                    <a:pt x="182" y="4137"/>
                  </a:lnTo>
                  <a:lnTo>
                    <a:pt x="195" y="4156"/>
                  </a:lnTo>
                  <a:lnTo>
                    <a:pt x="209" y="4174"/>
                  </a:lnTo>
                  <a:lnTo>
                    <a:pt x="224" y="4193"/>
                  </a:lnTo>
                  <a:lnTo>
                    <a:pt x="239" y="4211"/>
                  </a:lnTo>
                  <a:lnTo>
                    <a:pt x="254" y="4228"/>
                  </a:lnTo>
                  <a:lnTo>
                    <a:pt x="7278" y="11724"/>
                  </a:lnTo>
                  <a:lnTo>
                    <a:pt x="7297" y="11744"/>
                  </a:lnTo>
                  <a:lnTo>
                    <a:pt x="7315" y="11763"/>
                  </a:lnTo>
                  <a:lnTo>
                    <a:pt x="7334" y="11782"/>
                  </a:lnTo>
                  <a:lnTo>
                    <a:pt x="7354" y="11801"/>
                  </a:lnTo>
                  <a:lnTo>
                    <a:pt x="7374" y="11819"/>
                  </a:lnTo>
                  <a:lnTo>
                    <a:pt x="7395" y="11836"/>
                  </a:lnTo>
                  <a:lnTo>
                    <a:pt x="7415" y="11852"/>
                  </a:lnTo>
                  <a:lnTo>
                    <a:pt x="7436" y="11868"/>
                  </a:lnTo>
                  <a:lnTo>
                    <a:pt x="7458" y="11883"/>
                  </a:lnTo>
                  <a:lnTo>
                    <a:pt x="7480" y="11898"/>
                  </a:lnTo>
                  <a:lnTo>
                    <a:pt x="7502" y="11912"/>
                  </a:lnTo>
                  <a:lnTo>
                    <a:pt x="7524" y="11925"/>
                  </a:lnTo>
                  <a:lnTo>
                    <a:pt x="7547" y="11938"/>
                  </a:lnTo>
                  <a:lnTo>
                    <a:pt x="7570" y="11950"/>
                  </a:lnTo>
                  <a:lnTo>
                    <a:pt x="7594" y="11962"/>
                  </a:lnTo>
                  <a:lnTo>
                    <a:pt x="7618" y="11974"/>
                  </a:lnTo>
                  <a:lnTo>
                    <a:pt x="7642" y="11985"/>
                  </a:lnTo>
                  <a:lnTo>
                    <a:pt x="7667" y="11994"/>
                  </a:lnTo>
                  <a:lnTo>
                    <a:pt x="7691" y="12004"/>
                  </a:lnTo>
                  <a:lnTo>
                    <a:pt x="7716" y="12012"/>
                  </a:lnTo>
                  <a:lnTo>
                    <a:pt x="7741" y="12020"/>
                  </a:lnTo>
                  <a:lnTo>
                    <a:pt x="7766" y="12027"/>
                  </a:lnTo>
                  <a:lnTo>
                    <a:pt x="7792" y="12034"/>
                  </a:lnTo>
                  <a:lnTo>
                    <a:pt x="7817" y="12040"/>
                  </a:lnTo>
                  <a:lnTo>
                    <a:pt x="7843" y="12045"/>
                  </a:lnTo>
                  <a:lnTo>
                    <a:pt x="7869" y="12049"/>
                  </a:lnTo>
                  <a:lnTo>
                    <a:pt x="7896" y="12053"/>
                  </a:lnTo>
                  <a:lnTo>
                    <a:pt x="7923" y="12056"/>
                  </a:lnTo>
                  <a:lnTo>
                    <a:pt x="7949" y="12059"/>
                  </a:lnTo>
                  <a:lnTo>
                    <a:pt x="7976" y="12061"/>
                  </a:lnTo>
                  <a:lnTo>
                    <a:pt x="8002" y="12062"/>
                  </a:lnTo>
                  <a:lnTo>
                    <a:pt x="8029" y="12062"/>
                  </a:lnTo>
                  <a:lnTo>
                    <a:pt x="8056" y="12062"/>
                  </a:lnTo>
                  <a:lnTo>
                    <a:pt x="8082" y="12061"/>
                  </a:lnTo>
                  <a:lnTo>
                    <a:pt x="8109" y="12059"/>
                  </a:lnTo>
                  <a:lnTo>
                    <a:pt x="8135" y="12056"/>
                  </a:lnTo>
                  <a:lnTo>
                    <a:pt x="8162" y="12053"/>
                  </a:lnTo>
                  <a:lnTo>
                    <a:pt x="8189" y="12049"/>
                  </a:lnTo>
                  <a:lnTo>
                    <a:pt x="8215" y="12045"/>
                  </a:lnTo>
                  <a:lnTo>
                    <a:pt x="8241" y="12040"/>
                  </a:lnTo>
                  <a:lnTo>
                    <a:pt x="8266" y="12034"/>
                  </a:lnTo>
                  <a:lnTo>
                    <a:pt x="8292" y="12027"/>
                  </a:lnTo>
                  <a:lnTo>
                    <a:pt x="8317" y="12020"/>
                  </a:lnTo>
                  <a:lnTo>
                    <a:pt x="8342" y="12012"/>
                  </a:lnTo>
                  <a:lnTo>
                    <a:pt x="8367" y="12004"/>
                  </a:lnTo>
                  <a:lnTo>
                    <a:pt x="8392" y="11994"/>
                  </a:lnTo>
                  <a:lnTo>
                    <a:pt x="8416" y="11985"/>
                  </a:lnTo>
                  <a:lnTo>
                    <a:pt x="8440" y="11974"/>
                  </a:lnTo>
                  <a:lnTo>
                    <a:pt x="8465" y="11962"/>
                  </a:lnTo>
                  <a:lnTo>
                    <a:pt x="8488" y="11950"/>
                  </a:lnTo>
                  <a:lnTo>
                    <a:pt x="8511" y="11938"/>
                  </a:lnTo>
                  <a:lnTo>
                    <a:pt x="8534" y="11925"/>
                  </a:lnTo>
                  <a:lnTo>
                    <a:pt x="8557" y="11912"/>
                  </a:lnTo>
                  <a:lnTo>
                    <a:pt x="8579" y="11898"/>
                  </a:lnTo>
                  <a:lnTo>
                    <a:pt x="8601" y="11883"/>
                  </a:lnTo>
                  <a:lnTo>
                    <a:pt x="8622" y="11868"/>
                  </a:lnTo>
                  <a:lnTo>
                    <a:pt x="8643" y="11852"/>
                  </a:lnTo>
                  <a:lnTo>
                    <a:pt x="8664" y="11836"/>
                  </a:lnTo>
                  <a:lnTo>
                    <a:pt x="8684" y="11819"/>
                  </a:lnTo>
                  <a:lnTo>
                    <a:pt x="8704" y="11801"/>
                  </a:lnTo>
                  <a:lnTo>
                    <a:pt x="8724" y="11782"/>
                  </a:lnTo>
                  <a:lnTo>
                    <a:pt x="8743" y="11763"/>
                  </a:lnTo>
                  <a:lnTo>
                    <a:pt x="8762" y="11744"/>
                  </a:lnTo>
                  <a:lnTo>
                    <a:pt x="8780" y="11724"/>
                  </a:lnTo>
                  <a:lnTo>
                    <a:pt x="15805" y="4228"/>
                  </a:lnTo>
                  <a:lnTo>
                    <a:pt x="15821" y="4210"/>
                  </a:lnTo>
                  <a:lnTo>
                    <a:pt x="15836" y="4192"/>
                  </a:lnTo>
                  <a:lnTo>
                    <a:pt x="15851" y="4173"/>
                  </a:lnTo>
                  <a:lnTo>
                    <a:pt x="15865" y="4154"/>
                  </a:lnTo>
                  <a:lnTo>
                    <a:pt x="15878" y="4135"/>
                  </a:lnTo>
                  <a:lnTo>
                    <a:pt x="15892" y="4115"/>
                  </a:lnTo>
                  <a:lnTo>
                    <a:pt x="15904" y="4096"/>
                  </a:lnTo>
                  <a:lnTo>
                    <a:pt x="15917" y="4076"/>
                  </a:lnTo>
                  <a:lnTo>
                    <a:pt x="15929" y="4056"/>
                  </a:lnTo>
                  <a:lnTo>
                    <a:pt x="15940" y="4034"/>
                  </a:lnTo>
                  <a:lnTo>
                    <a:pt x="15951" y="4014"/>
                  </a:lnTo>
                  <a:lnTo>
                    <a:pt x="15961" y="3993"/>
                  </a:lnTo>
                  <a:lnTo>
                    <a:pt x="15971" y="3972"/>
                  </a:lnTo>
                  <a:lnTo>
                    <a:pt x="15980" y="3951"/>
                  </a:lnTo>
                  <a:lnTo>
                    <a:pt x="15989" y="3930"/>
                  </a:lnTo>
                  <a:lnTo>
                    <a:pt x="15997" y="3908"/>
                  </a:lnTo>
                  <a:lnTo>
                    <a:pt x="16004" y="3887"/>
                  </a:lnTo>
                  <a:lnTo>
                    <a:pt x="16011" y="3864"/>
                  </a:lnTo>
                  <a:lnTo>
                    <a:pt x="16018" y="3842"/>
                  </a:lnTo>
                  <a:lnTo>
                    <a:pt x="16024" y="3820"/>
                  </a:lnTo>
                  <a:lnTo>
                    <a:pt x="16030" y="3799"/>
                  </a:lnTo>
                  <a:lnTo>
                    <a:pt x="16035" y="3776"/>
                  </a:lnTo>
                  <a:lnTo>
                    <a:pt x="16039" y="3754"/>
                  </a:lnTo>
                  <a:lnTo>
                    <a:pt x="16044" y="3732"/>
                  </a:lnTo>
                  <a:lnTo>
                    <a:pt x="16047" y="3710"/>
                  </a:lnTo>
                  <a:lnTo>
                    <a:pt x="16050" y="3686"/>
                  </a:lnTo>
                  <a:lnTo>
                    <a:pt x="16053" y="3664"/>
                  </a:lnTo>
                  <a:lnTo>
                    <a:pt x="16055" y="3642"/>
                  </a:lnTo>
                  <a:lnTo>
                    <a:pt x="16056" y="3619"/>
                  </a:lnTo>
                  <a:lnTo>
                    <a:pt x="16057" y="3597"/>
                  </a:lnTo>
                  <a:lnTo>
                    <a:pt x="16058" y="3574"/>
                  </a:lnTo>
                  <a:lnTo>
                    <a:pt x="16058" y="3552"/>
                  </a:lnTo>
                  <a:lnTo>
                    <a:pt x="16057" y="3528"/>
                  </a:lnTo>
                  <a:lnTo>
                    <a:pt x="16056" y="3503"/>
                  </a:lnTo>
                  <a:lnTo>
                    <a:pt x="16055" y="3479"/>
                  </a:lnTo>
                  <a:lnTo>
                    <a:pt x="16053" y="3456"/>
                  </a:lnTo>
                  <a:lnTo>
                    <a:pt x="16050" y="3432"/>
                  </a:lnTo>
                  <a:lnTo>
                    <a:pt x="16047" y="3408"/>
                  </a:lnTo>
                  <a:lnTo>
                    <a:pt x="16043" y="3385"/>
                  </a:lnTo>
                  <a:lnTo>
                    <a:pt x="16039" y="3362"/>
                  </a:lnTo>
                  <a:lnTo>
                    <a:pt x="16034" y="3338"/>
                  </a:lnTo>
                  <a:lnTo>
                    <a:pt x="16028" y="3314"/>
                  </a:lnTo>
                  <a:lnTo>
                    <a:pt x="16022" y="3291"/>
                  </a:lnTo>
                  <a:lnTo>
                    <a:pt x="16015" y="3268"/>
                  </a:lnTo>
                  <a:lnTo>
                    <a:pt x="16008" y="3245"/>
                  </a:lnTo>
                  <a:lnTo>
                    <a:pt x="16000" y="3222"/>
                  </a:lnTo>
                  <a:lnTo>
                    <a:pt x="15992" y="3200"/>
                  </a:lnTo>
                  <a:lnTo>
                    <a:pt x="15983" y="3178"/>
                  </a:lnTo>
                  <a:lnTo>
                    <a:pt x="15974" y="3155"/>
                  </a:lnTo>
                  <a:lnTo>
                    <a:pt x="15964" y="3132"/>
                  </a:lnTo>
                  <a:lnTo>
                    <a:pt x="15953" y="3111"/>
                  </a:lnTo>
                  <a:lnTo>
                    <a:pt x="15942" y="3089"/>
                  </a:lnTo>
                  <a:lnTo>
                    <a:pt x="15930" y="3068"/>
                  </a:lnTo>
                  <a:lnTo>
                    <a:pt x="15917" y="3047"/>
                  </a:lnTo>
                  <a:lnTo>
                    <a:pt x="15904" y="3026"/>
                  </a:lnTo>
                  <a:lnTo>
                    <a:pt x="15891" y="3005"/>
                  </a:lnTo>
                  <a:lnTo>
                    <a:pt x="15877" y="2985"/>
                  </a:lnTo>
                  <a:lnTo>
                    <a:pt x="15863" y="2964"/>
                  </a:lnTo>
                  <a:lnTo>
                    <a:pt x="15848" y="2944"/>
                  </a:lnTo>
                  <a:lnTo>
                    <a:pt x="15832" y="2924"/>
                  </a:lnTo>
                  <a:lnTo>
                    <a:pt x="15816" y="2905"/>
                  </a:lnTo>
                  <a:lnTo>
                    <a:pt x="15799" y="2886"/>
                  </a:lnTo>
                  <a:lnTo>
                    <a:pt x="15782" y="2868"/>
                  </a:lnTo>
                  <a:lnTo>
                    <a:pt x="15764" y="284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95" name="îšlîdè">
              <a:extLst>
                <a:ext uri="{FF2B5EF4-FFF2-40B4-BE49-F238E27FC236}">
                  <a16:creationId xmlns:a16="http://schemas.microsoft.com/office/drawing/2014/main" id="{1A956896-F407-4867-B238-1DFCDE04AD85}"/>
                </a:ext>
              </a:extLst>
            </p:cNvPr>
            <p:cNvSpPr/>
            <p:nvPr/>
          </p:nvSpPr>
          <p:spPr bwMode="auto">
            <a:xfrm>
              <a:off x="9806274" y="1886757"/>
              <a:ext cx="231062" cy="231062"/>
            </a:xfrm>
            <a:custGeom>
              <a:avLst/>
              <a:gdLst>
                <a:gd name="T0" fmla="*/ 15044 w 16095"/>
                <a:gd name="T1" fmla="*/ 14382 h 16095"/>
                <a:gd name="T2" fmla="*/ 14889 w 16095"/>
                <a:gd name="T3" fmla="*/ 14685 h 16095"/>
                <a:gd name="T4" fmla="*/ 14645 w 16095"/>
                <a:gd name="T5" fmla="*/ 14917 h 16095"/>
                <a:gd name="T6" fmla="*/ 14335 w 16095"/>
                <a:gd name="T7" fmla="*/ 15057 h 16095"/>
                <a:gd name="T8" fmla="*/ 1961 w 16095"/>
                <a:gd name="T9" fmla="*/ 15088 h 16095"/>
                <a:gd name="T10" fmla="*/ 1621 w 16095"/>
                <a:gd name="T11" fmla="*/ 15010 h 16095"/>
                <a:gd name="T12" fmla="*/ 1336 w 16095"/>
                <a:gd name="T13" fmla="*/ 14828 h 16095"/>
                <a:gd name="T14" fmla="*/ 1128 w 16095"/>
                <a:gd name="T15" fmla="*/ 14562 h 16095"/>
                <a:gd name="T16" fmla="*/ 1017 w 16095"/>
                <a:gd name="T17" fmla="*/ 14236 h 16095"/>
                <a:gd name="T18" fmla="*/ 1012 w 16095"/>
                <a:gd name="T19" fmla="*/ 3947 h 16095"/>
                <a:gd name="T20" fmla="*/ 1066 w 16095"/>
                <a:gd name="T21" fmla="*/ 3784 h 16095"/>
                <a:gd name="T22" fmla="*/ 1171 w 16095"/>
                <a:gd name="T23" fmla="*/ 3652 h 16095"/>
                <a:gd name="T24" fmla="*/ 1313 w 16095"/>
                <a:gd name="T25" fmla="*/ 3560 h 16095"/>
                <a:gd name="T26" fmla="*/ 1483 w 16095"/>
                <a:gd name="T27" fmla="*/ 3522 h 16095"/>
                <a:gd name="T28" fmla="*/ 2022 w 16095"/>
                <a:gd name="T29" fmla="*/ 13682 h 16095"/>
                <a:gd name="T30" fmla="*/ 2084 w 16095"/>
                <a:gd name="T31" fmla="*/ 13841 h 16095"/>
                <a:gd name="T32" fmla="*/ 2195 w 16095"/>
                <a:gd name="T33" fmla="*/ 13968 h 16095"/>
                <a:gd name="T34" fmla="*/ 2342 w 16095"/>
                <a:gd name="T35" fmla="*/ 14053 h 16095"/>
                <a:gd name="T36" fmla="*/ 2515 w 16095"/>
                <a:gd name="T37" fmla="*/ 14083 h 16095"/>
                <a:gd name="T38" fmla="*/ 2688 w 16095"/>
                <a:gd name="T39" fmla="*/ 14053 h 16095"/>
                <a:gd name="T40" fmla="*/ 2835 w 16095"/>
                <a:gd name="T41" fmla="*/ 13968 h 16095"/>
                <a:gd name="T42" fmla="*/ 2945 w 16095"/>
                <a:gd name="T43" fmla="*/ 13841 h 16095"/>
                <a:gd name="T44" fmla="*/ 3008 w 16095"/>
                <a:gd name="T45" fmla="*/ 13682 h 16095"/>
                <a:gd name="T46" fmla="*/ 3021 w 16095"/>
                <a:gd name="T47" fmla="*/ 1458 h 16095"/>
                <a:gd name="T48" fmla="*/ 3067 w 16095"/>
                <a:gd name="T49" fmla="*/ 1291 h 16095"/>
                <a:gd name="T50" fmla="*/ 3166 w 16095"/>
                <a:gd name="T51" fmla="*/ 1154 h 16095"/>
                <a:gd name="T52" fmla="*/ 3302 w 16095"/>
                <a:gd name="T53" fmla="*/ 1055 h 16095"/>
                <a:gd name="T54" fmla="*/ 3469 w 16095"/>
                <a:gd name="T55" fmla="*/ 1009 h 16095"/>
                <a:gd name="T56" fmla="*/ 14688 w 16095"/>
                <a:gd name="T57" fmla="*/ 1016 h 16095"/>
                <a:gd name="T58" fmla="*/ 14847 w 16095"/>
                <a:gd name="T59" fmla="*/ 1079 h 16095"/>
                <a:gd name="T60" fmla="*/ 14974 w 16095"/>
                <a:gd name="T61" fmla="*/ 1189 h 16095"/>
                <a:gd name="T62" fmla="*/ 15059 w 16095"/>
                <a:gd name="T63" fmla="*/ 1336 h 16095"/>
                <a:gd name="T64" fmla="*/ 15089 w 16095"/>
                <a:gd name="T65" fmla="*/ 1509 h 16095"/>
                <a:gd name="T66" fmla="*/ 3217 w 16095"/>
                <a:gd name="T67" fmla="*/ 30 h 16095"/>
                <a:gd name="T68" fmla="*/ 2738 w 16095"/>
                <a:gd name="T69" fmla="*/ 218 h 16095"/>
                <a:gd name="T70" fmla="*/ 2356 w 16095"/>
                <a:gd name="T71" fmla="*/ 549 h 16095"/>
                <a:gd name="T72" fmla="*/ 2103 w 16095"/>
                <a:gd name="T73" fmla="*/ 990 h 16095"/>
                <a:gd name="T74" fmla="*/ 2012 w 16095"/>
                <a:gd name="T75" fmla="*/ 1509 h 16095"/>
                <a:gd name="T76" fmla="*/ 1132 w 16095"/>
                <a:gd name="T77" fmla="*/ 2562 h 16095"/>
                <a:gd name="T78" fmla="*/ 665 w 16095"/>
                <a:gd name="T79" fmla="*/ 2772 h 16095"/>
                <a:gd name="T80" fmla="*/ 300 w 16095"/>
                <a:gd name="T81" fmla="*/ 3120 h 16095"/>
                <a:gd name="T82" fmla="*/ 67 w 16095"/>
                <a:gd name="T83" fmla="*/ 3575 h 16095"/>
                <a:gd name="T84" fmla="*/ 0 w 16095"/>
                <a:gd name="T85" fmla="*/ 14083 h 16095"/>
                <a:gd name="T86" fmla="*/ 122 w 16095"/>
                <a:gd name="T87" fmla="*/ 14775 h 16095"/>
                <a:gd name="T88" fmla="*/ 460 w 16095"/>
                <a:gd name="T89" fmla="*/ 15363 h 16095"/>
                <a:gd name="T90" fmla="*/ 969 w 16095"/>
                <a:gd name="T91" fmla="*/ 15803 h 16095"/>
                <a:gd name="T92" fmla="*/ 1606 w 16095"/>
                <a:gd name="T93" fmla="*/ 16054 h 16095"/>
                <a:gd name="T94" fmla="*/ 14289 w 16095"/>
                <a:gd name="T95" fmla="*/ 16085 h 16095"/>
                <a:gd name="T96" fmla="*/ 14955 w 16095"/>
                <a:gd name="T97" fmla="*/ 15897 h 16095"/>
                <a:gd name="T98" fmla="*/ 15506 w 16095"/>
                <a:gd name="T99" fmla="*/ 15506 h 16095"/>
                <a:gd name="T100" fmla="*/ 15897 w 16095"/>
                <a:gd name="T101" fmla="*/ 14955 h 16095"/>
                <a:gd name="T102" fmla="*/ 16085 w 16095"/>
                <a:gd name="T103" fmla="*/ 14289 h 16095"/>
                <a:gd name="T104" fmla="*/ 16065 w 16095"/>
                <a:gd name="T105" fmla="*/ 1204 h 16095"/>
                <a:gd name="T106" fmla="*/ 15877 w 16095"/>
                <a:gd name="T107" fmla="*/ 726 h 16095"/>
                <a:gd name="T108" fmla="*/ 15546 w 16095"/>
                <a:gd name="T109" fmla="*/ 344 h 16095"/>
                <a:gd name="T110" fmla="*/ 15105 w 16095"/>
                <a:gd name="T111" fmla="*/ 92 h 16095"/>
                <a:gd name="T112" fmla="*/ 14586 w 16095"/>
                <a:gd name="T113" fmla="*/ 0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6095">
                  <a:moveTo>
                    <a:pt x="15089" y="14083"/>
                  </a:moveTo>
                  <a:lnTo>
                    <a:pt x="15088" y="14134"/>
                  </a:lnTo>
                  <a:lnTo>
                    <a:pt x="15084" y="14186"/>
                  </a:lnTo>
                  <a:lnTo>
                    <a:pt x="15077" y="14236"/>
                  </a:lnTo>
                  <a:lnTo>
                    <a:pt x="15069" y="14285"/>
                  </a:lnTo>
                  <a:lnTo>
                    <a:pt x="15057" y="14334"/>
                  </a:lnTo>
                  <a:lnTo>
                    <a:pt x="15044" y="14382"/>
                  </a:lnTo>
                  <a:lnTo>
                    <a:pt x="15028" y="14428"/>
                  </a:lnTo>
                  <a:lnTo>
                    <a:pt x="15010" y="14474"/>
                  </a:lnTo>
                  <a:lnTo>
                    <a:pt x="14989" y="14519"/>
                  </a:lnTo>
                  <a:lnTo>
                    <a:pt x="14967" y="14562"/>
                  </a:lnTo>
                  <a:lnTo>
                    <a:pt x="14943" y="14604"/>
                  </a:lnTo>
                  <a:lnTo>
                    <a:pt x="14917" y="14645"/>
                  </a:lnTo>
                  <a:lnTo>
                    <a:pt x="14889" y="14685"/>
                  </a:lnTo>
                  <a:lnTo>
                    <a:pt x="14859" y="14723"/>
                  </a:lnTo>
                  <a:lnTo>
                    <a:pt x="14828" y="14759"/>
                  </a:lnTo>
                  <a:lnTo>
                    <a:pt x="14794" y="14794"/>
                  </a:lnTo>
                  <a:lnTo>
                    <a:pt x="14759" y="14828"/>
                  </a:lnTo>
                  <a:lnTo>
                    <a:pt x="14723" y="14859"/>
                  </a:lnTo>
                  <a:lnTo>
                    <a:pt x="14685" y="14889"/>
                  </a:lnTo>
                  <a:lnTo>
                    <a:pt x="14645" y="14917"/>
                  </a:lnTo>
                  <a:lnTo>
                    <a:pt x="14604" y="14943"/>
                  </a:lnTo>
                  <a:lnTo>
                    <a:pt x="14562" y="14967"/>
                  </a:lnTo>
                  <a:lnTo>
                    <a:pt x="14519" y="14989"/>
                  </a:lnTo>
                  <a:lnTo>
                    <a:pt x="14474" y="15010"/>
                  </a:lnTo>
                  <a:lnTo>
                    <a:pt x="14429" y="15028"/>
                  </a:lnTo>
                  <a:lnTo>
                    <a:pt x="14382" y="15044"/>
                  </a:lnTo>
                  <a:lnTo>
                    <a:pt x="14335" y="15057"/>
                  </a:lnTo>
                  <a:lnTo>
                    <a:pt x="14285" y="15069"/>
                  </a:lnTo>
                  <a:lnTo>
                    <a:pt x="14236" y="15077"/>
                  </a:lnTo>
                  <a:lnTo>
                    <a:pt x="14186" y="15084"/>
                  </a:lnTo>
                  <a:lnTo>
                    <a:pt x="14134" y="15088"/>
                  </a:lnTo>
                  <a:lnTo>
                    <a:pt x="14083" y="15089"/>
                  </a:lnTo>
                  <a:lnTo>
                    <a:pt x="2012" y="15089"/>
                  </a:lnTo>
                  <a:lnTo>
                    <a:pt x="1961" y="15088"/>
                  </a:lnTo>
                  <a:lnTo>
                    <a:pt x="1909" y="15084"/>
                  </a:lnTo>
                  <a:lnTo>
                    <a:pt x="1859" y="15077"/>
                  </a:lnTo>
                  <a:lnTo>
                    <a:pt x="1810" y="15069"/>
                  </a:lnTo>
                  <a:lnTo>
                    <a:pt x="1760" y="15057"/>
                  </a:lnTo>
                  <a:lnTo>
                    <a:pt x="1713" y="15044"/>
                  </a:lnTo>
                  <a:lnTo>
                    <a:pt x="1666" y="15028"/>
                  </a:lnTo>
                  <a:lnTo>
                    <a:pt x="1621" y="15010"/>
                  </a:lnTo>
                  <a:lnTo>
                    <a:pt x="1576" y="14989"/>
                  </a:lnTo>
                  <a:lnTo>
                    <a:pt x="1533" y="14967"/>
                  </a:lnTo>
                  <a:lnTo>
                    <a:pt x="1491" y="14943"/>
                  </a:lnTo>
                  <a:lnTo>
                    <a:pt x="1450" y="14917"/>
                  </a:lnTo>
                  <a:lnTo>
                    <a:pt x="1410" y="14889"/>
                  </a:lnTo>
                  <a:lnTo>
                    <a:pt x="1372" y="14859"/>
                  </a:lnTo>
                  <a:lnTo>
                    <a:pt x="1336" y="14828"/>
                  </a:lnTo>
                  <a:lnTo>
                    <a:pt x="1301" y="14794"/>
                  </a:lnTo>
                  <a:lnTo>
                    <a:pt x="1267" y="14759"/>
                  </a:lnTo>
                  <a:lnTo>
                    <a:pt x="1236" y="14723"/>
                  </a:lnTo>
                  <a:lnTo>
                    <a:pt x="1206" y="14685"/>
                  </a:lnTo>
                  <a:lnTo>
                    <a:pt x="1178" y="14645"/>
                  </a:lnTo>
                  <a:lnTo>
                    <a:pt x="1152" y="14604"/>
                  </a:lnTo>
                  <a:lnTo>
                    <a:pt x="1128" y="14562"/>
                  </a:lnTo>
                  <a:lnTo>
                    <a:pt x="1106" y="14519"/>
                  </a:lnTo>
                  <a:lnTo>
                    <a:pt x="1085" y="14474"/>
                  </a:lnTo>
                  <a:lnTo>
                    <a:pt x="1067" y="14428"/>
                  </a:lnTo>
                  <a:lnTo>
                    <a:pt x="1051" y="14382"/>
                  </a:lnTo>
                  <a:lnTo>
                    <a:pt x="1037" y="14334"/>
                  </a:lnTo>
                  <a:lnTo>
                    <a:pt x="1026" y="14285"/>
                  </a:lnTo>
                  <a:lnTo>
                    <a:pt x="1017" y="14236"/>
                  </a:lnTo>
                  <a:lnTo>
                    <a:pt x="1011" y="14186"/>
                  </a:lnTo>
                  <a:lnTo>
                    <a:pt x="1007" y="14134"/>
                  </a:lnTo>
                  <a:lnTo>
                    <a:pt x="1006" y="14083"/>
                  </a:lnTo>
                  <a:lnTo>
                    <a:pt x="1006" y="4024"/>
                  </a:lnTo>
                  <a:lnTo>
                    <a:pt x="1007" y="3998"/>
                  </a:lnTo>
                  <a:lnTo>
                    <a:pt x="1009" y="3972"/>
                  </a:lnTo>
                  <a:lnTo>
                    <a:pt x="1012" y="3947"/>
                  </a:lnTo>
                  <a:lnTo>
                    <a:pt x="1016" y="3922"/>
                  </a:lnTo>
                  <a:lnTo>
                    <a:pt x="1022" y="3898"/>
                  </a:lnTo>
                  <a:lnTo>
                    <a:pt x="1028" y="3874"/>
                  </a:lnTo>
                  <a:lnTo>
                    <a:pt x="1036" y="3851"/>
                  </a:lnTo>
                  <a:lnTo>
                    <a:pt x="1045" y="3828"/>
                  </a:lnTo>
                  <a:lnTo>
                    <a:pt x="1055" y="3805"/>
                  </a:lnTo>
                  <a:lnTo>
                    <a:pt x="1066" y="3784"/>
                  </a:lnTo>
                  <a:lnTo>
                    <a:pt x="1078" y="3763"/>
                  </a:lnTo>
                  <a:lnTo>
                    <a:pt x="1091" y="3743"/>
                  </a:lnTo>
                  <a:lnTo>
                    <a:pt x="1106" y="3723"/>
                  </a:lnTo>
                  <a:lnTo>
                    <a:pt x="1121" y="3704"/>
                  </a:lnTo>
                  <a:lnTo>
                    <a:pt x="1137" y="3686"/>
                  </a:lnTo>
                  <a:lnTo>
                    <a:pt x="1153" y="3669"/>
                  </a:lnTo>
                  <a:lnTo>
                    <a:pt x="1171" y="3652"/>
                  </a:lnTo>
                  <a:lnTo>
                    <a:pt x="1189" y="3635"/>
                  </a:lnTo>
                  <a:lnTo>
                    <a:pt x="1208" y="3620"/>
                  </a:lnTo>
                  <a:lnTo>
                    <a:pt x="1227" y="3606"/>
                  </a:lnTo>
                  <a:lnTo>
                    <a:pt x="1248" y="3593"/>
                  </a:lnTo>
                  <a:lnTo>
                    <a:pt x="1269" y="3581"/>
                  </a:lnTo>
                  <a:lnTo>
                    <a:pt x="1291" y="3570"/>
                  </a:lnTo>
                  <a:lnTo>
                    <a:pt x="1313" y="3560"/>
                  </a:lnTo>
                  <a:lnTo>
                    <a:pt x="1336" y="3551"/>
                  </a:lnTo>
                  <a:lnTo>
                    <a:pt x="1359" y="3544"/>
                  </a:lnTo>
                  <a:lnTo>
                    <a:pt x="1383" y="3537"/>
                  </a:lnTo>
                  <a:lnTo>
                    <a:pt x="1407" y="3531"/>
                  </a:lnTo>
                  <a:lnTo>
                    <a:pt x="1432" y="3527"/>
                  </a:lnTo>
                  <a:lnTo>
                    <a:pt x="1458" y="3524"/>
                  </a:lnTo>
                  <a:lnTo>
                    <a:pt x="1483" y="3522"/>
                  </a:lnTo>
                  <a:lnTo>
                    <a:pt x="1509" y="3521"/>
                  </a:lnTo>
                  <a:lnTo>
                    <a:pt x="2012" y="3521"/>
                  </a:lnTo>
                  <a:lnTo>
                    <a:pt x="2012" y="13580"/>
                  </a:lnTo>
                  <a:lnTo>
                    <a:pt x="2013" y="13606"/>
                  </a:lnTo>
                  <a:lnTo>
                    <a:pt x="2015" y="13631"/>
                  </a:lnTo>
                  <a:lnTo>
                    <a:pt x="2018" y="13657"/>
                  </a:lnTo>
                  <a:lnTo>
                    <a:pt x="2022" y="13682"/>
                  </a:lnTo>
                  <a:lnTo>
                    <a:pt x="2028" y="13706"/>
                  </a:lnTo>
                  <a:lnTo>
                    <a:pt x="2034" y="13730"/>
                  </a:lnTo>
                  <a:lnTo>
                    <a:pt x="2042" y="13753"/>
                  </a:lnTo>
                  <a:lnTo>
                    <a:pt x="2051" y="13776"/>
                  </a:lnTo>
                  <a:lnTo>
                    <a:pt x="2061" y="13798"/>
                  </a:lnTo>
                  <a:lnTo>
                    <a:pt x="2072" y="13821"/>
                  </a:lnTo>
                  <a:lnTo>
                    <a:pt x="2084" y="13841"/>
                  </a:lnTo>
                  <a:lnTo>
                    <a:pt x="2097" y="13862"/>
                  </a:lnTo>
                  <a:lnTo>
                    <a:pt x="2111" y="13881"/>
                  </a:lnTo>
                  <a:lnTo>
                    <a:pt x="2127" y="13900"/>
                  </a:lnTo>
                  <a:lnTo>
                    <a:pt x="2143" y="13918"/>
                  </a:lnTo>
                  <a:lnTo>
                    <a:pt x="2159" y="13936"/>
                  </a:lnTo>
                  <a:lnTo>
                    <a:pt x="2177" y="13952"/>
                  </a:lnTo>
                  <a:lnTo>
                    <a:pt x="2195" y="13968"/>
                  </a:lnTo>
                  <a:lnTo>
                    <a:pt x="2214" y="13984"/>
                  </a:lnTo>
                  <a:lnTo>
                    <a:pt x="2233" y="13998"/>
                  </a:lnTo>
                  <a:lnTo>
                    <a:pt x="2254" y="14011"/>
                  </a:lnTo>
                  <a:lnTo>
                    <a:pt x="2275" y="14023"/>
                  </a:lnTo>
                  <a:lnTo>
                    <a:pt x="2297" y="14034"/>
                  </a:lnTo>
                  <a:lnTo>
                    <a:pt x="2319" y="14044"/>
                  </a:lnTo>
                  <a:lnTo>
                    <a:pt x="2342" y="14053"/>
                  </a:lnTo>
                  <a:lnTo>
                    <a:pt x="2365" y="14061"/>
                  </a:lnTo>
                  <a:lnTo>
                    <a:pt x="2389" y="14067"/>
                  </a:lnTo>
                  <a:lnTo>
                    <a:pt x="2413" y="14073"/>
                  </a:lnTo>
                  <a:lnTo>
                    <a:pt x="2438" y="14077"/>
                  </a:lnTo>
                  <a:lnTo>
                    <a:pt x="2464" y="14080"/>
                  </a:lnTo>
                  <a:lnTo>
                    <a:pt x="2489" y="14082"/>
                  </a:lnTo>
                  <a:lnTo>
                    <a:pt x="2515" y="14083"/>
                  </a:lnTo>
                  <a:lnTo>
                    <a:pt x="2541" y="14082"/>
                  </a:lnTo>
                  <a:lnTo>
                    <a:pt x="2566" y="14080"/>
                  </a:lnTo>
                  <a:lnTo>
                    <a:pt x="2591" y="14077"/>
                  </a:lnTo>
                  <a:lnTo>
                    <a:pt x="2616" y="14073"/>
                  </a:lnTo>
                  <a:lnTo>
                    <a:pt x="2641" y="14067"/>
                  </a:lnTo>
                  <a:lnTo>
                    <a:pt x="2665" y="14061"/>
                  </a:lnTo>
                  <a:lnTo>
                    <a:pt x="2688" y="14053"/>
                  </a:lnTo>
                  <a:lnTo>
                    <a:pt x="2711" y="14044"/>
                  </a:lnTo>
                  <a:lnTo>
                    <a:pt x="2733" y="14034"/>
                  </a:lnTo>
                  <a:lnTo>
                    <a:pt x="2755" y="14023"/>
                  </a:lnTo>
                  <a:lnTo>
                    <a:pt x="2775" y="14011"/>
                  </a:lnTo>
                  <a:lnTo>
                    <a:pt x="2797" y="13998"/>
                  </a:lnTo>
                  <a:lnTo>
                    <a:pt x="2816" y="13984"/>
                  </a:lnTo>
                  <a:lnTo>
                    <a:pt x="2835" y="13968"/>
                  </a:lnTo>
                  <a:lnTo>
                    <a:pt x="2853" y="13952"/>
                  </a:lnTo>
                  <a:lnTo>
                    <a:pt x="2871" y="13936"/>
                  </a:lnTo>
                  <a:lnTo>
                    <a:pt x="2887" y="13918"/>
                  </a:lnTo>
                  <a:lnTo>
                    <a:pt x="2903" y="13900"/>
                  </a:lnTo>
                  <a:lnTo>
                    <a:pt x="2918" y="13881"/>
                  </a:lnTo>
                  <a:lnTo>
                    <a:pt x="2932" y="13862"/>
                  </a:lnTo>
                  <a:lnTo>
                    <a:pt x="2945" y="13841"/>
                  </a:lnTo>
                  <a:lnTo>
                    <a:pt x="2957" y="13821"/>
                  </a:lnTo>
                  <a:lnTo>
                    <a:pt x="2969" y="13798"/>
                  </a:lnTo>
                  <a:lnTo>
                    <a:pt x="2979" y="13776"/>
                  </a:lnTo>
                  <a:lnTo>
                    <a:pt x="2988" y="13753"/>
                  </a:lnTo>
                  <a:lnTo>
                    <a:pt x="2996" y="13730"/>
                  </a:lnTo>
                  <a:lnTo>
                    <a:pt x="3002" y="13706"/>
                  </a:lnTo>
                  <a:lnTo>
                    <a:pt x="3008" y="13682"/>
                  </a:lnTo>
                  <a:lnTo>
                    <a:pt x="3012" y="13657"/>
                  </a:lnTo>
                  <a:lnTo>
                    <a:pt x="3015" y="13631"/>
                  </a:lnTo>
                  <a:lnTo>
                    <a:pt x="3017" y="13606"/>
                  </a:lnTo>
                  <a:lnTo>
                    <a:pt x="3018" y="13580"/>
                  </a:lnTo>
                  <a:lnTo>
                    <a:pt x="3018" y="1509"/>
                  </a:lnTo>
                  <a:lnTo>
                    <a:pt x="3019" y="1483"/>
                  </a:lnTo>
                  <a:lnTo>
                    <a:pt x="3021" y="1458"/>
                  </a:lnTo>
                  <a:lnTo>
                    <a:pt x="3024" y="1432"/>
                  </a:lnTo>
                  <a:lnTo>
                    <a:pt x="3028" y="1407"/>
                  </a:lnTo>
                  <a:lnTo>
                    <a:pt x="3034" y="1383"/>
                  </a:lnTo>
                  <a:lnTo>
                    <a:pt x="3041" y="1359"/>
                  </a:lnTo>
                  <a:lnTo>
                    <a:pt x="3048" y="1336"/>
                  </a:lnTo>
                  <a:lnTo>
                    <a:pt x="3057" y="1313"/>
                  </a:lnTo>
                  <a:lnTo>
                    <a:pt x="3067" y="1291"/>
                  </a:lnTo>
                  <a:lnTo>
                    <a:pt x="3078" y="1269"/>
                  </a:lnTo>
                  <a:lnTo>
                    <a:pt x="3090" y="1248"/>
                  </a:lnTo>
                  <a:lnTo>
                    <a:pt x="3103" y="1227"/>
                  </a:lnTo>
                  <a:lnTo>
                    <a:pt x="3117" y="1208"/>
                  </a:lnTo>
                  <a:lnTo>
                    <a:pt x="3132" y="1189"/>
                  </a:lnTo>
                  <a:lnTo>
                    <a:pt x="3149" y="1171"/>
                  </a:lnTo>
                  <a:lnTo>
                    <a:pt x="3166" y="1154"/>
                  </a:lnTo>
                  <a:lnTo>
                    <a:pt x="3183" y="1137"/>
                  </a:lnTo>
                  <a:lnTo>
                    <a:pt x="3201" y="1121"/>
                  </a:lnTo>
                  <a:lnTo>
                    <a:pt x="3220" y="1106"/>
                  </a:lnTo>
                  <a:lnTo>
                    <a:pt x="3240" y="1092"/>
                  </a:lnTo>
                  <a:lnTo>
                    <a:pt x="3260" y="1079"/>
                  </a:lnTo>
                  <a:lnTo>
                    <a:pt x="3281" y="1066"/>
                  </a:lnTo>
                  <a:lnTo>
                    <a:pt x="3302" y="1055"/>
                  </a:lnTo>
                  <a:lnTo>
                    <a:pt x="3325" y="1045"/>
                  </a:lnTo>
                  <a:lnTo>
                    <a:pt x="3348" y="1036"/>
                  </a:lnTo>
                  <a:lnTo>
                    <a:pt x="3371" y="1029"/>
                  </a:lnTo>
                  <a:lnTo>
                    <a:pt x="3395" y="1022"/>
                  </a:lnTo>
                  <a:lnTo>
                    <a:pt x="3419" y="1016"/>
                  </a:lnTo>
                  <a:lnTo>
                    <a:pt x="3444" y="1012"/>
                  </a:lnTo>
                  <a:lnTo>
                    <a:pt x="3469" y="1009"/>
                  </a:lnTo>
                  <a:lnTo>
                    <a:pt x="3495" y="1007"/>
                  </a:lnTo>
                  <a:lnTo>
                    <a:pt x="3521" y="1006"/>
                  </a:lnTo>
                  <a:lnTo>
                    <a:pt x="14586" y="1006"/>
                  </a:lnTo>
                  <a:lnTo>
                    <a:pt x="14612" y="1007"/>
                  </a:lnTo>
                  <a:lnTo>
                    <a:pt x="14637" y="1009"/>
                  </a:lnTo>
                  <a:lnTo>
                    <a:pt x="14663" y="1012"/>
                  </a:lnTo>
                  <a:lnTo>
                    <a:pt x="14688" y="1016"/>
                  </a:lnTo>
                  <a:lnTo>
                    <a:pt x="14712" y="1022"/>
                  </a:lnTo>
                  <a:lnTo>
                    <a:pt x="14736" y="1029"/>
                  </a:lnTo>
                  <a:lnTo>
                    <a:pt x="14759" y="1036"/>
                  </a:lnTo>
                  <a:lnTo>
                    <a:pt x="14782" y="1045"/>
                  </a:lnTo>
                  <a:lnTo>
                    <a:pt x="14804" y="1055"/>
                  </a:lnTo>
                  <a:lnTo>
                    <a:pt x="14826" y="1066"/>
                  </a:lnTo>
                  <a:lnTo>
                    <a:pt x="14847" y="1079"/>
                  </a:lnTo>
                  <a:lnTo>
                    <a:pt x="14867" y="1092"/>
                  </a:lnTo>
                  <a:lnTo>
                    <a:pt x="14887" y="1106"/>
                  </a:lnTo>
                  <a:lnTo>
                    <a:pt x="14906" y="1121"/>
                  </a:lnTo>
                  <a:lnTo>
                    <a:pt x="14924" y="1137"/>
                  </a:lnTo>
                  <a:lnTo>
                    <a:pt x="14942" y="1154"/>
                  </a:lnTo>
                  <a:lnTo>
                    <a:pt x="14958" y="1171"/>
                  </a:lnTo>
                  <a:lnTo>
                    <a:pt x="14974" y="1189"/>
                  </a:lnTo>
                  <a:lnTo>
                    <a:pt x="14989" y="1208"/>
                  </a:lnTo>
                  <a:lnTo>
                    <a:pt x="15004" y="1227"/>
                  </a:lnTo>
                  <a:lnTo>
                    <a:pt x="15017" y="1248"/>
                  </a:lnTo>
                  <a:lnTo>
                    <a:pt x="15029" y="1269"/>
                  </a:lnTo>
                  <a:lnTo>
                    <a:pt x="15040" y="1291"/>
                  </a:lnTo>
                  <a:lnTo>
                    <a:pt x="15050" y="1313"/>
                  </a:lnTo>
                  <a:lnTo>
                    <a:pt x="15059" y="1336"/>
                  </a:lnTo>
                  <a:lnTo>
                    <a:pt x="15066" y="1359"/>
                  </a:lnTo>
                  <a:lnTo>
                    <a:pt x="15073" y="1383"/>
                  </a:lnTo>
                  <a:lnTo>
                    <a:pt x="15079" y="1407"/>
                  </a:lnTo>
                  <a:lnTo>
                    <a:pt x="15083" y="1432"/>
                  </a:lnTo>
                  <a:lnTo>
                    <a:pt x="15086" y="1458"/>
                  </a:lnTo>
                  <a:lnTo>
                    <a:pt x="15088" y="1483"/>
                  </a:lnTo>
                  <a:lnTo>
                    <a:pt x="15089" y="1509"/>
                  </a:lnTo>
                  <a:lnTo>
                    <a:pt x="15089" y="14083"/>
                  </a:lnTo>
                  <a:close/>
                  <a:moveTo>
                    <a:pt x="14586" y="0"/>
                  </a:moveTo>
                  <a:lnTo>
                    <a:pt x="3521" y="0"/>
                  </a:lnTo>
                  <a:lnTo>
                    <a:pt x="3443" y="2"/>
                  </a:lnTo>
                  <a:lnTo>
                    <a:pt x="3367" y="8"/>
                  </a:lnTo>
                  <a:lnTo>
                    <a:pt x="3291" y="17"/>
                  </a:lnTo>
                  <a:lnTo>
                    <a:pt x="3217" y="30"/>
                  </a:lnTo>
                  <a:lnTo>
                    <a:pt x="3144" y="47"/>
                  </a:lnTo>
                  <a:lnTo>
                    <a:pt x="3072" y="67"/>
                  </a:lnTo>
                  <a:lnTo>
                    <a:pt x="3002" y="92"/>
                  </a:lnTo>
                  <a:lnTo>
                    <a:pt x="2933" y="119"/>
                  </a:lnTo>
                  <a:lnTo>
                    <a:pt x="2867" y="149"/>
                  </a:lnTo>
                  <a:lnTo>
                    <a:pt x="2802" y="182"/>
                  </a:lnTo>
                  <a:lnTo>
                    <a:pt x="2738" y="218"/>
                  </a:lnTo>
                  <a:lnTo>
                    <a:pt x="2677" y="258"/>
                  </a:lnTo>
                  <a:lnTo>
                    <a:pt x="2617" y="300"/>
                  </a:lnTo>
                  <a:lnTo>
                    <a:pt x="2561" y="344"/>
                  </a:lnTo>
                  <a:lnTo>
                    <a:pt x="2506" y="391"/>
                  </a:lnTo>
                  <a:lnTo>
                    <a:pt x="2453" y="442"/>
                  </a:lnTo>
                  <a:lnTo>
                    <a:pt x="2404" y="494"/>
                  </a:lnTo>
                  <a:lnTo>
                    <a:pt x="2356" y="549"/>
                  </a:lnTo>
                  <a:lnTo>
                    <a:pt x="2312" y="606"/>
                  </a:lnTo>
                  <a:lnTo>
                    <a:pt x="2269" y="665"/>
                  </a:lnTo>
                  <a:lnTo>
                    <a:pt x="2230" y="726"/>
                  </a:lnTo>
                  <a:lnTo>
                    <a:pt x="2194" y="790"/>
                  </a:lnTo>
                  <a:lnTo>
                    <a:pt x="2161" y="854"/>
                  </a:lnTo>
                  <a:lnTo>
                    <a:pt x="2131" y="921"/>
                  </a:lnTo>
                  <a:lnTo>
                    <a:pt x="2103" y="990"/>
                  </a:lnTo>
                  <a:lnTo>
                    <a:pt x="2079" y="1060"/>
                  </a:lnTo>
                  <a:lnTo>
                    <a:pt x="2059" y="1132"/>
                  </a:lnTo>
                  <a:lnTo>
                    <a:pt x="2042" y="1204"/>
                  </a:lnTo>
                  <a:lnTo>
                    <a:pt x="2029" y="1279"/>
                  </a:lnTo>
                  <a:lnTo>
                    <a:pt x="2020" y="1354"/>
                  </a:lnTo>
                  <a:lnTo>
                    <a:pt x="2014" y="1431"/>
                  </a:lnTo>
                  <a:lnTo>
                    <a:pt x="2012" y="1509"/>
                  </a:lnTo>
                  <a:lnTo>
                    <a:pt x="2012" y="2515"/>
                  </a:lnTo>
                  <a:lnTo>
                    <a:pt x="1509" y="2515"/>
                  </a:lnTo>
                  <a:lnTo>
                    <a:pt x="1431" y="2517"/>
                  </a:lnTo>
                  <a:lnTo>
                    <a:pt x="1355" y="2523"/>
                  </a:lnTo>
                  <a:lnTo>
                    <a:pt x="1280" y="2532"/>
                  </a:lnTo>
                  <a:lnTo>
                    <a:pt x="1205" y="2545"/>
                  </a:lnTo>
                  <a:lnTo>
                    <a:pt x="1132" y="2562"/>
                  </a:lnTo>
                  <a:lnTo>
                    <a:pt x="1060" y="2582"/>
                  </a:lnTo>
                  <a:lnTo>
                    <a:pt x="990" y="2606"/>
                  </a:lnTo>
                  <a:lnTo>
                    <a:pt x="921" y="2634"/>
                  </a:lnTo>
                  <a:lnTo>
                    <a:pt x="855" y="2664"/>
                  </a:lnTo>
                  <a:lnTo>
                    <a:pt x="790" y="2697"/>
                  </a:lnTo>
                  <a:lnTo>
                    <a:pt x="726" y="2733"/>
                  </a:lnTo>
                  <a:lnTo>
                    <a:pt x="665" y="2772"/>
                  </a:lnTo>
                  <a:lnTo>
                    <a:pt x="607" y="2815"/>
                  </a:lnTo>
                  <a:lnTo>
                    <a:pt x="549" y="2859"/>
                  </a:lnTo>
                  <a:lnTo>
                    <a:pt x="494" y="2907"/>
                  </a:lnTo>
                  <a:lnTo>
                    <a:pt x="442" y="2956"/>
                  </a:lnTo>
                  <a:lnTo>
                    <a:pt x="392" y="3009"/>
                  </a:lnTo>
                  <a:lnTo>
                    <a:pt x="345" y="3064"/>
                  </a:lnTo>
                  <a:lnTo>
                    <a:pt x="300" y="3120"/>
                  </a:lnTo>
                  <a:lnTo>
                    <a:pt x="258" y="3180"/>
                  </a:lnTo>
                  <a:lnTo>
                    <a:pt x="218" y="3241"/>
                  </a:lnTo>
                  <a:lnTo>
                    <a:pt x="182" y="3305"/>
                  </a:lnTo>
                  <a:lnTo>
                    <a:pt x="149" y="3369"/>
                  </a:lnTo>
                  <a:lnTo>
                    <a:pt x="119" y="3436"/>
                  </a:lnTo>
                  <a:lnTo>
                    <a:pt x="92" y="3505"/>
                  </a:lnTo>
                  <a:lnTo>
                    <a:pt x="67" y="3575"/>
                  </a:lnTo>
                  <a:lnTo>
                    <a:pt x="47" y="3647"/>
                  </a:lnTo>
                  <a:lnTo>
                    <a:pt x="30" y="3720"/>
                  </a:lnTo>
                  <a:lnTo>
                    <a:pt x="17" y="3793"/>
                  </a:lnTo>
                  <a:lnTo>
                    <a:pt x="8" y="3869"/>
                  </a:lnTo>
                  <a:lnTo>
                    <a:pt x="2" y="3946"/>
                  </a:lnTo>
                  <a:lnTo>
                    <a:pt x="0" y="4024"/>
                  </a:lnTo>
                  <a:lnTo>
                    <a:pt x="0" y="14083"/>
                  </a:lnTo>
                  <a:lnTo>
                    <a:pt x="3" y="14187"/>
                  </a:lnTo>
                  <a:lnTo>
                    <a:pt x="10" y="14289"/>
                  </a:lnTo>
                  <a:lnTo>
                    <a:pt x="23" y="14390"/>
                  </a:lnTo>
                  <a:lnTo>
                    <a:pt x="41" y="14489"/>
                  </a:lnTo>
                  <a:lnTo>
                    <a:pt x="63" y="14586"/>
                  </a:lnTo>
                  <a:lnTo>
                    <a:pt x="91" y="14682"/>
                  </a:lnTo>
                  <a:lnTo>
                    <a:pt x="122" y="14775"/>
                  </a:lnTo>
                  <a:lnTo>
                    <a:pt x="158" y="14867"/>
                  </a:lnTo>
                  <a:lnTo>
                    <a:pt x="198" y="14955"/>
                  </a:lnTo>
                  <a:lnTo>
                    <a:pt x="242" y="15042"/>
                  </a:lnTo>
                  <a:lnTo>
                    <a:pt x="292" y="15126"/>
                  </a:lnTo>
                  <a:lnTo>
                    <a:pt x="344" y="15208"/>
                  </a:lnTo>
                  <a:lnTo>
                    <a:pt x="399" y="15287"/>
                  </a:lnTo>
                  <a:lnTo>
                    <a:pt x="460" y="15363"/>
                  </a:lnTo>
                  <a:lnTo>
                    <a:pt x="523" y="15436"/>
                  </a:lnTo>
                  <a:lnTo>
                    <a:pt x="589" y="15506"/>
                  </a:lnTo>
                  <a:lnTo>
                    <a:pt x="659" y="15572"/>
                  </a:lnTo>
                  <a:lnTo>
                    <a:pt x="732" y="15635"/>
                  </a:lnTo>
                  <a:lnTo>
                    <a:pt x="808" y="15696"/>
                  </a:lnTo>
                  <a:lnTo>
                    <a:pt x="887" y="15751"/>
                  </a:lnTo>
                  <a:lnTo>
                    <a:pt x="969" y="15803"/>
                  </a:lnTo>
                  <a:lnTo>
                    <a:pt x="1053" y="15853"/>
                  </a:lnTo>
                  <a:lnTo>
                    <a:pt x="1140" y="15897"/>
                  </a:lnTo>
                  <a:lnTo>
                    <a:pt x="1228" y="15937"/>
                  </a:lnTo>
                  <a:lnTo>
                    <a:pt x="1320" y="15973"/>
                  </a:lnTo>
                  <a:lnTo>
                    <a:pt x="1413" y="16004"/>
                  </a:lnTo>
                  <a:lnTo>
                    <a:pt x="1509" y="16032"/>
                  </a:lnTo>
                  <a:lnTo>
                    <a:pt x="1606" y="16054"/>
                  </a:lnTo>
                  <a:lnTo>
                    <a:pt x="1705" y="16072"/>
                  </a:lnTo>
                  <a:lnTo>
                    <a:pt x="1806" y="16085"/>
                  </a:lnTo>
                  <a:lnTo>
                    <a:pt x="1908" y="16092"/>
                  </a:lnTo>
                  <a:lnTo>
                    <a:pt x="2012" y="16095"/>
                  </a:lnTo>
                  <a:lnTo>
                    <a:pt x="14083" y="16095"/>
                  </a:lnTo>
                  <a:lnTo>
                    <a:pt x="14187" y="16092"/>
                  </a:lnTo>
                  <a:lnTo>
                    <a:pt x="14289" y="16085"/>
                  </a:lnTo>
                  <a:lnTo>
                    <a:pt x="14390" y="16072"/>
                  </a:lnTo>
                  <a:lnTo>
                    <a:pt x="14489" y="16054"/>
                  </a:lnTo>
                  <a:lnTo>
                    <a:pt x="14586" y="16032"/>
                  </a:lnTo>
                  <a:lnTo>
                    <a:pt x="14682" y="16004"/>
                  </a:lnTo>
                  <a:lnTo>
                    <a:pt x="14775" y="15973"/>
                  </a:lnTo>
                  <a:lnTo>
                    <a:pt x="14867" y="15937"/>
                  </a:lnTo>
                  <a:lnTo>
                    <a:pt x="14955" y="15897"/>
                  </a:lnTo>
                  <a:lnTo>
                    <a:pt x="15042" y="15853"/>
                  </a:lnTo>
                  <a:lnTo>
                    <a:pt x="15126" y="15803"/>
                  </a:lnTo>
                  <a:lnTo>
                    <a:pt x="15208" y="15751"/>
                  </a:lnTo>
                  <a:lnTo>
                    <a:pt x="15287" y="15696"/>
                  </a:lnTo>
                  <a:lnTo>
                    <a:pt x="15363" y="15635"/>
                  </a:lnTo>
                  <a:lnTo>
                    <a:pt x="15436" y="15572"/>
                  </a:lnTo>
                  <a:lnTo>
                    <a:pt x="15506" y="15506"/>
                  </a:lnTo>
                  <a:lnTo>
                    <a:pt x="15572" y="15436"/>
                  </a:lnTo>
                  <a:lnTo>
                    <a:pt x="15635" y="15363"/>
                  </a:lnTo>
                  <a:lnTo>
                    <a:pt x="15696" y="15287"/>
                  </a:lnTo>
                  <a:lnTo>
                    <a:pt x="15751" y="15208"/>
                  </a:lnTo>
                  <a:lnTo>
                    <a:pt x="15803" y="15126"/>
                  </a:lnTo>
                  <a:lnTo>
                    <a:pt x="15853" y="15042"/>
                  </a:lnTo>
                  <a:lnTo>
                    <a:pt x="15897" y="14955"/>
                  </a:lnTo>
                  <a:lnTo>
                    <a:pt x="15937" y="14867"/>
                  </a:lnTo>
                  <a:lnTo>
                    <a:pt x="15973" y="14775"/>
                  </a:lnTo>
                  <a:lnTo>
                    <a:pt x="16004" y="14682"/>
                  </a:lnTo>
                  <a:lnTo>
                    <a:pt x="16032" y="14586"/>
                  </a:lnTo>
                  <a:lnTo>
                    <a:pt x="16054" y="14489"/>
                  </a:lnTo>
                  <a:lnTo>
                    <a:pt x="16072" y="14390"/>
                  </a:lnTo>
                  <a:lnTo>
                    <a:pt x="16085" y="14289"/>
                  </a:lnTo>
                  <a:lnTo>
                    <a:pt x="16092" y="14187"/>
                  </a:lnTo>
                  <a:lnTo>
                    <a:pt x="16095" y="14083"/>
                  </a:lnTo>
                  <a:lnTo>
                    <a:pt x="16095" y="1509"/>
                  </a:lnTo>
                  <a:lnTo>
                    <a:pt x="16093" y="1431"/>
                  </a:lnTo>
                  <a:lnTo>
                    <a:pt x="16087" y="1354"/>
                  </a:lnTo>
                  <a:lnTo>
                    <a:pt x="16078" y="1279"/>
                  </a:lnTo>
                  <a:lnTo>
                    <a:pt x="16065" y="1204"/>
                  </a:lnTo>
                  <a:lnTo>
                    <a:pt x="16048" y="1132"/>
                  </a:lnTo>
                  <a:lnTo>
                    <a:pt x="16028" y="1060"/>
                  </a:lnTo>
                  <a:lnTo>
                    <a:pt x="16003" y="990"/>
                  </a:lnTo>
                  <a:lnTo>
                    <a:pt x="15976" y="921"/>
                  </a:lnTo>
                  <a:lnTo>
                    <a:pt x="15946" y="854"/>
                  </a:lnTo>
                  <a:lnTo>
                    <a:pt x="15913" y="790"/>
                  </a:lnTo>
                  <a:lnTo>
                    <a:pt x="15877" y="726"/>
                  </a:lnTo>
                  <a:lnTo>
                    <a:pt x="15837" y="665"/>
                  </a:lnTo>
                  <a:lnTo>
                    <a:pt x="15795" y="606"/>
                  </a:lnTo>
                  <a:lnTo>
                    <a:pt x="15750" y="549"/>
                  </a:lnTo>
                  <a:lnTo>
                    <a:pt x="15703" y="494"/>
                  </a:lnTo>
                  <a:lnTo>
                    <a:pt x="15653" y="442"/>
                  </a:lnTo>
                  <a:lnTo>
                    <a:pt x="15601" y="391"/>
                  </a:lnTo>
                  <a:lnTo>
                    <a:pt x="15546" y="344"/>
                  </a:lnTo>
                  <a:lnTo>
                    <a:pt x="15488" y="300"/>
                  </a:lnTo>
                  <a:lnTo>
                    <a:pt x="15430" y="258"/>
                  </a:lnTo>
                  <a:lnTo>
                    <a:pt x="15369" y="218"/>
                  </a:lnTo>
                  <a:lnTo>
                    <a:pt x="15305" y="182"/>
                  </a:lnTo>
                  <a:lnTo>
                    <a:pt x="15240" y="149"/>
                  </a:lnTo>
                  <a:lnTo>
                    <a:pt x="15174" y="119"/>
                  </a:lnTo>
                  <a:lnTo>
                    <a:pt x="15105" y="92"/>
                  </a:lnTo>
                  <a:lnTo>
                    <a:pt x="15035" y="67"/>
                  </a:lnTo>
                  <a:lnTo>
                    <a:pt x="14963" y="47"/>
                  </a:lnTo>
                  <a:lnTo>
                    <a:pt x="14890" y="30"/>
                  </a:lnTo>
                  <a:lnTo>
                    <a:pt x="14815" y="17"/>
                  </a:lnTo>
                  <a:lnTo>
                    <a:pt x="14740" y="8"/>
                  </a:lnTo>
                  <a:lnTo>
                    <a:pt x="14664" y="2"/>
                  </a:lnTo>
                  <a:lnTo>
                    <a:pt x="145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96" name="íṩḷîdè">
              <a:extLst>
                <a:ext uri="{FF2B5EF4-FFF2-40B4-BE49-F238E27FC236}">
                  <a16:creationId xmlns:a16="http://schemas.microsoft.com/office/drawing/2014/main" id="{8A8F0376-A609-418B-91F1-D548CDB50463}"/>
                </a:ext>
              </a:extLst>
            </p:cNvPr>
            <p:cNvSpPr/>
            <p:nvPr/>
          </p:nvSpPr>
          <p:spPr bwMode="auto">
            <a:xfrm>
              <a:off x="9943318" y="1973339"/>
              <a:ext cx="65335" cy="7436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1 h 503"/>
                <a:gd name="T8" fmla="*/ 4427 w 4527"/>
                <a:gd name="T9" fmla="*/ 452 h 503"/>
                <a:gd name="T10" fmla="*/ 4454 w 4527"/>
                <a:gd name="T11" fmla="*/ 428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1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0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1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89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1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5 h 503"/>
                <a:gd name="T80" fmla="*/ 154 w 4527"/>
                <a:gd name="T81" fmla="*/ 482 h 503"/>
                <a:gd name="T82" fmla="*/ 190 w 4527"/>
                <a:gd name="T83" fmla="*/ 495 h 503"/>
                <a:gd name="T84" fmla="*/ 227 w 4527"/>
                <a:gd name="T85" fmla="*/ 50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1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1"/>
                  </a:lnTo>
                  <a:lnTo>
                    <a:pt x="4362" y="488"/>
                  </a:lnTo>
                  <a:lnTo>
                    <a:pt x="4374" y="482"/>
                  </a:lnTo>
                  <a:lnTo>
                    <a:pt x="4385" y="477"/>
                  </a:lnTo>
                  <a:lnTo>
                    <a:pt x="4396" y="471"/>
                  </a:lnTo>
                  <a:lnTo>
                    <a:pt x="4406" y="465"/>
                  </a:lnTo>
                  <a:lnTo>
                    <a:pt x="4416" y="459"/>
                  </a:lnTo>
                  <a:lnTo>
                    <a:pt x="4427" y="452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8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1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3"/>
                  </a:lnTo>
                  <a:lnTo>
                    <a:pt x="4522" y="301"/>
                  </a:lnTo>
                  <a:lnTo>
                    <a:pt x="4525" y="289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1"/>
                  </a:lnTo>
                  <a:lnTo>
                    <a:pt x="4497" y="131"/>
                  </a:lnTo>
                  <a:lnTo>
                    <a:pt x="4491" y="120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0"/>
                  </a:lnTo>
                  <a:lnTo>
                    <a:pt x="32" y="131"/>
                  </a:lnTo>
                  <a:lnTo>
                    <a:pt x="26" y="141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6" y="301"/>
                  </a:lnTo>
                  <a:lnTo>
                    <a:pt x="8" y="313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1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8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2"/>
                  </a:lnTo>
                  <a:lnTo>
                    <a:pt x="112" y="459"/>
                  </a:lnTo>
                  <a:lnTo>
                    <a:pt x="122" y="465"/>
                  </a:lnTo>
                  <a:lnTo>
                    <a:pt x="132" y="471"/>
                  </a:lnTo>
                  <a:lnTo>
                    <a:pt x="143" y="477"/>
                  </a:lnTo>
                  <a:lnTo>
                    <a:pt x="154" y="482"/>
                  </a:lnTo>
                  <a:lnTo>
                    <a:pt x="166" y="488"/>
                  </a:lnTo>
                  <a:lnTo>
                    <a:pt x="177" y="491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1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97" name="ïṥ1íḑe">
              <a:extLst>
                <a:ext uri="{FF2B5EF4-FFF2-40B4-BE49-F238E27FC236}">
                  <a16:creationId xmlns:a16="http://schemas.microsoft.com/office/drawing/2014/main" id="{9DD37C52-1365-4ECB-AA06-E9F121A38C2F}"/>
                </a:ext>
              </a:extLst>
            </p:cNvPr>
            <p:cNvSpPr/>
            <p:nvPr/>
          </p:nvSpPr>
          <p:spPr bwMode="auto">
            <a:xfrm>
              <a:off x="9943318" y="1951561"/>
              <a:ext cx="65335" cy="7436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3 h 503"/>
                <a:gd name="T8" fmla="*/ 4427 w 4527"/>
                <a:gd name="T9" fmla="*/ 452 h 503"/>
                <a:gd name="T10" fmla="*/ 4454 w 4527"/>
                <a:gd name="T11" fmla="*/ 429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2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0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2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89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2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6 h 503"/>
                <a:gd name="T80" fmla="*/ 154 w 4527"/>
                <a:gd name="T81" fmla="*/ 483 h 503"/>
                <a:gd name="T82" fmla="*/ 190 w 4527"/>
                <a:gd name="T83" fmla="*/ 495 h 503"/>
                <a:gd name="T84" fmla="*/ 227 w 4527"/>
                <a:gd name="T85" fmla="*/ 50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1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1"/>
                  </a:lnTo>
                  <a:lnTo>
                    <a:pt x="4362" y="488"/>
                  </a:lnTo>
                  <a:lnTo>
                    <a:pt x="4374" y="483"/>
                  </a:lnTo>
                  <a:lnTo>
                    <a:pt x="4385" y="478"/>
                  </a:lnTo>
                  <a:lnTo>
                    <a:pt x="4396" y="473"/>
                  </a:lnTo>
                  <a:lnTo>
                    <a:pt x="4406" y="466"/>
                  </a:lnTo>
                  <a:lnTo>
                    <a:pt x="4416" y="459"/>
                  </a:lnTo>
                  <a:lnTo>
                    <a:pt x="4427" y="452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9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2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4"/>
                  </a:lnTo>
                  <a:lnTo>
                    <a:pt x="4522" y="302"/>
                  </a:lnTo>
                  <a:lnTo>
                    <a:pt x="4525" y="289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2"/>
                  </a:lnTo>
                  <a:lnTo>
                    <a:pt x="4497" y="132"/>
                  </a:lnTo>
                  <a:lnTo>
                    <a:pt x="4491" y="120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0"/>
                  </a:lnTo>
                  <a:lnTo>
                    <a:pt x="32" y="132"/>
                  </a:lnTo>
                  <a:lnTo>
                    <a:pt x="26" y="142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6" y="302"/>
                  </a:lnTo>
                  <a:lnTo>
                    <a:pt x="8" y="314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2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9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2"/>
                  </a:lnTo>
                  <a:lnTo>
                    <a:pt x="112" y="459"/>
                  </a:lnTo>
                  <a:lnTo>
                    <a:pt x="122" y="466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6" y="488"/>
                  </a:lnTo>
                  <a:lnTo>
                    <a:pt x="177" y="491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1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98" name="îšḻíḑè">
              <a:extLst>
                <a:ext uri="{FF2B5EF4-FFF2-40B4-BE49-F238E27FC236}">
                  <a16:creationId xmlns:a16="http://schemas.microsoft.com/office/drawing/2014/main" id="{6DF884B8-9B3D-489D-A7FB-0FC087D042F4}"/>
                </a:ext>
              </a:extLst>
            </p:cNvPr>
            <p:cNvSpPr/>
            <p:nvPr/>
          </p:nvSpPr>
          <p:spPr bwMode="auto">
            <a:xfrm>
              <a:off x="9943318" y="1930313"/>
              <a:ext cx="65335" cy="6905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3 h 503"/>
                <a:gd name="T8" fmla="*/ 4427 w 4527"/>
                <a:gd name="T9" fmla="*/ 453 h 503"/>
                <a:gd name="T10" fmla="*/ 4454 w 4527"/>
                <a:gd name="T11" fmla="*/ 428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2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1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2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90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2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7 h 503"/>
                <a:gd name="T80" fmla="*/ 154 w 4527"/>
                <a:gd name="T81" fmla="*/ 483 h 503"/>
                <a:gd name="T82" fmla="*/ 190 w 4527"/>
                <a:gd name="T83" fmla="*/ 495 h 503"/>
                <a:gd name="T84" fmla="*/ 227 w 4527"/>
                <a:gd name="T85" fmla="*/ 50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2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2"/>
                  </a:lnTo>
                  <a:lnTo>
                    <a:pt x="4362" y="488"/>
                  </a:lnTo>
                  <a:lnTo>
                    <a:pt x="4374" y="483"/>
                  </a:lnTo>
                  <a:lnTo>
                    <a:pt x="4385" y="478"/>
                  </a:lnTo>
                  <a:lnTo>
                    <a:pt x="4396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8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2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4"/>
                  </a:lnTo>
                  <a:lnTo>
                    <a:pt x="4522" y="302"/>
                  </a:lnTo>
                  <a:lnTo>
                    <a:pt x="4525" y="290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2"/>
                  </a:lnTo>
                  <a:lnTo>
                    <a:pt x="4497" y="132"/>
                  </a:lnTo>
                  <a:lnTo>
                    <a:pt x="4491" y="121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1"/>
                  </a:lnTo>
                  <a:lnTo>
                    <a:pt x="32" y="132"/>
                  </a:lnTo>
                  <a:lnTo>
                    <a:pt x="26" y="142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90"/>
                  </a:lnTo>
                  <a:lnTo>
                    <a:pt x="6" y="302"/>
                  </a:lnTo>
                  <a:lnTo>
                    <a:pt x="8" y="314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2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8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3"/>
                  </a:lnTo>
                  <a:lnTo>
                    <a:pt x="112" y="460"/>
                  </a:lnTo>
                  <a:lnTo>
                    <a:pt x="122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6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399" name="îṩľiďê">
              <a:extLst>
                <a:ext uri="{FF2B5EF4-FFF2-40B4-BE49-F238E27FC236}">
                  <a16:creationId xmlns:a16="http://schemas.microsoft.com/office/drawing/2014/main" id="{B567AB40-D4B2-4A41-8EA6-3E5ED78C56E3}"/>
                </a:ext>
              </a:extLst>
            </p:cNvPr>
            <p:cNvSpPr/>
            <p:nvPr/>
          </p:nvSpPr>
          <p:spPr bwMode="auto">
            <a:xfrm>
              <a:off x="9864172" y="2081699"/>
              <a:ext cx="64804" cy="7436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0 h 503"/>
                <a:gd name="T8" fmla="*/ 100 w 4526"/>
                <a:gd name="T9" fmla="*/ 50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1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50 h 503"/>
                <a:gd name="T28" fmla="*/ 36 w 4526"/>
                <a:gd name="T29" fmla="*/ 382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2 h 503"/>
                <a:gd name="T58" fmla="*/ 4501 w 4526"/>
                <a:gd name="T59" fmla="*/ 361 h 503"/>
                <a:gd name="T60" fmla="*/ 4515 w 4526"/>
                <a:gd name="T61" fmla="*/ 327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3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6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3"/>
                  </a:lnTo>
                  <a:lnTo>
                    <a:pt x="100" y="50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7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4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4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2"/>
                  </a:lnTo>
                  <a:lnTo>
                    <a:pt x="4490" y="382"/>
                  </a:lnTo>
                  <a:lnTo>
                    <a:pt x="4496" y="371"/>
                  </a:lnTo>
                  <a:lnTo>
                    <a:pt x="4501" y="361"/>
                  </a:lnTo>
                  <a:lnTo>
                    <a:pt x="4506" y="350"/>
                  </a:lnTo>
                  <a:lnTo>
                    <a:pt x="4511" y="338"/>
                  </a:lnTo>
                  <a:lnTo>
                    <a:pt x="4515" y="327"/>
                  </a:lnTo>
                  <a:lnTo>
                    <a:pt x="4518" y="315"/>
                  </a:lnTo>
                  <a:lnTo>
                    <a:pt x="4521" y="303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3"/>
                  </a:lnTo>
                  <a:lnTo>
                    <a:pt x="4521" y="201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0"/>
                  </a:lnTo>
                  <a:lnTo>
                    <a:pt x="4416" y="43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00" name="ïṡ1iďè">
              <a:extLst>
                <a:ext uri="{FF2B5EF4-FFF2-40B4-BE49-F238E27FC236}">
                  <a16:creationId xmlns:a16="http://schemas.microsoft.com/office/drawing/2014/main" id="{0FE9EAA9-0E82-4409-A853-B4B3168269DA}"/>
                </a:ext>
              </a:extLst>
            </p:cNvPr>
            <p:cNvSpPr/>
            <p:nvPr/>
          </p:nvSpPr>
          <p:spPr bwMode="auto">
            <a:xfrm>
              <a:off x="9864172" y="2059921"/>
              <a:ext cx="64804" cy="7436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0 h 503"/>
                <a:gd name="T8" fmla="*/ 100 w 4526"/>
                <a:gd name="T9" fmla="*/ 51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1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49 h 503"/>
                <a:gd name="T28" fmla="*/ 36 w 4526"/>
                <a:gd name="T29" fmla="*/ 383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3 h 503"/>
                <a:gd name="T58" fmla="*/ 4501 w 4526"/>
                <a:gd name="T59" fmla="*/ 361 h 503"/>
                <a:gd name="T60" fmla="*/ 4515 w 4526"/>
                <a:gd name="T61" fmla="*/ 326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4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6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3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3"/>
                  </a:lnTo>
                  <a:lnTo>
                    <a:pt x="4490" y="383"/>
                  </a:lnTo>
                  <a:lnTo>
                    <a:pt x="4496" y="371"/>
                  </a:lnTo>
                  <a:lnTo>
                    <a:pt x="4501" y="361"/>
                  </a:lnTo>
                  <a:lnTo>
                    <a:pt x="4506" y="349"/>
                  </a:lnTo>
                  <a:lnTo>
                    <a:pt x="4511" y="338"/>
                  </a:lnTo>
                  <a:lnTo>
                    <a:pt x="4515" y="326"/>
                  </a:lnTo>
                  <a:lnTo>
                    <a:pt x="4518" y="315"/>
                  </a:lnTo>
                  <a:lnTo>
                    <a:pt x="4521" y="302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4"/>
                  </a:lnTo>
                  <a:lnTo>
                    <a:pt x="4521" y="201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1"/>
                  </a:lnTo>
                  <a:lnTo>
                    <a:pt x="4416" y="44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01" name="íSļíḓé">
              <a:extLst>
                <a:ext uri="{FF2B5EF4-FFF2-40B4-BE49-F238E27FC236}">
                  <a16:creationId xmlns:a16="http://schemas.microsoft.com/office/drawing/2014/main" id="{EB80D437-5A3E-4942-AB97-D7B8234C9630}"/>
                </a:ext>
              </a:extLst>
            </p:cNvPr>
            <p:cNvSpPr/>
            <p:nvPr/>
          </p:nvSpPr>
          <p:spPr bwMode="auto">
            <a:xfrm>
              <a:off x="9864172" y="2038674"/>
              <a:ext cx="64804" cy="6905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1 h 503"/>
                <a:gd name="T8" fmla="*/ 100 w 4526"/>
                <a:gd name="T9" fmla="*/ 51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2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50 h 503"/>
                <a:gd name="T28" fmla="*/ 36 w 4526"/>
                <a:gd name="T29" fmla="*/ 383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3 h 503"/>
                <a:gd name="T58" fmla="*/ 4501 w 4526"/>
                <a:gd name="T59" fmla="*/ 361 h 503"/>
                <a:gd name="T60" fmla="*/ 4515 w 4526"/>
                <a:gd name="T61" fmla="*/ 326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4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7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0" y="37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1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3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3"/>
                  </a:lnTo>
                  <a:lnTo>
                    <a:pt x="4490" y="383"/>
                  </a:lnTo>
                  <a:lnTo>
                    <a:pt x="4496" y="372"/>
                  </a:lnTo>
                  <a:lnTo>
                    <a:pt x="4501" y="361"/>
                  </a:lnTo>
                  <a:lnTo>
                    <a:pt x="4506" y="350"/>
                  </a:lnTo>
                  <a:lnTo>
                    <a:pt x="4511" y="338"/>
                  </a:lnTo>
                  <a:lnTo>
                    <a:pt x="4515" y="326"/>
                  </a:lnTo>
                  <a:lnTo>
                    <a:pt x="4518" y="315"/>
                  </a:lnTo>
                  <a:lnTo>
                    <a:pt x="4521" y="302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4"/>
                  </a:lnTo>
                  <a:lnTo>
                    <a:pt x="4521" y="202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1"/>
                  </a:lnTo>
                  <a:lnTo>
                    <a:pt x="4416" y="44"/>
                  </a:lnTo>
                  <a:lnTo>
                    <a:pt x="4406" y="37"/>
                  </a:lnTo>
                  <a:lnTo>
                    <a:pt x="4395" y="31"/>
                  </a:lnTo>
                  <a:lnTo>
                    <a:pt x="4384" y="26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02" name="îṩḷíḑè">
              <a:extLst>
                <a:ext uri="{FF2B5EF4-FFF2-40B4-BE49-F238E27FC236}">
                  <a16:creationId xmlns:a16="http://schemas.microsoft.com/office/drawing/2014/main" id="{A96EECF7-240B-4D9F-BCE0-C48E1341E9F2}"/>
                </a:ext>
              </a:extLst>
            </p:cNvPr>
            <p:cNvSpPr/>
            <p:nvPr/>
          </p:nvSpPr>
          <p:spPr bwMode="auto">
            <a:xfrm>
              <a:off x="9943318" y="2081699"/>
              <a:ext cx="65335" cy="7436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0 h 503"/>
                <a:gd name="T8" fmla="*/ 102 w 4527"/>
                <a:gd name="T9" fmla="*/ 50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1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50 h 503"/>
                <a:gd name="T28" fmla="*/ 37 w 4527"/>
                <a:gd name="T29" fmla="*/ 382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2 h 503"/>
                <a:gd name="T58" fmla="*/ 4502 w 4527"/>
                <a:gd name="T59" fmla="*/ 361 h 503"/>
                <a:gd name="T60" fmla="*/ 4516 w 4527"/>
                <a:gd name="T61" fmla="*/ 327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3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6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3"/>
                  </a:lnTo>
                  <a:lnTo>
                    <a:pt x="102" y="50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7"/>
                  </a:lnTo>
                  <a:lnTo>
                    <a:pt x="15" y="338"/>
                  </a:lnTo>
                  <a:lnTo>
                    <a:pt x="21" y="350"/>
                  </a:lnTo>
                  <a:lnTo>
                    <a:pt x="26" y="361"/>
                  </a:lnTo>
                  <a:lnTo>
                    <a:pt x="31" y="371"/>
                  </a:lnTo>
                  <a:lnTo>
                    <a:pt x="37" y="382"/>
                  </a:lnTo>
                  <a:lnTo>
                    <a:pt x="44" y="392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4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4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2"/>
                  </a:lnTo>
                  <a:lnTo>
                    <a:pt x="4491" y="382"/>
                  </a:lnTo>
                  <a:lnTo>
                    <a:pt x="4497" y="371"/>
                  </a:lnTo>
                  <a:lnTo>
                    <a:pt x="4502" y="361"/>
                  </a:lnTo>
                  <a:lnTo>
                    <a:pt x="4507" y="350"/>
                  </a:lnTo>
                  <a:lnTo>
                    <a:pt x="4512" y="338"/>
                  </a:lnTo>
                  <a:lnTo>
                    <a:pt x="4516" y="327"/>
                  </a:lnTo>
                  <a:lnTo>
                    <a:pt x="4519" y="315"/>
                  </a:lnTo>
                  <a:lnTo>
                    <a:pt x="4522" y="303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3"/>
                  </a:lnTo>
                  <a:lnTo>
                    <a:pt x="4522" y="201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0"/>
                  </a:lnTo>
                  <a:lnTo>
                    <a:pt x="4416" y="43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03" name="išḷîďe">
              <a:extLst>
                <a:ext uri="{FF2B5EF4-FFF2-40B4-BE49-F238E27FC236}">
                  <a16:creationId xmlns:a16="http://schemas.microsoft.com/office/drawing/2014/main" id="{30AB92D2-884F-4553-B870-1AC767E73B2F}"/>
                </a:ext>
              </a:extLst>
            </p:cNvPr>
            <p:cNvSpPr/>
            <p:nvPr/>
          </p:nvSpPr>
          <p:spPr bwMode="auto">
            <a:xfrm>
              <a:off x="9943318" y="2059921"/>
              <a:ext cx="65335" cy="7436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0 h 503"/>
                <a:gd name="T8" fmla="*/ 102 w 4527"/>
                <a:gd name="T9" fmla="*/ 51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1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49 h 503"/>
                <a:gd name="T28" fmla="*/ 37 w 4527"/>
                <a:gd name="T29" fmla="*/ 383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3 h 503"/>
                <a:gd name="T58" fmla="*/ 4502 w 4527"/>
                <a:gd name="T59" fmla="*/ 361 h 503"/>
                <a:gd name="T60" fmla="*/ 4516 w 4527"/>
                <a:gd name="T61" fmla="*/ 326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4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6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4"/>
                  </a:lnTo>
                  <a:lnTo>
                    <a:pt x="102" y="51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1" y="349"/>
                  </a:lnTo>
                  <a:lnTo>
                    <a:pt x="26" y="361"/>
                  </a:lnTo>
                  <a:lnTo>
                    <a:pt x="31" y="371"/>
                  </a:lnTo>
                  <a:lnTo>
                    <a:pt x="37" y="383"/>
                  </a:lnTo>
                  <a:lnTo>
                    <a:pt x="44" y="393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3"/>
                  </a:lnTo>
                  <a:lnTo>
                    <a:pt x="4491" y="383"/>
                  </a:lnTo>
                  <a:lnTo>
                    <a:pt x="4497" y="371"/>
                  </a:lnTo>
                  <a:lnTo>
                    <a:pt x="4502" y="361"/>
                  </a:lnTo>
                  <a:lnTo>
                    <a:pt x="4507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19" y="315"/>
                  </a:lnTo>
                  <a:lnTo>
                    <a:pt x="4522" y="302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4"/>
                  </a:lnTo>
                  <a:lnTo>
                    <a:pt x="4522" y="201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1"/>
                  </a:lnTo>
                  <a:lnTo>
                    <a:pt x="4416" y="44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04" name="islïdé">
              <a:extLst>
                <a:ext uri="{FF2B5EF4-FFF2-40B4-BE49-F238E27FC236}">
                  <a16:creationId xmlns:a16="http://schemas.microsoft.com/office/drawing/2014/main" id="{D51A6372-9A7F-4B8E-A6B5-94F6E21B91A3}"/>
                </a:ext>
              </a:extLst>
            </p:cNvPr>
            <p:cNvSpPr/>
            <p:nvPr/>
          </p:nvSpPr>
          <p:spPr bwMode="auto">
            <a:xfrm>
              <a:off x="9943318" y="2038674"/>
              <a:ext cx="65335" cy="6905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1 h 503"/>
                <a:gd name="T8" fmla="*/ 102 w 4527"/>
                <a:gd name="T9" fmla="*/ 51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2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50 h 503"/>
                <a:gd name="T28" fmla="*/ 37 w 4527"/>
                <a:gd name="T29" fmla="*/ 383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3 h 503"/>
                <a:gd name="T58" fmla="*/ 4502 w 4527"/>
                <a:gd name="T59" fmla="*/ 361 h 503"/>
                <a:gd name="T60" fmla="*/ 4516 w 4527"/>
                <a:gd name="T61" fmla="*/ 326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4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7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1" y="37"/>
                  </a:lnTo>
                  <a:lnTo>
                    <a:pt x="111" y="44"/>
                  </a:lnTo>
                  <a:lnTo>
                    <a:pt x="102" y="51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1" y="350"/>
                  </a:lnTo>
                  <a:lnTo>
                    <a:pt x="26" y="361"/>
                  </a:lnTo>
                  <a:lnTo>
                    <a:pt x="31" y="372"/>
                  </a:lnTo>
                  <a:lnTo>
                    <a:pt x="37" y="383"/>
                  </a:lnTo>
                  <a:lnTo>
                    <a:pt x="44" y="393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3"/>
                  </a:lnTo>
                  <a:lnTo>
                    <a:pt x="4491" y="383"/>
                  </a:lnTo>
                  <a:lnTo>
                    <a:pt x="4497" y="372"/>
                  </a:lnTo>
                  <a:lnTo>
                    <a:pt x="4502" y="361"/>
                  </a:lnTo>
                  <a:lnTo>
                    <a:pt x="4507" y="350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19" y="315"/>
                  </a:lnTo>
                  <a:lnTo>
                    <a:pt x="4522" y="302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4"/>
                  </a:lnTo>
                  <a:lnTo>
                    <a:pt x="4522" y="202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1"/>
                  </a:lnTo>
                  <a:lnTo>
                    <a:pt x="4416" y="44"/>
                  </a:lnTo>
                  <a:lnTo>
                    <a:pt x="4406" y="37"/>
                  </a:lnTo>
                  <a:lnTo>
                    <a:pt x="4395" y="31"/>
                  </a:lnTo>
                  <a:lnTo>
                    <a:pt x="4384" y="26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05" name="iṡľiḓé">
              <a:extLst>
                <a:ext uri="{FF2B5EF4-FFF2-40B4-BE49-F238E27FC236}">
                  <a16:creationId xmlns:a16="http://schemas.microsoft.com/office/drawing/2014/main" id="{F93A46D3-E7B5-442A-8460-B480C97C22A8}"/>
                </a:ext>
              </a:extLst>
            </p:cNvPr>
            <p:cNvSpPr/>
            <p:nvPr/>
          </p:nvSpPr>
          <p:spPr bwMode="auto">
            <a:xfrm>
              <a:off x="9864172" y="1995117"/>
              <a:ext cx="144480" cy="7436"/>
            </a:xfrm>
            <a:custGeom>
              <a:avLst/>
              <a:gdLst>
                <a:gd name="T0" fmla="*/ 238 w 10059"/>
                <a:gd name="T1" fmla="*/ 1 h 503"/>
                <a:gd name="T2" fmla="*/ 201 w 10059"/>
                <a:gd name="T3" fmla="*/ 5 h 503"/>
                <a:gd name="T4" fmla="*/ 165 w 10059"/>
                <a:gd name="T5" fmla="*/ 15 h 503"/>
                <a:gd name="T6" fmla="*/ 132 w 10059"/>
                <a:gd name="T7" fmla="*/ 30 h 503"/>
                <a:gd name="T8" fmla="*/ 100 w 10059"/>
                <a:gd name="T9" fmla="*/ 50 h 503"/>
                <a:gd name="T10" fmla="*/ 73 w 10059"/>
                <a:gd name="T11" fmla="*/ 73 h 503"/>
                <a:gd name="T12" fmla="*/ 50 w 10059"/>
                <a:gd name="T13" fmla="*/ 101 h 503"/>
                <a:gd name="T14" fmla="*/ 30 w 10059"/>
                <a:gd name="T15" fmla="*/ 131 h 503"/>
                <a:gd name="T16" fmla="*/ 15 w 10059"/>
                <a:gd name="T17" fmla="*/ 165 h 503"/>
                <a:gd name="T18" fmla="*/ 5 w 10059"/>
                <a:gd name="T19" fmla="*/ 201 h 503"/>
                <a:gd name="T20" fmla="*/ 0 w 10059"/>
                <a:gd name="T21" fmla="*/ 238 h 503"/>
                <a:gd name="T22" fmla="*/ 1 w 10059"/>
                <a:gd name="T23" fmla="*/ 277 h 503"/>
                <a:gd name="T24" fmla="*/ 8 w 10059"/>
                <a:gd name="T25" fmla="*/ 314 h 503"/>
                <a:gd name="T26" fmla="*/ 20 w 10059"/>
                <a:gd name="T27" fmla="*/ 349 h 503"/>
                <a:gd name="T28" fmla="*/ 36 w 10059"/>
                <a:gd name="T29" fmla="*/ 382 h 503"/>
                <a:gd name="T30" fmla="*/ 57 w 10059"/>
                <a:gd name="T31" fmla="*/ 411 h 503"/>
                <a:gd name="T32" fmla="*/ 82 w 10059"/>
                <a:gd name="T33" fmla="*/ 437 h 503"/>
                <a:gd name="T34" fmla="*/ 110 w 10059"/>
                <a:gd name="T35" fmla="*/ 460 h 503"/>
                <a:gd name="T36" fmla="*/ 143 w 10059"/>
                <a:gd name="T37" fmla="*/ 478 h 503"/>
                <a:gd name="T38" fmla="*/ 177 w 10059"/>
                <a:gd name="T39" fmla="*/ 491 h 503"/>
                <a:gd name="T40" fmla="*/ 213 w 10059"/>
                <a:gd name="T41" fmla="*/ 499 h 503"/>
                <a:gd name="T42" fmla="*/ 251 w 10059"/>
                <a:gd name="T43" fmla="*/ 503 h 503"/>
                <a:gd name="T44" fmla="*/ 9834 w 10059"/>
                <a:gd name="T45" fmla="*/ 502 h 503"/>
                <a:gd name="T46" fmla="*/ 9870 w 10059"/>
                <a:gd name="T47" fmla="*/ 494 h 503"/>
                <a:gd name="T48" fmla="*/ 9905 w 10059"/>
                <a:gd name="T49" fmla="*/ 483 h 503"/>
                <a:gd name="T50" fmla="*/ 9938 w 10059"/>
                <a:gd name="T51" fmla="*/ 466 h 503"/>
                <a:gd name="T52" fmla="*/ 9968 w 10059"/>
                <a:gd name="T53" fmla="*/ 445 h 503"/>
                <a:gd name="T54" fmla="*/ 9994 w 10059"/>
                <a:gd name="T55" fmla="*/ 420 h 503"/>
                <a:gd name="T56" fmla="*/ 10016 w 10059"/>
                <a:gd name="T57" fmla="*/ 392 h 503"/>
                <a:gd name="T58" fmla="*/ 10034 w 10059"/>
                <a:gd name="T59" fmla="*/ 361 h 503"/>
                <a:gd name="T60" fmla="*/ 10048 w 10059"/>
                <a:gd name="T61" fmla="*/ 326 h 503"/>
                <a:gd name="T62" fmla="*/ 10056 w 10059"/>
                <a:gd name="T63" fmla="*/ 289 h 503"/>
                <a:gd name="T64" fmla="*/ 10059 w 10059"/>
                <a:gd name="T65" fmla="*/ 251 h 503"/>
                <a:gd name="T66" fmla="*/ 10056 w 10059"/>
                <a:gd name="T67" fmla="*/ 213 h 503"/>
                <a:gd name="T68" fmla="*/ 10048 w 10059"/>
                <a:gd name="T69" fmla="*/ 177 h 503"/>
                <a:gd name="T70" fmla="*/ 10034 w 10059"/>
                <a:gd name="T71" fmla="*/ 142 h 503"/>
                <a:gd name="T72" fmla="*/ 10016 w 10059"/>
                <a:gd name="T73" fmla="*/ 110 h 503"/>
                <a:gd name="T74" fmla="*/ 9994 w 10059"/>
                <a:gd name="T75" fmla="*/ 82 h 503"/>
                <a:gd name="T76" fmla="*/ 9968 w 10059"/>
                <a:gd name="T77" fmla="*/ 57 h 503"/>
                <a:gd name="T78" fmla="*/ 9938 w 10059"/>
                <a:gd name="T79" fmla="*/ 36 h 503"/>
                <a:gd name="T80" fmla="*/ 9905 w 10059"/>
                <a:gd name="T81" fmla="*/ 20 h 503"/>
                <a:gd name="T82" fmla="*/ 9870 w 10059"/>
                <a:gd name="T83" fmla="*/ 8 h 503"/>
                <a:gd name="T84" fmla="*/ 9834 w 10059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9" h="503">
                  <a:moveTo>
                    <a:pt x="9808" y="0"/>
                  </a:moveTo>
                  <a:lnTo>
                    <a:pt x="251" y="0"/>
                  </a:lnTo>
                  <a:lnTo>
                    <a:pt x="238" y="1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3"/>
                  </a:lnTo>
                  <a:lnTo>
                    <a:pt x="100" y="50"/>
                  </a:lnTo>
                  <a:lnTo>
                    <a:pt x="91" y="57"/>
                  </a:lnTo>
                  <a:lnTo>
                    <a:pt x="82" y="65"/>
                  </a:lnTo>
                  <a:lnTo>
                    <a:pt x="73" y="73"/>
                  </a:lnTo>
                  <a:lnTo>
                    <a:pt x="65" y="82"/>
                  </a:lnTo>
                  <a:lnTo>
                    <a:pt x="57" y="91"/>
                  </a:lnTo>
                  <a:lnTo>
                    <a:pt x="50" y="101"/>
                  </a:lnTo>
                  <a:lnTo>
                    <a:pt x="43" y="110"/>
                  </a:lnTo>
                  <a:lnTo>
                    <a:pt x="36" y="121"/>
                  </a:lnTo>
                  <a:lnTo>
                    <a:pt x="30" y="131"/>
                  </a:lnTo>
                  <a:lnTo>
                    <a:pt x="25" y="142"/>
                  </a:lnTo>
                  <a:lnTo>
                    <a:pt x="20" y="153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6"/>
                  </a:lnTo>
                  <a:lnTo>
                    <a:pt x="0" y="238"/>
                  </a:lnTo>
                  <a:lnTo>
                    <a:pt x="0" y="251"/>
                  </a:lnTo>
                  <a:lnTo>
                    <a:pt x="0" y="264"/>
                  </a:lnTo>
                  <a:lnTo>
                    <a:pt x="1" y="277"/>
                  </a:lnTo>
                  <a:lnTo>
                    <a:pt x="3" y="289"/>
                  </a:lnTo>
                  <a:lnTo>
                    <a:pt x="5" y="302"/>
                  </a:lnTo>
                  <a:lnTo>
                    <a:pt x="8" y="314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2"/>
                  </a:lnTo>
                  <a:lnTo>
                    <a:pt x="57" y="411"/>
                  </a:lnTo>
                  <a:lnTo>
                    <a:pt x="65" y="420"/>
                  </a:lnTo>
                  <a:lnTo>
                    <a:pt x="73" y="429"/>
                  </a:lnTo>
                  <a:lnTo>
                    <a:pt x="82" y="437"/>
                  </a:lnTo>
                  <a:lnTo>
                    <a:pt x="91" y="445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6"/>
                  </a:lnTo>
                  <a:lnTo>
                    <a:pt x="132" y="472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7"/>
                  </a:lnTo>
                  <a:lnTo>
                    <a:pt x="177" y="491"/>
                  </a:lnTo>
                  <a:lnTo>
                    <a:pt x="189" y="494"/>
                  </a:lnTo>
                  <a:lnTo>
                    <a:pt x="201" y="497"/>
                  </a:lnTo>
                  <a:lnTo>
                    <a:pt x="213" y="499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9808" y="503"/>
                  </a:lnTo>
                  <a:lnTo>
                    <a:pt x="9821" y="503"/>
                  </a:lnTo>
                  <a:lnTo>
                    <a:pt x="9834" y="502"/>
                  </a:lnTo>
                  <a:lnTo>
                    <a:pt x="9846" y="499"/>
                  </a:lnTo>
                  <a:lnTo>
                    <a:pt x="9858" y="497"/>
                  </a:lnTo>
                  <a:lnTo>
                    <a:pt x="9870" y="494"/>
                  </a:lnTo>
                  <a:lnTo>
                    <a:pt x="9882" y="491"/>
                  </a:lnTo>
                  <a:lnTo>
                    <a:pt x="9894" y="487"/>
                  </a:lnTo>
                  <a:lnTo>
                    <a:pt x="9905" y="483"/>
                  </a:lnTo>
                  <a:lnTo>
                    <a:pt x="9916" y="478"/>
                  </a:lnTo>
                  <a:lnTo>
                    <a:pt x="9927" y="472"/>
                  </a:lnTo>
                  <a:lnTo>
                    <a:pt x="9938" y="466"/>
                  </a:lnTo>
                  <a:lnTo>
                    <a:pt x="9948" y="460"/>
                  </a:lnTo>
                  <a:lnTo>
                    <a:pt x="9959" y="453"/>
                  </a:lnTo>
                  <a:lnTo>
                    <a:pt x="9968" y="445"/>
                  </a:lnTo>
                  <a:lnTo>
                    <a:pt x="9977" y="437"/>
                  </a:lnTo>
                  <a:lnTo>
                    <a:pt x="9986" y="429"/>
                  </a:lnTo>
                  <a:lnTo>
                    <a:pt x="9994" y="420"/>
                  </a:lnTo>
                  <a:lnTo>
                    <a:pt x="10002" y="411"/>
                  </a:lnTo>
                  <a:lnTo>
                    <a:pt x="10009" y="402"/>
                  </a:lnTo>
                  <a:lnTo>
                    <a:pt x="10016" y="392"/>
                  </a:lnTo>
                  <a:lnTo>
                    <a:pt x="10023" y="382"/>
                  </a:lnTo>
                  <a:lnTo>
                    <a:pt x="10029" y="371"/>
                  </a:lnTo>
                  <a:lnTo>
                    <a:pt x="10034" y="361"/>
                  </a:lnTo>
                  <a:lnTo>
                    <a:pt x="10039" y="349"/>
                  </a:lnTo>
                  <a:lnTo>
                    <a:pt x="10044" y="338"/>
                  </a:lnTo>
                  <a:lnTo>
                    <a:pt x="10048" y="326"/>
                  </a:lnTo>
                  <a:lnTo>
                    <a:pt x="10051" y="314"/>
                  </a:lnTo>
                  <a:lnTo>
                    <a:pt x="10054" y="302"/>
                  </a:lnTo>
                  <a:lnTo>
                    <a:pt x="10056" y="289"/>
                  </a:lnTo>
                  <a:lnTo>
                    <a:pt x="10058" y="277"/>
                  </a:lnTo>
                  <a:lnTo>
                    <a:pt x="10059" y="264"/>
                  </a:lnTo>
                  <a:lnTo>
                    <a:pt x="10059" y="251"/>
                  </a:lnTo>
                  <a:lnTo>
                    <a:pt x="10059" y="238"/>
                  </a:lnTo>
                  <a:lnTo>
                    <a:pt x="10058" y="226"/>
                  </a:lnTo>
                  <a:lnTo>
                    <a:pt x="10056" y="213"/>
                  </a:lnTo>
                  <a:lnTo>
                    <a:pt x="10054" y="201"/>
                  </a:lnTo>
                  <a:lnTo>
                    <a:pt x="10051" y="189"/>
                  </a:lnTo>
                  <a:lnTo>
                    <a:pt x="10048" y="177"/>
                  </a:lnTo>
                  <a:lnTo>
                    <a:pt x="10044" y="165"/>
                  </a:lnTo>
                  <a:lnTo>
                    <a:pt x="10039" y="153"/>
                  </a:lnTo>
                  <a:lnTo>
                    <a:pt x="10034" y="142"/>
                  </a:lnTo>
                  <a:lnTo>
                    <a:pt x="10029" y="131"/>
                  </a:lnTo>
                  <a:lnTo>
                    <a:pt x="10023" y="121"/>
                  </a:lnTo>
                  <a:lnTo>
                    <a:pt x="10016" y="110"/>
                  </a:lnTo>
                  <a:lnTo>
                    <a:pt x="10009" y="101"/>
                  </a:lnTo>
                  <a:lnTo>
                    <a:pt x="10002" y="91"/>
                  </a:lnTo>
                  <a:lnTo>
                    <a:pt x="9994" y="82"/>
                  </a:lnTo>
                  <a:lnTo>
                    <a:pt x="9986" y="73"/>
                  </a:lnTo>
                  <a:lnTo>
                    <a:pt x="9977" y="65"/>
                  </a:lnTo>
                  <a:lnTo>
                    <a:pt x="9968" y="57"/>
                  </a:lnTo>
                  <a:lnTo>
                    <a:pt x="9959" y="50"/>
                  </a:lnTo>
                  <a:lnTo>
                    <a:pt x="9948" y="43"/>
                  </a:lnTo>
                  <a:lnTo>
                    <a:pt x="9938" y="36"/>
                  </a:lnTo>
                  <a:lnTo>
                    <a:pt x="9927" y="30"/>
                  </a:lnTo>
                  <a:lnTo>
                    <a:pt x="9916" y="25"/>
                  </a:lnTo>
                  <a:lnTo>
                    <a:pt x="9905" y="20"/>
                  </a:lnTo>
                  <a:lnTo>
                    <a:pt x="9894" y="15"/>
                  </a:lnTo>
                  <a:lnTo>
                    <a:pt x="9882" y="11"/>
                  </a:lnTo>
                  <a:lnTo>
                    <a:pt x="9870" y="8"/>
                  </a:lnTo>
                  <a:lnTo>
                    <a:pt x="9858" y="5"/>
                  </a:lnTo>
                  <a:lnTo>
                    <a:pt x="9846" y="3"/>
                  </a:lnTo>
                  <a:lnTo>
                    <a:pt x="9834" y="1"/>
                  </a:lnTo>
                  <a:lnTo>
                    <a:pt x="9821" y="1"/>
                  </a:lnTo>
                  <a:lnTo>
                    <a:pt x="98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06" name="iṣļîdé">
              <a:extLst>
                <a:ext uri="{FF2B5EF4-FFF2-40B4-BE49-F238E27FC236}">
                  <a16:creationId xmlns:a16="http://schemas.microsoft.com/office/drawing/2014/main" id="{7B10BD22-BE66-4290-80B7-9284D6E8F39A}"/>
                </a:ext>
              </a:extLst>
            </p:cNvPr>
            <p:cNvSpPr/>
            <p:nvPr/>
          </p:nvSpPr>
          <p:spPr bwMode="auto">
            <a:xfrm>
              <a:off x="9864172" y="2016895"/>
              <a:ext cx="144480" cy="6905"/>
            </a:xfrm>
            <a:custGeom>
              <a:avLst/>
              <a:gdLst>
                <a:gd name="T0" fmla="*/ 238 w 10059"/>
                <a:gd name="T1" fmla="*/ 0 h 503"/>
                <a:gd name="T2" fmla="*/ 201 w 10059"/>
                <a:gd name="T3" fmla="*/ 5 h 503"/>
                <a:gd name="T4" fmla="*/ 165 w 10059"/>
                <a:gd name="T5" fmla="*/ 16 h 503"/>
                <a:gd name="T6" fmla="*/ 132 w 10059"/>
                <a:gd name="T7" fmla="*/ 31 h 503"/>
                <a:gd name="T8" fmla="*/ 100 w 10059"/>
                <a:gd name="T9" fmla="*/ 51 h 503"/>
                <a:gd name="T10" fmla="*/ 73 w 10059"/>
                <a:gd name="T11" fmla="*/ 74 h 503"/>
                <a:gd name="T12" fmla="*/ 50 w 10059"/>
                <a:gd name="T13" fmla="*/ 102 h 503"/>
                <a:gd name="T14" fmla="*/ 30 w 10059"/>
                <a:gd name="T15" fmla="*/ 132 h 503"/>
                <a:gd name="T16" fmla="*/ 15 w 10059"/>
                <a:gd name="T17" fmla="*/ 165 h 503"/>
                <a:gd name="T18" fmla="*/ 5 w 10059"/>
                <a:gd name="T19" fmla="*/ 202 h 503"/>
                <a:gd name="T20" fmla="*/ 0 w 10059"/>
                <a:gd name="T21" fmla="*/ 239 h 503"/>
                <a:gd name="T22" fmla="*/ 1 w 10059"/>
                <a:gd name="T23" fmla="*/ 278 h 503"/>
                <a:gd name="T24" fmla="*/ 8 w 10059"/>
                <a:gd name="T25" fmla="*/ 315 h 503"/>
                <a:gd name="T26" fmla="*/ 20 w 10059"/>
                <a:gd name="T27" fmla="*/ 350 h 503"/>
                <a:gd name="T28" fmla="*/ 36 w 10059"/>
                <a:gd name="T29" fmla="*/ 383 h 503"/>
                <a:gd name="T30" fmla="*/ 57 w 10059"/>
                <a:gd name="T31" fmla="*/ 412 h 503"/>
                <a:gd name="T32" fmla="*/ 82 w 10059"/>
                <a:gd name="T33" fmla="*/ 438 h 503"/>
                <a:gd name="T34" fmla="*/ 110 w 10059"/>
                <a:gd name="T35" fmla="*/ 460 h 503"/>
                <a:gd name="T36" fmla="*/ 143 w 10059"/>
                <a:gd name="T37" fmla="*/ 478 h 503"/>
                <a:gd name="T38" fmla="*/ 177 w 10059"/>
                <a:gd name="T39" fmla="*/ 492 h 503"/>
                <a:gd name="T40" fmla="*/ 213 w 10059"/>
                <a:gd name="T41" fmla="*/ 500 h 503"/>
                <a:gd name="T42" fmla="*/ 251 w 10059"/>
                <a:gd name="T43" fmla="*/ 503 h 503"/>
                <a:gd name="T44" fmla="*/ 9834 w 10059"/>
                <a:gd name="T45" fmla="*/ 502 h 503"/>
                <a:gd name="T46" fmla="*/ 9870 w 10059"/>
                <a:gd name="T47" fmla="*/ 495 h 503"/>
                <a:gd name="T48" fmla="*/ 9905 w 10059"/>
                <a:gd name="T49" fmla="*/ 483 h 503"/>
                <a:gd name="T50" fmla="*/ 9938 w 10059"/>
                <a:gd name="T51" fmla="*/ 467 h 503"/>
                <a:gd name="T52" fmla="*/ 9968 w 10059"/>
                <a:gd name="T53" fmla="*/ 446 h 503"/>
                <a:gd name="T54" fmla="*/ 9994 w 10059"/>
                <a:gd name="T55" fmla="*/ 421 h 503"/>
                <a:gd name="T56" fmla="*/ 10016 w 10059"/>
                <a:gd name="T57" fmla="*/ 393 h 503"/>
                <a:gd name="T58" fmla="*/ 10034 w 10059"/>
                <a:gd name="T59" fmla="*/ 362 h 503"/>
                <a:gd name="T60" fmla="*/ 10048 w 10059"/>
                <a:gd name="T61" fmla="*/ 326 h 503"/>
                <a:gd name="T62" fmla="*/ 10056 w 10059"/>
                <a:gd name="T63" fmla="*/ 290 h 503"/>
                <a:gd name="T64" fmla="*/ 10059 w 10059"/>
                <a:gd name="T65" fmla="*/ 252 h 503"/>
                <a:gd name="T66" fmla="*/ 10056 w 10059"/>
                <a:gd name="T67" fmla="*/ 214 h 503"/>
                <a:gd name="T68" fmla="*/ 10048 w 10059"/>
                <a:gd name="T69" fmla="*/ 177 h 503"/>
                <a:gd name="T70" fmla="*/ 10034 w 10059"/>
                <a:gd name="T71" fmla="*/ 143 h 503"/>
                <a:gd name="T72" fmla="*/ 10016 w 10059"/>
                <a:gd name="T73" fmla="*/ 112 h 503"/>
                <a:gd name="T74" fmla="*/ 9994 w 10059"/>
                <a:gd name="T75" fmla="*/ 83 h 503"/>
                <a:gd name="T76" fmla="*/ 9968 w 10059"/>
                <a:gd name="T77" fmla="*/ 58 h 503"/>
                <a:gd name="T78" fmla="*/ 9938 w 10059"/>
                <a:gd name="T79" fmla="*/ 37 h 503"/>
                <a:gd name="T80" fmla="*/ 9905 w 10059"/>
                <a:gd name="T81" fmla="*/ 21 h 503"/>
                <a:gd name="T82" fmla="*/ 9870 w 10059"/>
                <a:gd name="T83" fmla="*/ 8 h 503"/>
                <a:gd name="T84" fmla="*/ 9834 w 10059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9" h="503">
                  <a:moveTo>
                    <a:pt x="9808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2"/>
                  </a:lnTo>
                  <a:lnTo>
                    <a:pt x="165" y="16"/>
                  </a:lnTo>
                  <a:lnTo>
                    <a:pt x="154" y="21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0" y="37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2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90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2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4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9808" y="503"/>
                  </a:lnTo>
                  <a:lnTo>
                    <a:pt x="9821" y="503"/>
                  </a:lnTo>
                  <a:lnTo>
                    <a:pt x="9834" y="502"/>
                  </a:lnTo>
                  <a:lnTo>
                    <a:pt x="9846" y="500"/>
                  </a:lnTo>
                  <a:lnTo>
                    <a:pt x="9858" y="498"/>
                  </a:lnTo>
                  <a:lnTo>
                    <a:pt x="9870" y="495"/>
                  </a:lnTo>
                  <a:lnTo>
                    <a:pt x="9882" y="492"/>
                  </a:lnTo>
                  <a:lnTo>
                    <a:pt x="9894" y="488"/>
                  </a:lnTo>
                  <a:lnTo>
                    <a:pt x="9905" y="483"/>
                  </a:lnTo>
                  <a:lnTo>
                    <a:pt x="9916" y="478"/>
                  </a:lnTo>
                  <a:lnTo>
                    <a:pt x="9927" y="473"/>
                  </a:lnTo>
                  <a:lnTo>
                    <a:pt x="9938" y="467"/>
                  </a:lnTo>
                  <a:lnTo>
                    <a:pt x="9948" y="460"/>
                  </a:lnTo>
                  <a:lnTo>
                    <a:pt x="9959" y="454"/>
                  </a:lnTo>
                  <a:lnTo>
                    <a:pt x="9968" y="446"/>
                  </a:lnTo>
                  <a:lnTo>
                    <a:pt x="9977" y="438"/>
                  </a:lnTo>
                  <a:lnTo>
                    <a:pt x="9986" y="430"/>
                  </a:lnTo>
                  <a:lnTo>
                    <a:pt x="9994" y="421"/>
                  </a:lnTo>
                  <a:lnTo>
                    <a:pt x="10002" y="412"/>
                  </a:lnTo>
                  <a:lnTo>
                    <a:pt x="10009" y="403"/>
                  </a:lnTo>
                  <a:lnTo>
                    <a:pt x="10016" y="393"/>
                  </a:lnTo>
                  <a:lnTo>
                    <a:pt x="10023" y="383"/>
                  </a:lnTo>
                  <a:lnTo>
                    <a:pt x="10029" y="372"/>
                  </a:lnTo>
                  <a:lnTo>
                    <a:pt x="10034" y="362"/>
                  </a:lnTo>
                  <a:lnTo>
                    <a:pt x="10039" y="350"/>
                  </a:lnTo>
                  <a:lnTo>
                    <a:pt x="10044" y="338"/>
                  </a:lnTo>
                  <a:lnTo>
                    <a:pt x="10048" y="326"/>
                  </a:lnTo>
                  <a:lnTo>
                    <a:pt x="10051" y="315"/>
                  </a:lnTo>
                  <a:lnTo>
                    <a:pt x="10054" y="302"/>
                  </a:lnTo>
                  <a:lnTo>
                    <a:pt x="10056" y="290"/>
                  </a:lnTo>
                  <a:lnTo>
                    <a:pt x="10058" y="278"/>
                  </a:lnTo>
                  <a:lnTo>
                    <a:pt x="10059" y="265"/>
                  </a:lnTo>
                  <a:lnTo>
                    <a:pt x="10059" y="252"/>
                  </a:lnTo>
                  <a:lnTo>
                    <a:pt x="10059" y="239"/>
                  </a:lnTo>
                  <a:lnTo>
                    <a:pt x="10058" y="227"/>
                  </a:lnTo>
                  <a:lnTo>
                    <a:pt x="10056" y="214"/>
                  </a:lnTo>
                  <a:lnTo>
                    <a:pt x="10054" y="202"/>
                  </a:lnTo>
                  <a:lnTo>
                    <a:pt x="10051" y="190"/>
                  </a:lnTo>
                  <a:lnTo>
                    <a:pt x="10048" y="177"/>
                  </a:lnTo>
                  <a:lnTo>
                    <a:pt x="10044" y="165"/>
                  </a:lnTo>
                  <a:lnTo>
                    <a:pt x="10039" y="154"/>
                  </a:lnTo>
                  <a:lnTo>
                    <a:pt x="10034" y="143"/>
                  </a:lnTo>
                  <a:lnTo>
                    <a:pt x="10029" y="132"/>
                  </a:lnTo>
                  <a:lnTo>
                    <a:pt x="10023" y="122"/>
                  </a:lnTo>
                  <a:lnTo>
                    <a:pt x="10016" y="112"/>
                  </a:lnTo>
                  <a:lnTo>
                    <a:pt x="10009" y="102"/>
                  </a:lnTo>
                  <a:lnTo>
                    <a:pt x="10002" y="92"/>
                  </a:lnTo>
                  <a:lnTo>
                    <a:pt x="9994" y="83"/>
                  </a:lnTo>
                  <a:lnTo>
                    <a:pt x="9986" y="74"/>
                  </a:lnTo>
                  <a:lnTo>
                    <a:pt x="9977" y="66"/>
                  </a:lnTo>
                  <a:lnTo>
                    <a:pt x="9968" y="58"/>
                  </a:lnTo>
                  <a:lnTo>
                    <a:pt x="9959" y="51"/>
                  </a:lnTo>
                  <a:lnTo>
                    <a:pt x="9948" y="44"/>
                  </a:lnTo>
                  <a:lnTo>
                    <a:pt x="9938" y="37"/>
                  </a:lnTo>
                  <a:lnTo>
                    <a:pt x="9927" y="31"/>
                  </a:lnTo>
                  <a:lnTo>
                    <a:pt x="9916" y="26"/>
                  </a:lnTo>
                  <a:lnTo>
                    <a:pt x="9905" y="21"/>
                  </a:lnTo>
                  <a:lnTo>
                    <a:pt x="9894" y="16"/>
                  </a:lnTo>
                  <a:lnTo>
                    <a:pt x="9882" y="12"/>
                  </a:lnTo>
                  <a:lnTo>
                    <a:pt x="9870" y="8"/>
                  </a:lnTo>
                  <a:lnTo>
                    <a:pt x="9858" y="5"/>
                  </a:lnTo>
                  <a:lnTo>
                    <a:pt x="9846" y="3"/>
                  </a:lnTo>
                  <a:lnTo>
                    <a:pt x="9834" y="1"/>
                  </a:lnTo>
                  <a:lnTo>
                    <a:pt x="9821" y="0"/>
                  </a:lnTo>
                  <a:lnTo>
                    <a:pt x="98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07" name="îś1iďe">
              <a:extLst>
                <a:ext uri="{FF2B5EF4-FFF2-40B4-BE49-F238E27FC236}">
                  <a16:creationId xmlns:a16="http://schemas.microsoft.com/office/drawing/2014/main" id="{91E468C7-41C7-4D2C-BD5F-52EA7CBFEAA9}"/>
                </a:ext>
              </a:extLst>
            </p:cNvPr>
            <p:cNvSpPr/>
            <p:nvPr/>
          </p:nvSpPr>
          <p:spPr bwMode="auto">
            <a:xfrm>
              <a:off x="9864172" y="1915441"/>
              <a:ext cx="64804" cy="65335"/>
            </a:xfrm>
            <a:custGeom>
              <a:avLst/>
              <a:gdLst>
                <a:gd name="T0" fmla="*/ 3521 w 4526"/>
                <a:gd name="T1" fmla="*/ 3519 h 4525"/>
                <a:gd name="T2" fmla="*/ 503 w 4526"/>
                <a:gd name="T3" fmla="*/ 4525 h 4525"/>
                <a:gd name="T4" fmla="*/ 4075 w 4526"/>
                <a:gd name="T5" fmla="*/ 4522 h 4525"/>
                <a:gd name="T6" fmla="*/ 4149 w 4526"/>
                <a:gd name="T7" fmla="*/ 4508 h 4525"/>
                <a:gd name="T8" fmla="*/ 4220 w 4526"/>
                <a:gd name="T9" fmla="*/ 4485 h 4525"/>
                <a:gd name="T10" fmla="*/ 4284 w 4526"/>
                <a:gd name="T11" fmla="*/ 4452 h 4525"/>
                <a:gd name="T12" fmla="*/ 4343 w 4526"/>
                <a:gd name="T13" fmla="*/ 4410 h 4525"/>
                <a:gd name="T14" fmla="*/ 4396 w 4526"/>
                <a:gd name="T15" fmla="*/ 4360 h 4525"/>
                <a:gd name="T16" fmla="*/ 4441 w 4526"/>
                <a:gd name="T17" fmla="*/ 4302 h 4525"/>
                <a:gd name="T18" fmla="*/ 4477 w 4526"/>
                <a:gd name="T19" fmla="*/ 4240 h 4525"/>
                <a:gd name="T20" fmla="*/ 4504 w 4526"/>
                <a:gd name="T21" fmla="*/ 4172 h 4525"/>
                <a:gd name="T22" fmla="*/ 4520 w 4526"/>
                <a:gd name="T23" fmla="*/ 4098 h 4525"/>
                <a:gd name="T24" fmla="*/ 4526 w 4526"/>
                <a:gd name="T25" fmla="*/ 4022 h 4525"/>
                <a:gd name="T26" fmla="*/ 4523 w 4526"/>
                <a:gd name="T27" fmla="*/ 452 h 4525"/>
                <a:gd name="T28" fmla="*/ 4510 w 4526"/>
                <a:gd name="T29" fmla="*/ 377 h 4525"/>
                <a:gd name="T30" fmla="*/ 4487 w 4526"/>
                <a:gd name="T31" fmla="*/ 308 h 4525"/>
                <a:gd name="T32" fmla="*/ 4454 w 4526"/>
                <a:gd name="T33" fmla="*/ 242 h 4525"/>
                <a:gd name="T34" fmla="*/ 4412 w 4526"/>
                <a:gd name="T35" fmla="*/ 183 h 4525"/>
                <a:gd name="T36" fmla="*/ 4361 w 4526"/>
                <a:gd name="T37" fmla="*/ 131 h 4525"/>
                <a:gd name="T38" fmla="*/ 4305 w 4526"/>
                <a:gd name="T39" fmla="*/ 85 h 4525"/>
                <a:gd name="T40" fmla="*/ 4242 w 4526"/>
                <a:gd name="T41" fmla="*/ 49 h 4525"/>
                <a:gd name="T42" fmla="*/ 4173 w 4526"/>
                <a:gd name="T43" fmla="*/ 22 h 4525"/>
                <a:gd name="T44" fmla="*/ 4100 w 4526"/>
                <a:gd name="T45" fmla="*/ 6 h 4525"/>
                <a:gd name="T46" fmla="*/ 4024 w 4526"/>
                <a:gd name="T47" fmla="*/ 0 h 4525"/>
                <a:gd name="T48" fmla="*/ 451 w 4526"/>
                <a:gd name="T49" fmla="*/ 3 h 4525"/>
                <a:gd name="T50" fmla="*/ 377 w 4526"/>
                <a:gd name="T51" fmla="*/ 16 h 4525"/>
                <a:gd name="T52" fmla="*/ 307 w 4526"/>
                <a:gd name="T53" fmla="*/ 39 h 4525"/>
                <a:gd name="T54" fmla="*/ 242 w 4526"/>
                <a:gd name="T55" fmla="*/ 72 h 4525"/>
                <a:gd name="T56" fmla="*/ 183 w 4526"/>
                <a:gd name="T57" fmla="*/ 115 h 4525"/>
                <a:gd name="T58" fmla="*/ 131 w 4526"/>
                <a:gd name="T59" fmla="*/ 165 h 4525"/>
                <a:gd name="T60" fmla="*/ 85 w 4526"/>
                <a:gd name="T61" fmla="*/ 222 h 4525"/>
                <a:gd name="T62" fmla="*/ 49 w 4526"/>
                <a:gd name="T63" fmla="*/ 285 h 4525"/>
                <a:gd name="T64" fmla="*/ 22 w 4526"/>
                <a:gd name="T65" fmla="*/ 353 h 4525"/>
                <a:gd name="T66" fmla="*/ 6 w 4526"/>
                <a:gd name="T67" fmla="*/ 426 h 4525"/>
                <a:gd name="T68" fmla="*/ 0 w 4526"/>
                <a:gd name="T69" fmla="*/ 503 h 4525"/>
                <a:gd name="T70" fmla="*/ 3 w 4526"/>
                <a:gd name="T71" fmla="*/ 4073 h 4525"/>
                <a:gd name="T72" fmla="*/ 16 w 4526"/>
                <a:gd name="T73" fmla="*/ 4147 h 4525"/>
                <a:gd name="T74" fmla="*/ 39 w 4526"/>
                <a:gd name="T75" fmla="*/ 4218 h 4525"/>
                <a:gd name="T76" fmla="*/ 72 w 4526"/>
                <a:gd name="T77" fmla="*/ 4282 h 4525"/>
                <a:gd name="T78" fmla="*/ 114 w 4526"/>
                <a:gd name="T79" fmla="*/ 4342 h 4525"/>
                <a:gd name="T80" fmla="*/ 165 w 4526"/>
                <a:gd name="T81" fmla="*/ 4394 h 4525"/>
                <a:gd name="T82" fmla="*/ 221 w 4526"/>
                <a:gd name="T83" fmla="*/ 4439 h 4525"/>
                <a:gd name="T84" fmla="*/ 284 w 4526"/>
                <a:gd name="T85" fmla="*/ 4475 h 4525"/>
                <a:gd name="T86" fmla="*/ 353 w 4526"/>
                <a:gd name="T87" fmla="*/ 4501 h 4525"/>
                <a:gd name="T88" fmla="*/ 426 w 4526"/>
                <a:gd name="T89" fmla="*/ 4519 h 4525"/>
                <a:gd name="T90" fmla="*/ 503 w 4526"/>
                <a:gd name="T91" fmla="*/ 4525 h 4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526" h="4525">
                  <a:moveTo>
                    <a:pt x="1006" y="1004"/>
                  </a:moveTo>
                  <a:lnTo>
                    <a:pt x="3521" y="1004"/>
                  </a:lnTo>
                  <a:lnTo>
                    <a:pt x="3521" y="3519"/>
                  </a:lnTo>
                  <a:lnTo>
                    <a:pt x="1006" y="3519"/>
                  </a:lnTo>
                  <a:lnTo>
                    <a:pt x="1006" y="1004"/>
                  </a:lnTo>
                  <a:close/>
                  <a:moveTo>
                    <a:pt x="503" y="4525"/>
                  </a:moveTo>
                  <a:lnTo>
                    <a:pt x="4024" y="4525"/>
                  </a:lnTo>
                  <a:lnTo>
                    <a:pt x="4050" y="4524"/>
                  </a:lnTo>
                  <a:lnTo>
                    <a:pt x="4075" y="4522"/>
                  </a:lnTo>
                  <a:lnTo>
                    <a:pt x="4100" y="4519"/>
                  </a:lnTo>
                  <a:lnTo>
                    <a:pt x="4125" y="4515"/>
                  </a:lnTo>
                  <a:lnTo>
                    <a:pt x="4149" y="4508"/>
                  </a:lnTo>
                  <a:lnTo>
                    <a:pt x="4173" y="4501"/>
                  </a:lnTo>
                  <a:lnTo>
                    <a:pt x="4197" y="4494"/>
                  </a:lnTo>
                  <a:lnTo>
                    <a:pt x="4220" y="4485"/>
                  </a:lnTo>
                  <a:lnTo>
                    <a:pt x="4242" y="4475"/>
                  </a:lnTo>
                  <a:lnTo>
                    <a:pt x="4263" y="4464"/>
                  </a:lnTo>
                  <a:lnTo>
                    <a:pt x="4284" y="4452"/>
                  </a:lnTo>
                  <a:lnTo>
                    <a:pt x="4305" y="4439"/>
                  </a:lnTo>
                  <a:lnTo>
                    <a:pt x="4324" y="4425"/>
                  </a:lnTo>
                  <a:lnTo>
                    <a:pt x="4343" y="4410"/>
                  </a:lnTo>
                  <a:lnTo>
                    <a:pt x="4361" y="4394"/>
                  </a:lnTo>
                  <a:lnTo>
                    <a:pt x="4380" y="4378"/>
                  </a:lnTo>
                  <a:lnTo>
                    <a:pt x="4396" y="4360"/>
                  </a:lnTo>
                  <a:lnTo>
                    <a:pt x="4412" y="4342"/>
                  </a:lnTo>
                  <a:lnTo>
                    <a:pt x="4427" y="4322"/>
                  </a:lnTo>
                  <a:lnTo>
                    <a:pt x="4441" y="4302"/>
                  </a:lnTo>
                  <a:lnTo>
                    <a:pt x="4454" y="4282"/>
                  </a:lnTo>
                  <a:lnTo>
                    <a:pt x="4466" y="4261"/>
                  </a:lnTo>
                  <a:lnTo>
                    <a:pt x="4477" y="4240"/>
                  </a:lnTo>
                  <a:lnTo>
                    <a:pt x="4487" y="4218"/>
                  </a:lnTo>
                  <a:lnTo>
                    <a:pt x="4496" y="4195"/>
                  </a:lnTo>
                  <a:lnTo>
                    <a:pt x="4504" y="4172"/>
                  </a:lnTo>
                  <a:lnTo>
                    <a:pt x="4510" y="4147"/>
                  </a:lnTo>
                  <a:lnTo>
                    <a:pt x="4516" y="4123"/>
                  </a:lnTo>
                  <a:lnTo>
                    <a:pt x="4520" y="4098"/>
                  </a:lnTo>
                  <a:lnTo>
                    <a:pt x="4523" y="4073"/>
                  </a:lnTo>
                  <a:lnTo>
                    <a:pt x="4525" y="4048"/>
                  </a:lnTo>
                  <a:lnTo>
                    <a:pt x="4526" y="4022"/>
                  </a:lnTo>
                  <a:lnTo>
                    <a:pt x="4526" y="503"/>
                  </a:lnTo>
                  <a:lnTo>
                    <a:pt x="4525" y="477"/>
                  </a:lnTo>
                  <a:lnTo>
                    <a:pt x="4523" y="452"/>
                  </a:lnTo>
                  <a:lnTo>
                    <a:pt x="4520" y="426"/>
                  </a:lnTo>
                  <a:lnTo>
                    <a:pt x="4516" y="401"/>
                  </a:lnTo>
                  <a:lnTo>
                    <a:pt x="4510" y="377"/>
                  </a:lnTo>
                  <a:lnTo>
                    <a:pt x="4504" y="353"/>
                  </a:lnTo>
                  <a:lnTo>
                    <a:pt x="4496" y="330"/>
                  </a:lnTo>
                  <a:lnTo>
                    <a:pt x="4487" y="308"/>
                  </a:lnTo>
                  <a:lnTo>
                    <a:pt x="4477" y="285"/>
                  </a:lnTo>
                  <a:lnTo>
                    <a:pt x="4466" y="263"/>
                  </a:lnTo>
                  <a:lnTo>
                    <a:pt x="4454" y="242"/>
                  </a:lnTo>
                  <a:lnTo>
                    <a:pt x="4441" y="222"/>
                  </a:lnTo>
                  <a:lnTo>
                    <a:pt x="4427" y="202"/>
                  </a:lnTo>
                  <a:lnTo>
                    <a:pt x="4412" y="183"/>
                  </a:lnTo>
                  <a:lnTo>
                    <a:pt x="4396" y="165"/>
                  </a:lnTo>
                  <a:lnTo>
                    <a:pt x="4380" y="148"/>
                  </a:lnTo>
                  <a:lnTo>
                    <a:pt x="4361" y="131"/>
                  </a:lnTo>
                  <a:lnTo>
                    <a:pt x="4343" y="115"/>
                  </a:lnTo>
                  <a:lnTo>
                    <a:pt x="4324" y="99"/>
                  </a:lnTo>
                  <a:lnTo>
                    <a:pt x="4305" y="85"/>
                  </a:lnTo>
                  <a:lnTo>
                    <a:pt x="4284" y="72"/>
                  </a:lnTo>
                  <a:lnTo>
                    <a:pt x="4263" y="60"/>
                  </a:lnTo>
                  <a:lnTo>
                    <a:pt x="4242" y="49"/>
                  </a:lnTo>
                  <a:lnTo>
                    <a:pt x="4220" y="39"/>
                  </a:lnTo>
                  <a:lnTo>
                    <a:pt x="4197" y="30"/>
                  </a:lnTo>
                  <a:lnTo>
                    <a:pt x="4173" y="22"/>
                  </a:lnTo>
                  <a:lnTo>
                    <a:pt x="4149" y="16"/>
                  </a:lnTo>
                  <a:lnTo>
                    <a:pt x="4125" y="10"/>
                  </a:lnTo>
                  <a:lnTo>
                    <a:pt x="4100" y="6"/>
                  </a:lnTo>
                  <a:lnTo>
                    <a:pt x="4075" y="3"/>
                  </a:lnTo>
                  <a:lnTo>
                    <a:pt x="4050" y="1"/>
                  </a:lnTo>
                  <a:lnTo>
                    <a:pt x="4024" y="0"/>
                  </a:lnTo>
                  <a:lnTo>
                    <a:pt x="503" y="0"/>
                  </a:lnTo>
                  <a:lnTo>
                    <a:pt x="477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4" y="49"/>
                  </a:lnTo>
                  <a:lnTo>
                    <a:pt x="262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8"/>
                  </a:lnTo>
                  <a:lnTo>
                    <a:pt x="131" y="165"/>
                  </a:lnTo>
                  <a:lnTo>
                    <a:pt x="114" y="183"/>
                  </a:lnTo>
                  <a:lnTo>
                    <a:pt x="99" y="202"/>
                  </a:lnTo>
                  <a:lnTo>
                    <a:pt x="85" y="222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8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0" y="4022"/>
                  </a:lnTo>
                  <a:lnTo>
                    <a:pt x="1" y="4048"/>
                  </a:lnTo>
                  <a:lnTo>
                    <a:pt x="3" y="4073"/>
                  </a:lnTo>
                  <a:lnTo>
                    <a:pt x="6" y="4098"/>
                  </a:lnTo>
                  <a:lnTo>
                    <a:pt x="10" y="4123"/>
                  </a:lnTo>
                  <a:lnTo>
                    <a:pt x="16" y="4147"/>
                  </a:lnTo>
                  <a:lnTo>
                    <a:pt x="22" y="4172"/>
                  </a:lnTo>
                  <a:lnTo>
                    <a:pt x="30" y="4195"/>
                  </a:lnTo>
                  <a:lnTo>
                    <a:pt x="39" y="4218"/>
                  </a:lnTo>
                  <a:lnTo>
                    <a:pt x="49" y="4240"/>
                  </a:lnTo>
                  <a:lnTo>
                    <a:pt x="60" y="4261"/>
                  </a:lnTo>
                  <a:lnTo>
                    <a:pt x="72" y="4282"/>
                  </a:lnTo>
                  <a:lnTo>
                    <a:pt x="85" y="4302"/>
                  </a:lnTo>
                  <a:lnTo>
                    <a:pt x="99" y="4322"/>
                  </a:lnTo>
                  <a:lnTo>
                    <a:pt x="114" y="4342"/>
                  </a:lnTo>
                  <a:lnTo>
                    <a:pt x="131" y="4360"/>
                  </a:lnTo>
                  <a:lnTo>
                    <a:pt x="147" y="4378"/>
                  </a:lnTo>
                  <a:lnTo>
                    <a:pt x="165" y="4394"/>
                  </a:lnTo>
                  <a:lnTo>
                    <a:pt x="183" y="4410"/>
                  </a:lnTo>
                  <a:lnTo>
                    <a:pt x="202" y="4425"/>
                  </a:lnTo>
                  <a:lnTo>
                    <a:pt x="221" y="4439"/>
                  </a:lnTo>
                  <a:lnTo>
                    <a:pt x="242" y="4452"/>
                  </a:lnTo>
                  <a:lnTo>
                    <a:pt x="262" y="4464"/>
                  </a:lnTo>
                  <a:lnTo>
                    <a:pt x="284" y="4475"/>
                  </a:lnTo>
                  <a:lnTo>
                    <a:pt x="307" y="4485"/>
                  </a:lnTo>
                  <a:lnTo>
                    <a:pt x="330" y="4494"/>
                  </a:lnTo>
                  <a:lnTo>
                    <a:pt x="353" y="4501"/>
                  </a:lnTo>
                  <a:lnTo>
                    <a:pt x="377" y="4508"/>
                  </a:lnTo>
                  <a:lnTo>
                    <a:pt x="401" y="4515"/>
                  </a:lnTo>
                  <a:lnTo>
                    <a:pt x="426" y="4519"/>
                  </a:lnTo>
                  <a:lnTo>
                    <a:pt x="451" y="4522"/>
                  </a:lnTo>
                  <a:lnTo>
                    <a:pt x="477" y="4524"/>
                  </a:lnTo>
                  <a:lnTo>
                    <a:pt x="503" y="45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08" name="îsḻïďe">
              <a:extLst>
                <a:ext uri="{FF2B5EF4-FFF2-40B4-BE49-F238E27FC236}">
                  <a16:creationId xmlns:a16="http://schemas.microsoft.com/office/drawing/2014/main" id="{7834434F-2401-441A-BAA7-126361F294B1}"/>
                </a:ext>
              </a:extLst>
            </p:cNvPr>
            <p:cNvSpPr/>
            <p:nvPr/>
          </p:nvSpPr>
          <p:spPr bwMode="auto">
            <a:xfrm>
              <a:off x="10934630" y="51645"/>
              <a:ext cx="613338" cy="401842"/>
            </a:xfrm>
            <a:custGeom>
              <a:avLst/>
              <a:gdLst>
                <a:gd name="T0" fmla="*/ 8477 w 16095"/>
                <a:gd name="T1" fmla="*/ 6935 h 10545"/>
                <a:gd name="T2" fmla="*/ 8249 w 16095"/>
                <a:gd name="T3" fmla="*/ 7011 h 10545"/>
                <a:gd name="T4" fmla="*/ 8006 w 16095"/>
                <a:gd name="T5" fmla="*/ 7030 h 10545"/>
                <a:gd name="T6" fmla="*/ 7768 w 16095"/>
                <a:gd name="T7" fmla="*/ 6992 h 10545"/>
                <a:gd name="T8" fmla="*/ 7547 w 16095"/>
                <a:gd name="T9" fmla="*/ 6897 h 10545"/>
                <a:gd name="T10" fmla="*/ 1006 w 16095"/>
                <a:gd name="T11" fmla="*/ 2010 h 10545"/>
                <a:gd name="T12" fmla="*/ 1038 w 16095"/>
                <a:gd name="T13" fmla="*/ 1758 h 10545"/>
                <a:gd name="T14" fmla="*/ 1152 w 16095"/>
                <a:gd name="T15" fmla="*/ 1488 h 10545"/>
                <a:gd name="T16" fmla="*/ 1336 w 16095"/>
                <a:gd name="T17" fmla="*/ 1265 h 10545"/>
                <a:gd name="T18" fmla="*/ 1576 w 16095"/>
                <a:gd name="T19" fmla="*/ 1104 h 10545"/>
                <a:gd name="T20" fmla="*/ 1859 w 16095"/>
                <a:gd name="T21" fmla="*/ 1016 h 10545"/>
                <a:gd name="T22" fmla="*/ 14186 w 16095"/>
                <a:gd name="T23" fmla="*/ 1009 h 10545"/>
                <a:gd name="T24" fmla="*/ 14474 w 16095"/>
                <a:gd name="T25" fmla="*/ 1084 h 10545"/>
                <a:gd name="T26" fmla="*/ 14723 w 16095"/>
                <a:gd name="T27" fmla="*/ 1234 h 10545"/>
                <a:gd name="T28" fmla="*/ 14917 w 16095"/>
                <a:gd name="T29" fmla="*/ 1447 h 10545"/>
                <a:gd name="T30" fmla="*/ 15044 w 16095"/>
                <a:gd name="T31" fmla="*/ 1710 h 10545"/>
                <a:gd name="T32" fmla="*/ 15089 w 16095"/>
                <a:gd name="T33" fmla="*/ 2009 h 10545"/>
                <a:gd name="T34" fmla="*/ 15089 w 16095"/>
                <a:gd name="T35" fmla="*/ 8535 h 10545"/>
                <a:gd name="T36" fmla="*/ 15044 w 16095"/>
                <a:gd name="T37" fmla="*/ 8835 h 10545"/>
                <a:gd name="T38" fmla="*/ 14917 w 16095"/>
                <a:gd name="T39" fmla="*/ 9097 h 10545"/>
                <a:gd name="T40" fmla="*/ 14723 w 16095"/>
                <a:gd name="T41" fmla="*/ 9311 h 10545"/>
                <a:gd name="T42" fmla="*/ 14474 w 16095"/>
                <a:gd name="T43" fmla="*/ 9461 h 10545"/>
                <a:gd name="T44" fmla="*/ 14186 w 16095"/>
                <a:gd name="T45" fmla="*/ 9535 h 10545"/>
                <a:gd name="T46" fmla="*/ 1859 w 16095"/>
                <a:gd name="T47" fmla="*/ 9529 h 10545"/>
                <a:gd name="T48" fmla="*/ 1576 w 16095"/>
                <a:gd name="T49" fmla="*/ 9441 h 10545"/>
                <a:gd name="T50" fmla="*/ 1336 w 16095"/>
                <a:gd name="T51" fmla="*/ 9280 h 10545"/>
                <a:gd name="T52" fmla="*/ 1152 w 16095"/>
                <a:gd name="T53" fmla="*/ 9057 h 10545"/>
                <a:gd name="T54" fmla="*/ 1038 w 16095"/>
                <a:gd name="T55" fmla="*/ 8786 h 10545"/>
                <a:gd name="T56" fmla="*/ 4945 w 16095"/>
                <a:gd name="T57" fmla="*/ 5587 h 10545"/>
                <a:gd name="T58" fmla="*/ 7271 w 16095"/>
                <a:gd name="T59" fmla="*/ 7318 h 10545"/>
                <a:gd name="T60" fmla="*/ 7435 w 16095"/>
                <a:gd name="T61" fmla="*/ 7403 h 10545"/>
                <a:gd name="T62" fmla="*/ 7605 w 16095"/>
                <a:gd name="T63" fmla="*/ 7466 h 10545"/>
                <a:gd name="T64" fmla="*/ 7780 w 16095"/>
                <a:gd name="T65" fmla="*/ 7509 h 10545"/>
                <a:gd name="T66" fmla="*/ 7958 w 16095"/>
                <a:gd name="T67" fmla="*/ 7530 h 10545"/>
                <a:gd name="T68" fmla="*/ 8137 w 16095"/>
                <a:gd name="T69" fmla="*/ 7530 h 10545"/>
                <a:gd name="T70" fmla="*/ 8315 w 16095"/>
                <a:gd name="T71" fmla="*/ 7509 h 10545"/>
                <a:gd name="T72" fmla="*/ 8490 w 16095"/>
                <a:gd name="T73" fmla="*/ 7466 h 10545"/>
                <a:gd name="T74" fmla="*/ 8660 w 16095"/>
                <a:gd name="T75" fmla="*/ 7403 h 10545"/>
                <a:gd name="T76" fmla="*/ 8823 w 16095"/>
                <a:gd name="T77" fmla="*/ 7318 h 10545"/>
                <a:gd name="T78" fmla="*/ 11150 w 16095"/>
                <a:gd name="T79" fmla="*/ 5587 h 10545"/>
                <a:gd name="T80" fmla="*/ 14083 w 16095"/>
                <a:gd name="T81" fmla="*/ 0 h 10545"/>
                <a:gd name="T82" fmla="*/ 1509 w 16095"/>
                <a:gd name="T83" fmla="*/ 63 h 10545"/>
                <a:gd name="T84" fmla="*/ 969 w 16095"/>
                <a:gd name="T85" fmla="*/ 291 h 10545"/>
                <a:gd name="T86" fmla="*/ 523 w 16095"/>
                <a:gd name="T87" fmla="*/ 658 h 10545"/>
                <a:gd name="T88" fmla="*/ 198 w 16095"/>
                <a:gd name="T89" fmla="*/ 1138 h 10545"/>
                <a:gd name="T90" fmla="*/ 23 w 16095"/>
                <a:gd name="T91" fmla="*/ 1702 h 10545"/>
                <a:gd name="T92" fmla="*/ 10 w 16095"/>
                <a:gd name="T93" fmla="*/ 8741 h 10545"/>
                <a:gd name="T94" fmla="*/ 158 w 16095"/>
                <a:gd name="T95" fmla="*/ 9318 h 10545"/>
                <a:gd name="T96" fmla="*/ 460 w 16095"/>
                <a:gd name="T97" fmla="*/ 9814 h 10545"/>
                <a:gd name="T98" fmla="*/ 887 w 16095"/>
                <a:gd name="T99" fmla="*/ 10202 h 10545"/>
                <a:gd name="T100" fmla="*/ 1413 w 16095"/>
                <a:gd name="T101" fmla="*/ 10455 h 10545"/>
                <a:gd name="T102" fmla="*/ 2012 w 16095"/>
                <a:gd name="T103" fmla="*/ 10545 h 10545"/>
                <a:gd name="T104" fmla="*/ 14586 w 16095"/>
                <a:gd name="T105" fmla="*/ 10482 h 10545"/>
                <a:gd name="T106" fmla="*/ 15126 w 16095"/>
                <a:gd name="T107" fmla="*/ 10254 h 10545"/>
                <a:gd name="T108" fmla="*/ 15572 w 16095"/>
                <a:gd name="T109" fmla="*/ 9886 h 10545"/>
                <a:gd name="T110" fmla="*/ 15897 w 16095"/>
                <a:gd name="T111" fmla="*/ 9407 h 10545"/>
                <a:gd name="T112" fmla="*/ 16072 w 16095"/>
                <a:gd name="T113" fmla="*/ 8842 h 10545"/>
                <a:gd name="T114" fmla="*/ 16085 w 16095"/>
                <a:gd name="T115" fmla="*/ 1803 h 10545"/>
                <a:gd name="T116" fmla="*/ 15937 w 16095"/>
                <a:gd name="T117" fmla="*/ 1227 h 10545"/>
                <a:gd name="T118" fmla="*/ 15635 w 16095"/>
                <a:gd name="T119" fmla="*/ 731 h 10545"/>
                <a:gd name="T120" fmla="*/ 15208 w 16095"/>
                <a:gd name="T121" fmla="*/ 343 h 10545"/>
                <a:gd name="T122" fmla="*/ 14682 w 16095"/>
                <a:gd name="T123" fmla="*/ 90 h 10545"/>
                <a:gd name="T124" fmla="*/ 14083 w 16095"/>
                <a:gd name="T125" fmla="*/ 0 h 10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95" h="10545">
                  <a:moveTo>
                    <a:pt x="8651" y="6830"/>
                  </a:moveTo>
                  <a:lnTo>
                    <a:pt x="8618" y="6853"/>
                  </a:lnTo>
                  <a:lnTo>
                    <a:pt x="8584" y="6876"/>
                  </a:lnTo>
                  <a:lnTo>
                    <a:pt x="8548" y="6897"/>
                  </a:lnTo>
                  <a:lnTo>
                    <a:pt x="8513" y="6917"/>
                  </a:lnTo>
                  <a:lnTo>
                    <a:pt x="8477" y="6935"/>
                  </a:lnTo>
                  <a:lnTo>
                    <a:pt x="8441" y="6951"/>
                  </a:lnTo>
                  <a:lnTo>
                    <a:pt x="8404" y="6966"/>
                  </a:lnTo>
                  <a:lnTo>
                    <a:pt x="8365" y="6980"/>
                  </a:lnTo>
                  <a:lnTo>
                    <a:pt x="8327" y="6992"/>
                  </a:lnTo>
                  <a:lnTo>
                    <a:pt x="8288" y="7002"/>
                  </a:lnTo>
                  <a:lnTo>
                    <a:pt x="8249" y="7011"/>
                  </a:lnTo>
                  <a:lnTo>
                    <a:pt x="8209" y="7018"/>
                  </a:lnTo>
                  <a:lnTo>
                    <a:pt x="8169" y="7023"/>
                  </a:lnTo>
                  <a:lnTo>
                    <a:pt x="8129" y="7027"/>
                  </a:lnTo>
                  <a:lnTo>
                    <a:pt x="8089" y="7030"/>
                  </a:lnTo>
                  <a:lnTo>
                    <a:pt x="8048" y="7031"/>
                  </a:lnTo>
                  <a:lnTo>
                    <a:pt x="8006" y="7030"/>
                  </a:lnTo>
                  <a:lnTo>
                    <a:pt x="7966" y="7027"/>
                  </a:lnTo>
                  <a:lnTo>
                    <a:pt x="7926" y="7023"/>
                  </a:lnTo>
                  <a:lnTo>
                    <a:pt x="7886" y="7018"/>
                  </a:lnTo>
                  <a:lnTo>
                    <a:pt x="7845" y="7011"/>
                  </a:lnTo>
                  <a:lnTo>
                    <a:pt x="7806" y="7002"/>
                  </a:lnTo>
                  <a:lnTo>
                    <a:pt x="7768" y="6992"/>
                  </a:lnTo>
                  <a:lnTo>
                    <a:pt x="7730" y="6980"/>
                  </a:lnTo>
                  <a:lnTo>
                    <a:pt x="7691" y="6966"/>
                  </a:lnTo>
                  <a:lnTo>
                    <a:pt x="7654" y="6951"/>
                  </a:lnTo>
                  <a:lnTo>
                    <a:pt x="7618" y="6935"/>
                  </a:lnTo>
                  <a:lnTo>
                    <a:pt x="7582" y="6917"/>
                  </a:lnTo>
                  <a:lnTo>
                    <a:pt x="7547" y="6897"/>
                  </a:lnTo>
                  <a:lnTo>
                    <a:pt x="7511" y="6876"/>
                  </a:lnTo>
                  <a:lnTo>
                    <a:pt x="7477" y="6853"/>
                  </a:lnTo>
                  <a:lnTo>
                    <a:pt x="7444" y="6830"/>
                  </a:lnTo>
                  <a:lnTo>
                    <a:pt x="5364" y="5273"/>
                  </a:lnTo>
                  <a:lnTo>
                    <a:pt x="4945" y="4958"/>
                  </a:lnTo>
                  <a:lnTo>
                    <a:pt x="1006" y="2010"/>
                  </a:lnTo>
                  <a:lnTo>
                    <a:pt x="1006" y="2009"/>
                  </a:lnTo>
                  <a:lnTo>
                    <a:pt x="1007" y="1957"/>
                  </a:lnTo>
                  <a:lnTo>
                    <a:pt x="1011" y="1906"/>
                  </a:lnTo>
                  <a:lnTo>
                    <a:pt x="1018" y="1856"/>
                  </a:lnTo>
                  <a:lnTo>
                    <a:pt x="1026" y="1807"/>
                  </a:lnTo>
                  <a:lnTo>
                    <a:pt x="1038" y="1758"/>
                  </a:lnTo>
                  <a:lnTo>
                    <a:pt x="1051" y="1710"/>
                  </a:lnTo>
                  <a:lnTo>
                    <a:pt x="1067" y="1663"/>
                  </a:lnTo>
                  <a:lnTo>
                    <a:pt x="1085" y="1618"/>
                  </a:lnTo>
                  <a:lnTo>
                    <a:pt x="1106" y="1574"/>
                  </a:lnTo>
                  <a:lnTo>
                    <a:pt x="1128" y="1531"/>
                  </a:lnTo>
                  <a:lnTo>
                    <a:pt x="1152" y="1488"/>
                  </a:lnTo>
                  <a:lnTo>
                    <a:pt x="1178" y="1447"/>
                  </a:lnTo>
                  <a:lnTo>
                    <a:pt x="1206" y="1408"/>
                  </a:lnTo>
                  <a:lnTo>
                    <a:pt x="1236" y="1370"/>
                  </a:lnTo>
                  <a:lnTo>
                    <a:pt x="1267" y="1334"/>
                  </a:lnTo>
                  <a:lnTo>
                    <a:pt x="1301" y="1299"/>
                  </a:lnTo>
                  <a:lnTo>
                    <a:pt x="1336" y="1265"/>
                  </a:lnTo>
                  <a:lnTo>
                    <a:pt x="1372" y="1234"/>
                  </a:lnTo>
                  <a:lnTo>
                    <a:pt x="1410" y="1204"/>
                  </a:lnTo>
                  <a:lnTo>
                    <a:pt x="1450" y="1176"/>
                  </a:lnTo>
                  <a:lnTo>
                    <a:pt x="1491" y="1150"/>
                  </a:lnTo>
                  <a:lnTo>
                    <a:pt x="1533" y="1126"/>
                  </a:lnTo>
                  <a:lnTo>
                    <a:pt x="1576" y="1104"/>
                  </a:lnTo>
                  <a:lnTo>
                    <a:pt x="1621" y="1084"/>
                  </a:lnTo>
                  <a:lnTo>
                    <a:pt x="1666" y="1066"/>
                  </a:lnTo>
                  <a:lnTo>
                    <a:pt x="1713" y="1049"/>
                  </a:lnTo>
                  <a:lnTo>
                    <a:pt x="1760" y="1036"/>
                  </a:lnTo>
                  <a:lnTo>
                    <a:pt x="1810" y="1024"/>
                  </a:lnTo>
                  <a:lnTo>
                    <a:pt x="1859" y="1016"/>
                  </a:lnTo>
                  <a:lnTo>
                    <a:pt x="1909" y="1009"/>
                  </a:lnTo>
                  <a:lnTo>
                    <a:pt x="1961" y="1005"/>
                  </a:lnTo>
                  <a:lnTo>
                    <a:pt x="2012" y="1004"/>
                  </a:lnTo>
                  <a:lnTo>
                    <a:pt x="14083" y="1004"/>
                  </a:lnTo>
                  <a:lnTo>
                    <a:pt x="14134" y="1005"/>
                  </a:lnTo>
                  <a:lnTo>
                    <a:pt x="14186" y="1009"/>
                  </a:lnTo>
                  <a:lnTo>
                    <a:pt x="14236" y="1016"/>
                  </a:lnTo>
                  <a:lnTo>
                    <a:pt x="14285" y="1024"/>
                  </a:lnTo>
                  <a:lnTo>
                    <a:pt x="14335" y="1036"/>
                  </a:lnTo>
                  <a:lnTo>
                    <a:pt x="14382" y="1049"/>
                  </a:lnTo>
                  <a:lnTo>
                    <a:pt x="14428" y="1066"/>
                  </a:lnTo>
                  <a:lnTo>
                    <a:pt x="14474" y="1084"/>
                  </a:lnTo>
                  <a:lnTo>
                    <a:pt x="14519" y="1104"/>
                  </a:lnTo>
                  <a:lnTo>
                    <a:pt x="14562" y="1126"/>
                  </a:lnTo>
                  <a:lnTo>
                    <a:pt x="14604" y="1150"/>
                  </a:lnTo>
                  <a:lnTo>
                    <a:pt x="14645" y="1176"/>
                  </a:lnTo>
                  <a:lnTo>
                    <a:pt x="14685" y="1204"/>
                  </a:lnTo>
                  <a:lnTo>
                    <a:pt x="14723" y="1234"/>
                  </a:lnTo>
                  <a:lnTo>
                    <a:pt x="14759" y="1265"/>
                  </a:lnTo>
                  <a:lnTo>
                    <a:pt x="14794" y="1299"/>
                  </a:lnTo>
                  <a:lnTo>
                    <a:pt x="14828" y="1334"/>
                  </a:lnTo>
                  <a:lnTo>
                    <a:pt x="14859" y="1370"/>
                  </a:lnTo>
                  <a:lnTo>
                    <a:pt x="14889" y="1408"/>
                  </a:lnTo>
                  <a:lnTo>
                    <a:pt x="14917" y="1447"/>
                  </a:lnTo>
                  <a:lnTo>
                    <a:pt x="14943" y="1488"/>
                  </a:lnTo>
                  <a:lnTo>
                    <a:pt x="14967" y="1531"/>
                  </a:lnTo>
                  <a:lnTo>
                    <a:pt x="14989" y="1574"/>
                  </a:lnTo>
                  <a:lnTo>
                    <a:pt x="15010" y="1618"/>
                  </a:lnTo>
                  <a:lnTo>
                    <a:pt x="15028" y="1663"/>
                  </a:lnTo>
                  <a:lnTo>
                    <a:pt x="15044" y="1710"/>
                  </a:lnTo>
                  <a:lnTo>
                    <a:pt x="15058" y="1758"/>
                  </a:lnTo>
                  <a:lnTo>
                    <a:pt x="15069" y="1807"/>
                  </a:lnTo>
                  <a:lnTo>
                    <a:pt x="15078" y="1856"/>
                  </a:lnTo>
                  <a:lnTo>
                    <a:pt x="15084" y="1906"/>
                  </a:lnTo>
                  <a:lnTo>
                    <a:pt x="15088" y="1957"/>
                  </a:lnTo>
                  <a:lnTo>
                    <a:pt x="15089" y="2009"/>
                  </a:lnTo>
                  <a:lnTo>
                    <a:pt x="8651" y="6830"/>
                  </a:lnTo>
                  <a:close/>
                  <a:moveTo>
                    <a:pt x="15089" y="7908"/>
                  </a:moveTo>
                  <a:lnTo>
                    <a:pt x="11569" y="5273"/>
                  </a:lnTo>
                  <a:lnTo>
                    <a:pt x="15089" y="2636"/>
                  </a:lnTo>
                  <a:lnTo>
                    <a:pt x="15089" y="7908"/>
                  </a:lnTo>
                  <a:close/>
                  <a:moveTo>
                    <a:pt x="15089" y="8535"/>
                  </a:moveTo>
                  <a:lnTo>
                    <a:pt x="15088" y="8588"/>
                  </a:lnTo>
                  <a:lnTo>
                    <a:pt x="15084" y="8639"/>
                  </a:lnTo>
                  <a:lnTo>
                    <a:pt x="15078" y="8689"/>
                  </a:lnTo>
                  <a:lnTo>
                    <a:pt x="15069" y="8738"/>
                  </a:lnTo>
                  <a:lnTo>
                    <a:pt x="15058" y="8786"/>
                  </a:lnTo>
                  <a:lnTo>
                    <a:pt x="15044" y="8835"/>
                  </a:lnTo>
                  <a:lnTo>
                    <a:pt x="15028" y="8881"/>
                  </a:lnTo>
                  <a:lnTo>
                    <a:pt x="15010" y="8927"/>
                  </a:lnTo>
                  <a:lnTo>
                    <a:pt x="14989" y="8971"/>
                  </a:lnTo>
                  <a:lnTo>
                    <a:pt x="14967" y="9014"/>
                  </a:lnTo>
                  <a:lnTo>
                    <a:pt x="14943" y="9057"/>
                  </a:lnTo>
                  <a:lnTo>
                    <a:pt x="14917" y="9097"/>
                  </a:lnTo>
                  <a:lnTo>
                    <a:pt x="14889" y="9137"/>
                  </a:lnTo>
                  <a:lnTo>
                    <a:pt x="14859" y="9174"/>
                  </a:lnTo>
                  <a:lnTo>
                    <a:pt x="14828" y="9211"/>
                  </a:lnTo>
                  <a:lnTo>
                    <a:pt x="14794" y="9246"/>
                  </a:lnTo>
                  <a:lnTo>
                    <a:pt x="14759" y="9280"/>
                  </a:lnTo>
                  <a:lnTo>
                    <a:pt x="14723" y="9311"/>
                  </a:lnTo>
                  <a:lnTo>
                    <a:pt x="14685" y="9341"/>
                  </a:lnTo>
                  <a:lnTo>
                    <a:pt x="14645" y="9369"/>
                  </a:lnTo>
                  <a:lnTo>
                    <a:pt x="14604" y="9395"/>
                  </a:lnTo>
                  <a:lnTo>
                    <a:pt x="14562" y="9419"/>
                  </a:lnTo>
                  <a:lnTo>
                    <a:pt x="14519" y="9441"/>
                  </a:lnTo>
                  <a:lnTo>
                    <a:pt x="14474" y="9461"/>
                  </a:lnTo>
                  <a:lnTo>
                    <a:pt x="14428" y="9479"/>
                  </a:lnTo>
                  <a:lnTo>
                    <a:pt x="14382" y="9496"/>
                  </a:lnTo>
                  <a:lnTo>
                    <a:pt x="14335" y="9509"/>
                  </a:lnTo>
                  <a:lnTo>
                    <a:pt x="14285" y="9520"/>
                  </a:lnTo>
                  <a:lnTo>
                    <a:pt x="14236" y="9529"/>
                  </a:lnTo>
                  <a:lnTo>
                    <a:pt x="14186" y="9535"/>
                  </a:lnTo>
                  <a:lnTo>
                    <a:pt x="14134" y="9539"/>
                  </a:lnTo>
                  <a:lnTo>
                    <a:pt x="14083" y="9540"/>
                  </a:lnTo>
                  <a:lnTo>
                    <a:pt x="2012" y="9540"/>
                  </a:lnTo>
                  <a:lnTo>
                    <a:pt x="1961" y="9539"/>
                  </a:lnTo>
                  <a:lnTo>
                    <a:pt x="1909" y="9535"/>
                  </a:lnTo>
                  <a:lnTo>
                    <a:pt x="1859" y="9529"/>
                  </a:lnTo>
                  <a:lnTo>
                    <a:pt x="1810" y="9520"/>
                  </a:lnTo>
                  <a:lnTo>
                    <a:pt x="1760" y="9509"/>
                  </a:lnTo>
                  <a:lnTo>
                    <a:pt x="1713" y="9496"/>
                  </a:lnTo>
                  <a:lnTo>
                    <a:pt x="1666" y="9479"/>
                  </a:lnTo>
                  <a:lnTo>
                    <a:pt x="1621" y="9461"/>
                  </a:lnTo>
                  <a:lnTo>
                    <a:pt x="1576" y="9441"/>
                  </a:lnTo>
                  <a:lnTo>
                    <a:pt x="1533" y="9419"/>
                  </a:lnTo>
                  <a:lnTo>
                    <a:pt x="1491" y="9395"/>
                  </a:lnTo>
                  <a:lnTo>
                    <a:pt x="1450" y="9369"/>
                  </a:lnTo>
                  <a:lnTo>
                    <a:pt x="1410" y="9341"/>
                  </a:lnTo>
                  <a:lnTo>
                    <a:pt x="1372" y="9311"/>
                  </a:lnTo>
                  <a:lnTo>
                    <a:pt x="1336" y="9280"/>
                  </a:lnTo>
                  <a:lnTo>
                    <a:pt x="1301" y="9246"/>
                  </a:lnTo>
                  <a:lnTo>
                    <a:pt x="1267" y="9211"/>
                  </a:lnTo>
                  <a:lnTo>
                    <a:pt x="1236" y="9174"/>
                  </a:lnTo>
                  <a:lnTo>
                    <a:pt x="1206" y="9137"/>
                  </a:lnTo>
                  <a:lnTo>
                    <a:pt x="1178" y="9097"/>
                  </a:lnTo>
                  <a:lnTo>
                    <a:pt x="1152" y="9057"/>
                  </a:lnTo>
                  <a:lnTo>
                    <a:pt x="1128" y="9014"/>
                  </a:lnTo>
                  <a:lnTo>
                    <a:pt x="1106" y="8971"/>
                  </a:lnTo>
                  <a:lnTo>
                    <a:pt x="1085" y="8927"/>
                  </a:lnTo>
                  <a:lnTo>
                    <a:pt x="1067" y="8881"/>
                  </a:lnTo>
                  <a:lnTo>
                    <a:pt x="1051" y="8835"/>
                  </a:lnTo>
                  <a:lnTo>
                    <a:pt x="1038" y="8786"/>
                  </a:lnTo>
                  <a:lnTo>
                    <a:pt x="1026" y="8738"/>
                  </a:lnTo>
                  <a:lnTo>
                    <a:pt x="1018" y="8689"/>
                  </a:lnTo>
                  <a:lnTo>
                    <a:pt x="1011" y="8639"/>
                  </a:lnTo>
                  <a:lnTo>
                    <a:pt x="1007" y="8588"/>
                  </a:lnTo>
                  <a:lnTo>
                    <a:pt x="1006" y="8535"/>
                  </a:lnTo>
                  <a:lnTo>
                    <a:pt x="4945" y="5587"/>
                  </a:lnTo>
                  <a:lnTo>
                    <a:pt x="7142" y="7232"/>
                  </a:lnTo>
                  <a:lnTo>
                    <a:pt x="7167" y="7250"/>
                  </a:lnTo>
                  <a:lnTo>
                    <a:pt x="7193" y="7268"/>
                  </a:lnTo>
                  <a:lnTo>
                    <a:pt x="7219" y="7285"/>
                  </a:lnTo>
                  <a:lnTo>
                    <a:pt x="7245" y="7302"/>
                  </a:lnTo>
                  <a:lnTo>
                    <a:pt x="7271" y="7318"/>
                  </a:lnTo>
                  <a:lnTo>
                    <a:pt x="7298" y="7333"/>
                  </a:lnTo>
                  <a:lnTo>
                    <a:pt x="7325" y="7348"/>
                  </a:lnTo>
                  <a:lnTo>
                    <a:pt x="7352" y="7363"/>
                  </a:lnTo>
                  <a:lnTo>
                    <a:pt x="7380" y="7376"/>
                  </a:lnTo>
                  <a:lnTo>
                    <a:pt x="7407" y="7391"/>
                  </a:lnTo>
                  <a:lnTo>
                    <a:pt x="7435" y="7403"/>
                  </a:lnTo>
                  <a:lnTo>
                    <a:pt x="7462" y="7415"/>
                  </a:lnTo>
                  <a:lnTo>
                    <a:pt x="7490" y="7427"/>
                  </a:lnTo>
                  <a:lnTo>
                    <a:pt x="7518" y="7437"/>
                  </a:lnTo>
                  <a:lnTo>
                    <a:pt x="7548" y="7448"/>
                  </a:lnTo>
                  <a:lnTo>
                    <a:pt x="7576" y="7457"/>
                  </a:lnTo>
                  <a:lnTo>
                    <a:pt x="7605" y="7466"/>
                  </a:lnTo>
                  <a:lnTo>
                    <a:pt x="7633" y="7475"/>
                  </a:lnTo>
                  <a:lnTo>
                    <a:pt x="7662" y="7483"/>
                  </a:lnTo>
                  <a:lnTo>
                    <a:pt x="7691" y="7490"/>
                  </a:lnTo>
                  <a:lnTo>
                    <a:pt x="7721" y="7497"/>
                  </a:lnTo>
                  <a:lnTo>
                    <a:pt x="7750" y="7503"/>
                  </a:lnTo>
                  <a:lnTo>
                    <a:pt x="7780" y="7509"/>
                  </a:lnTo>
                  <a:lnTo>
                    <a:pt x="7809" y="7514"/>
                  </a:lnTo>
                  <a:lnTo>
                    <a:pt x="7839" y="7518"/>
                  </a:lnTo>
                  <a:lnTo>
                    <a:pt x="7868" y="7522"/>
                  </a:lnTo>
                  <a:lnTo>
                    <a:pt x="7899" y="7525"/>
                  </a:lnTo>
                  <a:lnTo>
                    <a:pt x="7928" y="7528"/>
                  </a:lnTo>
                  <a:lnTo>
                    <a:pt x="7958" y="7530"/>
                  </a:lnTo>
                  <a:lnTo>
                    <a:pt x="7988" y="7531"/>
                  </a:lnTo>
                  <a:lnTo>
                    <a:pt x="8017" y="7532"/>
                  </a:lnTo>
                  <a:lnTo>
                    <a:pt x="8048" y="7532"/>
                  </a:lnTo>
                  <a:lnTo>
                    <a:pt x="8078" y="7532"/>
                  </a:lnTo>
                  <a:lnTo>
                    <a:pt x="8107" y="7531"/>
                  </a:lnTo>
                  <a:lnTo>
                    <a:pt x="8137" y="7530"/>
                  </a:lnTo>
                  <a:lnTo>
                    <a:pt x="8167" y="7528"/>
                  </a:lnTo>
                  <a:lnTo>
                    <a:pt x="8196" y="7525"/>
                  </a:lnTo>
                  <a:lnTo>
                    <a:pt x="8227" y="7522"/>
                  </a:lnTo>
                  <a:lnTo>
                    <a:pt x="8256" y="7518"/>
                  </a:lnTo>
                  <a:lnTo>
                    <a:pt x="8286" y="7514"/>
                  </a:lnTo>
                  <a:lnTo>
                    <a:pt x="8315" y="7509"/>
                  </a:lnTo>
                  <a:lnTo>
                    <a:pt x="8344" y="7503"/>
                  </a:lnTo>
                  <a:lnTo>
                    <a:pt x="8374" y="7497"/>
                  </a:lnTo>
                  <a:lnTo>
                    <a:pt x="8404" y="7490"/>
                  </a:lnTo>
                  <a:lnTo>
                    <a:pt x="8433" y="7483"/>
                  </a:lnTo>
                  <a:lnTo>
                    <a:pt x="8461" y="7475"/>
                  </a:lnTo>
                  <a:lnTo>
                    <a:pt x="8490" y="7466"/>
                  </a:lnTo>
                  <a:lnTo>
                    <a:pt x="8519" y="7457"/>
                  </a:lnTo>
                  <a:lnTo>
                    <a:pt x="8547" y="7448"/>
                  </a:lnTo>
                  <a:lnTo>
                    <a:pt x="8576" y="7437"/>
                  </a:lnTo>
                  <a:lnTo>
                    <a:pt x="8605" y="7427"/>
                  </a:lnTo>
                  <a:lnTo>
                    <a:pt x="8632" y="7415"/>
                  </a:lnTo>
                  <a:lnTo>
                    <a:pt x="8660" y="7403"/>
                  </a:lnTo>
                  <a:lnTo>
                    <a:pt x="8688" y="7391"/>
                  </a:lnTo>
                  <a:lnTo>
                    <a:pt x="8715" y="7376"/>
                  </a:lnTo>
                  <a:lnTo>
                    <a:pt x="8743" y="7363"/>
                  </a:lnTo>
                  <a:lnTo>
                    <a:pt x="8770" y="7348"/>
                  </a:lnTo>
                  <a:lnTo>
                    <a:pt x="8797" y="7333"/>
                  </a:lnTo>
                  <a:lnTo>
                    <a:pt x="8823" y="7318"/>
                  </a:lnTo>
                  <a:lnTo>
                    <a:pt x="8850" y="7302"/>
                  </a:lnTo>
                  <a:lnTo>
                    <a:pt x="8876" y="7285"/>
                  </a:lnTo>
                  <a:lnTo>
                    <a:pt x="8902" y="7268"/>
                  </a:lnTo>
                  <a:lnTo>
                    <a:pt x="8928" y="7250"/>
                  </a:lnTo>
                  <a:lnTo>
                    <a:pt x="8953" y="7232"/>
                  </a:lnTo>
                  <a:lnTo>
                    <a:pt x="11150" y="5587"/>
                  </a:lnTo>
                  <a:lnTo>
                    <a:pt x="15089" y="8535"/>
                  </a:lnTo>
                  <a:close/>
                  <a:moveTo>
                    <a:pt x="1006" y="2636"/>
                  </a:moveTo>
                  <a:lnTo>
                    <a:pt x="4527" y="5273"/>
                  </a:lnTo>
                  <a:lnTo>
                    <a:pt x="1006" y="7908"/>
                  </a:lnTo>
                  <a:lnTo>
                    <a:pt x="1006" y="2636"/>
                  </a:lnTo>
                  <a:close/>
                  <a:moveTo>
                    <a:pt x="14083" y="0"/>
                  </a:moveTo>
                  <a:lnTo>
                    <a:pt x="2012" y="0"/>
                  </a:lnTo>
                  <a:lnTo>
                    <a:pt x="1908" y="3"/>
                  </a:lnTo>
                  <a:lnTo>
                    <a:pt x="1806" y="10"/>
                  </a:lnTo>
                  <a:lnTo>
                    <a:pt x="1705" y="23"/>
                  </a:lnTo>
                  <a:lnTo>
                    <a:pt x="1606" y="41"/>
                  </a:lnTo>
                  <a:lnTo>
                    <a:pt x="1509" y="63"/>
                  </a:lnTo>
                  <a:lnTo>
                    <a:pt x="1413" y="90"/>
                  </a:lnTo>
                  <a:lnTo>
                    <a:pt x="1320" y="122"/>
                  </a:lnTo>
                  <a:lnTo>
                    <a:pt x="1229" y="158"/>
                  </a:lnTo>
                  <a:lnTo>
                    <a:pt x="1140" y="198"/>
                  </a:lnTo>
                  <a:lnTo>
                    <a:pt x="1053" y="242"/>
                  </a:lnTo>
                  <a:lnTo>
                    <a:pt x="969" y="291"/>
                  </a:lnTo>
                  <a:lnTo>
                    <a:pt x="887" y="343"/>
                  </a:lnTo>
                  <a:lnTo>
                    <a:pt x="808" y="399"/>
                  </a:lnTo>
                  <a:lnTo>
                    <a:pt x="732" y="459"/>
                  </a:lnTo>
                  <a:lnTo>
                    <a:pt x="659" y="522"/>
                  </a:lnTo>
                  <a:lnTo>
                    <a:pt x="589" y="589"/>
                  </a:lnTo>
                  <a:lnTo>
                    <a:pt x="523" y="658"/>
                  </a:lnTo>
                  <a:lnTo>
                    <a:pt x="460" y="731"/>
                  </a:lnTo>
                  <a:lnTo>
                    <a:pt x="399" y="806"/>
                  </a:lnTo>
                  <a:lnTo>
                    <a:pt x="344" y="886"/>
                  </a:lnTo>
                  <a:lnTo>
                    <a:pt x="292" y="967"/>
                  </a:lnTo>
                  <a:lnTo>
                    <a:pt x="242" y="1051"/>
                  </a:lnTo>
                  <a:lnTo>
                    <a:pt x="198" y="1138"/>
                  </a:lnTo>
                  <a:lnTo>
                    <a:pt x="158" y="1227"/>
                  </a:lnTo>
                  <a:lnTo>
                    <a:pt x="122" y="1318"/>
                  </a:lnTo>
                  <a:lnTo>
                    <a:pt x="91" y="1411"/>
                  </a:lnTo>
                  <a:lnTo>
                    <a:pt x="63" y="1506"/>
                  </a:lnTo>
                  <a:lnTo>
                    <a:pt x="41" y="1604"/>
                  </a:lnTo>
                  <a:lnTo>
                    <a:pt x="23" y="1702"/>
                  </a:lnTo>
                  <a:lnTo>
                    <a:pt x="10" y="1803"/>
                  </a:lnTo>
                  <a:lnTo>
                    <a:pt x="3" y="1905"/>
                  </a:lnTo>
                  <a:lnTo>
                    <a:pt x="0" y="2009"/>
                  </a:lnTo>
                  <a:lnTo>
                    <a:pt x="0" y="8535"/>
                  </a:lnTo>
                  <a:lnTo>
                    <a:pt x="3" y="8639"/>
                  </a:lnTo>
                  <a:lnTo>
                    <a:pt x="10" y="8741"/>
                  </a:lnTo>
                  <a:lnTo>
                    <a:pt x="23" y="8842"/>
                  </a:lnTo>
                  <a:lnTo>
                    <a:pt x="41" y="8941"/>
                  </a:lnTo>
                  <a:lnTo>
                    <a:pt x="63" y="9038"/>
                  </a:lnTo>
                  <a:lnTo>
                    <a:pt x="91" y="9133"/>
                  </a:lnTo>
                  <a:lnTo>
                    <a:pt x="122" y="9226"/>
                  </a:lnTo>
                  <a:lnTo>
                    <a:pt x="158" y="9318"/>
                  </a:lnTo>
                  <a:lnTo>
                    <a:pt x="198" y="9407"/>
                  </a:lnTo>
                  <a:lnTo>
                    <a:pt x="242" y="9494"/>
                  </a:lnTo>
                  <a:lnTo>
                    <a:pt x="292" y="9578"/>
                  </a:lnTo>
                  <a:lnTo>
                    <a:pt x="344" y="9659"/>
                  </a:lnTo>
                  <a:lnTo>
                    <a:pt x="399" y="9738"/>
                  </a:lnTo>
                  <a:lnTo>
                    <a:pt x="460" y="9814"/>
                  </a:lnTo>
                  <a:lnTo>
                    <a:pt x="523" y="9886"/>
                  </a:lnTo>
                  <a:lnTo>
                    <a:pt x="589" y="9956"/>
                  </a:lnTo>
                  <a:lnTo>
                    <a:pt x="659" y="10023"/>
                  </a:lnTo>
                  <a:lnTo>
                    <a:pt x="732" y="10086"/>
                  </a:lnTo>
                  <a:lnTo>
                    <a:pt x="808" y="10145"/>
                  </a:lnTo>
                  <a:lnTo>
                    <a:pt x="887" y="10202"/>
                  </a:lnTo>
                  <a:lnTo>
                    <a:pt x="969" y="10254"/>
                  </a:lnTo>
                  <a:lnTo>
                    <a:pt x="1053" y="10303"/>
                  </a:lnTo>
                  <a:lnTo>
                    <a:pt x="1140" y="10347"/>
                  </a:lnTo>
                  <a:lnTo>
                    <a:pt x="1229" y="10387"/>
                  </a:lnTo>
                  <a:lnTo>
                    <a:pt x="1320" y="10423"/>
                  </a:lnTo>
                  <a:lnTo>
                    <a:pt x="1413" y="10455"/>
                  </a:lnTo>
                  <a:lnTo>
                    <a:pt x="1509" y="10482"/>
                  </a:lnTo>
                  <a:lnTo>
                    <a:pt x="1606" y="10504"/>
                  </a:lnTo>
                  <a:lnTo>
                    <a:pt x="1705" y="10522"/>
                  </a:lnTo>
                  <a:lnTo>
                    <a:pt x="1806" y="10535"/>
                  </a:lnTo>
                  <a:lnTo>
                    <a:pt x="1908" y="10542"/>
                  </a:lnTo>
                  <a:lnTo>
                    <a:pt x="2012" y="10545"/>
                  </a:lnTo>
                  <a:lnTo>
                    <a:pt x="14083" y="10545"/>
                  </a:lnTo>
                  <a:lnTo>
                    <a:pt x="14187" y="10542"/>
                  </a:lnTo>
                  <a:lnTo>
                    <a:pt x="14289" y="10535"/>
                  </a:lnTo>
                  <a:lnTo>
                    <a:pt x="14390" y="10522"/>
                  </a:lnTo>
                  <a:lnTo>
                    <a:pt x="14489" y="10504"/>
                  </a:lnTo>
                  <a:lnTo>
                    <a:pt x="14586" y="10482"/>
                  </a:lnTo>
                  <a:lnTo>
                    <a:pt x="14682" y="10455"/>
                  </a:lnTo>
                  <a:lnTo>
                    <a:pt x="14775" y="10423"/>
                  </a:lnTo>
                  <a:lnTo>
                    <a:pt x="14867" y="10387"/>
                  </a:lnTo>
                  <a:lnTo>
                    <a:pt x="14955" y="10347"/>
                  </a:lnTo>
                  <a:lnTo>
                    <a:pt x="15042" y="10303"/>
                  </a:lnTo>
                  <a:lnTo>
                    <a:pt x="15126" y="10254"/>
                  </a:lnTo>
                  <a:lnTo>
                    <a:pt x="15208" y="10202"/>
                  </a:lnTo>
                  <a:lnTo>
                    <a:pt x="15287" y="10145"/>
                  </a:lnTo>
                  <a:lnTo>
                    <a:pt x="15363" y="10086"/>
                  </a:lnTo>
                  <a:lnTo>
                    <a:pt x="15436" y="10023"/>
                  </a:lnTo>
                  <a:lnTo>
                    <a:pt x="15506" y="9956"/>
                  </a:lnTo>
                  <a:lnTo>
                    <a:pt x="15572" y="9886"/>
                  </a:lnTo>
                  <a:lnTo>
                    <a:pt x="15635" y="9814"/>
                  </a:lnTo>
                  <a:lnTo>
                    <a:pt x="15696" y="9738"/>
                  </a:lnTo>
                  <a:lnTo>
                    <a:pt x="15751" y="9659"/>
                  </a:lnTo>
                  <a:lnTo>
                    <a:pt x="15803" y="9578"/>
                  </a:lnTo>
                  <a:lnTo>
                    <a:pt x="15853" y="9494"/>
                  </a:lnTo>
                  <a:lnTo>
                    <a:pt x="15897" y="9407"/>
                  </a:lnTo>
                  <a:lnTo>
                    <a:pt x="15937" y="9318"/>
                  </a:lnTo>
                  <a:lnTo>
                    <a:pt x="15973" y="9226"/>
                  </a:lnTo>
                  <a:lnTo>
                    <a:pt x="16004" y="9133"/>
                  </a:lnTo>
                  <a:lnTo>
                    <a:pt x="16032" y="9038"/>
                  </a:lnTo>
                  <a:lnTo>
                    <a:pt x="16054" y="8941"/>
                  </a:lnTo>
                  <a:lnTo>
                    <a:pt x="16072" y="8842"/>
                  </a:lnTo>
                  <a:lnTo>
                    <a:pt x="16085" y="8741"/>
                  </a:lnTo>
                  <a:lnTo>
                    <a:pt x="16092" y="8639"/>
                  </a:lnTo>
                  <a:lnTo>
                    <a:pt x="16095" y="8535"/>
                  </a:lnTo>
                  <a:lnTo>
                    <a:pt x="16095" y="2009"/>
                  </a:lnTo>
                  <a:lnTo>
                    <a:pt x="16092" y="1905"/>
                  </a:lnTo>
                  <a:lnTo>
                    <a:pt x="16085" y="1803"/>
                  </a:lnTo>
                  <a:lnTo>
                    <a:pt x="16072" y="1702"/>
                  </a:lnTo>
                  <a:lnTo>
                    <a:pt x="16054" y="1604"/>
                  </a:lnTo>
                  <a:lnTo>
                    <a:pt x="16032" y="1506"/>
                  </a:lnTo>
                  <a:lnTo>
                    <a:pt x="16004" y="1411"/>
                  </a:lnTo>
                  <a:lnTo>
                    <a:pt x="15973" y="1318"/>
                  </a:lnTo>
                  <a:lnTo>
                    <a:pt x="15937" y="1227"/>
                  </a:lnTo>
                  <a:lnTo>
                    <a:pt x="15897" y="1138"/>
                  </a:lnTo>
                  <a:lnTo>
                    <a:pt x="15853" y="1051"/>
                  </a:lnTo>
                  <a:lnTo>
                    <a:pt x="15803" y="967"/>
                  </a:lnTo>
                  <a:lnTo>
                    <a:pt x="15751" y="886"/>
                  </a:lnTo>
                  <a:lnTo>
                    <a:pt x="15696" y="806"/>
                  </a:lnTo>
                  <a:lnTo>
                    <a:pt x="15635" y="731"/>
                  </a:lnTo>
                  <a:lnTo>
                    <a:pt x="15572" y="658"/>
                  </a:lnTo>
                  <a:lnTo>
                    <a:pt x="15506" y="589"/>
                  </a:lnTo>
                  <a:lnTo>
                    <a:pt x="15436" y="522"/>
                  </a:lnTo>
                  <a:lnTo>
                    <a:pt x="15363" y="459"/>
                  </a:lnTo>
                  <a:lnTo>
                    <a:pt x="15287" y="399"/>
                  </a:lnTo>
                  <a:lnTo>
                    <a:pt x="15208" y="343"/>
                  </a:lnTo>
                  <a:lnTo>
                    <a:pt x="15126" y="291"/>
                  </a:lnTo>
                  <a:lnTo>
                    <a:pt x="15042" y="242"/>
                  </a:lnTo>
                  <a:lnTo>
                    <a:pt x="14955" y="198"/>
                  </a:lnTo>
                  <a:lnTo>
                    <a:pt x="14867" y="158"/>
                  </a:lnTo>
                  <a:lnTo>
                    <a:pt x="14775" y="122"/>
                  </a:lnTo>
                  <a:lnTo>
                    <a:pt x="14682" y="90"/>
                  </a:lnTo>
                  <a:lnTo>
                    <a:pt x="14586" y="63"/>
                  </a:lnTo>
                  <a:lnTo>
                    <a:pt x="14489" y="41"/>
                  </a:lnTo>
                  <a:lnTo>
                    <a:pt x="14390" y="23"/>
                  </a:lnTo>
                  <a:lnTo>
                    <a:pt x="14289" y="10"/>
                  </a:lnTo>
                  <a:lnTo>
                    <a:pt x="14187" y="3"/>
                  </a:lnTo>
                  <a:lnTo>
                    <a:pt x="1408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09" name="iSľidê">
              <a:extLst>
                <a:ext uri="{FF2B5EF4-FFF2-40B4-BE49-F238E27FC236}">
                  <a16:creationId xmlns:a16="http://schemas.microsoft.com/office/drawing/2014/main" id="{B368D4CB-00E1-4B18-BF02-4E26F8EA481B}"/>
                </a:ext>
              </a:extLst>
            </p:cNvPr>
            <p:cNvSpPr/>
            <p:nvPr/>
          </p:nvSpPr>
          <p:spPr bwMode="auto">
            <a:xfrm>
              <a:off x="11077917" y="494925"/>
              <a:ext cx="323916" cy="345350"/>
            </a:xfrm>
            <a:custGeom>
              <a:avLst/>
              <a:gdLst>
                <a:gd name="T0" fmla="*/ 14069 w 15096"/>
                <a:gd name="T1" fmla="*/ 14285 h 16095"/>
                <a:gd name="T2" fmla="*/ 13990 w 15096"/>
                <a:gd name="T3" fmla="*/ 14519 h 16095"/>
                <a:gd name="T4" fmla="*/ 13859 w 15096"/>
                <a:gd name="T5" fmla="*/ 14723 h 16095"/>
                <a:gd name="T6" fmla="*/ 13685 w 15096"/>
                <a:gd name="T7" fmla="*/ 14889 h 16095"/>
                <a:gd name="T8" fmla="*/ 13475 w 15096"/>
                <a:gd name="T9" fmla="*/ 15010 h 16095"/>
                <a:gd name="T10" fmla="*/ 13236 w 15096"/>
                <a:gd name="T11" fmla="*/ 15077 h 16095"/>
                <a:gd name="T12" fmla="*/ 1961 w 15096"/>
                <a:gd name="T13" fmla="*/ 15088 h 16095"/>
                <a:gd name="T14" fmla="*/ 1714 w 15096"/>
                <a:gd name="T15" fmla="*/ 15044 h 16095"/>
                <a:gd name="T16" fmla="*/ 1491 w 15096"/>
                <a:gd name="T17" fmla="*/ 14943 h 16095"/>
                <a:gd name="T18" fmla="*/ 1301 w 15096"/>
                <a:gd name="T19" fmla="*/ 14794 h 16095"/>
                <a:gd name="T20" fmla="*/ 1152 w 15096"/>
                <a:gd name="T21" fmla="*/ 14604 h 16095"/>
                <a:gd name="T22" fmla="*/ 1052 w 15096"/>
                <a:gd name="T23" fmla="*/ 14382 h 16095"/>
                <a:gd name="T24" fmla="*/ 1007 w 15096"/>
                <a:gd name="T25" fmla="*/ 14134 h 16095"/>
                <a:gd name="T26" fmla="*/ 1018 w 15096"/>
                <a:gd name="T27" fmla="*/ 1859 h 16095"/>
                <a:gd name="T28" fmla="*/ 1086 w 15096"/>
                <a:gd name="T29" fmla="*/ 1621 h 16095"/>
                <a:gd name="T30" fmla="*/ 1207 w 15096"/>
                <a:gd name="T31" fmla="*/ 1410 h 16095"/>
                <a:gd name="T32" fmla="*/ 1373 w 15096"/>
                <a:gd name="T33" fmla="*/ 1236 h 16095"/>
                <a:gd name="T34" fmla="*/ 1577 w 15096"/>
                <a:gd name="T35" fmla="*/ 1106 h 16095"/>
                <a:gd name="T36" fmla="*/ 1811 w 15096"/>
                <a:gd name="T37" fmla="*/ 1026 h 16095"/>
                <a:gd name="T38" fmla="*/ 13083 w 15096"/>
                <a:gd name="T39" fmla="*/ 1006 h 16095"/>
                <a:gd name="T40" fmla="*/ 13335 w 15096"/>
                <a:gd name="T41" fmla="*/ 1038 h 16095"/>
                <a:gd name="T42" fmla="*/ 13562 w 15096"/>
                <a:gd name="T43" fmla="*/ 1128 h 16095"/>
                <a:gd name="T44" fmla="*/ 13760 w 15096"/>
                <a:gd name="T45" fmla="*/ 1267 h 16095"/>
                <a:gd name="T46" fmla="*/ 13918 w 15096"/>
                <a:gd name="T47" fmla="*/ 1450 h 16095"/>
                <a:gd name="T48" fmla="*/ 14028 w 15096"/>
                <a:gd name="T49" fmla="*/ 1667 h 16095"/>
                <a:gd name="T50" fmla="*/ 14085 w 15096"/>
                <a:gd name="T51" fmla="*/ 1909 h 16095"/>
                <a:gd name="T52" fmla="*/ 2013 w 15096"/>
                <a:gd name="T53" fmla="*/ 0 h 16095"/>
                <a:gd name="T54" fmla="*/ 1510 w 15096"/>
                <a:gd name="T55" fmla="*/ 63 h 16095"/>
                <a:gd name="T56" fmla="*/ 1054 w 15096"/>
                <a:gd name="T57" fmla="*/ 242 h 16095"/>
                <a:gd name="T58" fmla="*/ 659 w 15096"/>
                <a:gd name="T59" fmla="*/ 523 h 16095"/>
                <a:gd name="T60" fmla="*/ 344 w 15096"/>
                <a:gd name="T61" fmla="*/ 887 h 16095"/>
                <a:gd name="T62" fmla="*/ 122 w 15096"/>
                <a:gd name="T63" fmla="*/ 1320 h 16095"/>
                <a:gd name="T64" fmla="*/ 10 w 15096"/>
                <a:gd name="T65" fmla="*/ 1807 h 16095"/>
                <a:gd name="T66" fmla="*/ 10 w 15096"/>
                <a:gd name="T67" fmla="*/ 14289 h 16095"/>
                <a:gd name="T68" fmla="*/ 122 w 15096"/>
                <a:gd name="T69" fmla="*/ 14775 h 16095"/>
                <a:gd name="T70" fmla="*/ 344 w 15096"/>
                <a:gd name="T71" fmla="*/ 15208 h 16095"/>
                <a:gd name="T72" fmla="*/ 659 w 15096"/>
                <a:gd name="T73" fmla="*/ 15572 h 16095"/>
                <a:gd name="T74" fmla="*/ 1054 w 15096"/>
                <a:gd name="T75" fmla="*/ 15853 h 16095"/>
                <a:gd name="T76" fmla="*/ 1510 w 15096"/>
                <a:gd name="T77" fmla="*/ 16032 h 16095"/>
                <a:gd name="T78" fmla="*/ 2013 w 15096"/>
                <a:gd name="T79" fmla="*/ 16095 h 16095"/>
                <a:gd name="T80" fmla="*/ 13489 w 15096"/>
                <a:gd name="T81" fmla="*/ 16054 h 16095"/>
                <a:gd name="T82" fmla="*/ 13956 w 15096"/>
                <a:gd name="T83" fmla="*/ 15897 h 16095"/>
                <a:gd name="T84" fmla="*/ 14363 w 15096"/>
                <a:gd name="T85" fmla="*/ 15635 h 16095"/>
                <a:gd name="T86" fmla="*/ 14696 w 15096"/>
                <a:gd name="T87" fmla="*/ 15287 h 16095"/>
                <a:gd name="T88" fmla="*/ 14938 w 15096"/>
                <a:gd name="T89" fmla="*/ 14867 h 16095"/>
                <a:gd name="T90" fmla="*/ 15073 w 15096"/>
                <a:gd name="T91" fmla="*/ 14390 h 16095"/>
                <a:gd name="T92" fmla="*/ 15093 w 15096"/>
                <a:gd name="T93" fmla="*/ 1908 h 16095"/>
                <a:gd name="T94" fmla="*/ 15005 w 15096"/>
                <a:gd name="T95" fmla="*/ 1413 h 16095"/>
                <a:gd name="T96" fmla="*/ 14804 w 15096"/>
                <a:gd name="T97" fmla="*/ 969 h 16095"/>
                <a:gd name="T98" fmla="*/ 14506 w 15096"/>
                <a:gd name="T99" fmla="*/ 589 h 16095"/>
                <a:gd name="T100" fmla="*/ 14127 w 15096"/>
                <a:gd name="T101" fmla="*/ 292 h 16095"/>
                <a:gd name="T102" fmla="*/ 13682 w 15096"/>
                <a:gd name="T103" fmla="*/ 91 h 16095"/>
                <a:gd name="T104" fmla="*/ 13187 w 15096"/>
                <a:gd name="T105" fmla="*/ 3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096" h="16095">
                  <a:moveTo>
                    <a:pt x="14090" y="14083"/>
                  </a:moveTo>
                  <a:lnTo>
                    <a:pt x="14089" y="14134"/>
                  </a:lnTo>
                  <a:lnTo>
                    <a:pt x="14085" y="14186"/>
                  </a:lnTo>
                  <a:lnTo>
                    <a:pt x="14079" y="14236"/>
                  </a:lnTo>
                  <a:lnTo>
                    <a:pt x="14069" y="14285"/>
                  </a:lnTo>
                  <a:lnTo>
                    <a:pt x="14058" y="14334"/>
                  </a:lnTo>
                  <a:lnTo>
                    <a:pt x="14044" y="14382"/>
                  </a:lnTo>
                  <a:lnTo>
                    <a:pt x="14028" y="14428"/>
                  </a:lnTo>
                  <a:lnTo>
                    <a:pt x="14010" y="14474"/>
                  </a:lnTo>
                  <a:lnTo>
                    <a:pt x="13990" y="14519"/>
                  </a:lnTo>
                  <a:lnTo>
                    <a:pt x="13968" y="14562"/>
                  </a:lnTo>
                  <a:lnTo>
                    <a:pt x="13944" y="14604"/>
                  </a:lnTo>
                  <a:lnTo>
                    <a:pt x="13918" y="14645"/>
                  </a:lnTo>
                  <a:lnTo>
                    <a:pt x="13889" y="14685"/>
                  </a:lnTo>
                  <a:lnTo>
                    <a:pt x="13859" y="14723"/>
                  </a:lnTo>
                  <a:lnTo>
                    <a:pt x="13828" y="14759"/>
                  </a:lnTo>
                  <a:lnTo>
                    <a:pt x="13795" y="14794"/>
                  </a:lnTo>
                  <a:lnTo>
                    <a:pt x="13760" y="14828"/>
                  </a:lnTo>
                  <a:lnTo>
                    <a:pt x="13723" y="14859"/>
                  </a:lnTo>
                  <a:lnTo>
                    <a:pt x="13685" y="14889"/>
                  </a:lnTo>
                  <a:lnTo>
                    <a:pt x="13646" y="14917"/>
                  </a:lnTo>
                  <a:lnTo>
                    <a:pt x="13605" y="14943"/>
                  </a:lnTo>
                  <a:lnTo>
                    <a:pt x="13562" y="14967"/>
                  </a:lnTo>
                  <a:lnTo>
                    <a:pt x="13519" y="14989"/>
                  </a:lnTo>
                  <a:lnTo>
                    <a:pt x="13475" y="15010"/>
                  </a:lnTo>
                  <a:lnTo>
                    <a:pt x="13428" y="15028"/>
                  </a:lnTo>
                  <a:lnTo>
                    <a:pt x="13382" y="15044"/>
                  </a:lnTo>
                  <a:lnTo>
                    <a:pt x="13335" y="15057"/>
                  </a:lnTo>
                  <a:lnTo>
                    <a:pt x="13285" y="15069"/>
                  </a:lnTo>
                  <a:lnTo>
                    <a:pt x="13236" y="15077"/>
                  </a:lnTo>
                  <a:lnTo>
                    <a:pt x="13186" y="15084"/>
                  </a:lnTo>
                  <a:lnTo>
                    <a:pt x="13135" y="15088"/>
                  </a:lnTo>
                  <a:lnTo>
                    <a:pt x="13083" y="15089"/>
                  </a:lnTo>
                  <a:lnTo>
                    <a:pt x="2013" y="15089"/>
                  </a:lnTo>
                  <a:lnTo>
                    <a:pt x="1961" y="15088"/>
                  </a:lnTo>
                  <a:lnTo>
                    <a:pt x="1910" y="15084"/>
                  </a:lnTo>
                  <a:lnTo>
                    <a:pt x="1860" y="15077"/>
                  </a:lnTo>
                  <a:lnTo>
                    <a:pt x="1811" y="15069"/>
                  </a:lnTo>
                  <a:lnTo>
                    <a:pt x="1761" y="15057"/>
                  </a:lnTo>
                  <a:lnTo>
                    <a:pt x="1714" y="15044"/>
                  </a:lnTo>
                  <a:lnTo>
                    <a:pt x="1667" y="15028"/>
                  </a:lnTo>
                  <a:lnTo>
                    <a:pt x="1621" y="15010"/>
                  </a:lnTo>
                  <a:lnTo>
                    <a:pt x="1577" y="14989"/>
                  </a:lnTo>
                  <a:lnTo>
                    <a:pt x="1534" y="14967"/>
                  </a:lnTo>
                  <a:lnTo>
                    <a:pt x="1491" y="14943"/>
                  </a:lnTo>
                  <a:lnTo>
                    <a:pt x="1450" y="14917"/>
                  </a:lnTo>
                  <a:lnTo>
                    <a:pt x="1411" y="14889"/>
                  </a:lnTo>
                  <a:lnTo>
                    <a:pt x="1373" y="14859"/>
                  </a:lnTo>
                  <a:lnTo>
                    <a:pt x="1336" y="14828"/>
                  </a:lnTo>
                  <a:lnTo>
                    <a:pt x="1301" y="14794"/>
                  </a:lnTo>
                  <a:lnTo>
                    <a:pt x="1268" y="14759"/>
                  </a:lnTo>
                  <a:lnTo>
                    <a:pt x="1237" y="14723"/>
                  </a:lnTo>
                  <a:lnTo>
                    <a:pt x="1207" y="14685"/>
                  </a:lnTo>
                  <a:lnTo>
                    <a:pt x="1178" y="14645"/>
                  </a:lnTo>
                  <a:lnTo>
                    <a:pt x="1152" y="14604"/>
                  </a:lnTo>
                  <a:lnTo>
                    <a:pt x="1128" y="14562"/>
                  </a:lnTo>
                  <a:lnTo>
                    <a:pt x="1106" y="14519"/>
                  </a:lnTo>
                  <a:lnTo>
                    <a:pt x="1086" y="14474"/>
                  </a:lnTo>
                  <a:lnTo>
                    <a:pt x="1068" y="14428"/>
                  </a:lnTo>
                  <a:lnTo>
                    <a:pt x="1052" y="14382"/>
                  </a:lnTo>
                  <a:lnTo>
                    <a:pt x="1039" y="14334"/>
                  </a:lnTo>
                  <a:lnTo>
                    <a:pt x="1027" y="14285"/>
                  </a:lnTo>
                  <a:lnTo>
                    <a:pt x="1018" y="14236"/>
                  </a:lnTo>
                  <a:lnTo>
                    <a:pt x="1011" y="14186"/>
                  </a:lnTo>
                  <a:lnTo>
                    <a:pt x="1007" y="14134"/>
                  </a:lnTo>
                  <a:lnTo>
                    <a:pt x="1006" y="14083"/>
                  </a:lnTo>
                  <a:lnTo>
                    <a:pt x="1006" y="2012"/>
                  </a:lnTo>
                  <a:lnTo>
                    <a:pt x="1007" y="1961"/>
                  </a:lnTo>
                  <a:lnTo>
                    <a:pt x="1011" y="1909"/>
                  </a:lnTo>
                  <a:lnTo>
                    <a:pt x="1018" y="1859"/>
                  </a:lnTo>
                  <a:lnTo>
                    <a:pt x="1027" y="1810"/>
                  </a:lnTo>
                  <a:lnTo>
                    <a:pt x="1039" y="1760"/>
                  </a:lnTo>
                  <a:lnTo>
                    <a:pt x="1052" y="1713"/>
                  </a:lnTo>
                  <a:lnTo>
                    <a:pt x="1068" y="1667"/>
                  </a:lnTo>
                  <a:lnTo>
                    <a:pt x="1086" y="1621"/>
                  </a:lnTo>
                  <a:lnTo>
                    <a:pt x="1106" y="1576"/>
                  </a:lnTo>
                  <a:lnTo>
                    <a:pt x="1128" y="1533"/>
                  </a:lnTo>
                  <a:lnTo>
                    <a:pt x="1152" y="1491"/>
                  </a:lnTo>
                  <a:lnTo>
                    <a:pt x="1178" y="1450"/>
                  </a:lnTo>
                  <a:lnTo>
                    <a:pt x="1207" y="1410"/>
                  </a:lnTo>
                  <a:lnTo>
                    <a:pt x="1237" y="1372"/>
                  </a:lnTo>
                  <a:lnTo>
                    <a:pt x="1268" y="1336"/>
                  </a:lnTo>
                  <a:lnTo>
                    <a:pt x="1301" y="1301"/>
                  </a:lnTo>
                  <a:lnTo>
                    <a:pt x="1336" y="1267"/>
                  </a:lnTo>
                  <a:lnTo>
                    <a:pt x="1373" y="1236"/>
                  </a:lnTo>
                  <a:lnTo>
                    <a:pt x="1411" y="1206"/>
                  </a:lnTo>
                  <a:lnTo>
                    <a:pt x="1450" y="1178"/>
                  </a:lnTo>
                  <a:lnTo>
                    <a:pt x="1491" y="1152"/>
                  </a:lnTo>
                  <a:lnTo>
                    <a:pt x="1534" y="1128"/>
                  </a:lnTo>
                  <a:lnTo>
                    <a:pt x="1577" y="1106"/>
                  </a:lnTo>
                  <a:lnTo>
                    <a:pt x="1621" y="1085"/>
                  </a:lnTo>
                  <a:lnTo>
                    <a:pt x="1667" y="1067"/>
                  </a:lnTo>
                  <a:lnTo>
                    <a:pt x="1714" y="1051"/>
                  </a:lnTo>
                  <a:lnTo>
                    <a:pt x="1761" y="1038"/>
                  </a:lnTo>
                  <a:lnTo>
                    <a:pt x="1811" y="1026"/>
                  </a:lnTo>
                  <a:lnTo>
                    <a:pt x="1860" y="1018"/>
                  </a:lnTo>
                  <a:lnTo>
                    <a:pt x="1910" y="1011"/>
                  </a:lnTo>
                  <a:lnTo>
                    <a:pt x="1961" y="1007"/>
                  </a:lnTo>
                  <a:lnTo>
                    <a:pt x="2013" y="1006"/>
                  </a:lnTo>
                  <a:lnTo>
                    <a:pt x="13083" y="1006"/>
                  </a:lnTo>
                  <a:lnTo>
                    <a:pt x="13135" y="1007"/>
                  </a:lnTo>
                  <a:lnTo>
                    <a:pt x="13186" y="1011"/>
                  </a:lnTo>
                  <a:lnTo>
                    <a:pt x="13236" y="1018"/>
                  </a:lnTo>
                  <a:lnTo>
                    <a:pt x="13285" y="1026"/>
                  </a:lnTo>
                  <a:lnTo>
                    <a:pt x="13335" y="1038"/>
                  </a:lnTo>
                  <a:lnTo>
                    <a:pt x="13382" y="1051"/>
                  </a:lnTo>
                  <a:lnTo>
                    <a:pt x="13428" y="1067"/>
                  </a:lnTo>
                  <a:lnTo>
                    <a:pt x="13475" y="1085"/>
                  </a:lnTo>
                  <a:lnTo>
                    <a:pt x="13519" y="1106"/>
                  </a:lnTo>
                  <a:lnTo>
                    <a:pt x="13562" y="1128"/>
                  </a:lnTo>
                  <a:lnTo>
                    <a:pt x="13605" y="1152"/>
                  </a:lnTo>
                  <a:lnTo>
                    <a:pt x="13646" y="1178"/>
                  </a:lnTo>
                  <a:lnTo>
                    <a:pt x="13685" y="1206"/>
                  </a:lnTo>
                  <a:lnTo>
                    <a:pt x="13723" y="1236"/>
                  </a:lnTo>
                  <a:lnTo>
                    <a:pt x="13760" y="1267"/>
                  </a:lnTo>
                  <a:lnTo>
                    <a:pt x="13795" y="1301"/>
                  </a:lnTo>
                  <a:lnTo>
                    <a:pt x="13828" y="1336"/>
                  </a:lnTo>
                  <a:lnTo>
                    <a:pt x="13859" y="1372"/>
                  </a:lnTo>
                  <a:lnTo>
                    <a:pt x="13889" y="1410"/>
                  </a:lnTo>
                  <a:lnTo>
                    <a:pt x="13918" y="1450"/>
                  </a:lnTo>
                  <a:lnTo>
                    <a:pt x="13944" y="1491"/>
                  </a:lnTo>
                  <a:lnTo>
                    <a:pt x="13968" y="1533"/>
                  </a:lnTo>
                  <a:lnTo>
                    <a:pt x="13990" y="1576"/>
                  </a:lnTo>
                  <a:lnTo>
                    <a:pt x="14010" y="1621"/>
                  </a:lnTo>
                  <a:lnTo>
                    <a:pt x="14028" y="1667"/>
                  </a:lnTo>
                  <a:lnTo>
                    <a:pt x="14044" y="1713"/>
                  </a:lnTo>
                  <a:lnTo>
                    <a:pt x="14058" y="1760"/>
                  </a:lnTo>
                  <a:lnTo>
                    <a:pt x="14069" y="1810"/>
                  </a:lnTo>
                  <a:lnTo>
                    <a:pt x="14079" y="1859"/>
                  </a:lnTo>
                  <a:lnTo>
                    <a:pt x="14085" y="1909"/>
                  </a:lnTo>
                  <a:lnTo>
                    <a:pt x="14089" y="1961"/>
                  </a:lnTo>
                  <a:lnTo>
                    <a:pt x="14090" y="2012"/>
                  </a:lnTo>
                  <a:lnTo>
                    <a:pt x="14090" y="14083"/>
                  </a:lnTo>
                  <a:close/>
                  <a:moveTo>
                    <a:pt x="13083" y="0"/>
                  </a:moveTo>
                  <a:lnTo>
                    <a:pt x="2013" y="0"/>
                  </a:lnTo>
                  <a:lnTo>
                    <a:pt x="1909" y="3"/>
                  </a:lnTo>
                  <a:lnTo>
                    <a:pt x="1806" y="10"/>
                  </a:lnTo>
                  <a:lnTo>
                    <a:pt x="1706" y="23"/>
                  </a:lnTo>
                  <a:lnTo>
                    <a:pt x="1607" y="41"/>
                  </a:lnTo>
                  <a:lnTo>
                    <a:pt x="1510" y="63"/>
                  </a:lnTo>
                  <a:lnTo>
                    <a:pt x="1414" y="91"/>
                  </a:lnTo>
                  <a:lnTo>
                    <a:pt x="1320" y="122"/>
                  </a:lnTo>
                  <a:lnTo>
                    <a:pt x="1229" y="158"/>
                  </a:lnTo>
                  <a:lnTo>
                    <a:pt x="1140" y="198"/>
                  </a:lnTo>
                  <a:lnTo>
                    <a:pt x="1054" y="242"/>
                  </a:lnTo>
                  <a:lnTo>
                    <a:pt x="969" y="292"/>
                  </a:lnTo>
                  <a:lnTo>
                    <a:pt x="888" y="344"/>
                  </a:lnTo>
                  <a:lnTo>
                    <a:pt x="808" y="399"/>
                  </a:lnTo>
                  <a:lnTo>
                    <a:pt x="733" y="460"/>
                  </a:lnTo>
                  <a:lnTo>
                    <a:pt x="659" y="523"/>
                  </a:lnTo>
                  <a:lnTo>
                    <a:pt x="590" y="589"/>
                  </a:lnTo>
                  <a:lnTo>
                    <a:pt x="523" y="659"/>
                  </a:lnTo>
                  <a:lnTo>
                    <a:pt x="460" y="732"/>
                  </a:lnTo>
                  <a:lnTo>
                    <a:pt x="400" y="808"/>
                  </a:lnTo>
                  <a:lnTo>
                    <a:pt x="344" y="887"/>
                  </a:lnTo>
                  <a:lnTo>
                    <a:pt x="292" y="969"/>
                  </a:lnTo>
                  <a:lnTo>
                    <a:pt x="243" y="1053"/>
                  </a:lnTo>
                  <a:lnTo>
                    <a:pt x="198" y="1140"/>
                  </a:lnTo>
                  <a:lnTo>
                    <a:pt x="158" y="1229"/>
                  </a:lnTo>
                  <a:lnTo>
                    <a:pt x="122" y="1320"/>
                  </a:lnTo>
                  <a:lnTo>
                    <a:pt x="91" y="1413"/>
                  </a:lnTo>
                  <a:lnTo>
                    <a:pt x="63" y="1509"/>
                  </a:lnTo>
                  <a:lnTo>
                    <a:pt x="41" y="1606"/>
                  </a:lnTo>
                  <a:lnTo>
                    <a:pt x="23" y="1705"/>
                  </a:lnTo>
                  <a:lnTo>
                    <a:pt x="10" y="1807"/>
                  </a:lnTo>
                  <a:lnTo>
                    <a:pt x="3" y="1908"/>
                  </a:lnTo>
                  <a:lnTo>
                    <a:pt x="0" y="2012"/>
                  </a:lnTo>
                  <a:lnTo>
                    <a:pt x="0" y="14083"/>
                  </a:lnTo>
                  <a:lnTo>
                    <a:pt x="3" y="14187"/>
                  </a:lnTo>
                  <a:lnTo>
                    <a:pt x="10" y="14289"/>
                  </a:lnTo>
                  <a:lnTo>
                    <a:pt x="23" y="14390"/>
                  </a:lnTo>
                  <a:lnTo>
                    <a:pt x="41" y="14489"/>
                  </a:lnTo>
                  <a:lnTo>
                    <a:pt x="63" y="14586"/>
                  </a:lnTo>
                  <a:lnTo>
                    <a:pt x="91" y="14682"/>
                  </a:lnTo>
                  <a:lnTo>
                    <a:pt x="122" y="14775"/>
                  </a:lnTo>
                  <a:lnTo>
                    <a:pt x="158" y="14867"/>
                  </a:lnTo>
                  <a:lnTo>
                    <a:pt x="198" y="14955"/>
                  </a:lnTo>
                  <a:lnTo>
                    <a:pt x="243" y="15042"/>
                  </a:lnTo>
                  <a:lnTo>
                    <a:pt x="292" y="15126"/>
                  </a:lnTo>
                  <a:lnTo>
                    <a:pt x="344" y="15208"/>
                  </a:lnTo>
                  <a:lnTo>
                    <a:pt x="400" y="15287"/>
                  </a:lnTo>
                  <a:lnTo>
                    <a:pt x="460" y="15363"/>
                  </a:lnTo>
                  <a:lnTo>
                    <a:pt x="523" y="15436"/>
                  </a:lnTo>
                  <a:lnTo>
                    <a:pt x="590" y="15506"/>
                  </a:lnTo>
                  <a:lnTo>
                    <a:pt x="659" y="15572"/>
                  </a:lnTo>
                  <a:lnTo>
                    <a:pt x="733" y="15635"/>
                  </a:lnTo>
                  <a:lnTo>
                    <a:pt x="808" y="15696"/>
                  </a:lnTo>
                  <a:lnTo>
                    <a:pt x="888" y="15751"/>
                  </a:lnTo>
                  <a:lnTo>
                    <a:pt x="969" y="15803"/>
                  </a:lnTo>
                  <a:lnTo>
                    <a:pt x="1054" y="15853"/>
                  </a:lnTo>
                  <a:lnTo>
                    <a:pt x="1140" y="15897"/>
                  </a:lnTo>
                  <a:lnTo>
                    <a:pt x="1229" y="15937"/>
                  </a:lnTo>
                  <a:lnTo>
                    <a:pt x="1320" y="15973"/>
                  </a:lnTo>
                  <a:lnTo>
                    <a:pt x="1414" y="16004"/>
                  </a:lnTo>
                  <a:lnTo>
                    <a:pt x="1510" y="16032"/>
                  </a:lnTo>
                  <a:lnTo>
                    <a:pt x="1607" y="16054"/>
                  </a:lnTo>
                  <a:lnTo>
                    <a:pt x="1706" y="16072"/>
                  </a:lnTo>
                  <a:lnTo>
                    <a:pt x="1806" y="16085"/>
                  </a:lnTo>
                  <a:lnTo>
                    <a:pt x="1909" y="16092"/>
                  </a:lnTo>
                  <a:lnTo>
                    <a:pt x="2013" y="16095"/>
                  </a:lnTo>
                  <a:lnTo>
                    <a:pt x="13083" y="16095"/>
                  </a:lnTo>
                  <a:lnTo>
                    <a:pt x="13187" y="16092"/>
                  </a:lnTo>
                  <a:lnTo>
                    <a:pt x="13289" y="16085"/>
                  </a:lnTo>
                  <a:lnTo>
                    <a:pt x="13390" y="16072"/>
                  </a:lnTo>
                  <a:lnTo>
                    <a:pt x="13489" y="16054"/>
                  </a:lnTo>
                  <a:lnTo>
                    <a:pt x="13586" y="16032"/>
                  </a:lnTo>
                  <a:lnTo>
                    <a:pt x="13682" y="16004"/>
                  </a:lnTo>
                  <a:lnTo>
                    <a:pt x="13776" y="15973"/>
                  </a:lnTo>
                  <a:lnTo>
                    <a:pt x="13866" y="15937"/>
                  </a:lnTo>
                  <a:lnTo>
                    <a:pt x="13956" y="15897"/>
                  </a:lnTo>
                  <a:lnTo>
                    <a:pt x="14042" y="15853"/>
                  </a:lnTo>
                  <a:lnTo>
                    <a:pt x="14127" y="15803"/>
                  </a:lnTo>
                  <a:lnTo>
                    <a:pt x="14208" y="15751"/>
                  </a:lnTo>
                  <a:lnTo>
                    <a:pt x="14288" y="15696"/>
                  </a:lnTo>
                  <a:lnTo>
                    <a:pt x="14363" y="15635"/>
                  </a:lnTo>
                  <a:lnTo>
                    <a:pt x="14437" y="15572"/>
                  </a:lnTo>
                  <a:lnTo>
                    <a:pt x="14506" y="15506"/>
                  </a:lnTo>
                  <a:lnTo>
                    <a:pt x="14573" y="15436"/>
                  </a:lnTo>
                  <a:lnTo>
                    <a:pt x="14636" y="15363"/>
                  </a:lnTo>
                  <a:lnTo>
                    <a:pt x="14696" y="15287"/>
                  </a:lnTo>
                  <a:lnTo>
                    <a:pt x="14752" y="15208"/>
                  </a:lnTo>
                  <a:lnTo>
                    <a:pt x="14804" y="15126"/>
                  </a:lnTo>
                  <a:lnTo>
                    <a:pt x="14853" y="15042"/>
                  </a:lnTo>
                  <a:lnTo>
                    <a:pt x="14898" y="14955"/>
                  </a:lnTo>
                  <a:lnTo>
                    <a:pt x="14938" y="14867"/>
                  </a:lnTo>
                  <a:lnTo>
                    <a:pt x="14974" y="14775"/>
                  </a:lnTo>
                  <a:lnTo>
                    <a:pt x="15005" y="14682"/>
                  </a:lnTo>
                  <a:lnTo>
                    <a:pt x="15033" y="14586"/>
                  </a:lnTo>
                  <a:lnTo>
                    <a:pt x="15055" y="14489"/>
                  </a:lnTo>
                  <a:lnTo>
                    <a:pt x="15073" y="14390"/>
                  </a:lnTo>
                  <a:lnTo>
                    <a:pt x="15086" y="14289"/>
                  </a:lnTo>
                  <a:lnTo>
                    <a:pt x="15093" y="14187"/>
                  </a:lnTo>
                  <a:lnTo>
                    <a:pt x="15096" y="14083"/>
                  </a:lnTo>
                  <a:lnTo>
                    <a:pt x="15096" y="2012"/>
                  </a:lnTo>
                  <a:lnTo>
                    <a:pt x="15093" y="1908"/>
                  </a:lnTo>
                  <a:lnTo>
                    <a:pt x="15086" y="1807"/>
                  </a:lnTo>
                  <a:lnTo>
                    <a:pt x="15073" y="1705"/>
                  </a:lnTo>
                  <a:lnTo>
                    <a:pt x="15055" y="1606"/>
                  </a:lnTo>
                  <a:lnTo>
                    <a:pt x="15033" y="1509"/>
                  </a:lnTo>
                  <a:lnTo>
                    <a:pt x="15005" y="1413"/>
                  </a:lnTo>
                  <a:lnTo>
                    <a:pt x="14974" y="1320"/>
                  </a:lnTo>
                  <a:lnTo>
                    <a:pt x="14938" y="1229"/>
                  </a:lnTo>
                  <a:lnTo>
                    <a:pt x="14898" y="1140"/>
                  </a:lnTo>
                  <a:lnTo>
                    <a:pt x="14853" y="1053"/>
                  </a:lnTo>
                  <a:lnTo>
                    <a:pt x="14804" y="969"/>
                  </a:lnTo>
                  <a:lnTo>
                    <a:pt x="14752" y="887"/>
                  </a:lnTo>
                  <a:lnTo>
                    <a:pt x="14696" y="808"/>
                  </a:lnTo>
                  <a:lnTo>
                    <a:pt x="14636" y="732"/>
                  </a:lnTo>
                  <a:lnTo>
                    <a:pt x="14573" y="659"/>
                  </a:lnTo>
                  <a:lnTo>
                    <a:pt x="14506" y="589"/>
                  </a:lnTo>
                  <a:lnTo>
                    <a:pt x="14437" y="523"/>
                  </a:lnTo>
                  <a:lnTo>
                    <a:pt x="14363" y="460"/>
                  </a:lnTo>
                  <a:lnTo>
                    <a:pt x="14288" y="399"/>
                  </a:lnTo>
                  <a:lnTo>
                    <a:pt x="14208" y="344"/>
                  </a:lnTo>
                  <a:lnTo>
                    <a:pt x="14127" y="292"/>
                  </a:lnTo>
                  <a:lnTo>
                    <a:pt x="14042" y="242"/>
                  </a:lnTo>
                  <a:lnTo>
                    <a:pt x="13956" y="198"/>
                  </a:lnTo>
                  <a:lnTo>
                    <a:pt x="13866" y="158"/>
                  </a:lnTo>
                  <a:lnTo>
                    <a:pt x="13776" y="122"/>
                  </a:lnTo>
                  <a:lnTo>
                    <a:pt x="13682" y="91"/>
                  </a:lnTo>
                  <a:lnTo>
                    <a:pt x="13586" y="63"/>
                  </a:lnTo>
                  <a:lnTo>
                    <a:pt x="13489" y="41"/>
                  </a:lnTo>
                  <a:lnTo>
                    <a:pt x="13390" y="23"/>
                  </a:lnTo>
                  <a:lnTo>
                    <a:pt x="13289" y="10"/>
                  </a:lnTo>
                  <a:lnTo>
                    <a:pt x="13187" y="3"/>
                  </a:lnTo>
                  <a:lnTo>
                    <a:pt x="1308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10" name="iṩḻïḋè">
              <a:extLst>
                <a:ext uri="{FF2B5EF4-FFF2-40B4-BE49-F238E27FC236}">
                  <a16:creationId xmlns:a16="http://schemas.microsoft.com/office/drawing/2014/main" id="{C38D8FF5-E2C5-486E-AA3B-72E2E6A42921}"/>
                </a:ext>
              </a:extLst>
            </p:cNvPr>
            <p:cNvSpPr/>
            <p:nvPr/>
          </p:nvSpPr>
          <p:spPr bwMode="auto">
            <a:xfrm>
              <a:off x="11120788" y="537796"/>
              <a:ext cx="238174" cy="215943"/>
            </a:xfrm>
            <a:custGeom>
              <a:avLst/>
              <a:gdLst>
                <a:gd name="T0" fmla="*/ 10567 w 11070"/>
                <a:gd name="T1" fmla="*/ 8239 h 10059"/>
                <a:gd name="T2" fmla="*/ 2516 w 11070"/>
                <a:gd name="T3" fmla="*/ 3018 h 10059"/>
                <a:gd name="T4" fmla="*/ 503 w 11070"/>
                <a:gd name="T5" fmla="*/ 9556 h 10059"/>
                <a:gd name="T6" fmla="*/ 8932 w 11070"/>
                <a:gd name="T7" fmla="*/ 5703 h 10059"/>
                <a:gd name="T8" fmla="*/ 8852 w 11070"/>
                <a:gd name="T9" fmla="*/ 5630 h 10059"/>
                <a:gd name="T10" fmla="*/ 8762 w 11070"/>
                <a:gd name="T11" fmla="*/ 5577 h 10059"/>
                <a:gd name="T12" fmla="*/ 8661 w 11070"/>
                <a:gd name="T13" fmla="*/ 5544 h 10059"/>
                <a:gd name="T14" fmla="*/ 8554 w 11070"/>
                <a:gd name="T15" fmla="*/ 5533 h 10059"/>
                <a:gd name="T16" fmla="*/ 8448 w 11070"/>
                <a:gd name="T17" fmla="*/ 5544 h 10059"/>
                <a:gd name="T18" fmla="*/ 8347 w 11070"/>
                <a:gd name="T19" fmla="*/ 5577 h 10059"/>
                <a:gd name="T20" fmla="*/ 8256 w 11070"/>
                <a:gd name="T21" fmla="*/ 5630 h 10059"/>
                <a:gd name="T22" fmla="*/ 8177 w 11070"/>
                <a:gd name="T23" fmla="*/ 5703 h 10059"/>
                <a:gd name="T24" fmla="*/ 2856 w 11070"/>
                <a:gd name="T25" fmla="*/ 2646 h 10059"/>
                <a:gd name="T26" fmla="*/ 2769 w 11070"/>
                <a:gd name="T27" fmla="*/ 2583 h 10059"/>
                <a:gd name="T28" fmla="*/ 2674 w 11070"/>
                <a:gd name="T29" fmla="*/ 2540 h 10059"/>
                <a:gd name="T30" fmla="*/ 2570 w 11070"/>
                <a:gd name="T31" fmla="*/ 2518 h 10059"/>
                <a:gd name="T32" fmla="*/ 2462 w 11070"/>
                <a:gd name="T33" fmla="*/ 2518 h 10059"/>
                <a:gd name="T34" fmla="*/ 2358 w 11070"/>
                <a:gd name="T35" fmla="*/ 2540 h 10059"/>
                <a:gd name="T36" fmla="*/ 2262 w 11070"/>
                <a:gd name="T37" fmla="*/ 2583 h 10059"/>
                <a:gd name="T38" fmla="*/ 2177 w 11070"/>
                <a:gd name="T39" fmla="*/ 2646 h 10059"/>
                <a:gd name="T40" fmla="*/ 503 w 11070"/>
                <a:gd name="T41" fmla="*/ 503 h 10059"/>
                <a:gd name="T42" fmla="*/ 477 w 11070"/>
                <a:gd name="T43" fmla="*/ 1 h 10059"/>
                <a:gd name="T44" fmla="*/ 377 w 11070"/>
                <a:gd name="T45" fmla="*/ 16 h 10059"/>
                <a:gd name="T46" fmla="*/ 285 w 11070"/>
                <a:gd name="T47" fmla="*/ 49 h 10059"/>
                <a:gd name="T48" fmla="*/ 202 w 11070"/>
                <a:gd name="T49" fmla="*/ 99 h 10059"/>
                <a:gd name="T50" fmla="*/ 131 w 11070"/>
                <a:gd name="T51" fmla="*/ 165 h 10059"/>
                <a:gd name="T52" fmla="*/ 72 w 11070"/>
                <a:gd name="T53" fmla="*/ 242 h 10059"/>
                <a:gd name="T54" fmla="*/ 30 w 11070"/>
                <a:gd name="T55" fmla="*/ 330 h 10059"/>
                <a:gd name="T56" fmla="*/ 6 w 11070"/>
                <a:gd name="T57" fmla="*/ 426 h 10059"/>
                <a:gd name="T58" fmla="*/ 0 w 11070"/>
                <a:gd name="T59" fmla="*/ 9556 h 10059"/>
                <a:gd name="T60" fmla="*/ 10 w 11070"/>
                <a:gd name="T61" fmla="*/ 9658 h 10059"/>
                <a:gd name="T62" fmla="*/ 39 w 11070"/>
                <a:gd name="T63" fmla="*/ 9752 h 10059"/>
                <a:gd name="T64" fmla="*/ 85 w 11070"/>
                <a:gd name="T65" fmla="*/ 9838 h 10059"/>
                <a:gd name="T66" fmla="*/ 147 w 11070"/>
                <a:gd name="T67" fmla="*/ 9912 h 10059"/>
                <a:gd name="T68" fmla="*/ 221 w 11070"/>
                <a:gd name="T69" fmla="*/ 9974 h 10059"/>
                <a:gd name="T70" fmla="*/ 307 w 11070"/>
                <a:gd name="T71" fmla="*/ 10020 h 10059"/>
                <a:gd name="T72" fmla="*/ 401 w 11070"/>
                <a:gd name="T73" fmla="*/ 10049 h 10059"/>
                <a:gd name="T74" fmla="*/ 503 w 11070"/>
                <a:gd name="T75" fmla="*/ 10059 h 10059"/>
                <a:gd name="T76" fmla="*/ 10643 w 11070"/>
                <a:gd name="T77" fmla="*/ 10053 h 10059"/>
                <a:gd name="T78" fmla="*/ 10740 w 11070"/>
                <a:gd name="T79" fmla="*/ 10029 h 10059"/>
                <a:gd name="T80" fmla="*/ 10829 w 11070"/>
                <a:gd name="T81" fmla="*/ 9987 h 10059"/>
                <a:gd name="T82" fmla="*/ 10905 w 11070"/>
                <a:gd name="T83" fmla="*/ 9928 h 10059"/>
                <a:gd name="T84" fmla="*/ 10971 w 11070"/>
                <a:gd name="T85" fmla="*/ 9857 h 10059"/>
                <a:gd name="T86" fmla="*/ 11021 w 11070"/>
                <a:gd name="T87" fmla="*/ 9775 h 10059"/>
                <a:gd name="T88" fmla="*/ 11054 w 11070"/>
                <a:gd name="T89" fmla="*/ 9682 h 10059"/>
                <a:gd name="T90" fmla="*/ 11069 w 11070"/>
                <a:gd name="T91" fmla="*/ 9582 h 10059"/>
                <a:gd name="T92" fmla="*/ 11068 w 11070"/>
                <a:gd name="T93" fmla="*/ 452 h 10059"/>
                <a:gd name="T94" fmla="*/ 11048 w 11070"/>
                <a:gd name="T95" fmla="*/ 353 h 10059"/>
                <a:gd name="T96" fmla="*/ 11010 w 11070"/>
                <a:gd name="T97" fmla="*/ 263 h 10059"/>
                <a:gd name="T98" fmla="*/ 10955 w 11070"/>
                <a:gd name="T99" fmla="*/ 183 h 10059"/>
                <a:gd name="T100" fmla="*/ 10887 w 11070"/>
                <a:gd name="T101" fmla="*/ 115 h 10059"/>
                <a:gd name="T102" fmla="*/ 10808 w 11070"/>
                <a:gd name="T103" fmla="*/ 60 h 10059"/>
                <a:gd name="T104" fmla="*/ 10717 w 11070"/>
                <a:gd name="T105" fmla="*/ 22 h 10059"/>
                <a:gd name="T106" fmla="*/ 10618 w 11070"/>
                <a:gd name="T107" fmla="*/ 3 h 10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070" h="10059">
                  <a:moveTo>
                    <a:pt x="8928" y="9556"/>
                  </a:moveTo>
                  <a:lnTo>
                    <a:pt x="7203" y="7568"/>
                  </a:lnTo>
                  <a:lnTo>
                    <a:pt x="8554" y="6036"/>
                  </a:lnTo>
                  <a:lnTo>
                    <a:pt x="10567" y="8239"/>
                  </a:lnTo>
                  <a:lnTo>
                    <a:pt x="10567" y="9556"/>
                  </a:lnTo>
                  <a:lnTo>
                    <a:pt x="8928" y="9556"/>
                  </a:lnTo>
                  <a:close/>
                  <a:moveTo>
                    <a:pt x="503" y="5330"/>
                  </a:moveTo>
                  <a:lnTo>
                    <a:pt x="2516" y="3018"/>
                  </a:lnTo>
                  <a:lnTo>
                    <a:pt x="6575" y="7616"/>
                  </a:lnTo>
                  <a:lnTo>
                    <a:pt x="6866" y="7948"/>
                  </a:lnTo>
                  <a:lnTo>
                    <a:pt x="8256" y="9556"/>
                  </a:lnTo>
                  <a:lnTo>
                    <a:pt x="503" y="9556"/>
                  </a:lnTo>
                  <a:lnTo>
                    <a:pt x="503" y="5330"/>
                  </a:lnTo>
                  <a:close/>
                  <a:moveTo>
                    <a:pt x="10567" y="503"/>
                  </a:moveTo>
                  <a:lnTo>
                    <a:pt x="10567" y="7479"/>
                  </a:lnTo>
                  <a:lnTo>
                    <a:pt x="8932" y="5703"/>
                  </a:lnTo>
                  <a:lnTo>
                    <a:pt x="8913" y="5682"/>
                  </a:lnTo>
                  <a:lnTo>
                    <a:pt x="8894" y="5664"/>
                  </a:lnTo>
                  <a:lnTo>
                    <a:pt x="8873" y="5647"/>
                  </a:lnTo>
                  <a:lnTo>
                    <a:pt x="8852" y="5630"/>
                  </a:lnTo>
                  <a:lnTo>
                    <a:pt x="8831" y="5615"/>
                  </a:lnTo>
                  <a:lnTo>
                    <a:pt x="8808" y="5601"/>
                  </a:lnTo>
                  <a:lnTo>
                    <a:pt x="8785" y="5589"/>
                  </a:lnTo>
                  <a:lnTo>
                    <a:pt x="8762" y="5577"/>
                  </a:lnTo>
                  <a:lnTo>
                    <a:pt x="8736" y="5567"/>
                  </a:lnTo>
                  <a:lnTo>
                    <a:pt x="8712" y="5558"/>
                  </a:lnTo>
                  <a:lnTo>
                    <a:pt x="8686" y="5551"/>
                  </a:lnTo>
                  <a:lnTo>
                    <a:pt x="8661" y="5544"/>
                  </a:lnTo>
                  <a:lnTo>
                    <a:pt x="8635" y="5539"/>
                  </a:lnTo>
                  <a:lnTo>
                    <a:pt x="8608" y="5536"/>
                  </a:lnTo>
                  <a:lnTo>
                    <a:pt x="8581" y="5534"/>
                  </a:lnTo>
                  <a:lnTo>
                    <a:pt x="8554" y="5533"/>
                  </a:lnTo>
                  <a:lnTo>
                    <a:pt x="8527" y="5534"/>
                  </a:lnTo>
                  <a:lnTo>
                    <a:pt x="8501" y="5536"/>
                  </a:lnTo>
                  <a:lnTo>
                    <a:pt x="8474" y="5539"/>
                  </a:lnTo>
                  <a:lnTo>
                    <a:pt x="8448" y="5544"/>
                  </a:lnTo>
                  <a:lnTo>
                    <a:pt x="8422" y="5551"/>
                  </a:lnTo>
                  <a:lnTo>
                    <a:pt x="8396" y="5558"/>
                  </a:lnTo>
                  <a:lnTo>
                    <a:pt x="8372" y="5567"/>
                  </a:lnTo>
                  <a:lnTo>
                    <a:pt x="8347" y="5577"/>
                  </a:lnTo>
                  <a:lnTo>
                    <a:pt x="8324" y="5589"/>
                  </a:lnTo>
                  <a:lnTo>
                    <a:pt x="8301" y="5601"/>
                  </a:lnTo>
                  <a:lnTo>
                    <a:pt x="8277" y="5615"/>
                  </a:lnTo>
                  <a:lnTo>
                    <a:pt x="8256" y="5630"/>
                  </a:lnTo>
                  <a:lnTo>
                    <a:pt x="8235" y="5647"/>
                  </a:lnTo>
                  <a:lnTo>
                    <a:pt x="8215" y="5664"/>
                  </a:lnTo>
                  <a:lnTo>
                    <a:pt x="8195" y="5682"/>
                  </a:lnTo>
                  <a:lnTo>
                    <a:pt x="8177" y="5703"/>
                  </a:lnTo>
                  <a:lnTo>
                    <a:pt x="6867" y="7187"/>
                  </a:lnTo>
                  <a:lnTo>
                    <a:pt x="2893" y="2685"/>
                  </a:lnTo>
                  <a:lnTo>
                    <a:pt x="2875" y="2665"/>
                  </a:lnTo>
                  <a:lnTo>
                    <a:pt x="2856" y="2646"/>
                  </a:lnTo>
                  <a:lnTo>
                    <a:pt x="2835" y="2629"/>
                  </a:lnTo>
                  <a:lnTo>
                    <a:pt x="2814" y="2612"/>
                  </a:lnTo>
                  <a:lnTo>
                    <a:pt x="2793" y="2597"/>
                  </a:lnTo>
                  <a:lnTo>
                    <a:pt x="2769" y="2583"/>
                  </a:lnTo>
                  <a:lnTo>
                    <a:pt x="2746" y="2571"/>
                  </a:lnTo>
                  <a:lnTo>
                    <a:pt x="2723" y="2559"/>
                  </a:lnTo>
                  <a:lnTo>
                    <a:pt x="2698" y="2549"/>
                  </a:lnTo>
                  <a:lnTo>
                    <a:pt x="2674" y="2540"/>
                  </a:lnTo>
                  <a:lnTo>
                    <a:pt x="2648" y="2533"/>
                  </a:lnTo>
                  <a:lnTo>
                    <a:pt x="2622" y="2526"/>
                  </a:lnTo>
                  <a:lnTo>
                    <a:pt x="2596" y="2521"/>
                  </a:lnTo>
                  <a:lnTo>
                    <a:pt x="2570" y="2518"/>
                  </a:lnTo>
                  <a:lnTo>
                    <a:pt x="2543" y="2516"/>
                  </a:lnTo>
                  <a:lnTo>
                    <a:pt x="2516" y="2515"/>
                  </a:lnTo>
                  <a:lnTo>
                    <a:pt x="2489" y="2516"/>
                  </a:lnTo>
                  <a:lnTo>
                    <a:pt x="2462" y="2518"/>
                  </a:lnTo>
                  <a:lnTo>
                    <a:pt x="2435" y="2521"/>
                  </a:lnTo>
                  <a:lnTo>
                    <a:pt x="2409" y="2526"/>
                  </a:lnTo>
                  <a:lnTo>
                    <a:pt x="2384" y="2533"/>
                  </a:lnTo>
                  <a:lnTo>
                    <a:pt x="2358" y="2540"/>
                  </a:lnTo>
                  <a:lnTo>
                    <a:pt x="2334" y="2549"/>
                  </a:lnTo>
                  <a:lnTo>
                    <a:pt x="2308" y="2559"/>
                  </a:lnTo>
                  <a:lnTo>
                    <a:pt x="2285" y="2571"/>
                  </a:lnTo>
                  <a:lnTo>
                    <a:pt x="2262" y="2583"/>
                  </a:lnTo>
                  <a:lnTo>
                    <a:pt x="2239" y="2597"/>
                  </a:lnTo>
                  <a:lnTo>
                    <a:pt x="2218" y="2612"/>
                  </a:lnTo>
                  <a:lnTo>
                    <a:pt x="2197" y="2629"/>
                  </a:lnTo>
                  <a:lnTo>
                    <a:pt x="2177" y="2646"/>
                  </a:lnTo>
                  <a:lnTo>
                    <a:pt x="2157" y="2665"/>
                  </a:lnTo>
                  <a:lnTo>
                    <a:pt x="2138" y="2685"/>
                  </a:lnTo>
                  <a:lnTo>
                    <a:pt x="503" y="4570"/>
                  </a:lnTo>
                  <a:lnTo>
                    <a:pt x="503" y="503"/>
                  </a:lnTo>
                  <a:lnTo>
                    <a:pt x="10567" y="503"/>
                  </a:lnTo>
                  <a:close/>
                  <a:moveTo>
                    <a:pt x="10567" y="0"/>
                  </a:moveTo>
                  <a:lnTo>
                    <a:pt x="503" y="0"/>
                  </a:lnTo>
                  <a:lnTo>
                    <a:pt x="477" y="1"/>
                  </a:lnTo>
                  <a:lnTo>
                    <a:pt x="452" y="3"/>
                  </a:lnTo>
                  <a:lnTo>
                    <a:pt x="427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99" y="202"/>
                  </a:lnTo>
                  <a:lnTo>
                    <a:pt x="85" y="221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3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0" y="9556"/>
                  </a:lnTo>
                  <a:lnTo>
                    <a:pt x="1" y="9582"/>
                  </a:lnTo>
                  <a:lnTo>
                    <a:pt x="3" y="9608"/>
                  </a:lnTo>
                  <a:lnTo>
                    <a:pt x="6" y="9633"/>
                  </a:lnTo>
                  <a:lnTo>
                    <a:pt x="10" y="9658"/>
                  </a:lnTo>
                  <a:lnTo>
                    <a:pt x="16" y="9682"/>
                  </a:lnTo>
                  <a:lnTo>
                    <a:pt x="23" y="9706"/>
                  </a:lnTo>
                  <a:lnTo>
                    <a:pt x="30" y="9729"/>
                  </a:lnTo>
                  <a:lnTo>
                    <a:pt x="39" y="9752"/>
                  </a:lnTo>
                  <a:lnTo>
                    <a:pt x="49" y="9775"/>
                  </a:lnTo>
                  <a:lnTo>
                    <a:pt x="60" y="9797"/>
                  </a:lnTo>
                  <a:lnTo>
                    <a:pt x="72" y="9817"/>
                  </a:lnTo>
                  <a:lnTo>
                    <a:pt x="85" y="9838"/>
                  </a:lnTo>
                  <a:lnTo>
                    <a:pt x="99" y="9857"/>
                  </a:lnTo>
                  <a:lnTo>
                    <a:pt x="115" y="9876"/>
                  </a:lnTo>
                  <a:lnTo>
                    <a:pt x="131" y="9894"/>
                  </a:lnTo>
                  <a:lnTo>
                    <a:pt x="147" y="9912"/>
                  </a:lnTo>
                  <a:lnTo>
                    <a:pt x="165" y="9928"/>
                  </a:lnTo>
                  <a:lnTo>
                    <a:pt x="183" y="9945"/>
                  </a:lnTo>
                  <a:lnTo>
                    <a:pt x="202" y="9960"/>
                  </a:lnTo>
                  <a:lnTo>
                    <a:pt x="221" y="9974"/>
                  </a:lnTo>
                  <a:lnTo>
                    <a:pt x="242" y="9987"/>
                  </a:lnTo>
                  <a:lnTo>
                    <a:pt x="263" y="9999"/>
                  </a:lnTo>
                  <a:lnTo>
                    <a:pt x="285" y="10010"/>
                  </a:lnTo>
                  <a:lnTo>
                    <a:pt x="307" y="10020"/>
                  </a:lnTo>
                  <a:lnTo>
                    <a:pt x="330" y="10029"/>
                  </a:lnTo>
                  <a:lnTo>
                    <a:pt x="353" y="10037"/>
                  </a:lnTo>
                  <a:lnTo>
                    <a:pt x="377" y="10043"/>
                  </a:lnTo>
                  <a:lnTo>
                    <a:pt x="401" y="10049"/>
                  </a:lnTo>
                  <a:lnTo>
                    <a:pt x="427" y="10053"/>
                  </a:lnTo>
                  <a:lnTo>
                    <a:pt x="452" y="10056"/>
                  </a:lnTo>
                  <a:lnTo>
                    <a:pt x="477" y="10058"/>
                  </a:lnTo>
                  <a:lnTo>
                    <a:pt x="503" y="10059"/>
                  </a:lnTo>
                  <a:lnTo>
                    <a:pt x="10567" y="10059"/>
                  </a:lnTo>
                  <a:lnTo>
                    <a:pt x="10593" y="10058"/>
                  </a:lnTo>
                  <a:lnTo>
                    <a:pt x="10618" y="10056"/>
                  </a:lnTo>
                  <a:lnTo>
                    <a:pt x="10643" y="10053"/>
                  </a:lnTo>
                  <a:lnTo>
                    <a:pt x="10669" y="10049"/>
                  </a:lnTo>
                  <a:lnTo>
                    <a:pt x="10693" y="10043"/>
                  </a:lnTo>
                  <a:lnTo>
                    <a:pt x="10717" y="10037"/>
                  </a:lnTo>
                  <a:lnTo>
                    <a:pt x="10740" y="10029"/>
                  </a:lnTo>
                  <a:lnTo>
                    <a:pt x="10763" y="10020"/>
                  </a:lnTo>
                  <a:lnTo>
                    <a:pt x="10785" y="10010"/>
                  </a:lnTo>
                  <a:lnTo>
                    <a:pt x="10808" y="9999"/>
                  </a:lnTo>
                  <a:lnTo>
                    <a:pt x="10829" y="9987"/>
                  </a:lnTo>
                  <a:lnTo>
                    <a:pt x="10849" y="9974"/>
                  </a:lnTo>
                  <a:lnTo>
                    <a:pt x="10868" y="9960"/>
                  </a:lnTo>
                  <a:lnTo>
                    <a:pt x="10887" y="9945"/>
                  </a:lnTo>
                  <a:lnTo>
                    <a:pt x="10905" y="9928"/>
                  </a:lnTo>
                  <a:lnTo>
                    <a:pt x="10923" y="9912"/>
                  </a:lnTo>
                  <a:lnTo>
                    <a:pt x="10939" y="9894"/>
                  </a:lnTo>
                  <a:lnTo>
                    <a:pt x="10955" y="9876"/>
                  </a:lnTo>
                  <a:lnTo>
                    <a:pt x="10971" y="9857"/>
                  </a:lnTo>
                  <a:lnTo>
                    <a:pt x="10985" y="9838"/>
                  </a:lnTo>
                  <a:lnTo>
                    <a:pt x="10998" y="9817"/>
                  </a:lnTo>
                  <a:lnTo>
                    <a:pt x="11010" y="9797"/>
                  </a:lnTo>
                  <a:lnTo>
                    <a:pt x="11021" y="9775"/>
                  </a:lnTo>
                  <a:lnTo>
                    <a:pt x="11031" y="9752"/>
                  </a:lnTo>
                  <a:lnTo>
                    <a:pt x="11040" y="9729"/>
                  </a:lnTo>
                  <a:lnTo>
                    <a:pt x="11048" y="9706"/>
                  </a:lnTo>
                  <a:lnTo>
                    <a:pt x="11054" y="9682"/>
                  </a:lnTo>
                  <a:lnTo>
                    <a:pt x="11060" y="9658"/>
                  </a:lnTo>
                  <a:lnTo>
                    <a:pt x="11064" y="9633"/>
                  </a:lnTo>
                  <a:lnTo>
                    <a:pt x="11068" y="9608"/>
                  </a:lnTo>
                  <a:lnTo>
                    <a:pt x="11069" y="9582"/>
                  </a:lnTo>
                  <a:lnTo>
                    <a:pt x="11070" y="9556"/>
                  </a:lnTo>
                  <a:lnTo>
                    <a:pt x="11070" y="503"/>
                  </a:lnTo>
                  <a:lnTo>
                    <a:pt x="11069" y="477"/>
                  </a:lnTo>
                  <a:lnTo>
                    <a:pt x="11068" y="452"/>
                  </a:lnTo>
                  <a:lnTo>
                    <a:pt x="11064" y="426"/>
                  </a:lnTo>
                  <a:lnTo>
                    <a:pt x="11060" y="401"/>
                  </a:lnTo>
                  <a:lnTo>
                    <a:pt x="11054" y="377"/>
                  </a:lnTo>
                  <a:lnTo>
                    <a:pt x="11048" y="353"/>
                  </a:lnTo>
                  <a:lnTo>
                    <a:pt x="11040" y="330"/>
                  </a:lnTo>
                  <a:lnTo>
                    <a:pt x="11031" y="307"/>
                  </a:lnTo>
                  <a:lnTo>
                    <a:pt x="11021" y="285"/>
                  </a:lnTo>
                  <a:lnTo>
                    <a:pt x="11010" y="263"/>
                  </a:lnTo>
                  <a:lnTo>
                    <a:pt x="10998" y="242"/>
                  </a:lnTo>
                  <a:lnTo>
                    <a:pt x="10985" y="221"/>
                  </a:lnTo>
                  <a:lnTo>
                    <a:pt x="10971" y="202"/>
                  </a:lnTo>
                  <a:lnTo>
                    <a:pt x="10955" y="183"/>
                  </a:lnTo>
                  <a:lnTo>
                    <a:pt x="10939" y="165"/>
                  </a:lnTo>
                  <a:lnTo>
                    <a:pt x="10923" y="147"/>
                  </a:lnTo>
                  <a:lnTo>
                    <a:pt x="10905" y="131"/>
                  </a:lnTo>
                  <a:lnTo>
                    <a:pt x="10887" y="115"/>
                  </a:lnTo>
                  <a:lnTo>
                    <a:pt x="10868" y="99"/>
                  </a:lnTo>
                  <a:lnTo>
                    <a:pt x="10849" y="85"/>
                  </a:lnTo>
                  <a:lnTo>
                    <a:pt x="10829" y="72"/>
                  </a:lnTo>
                  <a:lnTo>
                    <a:pt x="10808" y="60"/>
                  </a:lnTo>
                  <a:lnTo>
                    <a:pt x="10785" y="49"/>
                  </a:lnTo>
                  <a:lnTo>
                    <a:pt x="10763" y="39"/>
                  </a:lnTo>
                  <a:lnTo>
                    <a:pt x="10740" y="30"/>
                  </a:lnTo>
                  <a:lnTo>
                    <a:pt x="10717" y="22"/>
                  </a:lnTo>
                  <a:lnTo>
                    <a:pt x="10693" y="16"/>
                  </a:lnTo>
                  <a:lnTo>
                    <a:pt x="10669" y="10"/>
                  </a:lnTo>
                  <a:lnTo>
                    <a:pt x="10643" y="6"/>
                  </a:lnTo>
                  <a:lnTo>
                    <a:pt x="10618" y="3"/>
                  </a:lnTo>
                  <a:lnTo>
                    <a:pt x="10593" y="1"/>
                  </a:lnTo>
                  <a:lnTo>
                    <a:pt x="105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11" name="iṥḷiḋê">
              <a:extLst>
                <a:ext uri="{FF2B5EF4-FFF2-40B4-BE49-F238E27FC236}">
                  <a16:creationId xmlns:a16="http://schemas.microsoft.com/office/drawing/2014/main" id="{4743D812-1654-4AEC-B355-E191536343A6}"/>
                </a:ext>
              </a:extLst>
            </p:cNvPr>
            <p:cNvSpPr/>
            <p:nvPr/>
          </p:nvSpPr>
          <p:spPr bwMode="auto">
            <a:xfrm>
              <a:off x="11250990" y="570346"/>
              <a:ext cx="64307" cy="65100"/>
            </a:xfrm>
            <a:custGeom>
              <a:avLst/>
              <a:gdLst>
                <a:gd name="T0" fmla="*/ 1712 w 3019"/>
                <a:gd name="T1" fmla="*/ 523 h 3018"/>
                <a:gd name="T2" fmla="*/ 1946 w 3019"/>
                <a:gd name="T3" fmla="*/ 602 h 3018"/>
                <a:gd name="T4" fmla="*/ 2150 w 3019"/>
                <a:gd name="T5" fmla="*/ 732 h 3018"/>
                <a:gd name="T6" fmla="*/ 2316 w 3019"/>
                <a:gd name="T7" fmla="*/ 907 h 3018"/>
                <a:gd name="T8" fmla="*/ 2437 w 3019"/>
                <a:gd name="T9" fmla="*/ 1117 h 3018"/>
                <a:gd name="T10" fmla="*/ 2504 w 3019"/>
                <a:gd name="T11" fmla="*/ 1356 h 3018"/>
                <a:gd name="T12" fmla="*/ 2511 w 3019"/>
                <a:gd name="T13" fmla="*/ 1611 h 3018"/>
                <a:gd name="T14" fmla="*/ 2455 w 3019"/>
                <a:gd name="T15" fmla="*/ 1854 h 3018"/>
                <a:gd name="T16" fmla="*/ 2344 w 3019"/>
                <a:gd name="T17" fmla="*/ 2071 h 3018"/>
                <a:gd name="T18" fmla="*/ 2186 w 3019"/>
                <a:gd name="T19" fmla="*/ 2253 h 3018"/>
                <a:gd name="T20" fmla="*/ 1989 w 3019"/>
                <a:gd name="T21" fmla="*/ 2393 h 3018"/>
                <a:gd name="T22" fmla="*/ 1761 w 3019"/>
                <a:gd name="T23" fmla="*/ 2482 h 3018"/>
                <a:gd name="T24" fmla="*/ 1510 w 3019"/>
                <a:gd name="T25" fmla="*/ 2515 h 3018"/>
                <a:gd name="T26" fmla="*/ 1258 w 3019"/>
                <a:gd name="T27" fmla="*/ 2482 h 3018"/>
                <a:gd name="T28" fmla="*/ 1031 w 3019"/>
                <a:gd name="T29" fmla="*/ 2393 h 3018"/>
                <a:gd name="T30" fmla="*/ 833 w 3019"/>
                <a:gd name="T31" fmla="*/ 2253 h 3018"/>
                <a:gd name="T32" fmla="*/ 675 w 3019"/>
                <a:gd name="T33" fmla="*/ 2071 h 3018"/>
                <a:gd name="T34" fmla="*/ 565 w 3019"/>
                <a:gd name="T35" fmla="*/ 1854 h 3018"/>
                <a:gd name="T36" fmla="*/ 508 w 3019"/>
                <a:gd name="T37" fmla="*/ 1611 h 3018"/>
                <a:gd name="T38" fmla="*/ 514 w 3019"/>
                <a:gd name="T39" fmla="*/ 1356 h 3018"/>
                <a:gd name="T40" fmla="*/ 583 w 3019"/>
                <a:gd name="T41" fmla="*/ 1117 h 3018"/>
                <a:gd name="T42" fmla="*/ 704 w 3019"/>
                <a:gd name="T43" fmla="*/ 907 h 3018"/>
                <a:gd name="T44" fmla="*/ 870 w 3019"/>
                <a:gd name="T45" fmla="*/ 732 h 3018"/>
                <a:gd name="T46" fmla="*/ 1074 w 3019"/>
                <a:gd name="T47" fmla="*/ 602 h 3018"/>
                <a:gd name="T48" fmla="*/ 1308 w 3019"/>
                <a:gd name="T49" fmla="*/ 523 h 3018"/>
                <a:gd name="T50" fmla="*/ 1510 w 3019"/>
                <a:gd name="T51" fmla="*/ 3018 h 3018"/>
                <a:gd name="T52" fmla="*/ 1887 w 3019"/>
                <a:gd name="T53" fmla="*/ 2969 h 3018"/>
                <a:gd name="T54" fmla="*/ 2229 w 3019"/>
                <a:gd name="T55" fmla="*/ 2836 h 3018"/>
                <a:gd name="T56" fmla="*/ 2525 w 3019"/>
                <a:gd name="T57" fmla="*/ 2625 h 3018"/>
                <a:gd name="T58" fmla="*/ 2762 w 3019"/>
                <a:gd name="T59" fmla="*/ 2352 h 3018"/>
                <a:gd name="T60" fmla="*/ 2928 w 3019"/>
                <a:gd name="T61" fmla="*/ 2028 h 3018"/>
                <a:gd name="T62" fmla="*/ 3011 w 3019"/>
                <a:gd name="T63" fmla="*/ 1663 h 3018"/>
                <a:gd name="T64" fmla="*/ 3002 w 3019"/>
                <a:gd name="T65" fmla="*/ 1278 h 3018"/>
                <a:gd name="T66" fmla="*/ 2901 w 3019"/>
                <a:gd name="T67" fmla="*/ 921 h 3018"/>
                <a:gd name="T68" fmla="*/ 2719 w 3019"/>
                <a:gd name="T69" fmla="*/ 605 h 3018"/>
                <a:gd name="T70" fmla="*/ 2470 w 3019"/>
                <a:gd name="T71" fmla="*/ 344 h 3018"/>
                <a:gd name="T72" fmla="*/ 2164 w 3019"/>
                <a:gd name="T73" fmla="*/ 149 h 3018"/>
                <a:gd name="T74" fmla="*/ 1814 w 3019"/>
                <a:gd name="T75" fmla="*/ 30 h 3018"/>
                <a:gd name="T76" fmla="*/ 1432 w 3019"/>
                <a:gd name="T77" fmla="*/ 2 h 3018"/>
                <a:gd name="T78" fmla="*/ 1061 w 3019"/>
                <a:gd name="T79" fmla="*/ 67 h 3018"/>
                <a:gd name="T80" fmla="*/ 727 w 3019"/>
                <a:gd name="T81" fmla="*/ 218 h 3018"/>
                <a:gd name="T82" fmla="*/ 442 w 3019"/>
                <a:gd name="T83" fmla="*/ 441 h 3018"/>
                <a:gd name="T84" fmla="*/ 219 w 3019"/>
                <a:gd name="T85" fmla="*/ 726 h 3018"/>
                <a:gd name="T86" fmla="*/ 68 w 3019"/>
                <a:gd name="T87" fmla="*/ 1060 h 3018"/>
                <a:gd name="T88" fmla="*/ 2 w 3019"/>
                <a:gd name="T89" fmla="*/ 1431 h 3018"/>
                <a:gd name="T90" fmla="*/ 30 w 3019"/>
                <a:gd name="T91" fmla="*/ 1812 h 3018"/>
                <a:gd name="T92" fmla="*/ 149 w 3019"/>
                <a:gd name="T93" fmla="*/ 2163 h 3018"/>
                <a:gd name="T94" fmla="*/ 344 w 3019"/>
                <a:gd name="T95" fmla="*/ 2468 h 3018"/>
                <a:gd name="T96" fmla="*/ 606 w 3019"/>
                <a:gd name="T97" fmla="*/ 2718 h 3018"/>
                <a:gd name="T98" fmla="*/ 922 w 3019"/>
                <a:gd name="T99" fmla="*/ 2899 h 3018"/>
                <a:gd name="T100" fmla="*/ 1280 w 3019"/>
                <a:gd name="T101" fmla="*/ 2999 h 30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019" h="3018">
                  <a:moveTo>
                    <a:pt x="1510" y="503"/>
                  </a:moveTo>
                  <a:lnTo>
                    <a:pt x="1561" y="504"/>
                  </a:lnTo>
                  <a:lnTo>
                    <a:pt x="1612" y="508"/>
                  </a:lnTo>
                  <a:lnTo>
                    <a:pt x="1663" y="514"/>
                  </a:lnTo>
                  <a:lnTo>
                    <a:pt x="1712" y="523"/>
                  </a:lnTo>
                  <a:lnTo>
                    <a:pt x="1761" y="534"/>
                  </a:lnTo>
                  <a:lnTo>
                    <a:pt x="1809" y="548"/>
                  </a:lnTo>
                  <a:lnTo>
                    <a:pt x="1856" y="564"/>
                  </a:lnTo>
                  <a:lnTo>
                    <a:pt x="1901" y="581"/>
                  </a:lnTo>
                  <a:lnTo>
                    <a:pt x="1946" y="602"/>
                  </a:lnTo>
                  <a:lnTo>
                    <a:pt x="1989" y="624"/>
                  </a:lnTo>
                  <a:lnTo>
                    <a:pt x="2031" y="649"/>
                  </a:lnTo>
                  <a:lnTo>
                    <a:pt x="2072" y="675"/>
                  </a:lnTo>
                  <a:lnTo>
                    <a:pt x="2112" y="703"/>
                  </a:lnTo>
                  <a:lnTo>
                    <a:pt x="2150" y="732"/>
                  </a:lnTo>
                  <a:lnTo>
                    <a:pt x="2186" y="764"/>
                  </a:lnTo>
                  <a:lnTo>
                    <a:pt x="2221" y="797"/>
                  </a:lnTo>
                  <a:lnTo>
                    <a:pt x="2255" y="833"/>
                  </a:lnTo>
                  <a:lnTo>
                    <a:pt x="2286" y="869"/>
                  </a:lnTo>
                  <a:lnTo>
                    <a:pt x="2316" y="907"/>
                  </a:lnTo>
                  <a:lnTo>
                    <a:pt x="2344" y="946"/>
                  </a:lnTo>
                  <a:lnTo>
                    <a:pt x="2370" y="988"/>
                  </a:lnTo>
                  <a:lnTo>
                    <a:pt x="2394" y="1029"/>
                  </a:lnTo>
                  <a:lnTo>
                    <a:pt x="2417" y="1073"/>
                  </a:lnTo>
                  <a:lnTo>
                    <a:pt x="2437" y="1117"/>
                  </a:lnTo>
                  <a:lnTo>
                    <a:pt x="2455" y="1163"/>
                  </a:lnTo>
                  <a:lnTo>
                    <a:pt x="2471" y="1210"/>
                  </a:lnTo>
                  <a:lnTo>
                    <a:pt x="2484" y="1257"/>
                  </a:lnTo>
                  <a:lnTo>
                    <a:pt x="2496" y="1305"/>
                  </a:lnTo>
                  <a:lnTo>
                    <a:pt x="2504" y="1356"/>
                  </a:lnTo>
                  <a:lnTo>
                    <a:pt x="2511" y="1406"/>
                  </a:lnTo>
                  <a:lnTo>
                    <a:pt x="2515" y="1456"/>
                  </a:lnTo>
                  <a:lnTo>
                    <a:pt x="2516" y="1509"/>
                  </a:lnTo>
                  <a:lnTo>
                    <a:pt x="2515" y="1560"/>
                  </a:lnTo>
                  <a:lnTo>
                    <a:pt x="2511" y="1611"/>
                  </a:lnTo>
                  <a:lnTo>
                    <a:pt x="2504" y="1662"/>
                  </a:lnTo>
                  <a:lnTo>
                    <a:pt x="2496" y="1711"/>
                  </a:lnTo>
                  <a:lnTo>
                    <a:pt x="2484" y="1759"/>
                  </a:lnTo>
                  <a:lnTo>
                    <a:pt x="2471" y="1807"/>
                  </a:lnTo>
                  <a:lnTo>
                    <a:pt x="2455" y="1854"/>
                  </a:lnTo>
                  <a:lnTo>
                    <a:pt x="2437" y="1900"/>
                  </a:lnTo>
                  <a:lnTo>
                    <a:pt x="2417" y="1944"/>
                  </a:lnTo>
                  <a:lnTo>
                    <a:pt x="2394" y="1988"/>
                  </a:lnTo>
                  <a:lnTo>
                    <a:pt x="2370" y="2030"/>
                  </a:lnTo>
                  <a:lnTo>
                    <a:pt x="2344" y="2071"/>
                  </a:lnTo>
                  <a:lnTo>
                    <a:pt x="2316" y="2110"/>
                  </a:lnTo>
                  <a:lnTo>
                    <a:pt x="2286" y="2148"/>
                  </a:lnTo>
                  <a:lnTo>
                    <a:pt x="2255" y="2185"/>
                  </a:lnTo>
                  <a:lnTo>
                    <a:pt x="2221" y="2220"/>
                  </a:lnTo>
                  <a:lnTo>
                    <a:pt x="2186" y="2253"/>
                  </a:lnTo>
                  <a:lnTo>
                    <a:pt x="2150" y="2284"/>
                  </a:lnTo>
                  <a:lnTo>
                    <a:pt x="2112" y="2314"/>
                  </a:lnTo>
                  <a:lnTo>
                    <a:pt x="2072" y="2343"/>
                  </a:lnTo>
                  <a:lnTo>
                    <a:pt x="2031" y="2369"/>
                  </a:lnTo>
                  <a:lnTo>
                    <a:pt x="1989" y="2393"/>
                  </a:lnTo>
                  <a:lnTo>
                    <a:pt x="1946" y="2415"/>
                  </a:lnTo>
                  <a:lnTo>
                    <a:pt x="1901" y="2435"/>
                  </a:lnTo>
                  <a:lnTo>
                    <a:pt x="1856" y="2453"/>
                  </a:lnTo>
                  <a:lnTo>
                    <a:pt x="1809" y="2469"/>
                  </a:lnTo>
                  <a:lnTo>
                    <a:pt x="1761" y="2482"/>
                  </a:lnTo>
                  <a:lnTo>
                    <a:pt x="1712" y="2494"/>
                  </a:lnTo>
                  <a:lnTo>
                    <a:pt x="1663" y="2503"/>
                  </a:lnTo>
                  <a:lnTo>
                    <a:pt x="1612" y="2510"/>
                  </a:lnTo>
                  <a:lnTo>
                    <a:pt x="1561" y="2514"/>
                  </a:lnTo>
                  <a:lnTo>
                    <a:pt x="1510" y="2515"/>
                  </a:lnTo>
                  <a:lnTo>
                    <a:pt x="1458" y="2514"/>
                  </a:lnTo>
                  <a:lnTo>
                    <a:pt x="1407" y="2510"/>
                  </a:lnTo>
                  <a:lnTo>
                    <a:pt x="1357" y="2503"/>
                  </a:lnTo>
                  <a:lnTo>
                    <a:pt x="1308" y="2494"/>
                  </a:lnTo>
                  <a:lnTo>
                    <a:pt x="1258" y="2482"/>
                  </a:lnTo>
                  <a:lnTo>
                    <a:pt x="1211" y="2469"/>
                  </a:lnTo>
                  <a:lnTo>
                    <a:pt x="1165" y="2453"/>
                  </a:lnTo>
                  <a:lnTo>
                    <a:pt x="1118" y="2435"/>
                  </a:lnTo>
                  <a:lnTo>
                    <a:pt x="1074" y="2415"/>
                  </a:lnTo>
                  <a:lnTo>
                    <a:pt x="1031" y="2393"/>
                  </a:lnTo>
                  <a:lnTo>
                    <a:pt x="988" y="2369"/>
                  </a:lnTo>
                  <a:lnTo>
                    <a:pt x="947" y="2343"/>
                  </a:lnTo>
                  <a:lnTo>
                    <a:pt x="908" y="2314"/>
                  </a:lnTo>
                  <a:lnTo>
                    <a:pt x="870" y="2284"/>
                  </a:lnTo>
                  <a:lnTo>
                    <a:pt x="833" y="2253"/>
                  </a:lnTo>
                  <a:lnTo>
                    <a:pt x="798" y="2220"/>
                  </a:lnTo>
                  <a:lnTo>
                    <a:pt x="765" y="2185"/>
                  </a:lnTo>
                  <a:lnTo>
                    <a:pt x="734" y="2148"/>
                  </a:lnTo>
                  <a:lnTo>
                    <a:pt x="704" y="2110"/>
                  </a:lnTo>
                  <a:lnTo>
                    <a:pt x="675" y="2071"/>
                  </a:lnTo>
                  <a:lnTo>
                    <a:pt x="649" y="2030"/>
                  </a:lnTo>
                  <a:lnTo>
                    <a:pt x="625" y="1988"/>
                  </a:lnTo>
                  <a:lnTo>
                    <a:pt x="603" y="1944"/>
                  </a:lnTo>
                  <a:lnTo>
                    <a:pt x="583" y="1900"/>
                  </a:lnTo>
                  <a:lnTo>
                    <a:pt x="565" y="1854"/>
                  </a:lnTo>
                  <a:lnTo>
                    <a:pt x="549" y="1807"/>
                  </a:lnTo>
                  <a:lnTo>
                    <a:pt x="536" y="1759"/>
                  </a:lnTo>
                  <a:lnTo>
                    <a:pt x="524" y="1711"/>
                  </a:lnTo>
                  <a:lnTo>
                    <a:pt x="514" y="1662"/>
                  </a:lnTo>
                  <a:lnTo>
                    <a:pt x="508" y="1611"/>
                  </a:lnTo>
                  <a:lnTo>
                    <a:pt x="504" y="1560"/>
                  </a:lnTo>
                  <a:lnTo>
                    <a:pt x="503" y="1509"/>
                  </a:lnTo>
                  <a:lnTo>
                    <a:pt x="504" y="1456"/>
                  </a:lnTo>
                  <a:lnTo>
                    <a:pt x="508" y="1406"/>
                  </a:lnTo>
                  <a:lnTo>
                    <a:pt x="514" y="1356"/>
                  </a:lnTo>
                  <a:lnTo>
                    <a:pt x="524" y="1305"/>
                  </a:lnTo>
                  <a:lnTo>
                    <a:pt x="536" y="1257"/>
                  </a:lnTo>
                  <a:lnTo>
                    <a:pt x="549" y="1210"/>
                  </a:lnTo>
                  <a:lnTo>
                    <a:pt x="565" y="1163"/>
                  </a:lnTo>
                  <a:lnTo>
                    <a:pt x="583" y="1117"/>
                  </a:lnTo>
                  <a:lnTo>
                    <a:pt x="603" y="1073"/>
                  </a:lnTo>
                  <a:lnTo>
                    <a:pt x="625" y="1029"/>
                  </a:lnTo>
                  <a:lnTo>
                    <a:pt x="649" y="988"/>
                  </a:lnTo>
                  <a:lnTo>
                    <a:pt x="675" y="946"/>
                  </a:lnTo>
                  <a:lnTo>
                    <a:pt x="704" y="907"/>
                  </a:lnTo>
                  <a:lnTo>
                    <a:pt x="734" y="869"/>
                  </a:lnTo>
                  <a:lnTo>
                    <a:pt x="765" y="833"/>
                  </a:lnTo>
                  <a:lnTo>
                    <a:pt x="798" y="797"/>
                  </a:lnTo>
                  <a:lnTo>
                    <a:pt x="833" y="764"/>
                  </a:lnTo>
                  <a:lnTo>
                    <a:pt x="870" y="732"/>
                  </a:lnTo>
                  <a:lnTo>
                    <a:pt x="908" y="703"/>
                  </a:lnTo>
                  <a:lnTo>
                    <a:pt x="947" y="675"/>
                  </a:lnTo>
                  <a:lnTo>
                    <a:pt x="988" y="649"/>
                  </a:lnTo>
                  <a:lnTo>
                    <a:pt x="1031" y="624"/>
                  </a:lnTo>
                  <a:lnTo>
                    <a:pt x="1074" y="602"/>
                  </a:lnTo>
                  <a:lnTo>
                    <a:pt x="1118" y="581"/>
                  </a:lnTo>
                  <a:lnTo>
                    <a:pt x="1165" y="564"/>
                  </a:lnTo>
                  <a:lnTo>
                    <a:pt x="1211" y="548"/>
                  </a:lnTo>
                  <a:lnTo>
                    <a:pt x="1258" y="534"/>
                  </a:lnTo>
                  <a:lnTo>
                    <a:pt x="1308" y="523"/>
                  </a:lnTo>
                  <a:lnTo>
                    <a:pt x="1357" y="514"/>
                  </a:lnTo>
                  <a:lnTo>
                    <a:pt x="1407" y="508"/>
                  </a:lnTo>
                  <a:lnTo>
                    <a:pt x="1458" y="504"/>
                  </a:lnTo>
                  <a:lnTo>
                    <a:pt x="1510" y="503"/>
                  </a:lnTo>
                  <a:close/>
                  <a:moveTo>
                    <a:pt x="1510" y="3018"/>
                  </a:moveTo>
                  <a:lnTo>
                    <a:pt x="1587" y="3016"/>
                  </a:lnTo>
                  <a:lnTo>
                    <a:pt x="1664" y="3010"/>
                  </a:lnTo>
                  <a:lnTo>
                    <a:pt x="1739" y="2999"/>
                  </a:lnTo>
                  <a:lnTo>
                    <a:pt x="1814" y="2986"/>
                  </a:lnTo>
                  <a:lnTo>
                    <a:pt x="1887" y="2969"/>
                  </a:lnTo>
                  <a:lnTo>
                    <a:pt x="1959" y="2949"/>
                  </a:lnTo>
                  <a:lnTo>
                    <a:pt x="2029" y="2926"/>
                  </a:lnTo>
                  <a:lnTo>
                    <a:pt x="2098" y="2899"/>
                  </a:lnTo>
                  <a:lnTo>
                    <a:pt x="2164" y="2869"/>
                  </a:lnTo>
                  <a:lnTo>
                    <a:pt x="2229" y="2836"/>
                  </a:lnTo>
                  <a:lnTo>
                    <a:pt x="2293" y="2799"/>
                  </a:lnTo>
                  <a:lnTo>
                    <a:pt x="2354" y="2760"/>
                  </a:lnTo>
                  <a:lnTo>
                    <a:pt x="2413" y="2718"/>
                  </a:lnTo>
                  <a:lnTo>
                    <a:pt x="2470" y="2673"/>
                  </a:lnTo>
                  <a:lnTo>
                    <a:pt x="2525" y="2625"/>
                  </a:lnTo>
                  <a:lnTo>
                    <a:pt x="2578" y="2575"/>
                  </a:lnTo>
                  <a:lnTo>
                    <a:pt x="2627" y="2523"/>
                  </a:lnTo>
                  <a:lnTo>
                    <a:pt x="2675" y="2468"/>
                  </a:lnTo>
                  <a:lnTo>
                    <a:pt x="2719" y="2411"/>
                  </a:lnTo>
                  <a:lnTo>
                    <a:pt x="2762" y="2352"/>
                  </a:lnTo>
                  <a:lnTo>
                    <a:pt x="2801" y="2291"/>
                  </a:lnTo>
                  <a:lnTo>
                    <a:pt x="2837" y="2228"/>
                  </a:lnTo>
                  <a:lnTo>
                    <a:pt x="2870" y="2163"/>
                  </a:lnTo>
                  <a:lnTo>
                    <a:pt x="2901" y="2096"/>
                  </a:lnTo>
                  <a:lnTo>
                    <a:pt x="2928" y="2028"/>
                  </a:lnTo>
                  <a:lnTo>
                    <a:pt x="2952" y="1957"/>
                  </a:lnTo>
                  <a:lnTo>
                    <a:pt x="2972" y="1886"/>
                  </a:lnTo>
                  <a:lnTo>
                    <a:pt x="2989" y="1812"/>
                  </a:lnTo>
                  <a:lnTo>
                    <a:pt x="3002" y="1738"/>
                  </a:lnTo>
                  <a:lnTo>
                    <a:pt x="3011" y="1663"/>
                  </a:lnTo>
                  <a:lnTo>
                    <a:pt x="3017" y="1586"/>
                  </a:lnTo>
                  <a:lnTo>
                    <a:pt x="3019" y="1509"/>
                  </a:lnTo>
                  <a:lnTo>
                    <a:pt x="3017" y="1431"/>
                  </a:lnTo>
                  <a:lnTo>
                    <a:pt x="3011" y="1354"/>
                  </a:lnTo>
                  <a:lnTo>
                    <a:pt x="3002" y="1278"/>
                  </a:lnTo>
                  <a:lnTo>
                    <a:pt x="2989" y="1204"/>
                  </a:lnTo>
                  <a:lnTo>
                    <a:pt x="2972" y="1131"/>
                  </a:lnTo>
                  <a:lnTo>
                    <a:pt x="2952" y="1060"/>
                  </a:lnTo>
                  <a:lnTo>
                    <a:pt x="2928" y="990"/>
                  </a:lnTo>
                  <a:lnTo>
                    <a:pt x="2901" y="921"/>
                  </a:lnTo>
                  <a:lnTo>
                    <a:pt x="2870" y="854"/>
                  </a:lnTo>
                  <a:lnTo>
                    <a:pt x="2837" y="789"/>
                  </a:lnTo>
                  <a:lnTo>
                    <a:pt x="2801" y="726"/>
                  </a:lnTo>
                  <a:lnTo>
                    <a:pt x="2762" y="665"/>
                  </a:lnTo>
                  <a:lnTo>
                    <a:pt x="2719" y="605"/>
                  </a:lnTo>
                  <a:lnTo>
                    <a:pt x="2675" y="549"/>
                  </a:lnTo>
                  <a:lnTo>
                    <a:pt x="2627" y="494"/>
                  </a:lnTo>
                  <a:lnTo>
                    <a:pt x="2578" y="441"/>
                  </a:lnTo>
                  <a:lnTo>
                    <a:pt x="2525" y="391"/>
                  </a:lnTo>
                  <a:lnTo>
                    <a:pt x="2470" y="344"/>
                  </a:lnTo>
                  <a:lnTo>
                    <a:pt x="2413" y="300"/>
                  </a:lnTo>
                  <a:lnTo>
                    <a:pt x="2354" y="257"/>
                  </a:lnTo>
                  <a:lnTo>
                    <a:pt x="2293" y="218"/>
                  </a:lnTo>
                  <a:lnTo>
                    <a:pt x="2229" y="182"/>
                  </a:lnTo>
                  <a:lnTo>
                    <a:pt x="2164" y="149"/>
                  </a:lnTo>
                  <a:lnTo>
                    <a:pt x="2098" y="118"/>
                  </a:lnTo>
                  <a:lnTo>
                    <a:pt x="2029" y="91"/>
                  </a:lnTo>
                  <a:lnTo>
                    <a:pt x="1959" y="67"/>
                  </a:lnTo>
                  <a:lnTo>
                    <a:pt x="1887" y="47"/>
                  </a:lnTo>
                  <a:lnTo>
                    <a:pt x="1814" y="30"/>
                  </a:lnTo>
                  <a:lnTo>
                    <a:pt x="1739" y="17"/>
                  </a:lnTo>
                  <a:lnTo>
                    <a:pt x="1664" y="8"/>
                  </a:lnTo>
                  <a:lnTo>
                    <a:pt x="1587" y="2"/>
                  </a:lnTo>
                  <a:lnTo>
                    <a:pt x="1510" y="0"/>
                  </a:lnTo>
                  <a:lnTo>
                    <a:pt x="1432" y="2"/>
                  </a:lnTo>
                  <a:lnTo>
                    <a:pt x="1356" y="8"/>
                  </a:lnTo>
                  <a:lnTo>
                    <a:pt x="1280" y="17"/>
                  </a:lnTo>
                  <a:lnTo>
                    <a:pt x="1206" y="30"/>
                  </a:lnTo>
                  <a:lnTo>
                    <a:pt x="1132" y="47"/>
                  </a:lnTo>
                  <a:lnTo>
                    <a:pt x="1061" y="67"/>
                  </a:lnTo>
                  <a:lnTo>
                    <a:pt x="990" y="91"/>
                  </a:lnTo>
                  <a:lnTo>
                    <a:pt x="922" y="118"/>
                  </a:lnTo>
                  <a:lnTo>
                    <a:pt x="856" y="149"/>
                  </a:lnTo>
                  <a:lnTo>
                    <a:pt x="790" y="182"/>
                  </a:lnTo>
                  <a:lnTo>
                    <a:pt x="727" y="218"/>
                  </a:lnTo>
                  <a:lnTo>
                    <a:pt x="665" y="257"/>
                  </a:lnTo>
                  <a:lnTo>
                    <a:pt x="606" y="300"/>
                  </a:lnTo>
                  <a:lnTo>
                    <a:pt x="550" y="344"/>
                  </a:lnTo>
                  <a:lnTo>
                    <a:pt x="494" y="391"/>
                  </a:lnTo>
                  <a:lnTo>
                    <a:pt x="442" y="441"/>
                  </a:lnTo>
                  <a:lnTo>
                    <a:pt x="393" y="494"/>
                  </a:lnTo>
                  <a:lnTo>
                    <a:pt x="344" y="549"/>
                  </a:lnTo>
                  <a:lnTo>
                    <a:pt x="300" y="605"/>
                  </a:lnTo>
                  <a:lnTo>
                    <a:pt x="258" y="665"/>
                  </a:lnTo>
                  <a:lnTo>
                    <a:pt x="219" y="726"/>
                  </a:lnTo>
                  <a:lnTo>
                    <a:pt x="182" y="789"/>
                  </a:lnTo>
                  <a:lnTo>
                    <a:pt x="149" y="854"/>
                  </a:lnTo>
                  <a:lnTo>
                    <a:pt x="119" y="921"/>
                  </a:lnTo>
                  <a:lnTo>
                    <a:pt x="92" y="990"/>
                  </a:lnTo>
                  <a:lnTo>
                    <a:pt x="68" y="1060"/>
                  </a:lnTo>
                  <a:lnTo>
                    <a:pt x="48" y="1131"/>
                  </a:lnTo>
                  <a:lnTo>
                    <a:pt x="30" y="1204"/>
                  </a:lnTo>
                  <a:lnTo>
                    <a:pt x="17" y="1278"/>
                  </a:lnTo>
                  <a:lnTo>
                    <a:pt x="8" y="1354"/>
                  </a:lnTo>
                  <a:lnTo>
                    <a:pt x="2" y="1431"/>
                  </a:lnTo>
                  <a:lnTo>
                    <a:pt x="0" y="1509"/>
                  </a:lnTo>
                  <a:lnTo>
                    <a:pt x="2" y="1586"/>
                  </a:lnTo>
                  <a:lnTo>
                    <a:pt x="8" y="1663"/>
                  </a:lnTo>
                  <a:lnTo>
                    <a:pt x="17" y="1738"/>
                  </a:lnTo>
                  <a:lnTo>
                    <a:pt x="30" y="1812"/>
                  </a:lnTo>
                  <a:lnTo>
                    <a:pt x="48" y="1886"/>
                  </a:lnTo>
                  <a:lnTo>
                    <a:pt x="68" y="1957"/>
                  </a:lnTo>
                  <a:lnTo>
                    <a:pt x="92" y="2028"/>
                  </a:lnTo>
                  <a:lnTo>
                    <a:pt x="119" y="2096"/>
                  </a:lnTo>
                  <a:lnTo>
                    <a:pt x="149" y="2163"/>
                  </a:lnTo>
                  <a:lnTo>
                    <a:pt x="182" y="2228"/>
                  </a:lnTo>
                  <a:lnTo>
                    <a:pt x="219" y="2291"/>
                  </a:lnTo>
                  <a:lnTo>
                    <a:pt x="258" y="2352"/>
                  </a:lnTo>
                  <a:lnTo>
                    <a:pt x="300" y="2411"/>
                  </a:lnTo>
                  <a:lnTo>
                    <a:pt x="344" y="2468"/>
                  </a:lnTo>
                  <a:lnTo>
                    <a:pt x="393" y="2523"/>
                  </a:lnTo>
                  <a:lnTo>
                    <a:pt x="442" y="2575"/>
                  </a:lnTo>
                  <a:lnTo>
                    <a:pt x="494" y="2625"/>
                  </a:lnTo>
                  <a:lnTo>
                    <a:pt x="550" y="2673"/>
                  </a:lnTo>
                  <a:lnTo>
                    <a:pt x="606" y="2718"/>
                  </a:lnTo>
                  <a:lnTo>
                    <a:pt x="665" y="2760"/>
                  </a:lnTo>
                  <a:lnTo>
                    <a:pt x="727" y="2799"/>
                  </a:lnTo>
                  <a:lnTo>
                    <a:pt x="790" y="2836"/>
                  </a:lnTo>
                  <a:lnTo>
                    <a:pt x="856" y="2869"/>
                  </a:lnTo>
                  <a:lnTo>
                    <a:pt x="922" y="2899"/>
                  </a:lnTo>
                  <a:lnTo>
                    <a:pt x="990" y="2926"/>
                  </a:lnTo>
                  <a:lnTo>
                    <a:pt x="1061" y="2949"/>
                  </a:lnTo>
                  <a:lnTo>
                    <a:pt x="1132" y="2969"/>
                  </a:lnTo>
                  <a:lnTo>
                    <a:pt x="1206" y="2986"/>
                  </a:lnTo>
                  <a:lnTo>
                    <a:pt x="1280" y="2999"/>
                  </a:lnTo>
                  <a:lnTo>
                    <a:pt x="1356" y="3010"/>
                  </a:lnTo>
                  <a:lnTo>
                    <a:pt x="1432" y="3016"/>
                  </a:lnTo>
                  <a:lnTo>
                    <a:pt x="1510" y="30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12" name="ïṩḷidé">
              <a:extLst>
                <a:ext uri="{FF2B5EF4-FFF2-40B4-BE49-F238E27FC236}">
                  <a16:creationId xmlns:a16="http://schemas.microsoft.com/office/drawing/2014/main" id="{76FC9677-C537-4BD7-9DE4-6AA77A54AA88}"/>
                </a:ext>
              </a:extLst>
            </p:cNvPr>
            <p:cNvSpPr/>
            <p:nvPr/>
          </p:nvSpPr>
          <p:spPr bwMode="auto">
            <a:xfrm>
              <a:off x="10998418" y="902706"/>
              <a:ext cx="231062" cy="231062"/>
            </a:xfrm>
            <a:custGeom>
              <a:avLst/>
              <a:gdLst>
                <a:gd name="T0" fmla="*/ 15044 w 16095"/>
                <a:gd name="T1" fmla="*/ 14382 h 16095"/>
                <a:gd name="T2" fmla="*/ 14889 w 16095"/>
                <a:gd name="T3" fmla="*/ 14685 h 16095"/>
                <a:gd name="T4" fmla="*/ 14645 w 16095"/>
                <a:gd name="T5" fmla="*/ 14917 h 16095"/>
                <a:gd name="T6" fmla="*/ 14335 w 16095"/>
                <a:gd name="T7" fmla="*/ 15057 h 16095"/>
                <a:gd name="T8" fmla="*/ 1961 w 16095"/>
                <a:gd name="T9" fmla="*/ 15088 h 16095"/>
                <a:gd name="T10" fmla="*/ 1621 w 16095"/>
                <a:gd name="T11" fmla="*/ 15010 h 16095"/>
                <a:gd name="T12" fmla="*/ 1336 w 16095"/>
                <a:gd name="T13" fmla="*/ 14828 h 16095"/>
                <a:gd name="T14" fmla="*/ 1128 w 16095"/>
                <a:gd name="T15" fmla="*/ 14562 h 16095"/>
                <a:gd name="T16" fmla="*/ 1017 w 16095"/>
                <a:gd name="T17" fmla="*/ 14236 h 16095"/>
                <a:gd name="T18" fmla="*/ 1012 w 16095"/>
                <a:gd name="T19" fmla="*/ 3947 h 16095"/>
                <a:gd name="T20" fmla="*/ 1066 w 16095"/>
                <a:gd name="T21" fmla="*/ 3784 h 16095"/>
                <a:gd name="T22" fmla="*/ 1171 w 16095"/>
                <a:gd name="T23" fmla="*/ 3652 h 16095"/>
                <a:gd name="T24" fmla="*/ 1313 w 16095"/>
                <a:gd name="T25" fmla="*/ 3560 h 16095"/>
                <a:gd name="T26" fmla="*/ 1483 w 16095"/>
                <a:gd name="T27" fmla="*/ 3522 h 16095"/>
                <a:gd name="T28" fmla="*/ 2022 w 16095"/>
                <a:gd name="T29" fmla="*/ 13682 h 16095"/>
                <a:gd name="T30" fmla="*/ 2084 w 16095"/>
                <a:gd name="T31" fmla="*/ 13841 h 16095"/>
                <a:gd name="T32" fmla="*/ 2195 w 16095"/>
                <a:gd name="T33" fmla="*/ 13968 h 16095"/>
                <a:gd name="T34" fmla="*/ 2342 w 16095"/>
                <a:gd name="T35" fmla="*/ 14053 h 16095"/>
                <a:gd name="T36" fmla="*/ 2515 w 16095"/>
                <a:gd name="T37" fmla="*/ 14083 h 16095"/>
                <a:gd name="T38" fmla="*/ 2688 w 16095"/>
                <a:gd name="T39" fmla="*/ 14053 h 16095"/>
                <a:gd name="T40" fmla="*/ 2835 w 16095"/>
                <a:gd name="T41" fmla="*/ 13968 h 16095"/>
                <a:gd name="T42" fmla="*/ 2945 w 16095"/>
                <a:gd name="T43" fmla="*/ 13841 h 16095"/>
                <a:gd name="T44" fmla="*/ 3008 w 16095"/>
                <a:gd name="T45" fmla="*/ 13682 h 16095"/>
                <a:gd name="T46" fmla="*/ 3021 w 16095"/>
                <a:gd name="T47" fmla="*/ 1458 h 16095"/>
                <a:gd name="T48" fmla="*/ 3067 w 16095"/>
                <a:gd name="T49" fmla="*/ 1291 h 16095"/>
                <a:gd name="T50" fmla="*/ 3166 w 16095"/>
                <a:gd name="T51" fmla="*/ 1154 h 16095"/>
                <a:gd name="T52" fmla="*/ 3302 w 16095"/>
                <a:gd name="T53" fmla="*/ 1055 h 16095"/>
                <a:gd name="T54" fmla="*/ 3469 w 16095"/>
                <a:gd name="T55" fmla="*/ 1009 h 16095"/>
                <a:gd name="T56" fmla="*/ 14688 w 16095"/>
                <a:gd name="T57" fmla="*/ 1016 h 16095"/>
                <a:gd name="T58" fmla="*/ 14847 w 16095"/>
                <a:gd name="T59" fmla="*/ 1079 h 16095"/>
                <a:gd name="T60" fmla="*/ 14974 w 16095"/>
                <a:gd name="T61" fmla="*/ 1189 h 16095"/>
                <a:gd name="T62" fmla="*/ 15059 w 16095"/>
                <a:gd name="T63" fmla="*/ 1336 h 16095"/>
                <a:gd name="T64" fmla="*/ 15089 w 16095"/>
                <a:gd name="T65" fmla="*/ 1509 h 16095"/>
                <a:gd name="T66" fmla="*/ 3217 w 16095"/>
                <a:gd name="T67" fmla="*/ 30 h 16095"/>
                <a:gd name="T68" fmla="*/ 2738 w 16095"/>
                <a:gd name="T69" fmla="*/ 218 h 16095"/>
                <a:gd name="T70" fmla="*/ 2356 w 16095"/>
                <a:gd name="T71" fmla="*/ 549 h 16095"/>
                <a:gd name="T72" fmla="*/ 2103 w 16095"/>
                <a:gd name="T73" fmla="*/ 990 h 16095"/>
                <a:gd name="T74" fmla="*/ 2012 w 16095"/>
                <a:gd name="T75" fmla="*/ 1509 h 16095"/>
                <a:gd name="T76" fmla="*/ 1132 w 16095"/>
                <a:gd name="T77" fmla="*/ 2562 h 16095"/>
                <a:gd name="T78" fmla="*/ 665 w 16095"/>
                <a:gd name="T79" fmla="*/ 2772 h 16095"/>
                <a:gd name="T80" fmla="*/ 300 w 16095"/>
                <a:gd name="T81" fmla="*/ 3120 h 16095"/>
                <a:gd name="T82" fmla="*/ 67 w 16095"/>
                <a:gd name="T83" fmla="*/ 3575 h 16095"/>
                <a:gd name="T84" fmla="*/ 0 w 16095"/>
                <a:gd name="T85" fmla="*/ 14083 h 16095"/>
                <a:gd name="T86" fmla="*/ 122 w 16095"/>
                <a:gd name="T87" fmla="*/ 14775 h 16095"/>
                <a:gd name="T88" fmla="*/ 460 w 16095"/>
                <a:gd name="T89" fmla="*/ 15363 h 16095"/>
                <a:gd name="T90" fmla="*/ 969 w 16095"/>
                <a:gd name="T91" fmla="*/ 15803 h 16095"/>
                <a:gd name="T92" fmla="*/ 1606 w 16095"/>
                <a:gd name="T93" fmla="*/ 16054 h 16095"/>
                <a:gd name="T94" fmla="*/ 14289 w 16095"/>
                <a:gd name="T95" fmla="*/ 16085 h 16095"/>
                <a:gd name="T96" fmla="*/ 14955 w 16095"/>
                <a:gd name="T97" fmla="*/ 15897 h 16095"/>
                <a:gd name="T98" fmla="*/ 15506 w 16095"/>
                <a:gd name="T99" fmla="*/ 15506 h 16095"/>
                <a:gd name="T100" fmla="*/ 15897 w 16095"/>
                <a:gd name="T101" fmla="*/ 14955 h 16095"/>
                <a:gd name="T102" fmla="*/ 16085 w 16095"/>
                <a:gd name="T103" fmla="*/ 14289 h 16095"/>
                <a:gd name="T104" fmla="*/ 16065 w 16095"/>
                <a:gd name="T105" fmla="*/ 1204 h 16095"/>
                <a:gd name="T106" fmla="*/ 15877 w 16095"/>
                <a:gd name="T107" fmla="*/ 726 h 16095"/>
                <a:gd name="T108" fmla="*/ 15546 w 16095"/>
                <a:gd name="T109" fmla="*/ 344 h 16095"/>
                <a:gd name="T110" fmla="*/ 15105 w 16095"/>
                <a:gd name="T111" fmla="*/ 92 h 16095"/>
                <a:gd name="T112" fmla="*/ 14586 w 16095"/>
                <a:gd name="T113" fmla="*/ 0 h 16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6095">
                  <a:moveTo>
                    <a:pt x="15089" y="14083"/>
                  </a:moveTo>
                  <a:lnTo>
                    <a:pt x="15088" y="14134"/>
                  </a:lnTo>
                  <a:lnTo>
                    <a:pt x="15084" y="14186"/>
                  </a:lnTo>
                  <a:lnTo>
                    <a:pt x="15077" y="14236"/>
                  </a:lnTo>
                  <a:lnTo>
                    <a:pt x="15069" y="14285"/>
                  </a:lnTo>
                  <a:lnTo>
                    <a:pt x="15057" y="14334"/>
                  </a:lnTo>
                  <a:lnTo>
                    <a:pt x="15044" y="14382"/>
                  </a:lnTo>
                  <a:lnTo>
                    <a:pt x="15028" y="14428"/>
                  </a:lnTo>
                  <a:lnTo>
                    <a:pt x="15010" y="14474"/>
                  </a:lnTo>
                  <a:lnTo>
                    <a:pt x="14989" y="14519"/>
                  </a:lnTo>
                  <a:lnTo>
                    <a:pt x="14967" y="14562"/>
                  </a:lnTo>
                  <a:lnTo>
                    <a:pt x="14943" y="14604"/>
                  </a:lnTo>
                  <a:lnTo>
                    <a:pt x="14917" y="14645"/>
                  </a:lnTo>
                  <a:lnTo>
                    <a:pt x="14889" y="14685"/>
                  </a:lnTo>
                  <a:lnTo>
                    <a:pt x="14859" y="14723"/>
                  </a:lnTo>
                  <a:lnTo>
                    <a:pt x="14828" y="14759"/>
                  </a:lnTo>
                  <a:lnTo>
                    <a:pt x="14794" y="14794"/>
                  </a:lnTo>
                  <a:lnTo>
                    <a:pt x="14759" y="14828"/>
                  </a:lnTo>
                  <a:lnTo>
                    <a:pt x="14723" y="14859"/>
                  </a:lnTo>
                  <a:lnTo>
                    <a:pt x="14685" y="14889"/>
                  </a:lnTo>
                  <a:lnTo>
                    <a:pt x="14645" y="14917"/>
                  </a:lnTo>
                  <a:lnTo>
                    <a:pt x="14604" y="14943"/>
                  </a:lnTo>
                  <a:lnTo>
                    <a:pt x="14562" y="14967"/>
                  </a:lnTo>
                  <a:lnTo>
                    <a:pt x="14519" y="14989"/>
                  </a:lnTo>
                  <a:lnTo>
                    <a:pt x="14474" y="15010"/>
                  </a:lnTo>
                  <a:lnTo>
                    <a:pt x="14429" y="15028"/>
                  </a:lnTo>
                  <a:lnTo>
                    <a:pt x="14382" y="15044"/>
                  </a:lnTo>
                  <a:lnTo>
                    <a:pt x="14335" y="15057"/>
                  </a:lnTo>
                  <a:lnTo>
                    <a:pt x="14285" y="15069"/>
                  </a:lnTo>
                  <a:lnTo>
                    <a:pt x="14236" y="15077"/>
                  </a:lnTo>
                  <a:lnTo>
                    <a:pt x="14186" y="15084"/>
                  </a:lnTo>
                  <a:lnTo>
                    <a:pt x="14134" y="15088"/>
                  </a:lnTo>
                  <a:lnTo>
                    <a:pt x="14083" y="15089"/>
                  </a:lnTo>
                  <a:lnTo>
                    <a:pt x="2012" y="15089"/>
                  </a:lnTo>
                  <a:lnTo>
                    <a:pt x="1961" y="15088"/>
                  </a:lnTo>
                  <a:lnTo>
                    <a:pt x="1909" y="15084"/>
                  </a:lnTo>
                  <a:lnTo>
                    <a:pt x="1859" y="15077"/>
                  </a:lnTo>
                  <a:lnTo>
                    <a:pt x="1810" y="15069"/>
                  </a:lnTo>
                  <a:lnTo>
                    <a:pt x="1760" y="15057"/>
                  </a:lnTo>
                  <a:lnTo>
                    <a:pt x="1713" y="15044"/>
                  </a:lnTo>
                  <a:lnTo>
                    <a:pt x="1666" y="15028"/>
                  </a:lnTo>
                  <a:lnTo>
                    <a:pt x="1621" y="15010"/>
                  </a:lnTo>
                  <a:lnTo>
                    <a:pt x="1576" y="14989"/>
                  </a:lnTo>
                  <a:lnTo>
                    <a:pt x="1533" y="14967"/>
                  </a:lnTo>
                  <a:lnTo>
                    <a:pt x="1491" y="14943"/>
                  </a:lnTo>
                  <a:lnTo>
                    <a:pt x="1450" y="14917"/>
                  </a:lnTo>
                  <a:lnTo>
                    <a:pt x="1410" y="14889"/>
                  </a:lnTo>
                  <a:lnTo>
                    <a:pt x="1372" y="14859"/>
                  </a:lnTo>
                  <a:lnTo>
                    <a:pt x="1336" y="14828"/>
                  </a:lnTo>
                  <a:lnTo>
                    <a:pt x="1301" y="14794"/>
                  </a:lnTo>
                  <a:lnTo>
                    <a:pt x="1267" y="14759"/>
                  </a:lnTo>
                  <a:lnTo>
                    <a:pt x="1236" y="14723"/>
                  </a:lnTo>
                  <a:lnTo>
                    <a:pt x="1206" y="14685"/>
                  </a:lnTo>
                  <a:lnTo>
                    <a:pt x="1178" y="14645"/>
                  </a:lnTo>
                  <a:lnTo>
                    <a:pt x="1152" y="14604"/>
                  </a:lnTo>
                  <a:lnTo>
                    <a:pt x="1128" y="14562"/>
                  </a:lnTo>
                  <a:lnTo>
                    <a:pt x="1106" y="14519"/>
                  </a:lnTo>
                  <a:lnTo>
                    <a:pt x="1085" y="14474"/>
                  </a:lnTo>
                  <a:lnTo>
                    <a:pt x="1067" y="14428"/>
                  </a:lnTo>
                  <a:lnTo>
                    <a:pt x="1051" y="14382"/>
                  </a:lnTo>
                  <a:lnTo>
                    <a:pt x="1037" y="14334"/>
                  </a:lnTo>
                  <a:lnTo>
                    <a:pt x="1026" y="14285"/>
                  </a:lnTo>
                  <a:lnTo>
                    <a:pt x="1017" y="14236"/>
                  </a:lnTo>
                  <a:lnTo>
                    <a:pt x="1011" y="14186"/>
                  </a:lnTo>
                  <a:lnTo>
                    <a:pt x="1007" y="14134"/>
                  </a:lnTo>
                  <a:lnTo>
                    <a:pt x="1006" y="14083"/>
                  </a:lnTo>
                  <a:lnTo>
                    <a:pt x="1006" y="4024"/>
                  </a:lnTo>
                  <a:lnTo>
                    <a:pt x="1007" y="3998"/>
                  </a:lnTo>
                  <a:lnTo>
                    <a:pt x="1009" y="3972"/>
                  </a:lnTo>
                  <a:lnTo>
                    <a:pt x="1012" y="3947"/>
                  </a:lnTo>
                  <a:lnTo>
                    <a:pt x="1016" y="3922"/>
                  </a:lnTo>
                  <a:lnTo>
                    <a:pt x="1022" y="3898"/>
                  </a:lnTo>
                  <a:lnTo>
                    <a:pt x="1028" y="3874"/>
                  </a:lnTo>
                  <a:lnTo>
                    <a:pt x="1036" y="3851"/>
                  </a:lnTo>
                  <a:lnTo>
                    <a:pt x="1045" y="3828"/>
                  </a:lnTo>
                  <a:lnTo>
                    <a:pt x="1055" y="3805"/>
                  </a:lnTo>
                  <a:lnTo>
                    <a:pt x="1066" y="3784"/>
                  </a:lnTo>
                  <a:lnTo>
                    <a:pt x="1078" y="3763"/>
                  </a:lnTo>
                  <a:lnTo>
                    <a:pt x="1091" y="3743"/>
                  </a:lnTo>
                  <a:lnTo>
                    <a:pt x="1106" y="3723"/>
                  </a:lnTo>
                  <a:lnTo>
                    <a:pt x="1121" y="3704"/>
                  </a:lnTo>
                  <a:lnTo>
                    <a:pt x="1137" y="3686"/>
                  </a:lnTo>
                  <a:lnTo>
                    <a:pt x="1153" y="3669"/>
                  </a:lnTo>
                  <a:lnTo>
                    <a:pt x="1171" y="3652"/>
                  </a:lnTo>
                  <a:lnTo>
                    <a:pt x="1189" y="3635"/>
                  </a:lnTo>
                  <a:lnTo>
                    <a:pt x="1208" y="3620"/>
                  </a:lnTo>
                  <a:lnTo>
                    <a:pt x="1227" y="3606"/>
                  </a:lnTo>
                  <a:lnTo>
                    <a:pt x="1248" y="3593"/>
                  </a:lnTo>
                  <a:lnTo>
                    <a:pt x="1269" y="3581"/>
                  </a:lnTo>
                  <a:lnTo>
                    <a:pt x="1291" y="3570"/>
                  </a:lnTo>
                  <a:lnTo>
                    <a:pt x="1313" y="3560"/>
                  </a:lnTo>
                  <a:lnTo>
                    <a:pt x="1336" y="3551"/>
                  </a:lnTo>
                  <a:lnTo>
                    <a:pt x="1359" y="3544"/>
                  </a:lnTo>
                  <a:lnTo>
                    <a:pt x="1383" y="3537"/>
                  </a:lnTo>
                  <a:lnTo>
                    <a:pt x="1407" y="3531"/>
                  </a:lnTo>
                  <a:lnTo>
                    <a:pt x="1432" y="3527"/>
                  </a:lnTo>
                  <a:lnTo>
                    <a:pt x="1458" y="3524"/>
                  </a:lnTo>
                  <a:lnTo>
                    <a:pt x="1483" y="3522"/>
                  </a:lnTo>
                  <a:lnTo>
                    <a:pt x="1509" y="3521"/>
                  </a:lnTo>
                  <a:lnTo>
                    <a:pt x="2012" y="3521"/>
                  </a:lnTo>
                  <a:lnTo>
                    <a:pt x="2012" y="13580"/>
                  </a:lnTo>
                  <a:lnTo>
                    <a:pt x="2013" y="13606"/>
                  </a:lnTo>
                  <a:lnTo>
                    <a:pt x="2015" y="13631"/>
                  </a:lnTo>
                  <a:lnTo>
                    <a:pt x="2018" y="13657"/>
                  </a:lnTo>
                  <a:lnTo>
                    <a:pt x="2022" y="13682"/>
                  </a:lnTo>
                  <a:lnTo>
                    <a:pt x="2028" y="13706"/>
                  </a:lnTo>
                  <a:lnTo>
                    <a:pt x="2034" y="13730"/>
                  </a:lnTo>
                  <a:lnTo>
                    <a:pt x="2042" y="13753"/>
                  </a:lnTo>
                  <a:lnTo>
                    <a:pt x="2051" y="13776"/>
                  </a:lnTo>
                  <a:lnTo>
                    <a:pt x="2061" y="13798"/>
                  </a:lnTo>
                  <a:lnTo>
                    <a:pt x="2072" y="13821"/>
                  </a:lnTo>
                  <a:lnTo>
                    <a:pt x="2084" y="13841"/>
                  </a:lnTo>
                  <a:lnTo>
                    <a:pt x="2097" y="13862"/>
                  </a:lnTo>
                  <a:lnTo>
                    <a:pt x="2111" y="13881"/>
                  </a:lnTo>
                  <a:lnTo>
                    <a:pt x="2127" y="13900"/>
                  </a:lnTo>
                  <a:lnTo>
                    <a:pt x="2143" y="13918"/>
                  </a:lnTo>
                  <a:lnTo>
                    <a:pt x="2159" y="13936"/>
                  </a:lnTo>
                  <a:lnTo>
                    <a:pt x="2177" y="13952"/>
                  </a:lnTo>
                  <a:lnTo>
                    <a:pt x="2195" y="13968"/>
                  </a:lnTo>
                  <a:lnTo>
                    <a:pt x="2214" y="13984"/>
                  </a:lnTo>
                  <a:lnTo>
                    <a:pt x="2233" y="13998"/>
                  </a:lnTo>
                  <a:lnTo>
                    <a:pt x="2254" y="14011"/>
                  </a:lnTo>
                  <a:lnTo>
                    <a:pt x="2275" y="14023"/>
                  </a:lnTo>
                  <a:lnTo>
                    <a:pt x="2297" y="14034"/>
                  </a:lnTo>
                  <a:lnTo>
                    <a:pt x="2319" y="14044"/>
                  </a:lnTo>
                  <a:lnTo>
                    <a:pt x="2342" y="14053"/>
                  </a:lnTo>
                  <a:lnTo>
                    <a:pt x="2365" y="14061"/>
                  </a:lnTo>
                  <a:lnTo>
                    <a:pt x="2389" y="14067"/>
                  </a:lnTo>
                  <a:lnTo>
                    <a:pt x="2413" y="14073"/>
                  </a:lnTo>
                  <a:lnTo>
                    <a:pt x="2438" y="14077"/>
                  </a:lnTo>
                  <a:lnTo>
                    <a:pt x="2464" y="14080"/>
                  </a:lnTo>
                  <a:lnTo>
                    <a:pt x="2489" y="14082"/>
                  </a:lnTo>
                  <a:lnTo>
                    <a:pt x="2515" y="14083"/>
                  </a:lnTo>
                  <a:lnTo>
                    <a:pt x="2541" y="14082"/>
                  </a:lnTo>
                  <a:lnTo>
                    <a:pt x="2566" y="14080"/>
                  </a:lnTo>
                  <a:lnTo>
                    <a:pt x="2591" y="14077"/>
                  </a:lnTo>
                  <a:lnTo>
                    <a:pt x="2616" y="14073"/>
                  </a:lnTo>
                  <a:lnTo>
                    <a:pt x="2641" y="14067"/>
                  </a:lnTo>
                  <a:lnTo>
                    <a:pt x="2665" y="14061"/>
                  </a:lnTo>
                  <a:lnTo>
                    <a:pt x="2688" y="14053"/>
                  </a:lnTo>
                  <a:lnTo>
                    <a:pt x="2711" y="14044"/>
                  </a:lnTo>
                  <a:lnTo>
                    <a:pt x="2733" y="14034"/>
                  </a:lnTo>
                  <a:lnTo>
                    <a:pt x="2755" y="14023"/>
                  </a:lnTo>
                  <a:lnTo>
                    <a:pt x="2775" y="14011"/>
                  </a:lnTo>
                  <a:lnTo>
                    <a:pt x="2797" y="13998"/>
                  </a:lnTo>
                  <a:lnTo>
                    <a:pt x="2816" y="13984"/>
                  </a:lnTo>
                  <a:lnTo>
                    <a:pt x="2835" y="13968"/>
                  </a:lnTo>
                  <a:lnTo>
                    <a:pt x="2853" y="13952"/>
                  </a:lnTo>
                  <a:lnTo>
                    <a:pt x="2871" y="13936"/>
                  </a:lnTo>
                  <a:lnTo>
                    <a:pt x="2887" y="13918"/>
                  </a:lnTo>
                  <a:lnTo>
                    <a:pt x="2903" y="13900"/>
                  </a:lnTo>
                  <a:lnTo>
                    <a:pt x="2918" y="13881"/>
                  </a:lnTo>
                  <a:lnTo>
                    <a:pt x="2932" y="13862"/>
                  </a:lnTo>
                  <a:lnTo>
                    <a:pt x="2945" y="13841"/>
                  </a:lnTo>
                  <a:lnTo>
                    <a:pt x="2957" y="13821"/>
                  </a:lnTo>
                  <a:lnTo>
                    <a:pt x="2969" y="13798"/>
                  </a:lnTo>
                  <a:lnTo>
                    <a:pt x="2979" y="13776"/>
                  </a:lnTo>
                  <a:lnTo>
                    <a:pt x="2988" y="13753"/>
                  </a:lnTo>
                  <a:lnTo>
                    <a:pt x="2996" y="13730"/>
                  </a:lnTo>
                  <a:lnTo>
                    <a:pt x="3002" y="13706"/>
                  </a:lnTo>
                  <a:lnTo>
                    <a:pt x="3008" y="13682"/>
                  </a:lnTo>
                  <a:lnTo>
                    <a:pt x="3012" y="13657"/>
                  </a:lnTo>
                  <a:lnTo>
                    <a:pt x="3015" y="13631"/>
                  </a:lnTo>
                  <a:lnTo>
                    <a:pt x="3017" y="13606"/>
                  </a:lnTo>
                  <a:lnTo>
                    <a:pt x="3018" y="13580"/>
                  </a:lnTo>
                  <a:lnTo>
                    <a:pt x="3018" y="1509"/>
                  </a:lnTo>
                  <a:lnTo>
                    <a:pt x="3019" y="1483"/>
                  </a:lnTo>
                  <a:lnTo>
                    <a:pt x="3021" y="1458"/>
                  </a:lnTo>
                  <a:lnTo>
                    <a:pt x="3024" y="1432"/>
                  </a:lnTo>
                  <a:lnTo>
                    <a:pt x="3028" y="1407"/>
                  </a:lnTo>
                  <a:lnTo>
                    <a:pt x="3034" y="1383"/>
                  </a:lnTo>
                  <a:lnTo>
                    <a:pt x="3041" y="1359"/>
                  </a:lnTo>
                  <a:lnTo>
                    <a:pt x="3048" y="1336"/>
                  </a:lnTo>
                  <a:lnTo>
                    <a:pt x="3057" y="1313"/>
                  </a:lnTo>
                  <a:lnTo>
                    <a:pt x="3067" y="1291"/>
                  </a:lnTo>
                  <a:lnTo>
                    <a:pt x="3078" y="1269"/>
                  </a:lnTo>
                  <a:lnTo>
                    <a:pt x="3090" y="1248"/>
                  </a:lnTo>
                  <a:lnTo>
                    <a:pt x="3103" y="1227"/>
                  </a:lnTo>
                  <a:lnTo>
                    <a:pt x="3117" y="1208"/>
                  </a:lnTo>
                  <a:lnTo>
                    <a:pt x="3132" y="1189"/>
                  </a:lnTo>
                  <a:lnTo>
                    <a:pt x="3149" y="1171"/>
                  </a:lnTo>
                  <a:lnTo>
                    <a:pt x="3166" y="1154"/>
                  </a:lnTo>
                  <a:lnTo>
                    <a:pt x="3183" y="1137"/>
                  </a:lnTo>
                  <a:lnTo>
                    <a:pt x="3201" y="1121"/>
                  </a:lnTo>
                  <a:lnTo>
                    <a:pt x="3220" y="1106"/>
                  </a:lnTo>
                  <a:lnTo>
                    <a:pt x="3240" y="1092"/>
                  </a:lnTo>
                  <a:lnTo>
                    <a:pt x="3260" y="1079"/>
                  </a:lnTo>
                  <a:lnTo>
                    <a:pt x="3281" y="1066"/>
                  </a:lnTo>
                  <a:lnTo>
                    <a:pt x="3302" y="1055"/>
                  </a:lnTo>
                  <a:lnTo>
                    <a:pt x="3325" y="1045"/>
                  </a:lnTo>
                  <a:lnTo>
                    <a:pt x="3348" y="1036"/>
                  </a:lnTo>
                  <a:lnTo>
                    <a:pt x="3371" y="1029"/>
                  </a:lnTo>
                  <a:lnTo>
                    <a:pt x="3395" y="1022"/>
                  </a:lnTo>
                  <a:lnTo>
                    <a:pt x="3419" y="1016"/>
                  </a:lnTo>
                  <a:lnTo>
                    <a:pt x="3444" y="1012"/>
                  </a:lnTo>
                  <a:lnTo>
                    <a:pt x="3469" y="1009"/>
                  </a:lnTo>
                  <a:lnTo>
                    <a:pt x="3495" y="1007"/>
                  </a:lnTo>
                  <a:lnTo>
                    <a:pt x="3521" y="1006"/>
                  </a:lnTo>
                  <a:lnTo>
                    <a:pt x="14586" y="1006"/>
                  </a:lnTo>
                  <a:lnTo>
                    <a:pt x="14612" y="1007"/>
                  </a:lnTo>
                  <a:lnTo>
                    <a:pt x="14637" y="1009"/>
                  </a:lnTo>
                  <a:lnTo>
                    <a:pt x="14663" y="1012"/>
                  </a:lnTo>
                  <a:lnTo>
                    <a:pt x="14688" y="1016"/>
                  </a:lnTo>
                  <a:lnTo>
                    <a:pt x="14712" y="1022"/>
                  </a:lnTo>
                  <a:lnTo>
                    <a:pt x="14736" y="1029"/>
                  </a:lnTo>
                  <a:lnTo>
                    <a:pt x="14759" y="1036"/>
                  </a:lnTo>
                  <a:lnTo>
                    <a:pt x="14782" y="1045"/>
                  </a:lnTo>
                  <a:lnTo>
                    <a:pt x="14804" y="1055"/>
                  </a:lnTo>
                  <a:lnTo>
                    <a:pt x="14826" y="1066"/>
                  </a:lnTo>
                  <a:lnTo>
                    <a:pt x="14847" y="1079"/>
                  </a:lnTo>
                  <a:lnTo>
                    <a:pt x="14867" y="1092"/>
                  </a:lnTo>
                  <a:lnTo>
                    <a:pt x="14887" y="1106"/>
                  </a:lnTo>
                  <a:lnTo>
                    <a:pt x="14906" y="1121"/>
                  </a:lnTo>
                  <a:lnTo>
                    <a:pt x="14924" y="1137"/>
                  </a:lnTo>
                  <a:lnTo>
                    <a:pt x="14942" y="1154"/>
                  </a:lnTo>
                  <a:lnTo>
                    <a:pt x="14958" y="1171"/>
                  </a:lnTo>
                  <a:lnTo>
                    <a:pt x="14974" y="1189"/>
                  </a:lnTo>
                  <a:lnTo>
                    <a:pt x="14989" y="1208"/>
                  </a:lnTo>
                  <a:lnTo>
                    <a:pt x="15004" y="1227"/>
                  </a:lnTo>
                  <a:lnTo>
                    <a:pt x="15017" y="1248"/>
                  </a:lnTo>
                  <a:lnTo>
                    <a:pt x="15029" y="1269"/>
                  </a:lnTo>
                  <a:lnTo>
                    <a:pt x="15040" y="1291"/>
                  </a:lnTo>
                  <a:lnTo>
                    <a:pt x="15050" y="1313"/>
                  </a:lnTo>
                  <a:lnTo>
                    <a:pt x="15059" y="1336"/>
                  </a:lnTo>
                  <a:lnTo>
                    <a:pt x="15066" y="1359"/>
                  </a:lnTo>
                  <a:lnTo>
                    <a:pt x="15073" y="1383"/>
                  </a:lnTo>
                  <a:lnTo>
                    <a:pt x="15079" y="1407"/>
                  </a:lnTo>
                  <a:lnTo>
                    <a:pt x="15083" y="1432"/>
                  </a:lnTo>
                  <a:lnTo>
                    <a:pt x="15086" y="1458"/>
                  </a:lnTo>
                  <a:lnTo>
                    <a:pt x="15088" y="1483"/>
                  </a:lnTo>
                  <a:lnTo>
                    <a:pt x="15089" y="1509"/>
                  </a:lnTo>
                  <a:lnTo>
                    <a:pt x="15089" y="14083"/>
                  </a:lnTo>
                  <a:close/>
                  <a:moveTo>
                    <a:pt x="14586" y="0"/>
                  </a:moveTo>
                  <a:lnTo>
                    <a:pt x="3521" y="0"/>
                  </a:lnTo>
                  <a:lnTo>
                    <a:pt x="3443" y="2"/>
                  </a:lnTo>
                  <a:lnTo>
                    <a:pt x="3367" y="8"/>
                  </a:lnTo>
                  <a:lnTo>
                    <a:pt x="3291" y="17"/>
                  </a:lnTo>
                  <a:lnTo>
                    <a:pt x="3217" y="30"/>
                  </a:lnTo>
                  <a:lnTo>
                    <a:pt x="3144" y="47"/>
                  </a:lnTo>
                  <a:lnTo>
                    <a:pt x="3072" y="67"/>
                  </a:lnTo>
                  <a:lnTo>
                    <a:pt x="3002" y="92"/>
                  </a:lnTo>
                  <a:lnTo>
                    <a:pt x="2933" y="119"/>
                  </a:lnTo>
                  <a:lnTo>
                    <a:pt x="2867" y="149"/>
                  </a:lnTo>
                  <a:lnTo>
                    <a:pt x="2802" y="182"/>
                  </a:lnTo>
                  <a:lnTo>
                    <a:pt x="2738" y="218"/>
                  </a:lnTo>
                  <a:lnTo>
                    <a:pt x="2677" y="258"/>
                  </a:lnTo>
                  <a:lnTo>
                    <a:pt x="2617" y="300"/>
                  </a:lnTo>
                  <a:lnTo>
                    <a:pt x="2561" y="344"/>
                  </a:lnTo>
                  <a:lnTo>
                    <a:pt x="2506" y="391"/>
                  </a:lnTo>
                  <a:lnTo>
                    <a:pt x="2453" y="442"/>
                  </a:lnTo>
                  <a:lnTo>
                    <a:pt x="2404" y="494"/>
                  </a:lnTo>
                  <a:lnTo>
                    <a:pt x="2356" y="549"/>
                  </a:lnTo>
                  <a:lnTo>
                    <a:pt x="2312" y="606"/>
                  </a:lnTo>
                  <a:lnTo>
                    <a:pt x="2269" y="665"/>
                  </a:lnTo>
                  <a:lnTo>
                    <a:pt x="2230" y="726"/>
                  </a:lnTo>
                  <a:lnTo>
                    <a:pt x="2194" y="790"/>
                  </a:lnTo>
                  <a:lnTo>
                    <a:pt x="2161" y="854"/>
                  </a:lnTo>
                  <a:lnTo>
                    <a:pt x="2131" y="921"/>
                  </a:lnTo>
                  <a:lnTo>
                    <a:pt x="2103" y="990"/>
                  </a:lnTo>
                  <a:lnTo>
                    <a:pt x="2079" y="1060"/>
                  </a:lnTo>
                  <a:lnTo>
                    <a:pt x="2059" y="1132"/>
                  </a:lnTo>
                  <a:lnTo>
                    <a:pt x="2042" y="1204"/>
                  </a:lnTo>
                  <a:lnTo>
                    <a:pt x="2029" y="1279"/>
                  </a:lnTo>
                  <a:lnTo>
                    <a:pt x="2020" y="1354"/>
                  </a:lnTo>
                  <a:lnTo>
                    <a:pt x="2014" y="1431"/>
                  </a:lnTo>
                  <a:lnTo>
                    <a:pt x="2012" y="1509"/>
                  </a:lnTo>
                  <a:lnTo>
                    <a:pt x="2012" y="2515"/>
                  </a:lnTo>
                  <a:lnTo>
                    <a:pt x="1509" y="2515"/>
                  </a:lnTo>
                  <a:lnTo>
                    <a:pt x="1431" y="2517"/>
                  </a:lnTo>
                  <a:lnTo>
                    <a:pt x="1355" y="2523"/>
                  </a:lnTo>
                  <a:lnTo>
                    <a:pt x="1280" y="2532"/>
                  </a:lnTo>
                  <a:lnTo>
                    <a:pt x="1205" y="2545"/>
                  </a:lnTo>
                  <a:lnTo>
                    <a:pt x="1132" y="2562"/>
                  </a:lnTo>
                  <a:lnTo>
                    <a:pt x="1060" y="2582"/>
                  </a:lnTo>
                  <a:lnTo>
                    <a:pt x="990" y="2606"/>
                  </a:lnTo>
                  <a:lnTo>
                    <a:pt x="921" y="2634"/>
                  </a:lnTo>
                  <a:lnTo>
                    <a:pt x="855" y="2664"/>
                  </a:lnTo>
                  <a:lnTo>
                    <a:pt x="790" y="2697"/>
                  </a:lnTo>
                  <a:lnTo>
                    <a:pt x="726" y="2733"/>
                  </a:lnTo>
                  <a:lnTo>
                    <a:pt x="665" y="2772"/>
                  </a:lnTo>
                  <a:lnTo>
                    <a:pt x="607" y="2815"/>
                  </a:lnTo>
                  <a:lnTo>
                    <a:pt x="549" y="2859"/>
                  </a:lnTo>
                  <a:lnTo>
                    <a:pt x="494" y="2907"/>
                  </a:lnTo>
                  <a:lnTo>
                    <a:pt x="442" y="2956"/>
                  </a:lnTo>
                  <a:lnTo>
                    <a:pt x="392" y="3009"/>
                  </a:lnTo>
                  <a:lnTo>
                    <a:pt x="345" y="3064"/>
                  </a:lnTo>
                  <a:lnTo>
                    <a:pt x="300" y="3120"/>
                  </a:lnTo>
                  <a:lnTo>
                    <a:pt x="258" y="3180"/>
                  </a:lnTo>
                  <a:lnTo>
                    <a:pt x="218" y="3241"/>
                  </a:lnTo>
                  <a:lnTo>
                    <a:pt x="182" y="3305"/>
                  </a:lnTo>
                  <a:lnTo>
                    <a:pt x="149" y="3369"/>
                  </a:lnTo>
                  <a:lnTo>
                    <a:pt x="119" y="3436"/>
                  </a:lnTo>
                  <a:lnTo>
                    <a:pt x="92" y="3505"/>
                  </a:lnTo>
                  <a:lnTo>
                    <a:pt x="67" y="3575"/>
                  </a:lnTo>
                  <a:lnTo>
                    <a:pt x="47" y="3647"/>
                  </a:lnTo>
                  <a:lnTo>
                    <a:pt x="30" y="3720"/>
                  </a:lnTo>
                  <a:lnTo>
                    <a:pt x="17" y="3793"/>
                  </a:lnTo>
                  <a:lnTo>
                    <a:pt x="8" y="3869"/>
                  </a:lnTo>
                  <a:lnTo>
                    <a:pt x="2" y="3946"/>
                  </a:lnTo>
                  <a:lnTo>
                    <a:pt x="0" y="4024"/>
                  </a:lnTo>
                  <a:lnTo>
                    <a:pt x="0" y="14083"/>
                  </a:lnTo>
                  <a:lnTo>
                    <a:pt x="3" y="14187"/>
                  </a:lnTo>
                  <a:lnTo>
                    <a:pt x="10" y="14289"/>
                  </a:lnTo>
                  <a:lnTo>
                    <a:pt x="23" y="14390"/>
                  </a:lnTo>
                  <a:lnTo>
                    <a:pt x="41" y="14489"/>
                  </a:lnTo>
                  <a:lnTo>
                    <a:pt x="63" y="14586"/>
                  </a:lnTo>
                  <a:lnTo>
                    <a:pt x="91" y="14682"/>
                  </a:lnTo>
                  <a:lnTo>
                    <a:pt x="122" y="14775"/>
                  </a:lnTo>
                  <a:lnTo>
                    <a:pt x="158" y="14867"/>
                  </a:lnTo>
                  <a:lnTo>
                    <a:pt x="198" y="14955"/>
                  </a:lnTo>
                  <a:lnTo>
                    <a:pt x="242" y="15042"/>
                  </a:lnTo>
                  <a:lnTo>
                    <a:pt x="292" y="15126"/>
                  </a:lnTo>
                  <a:lnTo>
                    <a:pt x="344" y="15208"/>
                  </a:lnTo>
                  <a:lnTo>
                    <a:pt x="399" y="15287"/>
                  </a:lnTo>
                  <a:lnTo>
                    <a:pt x="460" y="15363"/>
                  </a:lnTo>
                  <a:lnTo>
                    <a:pt x="523" y="15436"/>
                  </a:lnTo>
                  <a:lnTo>
                    <a:pt x="589" y="15506"/>
                  </a:lnTo>
                  <a:lnTo>
                    <a:pt x="659" y="15572"/>
                  </a:lnTo>
                  <a:lnTo>
                    <a:pt x="732" y="15635"/>
                  </a:lnTo>
                  <a:lnTo>
                    <a:pt x="808" y="15696"/>
                  </a:lnTo>
                  <a:lnTo>
                    <a:pt x="887" y="15751"/>
                  </a:lnTo>
                  <a:lnTo>
                    <a:pt x="969" y="15803"/>
                  </a:lnTo>
                  <a:lnTo>
                    <a:pt x="1053" y="15853"/>
                  </a:lnTo>
                  <a:lnTo>
                    <a:pt x="1140" y="15897"/>
                  </a:lnTo>
                  <a:lnTo>
                    <a:pt x="1228" y="15937"/>
                  </a:lnTo>
                  <a:lnTo>
                    <a:pt x="1320" y="15973"/>
                  </a:lnTo>
                  <a:lnTo>
                    <a:pt x="1413" y="16004"/>
                  </a:lnTo>
                  <a:lnTo>
                    <a:pt x="1509" y="16032"/>
                  </a:lnTo>
                  <a:lnTo>
                    <a:pt x="1606" y="16054"/>
                  </a:lnTo>
                  <a:lnTo>
                    <a:pt x="1705" y="16072"/>
                  </a:lnTo>
                  <a:lnTo>
                    <a:pt x="1806" y="16085"/>
                  </a:lnTo>
                  <a:lnTo>
                    <a:pt x="1908" y="16092"/>
                  </a:lnTo>
                  <a:lnTo>
                    <a:pt x="2012" y="16095"/>
                  </a:lnTo>
                  <a:lnTo>
                    <a:pt x="14083" y="16095"/>
                  </a:lnTo>
                  <a:lnTo>
                    <a:pt x="14187" y="16092"/>
                  </a:lnTo>
                  <a:lnTo>
                    <a:pt x="14289" y="16085"/>
                  </a:lnTo>
                  <a:lnTo>
                    <a:pt x="14390" y="16072"/>
                  </a:lnTo>
                  <a:lnTo>
                    <a:pt x="14489" y="16054"/>
                  </a:lnTo>
                  <a:lnTo>
                    <a:pt x="14586" y="16032"/>
                  </a:lnTo>
                  <a:lnTo>
                    <a:pt x="14682" y="16004"/>
                  </a:lnTo>
                  <a:lnTo>
                    <a:pt x="14775" y="15973"/>
                  </a:lnTo>
                  <a:lnTo>
                    <a:pt x="14867" y="15937"/>
                  </a:lnTo>
                  <a:lnTo>
                    <a:pt x="14955" y="15897"/>
                  </a:lnTo>
                  <a:lnTo>
                    <a:pt x="15042" y="15853"/>
                  </a:lnTo>
                  <a:lnTo>
                    <a:pt x="15126" y="15803"/>
                  </a:lnTo>
                  <a:lnTo>
                    <a:pt x="15208" y="15751"/>
                  </a:lnTo>
                  <a:lnTo>
                    <a:pt x="15287" y="15696"/>
                  </a:lnTo>
                  <a:lnTo>
                    <a:pt x="15363" y="15635"/>
                  </a:lnTo>
                  <a:lnTo>
                    <a:pt x="15436" y="15572"/>
                  </a:lnTo>
                  <a:lnTo>
                    <a:pt x="15506" y="15506"/>
                  </a:lnTo>
                  <a:lnTo>
                    <a:pt x="15572" y="15436"/>
                  </a:lnTo>
                  <a:lnTo>
                    <a:pt x="15635" y="15363"/>
                  </a:lnTo>
                  <a:lnTo>
                    <a:pt x="15696" y="15287"/>
                  </a:lnTo>
                  <a:lnTo>
                    <a:pt x="15751" y="15208"/>
                  </a:lnTo>
                  <a:lnTo>
                    <a:pt x="15803" y="15126"/>
                  </a:lnTo>
                  <a:lnTo>
                    <a:pt x="15853" y="15042"/>
                  </a:lnTo>
                  <a:lnTo>
                    <a:pt x="15897" y="14955"/>
                  </a:lnTo>
                  <a:lnTo>
                    <a:pt x="15937" y="14867"/>
                  </a:lnTo>
                  <a:lnTo>
                    <a:pt x="15973" y="14775"/>
                  </a:lnTo>
                  <a:lnTo>
                    <a:pt x="16004" y="14682"/>
                  </a:lnTo>
                  <a:lnTo>
                    <a:pt x="16032" y="14586"/>
                  </a:lnTo>
                  <a:lnTo>
                    <a:pt x="16054" y="14489"/>
                  </a:lnTo>
                  <a:lnTo>
                    <a:pt x="16072" y="14390"/>
                  </a:lnTo>
                  <a:lnTo>
                    <a:pt x="16085" y="14289"/>
                  </a:lnTo>
                  <a:lnTo>
                    <a:pt x="16092" y="14187"/>
                  </a:lnTo>
                  <a:lnTo>
                    <a:pt x="16095" y="14083"/>
                  </a:lnTo>
                  <a:lnTo>
                    <a:pt x="16095" y="1509"/>
                  </a:lnTo>
                  <a:lnTo>
                    <a:pt x="16093" y="1431"/>
                  </a:lnTo>
                  <a:lnTo>
                    <a:pt x="16087" y="1354"/>
                  </a:lnTo>
                  <a:lnTo>
                    <a:pt x="16078" y="1279"/>
                  </a:lnTo>
                  <a:lnTo>
                    <a:pt x="16065" y="1204"/>
                  </a:lnTo>
                  <a:lnTo>
                    <a:pt x="16048" y="1132"/>
                  </a:lnTo>
                  <a:lnTo>
                    <a:pt x="16028" y="1060"/>
                  </a:lnTo>
                  <a:lnTo>
                    <a:pt x="16003" y="990"/>
                  </a:lnTo>
                  <a:lnTo>
                    <a:pt x="15976" y="921"/>
                  </a:lnTo>
                  <a:lnTo>
                    <a:pt x="15946" y="854"/>
                  </a:lnTo>
                  <a:lnTo>
                    <a:pt x="15913" y="790"/>
                  </a:lnTo>
                  <a:lnTo>
                    <a:pt x="15877" y="726"/>
                  </a:lnTo>
                  <a:lnTo>
                    <a:pt x="15837" y="665"/>
                  </a:lnTo>
                  <a:lnTo>
                    <a:pt x="15795" y="606"/>
                  </a:lnTo>
                  <a:lnTo>
                    <a:pt x="15750" y="549"/>
                  </a:lnTo>
                  <a:lnTo>
                    <a:pt x="15703" y="494"/>
                  </a:lnTo>
                  <a:lnTo>
                    <a:pt x="15653" y="442"/>
                  </a:lnTo>
                  <a:lnTo>
                    <a:pt x="15601" y="391"/>
                  </a:lnTo>
                  <a:lnTo>
                    <a:pt x="15546" y="344"/>
                  </a:lnTo>
                  <a:lnTo>
                    <a:pt x="15488" y="300"/>
                  </a:lnTo>
                  <a:lnTo>
                    <a:pt x="15430" y="258"/>
                  </a:lnTo>
                  <a:lnTo>
                    <a:pt x="15369" y="218"/>
                  </a:lnTo>
                  <a:lnTo>
                    <a:pt x="15305" y="182"/>
                  </a:lnTo>
                  <a:lnTo>
                    <a:pt x="15240" y="149"/>
                  </a:lnTo>
                  <a:lnTo>
                    <a:pt x="15174" y="119"/>
                  </a:lnTo>
                  <a:lnTo>
                    <a:pt x="15105" y="92"/>
                  </a:lnTo>
                  <a:lnTo>
                    <a:pt x="15035" y="67"/>
                  </a:lnTo>
                  <a:lnTo>
                    <a:pt x="14963" y="47"/>
                  </a:lnTo>
                  <a:lnTo>
                    <a:pt x="14890" y="30"/>
                  </a:lnTo>
                  <a:lnTo>
                    <a:pt x="14815" y="17"/>
                  </a:lnTo>
                  <a:lnTo>
                    <a:pt x="14740" y="8"/>
                  </a:lnTo>
                  <a:lnTo>
                    <a:pt x="14664" y="2"/>
                  </a:lnTo>
                  <a:lnTo>
                    <a:pt x="145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13" name="iSliḋê">
              <a:extLst>
                <a:ext uri="{FF2B5EF4-FFF2-40B4-BE49-F238E27FC236}">
                  <a16:creationId xmlns:a16="http://schemas.microsoft.com/office/drawing/2014/main" id="{9C930ED0-F8B0-455B-927E-473D819B9D48}"/>
                </a:ext>
              </a:extLst>
            </p:cNvPr>
            <p:cNvSpPr/>
            <p:nvPr/>
          </p:nvSpPr>
          <p:spPr bwMode="auto">
            <a:xfrm>
              <a:off x="11135462" y="989288"/>
              <a:ext cx="65335" cy="7436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1 h 503"/>
                <a:gd name="T8" fmla="*/ 4427 w 4527"/>
                <a:gd name="T9" fmla="*/ 452 h 503"/>
                <a:gd name="T10" fmla="*/ 4454 w 4527"/>
                <a:gd name="T11" fmla="*/ 428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1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0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1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89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1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5 h 503"/>
                <a:gd name="T80" fmla="*/ 154 w 4527"/>
                <a:gd name="T81" fmla="*/ 482 h 503"/>
                <a:gd name="T82" fmla="*/ 190 w 4527"/>
                <a:gd name="T83" fmla="*/ 495 h 503"/>
                <a:gd name="T84" fmla="*/ 227 w 4527"/>
                <a:gd name="T85" fmla="*/ 50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1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1"/>
                  </a:lnTo>
                  <a:lnTo>
                    <a:pt x="4362" y="488"/>
                  </a:lnTo>
                  <a:lnTo>
                    <a:pt x="4374" y="482"/>
                  </a:lnTo>
                  <a:lnTo>
                    <a:pt x="4385" y="477"/>
                  </a:lnTo>
                  <a:lnTo>
                    <a:pt x="4396" y="471"/>
                  </a:lnTo>
                  <a:lnTo>
                    <a:pt x="4406" y="465"/>
                  </a:lnTo>
                  <a:lnTo>
                    <a:pt x="4416" y="459"/>
                  </a:lnTo>
                  <a:lnTo>
                    <a:pt x="4427" y="452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8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1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3"/>
                  </a:lnTo>
                  <a:lnTo>
                    <a:pt x="4522" y="301"/>
                  </a:lnTo>
                  <a:lnTo>
                    <a:pt x="4525" y="289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1"/>
                  </a:lnTo>
                  <a:lnTo>
                    <a:pt x="4497" y="131"/>
                  </a:lnTo>
                  <a:lnTo>
                    <a:pt x="4491" y="120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0"/>
                  </a:lnTo>
                  <a:lnTo>
                    <a:pt x="32" y="131"/>
                  </a:lnTo>
                  <a:lnTo>
                    <a:pt x="26" y="141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6" y="301"/>
                  </a:lnTo>
                  <a:lnTo>
                    <a:pt x="8" y="313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1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8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2"/>
                  </a:lnTo>
                  <a:lnTo>
                    <a:pt x="112" y="459"/>
                  </a:lnTo>
                  <a:lnTo>
                    <a:pt x="122" y="465"/>
                  </a:lnTo>
                  <a:lnTo>
                    <a:pt x="132" y="471"/>
                  </a:lnTo>
                  <a:lnTo>
                    <a:pt x="143" y="477"/>
                  </a:lnTo>
                  <a:lnTo>
                    <a:pt x="154" y="482"/>
                  </a:lnTo>
                  <a:lnTo>
                    <a:pt x="166" y="488"/>
                  </a:lnTo>
                  <a:lnTo>
                    <a:pt x="177" y="491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1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14" name="ïSľíďé">
              <a:extLst>
                <a:ext uri="{FF2B5EF4-FFF2-40B4-BE49-F238E27FC236}">
                  <a16:creationId xmlns:a16="http://schemas.microsoft.com/office/drawing/2014/main" id="{C11F4F8D-7053-4851-B1A8-D9947EAF18CB}"/>
                </a:ext>
              </a:extLst>
            </p:cNvPr>
            <p:cNvSpPr/>
            <p:nvPr/>
          </p:nvSpPr>
          <p:spPr bwMode="auto">
            <a:xfrm>
              <a:off x="11135462" y="967510"/>
              <a:ext cx="65335" cy="7436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3 h 503"/>
                <a:gd name="T8" fmla="*/ 4427 w 4527"/>
                <a:gd name="T9" fmla="*/ 452 h 503"/>
                <a:gd name="T10" fmla="*/ 4454 w 4527"/>
                <a:gd name="T11" fmla="*/ 429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2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0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2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89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2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6 h 503"/>
                <a:gd name="T80" fmla="*/ 154 w 4527"/>
                <a:gd name="T81" fmla="*/ 483 h 503"/>
                <a:gd name="T82" fmla="*/ 190 w 4527"/>
                <a:gd name="T83" fmla="*/ 495 h 503"/>
                <a:gd name="T84" fmla="*/ 227 w 4527"/>
                <a:gd name="T85" fmla="*/ 50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1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1"/>
                  </a:lnTo>
                  <a:lnTo>
                    <a:pt x="4362" y="488"/>
                  </a:lnTo>
                  <a:lnTo>
                    <a:pt x="4374" y="483"/>
                  </a:lnTo>
                  <a:lnTo>
                    <a:pt x="4385" y="478"/>
                  </a:lnTo>
                  <a:lnTo>
                    <a:pt x="4396" y="473"/>
                  </a:lnTo>
                  <a:lnTo>
                    <a:pt x="4406" y="466"/>
                  </a:lnTo>
                  <a:lnTo>
                    <a:pt x="4416" y="459"/>
                  </a:lnTo>
                  <a:lnTo>
                    <a:pt x="4427" y="452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9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2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4"/>
                  </a:lnTo>
                  <a:lnTo>
                    <a:pt x="4522" y="302"/>
                  </a:lnTo>
                  <a:lnTo>
                    <a:pt x="4525" y="289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2"/>
                  </a:lnTo>
                  <a:lnTo>
                    <a:pt x="4497" y="132"/>
                  </a:lnTo>
                  <a:lnTo>
                    <a:pt x="4491" y="120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0"/>
                  </a:lnTo>
                  <a:lnTo>
                    <a:pt x="32" y="132"/>
                  </a:lnTo>
                  <a:lnTo>
                    <a:pt x="26" y="142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89"/>
                  </a:lnTo>
                  <a:lnTo>
                    <a:pt x="6" y="302"/>
                  </a:lnTo>
                  <a:lnTo>
                    <a:pt x="8" y="314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2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9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2"/>
                  </a:lnTo>
                  <a:lnTo>
                    <a:pt x="112" y="459"/>
                  </a:lnTo>
                  <a:lnTo>
                    <a:pt x="122" y="466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6" y="488"/>
                  </a:lnTo>
                  <a:lnTo>
                    <a:pt x="177" y="491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1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15" name="isļîḍé">
              <a:extLst>
                <a:ext uri="{FF2B5EF4-FFF2-40B4-BE49-F238E27FC236}">
                  <a16:creationId xmlns:a16="http://schemas.microsoft.com/office/drawing/2014/main" id="{135F874F-48CB-4E7F-A860-19E6728798A0}"/>
                </a:ext>
              </a:extLst>
            </p:cNvPr>
            <p:cNvSpPr/>
            <p:nvPr/>
          </p:nvSpPr>
          <p:spPr bwMode="auto">
            <a:xfrm>
              <a:off x="11135462" y="946262"/>
              <a:ext cx="65335" cy="6905"/>
            </a:xfrm>
            <a:custGeom>
              <a:avLst/>
              <a:gdLst>
                <a:gd name="T0" fmla="*/ 4289 w 4527"/>
                <a:gd name="T1" fmla="*/ 502 h 503"/>
                <a:gd name="T2" fmla="*/ 4327 w 4527"/>
                <a:gd name="T3" fmla="*/ 498 h 503"/>
                <a:gd name="T4" fmla="*/ 4362 w 4527"/>
                <a:gd name="T5" fmla="*/ 488 h 503"/>
                <a:gd name="T6" fmla="*/ 4396 w 4527"/>
                <a:gd name="T7" fmla="*/ 473 h 503"/>
                <a:gd name="T8" fmla="*/ 4427 w 4527"/>
                <a:gd name="T9" fmla="*/ 453 h 503"/>
                <a:gd name="T10" fmla="*/ 4454 w 4527"/>
                <a:gd name="T11" fmla="*/ 428 h 503"/>
                <a:gd name="T12" fmla="*/ 4478 w 4527"/>
                <a:gd name="T13" fmla="*/ 401 h 503"/>
                <a:gd name="T14" fmla="*/ 4497 w 4527"/>
                <a:gd name="T15" fmla="*/ 371 h 503"/>
                <a:gd name="T16" fmla="*/ 4512 w 4527"/>
                <a:gd name="T17" fmla="*/ 338 h 503"/>
                <a:gd name="T18" fmla="*/ 4522 w 4527"/>
                <a:gd name="T19" fmla="*/ 302 h 503"/>
                <a:gd name="T20" fmla="*/ 4527 w 4527"/>
                <a:gd name="T21" fmla="*/ 264 h 503"/>
                <a:gd name="T22" fmla="*/ 4526 w 4527"/>
                <a:gd name="T23" fmla="*/ 225 h 503"/>
                <a:gd name="T24" fmla="*/ 4520 w 4527"/>
                <a:gd name="T25" fmla="*/ 188 h 503"/>
                <a:gd name="T26" fmla="*/ 4508 w 4527"/>
                <a:gd name="T27" fmla="*/ 153 h 503"/>
                <a:gd name="T28" fmla="*/ 4491 w 4527"/>
                <a:gd name="T29" fmla="*/ 121 h 503"/>
                <a:gd name="T30" fmla="*/ 4470 w 4527"/>
                <a:gd name="T31" fmla="*/ 91 h 503"/>
                <a:gd name="T32" fmla="*/ 4446 w 4527"/>
                <a:gd name="T33" fmla="*/ 65 h 503"/>
                <a:gd name="T34" fmla="*/ 4416 w 4527"/>
                <a:gd name="T35" fmla="*/ 42 h 503"/>
                <a:gd name="T36" fmla="*/ 4385 w 4527"/>
                <a:gd name="T37" fmla="*/ 24 h 503"/>
                <a:gd name="T38" fmla="*/ 4351 w 4527"/>
                <a:gd name="T39" fmla="*/ 11 h 503"/>
                <a:gd name="T40" fmla="*/ 4315 w 4527"/>
                <a:gd name="T41" fmla="*/ 3 h 503"/>
                <a:gd name="T42" fmla="*/ 4276 w 4527"/>
                <a:gd name="T43" fmla="*/ 0 h 503"/>
                <a:gd name="T44" fmla="*/ 227 w 4527"/>
                <a:gd name="T45" fmla="*/ 1 h 503"/>
                <a:gd name="T46" fmla="*/ 190 w 4527"/>
                <a:gd name="T47" fmla="*/ 8 h 503"/>
                <a:gd name="T48" fmla="*/ 154 w 4527"/>
                <a:gd name="T49" fmla="*/ 19 h 503"/>
                <a:gd name="T50" fmla="*/ 122 w 4527"/>
                <a:gd name="T51" fmla="*/ 36 h 503"/>
                <a:gd name="T52" fmla="*/ 92 w 4527"/>
                <a:gd name="T53" fmla="*/ 57 h 503"/>
                <a:gd name="T54" fmla="*/ 66 w 4527"/>
                <a:gd name="T55" fmla="*/ 82 h 503"/>
                <a:gd name="T56" fmla="*/ 44 w 4527"/>
                <a:gd name="T57" fmla="*/ 110 h 503"/>
                <a:gd name="T58" fmla="*/ 26 w 4527"/>
                <a:gd name="T59" fmla="*/ 142 h 503"/>
                <a:gd name="T60" fmla="*/ 12 w 4527"/>
                <a:gd name="T61" fmla="*/ 176 h 503"/>
                <a:gd name="T62" fmla="*/ 3 w 4527"/>
                <a:gd name="T63" fmla="*/ 213 h 503"/>
                <a:gd name="T64" fmla="*/ 0 w 4527"/>
                <a:gd name="T65" fmla="*/ 251 h 503"/>
                <a:gd name="T66" fmla="*/ 3 w 4527"/>
                <a:gd name="T67" fmla="*/ 290 h 503"/>
                <a:gd name="T68" fmla="*/ 12 w 4527"/>
                <a:gd name="T69" fmla="*/ 326 h 503"/>
                <a:gd name="T70" fmla="*/ 26 w 4527"/>
                <a:gd name="T71" fmla="*/ 360 h 503"/>
                <a:gd name="T72" fmla="*/ 44 w 4527"/>
                <a:gd name="T73" fmla="*/ 392 h 503"/>
                <a:gd name="T74" fmla="*/ 66 w 4527"/>
                <a:gd name="T75" fmla="*/ 420 h 503"/>
                <a:gd name="T76" fmla="*/ 92 w 4527"/>
                <a:gd name="T77" fmla="*/ 445 h 503"/>
                <a:gd name="T78" fmla="*/ 122 w 4527"/>
                <a:gd name="T79" fmla="*/ 467 h 503"/>
                <a:gd name="T80" fmla="*/ 154 w 4527"/>
                <a:gd name="T81" fmla="*/ 483 h 503"/>
                <a:gd name="T82" fmla="*/ 190 w 4527"/>
                <a:gd name="T83" fmla="*/ 495 h 503"/>
                <a:gd name="T84" fmla="*/ 227 w 4527"/>
                <a:gd name="T85" fmla="*/ 50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252" y="503"/>
                  </a:moveTo>
                  <a:lnTo>
                    <a:pt x="4276" y="503"/>
                  </a:lnTo>
                  <a:lnTo>
                    <a:pt x="4289" y="502"/>
                  </a:lnTo>
                  <a:lnTo>
                    <a:pt x="4302" y="502"/>
                  </a:lnTo>
                  <a:lnTo>
                    <a:pt x="4315" y="500"/>
                  </a:lnTo>
                  <a:lnTo>
                    <a:pt x="4327" y="498"/>
                  </a:lnTo>
                  <a:lnTo>
                    <a:pt x="4339" y="495"/>
                  </a:lnTo>
                  <a:lnTo>
                    <a:pt x="4351" y="492"/>
                  </a:lnTo>
                  <a:lnTo>
                    <a:pt x="4362" y="488"/>
                  </a:lnTo>
                  <a:lnTo>
                    <a:pt x="4374" y="483"/>
                  </a:lnTo>
                  <a:lnTo>
                    <a:pt x="4385" y="478"/>
                  </a:lnTo>
                  <a:lnTo>
                    <a:pt x="4396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5"/>
                  </a:lnTo>
                  <a:lnTo>
                    <a:pt x="4446" y="437"/>
                  </a:lnTo>
                  <a:lnTo>
                    <a:pt x="4454" y="428"/>
                  </a:lnTo>
                  <a:lnTo>
                    <a:pt x="4462" y="420"/>
                  </a:lnTo>
                  <a:lnTo>
                    <a:pt x="4470" y="411"/>
                  </a:lnTo>
                  <a:lnTo>
                    <a:pt x="4478" y="401"/>
                  </a:lnTo>
                  <a:lnTo>
                    <a:pt x="4485" y="392"/>
                  </a:lnTo>
                  <a:lnTo>
                    <a:pt x="4491" y="381"/>
                  </a:lnTo>
                  <a:lnTo>
                    <a:pt x="4497" y="371"/>
                  </a:lnTo>
                  <a:lnTo>
                    <a:pt x="4503" y="360"/>
                  </a:lnTo>
                  <a:lnTo>
                    <a:pt x="4508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20" y="314"/>
                  </a:lnTo>
                  <a:lnTo>
                    <a:pt x="4522" y="302"/>
                  </a:lnTo>
                  <a:lnTo>
                    <a:pt x="4525" y="290"/>
                  </a:lnTo>
                  <a:lnTo>
                    <a:pt x="4526" y="276"/>
                  </a:lnTo>
                  <a:lnTo>
                    <a:pt x="4527" y="264"/>
                  </a:lnTo>
                  <a:lnTo>
                    <a:pt x="4527" y="251"/>
                  </a:lnTo>
                  <a:lnTo>
                    <a:pt x="4527" y="238"/>
                  </a:lnTo>
                  <a:lnTo>
                    <a:pt x="4526" y="225"/>
                  </a:lnTo>
                  <a:lnTo>
                    <a:pt x="4525" y="213"/>
                  </a:lnTo>
                  <a:lnTo>
                    <a:pt x="4522" y="200"/>
                  </a:lnTo>
                  <a:lnTo>
                    <a:pt x="4520" y="188"/>
                  </a:lnTo>
                  <a:lnTo>
                    <a:pt x="4516" y="176"/>
                  </a:lnTo>
                  <a:lnTo>
                    <a:pt x="4512" y="165"/>
                  </a:lnTo>
                  <a:lnTo>
                    <a:pt x="4508" y="153"/>
                  </a:lnTo>
                  <a:lnTo>
                    <a:pt x="4503" y="142"/>
                  </a:lnTo>
                  <a:lnTo>
                    <a:pt x="4497" y="132"/>
                  </a:lnTo>
                  <a:lnTo>
                    <a:pt x="4491" y="121"/>
                  </a:lnTo>
                  <a:lnTo>
                    <a:pt x="4485" y="110"/>
                  </a:lnTo>
                  <a:lnTo>
                    <a:pt x="4478" y="100"/>
                  </a:lnTo>
                  <a:lnTo>
                    <a:pt x="4470" y="91"/>
                  </a:lnTo>
                  <a:lnTo>
                    <a:pt x="4462" y="82"/>
                  </a:lnTo>
                  <a:lnTo>
                    <a:pt x="4454" y="73"/>
                  </a:lnTo>
                  <a:lnTo>
                    <a:pt x="4446" y="65"/>
                  </a:lnTo>
                  <a:lnTo>
                    <a:pt x="4436" y="57"/>
                  </a:lnTo>
                  <a:lnTo>
                    <a:pt x="4427" y="49"/>
                  </a:lnTo>
                  <a:lnTo>
                    <a:pt x="4416" y="42"/>
                  </a:lnTo>
                  <a:lnTo>
                    <a:pt x="4406" y="36"/>
                  </a:lnTo>
                  <a:lnTo>
                    <a:pt x="4396" y="30"/>
                  </a:lnTo>
                  <a:lnTo>
                    <a:pt x="4385" y="24"/>
                  </a:lnTo>
                  <a:lnTo>
                    <a:pt x="4374" y="19"/>
                  </a:lnTo>
                  <a:lnTo>
                    <a:pt x="4362" y="15"/>
                  </a:lnTo>
                  <a:lnTo>
                    <a:pt x="4351" y="11"/>
                  </a:lnTo>
                  <a:lnTo>
                    <a:pt x="4339" y="8"/>
                  </a:lnTo>
                  <a:lnTo>
                    <a:pt x="4327" y="5"/>
                  </a:lnTo>
                  <a:lnTo>
                    <a:pt x="4315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6" y="15"/>
                  </a:lnTo>
                  <a:lnTo>
                    <a:pt x="154" y="19"/>
                  </a:lnTo>
                  <a:lnTo>
                    <a:pt x="143" y="24"/>
                  </a:lnTo>
                  <a:lnTo>
                    <a:pt x="132" y="30"/>
                  </a:lnTo>
                  <a:lnTo>
                    <a:pt x="122" y="36"/>
                  </a:lnTo>
                  <a:lnTo>
                    <a:pt x="112" y="42"/>
                  </a:lnTo>
                  <a:lnTo>
                    <a:pt x="102" y="49"/>
                  </a:lnTo>
                  <a:lnTo>
                    <a:pt x="92" y="57"/>
                  </a:lnTo>
                  <a:lnTo>
                    <a:pt x="83" y="65"/>
                  </a:lnTo>
                  <a:lnTo>
                    <a:pt x="75" y="73"/>
                  </a:lnTo>
                  <a:lnTo>
                    <a:pt x="66" y="82"/>
                  </a:lnTo>
                  <a:lnTo>
                    <a:pt x="59" y="91"/>
                  </a:lnTo>
                  <a:lnTo>
                    <a:pt x="51" y="100"/>
                  </a:lnTo>
                  <a:lnTo>
                    <a:pt x="44" y="110"/>
                  </a:lnTo>
                  <a:lnTo>
                    <a:pt x="38" y="121"/>
                  </a:lnTo>
                  <a:lnTo>
                    <a:pt x="32" y="132"/>
                  </a:lnTo>
                  <a:lnTo>
                    <a:pt x="26" y="142"/>
                  </a:lnTo>
                  <a:lnTo>
                    <a:pt x="21" y="153"/>
                  </a:lnTo>
                  <a:lnTo>
                    <a:pt x="16" y="165"/>
                  </a:lnTo>
                  <a:lnTo>
                    <a:pt x="12" y="176"/>
                  </a:lnTo>
                  <a:lnTo>
                    <a:pt x="8" y="188"/>
                  </a:lnTo>
                  <a:lnTo>
                    <a:pt x="6" y="200"/>
                  </a:lnTo>
                  <a:lnTo>
                    <a:pt x="3" y="213"/>
                  </a:lnTo>
                  <a:lnTo>
                    <a:pt x="2" y="225"/>
                  </a:lnTo>
                  <a:lnTo>
                    <a:pt x="1" y="238"/>
                  </a:lnTo>
                  <a:lnTo>
                    <a:pt x="0" y="251"/>
                  </a:lnTo>
                  <a:lnTo>
                    <a:pt x="1" y="264"/>
                  </a:lnTo>
                  <a:lnTo>
                    <a:pt x="2" y="276"/>
                  </a:lnTo>
                  <a:lnTo>
                    <a:pt x="3" y="290"/>
                  </a:lnTo>
                  <a:lnTo>
                    <a:pt x="6" y="302"/>
                  </a:lnTo>
                  <a:lnTo>
                    <a:pt x="8" y="314"/>
                  </a:lnTo>
                  <a:lnTo>
                    <a:pt x="12" y="326"/>
                  </a:lnTo>
                  <a:lnTo>
                    <a:pt x="16" y="338"/>
                  </a:lnTo>
                  <a:lnTo>
                    <a:pt x="21" y="349"/>
                  </a:lnTo>
                  <a:lnTo>
                    <a:pt x="26" y="360"/>
                  </a:lnTo>
                  <a:lnTo>
                    <a:pt x="32" y="371"/>
                  </a:lnTo>
                  <a:lnTo>
                    <a:pt x="38" y="381"/>
                  </a:lnTo>
                  <a:lnTo>
                    <a:pt x="44" y="392"/>
                  </a:lnTo>
                  <a:lnTo>
                    <a:pt x="51" y="401"/>
                  </a:lnTo>
                  <a:lnTo>
                    <a:pt x="59" y="411"/>
                  </a:lnTo>
                  <a:lnTo>
                    <a:pt x="66" y="420"/>
                  </a:lnTo>
                  <a:lnTo>
                    <a:pt x="75" y="428"/>
                  </a:lnTo>
                  <a:lnTo>
                    <a:pt x="83" y="437"/>
                  </a:lnTo>
                  <a:lnTo>
                    <a:pt x="92" y="445"/>
                  </a:lnTo>
                  <a:lnTo>
                    <a:pt x="102" y="453"/>
                  </a:lnTo>
                  <a:lnTo>
                    <a:pt x="112" y="460"/>
                  </a:lnTo>
                  <a:lnTo>
                    <a:pt x="122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6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40" y="502"/>
                  </a:lnTo>
                  <a:lnTo>
                    <a:pt x="252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16" name="îṧ1îďè">
              <a:extLst>
                <a:ext uri="{FF2B5EF4-FFF2-40B4-BE49-F238E27FC236}">
                  <a16:creationId xmlns:a16="http://schemas.microsoft.com/office/drawing/2014/main" id="{D3C1C843-ED72-4D00-B2DC-8BC450182B14}"/>
                </a:ext>
              </a:extLst>
            </p:cNvPr>
            <p:cNvSpPr/>
            <p:nvPr/>
          </p:nvSpPr>
          <p:spPr bwMode="auto">
            <a:xfrm>
              <a:off x="11056316" y="1097648"/>
              <a:ext cx="64804" cy="7436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0 h 503"/>
                <a:gd name="T8" fmla="*/ 100 w 4526"/>
                <a:gd name="T9" fmla="*/ 50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1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50 h 503"/>
                <a:gd name="T28" fmla="*/ 36 w 4526"/>
                <a:gd name="T29" fmla="*/ 382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2 h 503"/>
                <a:gd name="T58" fmla="*/ 4501 w 4526"/>
                <a:gd name="T59" fmla="*/ 361 h 503"/>
                <a:gd name="T60" fmla="*/ 4515 w 4526"/>
                <a:gd name="T61" fmla="*/ 327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3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6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3"/>
                  </a:lnTo>
                  <a:lnTo>
                    <a:pt x="100" y="50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7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4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4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2"/>
                  </a:lnTo>
                  <a:lnTo>
                    <a:pt x="4490" y="382"/>
                  </a:lnTo>
                  <a:lnTo>
                    <a:pt x="4496" y="371"/>
                  </a:lnTo>
                  <a:lnTo>
                    <a:pt x="4501" y="361"/>
                  </a:lnTo>
                  <a:lnTo>
                    <a:pt x="4506" y="350"/>
                  </a:lnTo>
                  <a:lnTo>
                    <a:pt x="4511" y="338"/>
                  </a:lnTo>
                  <a:lnTo>
                    <a:pt x="4515" y="327"/>
                  </a:lnTo>
                  <a:lnTo>
                    <a:pt x="4518" y="315"/>
                  </a:lnTo>
                  <a:lnTo>
                    <a:pt x="4521" y="303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3"/>
                  </a:lnTo>
                  <a:lnTo>
                    <a:pt x="4521" y="201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0"/>
                  </a:lnTo>
                  <a:lnTo>
                    <a:pt x="4416" y="43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17" name="íṣḻïdé">
              <a:extLst>
                <a:ext uri="{FF2B5EF4-FFF2-40B4-BE49-F238E27FC236}">
                  <a16:creationId xmlns:a16="http://schemas.microsoft.com/office/drawing/2014/main" id="{D0B712A5-39BA-40E0-9162-B61A8F98C021}"/>
                </a:ext>
              </a:extLst>
            </p:cNvPr>
            <p:cNvSpPr/>
            <p:nvPr/>
          </p:nvSpPr>
          <p:spPr bwMode="auto">
            <a:xfrm>
              <a:off x="11056316" y="1075870"/>
              <a:ext cx="64804" cy="7436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0 h 503"/>
                <a:gd name="T8" fmla="*/ 100 w 4526"/>
                <a:gd name="T9" fmla="*/ 51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1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49 h 503"/>
                <a:gd name="T28" fmla="*/ 36 w 4526"/>
                <a:gd name="T29" fmla="*/ 383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3 h 503"/>
                <a:gd name="T58" fmla="*/ 4501 w 4526"/>
                <a:gd name="T59" fmla="*/ 361 h 503"/>
                <a:gd name="T60" fmla="*/ 4515 w 4526"/>
                <a:gd name="T61" fmla="*/ 326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4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6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3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3"/>
                  </a:lnTo>
                  <a:lnTo>
                    <a:pt x="4490" y="383"/>
                  </a:lnTo>
                  <a:lnTo>
                    <a:pt x="4496" y="371"/>
                  </a:lnTo>
                  <a:lnTo>
                    <a:pt x="4501" y="361"/>
                  </a:lnTo>
                  <a:lnTo>
                    <a:pt x="4506" y="349"/>
                  </a:lnTo>
                  <a:lnTo>
                    <a:pt x="4511" y="338"/>
                  </a:lnTo>
                  <a:lnTo>
                    <a:pt x="4515" y="326"/>
                  </a:lnTo>
                  <a:lnTo>
                    <a:pt x="4518" y="315"/>
                  </a:lnTo>
                  <a:lnTo>
                    <a:pt x="4521" y="302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4"/>
                  </a:lnTo>
                  <a:lnTo>
                    <a:pt x="4521" y="201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1"/>
                  </a:lnTo>
                  <a:lnTo>
                    <a:pt x="4416" y="44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18" name="íş1ïdê">
              <a:extLst>
                <a:ext uri="{FF2B5EF4-FFF2-40B4-BE49-F238E27FC236}">
                  <a16:creationId xmlns:a16="http://schemas.microsoft.com/office/drawing/2014/main" id="{3B579C5C-AC8B-4E34-8C12-897B1FE2C1E2}"/>
                </a:ext>
              </a:extLst>
            </p:cNvPr>
            <p:cNvSpPr/>
            <p:nvPr/>
          </p:nvSpPr>
          <p:spPr bwMode="auto">
            <a:xfrm>
              <a:off x="11056316" y="1054623"/>
              <a:ext cx="64804" cy="6905"/>
            </a:xfrm>
            <a:custGeom>
              <a:avLst/>
              <a:gdLst>
                <a:gd name="T0" fmla="*/ 238 w 4526"/>
                <a:gd name="T1" fmla="*/ 0 h 503"/>
                <a:gd name="T2" fmla="*/ 201 w 4526"/>
                <a:gd name="T3" fmla="*/ 5 h 503"/>
                <a:gd name="T4" fmla="*/ 165 w 4526"/>
                <a:gd name="T5" fmla="*/ 15 h 503"/>
                <a:gd name="T6" fmla="*/ 132 w 4526"/>
                <a:gd name="T7" fmla="*/ 31 h 503"/>
                <a:gd name="T8" fmla="*/ 100 w 4526"/>
                <a:gd name="T9" fmla="*/ 51 h 503"/>
                <a:gd name="T10" fmla="*/ 73 w 4526"/>
                <a:gd name="T11" fmla="*/ 74 h 503"/>
                <a:gd name="T12" fmla="*/ 50 w 4526"/>
                <a:gd name="T13" fmla="*/ 102 h 503"/>
                <a:gd name="T14" fmla="*/ 30 w 4526"/>
                <a:gd name="T15" fmla="*/ 132 h 503"/>
                <a:gd name="T16" fmla="*/ 15 w 4526"/>
                <a:gd name="T17" fmla="*/ 165 h 503"/>
                <a:gd name="T18" fmla="*/ 5 w 4526"/>
                <a:gd name="T19" fmla="*/ 202 h 503"/>
                <a:gd name="T20" fmla="*/ 0 w 4526"/>
                <a:gd name="T21" fmla="*/ 239 h 503"/>
                <a:gd name="T22" fmla="*/ 1 w 4526"/>
                <a:gd name="T23" fmla="*/ 278 h 503"/>
                <a:gd name="T24" fmla="*/ 8 w 4526"/>
                <a:gd name="T25" fmla="*/ 315 h 503"/>
                <a:gd name="T26" fmla="*/ 20 w 4526"/>
                <a:gd name="T27" fmla="*/ 350 h 503"/>
                <a:gd name="T28" fmla="*/ 36 w 4526"/>
                <a:gd name="T29" fmla="*/ 383 h 503"/>
                <a:gd name="T30" fmla="*/ 57 w 4526"/>
                <a:gd name="T31" fmla="*/ 412 h 503"/>
                <a:gd name="T32" fmla="*/ 82 w 4526"/>
                <a:gd name="T33" fmla="*/ 438 h 503"/>
                <a:gd name="T34" fmla="*/ 110 w 4526"/>
                <a:gd name="T35" fmla="*/ 460 h 503"/>
                <a:gd name="T36" fmla="*/ 143 w 4526"/>
                <a:gd name="T37" fmla="*/ 478 h 503"/>
                <a:gd name="T38" fmla="*/ 177 w 4526"/>
                <a:gd name="T39" fmla="*/ 492 h 503"/>
                <a:gd name="T40" fmla="*/ 213 w 4526"/>
                <a:gd name="T41" fmla="*/ 500 h 503"/>
                <a:gd name="T42" fmla="*/ 251 w 4526"/>
                <a:gd name="T43" fmla="*/ 503 h 503"/>
                <a:gd name="T44" fmla="*/ 4300 w 4526"/>
                <a:gd name="T45" fmla="*/ 502 h 503"/>
                <a:gd name="T46" fmla="*/ 4337 w 4526"/>
                <a:gd name="T47" fmla="*/ 495 h 503"/>
                <a:gd name="T48" fmla="*/ 4373 w 4526"/>
                <a:gd name="T49" fmla="*/ 483 h 503"/>
                <a:gd name="T50" fmla="*/ 4406 w 4526"/>
                <a:gd name="T51" fmla="*/ 467 h 503"/>
                <a:gd name="T52" fmla="*/ 4435 w 4526"/>
                <a:gd name="T53" fmla="*/ 446 h 503"/>
                <a:gd name="T54" fmla="*/ 4461 w 4526"/>
                <a:gd name="T55" fmla="*/ 421 h 503"/>
                <a:gd name="T56" fmla="*/ 4483 w 4526"/>
                <a:gd name="T57" fmla="*/ 393 h 503"/>
                <a:gd name="T58" fmla="*/ 4501 w 4526"/>
                <a:gd name="T59" fmla="*/ 361 h 503"/>
                <a:gd name="T60" fmla="*/ 4515 w 4526"/>
                <a:gd name="T61" fmla="*/ 326 h 503"/>
                <a:gd name="T62" fmla="*/ 4523 w 4526"/>
                <a:gd name="T63" fmla="*/ 290 h 503"/>
                <a:gd name="T64" fmla="*/ 4526 w 4526"/>
                <a:gd name="T65" fmla="*/ 252 h 503"/>
                <a:gd name="T66" fmla="*/ 4523 w 4526"/>
                <a:gd name="T67" fmla="*/ 214 h 503"/>
                <a:gd name="T68" fmla="*/ 4515 w 4526"/>
                <a:gd name="T69" fmla="*/ 177 h 503"/>
                <a:gd name="T70" fmla="*/ 4501 w 4526"/>
                <a:gd name="T71" fmla="*/ 143 h 503"/>
                <a:gd name="T72" fmla="*/ 4483 w 4526"/>
                <a:gd name="T73" fmla="*/ 111 h 503"/>
                <a:gd name="T74" fmla="*/ 4461 w 4526"/>
                <a:gd name="T75" fmla="*/ 83 h 503"/>
                <a:gd name="T76" fmla="*/ 4435 w 4526"/>
                <a:gd name="T77" fmla="*/ 58 h 503"/>
                <a:gd name="T78" fmla="*/ 4406 w 4526"/>
                <a:gd name="T79" fmla="*/ 37 h 503"/>
                <a:gd name="T80" fmla="*/ 4373 w 4526"/>
                <a:gd name="T81" fmla="*/ 20 h 503"/>
                <a:gd name="T82" fmla="*/ 4337 w 4526"/>
                <a:gd name="T83" fmla="*/ 8 h 503"/>
                <a:gd name="T84" fmla="*/ 4300 w 4526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6" h="503">
                  <a:moveTo>
                    <a:pt x="4275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0" y="37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1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1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4275" y="503"/>
                  </a:lnTo>
                  <a:lnTo>
                    <a:pt x="4288" y="503"/>
                  </a:lnTo>
                  <a:lnTo>
                    <a:pt x="4300" y="502"/>
                  </a:lnTo>
                  <a:lnTo>
                    <a:pt x="4313" y="500"/>
                  </a:lnTo>
                  <a:lnTo>
                    <a:pt x="4325" y="498"/>
                  </a:lnTo>
                  <a:lnTo>
                    <a:pt x="4337" y="495"/>
                  </a:lnTo>
                  <a:lnTo>
                    <a:pt x="4349" y="492"/>
                  </a:lnTo>
                  <a:lnTo>
                    <a:pt x="4361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6" y="453"/>
                  </a:lnTo>
                  <a:lnTo>
                    <a:pt x="4435" y="446"/>
                  </a:lnTo>
                  <a:lnTo>
                    <a:pt x="4444" y="438"/>
                  </a:lnTo>
                  <a:lnTo>
                    <a:pt x="4453" y="430"/>
                  </a:lnTo>
                  <a:lnTo>
                    <a:pt x="4461" y="421"/>
                  </a:lnTo>
                  <a:lnTo>
                    <a:pt x="4469" y="412"/>
                  </a:lnTo>
                  <a:lnTo>
                    <a:pt x="4476" y="403"/>
                  </a:lnTo>
                  <a:lnTo>
                    <a:pt x="4483" y="393"/>
                  </a:lnTo>
                  <a:lnTo>
                    <a:pt x="4490" y="383"/>
                  </a:lnTo>
                  <a:lnTo>
                    <a:pt x="4496" y="372"/>
                  </a:lnTo>
                  <a:lnTo>
                    <a:pt x="4501" y="361"/>
                  </a:lnTo>
                  <a:lnTo>
                    <a:pt x="4506" y="350"/>
                  </a:lnTo>
                  <a:lnTo>
                    <a:pt x="4511" y="338"/>
                  </a:lnTo>
                  <a:lnTo>
                    <a:pt x="4515" y="326"/>
                  </a:lnTo>
                  <a:lnTo>
                    <a:pt x="4518" y="315"/>
                  </a:lnTo>
                  <a:lnTo>
                    <a:pt x="4521" y="302"/>
                  </a:lnTo>
                  <a:lnTo>
                    <a:pt x="4523" y="290"/>
                  </a:lnTo>
                  <a:lnTo>
                    <a:pt x="4525" y="278"/>
                  </a:lnTo>
                  <a:lnTo>
                    <a:pt x="4526" y="265"/>
                  </a:lnTo>
                  <a:lnTo>
                    <a:pt x="4526" y="252"/>
                  </a:lnTo>
                  <a:lnTo>
                    <a:pt x="4526" y="239"/>
                  </a:lnTo>
                  <a:lnTo>
                    <a:pt x="4525" y="227"/>
                  </a:lnTo>
                  <a:lnTo>
                    <a:pt x="4523" y="214"/>
                  </a:lnTo>
                  <a:lnTo>
                    <a:pt x="4521" y="202"/>
                  </a:lnTo>
                  <a:lnTo>
                    <a:pt x="4518" y="189"/>
                  </a:lnTo>
                  <a:lnTo>
                    <a:pt x="4515" y="177"/>
                  </a:lnTo>
                  <a:lnTo>
                    <a:pt x="4511" y="165"/>
                  </a:lnTo>
                  <a:lnTo>
                    <a:pt x="4506" y="154"/>
                  </a:lnTo>
                  <a:lnTo>
                    <a:pt x="4501" y="143"/>
                  </a:lnTo>
                  <a:lnTo>
                    <a:pt x="4496" y="132"/>
                  </a:lnTo>
                  <a:lnTo>
                    <a:pt x="4490" y="122"/>
                  </a:lnTo>
                  <a:lnTo>
                    <a:pt x="4483" y="111"/>
                  </a:lnTo>
                  <a:lnTo>
                    <a:pt x="4476" y="102"/>
                  </a:lnTo>
                  <a:lnTo>
                    <a:pt x="4469" y="92"/>
                  </a:lnTo>
                  <a:lnTo>
                    <a:pt x="4461" y="83"/>
                  </a:lnTo>
                  <a:lnTo>
                    <a:pt x="4453" y="74"/>
                  </a:lnTo>
                  <a:lnTo>
                    <a:pt x="4444" y="66"/>
                  </a:lnTo>
                  <a:lnTo>
                    <a:pt x="4435" y="58"/>
                  </a:lnTo>
                  <a:lnTo>
                    <a:pt x="4426" y="51"/>
                  </a:lnTo>
                  <a:lnTo>
                    <a:pt x="4416" y="44"/>
                  </a:lnTo>
                  <a:lnTo>
                    <a:pt x="4406" y="37"/>
                  </a:lnTo>
                  <a:lnTo>
                    <a:pt x="4395" y="31"/>
                  </a:lnTo>
                  <a:lnTo>
                    <a:pt x="4384" y="26"/>
                  </a:lnTo>
                  <a:lnTo>
                    <a:pt x="4373" y="20"/>
                  </a:lnTo>
                  <a:lnTo>
                    <a:pt x="4361" y="15"/>
                  </a:lnTo>
                  <a:lnTo>
                    <a:pt x="4349" y="11"/>
                  </a:lnTo>
                  <a:lnTo>
                    <a:pt x="4337" y="8"/>
                  </a:lnTo>
                  <a:lnTo>
                    <a:pt x="4325" y="5"/>
                  </a:lnTo>
                  <a:lnTo>
                    <a:pt x="4313" y="3"/>
                  </a:lnTo>
                  <a:lnTo>
                    <a:pt x="4300" y="1"/>
                  </a:lnTo>
                  <a:lnTo>
                    <a:pt x="4288" y="0"/>
                  </a:lnTo>
                  <a:lnTo>
                    <a:pt x="42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19" name="îslide">
              <a:extLst>
                <a:ext uri="{FF2B5EF4-FFF2-40B4-BE49-F238E27FC236}">
                  <a16:creationId xmlns:a16="http://schemas.microsoft.com/office/drawing/2014/main" id="{76473B59-F342-48A6-A9B2-C22C52D66761}"/>
                </a:ext>
              </a:extLst>
            </p:cNvPr>
            <p:cNvSpPr/>
            <p:nvPr/>
          </p:nvSpPr>
          <p:spPr bwMode="auto">
            <a:xfrm>
              <a:off x="11135462" y="1097648"/>
              <a:ext cx="65335" cy="7436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0 h 503"/>
                <a:gd name="T8" fmla="*/ 102 w 4527"/>
                <a:gd name="T9" fmla="*/ 50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1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50 h 503"/>
                <a:gd name="T28" fmla="*/ 37 w 4527"/>
                <a:gd name="T29" fmla="*/ 382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2 h 503"/>
                <a:gd name="T58" fmla="*/ 4502 w 4527"/>
                <a:gd name="T59" fmla="*/ 361 h 503"/>
                <a:gd name="T60" fmla="*/ 4516 w 4527"/>
                <a:gd name="T61" fmla="*/ 327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3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6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3"/>
                  </a:lnTo>
                  <a:lnTo>
                    <a:pt x="102" y="50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3"/>
                  </a:lnTo>
                  <a:lnTo>
                    <a:pt x="8" y="315"/>
                  </a:lnTo>
                  <a:lnTo>
                    <a:pt x="11" y="327"/>
                  </a:lnTo>
                  <a:lnTo>
                    <a:pt x="15" y="338"/>
                  </a:lnTo>
                  <a:lnTo>
                    <a:pt x="21" y="350"/>
                  </a:lnTo>
                  <a:lnTo>
                    <a:pt x="26" y="361"/>
                  </a:lnTo>
                  <a:lnTo>
                    <a:pt x="31" y="371"/>
                  </a:lnTo>
                  <a:lnTo>
                    <a:pt x="37" y="382"/>
                  </a:lnTo>
                  <a:lnTo>
                    <a:pt x="44" y="392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4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4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2"/>
                  </a:lnTo>
                  <a:lnTo>
                    <a:pt x="4491" y="382"/>
                  </a:lnTo>
                  <a:lnTo>
                    <a:pt x="4497" y="371"/>
                  </a:lnTo>
                  <a:lnTo>
                    <a:pt x="4502" y="361"/>
                  </a:lnTo>
                  <a:lnTo>
                    <a:pt x="4507" y="350"/>
                  </a:lnTo>
                  <a:lnTo>
                    <a:pt x="4512" y="338"/>
                  </a:lnTo>
                  <a:lnTo>
                    <a:pt x="4516" y="327"/>
                  </a:lnTo>
                  <a:lnTo>
                    <a:pt x="4519" y="315"/>
                  </a:lnTo>
                  <a:lnTo>
                    <a:pt x="4522" y="303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3"/>
                  </a:lnTo>
                  <a:lnTo>
                    <a:pt x="4522" y="201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0"/>
                  </a:lnTo>
                  <a:lnTo>
                    <a:pt x="4416" y="43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20" name="ïšļïḓe">
              <a:extLst>
                <a:ext uri="{FF2B5EF4-FFF2-40B4-BE49-F238E27FC236}">
                  <a16:creationId xmlns:a16="http://schemas.microsoft.com/office/drawing/2014/main" id="{D7740367-103B-4E86-B8D6-7A1A3B1B6F72}"/>
                </a:ext>
              </a:extLst>
            </p:cNvPr>
            <p:cNvSpPr/>
            <p:nvPr/>
          </p:nvSpPr>
          <p:spPr bwMode="auto">
            <a:xfrm>
              <a:off x="11135462" y="1075870"/>
              <a:ext cx="65335" cy="7436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0 h 503"/>
                <a:gd name="T8" fmla="*/ 102 w 4527"/>
                <a:gd name="T9" fmla="*/ 51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1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49 h 503"/>
                <a:gd name="T28" fmla="*/ 37 w 4527"/>
                <a:gd name="T29" fmla="*/ 383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3 h 503"/>
                <a:gd name="T58" fmla="*/ 4502 w 4527"/>
                <a:gd name="T59" fmla="*/ 361 h 503"/>
                <a:gd name="T60" fmla="*/ 4516 w 4527"/>
                <a:gd name="T61" fmla="*/ 326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4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6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1" y="36"/>
                  </a:lnTo>
                  <a:lnTo>
                    <a:pt x="111" y="44"/>
                  </a:lnTo>
                  <a:lnTo>
                    <a:pt x="102" y="51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1" y="349"/>
                  </a:lnTo>
                  <a:lnTo>
                    <a:pt x="26" y="361"/>
                  </a:lnTo>
                  <a:lnTo>
                    <a:pt x="31" y="371"/>
                  </a:lnTo>
                  <a:lnTo>
                    <a:pt x="37" y="383"/>
                  </a:lnTo>
                  <a:lnTo>
                    <a:pt x="44" y="393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3"/>
                  </a:lnTo>
                  <a:lnTo>
                    <a:pt x="4491" y="383"/>
                  </a:lnTo>
                  <a:lnTo>
                    <a:pt x="4497" y="371"/>
                  </a:lnTo>
                  <a:lnTo>
                    <a:pt x="4502" y="361"/>
                  </a:lnTo>
                  <a:lnTo>
                    <a:pt x="4507" y="349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19" y="315"/>
                  </a:lnTo>
                  <a:lnTo>
                    <a:pt x="4522" y="302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4"/>
                  </a:lnTo>
                  <a:lnTo>
                    <a:pt x="4522" y="201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1"/>
                  </a:lnTo>
                  <a:lnTo>
                    <a:pt x="4416" y="44"/>
                  </a:lnTo>
                  <a:lnTo>
                    <a:pt x="4406" y="36"/>
                  </a:lnTo>
                  <a:lnTo>
                    <a:pt x="4395" y="30"/>
                  </a:lnTo>
                  <a:lnTo>
                    <a:pt x="4384" y="25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21" name="í$ḻiḍe">
              <a:extLst>
                <a:ext uri="{FF2B5EF4-FFF2-40B4-BE49-F238E27FC236}">
                  <a16:creationId xmlns:a16="http://schemas.microsoft.com/office/drawing/2014/main" id="{8440EE0B-6997-464B-B2F0-015AB96E4436}"/>
                </a:ext>
              </a:extLst>
            </p:cNvPr>
            <p:cNvSpPr/>
            <p:nvPr/>
          </p:nvSpPr>
          <p:spPr bwMode="auto">
            <a:xfrm>
              <a:off x="11135462" y="1054623"/>
              <a:ext cx="65335" cy="6905"/>
            </a:xfrm>
            <a:custGeom>
              <a:avLst/>
              <a:gdLst>
                <a:gd name="T0" fmla="*/ 239 w 4527"/>
                <a:gd name="T1" fmla="*/ 0 h 503"/>
                <a:gd name="T2" fmla="*/ 202 w 4527"/>
                <a:gd name="T3" fmla="*/ 5 h 503"/>
                <a:gd name="T4" fmla="*/ 165 w 4527"/>
                <a:gd name="T5" fmla="*/ 15 h 503"/>
                <a:gd name="T6" fmla="*/ 132 w 4527"/>
                <a:gd name="T7" fmla="*/ 31 h 503"/>
                <a:gd name="T8" fmla="*/ 102 w 4527"/>
                <a:gd name="T9" fmla="*/ 51 h 503"/>
                <a:gd name="T10" fmla="*/ 74 w 4527"/>
                <a:gd name="T11" fmla="*/ 74 h 503"/>
                <a:gd name="T12" fmla="*/ 51 w 4527"/>
                <a:gd name="T13" fmla="*/ 102 h 503"/>
                <a:gd name="T14" fmla="*/ 31 w 4527"/>
                <a:gd name="T15" fmla="*/ 132 h 503"/>
                <a:gd name="T16" fmla="*/ 15 w 4527"/>
                <a:gd name="T17" fmla="*/ 165 h 503"/>
                <a:gd name="T18" fmla="*/ 5 w 4527"/>
                <a:gd name="T19" fmla="*/ 202 h 503"/>
                <a:gd name="T20" fmla="*/ 0 w 4527"/>
                <a:gd name="T21" fmla="*/ 239 h 503"/>
                <a:gd name="T22" fmla="*/ 1 w 4527"/>
                <a:gd name="T23" fmla="*/ 278 h 503"/>
                <a:gd name="T24" fmla="*/ 8 w 4527"/>
                <a:gd name="T25" fmla="*/ 315 h 503"/>
                <a:gd name="T26" fmla="*/ 21 w 4527"/>
                <a:gd name="T27" fmla="*/ 350 h 503"/>
                <a:gd name="T28" fmla="*/ 37 w 4527"/>
                <a:gd name="T29" fmla="*/ 383 h 503"/>
                <a:gd name="T30" fmla="*/ 58 w 4527"/>
                <a:gd name="T31" fmla="*/ 412 h 503"/>
                <a:gd name="T32" fmla="*/ 83 w 4527"/>
                <a:gd name="T33" fmla="*/ 438 h 503"/>
                <a:gd name="T34" fmla="*/ 111 w 4527"/>
                <a:gd name="T35" fmla="*/ 460 h 503"/>
                <a:gd name="T36" fmla="*/ 143 w 4527"/>
                <a:gd name="T37" fmla="*/ 478 h 503"/>
                <a:gd name="T38" fmla="*/ 177 w 4527"/>
                <a:gd name="T39" fmla="*/ 492 h 503"/>
                <a:gd name="T40" fmla="*/ 214 w 4527"/>
                <a:gd name="T41" fmla="*/ 500 h 503"/>
                <a:gd name="T42" fmla="*/ 252 w 4527"/>
                <a:gd name="T43" fmla="*/ 503 h 503"/>
                <a:gd name="T44" fmla="*/ 4302 w 4527"/>
                <a:gd name="T45" fmla="*/ 502 h 503"/>
                <a:gd name="T46" fmla="*/ 4338 w 4527"/>
                <a:gd name="T47" fmla="*/ 495 h 503"/>
                <a:gd name="T48" fmla="*/ 4373 w 4527"/>
                <a:gd name="T49" fmla="*/ 483 h 503"/>
                <a:gd name="T50" fmla="*/ 4406 w 4527"/>
                <a:gd name="T51" fmla="*/ 467 h 503"/>
                <a:gd name="T52" fmla="*/ 4436 w 4527"/>
                <a:gd name="T53" fmla="*/ 446 h 503"/>
                <a:gd name="T54" fmla="*/ 4462 w 4527"/>
                <a:gd name="T55" fmla="*/ 421 h 503"/>
                <a:gd name="T56" fmla="*/ 4484 w 4527"/>
                <a:gd name="T57" fmla="*/ 393 h 503"/>
                <a:gd name="T58" fmla="*/ 4502 w 4527"/>
                <a:gd name="T59" fmla="*/ 361 h 503"/>
                <a:gd name="T60" fmla="*/ 4516 w 4527"/>
                <a:gd name="T61" fmla="*/ 326 h 503"/>
                <a:gd name="T62" fmla="*/ 4524 w 4527"/>
                <a:gd name="T63" fmla="*/ 290 h 503"/>
                <a:gd name="T64" fmla="*/ 4527 w 4527"/>
                <a:gd name="T65" fmla="*/ 252 h 503"/>
                <a:gd name="T66" fmla="*/ 4524 w 4527"/>
                <a:gd name="T67" fmla="*/ 214 h 503"/>
                <a:gd name="T68" fmla="*/ 4516 w 4527"/>
                <a:gd name="T69" fmla="*/ 177 h 503"/>
                <a:gd name="T70" fmla="*/ 4502 w 4527"/>
                <a:gd name="T71" fmla="*/ 143 h 503"/>
                <a:gd name="T72" fmla="*/ 4484 w 4527"/>
                <a:gd name="T73" fmla="*/ 111 h 503"/>
                <a:gd name="T74" fmla="*/ 4462 w 4527"/>
                <a:gd name="T75" fmla="*/ 83 h 503"/>
                <a:gd name="T76" fmla="*/ 4436 w 4527"/>
                <a:gd name="T77" fmla="*/ 58 h 503"/>
                <a:gd name="T78" fmla="*/ 4406 w 4527"/>
                <a:gd name="T79" fmla="*/ 37 h 503"/>
                <a:gd name="T80" fmla="*/ 4373 w 4527"/>
                <a:gd name="T81" fmla="*/ 20 h 503"/>
                <a:gd name="T82" fmla="*/ 4338 w 4527"/>
                <a:gd name="T83" fmla="*/ 8 h 503"/>
                <a:gd name="T84" fmla="*/ 4302 w 4527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27" h="503">
                  <a:moveTo>
                    <a:pt x="4276" y="0"/>
                  </a:moveTo>
                  <a:lnTo>
                    <a:pt x="252" y="0"/>
                  </a:lnTo>
                  <a:lnTo>
                    <a:pt x="239" y="0"/>
                  </a:lnTo>
                  <a:lnTo>
                    <a:pt x="227" y="1"/>
                  </a:lnTo>
                  <a:lnTo>
                    <a:pt x="214" y="3"/>
                  </a:lnTo>
                  <a:lnTo>
                    <a:pt x="202" y="5"/>
                  </a:lnTo>
                  <a:lnTo>
                    <a:pt x="190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1" y="37"/>
                  </a:lnTo>
                  <a:lnTo>
                    <a:pt x="111" y="44"/>
                  </a:lnTo>
                  <a:lnTo>
                    <a:pt x="102" y="51"/>
                  </a:lnTo>
                  <a:lnTo>
                    <a:pt x="92" y="58"/>
                  </a:lnTo>
                  <a:lnTo>
                    <a:pt x="83" y="66"/>
                  </a:lnTo>
                  <a:lnTo>
                    <a:pt x="74" y="74"/>
                  </a:lnTo>
                  <a:lnTo>
                    <a:pt x="66" y="83"/>
                  </a:lnTo>
                  <a:lnTo>
                    <a:pt x="58" y="92"/>
                  </a:lnTo>
                  <a:lnTo>
                    <a:pt x="51" y="102"/>
                  </a:lnTo>
                  <a:lnTo>
                    <a:pt x="44" y="111"/>
                  </a:lnTo>
                  <a:lnTo>
                    <a:pt x="37" y="122"/>
                  </a:lnTo>
                  <a:lnTo>
                    <a:pt x="31" y="132"/>
                  </a:lnTo>
                  <a:lnTo>
                    <a:pt x="26" y="143"/>
                  </a:lnTo>
                  <a:lnTo>
                    <a:pt x="21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1" y="350"/>
                  </a:lnTo>
                  <a:lnTo>
                    <a:pt x="26" y="361"/>
                  </a:lnTo>
                  <a:lnTo>
                    <a:pt x="31" y="372"/>
                  </a:lnTo>
                  <a:lnTo>
                    <a:pt x="37" y="383"/>
                  </a:lnTo>
                  <a:lnTo>
                    <a:pt x="44" y="393"/>
                  </a:lnTo>
                  <a:lnTo>
                    <a:pt x="51" y="403"/>
                  </a:lnTo>
                  <a:lnTo>
                    <a:pt x="58" y="412"/>
                  </a:lnTo>
                  <a:lnTo>
                    <a:pt x="66" y="421"/>
                  </a:lnTo>
                  <a:lnTo>
                    <a:pt x="74" y="430"/>
                  </a:lnTo>
                  <a:lnTo>
                    <a:pt x="83" y="438"/>
                  </a:lnTo>
                  <a:lnTo>
                    <a:pt x="92" y="446"/>
                  </a:lnTo>
                  <a:lnTo>
                    <a:pt x="102" y="453"/>
                  </a:lnTo>
                  <a:lnTo>
                    <a:pt x="111" y="460"/>
                  </a:lnTo>
                  <a:lnTo>
                    <a:pt x="121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90" y="495"/>
                  </a:lnTo>
                  <a:lnTo>
                    <a:pt x="202" y="498"/>
                  </a:lnTo>
                  <a:lnTo>
                    <a:pt x="214" y="500"/>
                  </a:lnTo>
                  <a:lnTo>
                    <a:pt x="227" y="502"/>
                  </a:lnTo>
                  <a:lnTo>
                    <a:pt x="239" y="503"/>
                  </a:lnTo>
                  <a:lnTo>
                    <a:pt x="252" y="503"/>
                  </a:lnTo>
                  <a:lnTo>
                    <a:pt x="4276" y="503"/>
                  </a:lnTo>
                  <a:lnTo>
                    <a:pt x="4289" y="503"/>
                  </a:lnTo>
                  <a:lnTo>
                    <a:pt x="4302" y="502"/>
                  </a:lnTo>
                  <a:lnTo>
                    <a:pt x="4314" y="500"/>
                  </a:lnTo>
                  <a:lnTo>
                    <a:pt x="4326" y="498"/>
                  </a:lnTo>
                  <a:lnTo>
                    <a:pt x="4338" y="495"/>
                  </a:lnTo>
                  <a:lnTo>
                    <a:pt x="4350" y="492"/>
                  </a:lnTo>
                  <a:lnTo>
                    <a:pt x="4362" y="488"/>
                  </a:lnTo>
                  <a:lnTo>
                    <a:pt x="4373" y="483"/>
                  </a:lnTo>
                  <a:lnTo>
                    <a:pt x="4384" y="478"/>
                  </a:lnTo>
                  <a:lnTo>
                    <a:pt x="4395" y="473"/>
                  </a:lnTo>
                  <a:lnTo>
                    <a:pt x="4406" y="467"/>
                  </a:lnTo>
                  <a:lnTo>
                    <a:pt x="4416" y="460"/>
                  </a:lnTo>
                  <a:lnTo>
                    <a:pt x="4427" y="453"/>
                  </a:lnTo>
                  <a:lnTo>
                    <a:pt x="4436" y="446"/>
                  </a:lnTo>
                  <a:lnTo>
                    <a:pt x="4445" y="438"/>
                  </a:lnTo>
                  <a:lnTo>
                    <a:pt x="4454" y="430"/>
                  </a:lnTo>
                  <a:lnTo>
                    <a:pt x="4462" y="421"/>
                  </a:lnTo>
                  <a:lnTo>
                    <a:pt x="4470" y="412"/>
                  </a:lnTo>
                  <a:lnTo>
                    <a:pt x="4477" y="403"/>
                  </a:lnTo>
                  <a:lnTo>
                    <a:pt x="4484" y="393"/>
                  </a:lnTo>
                  <a:lnTo>
                    <a:pt x="4491" y="383"/>
                  </a:lnTo>
                  <a:lnTo>
                    <a:pt x="4497" y="372"/>
                  </a:lnTo>
                  <a:lnTo>
                    <a:pt x="4502" y="361"/>
                  </a:lnTo>
                  <a:lnTo>
                    <a:pt x="4507" y="350"/>
                  </a:lnTo>
                  <a:lnTo>
                    <a:pt x="4512" y="338"/>
                  </a:lnTo>
                  <a:lnTo>
                    <a:pt x="4516" y="326"/>
                  </a:lnTo>
                  <a:lnTo>
                    <a:pt x="4519" y="315"/>
                  </a:lnTo>
                  <a:lnTo>
                    <a:pt x="4522" y="302"/>
                  </a:lnTo>
                  <a:lnTo>
                    <a:pt x="4524" y="290"/>
                  </a:lnTo>
                  <a:lnTo>
                    <a:pt x="4526" y="278"/>
                  </a:lnTo>
                  <a:lnTo>
                    <a:pt x="4527" y="265"/>
                  </a:lnTo>
                  <a:lnTo>
                    <a:pt x="4527" y="252"/>
                  </a:lnTo>
                  <a:lnTo>
                    <a:pt x="4527" y="239"/>
                  </a:lnTo>
                  <a:lnTo>
                    <a:pt x="4526" y="227"/>
                  </a:lnTo>
                  <a:lnTo>
                    <a:pt x="4524" y="214"/>
                  </a:lnTo>
                  <a:lnTo>
                    <a:pt x="4522" y="202"/>
                  </a:lnTo>
                  <a:lnTo>
                    <a:pt x="4519" y="189"/>
                  </a:lnTo>
                  <a:lnTo>
                    <a:pt x="4516" y="177"/>
                  </a:lnTo>
                  <a:lnTo>
                    <a:pt x="4512" y="165"/>
                  </a:lnTo>
                  <a:lnTo>
                    <a:pt x="4507" y="154"/>
                  </a:lnTo>
                  <a:lnTo>
                    <a:pt x="4502" y="143"/>
                  </a:lnTo>
                  <a:lnTo>
                    <a:pt x="4497" y="132"/>
                  </a:lnTo>
                  <a:lnTo>
                    <a:pt x="4491" y="122"/>
                  </a:lnTo>
                  <a:lnTo>
                    <a:pt x="4484" y="111"/>
                  </a:lnTo>
                  <a:lnTo>
                    <a:pt x="4477" y="102"/>
                  </a:lnTo>
                  <a:lnTo>
                    <a:pt x="4470" y="92"/>
                  </a:lnTo>
                  <a:lnTo>
                    <a:pt x="4462" y="83"/>
                  </a:lnTo>
                  <a:lnTo>
                    <a:pt x="4454" y="74"/>
                  </a:lnTo>
                  <a:lnTo>
                    <a:pt x="4445" y="66"/>
                  </a:lnTo>
                  <a:lnTo>
                    <a:pt x="4436" y="58"/>
                  </a:lnTo>
                  <a:lnTo>
                    <a:pt x="4427" y="51"/>
                  </a:lnTo>
                  <a:lnTo>
                    <a:pt x="4416" y="44"/>
                  </a:lnTo>
                  <a:lnTo>
                    <a:pt x="4406" y="37"/>
                  </a:lnTo>
                  <a:lnTo>
                    <a:pt x="4395" y="31"/>
                  </a:lnTo>
                  <a:lnTo>
                    <a:pt x="4384" y="26"/>
                  </a:lnTo>
                  <a:lnTo>
                    <a:pt x="4373" y="20"/>
                  </a:lnTo>
                  <a:lnTo>
                    <a:pt x="4362" y="15"/>
                  </a:lnTo>
                  <a:lnTo>
                    <a:pt x="4350" y="11"/>
                  </a:lnTo>
                  <a:lnTo>
                    <a:pt x="4338" y="8"/>
                  </a:lnTo>
                  <a:lnTo>
                    <a:pt x="4326" y="5"/>
                  </a:lnTo>
                  <a:lnTo>
                    <a:pt x="4314" y="3"/>
                  </a:lnTo>
                  <a:lnTo>
                    <a:pt x="4302" y="1"/>
                  </a:lnTo>
                  <a:lnTo>
                    <a:pt x="4289" y="0"/>
                  </a:lnTo>
                  <a:lnTo>
                    <a:pt x="4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22" name="îś1îḑé">
              <a:extLst>
                <a:ext uri="{FF2B5EF4-FFF2-40B4-BE49-F238E27FC236}">
                  <a16:creationId xmlns:a16="http://schemas.microsoft.com/office/drawing/2014/main" id="{8C92B830-D4A3-4AC1-88B1-53193CC23A2D}"/>
                </a:ext>
              </a:extLst>
            </p:cNvPr>
            <p:cNvSpPr/>
            <p:nvPr/>
          </p:nvSpPr>
          <p:spPr bwMode="auto">
            <a:xfrm>
              <a:off x="11056316" y="1011066"/>
              <a:ext cx="144480" cy="7436"/>
            </a:xfrm>
            <a:custGeom>
              <a:avLst/>
              <a:gdLst>
                <a:gd name="T0" fmla="*/ 238 w 10059"/>
                <a:gd name="T1" fmla="*/ 1 h 503"/>
                <a:gd name="T2" fmla="*/ 201 w 10059"/>
                <a:gd name="T3" fmla="*/ 5 h 503"/>
                <a:gd name="T4" fmla="*/ 165 w 10059"/>
                <a:gd name="T5" fmla="*/ 15 h 503"/>
                <a:gd name="T6" fmla="*/ 132 w 10059"/>
                <a:gd name="T7" fmla="*/ 30 h 503"/>
                <a:gd name="T8" fmla="*/ 100 w 10059"/>
                <a:gd name="T9" fmla="*/ 50 h 503"/>
                <a:gd name="T10" fmla="*/ 73 w 10059"/>
                <a:gd name="T11" fmla="*/ 73 h 503"/>
                <a:gd name="T12" fmla="*/ 50 w 10059"/>
                <a:gd name="T13" fmla="*/ 101 h 503"/>
                <a:gd name="T14" fmla="*/ 30 w 10059"/>
                <a:gd name="T15" fmla="*/ 131 h 503"/>
                <a:gd name="T16" fmla="*/ 15 w 10059"/>
                <a:gd name="T17" fmla="*/ 165 h 503"/>
                <a:gd name="T18" fmla="*/ 5 w 10059"/>
                <a:gd name="T19" fmla="*/ 201 h 503"/>
                <a:gd name="T20" fmla="*/ 0 w 10059"/>
                <a:gd name="T21" fmla="*/ 238 h 503"/>
                <a:gd name="T22" fmla="*/ 1 w 10059"/>
                <a:gd name="T23" fmla="*/ 277 h 503"/>
                <a:gd name="T24" fmla="*/ 8 w 10059"/>
                <a:gd name="T25" fmla="*/ 314 h 503"/>
                <a:gd name="T26" fmla="*/ 20 w 10059"/>
                <a:gd name="T27" fmla="*/ 349 h 503"/>
                <a:gd name="T28" fmla="*/ 36 w 10059"/>
                <a:gd name="T29" fmla="*/ 382 h 503"/>
                <a:gd name="T30" fmla="*/ 57 w 10059"/>
                <a:gd name="T31" fmla="*/ 411 h 503"/>
                <a:gd name="T32" fmla="*/ 82 w 10059"/>
                <a:gd name="T33" fmla="*/ 437 h 503"/>
                <a:gd name="T34" fmla="*/ 110 w 10059"/>
                <a:gd name="T35" fmla="*/ 460 h 503"/>
                <a:gd name="T36" fmla="*/ 143 w 10059"/>
                <a:gd name="T37" fmla="*/ 478 h 503"/>
                <a:gd name="T38" fmla="*/ 177 w 10059"/>
                <a:gd name="T39" fmla="*/ 491 h 503"/>
                <a:gd name="T40" fmla="*/ 213 w 10059"/>
                <a:gd name="T41" fmla="*/ 499 h 503"/>
                <a:gd name="T42" fmla="*/ 251 w 10059"/>
                <a:gd name="T43" fmla="*/ 503 h 503"/>
                <a:gd name="T44" fmla="*/ 9834 w 10059"/>
                <a:gd name="T45" fmla="*/ 502 h 503"/>
                <a:gd name="T46" fmla="*/ 9870 w 10059"/>
                <a:gd name="T47" fmla="*/ 494 h 503"/>
                <a:gd name="T48" fmla="*/ 9905 w 10059"/>
                <a:gd name="T49" fmla="*/ 483 h 503"/>
                <a:gd name="T50" fmla="*/ 9938 w 10059"/>
                <a:gd name="T51" fmla="*/ 466 h 503"/>
                <a:gd name="T52" fmla="*/ 9968 w 10059"/>
                <a:gd name="T53" fmla="*/ 445 h 503"/>
                <a:gd name="T54" fmla="*/ 9994 w 10059"/>
                <a:gd name="T55" fmla="*/ 420 h 503"/>
                <a:gd name="T56" fmla="*/ 10016 w 10059"/>
                <a:gd name="T57" fmla="*/ 392 h 503"/>
                <a:gd name="T58" fmla="*/ 10034 w 10059"/>
                <a:gd name="T59" fmla="*/ 361 h 503"/>
                <a:gd name="T60" fmla="*/ 10048 w 10059"/>
                <a:gd name="T61" fmla="*/ 326 h 503"/>
                <a:gd name="T62" fmla="*/ 10056 w 10059"/>
                <a:gd name="T63" fmla="*/ 289 h 503"/>
                <a:gd name="T64" fmla="*/ 10059 w 10059"/>
                <a:gd name="T65" fmla="*/ 251 h 503"/>
                <a:gd name="T66" fmla="*/ 10056 w 10059"/>
                <a:gd name="T67" fmla="*/ 213 h 503"/>
                <a:gd name="T68" fmla="*/ 10048 w 10059"/>
                <a:gd name="T69" fmla="*/ 177 h 503"/>
                <a:gd name="T70" fmla="*/ 10034 w 10059"/>
                <a:gd name="T71" fmla="*/ 142 h 503"/>
                <a:gd name="T72" fmla="*/ 10016 w 10059"/>
                <a:gd name="T73" fmla="*/ 110 h 503"/>
                <a:gd name="T74" fmla="*/ 9994 w 10059"/>
                <a:gd name="T75" fmla="*/ 82 h 503"/>
                <a:gd name="T76" fmla="*/ 9968 w 10059"/>
                <a:gd name="T77" fmla="*/ 57 h 503"/>
                <a:gd name="T78" fmla="*/ 9938 w 10059"/>
                <a:gd name="T79" fmla="*/ 36 h 503"/>
                <a:gd name="T80" fmla="*/ 9905 w 10059"/>
                <a:gd name="T81" fmla="*/ 20 h 503"/>
                <a:gd name="T82" fmla="*/ 9870 w 10059"/>
                <a:gd name="T83" fmla="*/ 8 h 503"/>
                <a:gd name="T84" fmla="*/ 9834 w 10059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9" h="503">
                  <a:moveTo>
                    <a:pt x="9808" y="0"/>
                  </a:moveTo>
                  <a:lnTo>
                    <a:pt x="251" y="0"/>
                  </a:lnTo>
                  <a:lnTo>
                    <a:pt x="238" y="1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1"/>
                  </a:lnTo>
                  <a:lnTo>
                    <a:pt x="165" y="15"/>
                  </a:lnTo>
                  <a:lnTo>
                    <a:pt x="154" y="20"/>
                  </a:lnTo>
                  <a:lnTo>
                    <a:pt x="143" y="25"/>
                  </a:lnTo>
                  <a:lnTo>
                    <a:pt x="132" y="30"/>
                  </a:lnTo>
                  <a:lnTo>
                    <a:pt x="120" y="36"/>
                  </a:lnTo>
                  <a:lnTo>
                    <a:pt x="110" y="43"/>
                  </a:lnTo>
                  <a:lnTo>
                    <a:pt x="100" y="50"/>
                  </a:lnTo>
                  <a:lnTo>
                    <a:pt x="91" y="57"/>
                  </a:lnTo>
                  <a:lnTo>
                    <a:pt x="82" y="65"/>
                  </a:lnTo>
                  <a:lnTo>
                    <a:pt x="73" y="73"/>
                  </a:lnTo>
                  <a:lnTo>
                    <a:pt x="65" y="82"/>
                  </a:lnTo>
                  <a:lnTo>
                    <a:pt x="57" y="91"/>
                  </a:lnTo>
                  <a:lnTo>
                    <a:pt x="50" y="101"/>
                  </a:lnTo>
                  <a:lnTo>
                    <a:pt x="43" y="110"/>
                  </a:lnTo>
                  <a:lnTo>
                    <a:pt x="36" y="121"/>
                  </a:lnTo>
                  <a:lnTo>
                    <a:pt x="30" y="131"/>
                  </a:lnTo>
                  <a:lnTo>
                    <a:pt x="25" y="142"/>
                  </a:lnTo>
                  <a:lnTo>
                    <a:pt x="20" y="153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89"/>
                  </a:lnTo>
                  <a:lnTo>
                    <a:pt x="5" y="201"/>
                  </a:lnTo>
                  <a:lnTo>
                    <a:pt x="3" y="213"/>
                  </a:lnTo>
                  <a:lnTo>
                    <a:pt x="1" y="226"/>
                  </a:lnTo>
                  <a:lnTo>
                    <a:pt x="0" y="238"/>
                  </a:lnTo>
                  <a:lnTo>
                    <a:pt x="0" y="251"/>
                  </a:lnTo>
                  <a:lnTo>
                    <a:pt x="0" y="264"/>
                  </a:lnTo>
                  <a:lnTo>
                    <a:pt x="1" y="277"/>
                  </a:lnTo>
                  <a:lnTo>
                    <a:pt x="3" y="289"/>
                  </a:lnTo>
                  <a:lnTo>
                    <a:pt x="5" y="302"/>
                  </a:lnTo>
                  <a:lnTo>
                    <a:pt x="8" y="314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49"/>
                  </a:lnTo>
                  <a:lnTo>
                    <a:pt x="25" y="361"/>
                  </a:lnTo>
                  <a:lnTo>
                    <a:pt x="30" y="371"/>
                  </a:lnTo>
                  <a:lnTo>
                    <a:pt x="36" y="382"/>
                  </a:lnTo>
                  <a:lnTo>
                    <a:pt x="43" y="392"/>
                  </a:lnTo>
                  <a:lnTo>
                    <a:pt x="50" y="402"/>
                  </a:lnTo>
                  <a:lnTo>
                    <a:pt x="57" y="411"/>
                  </a:lnTo>
                  <a:lnTo>
                    <a:pt x="65" y="420"/>
                  </a:lnTo>
                  <a:lnTo>
                    <a:pt x="73" y="429"/>
                  </a:lnTo>
                  <a:lnTo>
                    <a:pt x="82" y="437"/>
                  </a:lnTo>
                  <a:lnTo>
                    <a:pt x="91" y="445"/>
                  </a:lnTo>
                  <a:lnTo>
                    <a:pt x="100" y="453"/>
                  </a:lnTo>
                  <a:lnTo>
                    <a:pt x="110" y="460"/>
                  </a:lnTo>
                  <a:lnTo>
                    <a:pt x="120" y="466"/>
                  </a:lnTo>
                  <a:lnTo>
                    <a:pt x="132" y="472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7"/>
                  </a:lnTo>
                  <a:lnTo>
                    <a:pt x="177" y="491"/>
                  </a:lnTo>
                  <a:lnTo>
                    <a:pt x="189" y="494"/>
                  </a:lnTo>
                  <a:lnTo>
                    <a:pt x="201" y="497"/>
                  </a:lnTo>
                  <a:lnTo>
                    <a:pt x="213" y="499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9808" y="503"/>
                  </a:lnTo>
                  <a:lnTo>
                    <a:pt x="9821" y="503"/>
                  </a:lnTo>
                  <a:lnTo>
                    <a:pt x="9834" y="502"/>
                  </a:lnTo>
                  <a:lnTo>
                    <a:pt x="9846" y="499"/>
                  </a:lnTo>
                  <a:lnTo>
                    <a:pt x="9858" y="497"/>
                  </a:lnTo>
                  <a:lnTo>
                    <a:pt x="9870" y="494"/>
                  </a:lnTo>
                  <a:lnTo>
                    <a:pt x="9882" y="491"/>
                  </a:lnTo>
                  <a:lnTo>
                    <a:pt x="9894" y="487"/>
                  </a:lnTo>
                  <a:lnTo>
                    <a:pt x="9905" y="483"/>
                  </a:lnTo>
                  <a:lnTo>
                    <a:pt x="9916" y="478"/>
                  </a:lnTo>
                  <a:lnTo>
                    <a:pt x="9927" y="472"/>
                  </a:lnTo>
                  <a:lnTo>
                    <a:pt x="9938" y="466"/>
                  </a:lnTo>
                  <a:lnTo>
                    <a:pt x="9948" y="460"/>
                  </a:lnTo>
                  <a:lnTo>
                    <a:pt x="9959" y="453"/>
                  </a:lnTo>
                  <a:lnTo>
                    <a:pt x="9968" y="445"/>
                  </a:lnTo>
                  <a:lnTo>
                    <a:pt x="9977" y="437"/>
                  </a:lnTo>
                  <a:lnTo>
                    <a:pt x="9986" y="429"/>
                  </a:lnTo>
                  <a:lnTo>
                    <a:pt x="9994" y="420"/>
                  </a:lnTo>
                  <a:lnTo>
                    <a:pt x="10002" y="411"/>
                  </a:lnTo>
                  <a:lnTo>
                    <a:pt x="10009" y="402"/>
                  </a:lnTo>
                  <a:lnTo>
                    <a:pt x="10016" y="392"/>
                  </a:lnTo>
                  <a:lnTo>
                    <a:pt x="10023" y="382"/>
                  </a:lnTo>
                  <a:lnTo>
                    <a:pt x="10029" y="371"/>
                  </a:lnTo>
                  <a:lnTo>
                    <a:pt x="10034" y="361"/>
                  </a:lnTo>
                  <a:lnTo>
                    <a:pt x="10039" y="349"/>
                  </a:lnTo>
                  <a:lnTo>
                    <a:pt x="10044" y="338"/>
                  </a:lnTo>
                  <a:lnTo>
                    <a:pt x="10048" y="326"/>
                  </a:lnTo>
                  <a:lnTo>
                    <a:pt x="10051" y="314"/>
                  </a:lnTo>
                  <a:lnTo>
                    <a:pt x="10054" y="302"/>
                  </a:lnTo>
                  <a:lnTo>
                    <a:pt x="10056" y="289"/>
                  </a:lnTo>
                  <a:lnTo>
                    <a:pt x="10058" y="277"/>
                  </a:lnTo>
                  <a:lnTo>
                    <a:pt x="10059" y="264"/>
                  </a:lnTo>
                  <a:lnTo>
                    <a:pt x="10059" y="251"/>
                  </a:lnTo>
                  <a:lnTo>
                    <a:pt x="10059" y="238"/>
                  </a:lnTo>
                  <a:lnTo>
                    <a:pt x="10058" y="226"/>
                  </a:lnTo>
                  <a:lnTo>
                    <a:pt x="10056" y="213"/>
                  </a:lnTo>
                  <a:lnTo>
                    <a:pt x="10054" y="201"/>
                  </a:lnTo>
                  <a:lnTo>
                    <a:pt x="10051" y="189"/>
                  </a:lnTo>
                  <a:lnTo>
                    <a:pt x="10048" y="177"/>
                  </a:lnTo>
                  <a:lnTo>
                    <a:pt x="10044" y="165"/>
                  </a:lnTo>
                  <a:lnTo>
                    <a:pt x="10039" y="153"/>
                  </a:lnTo>
                  <a:lnTo>
                    <a:pt x="10034" y="142"/>
                  </a:lnTo>
                  <a:lnTo>
                    <a:pt x="10029" y="131"/>
                  </a:lnTo>
                  <a:lnTo>
                    <a:pt x="10023" y="121"/>
                  </a:lnTo>
                  <a:lnTo>
                    <a:pt x="10016" y="110"/>
                  </a:lnTo>
                  <a:lnTo>
                    <a:pt x="10009" y="101"/>
                  </a:lnTo>
                  <a:lnTo>
                    <a:pt x="10002" y="91"/>
                  </a:lnTo>
                  <a:lnTo>
                    <a:pt x="9994" y="82"/>
                  </a:lnTo>
                  <a:lnTo>
                    <a:pt x="9986" y="73"/>
                  </a:lnTo>
                  <a:lnTo>
                    <a:pt x="9977" y="65"/>
                  </a:lnTo>
                  <a:lnTo>
                    <a:pt x="9968" y="57"/>
                  </a:lnTo>
                  <a:lnTo>
                    <a:pt x="9959" y="50"/>
                  </a:lnTo>
                  <a:lnTo>
                    <a:pt x="9948" y="43"/>
                  </a:lnTo>
                  <a:lnTo>
                    <a:pt x="9938" y="36"/>
                  </a:lnTo>
                  <a:lnTo>
                    <a:pt x="9927" y="30"/>
                  </a:lnTo>
                  <a:lnTo>
                    <a:pt x="9916" y="25"/>
                  </a:lnTo>
                  <a:lnTo>
                    <a:pt x="9905" y="20"/>
                  </a:lnTo>
                  <a:lnTo>
                    <a:pt x="9894" y="15"/>
                  </a:lnTo>
                  <a:lnTo>
                    <a:pt x="9882" y="11"/>
                  </a:lnTo>
                  <a:lnTo>
                    <a:pt x="9870" y="8"/>
                  </a:lnTo>
                  <a:lnTo>
                    <a:pt x="9858" y="5"/>
                  </a:lnTo>
                  <a:lnTo>
                    <a:pt x="9846" y="3"/>
                  </a:lnTo>
                  <a:lnTo>
                    <a:pt x="9834" y="1"/>
                  </a:lnTo>
                  <a:lnTo>
                    <a:pt x="9821" y="1"/>
                  </a:lnTo>
                  <a:lnTo>
                    <a:pt x="98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23" name="ïṧḻïde">
              <a:extLst>
                <a:ext uri="{FF2B5EF4-FFF2-40B4-BE49-F238E27FC236}">
                  <a16:creationId xmlns:a16="http://schemas.microsoft.com/office/drawing/2014/main" id="{70ED8BEE-CF05-4E60-8A78-6C3EBB0FD2AF}"/>
                </a:ext>
              </a:extLst>
            </p:cNvPr>
            <p:cNvSpPr/>
            <p:nvPr/>
          </p:nvSpPr>
          <p:spPr bwMode="auto">
            <a:xfrm>
              <a:off x="11056316" y="1032844"/>
              <a:ext cx="144480" cy="6905"/>
            </a:xfrm>
            <a:custGeom>
              <a:avLst/>
              <a:gdLst>
                <a:gd name="T0" fmla="*/ 238 w 10059"/>
                <a:gd name="T1" fmla="*/ 0 h 503"/>
                <a:gd name="T2" fmla="*/ 201 w 10059"/>
                <a:gd name="T3" fmla="*/ 5 h 503"/>
                <a:gd name="T4" fmla="*/ 165 w 10059"/>
                <a:gd name="T5" fmla="*/ 16 h 503"/>
                <a:gd name="T6" fmla="*/ 132 w 10059"/>
                <a:gd name="T7" fmla="*/ 31 h 503"/>
                <a:gd name="T8" fmla="*/ 100 w 10059"/>
                <a:gd name="T9" fmla="*/ 51 h 503"/>
                <a:gd name="T10" fmla="*/ 73 w 10059"/>
                <a:gd name="T11" fmla="*/ 74 h 503"/>
                <a:gd name="T12" fmla="*/ 50 w 10059"/>
                <a:gd name="T13" fmla="*/ 102 h 503"/>
                <a:gd name="T14" fmla="*/ 30 w 10059"/>
                <a:gd name="T15" fmla="*/ 132 h 503"/>
                <a:gd name="T16" fmla="*/ 15 w 10059"/>
                <a:gd name="T17" fmla="*/ 165 h 503"/>
                <a:gd name="T18" fmla="*/ 5 w 10059"/>
                <a:gd name="T19" fmla="*/ 202 h 503"/>
                <a:gd name="T20" fmla="*/ 0 w 10059"/>
                <a:gd name="T21" fmla="*/ 239 h 503"/>
                <a:gd name="T22" fmla="*/ 1 w 10059"/>
                <a:gd name="T23" fmla="*/ 278 h 503"/>
                <a:gd name="T24" fmla="*/ 8 w 10059"/>
                <a:gd name="T25" fmla="*/ 315 h 503"/>
                <a:gd name="T26" fmla="*/ 20 w 10059"/>
                <a:gd name="T27" fmla="*/ 350 h 503"/>
                <a:gd name="T28" fmla="*/ 36 w 10059"/>
                <a:gd name="T29" fmla="*/ 383 h 503"/>
                <a:gd name="T30" fmla="*/ 57 w 10059"/>
                <a:gd name="T31" fmla="*/ 412 h 503"/>
                <a:gd name="T32" fmla="*/ 82 w 10059"/>
                <a:gd name="T33" fmla="*/ 438 h 503"/>
                <a:gd name="T34" fmla="*/ 110 w 10059"/>
                <a:gd name="T35" fmla="*/ 460 h 503"/>
                <a:gd name="T36" fmla="*/ 143 w 10059"/>
                <a:gd name="T37" fmla="*/ 478 h 503"/>
                <a:gd name="T38" fmla="*/ 177 w 10059"/>
                <a:gd name="T39" fmla="*/ 492 h 503"/>
                <a:gd name="T40" fmla="*/ 213 w 10059"/>
                <a:gd name="T41" fmla="*/ 500 h 503"/>
                <a:gd name="T42" fmla="*/ 251 w 10059"/>
                <a:gd name="T43" fmla="*/ 503 h 503"/>
                <a:gd name="T44" fmla="*/ 9834 w 10059"/>
                <a:gd name="T45" fmla="*/ 502 h 503"/>
                <a:gd name="T46" fmla="*/ 9870 w 10059"/>
                <a:gd name="T47" fmla="*/ 495 h 503"/>
                <a:gd name="T48" fmla="*/ 9905 w 10059"/>
                <a:gd name="T49" fmla="*/ 483 h 503"/>
                <a:gd name="T50" fmla="*/ 9938 w 10059"/>
                <a:gd name="T51" fmla="*/ 467 h 503"/>
                <a:gd name="T52" fmla="*/ 9968 w 10059"/>
                <a:gd name="T53" fmla="*/ 446 h 503"/>
                <a:gd name="T54" fmla="*/ 9994 w 10059"/>
                <a:gd name="T55" fmla="*/ 421 h 503"/>
                <a:gd name="T56" fmla="*/ 10016 w 10059"/>
                <a:gd name="T57" fmla="*/ 393 h 503"/>
                <a:gd name="T58" fmla="*/ 10034 w 10059"/>
                <a:gd name="T59" fmla="*/ 362 h 503"/>
                <a:gd name="T60" fmla="*/ 10048 w 10059"/>
                <a:gd name="T61" fmla="*/ 326 h 503"/>
                <a:gd name="T62" fmla="*/ 10056 w 10059"/>
                <a:gd name="T63" fmla="*/ 290 h 503"/>
                <a:gd name="T64" fmla="*/ 10059 w 10059"/>
                <a:gd name="T65" fmla="*/ 252 h 503"/>
                <a:gd name="T66" fmla="*/ 10056 w 10059"/>
                <a:gd name="T67" fmla="*/ 214 h 503"/>
                <a:gd name="T68" fmla="*/ 10048 w 10059"/>
                <a:gd name="T69" fmla="*/ 177 h 503"/>
                <a:gd name="T70" fmla="*/ 10034 w 10059"/>
                <a:gd name="T71" fmla="*/ 143 h 503"/>
                <a:gd name="T72" fmla="*/ 10016 w 10059"/>
                <a:gd name="T73" fmla="*/ 112 h 503"/>
                <a:gd name="T74" fmla="*/ 9994 w 10059"/>
                <a:gd name="T75" fmla="*/ 83 h 503"/>
                <a:gd name="T76" fmla="*/ 9968 w 10059"/>
                <a:gd name="T77" fmla="*/ 58 h 503"/>
                <a:gd name="T78" fmla="*/ 9938 w 10059"/>
                <a:gd name="T79" fmla="*/ 37 h 503"/>
                <a:gd name="T80" fmla="*/ 9905 w 10059"/>
                <a:gd name="T81" fmla="*/ 21 h 503"/>
                <a:gd name="T82" fmla="*/ 9870 w 10059"/>
                <a:gd name="T83" fmla="*/ 8 h 503"/>
                <a:gd name="T84" fmla="*/ 9834 w 10059"/>
                <a:gd name="T85" fmla="*/ 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59" h="503">
                  <a:moveTo>
                    <a:pt x="9808" y="0"/>
                  </a:moveTo>
                  <a:lnTo>
                    <a:pt x="251" y="0"/>
                  </a:lnTo>
                  <a:lnTo>
                    <a:pt x="238" y="0"/>
                  </a:lnTo>
                  <a:lnTo>
                    <a:pt x="225" y="1"/>
                  </a:lnTo>
                  <a:lnTo>
                    <a:pt x="213" y="3"/>
                  </a:lnTo>
                  <a:lnTo>
                    <a:pt x="201" y="5"/>
                  </a:lnTo>
                  <a:lnTo>
                    <a:pt x="189" y="8"/>
                  </a:lnTo>
                  <a:lnTo>
                    <a:pt x="177" y="12"/>
                  </a:lnTo>
                  <a:lnTo>
                    <a:pt x="165" y="16"/>
                  </a:lnTo>
                  <a:lnTo>
                    <a:pt x="154" y="21"/>
                  </a:lnTo>
                  <a:lnTo>
                    <a:pt x="143" y="26"/>
                  </a:lnTo>
                  <a:lnTo>
                    <a:pt x="132" y="31"/>
                  </a:lnTo>
                  <a:lnTo>
                    <a:pt x="120" y="37"/>
                  </a:lnTo>
                  <a:lnTo>
                    <a:pt x="110" y="44"/>
                  </a:lnTo>
                  <a:lnTo>
                    <a:pt x="100" y="51"/>
                  </a:lnTo>
                  <a:lnTo>
                    <a:pt x="91" y="58"/>
                  </a:lnTo>
                  <a:lnTo>
                    <a:pt x="82" y="66"/>
                  </a:lnTo>
                  <a:lnTo>
                    <a:pt x="73" y="74"/>
                  </a:lnTo>
                  <a:lnTo>
                    <a:pt x="65" y="83"/>
                  </a:lnTo>
                  <a:lnTo>
                    <a:pt x="57" y="92"/>
                  </a:lnTo>
                  <a:lnTo>
                    <a:pt x="50" y="102"/>
                  </a:lnTo>
                  <a:lnTo>
                    <a:pt x="43" y="112"/>
                  </a:lnTo>
                  <a:lnTo>
                    <a:pt x="36" y="122"/>
                  </a:lnTo>
                  <a:lnTo>
                    <a:pt x="30" y="132"/>
                  </a:lnTo>
                  <a:lnTo>
                    <a:pt x="25" y="143"/>
                  </a:lnTo>
                  <a:lnTo>
                    <a:pt x="20" y="154"/>
                  </a:lnTo>
                  <a:lnTo>
                    <a:pt x="15" y="165"/>
                  </a:lnTo>
                  <a:lnTo>
                    <a:pt x="11" y="177"/>
                  </a:lnTo>
                  <a:lnTo>
                    <a:pt x="8" y="190"/>
                  </a:lnTo>
                  <a:lnTo>
                    <a:pt x="5" y="202"/>
                  </a:lnTo>
                  <a:lnTo>
                    <a:pt x="3" y="214"/>
                  </a:lnTo>
                  <a:lnTo>
                    <a:pt x="1" y="227"/>
                  </a:lnTo>
                  <a:lnTo>
                    <a:pt x="0" y="239"/>
                  </a:lnTo>
                  <a:lnTo>
                    <a:pt x="0" y="252"/>
                  </a:lnTo>
                  <a:lnTo>
                    <a:pt x="0" y="265"/>
                  </a:lnTo>
                  <a:lnTo>
                    <a:pt x="1" y="278"/>
                  </a:lnTo>
                  <a:lnTo>
                    <a:pt x="3" y="290"/>
                  </a:lnTo>
                  <a:lnTo>
                    <a:pt x="5" y="302"/>
                  </a:lnTo>
                  <a:lnTo>
                    <a:pt x="8" y="315"/>
                  </a:lnTo>
                  <a:lnTo>
                    <a:pt x="11" y="326"/>
                  </a:lnTo>
                  <a:lnTo>
                    <a:pt x="15" y="338"/>
                  </a:lnTo>
                  <a:lnTo>
                    <a:pt x="20" y="350"/>
                  </a:lnTo>
                  <a:lnTo>
                    <a:pt x="25" y="362"/>
                  </a:lnTo>
                  <a:lnTo>
                    <a:pt x="30" y="372"/>
                  </a:lnTo>
                  <a:lnTo>
                    <a:pt x="36" y="383"/>
                  </a:lnTo>
                  <a:lnTo>
                    <a:pt x="43" y="393"/>
                  </a:lnTo>
                  <a:lnTo>
                    <a:pt x="50" y="403"/>
                  </a:lnTo>
                  <a:lnTo>
                    <a:pt x="57" y="412"/>
                  </a:lnTo>
                  <a:lnTo>
                    <a:pt x="65" y="421"/>
                  </a:lnTo>
                  <a:lnTo>
                    <a:pt x="73" y="430"/>
                  </a:lnTo>
                  <a:lnTo>
                    <a:pt x="82" y="438"/>
                  </a:lnTo>
                  <a:lnTo>
                    <a:pt x="91" y="446"/>
                  </a:lnTo>
                  <a:lnTo>
                    <a:pt x="100" y="454"/>
                  </a:lnTo>
                  <a:lnTo>
                    <a:pt x="110" y="460"/>
                  </a:lnTo>
                  <a:lnTo>
                    <a:pt x="120" y="467"/>
                  </a:lnTo>
                  <a:lnTo>
                    <a:pt x="132" y="473"/>
                  </a:lnTo>
                  <a:lnTo>
                    <a:pt x="143" y="478"/>
                  </a:lnTo>
                  <a:lnTo>
                    <a:pt x="154" y="483"/>
                  </a:lnTo>
                  <a:lnTo>
                    <a:pt x="165" y="488"/>
                  </a:lnTo>
                  <a:lnTo>
                    <a:pt x="177" y="492"/>
                  </a:lnTo>
                  <a:lnTo>
                    <a:pt x="189" y="495"/>
                  </a:lnTo>
                  <a:lnTo>
                    <a:pt x="201" y="498"/>
                  </a:lnTo>
                  <a:lnTo>
                    <a:pt x="213" y="500"/>
                  </a:lnTo>
                  <a:lnTo>
                    <a:pt x="225" y="502"/>
                  </a:lnTo>
                  <a:lnTo>
                    <a:pt x="238" y="503"/>
                  </a:lnTo>
                  <a:lnTo>
                    <a:pt x="251" y="503"/>
                  </a:lnTo>
                  <a:lnTo>
                    <a:pt x="9808" y="503"/>
                  </a:lnTo>
                  <a:lnTo>
                    <a:pt x="9821" y="503"/>
                  </a:lnTo>
                  <a:lnTo>
                    <a:pt x="9834" y="502"/>
                  </a:lnTo>
                  <a:lnTo>
                    <a:pt x="9846" y="500"/>
                  </a:lnTo>
                  <a:lnTo>
                    <a:pt x="9858" y="498"/>
                  </a:lnTo>
                  <a:lnTo>
                    <a:pt x="9870" y="495"/>
                  </a:lnTo>
                  <a:lnTo>
                    <a:pt x="9882" y="492"/>
                  </a:lnTo>
                  <a:lnTo>
                    <a:pt x="9894" y="488"/>
                  </a:lnTo>
                  <a:lnTo>
                    <a:pt x="9905" y="483"/>
                  </a:lnTo>
                  <a:lnTo>
                    <a:pt x="9916" y="478"/>
                  </a:lnTo>
                  <a:lnTo>
                    <a:pt x="9927" y="473"/>
                  </a:lnTo>
                  <a:lnTo>
                    <a:pt x="9938" y="467"/>
                  </a:lnTo>
                  <a:lnTo>
                    <a:pt x="9948" y="460"/>
                  </a:lnTo>
                  <a:lnTo>
                    <a:pt x="9959" y="454"/>
                  </a:lnTo>
                  <a:lnTo>
                    <a:pt x="9968" y="446"/>
                  </a:lnTo>
                  <a:lnTo>
                    <a:pt x="9977" y="438"/>
                  </a:lnTo>
                  <a:lnTo>
                    <a:pt x="9986" y="430"/>
                  </a:lnTo>
                  <a:lnTo>
                    <a:pt x="9994" y="421"/>
                  </a:lnTo>
                  <a:lnTo>
                    <a:pt x="10002" y="412"/>
                  </a:lnTo>
                  <a:lnTo>
                    <a:pt x="10009" y="403"/>
                  </a:lnTo>
                  <a:lnTo>
                    <a:pt x="10016" y="393"/>
                  </a:lnTo>
                  <a:lnTo>
                    <a:pt x="10023" y="383"/>
                  </a:lnTo>
                  <a:lnTo>
                    <a:pt x="10029" y="372"/>
                  </a:lnTo>
                  <a:lnTo>
                    <a:pt x="10034" y="362"/>
                  </a:lnTo>
                  <a:lnTo>
                    <a:pt x="10039" y="350"/>
                  </a:lnTo>
                  <a:lnTo>
                    <a:pt x="10044" y="338"/>
                  </a:lnTo>
                  <a:lnTo>
                    <a:pt x="10048" y="326"/>
                  </a:lnTo>
                  <a:lnTo>
                    <a:pt x="10051" y="315"/>
                  </a:lnTo>
                  <a:lnTo>
                    <a:pt x="10054" y="302"/>
                  </a:lnTo>
                  <a:lnTo>
                    <a:pt x="10056" y="290"/>
                  </a:lnTo>
                  <a:lnTo>
                    <a:pt x="10058" y="278"/>
                  </a:lnTo>
                  <a:lnTo>
                    <a:pt x="10059" y="265"/>
                  </a:lnTo>
                  <a:lnTo>
                    <a:pt x="10059" y="252"/>
                  </a:lnTo>
                  <a:lnTo>
                    <a:pt x="10059" y="239"/>
                  </a:lnTo>
                  <a:lnTo>
                    <a:pt x="10058" y="227"/>
                  </a:lnTo>
                  <a:lnTo>
                    <a:pt x="10056" y="214"/>
                  </a:lnTo>
                  <a:lnTo>
                    <a:pt x="10054" y="202"/>
                  </a:lnTo>
                  <a:lnTo>
                    <a:pt x="10051" y="190"/>
                  </a:lnTo>
                  <a:lnTo>
                    <a:pt x="10048" y="177"/>
                  </a:lnTo>
                  <a:lnTo>
                    <a:pt x="10044" y="165"/>
                  </a:lnTo>
                  <a:lnTo>
                    <a:pt x="10039" y="154"/>
                  </a:lnTo>
                  <a:lnTo>
                    <a:pt x="10034" y="143"/>
                  </a:lnTo>
                  <a:lnTo>
                    <a:pt x="10029" y="132"/>
                  </a:lnTo>
                  <a:lnTo>
                    <a:pt x="10023" y="122"/>
                  </a:lnTo>
                  <a:lnTo>
                    <a:pt x="10016" y="112"/>
                  </a:lnTo>
                  <a:lnTo>
                    <a:pt x="10009" y="102"/>
                  </a:lnTo>
                  <a:lnTo>
                    <a:pt x="10002" y="92"/>
                  </a:lnTo>
                  <a:lnTo>
                    <a:pt x="9994" y="83"/>
                  </a:lnTo>
                  <a:lnTo>
                    <a:pt x="9986" y="74"/>
                  </a:lnTo>
                  <a:lnTo>
                    <a:pt x="9977" y="66"/>
                  </a:lnTo>
                  <a:lnTo>
                    <a:pt x="9968" y="58"/>
                  </a:lnTo>
                  <a:lnTo>
                    <a:pt x="9959" y="51"/>
                  </a:lnTo>
                  <a:lnTo>
                    <a:pt x="9948" y="44"/>
                  </a:lnTo>
                  <a:lnTo>
                    <a:pt x="9938" y="37"/>
                  </a:lnTo>
                  <a:lnTo>
                    <a:pt x="9927" y="31"/>
                  </a:lnTo>
                  <a:lnTo>
                    <a:pt x="9916" y="26"/>
                  </a:lnTo>
                  <a:lnTo>
                    <a:pt x="9905" y="21"/>
                  </a:lnTo>
                  <a:lnTo>
                    <a:pt x="9894" y="16"/>
                  </a:lnTo>
                  <a:lnTo>
                    <a:pt x="9882" y="12"/>
                  </a:lnTo>
                  <a:lnTo>
                    <a:pt x="9870" y="8"/>
                  </a:lnTo>
                  <a:lnTo>
                    <a:pt x="9858" y="5"/>
                  </a:lnTo>
                  <a:lnTo>
                    <a:pt x="9846" y="3"/>
                  </a:lnTo>
                  <a:lnTo>
                    <a:pt x="9834" y="1"/>
                  </a:lnTo>
                  <a:lnTo>
                    <a:pt x="9821" y="0"/>
                  </a:lnTo>
                  <a:lnTo>
                    <a:pt x="980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24" name="îṩ1îdè">
              <a:extLst>
                <a:ext uri="{FF2B5EF4-FFF2-40B4-BE49-F238E27FC236}">
                  <a16:creationId xmlns:a16="http://schemas.microsoft.com/office/drawing/2014/main" id="{50614CE4-FA97-4AB4-92AC-FDE05969FB5B}"/>
                </a:ext>
              </a:extLst>
            </p:cNvPr>
            <p:cNvSpPr/>
            <p:nvPr/>
          </p:nvSpPr>
          <p:spPr bwMode="auto">
            <a:xfrm>
              <a:off x="11056316" y="931390"/>
              <a:ext cx="64804" cy="65335"/>
            </a:xfrm>
            <a:custGeom>
              <a:avLst/>
              <a:gdLst>
                <a:gd name="T0" fmla="*/ 3521 w 4526"/>
                <a:gd name="T1" fmla="*/ 3519 h 4525"/>
                <a:gd name="T2" fmla="*/ 503 w 4526"/>
                <a:gd name="T3" fmla="*/ 4525 h 4525"/>
                <a:gd name="T4" fmla="*/ 4075 w 4526"/>
                <a:gd name="T5" fmla="*/ 4522 h 4525"/>
                <a:gd name="T6" fmla="*/ 4149 w 4526"/>
                <a:gd name="T7" fmla="*/ 4508 h 4525"/>
                <a:gd name="T8" fmla="*/ 4220 w 4526"/>
                <a:gd name="T9" fmla="*/ 4485 h 4525"/>
                <a:gd name="T10" fmla="*/ 4284 w 4526"/>
                <a:gd name="T11" fmla="*/ 4452 h 4525"/>
                <a:gd name="T12" fmla="*/ 4343 w 4526"/>
                <a:gd name="T13" fmla="*/ 4410 h 4525"/>
                <a:gd name="T14" fmla="*/ 4396 w 4526"/>
                <a:gd name="T15" fmla="*/ 4360 h 4525"/>
                <a:gd name="T16" fmla="*/ 4441 w 4526"/>
                <a:gd name="T17" fmla="*/ 4302 h 4525"/>
                <a:gd name="T18" fmla="*/ 4477 w 4526"/>
                <a:gd name="T19" fmla="*/ 4240 h 4525"/>
                <a:gd name="T20" fmla="*/ 4504 w 4526"/>
                <a:gd name="T21" fmla="*/ 4172 h 4525"/>
                <a:gd name="T22" fmla="*/ 4520 w 4526"/>
                <a:gd name="T23" fmla="*/ 4098 h 4525"/>
                <a:gd name="T24" fmla="*/ 4526 w 4526"/>
                <a:gd name="T25" fmla="*/ 4022 h 4525"/>
                <a:gd name="T26" fmla="*/ 4523 w 4526"/>
                <a:gd name="T27" fmla="*/ 452 h 4525"/>
                <a:gd name="T28" fmla="*/ 4510 w 4526"/>
                <a:gd name="T29" fmla="*/ 377 h 4525"/>
                <a:gd name="T30" fmla="*/ 4487 w 4526"/>
                <a:gd name="T31" fmla="*/ 308 h 4525"/>
                <a:gd name="T32" fmla="*/ 4454 w 4526"/>
                <a:gd name="T33" fmla="*/ 242 h 4525"/>
                <a:gd name="T34" fmla="*/ 4412 w 4526"/>
                <a:gd name="T35" fmla="*/ 183 h 4525"/>
                <a:gd name="T36" fmla="*/ 4361 w 4526"/>
                <a:gd name="T37" fmla="*/ 131 h 4525"/>
                <a:gd name="T38" fmla="*/ 4305 w 4526"/>
                <a:gd name="T39" fmla="*/ 85 h 4525"/>
                <a:gd name="T40" fmla="*/ 4242 w 4526"/>
                <a:gd name="T41" fmla="*/ 49 h 4525"/>
                <a:gd name="T42" fmla="*/ 4173 w 4526"/>
                <a:gd name="T43" fmla="*/ 22 h 4525"/>
                <a:gd name="T44" fmla="*/ 4100 w 4526"/>
                <a:gd name="T45" fmla="*/ 6 h 4525"/>
                <a:gd name="T46" fmla="*/ 4024 w 4526"/>
                <a:gd name="T47" fmla="*/ 0 h 4525"/>
                <a:gd name="T48" fmla="*/ 451 w 4526"/>
                <a:gd name="T49" fmla="*/ 3 h 4525"/>
                <a:gd name="T50" fmla="*/ 377 w 4526"/>
                <a:gd name="T51" fmla="*/ 16 h 4525"/>
                <a:gd name="T52" fmla="*/ 307 w 4526"/>
                <a:gd name="T53" fmla="*/ 39 h 4525"/>
                <a:gd name="T54" fmla="*/ 242 w 4526"/>
                <a:gd name="T55" fmla="*/ 72 h 4525"/>
                <a:gd name="T56" fmla="*/ 183 w 4526"/>
                <a:gd name="T57" fmla="*/ 115 h 4525"/>
                <a:gd name="T58" fmla="*/ 131 w 4526"/>
                <a:gd name="T59" fmla="*/ 165 h 4525"/>
                <a:gd name="T60" fmla="*/ 85 w 4526"/>
                <a:gd name="T61" fmla="*/ 222 h 4525"/>
                <a:gd name="T62" fmla="*/ 49 w 4526"/>
                <a:gd name="T63" fmla="*/ 285 h 4525"/>
                <a:gd name="T64" fmla="*/ 22 w 4526"/>
                <a:gd name="T65" fmla="*/ 353 h 4525"/>
                <a:gd name="T66" fmla="*/ 6 w 4526"/>
                <a:gd name="T67" fmla="*/ 426 h 4525"/>
                <a:gd name="T68" fmla="*/ 0 w 4526"/>
                <a:gd name="T69" fmla="*/ 503 h 4525"/>
                <a:gd name="T70" fmla="*/ 3 w 4526"/>
                <a:gd name="T71" fmla="*/ 4073 h 4525"/>
                <a:gd name="T72" fmla="*/ 16 w 4526"/>
                <a:gd name="T73" fmla="*/ 4147 h 4525"/>
                <a:gd name="T74" fmla="*/ 39 w 4526"/>
                <a:gd name="T75" fmla="*/ 4218 h 4525"/>
                <a:gd name="T76" fmla="*/ 72 w 4526"/>
                <a:gd name="T77" fmla="*/ 4282 h 4525"/>
                <a:gd name="T78" fmla="*/ 114 w 4526"/>
                <a:gd name="T79" fmla="*/ 4342 h 4525"/>
                <a:gd name="T80" fmla="*/ 165 w 4526"/>
                <a:gd name="T81" fmla="*/ 4394 h 4525"/>
                <a:gd name="T82" fmla="*/ 221 w 4526"/>
                <a:gd name="T83" fmla="*/ 4439 h 4525"/>
                <a:gd name="T84" fmla="*/ 284 w 4526"/>
                <a:gd name="T85" fmla="*/ 4475 h 4525"/>
                <a:gd name="T86" fmla="*/ 353 w 4526"/>
                <a:gd name="T87" fmla="*/ 4501 h 4525"/>
                <a:gd name="T88" fmla="*/ 426 w 4526"/>
                <a:gd name="T89" fmla="*/ 4519 h 4525"/>
                <a:gd name="T90" fmla="*/ 503 w 4526"/>
                <a:gd name="T91" fmla="*/ 4525 h 4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526" h="4525">
                  <a:moveTo>
                    <a:pt x="1006" y="1004"/>
                  </a:moveTo>
                  <a:lnTo>
                    <a:pt x="3521" y="1004"/>
                  </a:lnTo>
                  <a:lnTo>
                    <a:pt x="3521" y="3519"/>
                  </a:lnTo>
                  <a:lnTo>
                    <a:pt x="1006" y="3519"/>
                  </a:lnTo>
                  <a:lnTo>
                    <a:pt x="1006" y="1004"/>
                  </a:lnTo>
                  <a:close/>
                  <a:moveTo>
                    <a:pt x="503" y="4525"/>
                  </a:moveTo>
                  <a:lnTo>
                    <a:pt x="4024" y="4525"/>
                  </a:lnTo>
                  <a:lnTo>
                    <a:pt x="4050" y="4524"/>
                  </a:lnTo>
                  <a:lnTo>
                    <a:pt x="4075" y="4522"/>
                  </a:lnTo>
                  <a:lnTo>
                    <a:pt x="4100" y="4519"/>
                  </a:lnTo>
                  <a:lnTo>
                    <a:pt x="4125" y="4515"/>
                  </a:lnTo>
                  <a:lnTo>
                    <a:pt x="4149" y="4508"/>
                  </a:lnTo>
                  <a:lnTo>
                    <a:pt x="4173" y="4501"/>
                  </a:lnTo>
                  <a:lnTo>
                    <a:pt x="4197" y="4494"/>
                  </a:lnTo>
                  <a:lnTo>
                    <a:pt x="4220" y="4485"/>
                  </a:lnTo>
                  <a:lnTo>
                    <a:pt x="4242" y="4475"/>
                  </a:lnTo>
                  <a:lnTo>
                    <a:pt x="4263" y="4464"/>
                  </a:lnTo>
                  <a:lnTo>
                    <a:pt x="4284" y="4452"/>
                  </a:lnTo>
                  <a:lnTo>
                    <a:pt x="4305" y="4439"/>
                  </a:lnTo>
                  <a:lnTo>
                    <a:pt x="4324" y="4425"/>
                  </a:lnTo>
                  <a:lnTo>
                    <a:pt x="4343" y="4410"/>
                  </a:lnTo>
                  <a:lnTo>
                    <a:pt x="4361" y="4394"/>
                  </a:lnTo>
                  <a:lnTo>
                    <a:pt x="4380" y="4378"/>
                  </a:lnTo>
                  <a:lnTo>
                    <a:pt x="4396" y="4360"/>
                  </a:lnTo>
                  <a:lnTo>
                    <a:pt x="4412" y="4342"/>
                  </a:lnTo>
                  <a:lnTo>
                    <a:pt x="4427" y="4322"/>
                  </a:lnTo>
                  <a:lnTo>
                    <a:pt x="4441" y="4302"/>
                  </a:lnTo>
                  <a:lnTo>
                    <a:pt x="4454" y="4282"/>
                  </a:lnTo>
                  <a:lnTo>
                    <a:pt x="4466" y="4261"/>
                  </a:lnTo>
                  <a:lnTo>
                    <a:pt x="4477" y="4240"/>
                  </a:lnTo>
                  <a:lnTo>
                    <a:pt x="4487" y="4218"/>
                  </a:lnTo>
                  <a:lnTo>
                    <a:pt x="4496" y="4195"/>
                  </a:lnTo>
                  <a:lnTo>
                    <a:pt x="4504" y="4172"/>
                  </a:lnTo>
                  <a:lnTo>
                    <a:pt x="4510" y="4147"/>
                  </a:lnTo>
                  <a:lnTo>
                    <a:pt x="4516" y="4123"/>
                  </a:lnTo>
                  <a:lnTo>
                    <a:pt x="4520" y="4098"/>
                  </a:lnTo>
                  <a:lnTo>
                    <a:pt x="4523" y="4073"/>
                  </a:lnTo>
                  <a:lnTo>
                    <a:pt x="4525" y="4048"/>
                  </a:lnTo>
                  <a:lnTo>
                    <a:pt x="4526" y="4022"/>
                  </a:lnTo>
                  <a:lnTo>
                    <a:pt x="4526" y="503"/>
                  </a:lnTo>
                  <a:lnTo>
                    <a:pt x="4525" y="477"/>
                  </a:lnTo>
                  <a:lnTo>
                    <a:pt x="4523" y="452"/>
                  </a:lnTo>
                  <a:lnTo>
                    <a:pt x="4520" y="426"/>
                  </a:lnTo>
                  <a:lnTo>
                    <a:pt x="4516" y="401"/>
                  </a:lnTo>
                  <a:lnTo>
                    <a:pt x="4510" y="377"/>
                  </a:lnTo>
                  <a:lnTo>
                    <a:pt x="4504" y="353"/>
                  </a:lnTo>
                  <a:lnTo>
                    <a:pt x="4496" y="330"/>
                  </a:lnTo>
                  <a:lnTo>
                    <a:pt x="4487" y="308"/>
                  </a:lnTo>
                  <a:lnTo>
                    <a:pt x="4477" y="285"/>
                  </a:lnTo>
                  <a:lnTo>
                    <a:pt x="4466" y="263"/>
                  </a:lnTo>
                  <a:lnTo>
                    <a:pt x="4454" y="242"/>
                  </a:lnTo>
                  <a:lnTo>
                    <a:pt x="4441" y="222"/>
                  </a:lnTo>
                  <a:lnTo>
                    <a:pt x="4427" y="202"/>
                  </a:lnTo>
                  <a:lnTo>
                    <a:pt x="4412" y="183"/>
                  </a:lnTo>
                  <a:lnTo>
                    <a:pt x="4396" y="165"/>
                  </a:lnTo>
                  <a:lnTo>
                    <a:pt x="4380" y="148"/>
                  </a:lnTo>
                  <a:lnTo>
                    <a:pt x="4361" y="131"/>
                  </a:lnTo>
                  <a:lnTo>
                    <a:pt x="4343" y="115"/>
                  </a:lnTo>
                  <a:lnTo>
                    <a:pt x="4324" y="99"/>
                  </a:lnTo>
                  <a:lnTo>
                    <a:pt x="4305" y="85"/>
                  </a:lnTo>
                  <a:lnTo>
                    <a:pt x="4284" y="72"/>
                  </a:lnTo>
                  <a:lnTo>
                    <a:pt x="4263" y="60"/>
                  </a:lnTo>
                  <a:lnTo>
                    <a:pt x="4242" y="49"/>
                  </a:lnTo>
                  <a:lnTo>
                    <a:pt x="4220" y="39"/>
                  </a:lnTo>
                  <a:lnTo>
                    <a:pt x="4197" y="30"/>
                  </a:lnTo>
                  <a:lnTo>
                    <a:pt x="4173" y="22"/>
                  </a:lnTo>
                  <a:lnTo>
                    <a:pt x="4149" y="16"/>
                  </a:lnTo>
                  <a:lnTo>
                    <a:pt x="4125" y="10"/>
                  </a:lnTo>
                  <a:lnTo>
                    <a:pt x="4100" y="6"/>
                  </a:lnTo>
                  <a:lnTo>
                    <a:pt x="4075" y="3"/>
                  </a:lnTo>
                  <a:lnTo>
                    <a:pt x="4050" y="1"/>
                  </a:lnTo>
                  <a:lnTo>
                    <a:pt x="4024" y="0"/>
                  </a:lnTo>
                  <a:lnTo>
                    <a:pt x="503" y="0"/>
                  </a:lnTo>
                  <a:lnTo>
                    <a:pt x="477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4" y="49"/>
                  </a:lnTo>
                  <a:lnTo>
                    <a:pt x="262" y="60"/>
                  </a:lnTo>
                  <a:lnTo>
                    <a:pt x="242" y="72"/>
                  </a:lnTo>
                  <a:lnTo>
                    <a:pt x="221" y="85"/>
                  </a:lnTo>
                  <a:lnTo>
                    <a:pt x="202" y="99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8"/>
                  </a:lnTo>
                  <a:lnTo>
                    <a:pt x="131" y="165"/>
                  </a:lnTo>
                  <a:lnTo>
                    <a:pt x="114" y="183"/>
                  </a:lnTo>
                  <a:lnTo>
                    <a:pt x="99" y="202"/>
                  </a:lnTo>
                  <a:lnTo>
                    <a:pt x="85" y="222"/>
                  </a:lnTo>
                  <a:lnTo>
                    <a:pt x="72" y="242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8"/>
                  </a:lnTo>
                  <a:lnTo>
                    <a:pt x="30" y="330"/>
                  </a:lnTo>
                  <a:lnTo>
                    <a:pt x="22" y="353"/>
                  </a:lnTo>
                  <a:lnTo>
                    <a:pt x="16" y="377"/>
                  </a:lnTo>
                  <a:lnTo>
                    <a:pt x="10" y="401"/>
                  </a:lnTo>
                  <a:lnTo>
                    <a:pt x="6" y="426"/>
                  </a:lnTo>
                  <a:lnTo>
                    <a:pt x="3" y="452"/>
                  </a:lnTo>
                  <a:lnTo>
                    <a:pt x="1" y="477"/>
                  </a:lnTo>
                  <a:lnTo>
                    <a:pt x="0" y="503"/>
                  </a:lnTo>
                  <a:lnTo>
                    <a:pt x="0" y="4022"/>
                  </a:lnTo>
                  <a:lnTo>
                    <a:pt x="1" y="4048"/>
                  </a:lnTo>
                  <a:lnTo>
                    <a:pt x="3" y="4073"/>
                  </a:lnTo>
                  <a:lnTo>
                    <a:pt x="6" y="4098"/>
                  </a:lnTo>
                  <a:lnTo>
                    <a:pt x="10" y="4123"/>
                  </a:lnTo>
                  <a:lnTo>
                    <a:pt x="16" y="4147"/>
                  </a:lnTo>
                  <a:lnTo>
                    <a:pt x="22" y="4172"/>
                  </a:lnTo>
                  <a:lnTo>
                    <a:pt x="30" y="4195"/>
                  </a:lnTo>
                  <a:lnTo>
                    <a:pt x="39" y="4218"/>
                  </a:lnTo>
                  <a:lnTo>
                    <a:pt x="49" y="4240"/>
                  </a:lnTo>
                  <a:lnTo>
                    <a:pt x="60" y="4261"/>
                  </a:lnTo>
                  <a:lnTo>
                    <a:pt x="72" y="4282"/>
                  </a:lnTo>
                  <a:lnTo>
                    <a:pt x="85" y="4302"/>
                  </a:lnTo>
                  <a:lnTo>
                    <a:pt x="99" y="4322"/>
                  </a:lnTo>
                  <a:lnTo>
                    <a:pt x="114" y="4342"/>
                  </a:lnTo>
                  <a:lnTo>
                    <a:pt x="131" y="4360"/>
                  </a:lnTo>
                  <a:lnTo>
                    <a:pt x="147" y="4378"/>
                  </a:lnTo>
                  <a:lnTo>
                    <a:pt x="165" y="4394"/>
                  </a:lnTo>
                  <a:lnTo>
                    <a:pt x="183" y="4410"/>
                  </a:lnTo>
                  <a:lnTo>
                    <a:pt x="202" y="4425"/>
                  </a:lnTo>
                  <a:lnTo>
                    <a:pt x="221" y="4439"/>
                  </a:lnTo>
                  <a:lnTo>
                    <a:pt x="242" y="4452"/>
                  </a:lnTo>
                  <a:lnTo>
                    <a:pt x="262" y="4464"/>
                  </a:lnTo>
                  <a:lnTo>
                    <a:pt x="284" y="4475"/>
                  </a:lnTo>
                  <a:lnTo>
                    <a:pt x="307" y="4485"/>
                  </a:lnTo>
                  <a:lnTo>
                    <a:pt x="330" y="4494"/>
                  </a:lnTo>
                  <a:lnTo>
                    <a:pt x="353" y="4501"/>
                  </a:lnTo>
                  <a:lnTo>
                    <a:pt x="377" y="4508"/>
                  </a:lnTo>
                  <a:lnTo>
                    <a:pt x="401" y="4515"/>
                  </a:lnTo>
                  <a:lnTo>
                    <a:pt x="426" y="4519"/>
                  </a:lnTo>
                  <a:lnTo>
                    <a:pt x="451" y="4522"/>
                  </a:lnTo>
                  <a:lnTo>
                    <a:pt x="477" y="4524"/>
                  </a:lnTo>
                  <a:lnTo>
                    <a:pt x="503" y="45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25" name="íŝḷïḓe">
              <a:extLst>
                <a:ext uri="{FF2B5EF4-FFF2-40B4-BE49-F238E27FC236}">
                  <a16:creationId xmlns:a16="http://schemas.microsoft.com/office/drawing/2014/main" id="{22F37F19-403D-4AE8-836B-F9062DA66665}"/>
                </a:ext>
              </a:extLst>
            </p:cNvPr>
            <p:cNvSpPr/>
            <p:nvPr/>
          </p:nvSpPr>
          <p:spPr bwMode="auto">
            <a:xfrm>
              <a:off x="10520486" y="1155316"/>
              <a:ext cx="447970" cy="446840"/>
            </a:xfrm>
            <a:custGeom>
              <a:avLst/>
              <a:gdLst>
                <a:gd name="T0" fmla="*/ 12770 w 14656"/>
                <a:gd name="T1" fmla="*/ 6106 h 14620"/>
                <a:gd name="T2" fmla="*/ 12640 w 14656"/>
                <a:gd name="T3" fmla="*/ 6115 h 14620"/>
                <a:gd name="T4" fmla="*/ 12519 w 14656"/>
                <a:gd name="T5" fmla="*/ 6055 h 14620"/>
                <a:gd name="T6" fmla="*/ 9966 w 14656"/>
                <a:gd name="T7" fmla="*/ 5994 h 14620"/>
                <a:gd name="T8" fmla="*/ 8414 w 14656"/>
                <a:gd name="T9" fmla="*/ 5281 h 14620"/>
                <a:gd name="T10" fmla="*/ 6782 w 14656"/>
                <a:gd name="T11" fmla="*/ 4968 h 14620"/>
                <a:gd name="T12" fmla="*/ 5698 w 14656"/>
                <a:gd name="T13" fmla="*/ 4822 h 14620"/>
                <a:gd name="T14" fmla="*/ 8599 w 14656"/>
                <a:gd name="T15" fmla="*/ 2123 h 14620"/>
                <a:gd name="T16" fmla="*/ 8551 w 14656"/>
                <a:gd name="T17" fmla="*/ 1998 h 14620"/>
                <a:gd name="T18" fmla="*/ 8574 w 14656"/>
                <a:gd name="T19" fmla="*/ 1868 h 14620"/>
                <a:gd name="T20" fmla="*/ 9364 w 14656"/>
                <a:gd name="T21" fmla="*/ 1057 h 14620"/>
                <a:gd name="T22" fmla="*/ 9489 w 14656"/>
                <a:gd name="T23" fmla="*/ 1010 h 14620"/>
                <a:gd name="T24" fmla="*/ 9619 w 14656"/>
                <a:gd name="T25" fmla="*/ 1032 h 14620"/>
                <a:gd name="T26" fmla="*/ 13601 w 14656"/>
                <a:gd name="T27" fmla="*/ 5006 h 14620"/>
                <a:gd name="T28" fmla="*/ 13650 w 14656"/>
                <a:gd name="T29" fmla="*/ 5131 h 14620"/>
                <a:gd name="T30" fmla="*/ 13627 w 14656"/>
                <a:gd name="T31" fmla="*/ 5261 h 14620"/>
                <a:gd name="T32" fmla="*/ 8336 w 14656"/>
                <a:gd name="T33" fmla="*/ 13377 h 14620"/>
                <a:gd name="T34" fmla="*/ 8074 w 14656"/>
                <a:gd name="T35" fmla="*/ 13585 h 14620"/>
                <a:gd name="T36" fmla="*/ 7781 w 14656"/>
                <a:gd name="T37" fmla="*/ 13595 h 14620"/>
                <a:gd name="T38" fmla="*/ 7556 w 14656"/>
                <a:gd name="T39" fmla="*/ 13465 h 14620"/>
                <a:gd name="T40" fmla="*/ 1014 w 14656"/>
                <a:gd name="T41" fmla="*/ 6852 h 14620"/>
                <a:gd name="T42" fmla="*/ 1065 w 14656"/>
                <a:gd name="T43" fmla="*/ 6524 h 14620"/>
                <a:gd name="T44" fmla="*/ 1308 w 14656"/>
                <a:gd name="T45" fmla="*/ 6300 h 14620"/>
                <a:gd name="T46" fmla="*/ 6805 w 14656"/>
                <a:gd name="T47" fmla="*/ 5480 h 14620"/>
                <a:gd name="T48" fmla="*/ 8979 w 14656"/>
                <a:gd name="T49" fmla="*/ 6023 h 14620"/>
                <a:gd name="T50" fmla="*/ 10402 w 14656"/>
                <a:gd name="T51" fmla="*/ 369 h 14620"/>
                <a:gd name="T52" fmla="*/ 10132 w 14656"/>
                <a:gd name="T53" fmla="*/ 163 h 14620"/>
                <a:gd name="T54" fmla="*/ 9820 w 14656"/>
                <a:gd name="T55" fmla="*/ 38 h 14620"/>
                <a:gd name="T56" fmla="*/ 9482 w 14656"/>
                <a:gd name="T57" fmla="*/ 0 h 14620"/>
                <a:gd name="T58" fmla="*/ 9147 w 14656"/>
                <a:gd name="T59" fmla="*/ 55 h 14620"/>
                <a:gd name="T60" fmla="*/ 8841 w 14656"/>
                <a:gd name="T61" fmla="*/ 195 h 14620"/>
                <a:gd name="T62" fmla="*/ 7892 w 14656"/>
                <a:gd name="T63" fmla="*/ 1104 h 14620"/>
                <a:gd name="T64" fmla="*/ 7692 w 14656"/>
                <a:gd name="T65" fmla="*/ 1380 h 14620"/>
                <a:gd name="T66" fmla="*/ 7576 w 14656"/>
                <a:gd name="T67" fmla="*/ 1695 h 14620"/>
                <a:gd name="T68" fmla="*/ 7548 w 14656"/>
                <a:gd name="T69" fmla="*/ 2062 h 14620"/>
                <a:gd name="T70" fmla="*/ 7669 w 14656"/>
                <a:gd name="T71" fmla="*/ 2522 h 14620"/>
                <a:gd name="T72" fmla="*/ 623 w 14656"/>
                <a:gd name="T73" fmla="*/ 5539 h 14620"/>
                <a:gd name="T74" fmla="*/ 274 w 14656"/>
                <a:gd name="T75" fmla="*/ 5894 h 14620"/>
                <a:gd name="T76" fmla="*/ 58 w 14656"/>
                <a:gd name="T77" fmla="*/ 6345 h 14620"/>
                <a:gd name="T78" fmla="*/ 3 w 14656"/>
                <a:gd name="T79" fmla="*/ 6850 h 14620"/>
                <a:gd name="T80" fmla="*/ 114 w 14656"/>
                <a:gd name="T81" fmla="*/ 7337 h 14620"/>
                <a:gd name="T82" fmla="*/ 382 w 14656"/>
                <a:gd name="T83" fmla="*/ 7767 h 14620"/>
                <a:gd name="T84" fmla="*/ 7067 w 14656"/>
                <a:gd name="T85" fmla="*/ 14362 h 14620"/>
                <a:gd name="T86" fmla="*/ 7416 w 14656"/>
                <a:gd name="T87" fmla="*/ 14537 h 14620"/>
                <a:gd name="T88" fmla="*/ 7800 w 14656"/>
                <a:gd name="T89" fmla="*/ 14616 h 14620"/>
                <a:gd name="T90" fmla="*/ 8103 w 14656"/>
                <a:gd name="T91" fmla="*/ 14608 h 14620"/>
                <a:gd name="T92" fmla="*/ 8574 w 14656"/>
                <a:gd name="T93" fmla="*/ 14467 h 14620"/>
                <a:gd name="T94" fmla="*/ 8985 w 14656"/>
                <a:gd name="T95" fmla="*/ 14171 h 14620"/>
                <a:gd name="T96" fmla="*/ 9276 w 14656"/>
                <a:gd name="T97" fmla="*/ 13754 h 14620"/>
                <a:gd name="T98" fmla="*/ 12327 w 14656"/>
                <a:gd name="T99" fmla="*/ 7076 h 14620"/>
                <a:gd name="T100" fmla="*/ 12781 w 14656"/>
                <a:gd name="T101" fmla="*/ 7126 h 14620"/>
                <a:gd name="T102" fmla="*/ 13112 w 14656"/>
                <a:gd name="T103" fmla="*/ 7056 h 14620"/>
                <a:gd name="T104" fmla="*/ 13410 w 14656"/>
                <a:gd name="T105" fmla="*/ 6900 h 14620"/>
                <a:gd name="T106" fmla="*/ 14350 w 14656"/>
                <a:gd name="T107" fmla="*/ 5980 h 14620"/>
                <a:gd name="T108" fmla="*/ 14535 w 14656"/>
                <a:gd name="T109" fmla="*/ 5696 h 14620"/>
                <a:gd name="T110" fmla="*/ 14637 w 14656"/>
                <a:gd name="T111" fmla="*/ 5373 h 14620"/>
                <a:gd name="T112" fmla="*/ 14649 w 14656"/>
                <a:gd name="T113" fmla="*/ 5030 h 14620"/>
                <a:gd name="T114" fmla="*/ 14572 w 14656"/>
                <a:gd name="T115" fmla="*/ 4701 h 14620"/>
                <a:gd name="T116" fmla="*/ 14410 w 14656"/>
                <a:gd name="T117" fmla="*/ 4405 h 14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656" h="14620">
                  <a:moveTo>
                    <a:pt x="13576" y="5334"/>
                  </a:moveTo>
                  <a:lnTo>
                    <a:pt x="12866" y="6046"/>
                  </a:lnTo>
                  <a:lnTo>
                    <a:pt x="12856" y="6055"/>
                  </a:lnTo>
                  <a:lnTo>
                    <a:pt x="12847" y="6064"/>
                  </a:lnTo>
                  <a:lnTo>
                    <a:pt x="12837" y="6071"/>
                  </a:lnTo>
                  <a:lnTo>
                    <a:pt x="12826" y="6079"/>
                  </a:lnTo>
                  <a:lnTo>
                    <a:pt x="12816" y="6085"/>
                  </a:lnTo>
                  <a:lnTo>
                    <a:pt x="12805" y="6091"/>
                  </a:lnTo>
                  <a:lnTo>
                    <a:pt x="12794" y="6097"/>
                  </a:lnTo>
                  <a:lnTo>
                    <a:pt x="12782" y="6102"/>
                  </a:lnTo>
                  <a:lnTo>
                    <a:pt x="12770" y="6106"/>
                  </a:lnTo>
                  <a:lnTo>
                    <a:pt x="12759" y="6110"/>
                  </a:lnTo>
                  <a:lnTo>
                    <a:pt x="12747" y="6113"/>
                  </a:lnTo>
                  <a:lnTo>
                    <a:pt x="12735" y="6115"/>
                  </a:lnTo>
                  <a:lnTo>
                    <a:pt x="12723" y="6117"/>
                  </a:lnTo>
                  <a:lnTo>
                    <a:pt x="12712" y="6119"/>
                  </a:lnTo>
                  <a:lnTo>
                    <a:pt x="12700" y="6120"/>
                  </a:lnTo>
                  <a:lnTo>
                    <a:pt x="12688" y="6120"/>
                  </a:lnTo>
                  <a:lnTo>
                    <a:pt x="12676" y="6120"/>
                  </a:lnTo>
                  <a:lnTo>
                    <a:pt x="12664" y="6119"/>
                  </a:lnTo>
                  <a:lnTo>
                    <a:pt x="12652" y="6117"/>
                  </a:lnTo>
                  <a:lnTo>
                    <a:pt x="12640" y="6115"/>
                  </a:lnTo>
                  <a:lnTo>
                    <a:pt x="12628" y="6113"/>
                  </a:lnTo>
                  <a:lnTo>
                    <a:pt x="12615" y="6110"/>
                  </a:lnTo>
                  <a:lnTo>
                    <a:pt x="12604" y="6106"/>
                  </a:lnTo>
                  <a:lnTo>
                    <a:pt x="12593" y="6102"/>
                  </a:lnTo>
                  <a:lnTo>
                    <a:pt x="12581" y="6097"/>
                  </a:lnTo>
                  <a:lnTo>
                    <a:pt x="12571" y="6091"/>
                  </a:lnTo>
                  <a:lnTo>
                    <a:pt x="12560" y="6085"/>
                  </a:lnTo>
                  <a:lnTo>
                    <a:pt x="12549" y="6079"/>
                  </a:lnTo>
                  <a:lnTo>
                    <a:pt x="12539" y="6071"/>
                  </a:lnTo>
                  <a:lnTo>
                    <a:pt x="12529" y="6064"/>
                  </a:lnTo>
                  <a:lnTo>
                    <a:pt x="12519" y="6055"/>
                  </a:lnTo>
                  <a:lnTo>
                    <a:pt x="12510" y="6046"/>
                  </a:lnTo>
                  <a:lnTo>
                    <a:pt x="11621" y="5156"/>
                  </a:lnTo>
                  <a:lnTo>
                    <a:pt x="10900" y="6965"/>
                  </a:lnTo>
                  <a:lnTo>
                    <a:pt x="10961" y="6813"/>
                  </a:lnTo>
                  <a:lnTo>
                    <a:pt x="10819" y="6674"/>
                  </a:lnTo>
                  <a:lnTo>
                    <a:pt x="10677" y="6544"/>
                  </a:lnTo>
                  <a:lnTo>
                    <a:pt x="10534" y="6420"/>
                  </a:lnTo>
                  <a:lnTo>
                    <a:pt x="10392" y="6304"/>
                  </a:lnTo>
                  <a:lnTo>
                    <a:pt x="10251" y="6194"/>
                  </a:lnTo>
                  <a:lnTo>
                    <a:pt x="10108" y="6091"/>
                  </a:lnTo>
                  <a:lnTo>
                    <a:pt x="9966" y="5994"/>
                  </a:lnTo>
                  <a:lnTo>
                    <a:pt x="9823" y="5905"/>
                  </a:lnTo>
                  <a:lnTo>
                    <a:pt x="9681" y="5820"/>
                  </a:lnTo>
                  <a:lnTo>
                    <a:pt x="9539" y="5740"/>
                  </a:lnTo>
                  <a:lnTo>
                    <a:pt x="9397" y="5667"/>
                  </a:lnTo>
                  <a:lnTo>
                    <a:pt x="9257" y="5598"/>
                  </a:lnTo>
                  <a:lnTo>
                    <a:pt x="9115" y="5535"/>
                  </a:lnTo>
                  <a:lnTo>
                    <a:pt x="8974" y="5475"/>
                  </a:lnTo>
                  <a:lnTo>
                    <a:pt x="8833" y="5421"/>
                  </a:lnTo>
                  <a:lnTo>
                    <a:pt x="8693" y="5370"/>
                  </a:lnTo>
                  <a:lnTo>
                    <a:pt x="8553" y="5324"/>
                  </a:lnTo>
                  <a:lnTo>
                    <a:pt x="8414" y="5281"/>
                  </a:lnTo>
                  <a:lnTo>
                    <a:pt x="8275" y="5241"/>
                  </a:lnTo>
                  <a:lnTo>
                    <a:pt x="8136" y="5205"/>
                  </a:lnTo>
                  <a:lnTo>
                    <a:pt x="7997" y="5172"/>
                  </a:lnTo>
                  <a:lnTo>
                    <a:pt x="7860" y="5141"/>
                  </a:lnTo>
                  <a:lnTo>
                    <a:pt x="7723" y="5113"/>
                  </a:lnTo>
                  <a:lnTo>
                    <a:pt x="7587" y="5088"/>
                  </a:lnTo>
                  <a:lnTo>
                    <a:pt x="7451" y="5065"/>
                  </a:lnTo>
                  <a:lnTo>
                    <a:pt x="7315" y="5043"/>
                  </a:lnTo>
                  <a:lnTo>
                    <a:pt x="7180" y="5022"/>
                  </a:lnTo>
                  <a:lnTo>
                    <a:pt x="7047" y="5003"/>
                  </a:lnTo>
                  <a:lnTo>
                    <a:pt x="6782" y="4968"/>
                  </a:lnTo>
                  <a:lnTo>
                    <a:pt x="6519" y="4936"/>
                  </a:lnTo>
                  <a:lnTo>
                    <a:pt x="6436" y="4926"/>
                  </a:lnTo>
                  <a:lnTo>
                    <a:pt x="6354" y="4915"/>
                  </a:lnTo>
                  <a:lnTo>
                    <a:pt x="6270" y="4905"/>
                  </a:lnTo>
                  <a:lnTo>
                    <a:pt x="6188" y="4893"/>
                  </a:lnTo>
                  <a:lnTo>
                    <a:pt x="6105" y="4882"/>
                  </a:lnTo>
                  <a:lnTo>
                    <a:pt x="6024" y="4871"/>
                  </a:lnTo>
                  <a:lnTo>
                    <a:pt x="5942" y="4859"/>
                  </a:lnTo>
                  <a:lnTo>
                    <a:pt x="5861" y="4847"/>
                  </a:lnTo>
                  <a:lnTo>
                    <a:pt x="5779" y="4835"/>
                  </a:lnTo>
                  <a:lnTo>
                    <a:pt x="5698" y="4822"/>
                  </a:lnTo>
                  <a:lnTo>
                    <a:pt x="5617" y="4809"/>
                  </a:lnTo>
                  <a:lnTo>
                    <a:pt x="5537" y="4795"/>
                  </a:lnTo>
                  <a:lnTo>
                    <a:pt x="5456" y="4779"/>
                  </a:lnTo>
                  <a:lnTo>
                    <a:pt x="5376" y="4764"/>
                  </a:lnTo>
                  <a:lnTo>
                    <a:pt x="5296" y="4748"/>
                  </a:lnTo>
                  <a:lnTo>
                    <a:pt x="5216" y="4731"/>
                  </a:lnTo>
                  <a:lnTo>
                    <a:pt x="9487" y="3017"/>
                  </a:lnTo>
                  <a:lnTo>
                    <a:pt x="8624" y="2152"/>
                  </a:lnTo>
                  <a:lnTo>
                    <a:pt x="8615" y="2143"/>
                  </a:lnTo>
                  <a:lnTo>
                    <a:pt x="8607" y="2133"/>
                  </a:lnTo>
                  <a:lnTo>
                    <a:pt x="8599" y="2123"/>
                  </a:lnTo>
                  <a:lnTo>
                    <a:pt x="8592" y="2113"/>
                  </a:lnTo>
                  <a:lnTo>
                    <a:pt x="8586" y="2102"/>
                  </a:lnTo>
                  <a:lnTo>
                    <a:pt x="8580" y="2091"/>
                  </a:lnTo>
                  <a:lnTo>
                    <a:pt x="8574" y="2080"/>
                  </a:lnTo>
                  <a:lnTo>
                    <a:pt x="8569" y="2068"/>
                  </a:lnTo>
                  <a:lnTo>
                    <a:pt x="8565" y="2057"/>
                  </a:lnTo>
                  <a:lnTo>
                    <a:pt x="8561" y="2046"/>
                  </a:lnTo>
                  <a:lnTo>
                    <a:pt x="8558" y="2034"/>
                  </a:lnTo>
                  <a:lnTo>
                    <a:pt x="8555" y="2022"/>
                  </a:lnTo>
                  <a:lnTo>
                    <a:pt x="8553" y="2010"/>
                  </a:lnTo>
                  <a:lnTo>
                    <a:pt x="8551" y="1998"/>
                  </a:lnTo>
                  <a:lnTo>
                    <a:pt x="8550" y="1986"/>
                  </a:lnTo>
                  <a:lnTo>
                    <a:pt x="8550" y="1974"/>
                  </a:lnTo>
                  <a:lnTo>
                    <a:pt x="8550" y="1961"/>
                  </a:lnTo>
                  <a:lnTo>
                    <a:pt x="8551" y="1949"/>
                  </a:lnTo>
                  <a:lnTo>
                    <a:pt x="8553" y="1938"/>
                  </a:lnTo>
                  <a:lnTo>
                    <a:pt x="8555" y="1926"/>
                  </a:lnTo>
                  <a:lnTo>
                    <a:pt x="8558" y="1914"/>
                  </a:lnTo>
                  <a:lnTo>
                    <a:pt x="8562" y="1902"/>
                  </a:lnTo>
                  <a:lnTo>
                    <a:pt x="8565" y="1891"/>
                  </a:lnTo>
                  <a:lnTo>
                    <a:pt x="8570" y="1879"/>
                  </a:lnTo>
                  <a:lnTo>
                    <a:pt x="8574" y="1868"/>
                  </a:lnTo>
                  <a:lnTo>
                    <a:pt x="8580" y="1857"/>
                  </a:lnTo>
                  <a:lnTo>
                    <a:pt x="8586" y="1845"/>
                  </a:lnTo>
                  <a:lnTo>
                    <a:pt x="8593" y="1835"/>
                  </a:lnTo>
                  <a:lnTo>
                    <a:pt x="8600" y="1825"/>
                  </a:lnTo>
                  <a:lnTo>
                    <a:pt x="8608" y="1815"/>
                  </a:lnTo>
                  <a:lnTo>
                    <a:pt x="8616" y="1805"/>
                  </a:lnTo>
                  <a:lnTo>
                    <a:pt x="8625" y="1796"/>
                  </a:lnTo>
                  <a:lnTo>
                    <a:pt x="9335" y="1082"/>
                  </a:lnTo>
                  <a:lnTo>
                    <a:pt x="9344" y="1073"/>
                  </a:lnTo>
                  <a:lnTo>
                    <a:pt x="9354" y="1065"/>
                  </a:lnTo>
                  <a:lnTo>
                    <a:pt x="9364" y="1057"/>
                  </a:lnTo>
                  <a:lnTo>
                    <a:pt x="9374" y="1050"/>
                  </a:lnTo>
                  <a:lnTo>
                    <a:pt x="9385" y="1043"/>
                  </a:lnTo>
                  <a:lnTo>
                    <a:pt x="9396" y="1037"/>
                  </a:lnTo>
                  <a:lnTo>
                    <a:pt x="9408" y="1032"/>
                  </a:lnTo>
                  <a:lnTo>
                    <a:pt x="9419" y="1027"/>
                  </a:lnTo>
                  <a:lnTo>
                    <a:pt x="9430" y="1023"/>
                  </a:lnTo>
                  <a:lnTo>
                    <a:pt x="9442" y="1019"/>
                  </a:lnTo>
                  <a:lnTo>
                    <a:pt x="9454" y="1016"/>
                  </a:lnTo>
                  <a:lnTo>
                    <a:pt x="9465" y="1013"/>
                  </a:lnTo>
                  <a:lnTo>
                    <a:pt x="9477" y="1011"/>
                  </a:lnTo>
                  <a:lnTo>
                    <a:pt x="9489" y="1010"/>
                  </a:lnTo>
                  <a:lnTo>
                    <a:pt x="9501" y="1009"/>
                  </a:lnTo>
                  <a:lnTo>
                    <a:pt x="9513" y="1009"/>
                  </a:lnTo>
                  <a:lnTo>
                    <a:pt x="9525" y="1009"/>
                  </a:lnTo>
                  <a:lnTo>
                    <a:pt x="9537" y="1010"/>
                  </a:lnTo>
                  <a:lnTo>
                    <a:pt x="9549" y="1011"/>
                  </a:lnTo>
                  <a:lnTo>
                    <a:pt x="9561" y="1013"/>
                  </a:lnTo>
                  <a:lnTo>
                    <a:pt x="9574" y="1016"/>
                  </a:lnTo>
                  <a:lnTo>
                    <a:pt x="9585" y="1019"/>
                  </a:lnTo>
                  <a:lnTo>
                    <a:pt x="9597" y="1023"/>
                  </a:lnTo>
                  <a:lnTo>
                    <a:pt x="9608" y="1027"/>
                  </a:lnTo>
                  <a:lnTo>
                    <a:pt x="9619" y="1032"/>
                  </a:lnTo>
                  <a:lnTo>
                    <a:pt x="9630" y="1037"/>
                  </a:lnTo>
                  <a:lnTo>
                    <a:pt x="9641" y="1043"/>
                  </a:lnTo>
                  <a:lnTo>
                    <a:pt x="9651" y="1050"/>
                  </a:lnTo>
                  <a:lnTo>
                    <a:pt x="9662" y="1057"/>
                  </a:lnTo>
                  <a:lnTo>
                    <a:pt x="9672" y="1065"/>
                  </a:lnTo>
                  <a:lnTo>
                    <a:pt x="9681" y="1073"/>
                  </a:lnTo>
                  <a:lnTo>
                    <a:pt x="9691" y="1082"/>
                  </a:lnTo>
                  <a:lnTo>
                    <a:pt x="13576" y="4978"/>
                  </a:lnTo>
                  <a:lnTo>
                    <a:pt x="13585" y="4987"/>
                  </a:lnTo>
                  <a:lnTo>
                    <a:pt x="13593" y="4996"/>
                  </a:lnTo>
                  <a:lnTo>
                    <a:pt x="13601" y="5006"/>
                  </a:lnTo>
                  <a:lnTo>
                    <a:pt x="13608" y="5017"/>
                  </a:lnTo>
                  <a:lnTo>
                    <a:pt x="13615" y="5028"/>
                  </a:lnTo>
                  <a:lnTo>
                    <a:pt x="13621" y="5039"/>
                  </a:lnTo>
                  <a:lnTo>
                    <a:pt x="13627" y="5050"/>
                  </a:lnTo>
                  <a:lnTo>
                    <a:pt x="13631" y="5061"/>
                  </a:lnTo>
                  <a:lnTo>
                    <a:pt x="13636" y="5073"/>
                  </a:lnTo>
                  <a:lnTo>
                    <a:pt x="13641" y="5084"/>
                  </a:lnTo>
                  <a:lnTo>
                    <a:pt x="13644" y="5096"/>
                  </a:lnTo>
                  <a:lnTo>
                    <a:pt x="13646" y="5107"/>
                  </a:lnTo>
                  <a:lnTo>
                    <a:pt x="13648" y="5119"/>
                  </a:lnTo>
                  <a:lnTo>
                    <a:pt x="13650" y="5131"/>
                  </a:lnTo>
                  <a:lnTo>
                    <a:pt x="13651" y="5143"/>
                  </a:lnTo>
                  <a:lnTo>
                    <a:pt x="13651" y="5156"/>
                  </a:lnTo>
                  <a:lnTo>
                    <a:pt x="13651" y="5168"/>
                  </a:lnTo>
                  <a:lnTo>
                    <a:pt x="13650" y="5180"/>
                  </a:lnTo>
                  <a:lnTo>
                    <a:pt x="13648" y="5192"/>
                  </a:lnTo>
                  <a:lnTo>
                    <a:pt x="13646" y="5204"/>
                  </a:lnTo>
                  <a:lnTo>
                    <a:pt x="13644" y="5216"/>
                  </a:lnTo>
                  <a:lnTo>
                    <a:pt x="13641" y="5227"/>
                  </a:lnTo>
                  <a:lnTo>
                    <a:pt x="13636" y="5239"/>
                  </a:lnTo>
                  <a:lnTo>
                    <a:pt x="13631" y="5250"/>
                  </a:lnTo>
                  <a:lnTo>
                    <a:pt x="13627" y="5261"/>
                  </a:lnTo>
                  <a:lnTo>
                    <a:pt x="13621" y="5273"/>
                  </a:lnTo>
                  <a:lnTo>
                    <a:pt x="13615" y="5284"/>
                  </a:lnTo>
                  <a:lnTo>
                    <a:pt x="13608" y="5295"/>
                  </a:lnTo>
                  <a:lnTo>
                    <a:pt x="13601" y="5305"/>
                  </a:lnTo>
                  <a:lnTo>
                    <a:pt x="13593" y="5315"/>
                  </a:lnTo>
                  <a:lnTo>
                    <a:pt x="13585" y="5325"/>
                  </a:lnTo>
                  <a:lnTo>
                    <a:pt x="13576" y="5334"/>
                  </a:lnTo>
                  <a:close/>
                  <a:moveTo>
                    <a:pt x="8378" y="13292"/>
                  </a:moveTo>
                  <a:lnTo>
                    <a:pt x="8366" y="13321"/>
                  </a:lnTo>
                  <a:lnTo>
                    <a:pt x="8352" y="13350"/>
                  </a:lnTo>
                  <a:lnTo>
                    <a:pt x="8336" y="13377"/>
                  </a:lnTo>
                  <a:lnTo>
                    <a:pt x="8318" y="13403"/>
                  </a:lnTo>
                  <a:lnTo>
                    <a:pt x="8300" y="13427"/>
                  </a:lnTo>
                  <a:lnTo>
                    <a:pt x="8280" y="13450"/>
                  </a:lnTo>
                  <a:lnTo>
                    <a:pt x="8258" y="13473"/>
                  </a:lnTo>
                  <a:lnTo>
                    <a:pt x="8235" y="13494"/>
                  </a:lnTo>
                  <a:lnTo>
                    <a:pt x="8210" y="13513"/>
                  </a:lnTo>
                  <a:lnTo>
                    <a:pt x="8185" y="13530"/>
                  </a:lnTo>
                  <a:lnTo>
                    <a:pt x="8159" y="13546"/>
                  </a:lnTo>
                  <a:lnTo>
                    <a:pt x="8132" y="13560"/>
                  </a:lnTo>
                  <a:lnTo>
                    <a:pt x="8104" y="13573"/>
                  </a:lnTo>
                  <a:lnTo>
                    <a:pt x="8074" y="13585"/>
                  </a:lnTo>
                  <a:lnTo>
                    <a:pt x="8044" y="13594"/>
                  </a:lnTo>
                  <a:lnTo>
                    <a:pt x="8013" y="13601"/>
                  </a:lnTo>
                  <a:lnTo>
                    <a:pt x="7985" y="13607"/>
                  </a:lnTo>
                  <a:lnTo>
                    <a:pt x="7956" y="13610"/>
                  </a:lnTo>
                  <a:lnTo>
                    <a:pt x="7927" y="13612"/>
                  </a:lnTo>
                  <a:lnTo>
                    <a:pt x="7899" y="13612"/>
                  </a:lnTo>
                  <a:lnTo>
                    <a:pt x="7874" y="13611"/>
                  </a:lnTo>
                  <a:lnTo>
                    <a:pt x="7850" y="13609"/>
                  </a:lnTo>
                  <a:lnTo>
                    <a:pt x="7827" y="13605"/>
                  </a:lnTo>
                  <a:lnTo>
                    <a:pt x="7804" y="13601"/>
                  </a:lnTo>
                  <a:lnTo>
                    <a:pt x="7781" y="13595"/>
                  </a:lnTo>
                  <a:lnTo>
                    <a:pt x="7758" y="13589"/>
                  </a:lnTo>
                  <a:lnTo>
                    <a:pt x="7736" y="13580"/>
                  </a:lnTo>
                  <a:lnTo>
                    <a:pt x="7714" y="13571"/>
                  </a:lnTo>
                  <a:lnTo>
                    <a:pt x="7691" y="13562"/>
                  </a:lnTo>
                  <a:lnTo>
                    <a:pt x="7670" y="13551"/>
                  </a:lnTo>
                  <a:lnTo>
                    <a:pt x="7650" y="13539"/>
                  </a:lnTo>
                  <a:lnTo>
                    <a:pt x="7630" y="13526"/>
                  </a:lnTo>
                  <a:lnTo>
                    <a:pt x="7610" y="13512"/>
                  </a:lnTo>
                  <a:lnTo>
                    <a:pt x="7591" y="13497"/>
                  </a:lnTo>
                  <a:lnTo>
                    <a:pt x="7573" y="13482"/>
                  </a:lnTo>
                  <a:lnTo>
                    <a:pt x="7556" y="13465"/>
                  </a:lnTo>
                  <a:lnTo>
                    <a:pt x="1154" y="7119"/>
                  </a:lnTo>
                  <a:lnTo>
                    <a:pt x="1133" y="7096"/>
                  </a:lnTo>
                  <a:lnTo>
                    <a:pt x="1113" y="7072"/>
                  </a:lnTo>
                  <a:lnTo>
                    <a:pt x="1094" y="7048"/>
                  </a:lnTo>
                  <a:lnTo>
                    <a:pt x="1078" y="7022"/>
                  </a:lnTo>
                  <a:lnTo>
                    <a:pt x="1063" y="6996"/>
                  </a:lnTo>
                  <a:lnTo>
                    <a:pt x="1050" y="6967"/>
                  </a:lnTo>
                  <a:lnTo>
                    <a:pt x="1038" y="6940"/>
                  </a:lnTo>
                  <a:lnTo>
                    <a:pt x="1029" y="6911"/>
                  </a:lnTo>
                  <a:lnTo>
                    <a:pt x="1021" y="6882"/>
                  </a:lnTo>
                  <a:lnTo>
                    <a:pt x="1014" y="6852"/>
                  </a:lnTo>
                  <a:lnTo>
                    <a:pt x="1010" y="6822"/>
                  </a:lnTo>
                  <a:lnTo>
                    <a:pt x="1007" y="6792"/>
                  </a:lnTo>
                  <a:lnTo>
                    <a:pt x="1006" y="6761"/>
                  </a:lnTo>
                  <a:lnTo>
                    <a:pt x="1007" y="6730"/>
                  </a:lnTo>
                  <a:lnTo>
                    <a:pt x="1010" y="6699"/>
                  </a:lnTo>
                  <a:lnTo>
                    <a:pt x="1015" y="6668"/>
                  </a:lnTo>
                  <a:lnTo>
                    <a:pt x="1022" y="6638"/>
                  </a:lnTo>
                  <a:lnTo>
                    <a:pt x="1030" y="6608"/>
                  </a:lnTo>
                  <a:lnTo>
                    <a:pt x="1040" y="6579"/>
                  </a:lnTo>
                  <a:lnTo>
                    <a:pt x="1052" y="6551"/>
                  </a:lnTo>
                  <a:lnTo>
                    <a:pt x="1065" y="6524"/>
                  </a:lnTo>
                  <a:lnTo>
                    <a:pt x="1080" y="6498"/>
                  </a:lnTo>
                  <a:lnTo>
                    <a:pt x="1097" y="6472"/>
                  </a:lnTo>
                  <a:lnTo>
                    <a:pt x="1116" y="6448"/>
                  </a:lnTo>
                  <a:lnTo>
                    <a:pt x="1136" y="6425"/>
                  </a:lnTo>
                  <a:lnTo>
                    <a:pt x="1156" y="6403"/>
                  </a:lnTo>
                  <a:lnTo>
                    <a:pt x="1179" y="6383"/>
                  </a:lnTo>
                  <a:lnTo>
                    <a:pt x="1202" y="6363"/>
                  </a:lnTo>
                  <a:lnTo>
                    <a:pt x="1227" y="6345"/>
                  </a:lnTo>
                  <a:lnTo>
                    <a:pt x="1252" y="6329"/>
                  </a:lnTo>
                  <a:lnTo>
                    <a:pt x="1280" y="6314"/>
                  </a:lnTo>
                  <a:lnTo>
                    <a:pt x="1308" y="6300"/>
                  </a:lnTo>
                  <a:lnTo>
                    <a:pt x="4434" y="5046"/>
                  </a:lnTo>
                  <a:lnTo>
                    <a:pt x="4632" y="5107"/>
                  </a:lnTo>
                  <a:lnTo>
                    <a:pt x="4830" y="5162"/>
                  </a:lnTo>
                  <a:lnTo>
                    <a:pt x="5027" y="5210"/>
                  </a:lnTo>
                  <a:lnTo>
                    <a:pt x="5225" y="5252"/>
                  </a:lnTo>
                  <a:lnTo>
                    <a:pt x="5422" y="5290"/>
                  </a:lnTo>
                  <a:lnTo>
                    <a:pt x="5620" y="5323"/>
                  </a:lnTo>
                  <a:lnTo>
                    <a:pt x="5817" y="5353"/>
                  </a:lnTo>
                  <a:lnTo>
                    <a:pt x="6016" y="5380"/>
                  </a:lnTo>
                  <a:lnTo>
                    <a:pt x="6410" y="5431"/>
                  </a:lnTo>
                  <a:lnTo>
                    <a:pt x="6805" y="5480"/>
                  </a:lnTo>
                  <a:lnTo>
                    <a:pt x="7003" y="5507"/>
                  </a:lnTo>
                  <a:lnTo>
                    <a:pt x="7201" y="5536"/>
                  </a:lnTo>
                  <a:lnTo>
                    <a:pt x="7398" y="5568"/>
                  </a:lnTo>
                  <a:lnTo>
                    <a:pt x="7596" y="5603"/>
                  </a:lnTo>
                  <a:lnTo>
                    <a:pt x="7793" y="5643"/>
                  </a:lnTo>
                  <a:lnTo>
                    <a:pt x="7991" y="5688"/>
                  </a:lnTo>
                  <a:lnTo>
                    <a:pt x="8188" y="5739"/>
                  </a:lnTo>
                  <a:lnTo>
                    <a:pt x="8385" y="5798"/>
                  </a:lnTo>
                  <a:lnTo>
                    <a:pt x="8584" y="5864"/>
                  </a:lnTo>
                  <a:lnTo>
                    <a:pt x="8781" y="5939"/>
                  </a:lnTo>
                  <a:lnTo>
                    <a:pt x="8979" y="6023"/>
                  </a:lnTo>
                  <a:lnTo>
                    <a:pt x="9176" y="6116"/>
                  </a:lnTo>
                  <a:lnTo>
                    <a:pt x="9373" y="6221"/>
                  </a:lnTo>
                  <a:lnTo>
                    <a:pt x="9571" y="6337"/>
                  </a:lnTo>
                  <a:lnTo>
                    <a:pt x="9769" y="6466"/>
                  </a:lnTo>
                  <a:lnTo>
                    <a:pt x="9967" y="6608"/>
                  </a:lnTo>
                  <a:lnTo>
                    <a:pt x="10164" y="6765"/>
                  </a:lnTo>
                  <a:lnTo>
                    <a:pt x="10361" y="6935"/>
                  </a:lnTo>
                  <a:lnTo>
                    <a:pt x="10559" y="7122"/>
                  </a:lnTo>
                  <a:lnTo>
                    <a:pt x="10756" y="7324"/>
                  </a:lnTo>
                  <a:lnTo>
                    <a:pt x="8378" y="13292"/>
                  </a:lnTo>
                  <a:close/>
                  <a:moveTo>
                    <a:pt x="10402" y="369"/>
                  </a:moveTo>
                  <a:lnTo>
                    <a:pt x="10379" y="347"/>
                  </a:lnTo>
                  <a:lnTo>
                    <a:pt x="10356" y="326"/>
                  </a:lnTo>
                  <a:lnTo>
                    <a:pt x="10333" y="305"/>
                  </a:lnTo>
                  <a:lnTo>
                    <a:pt x="10310" y="286"/>
                  </a:lnTo>
                  <a:lnTo>
                    <a:pt x="10286" y="266"/>
                  </a:lnTo>
                  <a:lnTo>
                    <a:pt x="10261" y="247"/>
                  </a:lnTo>
                  <a:lnTo>
                    <a:pt x="10235" y="229"/>
                  </a:lnTo>
                  <a:lnTo>
                    <a:pt x="10210" y="211"/>
                  </a:lnTo>
                  <a:lnTo>
                    <a:pt x="10184" y="195"/>
                  </a:lnTo>
                  <a:lnTo>
                    <a:pt x="10158" y="179"/>
                  </a:lnTo>
                  <a:lnTo>
                    <a:pt x="10132" y="163"/>
                  </a:lnTo>
                  <a:lnTo>
                    <a:pt x="10105" y="148"/>
                  </a:lnTo>
                  <a:lnTo>
                    <a:pt x="10077" y="133"/>
                  </a:lnTo>
                  <a:lnTo>
                    <a:pt x="10050" y="120"/>
                  </a:lnTo>
                  <a:lnTo>
                    <a:pt x="10022" y="108"/>
                  </a:lnTo>
                  <a:lnTo>
                    <a:pt x="9994" y="96"/>
                  </a:lnTo>
                  <a:lnTo>
                    <a:pt x="9966" y="84"/>
                  </a:lnTo>
                  <a:lnTo>
                    <a:pt x="9938" y="74"/>
                  </a:lnTo>
                  <a:lnTo>
                    <a:pt x="9908" y="64"/>
                  </a:lnTo>
                  <a:lnTo>
                    <a:pt x="9879" y="55"/>
                  </a:lnTo>
                  <a:lnTo>
                    <a:pt x="9850" y="46"/>
                  </a:lnTo>
                  <a:lnTo>
                    <a:pt x="9820" y="38"/>
                  </a:lnTo>
                  <a:lnTo>
                    <a:pt x="9791" y="31"/>
                  </a:lnTo>
                  <a:lnTo>
                    <a:pt x="9761" y="25"/>
                  </a:lnTo>
                  <a:lnTo>
                    <a:pt x="9730" y="19"/>
                  </a:lnTo>
                  <a:lnTo>
                    <a:pt x="9699" y="14"/>
                  </a:lnTo>
                  <a:lnTo>
                    <a:pt x="9669" y="9"/>
                  </a:lnTo>
                  <a:lnTo>
                    <a:pt x="9638" y="6"/>
                  </a:lnTo>
                  <a:lnTo>
                    <a:pt x="9607" y="3"/>
                  </a:lnTo>
                  <a:lnTo>
                    <a:pt x="9577" y="2"/>
                  </a:lnTo>
                  <a:lnTo>
                    <a:pt x="9544" y="0"/>
                  </a:lnTo>
                  <a:lnTo>
                    <a:pt x="9513" y="0"/>
                  </a:lnTo>
                  <a:lnTo>
                    <a:pt x="9482" y="0"/>
                  </a:lnTo>
                  <a:lnTo>
                    <a:pt x="9451" y="2"/>
                  </a:lnTo>
                  <a:lnTo>
                    <a:pt x="9420" y="3"/>
                  </a:lnTo>
                  <a:lnTo>
                    <a:pt x="9388" y="6"/>
                  </a:lnTo>
                  <a:lnTo>
                    <a:pt x="9357" y="9"/>
                  </a:lnTo>
                  <a:lnTo>
                    <a:pt x="9327" y="14"/>
                  </a:lnTo>
                  <a:lnTo>
                    <a:pt x="9297" y="19"/>
                  </a:lnTo>
                  <a:lnTo>
                    <a:pt x="9266" y="25"/>
                  </a:lnTo>
                  <a:lnTo>
                    <a:pt x="9236" y="31"/>
                  </a:lnTo>
                  <a:lnTo>
                    <a:pt x="9206" y="38"/>
                  </a:lnTo>
                  <a:lnTo>
                    <a:pt x="9176" y="46"/>
                  </a:lnTo>
                  <a:lnTo>
                    <a:pt x="9147" y="55"/>
                  </a:lnTo>
                  <a:lnTo>
                    <a:pt x="9118" y="64"/>
                  </a:lnTo>
                  <a:lnTo>
                    <a:pt x="9089" y="74"/>
                  </a:lnTo>
                  <a:lnTo>
                    <a:pt x="9060" y="84"/>
                  </a:lnTo>
                  <a:lnTo>
                    <a:pt x="9031" y="96"/>
                  </a:lnTo>
                  <a:lnTo>
                    <a:pt x="9003" y="108"/>
                  </a:lnTo>
                  <a:lnTo>
                    <a:pt x="8976" y="120"/>
                  </a:lnTo>
                  <a:lnTo>
                    <a:pt x="8948" y="134"/>
                  </a:lnTo>
                  <a:lnTo>
                    <a:pt x="8921" y="149"/>
                  </a:lnTo>
                  <a:lnTo>
                    <a:pt x="8894" y="163"/>
                  </a:lnTo>
                  <a:lnTo>
                    <a:pt x="8867" y="179"/>
                  </a:lnTo>
                  <a:lnTo>
                    <a:pt x="8841" y="195"/>
                  </a:lnTo>
                  <a:lnTo>
                    <a:pt x="8816" y="211"/>
                  </a:lnTo>
                  <a:lnTo>
                    <a:pt x="8790" y="229"/>
                  </a:lnTo>
                  <a:lnTo>
                    <a:pt x="8766" y="247"/>
                  </a:lnTo>
                  <a:lnTo>
                    <a:pt x="8741" y="267"/>
                  </a:lnTo>
                  <a:lnTo>
                    <a:pt x="8716" y="286"/>
                  </a:lnTo>
                  <a:lnTo>
                    <a:pt x="8692" y="306"/>
                  </a:lnTo>
                  <a:lnTo>
                    <a:pt x="8669" y="326"/>
                  </a:lnTo>
                  <a:lnTo>
                    <a:pt x="8646" y="348"/>
                  </a:lnTo>
                  <a:lnTo>
                    <a:pt x="8624" y="369"/>
                  </a:lnTo>
                  <a:lnTo>
                    <a:pt x="7914" y="1081"/>
                  </a:lnTo>
                  <a:lnTo>
                    <a:pt x="7892" y="1104"/>
                  </a:lnTo>
                  <a:lnTo>
                    <a:pt x="7870" y="1128"/>
                  </a:lnTo>
                  <a:lnTo>
                    <a:pt x="7850" y="1151"/>
                  </a:lnTo>
                  <a:lnTo>
                    <a:pt x="7829" y="1174"/>
                  </a:lnTo>
                  <a:lnTo>
                    <a:pt x="7810" y="1199"/>
                  </a:lnTo>
                  <a:lnTo>
                    <a:pt x="7792" y="1223"/>
                  </a:lnTo>
                  <a:lnTo>
                    <a:pt x="7773" y="1249"/>
                  </a:lnTo>
                  <a:lnTo>
                    <a:pt x="7756" y="1274"/>
                  </a:lnTo>
                  <a:lnTo>
                    <a:pt x="7739" y="1300"/>
                  </a:lnTo>
                  <a:lnTo>
                    <a:pt x="7723" y="1326"/>
                  </a:lnTo>
                  <a:lnTo>
                    <a:pt x="7707" y="1352"/>
                  </a:lnTo>
                  <a:lnTo>
                    <a:pt x="7692" y="1380"/>
                  </a:lnTo>
                  <a:lnTo>
                    <a:pt x="7678" y="1407"/>
                  </a:lnTo>
                  <a:lnTo>
                    <a:pt x="7665" y="1434"/>
                  </a:lnTo>
                  <a:lnTo>
                    <a:pt x="7652" y="1462"/>
                  </a:lnTo>
                  <a:lnTo>
                    <a:pt x="7640" y="1491"/>
                  </a:lnTo>
                  <a:lnTo>
                    <a:pt x="7629" y="1519"/>
                  </a:lnTo>
                  <a:lnTo>
                    <a:pt x="7618" y="1547"/>
                  </a:lnTo>
                  <a:lnTo>
                    <a:pt x="7608" y="1576"/>
                  </a:lnTo>
                  <a:lnTo>
                    <a:pt x="7599" y="1606"/>
                  </a:lnTo>
                  <a:lnTo>
                    <a:pt x="7591" y="1636"/>
                  </a:lnTo>
                  <a:lnTo>
                    <a:pt x="7583" y="1665"/>
                  </a:lnTo>
                  <a:lnTo>
                    <a:pt x="7576" y="1695"/>
                  </a:lnTo>
                  <a:lnTo>
                    <a:pt x="7569" y="1725"/>
                  </a:lnTo>
                  <a:lnTo>
                    <a:pt x="7564" y="1756"/>
                  </a:lnTo>
                  <a:lnTo>
                    <a:pt x="7559" y="1786"/>
                  </a:lnTo>
                  <a:lnTo>
                    <a:pt x="7555" y="1817"/>
                  </a:lnTo>
                  <a:lnTo>
                    <a:pt x="7551" y="1848"/>
                  </a:lnTo>
                  <a:lnTo>
                    <a:pt x="7549" y="1879"/>
                  </a:lnTo>
                  <a:lnTo>
                    <a:pt x="7547" y="1911"/>
                  </a:lnTo>
                  <a:lnTo>
                    <a:pt x="7546" y="1942"/>
                  </a:lnTo>
                  <a:lnTo>
                    <a:pt x="7545" y="1974"/>
                  </a:lnTo>
                  <a:lnTo>
                    <a:pt x="7546" y="2018"/>
                  </a:lnTo>
                  <a:lnTo>
                    <a:pt x="7548" y="2062"/>
                  </a:lnTo>
                  <a:lnTo>
                    <a:pt x="7552" y="2106"/>
                  </a:lnTo>
                  <a:lnTo>
                    <a:pt x="7557" y="2150"/>
                  </a:lnTo>
                  <a:lnTo>
                    <a:pt x="7564" y="2192"/>
                  </a:lnTo>
                  <a:lnTo>
                    <a:pt x="7572" y="2236"/>
                  </a:lnTo>
                  <a:lnTo>
                    <a:pt x="7582" y="2278"/>
                  </a:lnTo>
                  <a:lnTo>
                    <a:pt x="7593" y="2319"/>
                  </a:lnTo>
                  <a:lnTo>
                    <a:pt x="7605" y="2361"/>
                  </a:lnTo>
                  <a:lnTo>
                    <a:pt x="7619" y="2402"/>
                  </a:lnTo>
                  <a:lnTo>
                    <a:pt x="7634" y="2442"/>
                  </a:lnTo>
                  <a:lnTo>
                    <a:pt x="7651" y="2483"/>
                  </a:lnTo>
                  <a:lnTo>
                    <a:pt x="7669" y="2522"/>
                  </a:lnTo>
                  <a:lnTo>
                    <a:pt x="7688" y="2560"/>
                  </a:lnTo>
                  <a:lnTo>
                    <a:pt x="7710" y="2599"/>
                  </a:lnTo>
                  <a:lnTo>
                    <a:pt x="7732" y="2635"/>
                  </a:lnTo>
                  <a:lnTo>
                    <a:pt x="902" y="5377"/>
                  </a:lnTo>
                  <a:lnTo>
                    <a:pt x="860" y="5397"/>
                  </a:lnTo>
                  <a:lnTo>
                    <a:pt x="819" y="5418"/>
                  </a:lnTo>
                  <a:lnTo>
                    <a:pt x="778" y="5440"/>
                  </a:lnTo>
                  <a:lnTo>
                    <a:pt x="737" y="5462"/>
                  </a:lnTo>
                  <a:lnTo>
                    <a:pt x="699" y="5486"/>
                  </a:lnTo>
                  <a:lnTo>
                    <a:pt x="660" y="5511"/>
                  </a:lnTo>
                  <a:lnTo>
                    <a:pt x="623" y="5539"/>
                  </a:lnTo>
                  <a:lnTo>
                    <a:pt x="586" y="5566"/>
                  </a:lnTo>
                  <a:lnTo>
                    <a:pt x="550" y="5594"/>
                  </a:lnTo>
                  <a:lnTo>
                    <a:pt x="516" y="5623"/>
                  </a:lnTo>
                  <a:lnTo>
                    <a:pt x="482" y="5655"/>
                  </a:lnTo>
                  <a:lnTo>
                    <a:pt x="450" y="5686"/>
                  </a:lnTo>
                  <a:lnTo>
                    <a:pt x="417" y="5718"/>
                  </a:lnTo>
                  <a:lnTo>
                    <a:pt x="386" y="5751"/>
                  </a:lnTo>
                  <a:lnTo>
                    <a:pt x="357" y="5786"/>
                  </a:lnTo>
                  <a:lnTo>
                    <a:pt x="328" y="5821"/>
                  </a:lnTo>
                  <a:lnTo>
                    <a:pt x="301" y="5857"/>
                  </a:lnTo>
                  <a:lnTo>
                    <a:pt x="274" y="5894"/>
                  </a:lnTo>
                  <a:lnTo>
                    <a:pt x="248" y="5931"/>
                  </a:lnTo>
                  <a:lnTo>
                    <a:pt x="224" y="5969"/>
                  </a:lnTo>
                  <a:lnTo>
                    <a:pt x="200" y="6009"/>
                  </a:lnTo>
                  <a:lnTo>
                    <a:pt x="179" y="6049"/>
                  </a:lnTo>
                  <a:lnTo>
                    <a:pt x="158" y="6089"/>
                  </a:lnTo>
                  <a:lnTo>
                    <a:pt x="138" y="6131"/>
                  </a:lnTo>
                  <a:lnTo>
                    <a:pt x="120" y="6172"/>
                  </a:lnTo>
                  <a:lnTo>
                    <a:pt x="103" y="6214"/>
                  </a:lnTo>
                  <a:lnTo>
                    <a:pt x="87" y="6258"/>
                  </a:lnTo>
                  <a:lnTo>
                    <a:pt x="71" y="6301"/>
                  </a:lnTo>
                  <a:lnTo>
                    <a:pt x="58" y="6345"/>
                  </a:lnTo>
                  <a:lnTo>
                    <a:pt x="46" y="6390"/>
                  </a:lnTo>
                  <a:lnTo>
                    <a:pt x="36" y="6435"/>
                  </a:lnTo>
                  <a:lnTo>
                    <a:pt x="26" y="6481"/>
                  </a:lnTo>
                  <a:lnTo>
                    <a:pt x="18" y="6527"/>
                  </a:lnTo>
                  <a:lnTo>
                    <a:pt x="12" y="6573"/>
                  </a:lnTo>
                  <a:lnTo>
                    <a:pt x="7" y="6620"/>
                  </a:lnTo>
                  <a:lnTo>
                    <a:pt x="3" y="6666"/>
                  </a:lnTo>
                  <a:lnTo>
                    <a:pt x="1" y="6712"/>
                  </a:lnTo>
                  <a:lnTo>
                    <a:pt x="0" y="6759"/>
                  </a:lnTo>
                  <a:lnTo>
                    <a:pt x="1" y="6804"/>
                  </a:lnTo>
                  <a:lnTo>
                    <a:pt x="3" y="6850"/>
                  </a:lnTo>
                  <a:lnTo>
                    <a:pt x="6" y="6896"/>
                  </a:lnTo>
                  <a:lnTo>
                    <a:pt x="11" y="6941"/>
                  </a:lnTo>
                  <a:lnTo>
                    <a:pt x="17" y="6987"/>
                  </a:lnTo>
                  <a:lnTo>
                    <a:pt x="24" y="7032"/>
                  </a:lnTo>
                  <a:lnTo>
                    <a:pt x="33" y="7076"/>
                  </a:lnTo>
                  <a:lnTo>
                    <a:pt x="43" y="7121"/>
                  </a:lnTo>
                  <a:lnTo>
                    <a:pt x="55" y="7165"/>
                  </a:lnTo>
                  <a:lnTo>
                    <a:pt x="67" y="7209"/>
                  </a:lnTo>
                  <a:lnTo>
                    <a:pt x="81" y="7253"/>
                  </a:lnTo>
                  <a:lnTo>
                    <a:pt x="98" y="7295"/>
                  </a:lnTo>
                  <a:lnTo>
                    <a:pt x="114" y="7337"/>
                  </a:lnTo>
                  <a:lnTo>
                    <a:pt x="132" y="7380"/>
                  </a:lnTo>
                  <a:lnTo>
                    <a:pt x="152" y="7421"/>
                  </a:lnTo>
                  <a:lnTo>
                    <a:pt x="172" y="7462"/>
                  </a:lnTo>
                  <a:lnTo>
                    <a:pt x="194" y="7503"/>
                  </a:lnTo>
                  <a:lnTo>
                    <a:pt x="217" y="7542"/>
                  </a:lnTo>
                  <a:lnTo>
                    <a:pt x="241" y="7581"/>
                  </a:lnTo>
                  <a:lnTo>
                    <a:pt x="268" y="7620"/>
                  </a:lnTo>
                  <a:lnTo>
                    <a:pt x="294" y="7658"/>
                  </a:lnTo>
                  <a:lnTo>
                    <a:pt x="322" y="7695"/>
                  </a:lnTo>
                  <a:lnTo>
                    <a:pt x="351" y="7732"/>
                  </a:lnTo>
                  <a:lnTo>
                    <a:pt x="382" y="7767"/>
                  </a:lnTo>
                  <a:lnTo>
                    <a:pt x="413" y="7801"/>
                  </a:lnTo>
                  <a:lnTo>
                    <a:pt x="447" y="7835"/>
                  </a:lnTo>
                  <a:lnTo>
                    <a:pt x="6844" y="14177"/>
                  </a:lnTo>
                  <a:lnTo>
                    <a:pt x="6871" y="14203"/>
                  </a:lnTo>
                  <a:lnTo>
                    <a:pt x="6897" y="14228"/>
                  </a:lnTo>
                  <a:lnTo>
                    <a:pt x="6924" y="14252"/>
                  </a:lnTo>
                  <a:lnTo>
                    <a:pt x="6952" y="14275"/>
                  </a:lnTo>
                  <a:lnTo>
                    <a:pt x="6979" y="14298"/>
                  </a:lnTo>
                  <a:lnTo>
                    <a:pt x="7008" y="14320"/>
                  </a:lnTo>
                  <a:lnTo>
                    <a:pt x="7038" y="14341"/>
                  </a:lnTo>
                  <a:lnTo>
                    <a:pt x="7067" y="14362"/>
                  </a:lnTo>
                  <a:lnTo>
                    <a:pt x="7097" y="14381"/>
                  </a:lnTo>
                  <a:lnTo>
                    <a:pt x="7127" y="14400"/>
                  </a:lnTo>
                  <a:lnTo>
                    <a:pt x="7157" y="14418"/>
                  </a:lnTo>
                  <a:lnTo>
                    <a:pt x="7188" y="14436"/>
                  </a:lnTo>
                  <a:lnTo>
                    <a:pt x="7221" y="14453"/>
                  </a:lnTo>
                  <a:lnTo>
                    <a:pt x="7252" y="14469"/>
                  </a:lnTo>
                  <a:lnTo>
                    <a:pt x="7284" y="14484"/>
                  </a:lnTo>
                  <a:lnTo>
                    <a:pt x="7316" y="14499"/>
                  </a:lnTo>
                  <a:lnTo>
                    <a:pt x="7349" y="14512"/>
                  </a:lnTo>
                  <a:lnTo>
                    <a:pt x="7383" y="14525"/>
                  </a:lnTo>
                  <a:lnTo>
                    <a:pt x="7416" y="14537"/>
                  </a:lnTo>
                  <a:lnTo>
                    <a:pt x="7450" y="14548"/>
                  </a:lnTo>
                  <a:lnTo>
                    <a:pt x="7484" y="14558"/>
                  </a:lnTo>
                  <a:lnTo>
                    <a:pt x="7518" y="14569"/>
                  </a:lnTo>
                  <a:lnTo>
                    <a:pt x="7553" y="14578"/>
                  </a:lnTo>
                  <a:lnTo>
                    <a:pt x="7588" y="14586"/>
                  </a:lnTo>
                  <a:lnTo>
                    <a:pt x="7623" y="14593"/>
                  </a:lnTo>
                  <a:lnTo>
                    <a:pt x="7657" y="14599"/>
                  </a:lnTo>
                  <a:lnTo>
                    <a:pt x="7693" y="14605"/>
                  </a:lnTo>
                  <a:lnTo>
                    <a:pt x="7729" y="14609"/>
                  </a:lnTo>
                  <a:lnTo>
                    <a:pt x="7765" y="14613"/>
                  </a:lnTo>
                  <a:lnTo>
                    <a:pt x="7800" y="14616"/>
                  </a:lnTo>
                  <a:lnTo>
                    <a:pt x="7836" y="14618"/>
                  </a:lnTo>
                  <a:lnTo>
                    <a:pt x="7872" y="14619"/>
                  </a:lnTo>
                  <a:lnTo>
                    <a:pt x="7882" y="14620"/>
                  </a:lnTo>
                  <a:lnTo>
                    <a:pt x="7892" y="14620"/>
                  </a:lnTo>
                  <a:lnTo>
                    <a:pt x="7903" y="14620"/>
                  </a:lnTo>
                  <a:lnTo>
                    <a:pt x="7911" y="14620"/>
                  </a:lnTo>
                  <a:lnTo>
                    <a:pt x="7949" y="14619"/>
                  </a:lnTo>
                  <a:lnTo>
                    <a:pt x="7987" y="14618"/>
                  </a:lnTo>
                  <a:lnTo>
                    <a:pt x="8025" y="14616"/>
                  </a:lnTo>
                  <a:lnTo>
                    <a:pt x="8065" y="14612"/>
                  </a:lnTo>
                  <a:lnTo>
                    <a:pt x="8103" y="14608"/>
                  </a:lnTo>
                  <a:lnTo>
                    <a:pt x="8141" y="14602"/>
                  </a:lnTo>
                  <a:lnTo>
                    <a:pt x="8179" y="14596"/>
                  </a:lnTo>
                  <a:lnTo>
                    <a:pt x="8219" y="14589"/>
                  </a:lnTo>
                  <a:lnTo>
                    <a:pt x="8265" y="14578"/>
                  </a:lnTo>
                  <a:lnTo>
                    <a:pt x="8311" y="14566"/>
                  </a:lnTo>
                  <a:lnTo>
                    <a:pt x="8356" y="14552"/>
                  </a:lnTo>
                  <a:lnTo>
                    <a:pt x="8401" y="14538"/>
                  </a:lnTo>
                  <a:lnTo>
                    <a:pt x="8445" y="14522"/>
                  </a:lnTo>
                  <a:lnTo>
                    <a:pt x="8489" y="14505"/>
                  </a:lnTo>
                  <a:lnTo>
                    <a:pt x="8531" y="14487"/>
                  </a:lnTo>
                  <a:lnTo>
                    <a:pt x="8574" y="14467"/>
                  </a:lnTo>
                  <a:lnTo>
                    <a:pt x="8616" y="14446"/>
                  </a:lnTo>
                  <a:lnTo>
                    <a:pt x="8656" y="14423"/>
                  </a:lnTo>
                  <a:lnTo>
                    <a:pt x="8696" y="14400"/>
                  </a:lnTo>
                  <a:lnTo>
                    <a:pt x="8736" y="14375"/>
                  </a:lnTo>
                  <a:lnTo>
                    <a:pt x="8774" y="14350"/>
                  </a:lnTo>
                  <a:lnTo>
                    <a:pt x="8811" y="14323"/>
                  </a:lnTo>
                  <a:lnTo>
                    <a:pt x="8847" y="14294"/>
                  </a:lnTo>
                  <a:lnTo>
                    <a:pt x="8883" y="14265"/>
                  </a:lnTo>
                  <a:lnTo>
                    <a:pt x="8918" y="14235"/>
                  </a:lnTo>
                  <a:lnTo>
                    <a:pt x="8952" y="14204"/>
                  </a:lnTo>
                  <a:lnTo>
                    <a:pt x="8985" y="14171"/>
                  </a:lnTo>
                  <a:lnTo>
                    <a:pt x="9017" y="14138"/>
                  </a:lnTo>
                  <a:lnTo>
                    <a:pt x="9047" y="14104"/>
                  </a:lnTo>
                  <a:lnTo>
                    <a:pt x="9078" y="14068"/>
                  </a:lnTo>
                  <a:lnTo>
                    <a:pt x="9106" y="14032"/>
                  </a:lnTo>
                  <a:lnTo>
                    <a:pt x="9134" y="13995"/>
                  </a:lnTo>
                  <a:lnTo>
                    <a:pt x="9160" y="13957"/>
                  </a:lnTo>
                  <a:lnTo>
                    <a:pt x="9186" y="13918"/>
                  </a:lnTo>
                  <a:lnTo>
                    <a:pt x="9210" y="13878"/>
                  </a:lnTo>
                  <a:lnTo>
                    <a:pt x="9232" y="13838"/>
                  </a:lnTo>
                  <a:lnTo>
                    <a:pt x="9255" y="13796"/>
                  </a:lnTo>
                  <a:lnTo>
                    <a:pt x="9276" y="13754"/>
                  </a:lnTo>
                  <a:lnTo>
                    <a:pt x="9295" y="13711"/>
                  </a:lnTo>
                  <a:lnTo>
                    <a:pt x="9313" y="13666"/>
                  </a:lnTo>
                  <a:lnTo>
                    <a:pt x="12000" y="6923"/>
                  </a:lnTo>
                  <a:lnTo>
                    <a:pt x="12038" y="6948"/>
                  </a:lnTo>
                  <a:lnTo>
                    <a:pt x="12077" y="6970"/>
                  </a:lnTo>
                  <a:lnTo>
                    <a:pt x="12118" y="6993"/>
                  </a:lnTo>
                  <a:lnTo>
                    <a:pt x="12158" y="7012"/>
                  </a:lnTo>
                  <a:lnTo>
                    <a:pt x="12199" y="7031"/>
                  </a:lnTo>
                  <a:lnTo>
                    <a:pt x="12241" y="7047"/>
                  </a:lnTo>
                  <a:lnTo>
                    <a:pt x="12284" y="7063"/>
                  </a:lnTo>
                  <a:lnTo>
                    <a:pt x="12327" y="7076"/>
                  </a:lnTo>
                  <a:lnTo>
                    <a:pt x="12370" y="7088"/>
                  </a:lnTo>
                  <a:lnTo>
                    <a:pt x="12414" y="7099"/>
                  </a:lnTo>
                  <a:lnTo>
                    <a:pt x="12459" y="7109"/>
                  </a:lnTo>
                  <a:lnTo>
                    <a:pt x="12504" y="7116"/>
                  </a:lnTo>
                  <a:lnTo>
                    <a:pt x="12549" y="7122"/>
                  </a:lnTo>
                  <a:lnTo>
                    <a:pt x="12595" y="7126"/>
                  </a:lnTo>
                  <a:lnTo>
                    <a:pt x="12642" y="7129"/>
                  </a:lnTo>
                  <a:lnTo>
                    <a:pt x="12688" y="7130"/>
                  </a:lnTo>
                  <a:lnTo>
                    <a:pt x="12719" y="7129"/>
                  </a:lnTo>
                  <a:lnTo>
                    <a:pt x="12750" y="7128"/>
                  </a:lnTo>
                  <a:lnTo>
                    <a:pt x="12781" y="7126"/>
                  </a:lnTo>
                  <a:lnTo>
                    <a:pt x="12813" y="7123"/>
                  </a:lnTo>
                  <a:lnTo>
                    <a:pt x="12844" y="7120"/>
                  </a:lnTo>
                  <a:lnTo>
                    <a:pt x="12874" y="7116"/>
                  </a:lnTo>
                  <a:lnTo>
                    <a:pt x="12905" y="7111"/>
                  </a:lnTo>
                  <a:lnTo>
                    <a:pt x="12935" y="7105"/>
                  </a:lnTo>
                  <a:lnTo>
                    <a:pt x="12966" y="7098"/>
                  </a:lnTo>
                  <a:lnTo>
                    <a:pt x="12995" y="7091"/>
                  </a:lnTo>
                  <a:lnTo>
                    <a:pt x="13025" y="7083"/>
                  </a:lnTo>
                  <a:lnTo>
                    <a:pt x="13054" y="7075"/>
                  </a:lnTo>
                  <a:lnTo>
                    <a:pt x="13083" y="7066"/>
                  </a:lnTo>
                  <a:lnTo>
                    <a:pt x="13112" y="7056"/>
                  </a:lnTo>
                  <a:lnTo>
                    <a:pt x="13141" y="7045"/>
                  </a:lnTo>
                  <a:lnTo>
                    <a:pt x="13170" y="7034"/>
                  </a:lnTo>
                  <a:lnTo>
                    <a:pt x="13198" y="7022"/>
                  </a:lnTo>
                  <a:lnTo>
                    <a:pt x="13225" y="7009"/>
                  </a:lnTo>
                  <a:lnTo>
                    <a:pt x="13253" y="6996"/>
                  </a:lnTo>
                  <a:lnTo>
                    <a:pt x="13280" y="6981"/>
                  </a:lnTo>
                  <a:lnTo>
                    <a:pt x="13307" y="6966"/>
                  </a:lnTo>
                  <a:lnTo>
                    <a:pt x="13334" y="6950"/>
                  </a:lnTo>
                  <a:lnTo>
                    <a:pt x="13360" y="6934"/>
                  </a:lnTo>
                  <a:lnTo>
                    <a:pt x="13385" y="6918"/>
                  </a:lnTo>
                  <a:lnTo>
                    <a:pt x="13410" y="6900"/>
                  </a:lnTo>
                  <a:lnTo>
                    <a:pt x="13435" y="6882"/>
                  </a:lnTo>
                  <a:lnTo>
                    <a:pt x="13460" y="6863"/>
                  </a:lnTo>
                  <a:lnTo>
                    <a:pt x="13485" y="6843"/>
                  </a:lnTo>
                  <a:lnTo>
                    <a:pt x="13508" y="6823"/>
                  </a:lnTo>
                  <a:lnTo>
                    <a:pt x="13532" y="6803"/>
                  </a:lnTo>
                  <a:lnTo>
                    <a:pt x="13554" y="6781"/>
                  </a:lnTo>
                  <a:lnTo>
                    <a:pt x="13577" y="6759"/>
                  </a:lnTo>
                  <a:lnTo>
                    <a:pt x="14285" y="6050"/>
                  </a:lnTo>
                  <a:lnTo>
                    <a:pt x="14307" y="6028"/>
                  </a:lnTo>
                  <a:lnTo>
                    <a:pt x="14329" y="6005"/>
                  </a:lnTo>
                  <a:lnTo>
                    <a:pt x="14350" y="5980"/>
                  </a:lnTo>
                  <a:lnTo>
                    <a:pt x="14370" y="5957"/>
                  </a:lnTo>
                  <a:lnTo>
                    <a:pt x="14389" y="5932"/>
                  </a:lnTo>
                  <a:lnTo>
                    <a:pt x="14408" y="5908"/>
                  </a:lnTo>
                  <a:lnTo>
                    <a:pt x="14426" y="5883"/>
                  </a:lnTo>
                  <a:lnTo>
                    <a:pt x="14444" y="5857"/>
                  </a:lnTo>
                  <a:lnTo>
                    <a:pt x="14460" y="5831"/>
                  </a:lnTo>
                  <a:lnTo>
                    <a:pt x="14477" y="5805"/>
                  </a:lnTo>
                  <a:lnTo>
                    <a:pt x="14493" y="5778"/>
                  </a:lnTo>
                  <a:lnTo>
                    <a:pt x="14508" y="5751"/>
                  </a:lnTo>
                  <a:lnTo>
                    <a:pt x="14522" y="5724"/>
                  </a:lnTo>
                  <a:lnTo>
                    <a:pt x="14535" y="5696"/>
                  </a:lnTo>
                  <a:lnTo>
                    <a:pt x="14548" y="5668"/>
                  </a:lnTo>
                  <a:lnTo>
                    <a:pt x="14560" y="5640"/>
                  </a:lnTo>
                  <a:lnTo>
                    <a:pt x="14572" y="5611"/>
                  </a:lnTo>
                  <a:lnTo>
                    <a:pt x="14582" y="5583"/>
                  </a:lnTo>
                  <a:lnTo>
                    <a:pt x="14592" y="5554"/>
                  </a:lnTo>
                  <a:lnTo>
                    <a:pt x="14602" y="5525"/>
                  </a:lnTo>
                  <a:lnTo>
                    <a:pt x="14610" y="5494"/>
                  </a:lnTo>
                  <a:lnTo>
                    <a:pt x="14618" y="5465"/>
                  </a:lnTo>
                  <a:lnTo>
                    <a:pt x="14625" y="5435"/>
                  </a:lnTo>
                  <a:lnTo>
                    <a:pt x="14631" y="5405"/>
                  </a:lnTo>
                  <a:lnTo>
                    <a:pt x="14637" y="5373"/>
                  </a:lnTo>
                  <a:lnTo>
                    <a:pt x="14642" y="5343"/>
                  </a:lnTo>
                  <a:lnTo>
                    <a:pt x="14646" y="5312"/>
                  </a:lnTo>
                  <a:lnTo>
                    <a:pt x="14649" y="5282"/>
                  </a:lnTo>
                  <a:lnTo>
                    <a:pt x="14652" y="5250"/>
                  </a:lnTo>
                  <a:lnTo>
                    <a:pt x="14654" y="5219"/>
                  </a:lnTo>
                  <a:lnTo>
                    <a:pt x="14656" y="5187"/>
                  </a:lnTo>
                  <a:lnTo>
                    <a:pt x="14656" y="5156"/>
                  </a:lnTo>
                  <a:lnTo>
                    <a:pt x="14656" y="5124"/>
                  </a:lnTo>
                  <a:lnTo>
                    <a:pt x="14654" y="5092"/>
                  </a:lnTo>
                  <a:lnTo>
                    <a:pt x="14652" y="5061"/>
                  </a:lnTo>
                  <a:lnTo>
                    <a:pt x="14649" y="5030"/>
                  </a:lnTo>
                  <a:lnTo>
                    <a:pt x="14646" y="4999"/>
                  </a:lnTo>
                  <a:lnTo>
                    <a:pt x="14642" y="4968"/>
                  </a:lnTo>
                  <a:lnTo>
                    <a:pt x="14637" y="4938"/>
                  </a:lnTo>
                  <a:lnTo>
                    <a:pt x="14631" y="4908"/>
                  </a:lnTo>
                  <a:lnTo>
                    <a:pt x="14625" y="4877"/>
                  </a:lnTo>
                  <a:lnTo>
                    <a:pt x="14618" y="4847"/>
                  </a:lnTo>
                  <a:lnTo>
                    <a:pt x="14610" y="4817"/>
                  </a:lnTo>
                  <a:lnTo>
                    <a:pt x="14602" y="4788"/>
                  </a:lnTo>
                  <a:lnTo>
                    <a:pt x="14592" y="4758"/>
                  </a:lnTo>
                  <a:lnTo>
                    <a:pt x="14583" y="4729"/>
                  </a:lnTo>
                  <a:lnTo>
                    <a:pt x="14572" y="4701"/>
                  </a:lnTo>
                  <a:lnTo>
                    <a:pt x="14561" y="4672"/>
                  </a:lnTo>
                  <a:lnTo>
                    <a:pt x="14549" y="4643"/>
                  </a:lnTo>
                  <a:lnTo>
                    <a:pt x="14536" y="4616"/>
                  </a:lnTo>
                  <a:lnTo>
                    <a:pt x="14523" y="4589"/>
                  </a:lnTo>
                  <a:lnTo>
                    <a:pt x="14509" y="4562"/>
                  </a:lnTo>
                  <a:lnTo>
                    <a:pt x="14494" y="4534"/>
                  </a:lnTo>
                  <a:lnTo>
                    <a:pt x="14478" y="4508"/>
                  </a:lnTo>
                  <a:lnTo>
                    <a:pt x="14462" y="4482"/>
                  </a:lnTo>
                  <a:lnTo>
                    <a:pt x="14445" y="4456"/>
                  </a:lnTo>
                  <a:lnTo>
                    <a:pt x="14428" y="4431"/>
                  </a:lnTo>
                  <a:lnTo>
                    <a:pt x="14410" y="4405"/>
                  </a:lnTo>
                  <a:lnTo>
                    <a:pt x="14391" y="4381"/>
                  </a:lnTo>
                  <a:lnTo>
                    <a:pt x="14372" y="4357"/>
                  </a:lnTo>
                  <a:lnTo>
                    <a:pt x="14352" y="4333"/>
                  </a:lnTo>
                  <a:lnTo>
                    <a:pt x="14331" y="4310"/>
                  </a:lnTo>
                  <a:lnTo>
                    <a:pt x="14309" y="4287"/>
                  </a:lnTo>
                  <a:lnTo>
                    <a:pt x="14288" y="4265"/>
                  </a:lnTo>
                  <a:lnTo>
                    <a:pt x="10402" y="3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26" name="ïṥḻïḓê">
              <a:extLst>
                <a:ext uri="{FF2B5EF4-FFF2-40B4-BE49-F238E27FC236}">
                  <a16:creationId xmlns:a16="http://schemas.microsoft.com/office/drawing/2014/main" id="{75C9BA63-5D7C-4A04-B92F-7292736CB4C2}"/>
                </a:ext>
              </a:extLst>
            </p:cNvPr>
            <p:cNvSpPr/>
            <p:nvPr/>
          </p:nvSpPr>
          <p:spPr bwMode="auto">
            <a:xfrm>
              <a:off x="10735421" y="1355545"/>
              <a:ext cx="76924" cy="76924"/>
            </a:xfrm>
            <a:custGeom>
              <a:avLst/>
              <a:gdLst>
                <a:gd name="T0" fmla="*/ 1409 w 2514"/>
                <a:gd name="T1" fmla="*/ 519 h 2521"/>
                <a:gd name="T2" fmla="*/ 1584 w 2514"/>
                <a:gd name="T3" fmla="*/ 579 h 2521"/>
                <a:gd name="T4" fmla="*/ 1737 w 2514"/>
                <a:gd name="T5" fmla="*/ 677 h 2521"/>
                <a:gd name="T6" fmla="*/ 1862 w 2514"/>
                <a:gd name="T7" fmla="*/ 808 h 2521"/>
                <a:gd name="T8" fmla="*/ 1952 w 2514"/>
                <a:gd name="T9" fmla="*/ 966 h 2521"/>
                <a:gd name="T10" fmla="*/ 2002 w 2514"/>
                <a:gd name="T11" fmla="*/ 1145 h 2521"/>
                <a:gd name="T12" fmla="*/ 2007 w 2514"/>
                <a:gd name="T13" fmla="*/ 1338 h 2521"/>
                <a:gd name="T14" fmla="*/ 1966 w 2514"/>
                <a:gd name="T15" fmla="*/ 1520 h 2521"/>
                <a:gd name="T16" fmla="*/ 1883 w 2514"/>
                <a:gd name="T17" fmla="*/ 1683 h 2521"/>
                <a:gd name="T18" fmla="*/ 1765 w 2514"/>
                <a:gd name="T19" fmla="*/ 1820 h 2521"/>
                <a:gd name="T20" fmla="*/ 1617 w 2514"/>
                <a:gd name="T21" fmla="*/ 1925 h 2521"/>
                <a:gd name="T22" fmla="*/ 1446 w 2514"/>
                <a:gd name="T23" fmla="*/ 1992 h 2521"/>
                <a:gd name="T24" fmla="*/ 1257 w 2514"/>
                <a:gd name="T25" fmla="*/ 2017 h 2521"/>
                <a:gd name="T26" fmla="*/ 1069 w 2514"/>
                <a:gd name="T27" fmla="*/ 1992 h 2521"/>
                <a:gd name="T28" fmla="*/ 897 w 2514"/>
                <a:gd name="T29" fmla="*/ 1925 h 2521"/>
                <a:gd name="T30" fmla="*/ 750 w 2514"/>
                <a:gd name="T31" fmla="*/ 1820 h 2521"/>
                <a:gd name="T32" fmla="*/ 631 w 2514"/>
                <a:gd name="T33" fmla="*/ 1683 h 2521"/>
                <a:gd name="T34" fmla="*/ 549 w 2514"/>
                <a:gd name="T35" fmla="*/ 1520 h 2521"/>
                <a:gd name="T36" fmla="*/ 507 w 2514"/>
                <a:gd name="T37" fmla="*/ 1338 h 2521"/>
                <a:gd name="T38" fmla="*/ 512 w 2514"/>
                <a:gd name="T39" fmla="*/ 1145 h 2521"/>
                <a:gd name="T40" fmla="*/ 562 w 2514"/>
                <a:gd name="T41" fmla="*/ 966 h 2521"/>
                <a:gd name="T42" fmla="*/ 652 w 2514"/>
                <a:gd name="T43" fmla="*/ 808 h 2521"/>
                <a:gd name="T44" fmla="*/ 777 w 2514"/>
                <a:gd name="T45" fmla="*/ 677 h 2521"/>
                <a:gd name="T46" fmla="*/ 930 w 2514"/>
                <a:gd name="T47" fmla="*/ 579 h 2521"/>
                <a:gd name="T48" fmla="*/ 1105 w 2514"/>
                <a:gd name="T49" fmla="*/ 519 h 2521"/>
                <a:gd name="T50" fmla="*/ 1257 w 2514"/>
                <a:gd name="T51" fmla="*/ 2521 h 2521"/>
                <a:gd name="T52" fmla="*/ 1571 w 2514"/>
                <a:gd name="T53" fmla="*/ 2481 h 2521"/>
                <a:gd name="T54" fmla="*/ 1856 w 2514"/>
                <a:gd name="T55" fmla="*/ 2368 h 2521"/>
                <a:gd name="T56" fmla="*/ 2102 w 2514"/>
                <a:gd name="T57" fmla="*/ 2193 h 2521"/>
                <a:gd name="T58" fmla="*/ 2299 w 2514"/>
                <a:gd name="T59" fmla="*/ 1964 h 2521"/>
                <a:gd name="T60" fmla="*/ 2438 w 2514"/>
                <a:gd name="T61" fmla="*/ 1693 h 2521"/>
                <a:gd name="T62" fmla="*/ 2508 w 2514"/>
                <a:gd name="T63" fmla="*/ 1389 h 2521"/>
                <a:gd name="T64" fmla="*/ 2500 w 2514"/>
                <a:gd name="T65" fmla="*/ 1069 h 2521"/>
                <a:gd name="T66" fmla="*/ 2416 w 2514"/>
                <a:gd name="T67" fmla="*/ 770 h 2521"/>
                <a:gd name="T68" fmla="*/ 2264 w 2514"/>
                <a:gd name="T69" fmla="*/ 506 h 2521"/>
                <a:gd name="T70" fmla="*/ 2057 w 2514"/>
                <a:gd name="T71" fmla="*/ 288 h 2521"/>
                <a:gd name="T72" fmla="*/ 1801 w 2514"/>
                <a:gd name="T73" fmla="*/ 124 h 2521"/>
                <a:gd name="T74" fmla="*/ 1510 w 2514"/>
                <a:gd name="T75" fmla="*/ 25 h 2521"/>
                <a:gd name="T76" fmla="*/ 1193 w 2514"/>
                <a:gd name="T77" fmla="*/ 2 h 2521"/>
                <a:gd name="T78" fmla="*/ 884 w 2514"/>
                <a:gd name="T79" fmla="*/ 56 h 2521"/>
                <a:gd name="T80" fmla="*/ 606 w 2514"/>
                <a:gd name="T81" fmla="*/ 182 h 2521"/>
                <a:gd name="T82" fmla="*/ 369 w 2514"/>
                <a:gd name="T83" fmla="*/ 369 h 2521"/>
                <a:gd name="T84" fmla="*/ 182 w 2514"/>
                <a:gd name="T85" fmla="*/ 607 h 2521"/>
                <a:gd name="T86" fmla="*/ 57 w 2514"/>
                <a:gd name="T87" fmla="*/ 886 h 2521"/>
                <a:gd name="T88" fmla="*/ 2 w 2514"/>
                <a:gd name="T89" fmla="*/ 1196 h 2521"/>
                <a:gd name="T90" fmla="*/ 26 w 2514"/>
                <a:gd name="T91" fmla="*/ 1514 h 2521"/>
                <a:gd name="T92" fmla="*/ 124 w 2514"/>
                <a:gd name="T93" fmla="*/ 1806 h 2521"/>
                <a:gd name="T94" fmla="*/ 287 w 2514"/>
                <a:gd name="T95" fmla="*/ 2062 h 2521"/>
                <a:gd name="T96" fmla="*/ 506 w 2514"/>
                <a:gd name="T97" fmla="*/ 2270 h 2521"/>
                <a:gd name="T98" fmla="*/ 768 w 2514"/>
                <a:gd name="T99" fmla="*/ 2422 h 2521"/>
                <a:gd name="T100" fmla="*/ 1066 w 2514"/>
                <a:gd name="T101" fmla="*/ 2507 h 2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14" h="2521">
                  <a:moveTo>
                    <a:pt x="1257" y="504"/>
                  </a:moveTo>
                  <a:lnTo>
                    <a:pt x="1296" y="505"/>
                  </a:lnTo>
                  <a:lnTo>
                    <a:pt x="1334" y="508"/>
                  </a:lnTo>
                  <a:lnTo>
                    <a:pt x="1372" y="513"/>
                  </a:lnTo>
                  <a:lnTo>
                    <a:pt x="1409" y="519"/>
                  </a:lnTo>
                  <a:lnTo>
                    <a:pt x="1446" y="528"/>
                  </a:lnTo>
                  <a:lnTo>
                    <a:pt x="1481" y="538"/>
                  </a:lnTo>
                  <a:lnTo>
                    <a:pt x="1517" y="551"/>
                  </a:lnTo>
                  <a:lnTo>
                    <a:pt x="1551" y="564"/>
                  </a:lnTo>
                  <a:lnTo>
                    <a:pt x="1584" y="579"/>
                  </a:lnTo>
                  <a:lnTo>
                    <a:pt x="1617" y="596"/>
                  </a:lnTo>
                  <a:lnTo>
                    <a:pt x="1648" y="614"/>
                  </a:lnTo>
                  <a:lnTo>
                    <a:pt x="1679" y="633"/>
                  </a:lnTo>
                  <a:lnTo>
                    <a:pt x="1709" y="654"/>
                  </a:lnTo>
                  <a:lnTo>
                    <a:pt x="1737" y="677"/>
                  </a:lnTo>
                  <a:lnTo>
                    <a:pt x="1765" y="701"/>
                  </a:lnTo>
                  <a:lnTo>
                    <a:pt x="1791" y="726"/>
                  </a:lnTo>
                  <a:lnTo>
                    <a:pt x="1815" y="752"/>
                  </a:lnTo>
                  <a:lnTo>
                    <a:pt x="1839" y="779"/>
                  </a:lnTo>
                  <a:lnTo>
                    <a:pt x="1862" y="808"/>
                  </a:lnTo>
                  <a:lnTo>
                    <a:pt x="1883" y="838"/>
                  </a:lnTo>
                  <a:lnTo>
                    <a:pt x="1903" y="868"/>
                  </a:lnTo>
                  <a:lnTo>
                    <a:pt x="1921" y="900"/>
                  </a:lnTo>
                  <a:lnTo>
                    <a:pt x="1937" y="933"/>
                  </a:lnTo>
                  <a:lnTo>
                    <a:pt x="1952" y="966"/>
                  </a:lnTo>
                  <a:lnTo>
                    <a:pt x="1966" y="1000"/>
                  </a:lnTo>
                  <a:lnTo>
                    <a:pt x="1977" y="1035"/>
                  </a:lnTo>
                  <a:lnTo>
                    <a:pt x="1988" y="1072"/>
                  </a:lnTo>
                  <a:lnTo>
                    <a:pt x="1996" y="1108"/>
                  </a:lnTo>
                  <a:lnTo>
                    <a:pt x="2002" y="1145"/>
                  </a:lnTo>
                  <a:lnTo>
                    <a:pt x="2007" y="1183"/>
                  </a:lnTo>
                  <a:lnTo>
                    <a:pt x="2010" y="1221"/>
                  </a:lnTo>
                  <a:lnTo>
                    <a:pt x="2011" y="1260"/>
                  </a:lnTo>
                  <a:lnTo>
                    <a:pt x="2010" y="1300"/>
                  </a:lnTo>
                  <a:lnTo>
                    <a:pt x="2007" y="1338"/>
                  </a:lnTo>
                  <a:lnTo>
                    <a:pt x="2002" y="1375"/>
                  </a:lnTo>
                  <a:lnTo>
                    <a:pt x="1996" y="1413"/>
                  </a:lnTo>
                  <a:lnTo>
                    <a:pt x="1988" y="1449"/>
                  </a:lnTo>
                  <a:lnTo>
                    <a:pt x="1977" y="1485"/>
                  </a:lnTo>
                  <a:lnTo>
                    <a:pt x="1966" y="1520"/>
                  </a:lnTo>
                  <a:lnTo>
                    <a:pt x="1952" y="1555"/>
                  </a:lnTo>
                  <a:lnTo>
                    <a:pt x="1937" y="1588"/>
                  </a:lnTo>
                  <a:lnTo>
                    <a:pt x="1921" y="1620"/>
                  </a:lnTo>
                  <a:lnTo>
                    <a:pt x="1903" y="1653"/>
                  </a:lnTo>
                  <a:lnTo>
                    <a:pt x="1883" y="1683"/>
                  </a:lnTo>
                  <a:lnTo>
                    <a:pt x="1862" y="1713"/>
                  </a:lnTo>
                  <a:lnTo>
                    <a:pt x="1839" y="1741"/>
                  </a:lnTo>
                  <a:lnTo>
                    <a:pt x="1815" y="1768"/>
                  </a:lnTo>
                  <a:lnTo>
                    <a:pt x="1791" y="1795"/>
                  </a:lnTo>
                  <a:lnTo>
                    <a:pt x="1765" y="1820"/>
                  </a:lnTo>
                  <a:lnTo>
                    <a:pt x="1737" y="1844"/>
                  </a:lnTo>
                  <a:lnTo>
                    <a:pt x="1709" y="1866"/>
                  </a:lnTo>
                  <a:lnTo>
                    <a:pt x="1679" y="1887"/>
                  </a:lnTo>
                  <a:lnTo>
                    <a:pt x="1648" y="1907"/>
                  </a:lnTo>
                  <a:lnTo>
                    <a:pt x="1617" y="1925"/>
                  </a:lnTo>
                  <a:lnTo>
                    <a:pt x="1584" y="1942"/>
                  </a:lnTo>
                  <a:lnTo>
                    <a:pt x="1551" y="1957"/>
                  </a:lnTo>
                  <a:lnTo>
                    <a:pt x="1517" y="1970"/>
                  </a:lnTo>
                  <a:lnTo>
                    <a:pt x="1481" y="1982"/>
                  </a:lnTo>
                  <a:lnTo>
                    <a:pt x="1446" y="1992"/>
                  </a:lnTo>
                  <a:lnTo>
                    <a:pt x="1409" y="2001"/>
                  </a:lnTo>
                  <a:lnTo>
                    <a:pt x="1372" y="2007"/>
                  </a:lnTo>
                  <a:lnTo>
                    <a:pt x="1334" y="2012"/>
                  </a:lnTo>
                  <a:lnTo>
                    <a:pt x="1296" y="2015"/>
                  </a:lnTo>
                  <a:lnTo>
                    <a:pt x="1257" y="2017"/>
                  </a:lnTo>
                  <a:lnTo>
                    <a:pt x="1219" y="2015"/>
                  </a:lnTo>
                  <a:lnTo>
                    <a:pt x="1180" y="2012"/>
                  </a:lnTo>
                  <a:lnTo>
                    <a:pt x="1142" y="2007"/>
                  </a:lnTo>
                  <a:lnTo>
                    <a:pt x="1105" y="2001"/>
                  </a:lnTo>
                  <a:lnTo>
                    <a:pt x="1069" y="1992"/>
                  </a:lnTo>
                  <a:lnTo>
                    <a:pt x="1033" y="1982"/>
                  </a:lnTo>
                  <a:lnTo>
                    <a:pt x="997" y="1970"/>
                  </a:lnTo>
                  <a:lnTo>
                    <a:pt x="963" y="1957"/>
                  </a:lnTo>
                  <a:lnTo>
                    <a:pt x="930" y="1942"/>
                  </a:lnTo>
                  <a:lnTo>
                    <a:pt x="897" y="1925"/>
                  </a:lnTo>
                  <a:lnTo>
                    <a:pt x="866" y="1907"/>
                  </a:lnTo>
                  <a:lnTo>
                    <a:pt x="835" y="1887"/>
                  </a:lnTo>
                  <a:lnTo>
                    <a:pt x="805" y="1866"/>
                  </a:lnTo>
                  <a:lnTo>
                    <a:pt x="777" y="1844"/>
                  </a:lnTo>
                  <a:lnTo>
                    <a:pt x="750" y="1820"/>
                  </a:lnTo>
                  <a:lnTo>
                    <a:pt x="724" y="1795"/>
                  </a:lnTo>
                  <a:lnTo>
                    <a:pt x="699" y="1768"/>
                  </a:lnTo>
                  <a:lnTo>
                    <a:pt x="675" y="1741"/>
                  </a:lnTo>
                  <a:lnTo>
                    <a:pt x="652" y="1713"/>
                  </a:lnTo>
                  <a:lnTo>
                    <a:pt x="631" y="1683"/>
                  </a:lnTo>
                  <a:lnTo>
                    <a:pt x="612" y="1653"/>
                  </a:lnTo>
                  <a:lnTo>
                    <a:pt x="594" y="1620"/>
                  </a:lnTo>
                  <a:lnTo>
                    <a:pt x="577" y="1588"/>
                  </a:lnTo>
                  <a:lnTo>
                    <a:pt x="562" y="1555"/>
                  </a:lnTo>
                  <a:lnTo>
                    <a:pt x="549" y="1520"/>
                  </a:lnTo>
                  <a:lnTo>
                    <a:pt x="537" y="1485"/>
                  </a:lnTo>
                  <a:lnTo>
                    <a:pt x="527" y="1449"/>
                  </a:lnTo>
                  <a:lnTo>
                    <a:pt x="518" y="1413"/>
                  </a:lnTo>
                  <a:lnTo>
                    <a:pt x="512" y="1375"/>
                  </a:lnTo>
                  <a:lnTo>
                    <a:pt x="507" y="1338"/>
                  </a:lnTo>
                  <a:lnTo>
                    <a:pt x="504" y="1300"/>
                  </a:lnTo>
                  <a:lnTo>
                    <a:pt x="503" y="1260"/>
                  </a:lnTo>
                  <a:lnTo>
                    <a:pt x="504" y="1221"/>
                  </a:lnTo>
                  <a:lnTo>
                    <a:pt x="507" y="1183"/>
                  </a:lnTo>
                  <a:lnTo>
                    <a:pt x="512" y="1145"/>
                  </a:lnTo>
                  <a:lnTo>
                    <a:pt x="518" y="1108"/>
                  </a:lnTo>
                  <a:lnTo>
                    <a:pt x="527" y="1072"/>
                  </a:lnTo>
                  <a:lnTo>
                    <a:pt x="537" y="1035"/>
                  </a:lnTo>
                  <a:lnTo>
                    <a:pt x="549" y="1000"/>
                  </a:lnTo>
                  <a:lnTo>
                    <a:pt x="562" y="966"/>
                  </a:lnTo>
                  <a:lnTo>
                    <a:pt x="577" y="933"/>
                  </a:lnTo>
                  <a:lnTo>
                    <a:pt x="594" y="900"/>
                  </a:lnTo>
                  <a:lnTo>
                    <a:pt x="612" y="868"/>
                  </a:lnTo>
                  <a:lnTo>
                    <a:pt x="631" y="838"/>
                  </a:lnTo>
                  <a:lnTo>
                    <a:pt x="652" y="808"/>
                  </a:lnTo>
                  <a:lnTo>
                    <a:pt x="675" y="779"/>
                  </a:lnTo>
                  <a:lnTo>
                    <a:pt x="699" y="752"/>
                  </a:lnTo>
                  <a:lnTo>
                    <a:pt x="724" y="726"/>
                  </a:lnTo>
                  <a:lnTo>
                    <a:pt x="750" y="701"/>
                  </a:lnTo>
                  <a:lnTo>
                    <a:pt x="777" y="677"/>
                  </a:lnTo>
                  <a:lnTo>
                    <a:pt x="805" y="654"/>
                  </a:lnTo>
                  <a:lnTo>
                    <a:pt x="835" y="633"/>
                  </a:lnTo>
                  <a:lnTo>
                    <a:pt x="866" y="614"/>
                  </a:lnTo>
                  <a:lnTo>
                    <a:pt x="897" y="596"/>
                  </a:lnTo>
                  <a:lnTo>
                    <a:pt x="930" y="579"/>
                  </a:lnTo>
                  <a:lnTo>
                    <a:pt x="963" y="564"/>
                  </a:lnTo>
                  <a:lnTo>
                    <a:pt x="997" y="551"/>
                  </a:lnTo>
                  <a:lnTo>
                    <a:pt x="1033" y="538"/>
                  </a:lnTo>
                  <a:lnTo>
                    <a:pt x="1069" y="528"/>
                  </a:lnTo>
                  <a:lnTo>
                    <a:pt x="1105" y="519"/>
                  </a:lnTo>
                  <a:lnTo>
                    <a:pt x="1142" y="513"/>
                  </a:lnTo>
                  <a:lnTo>
                    <a:pt x="1180" y="508"/>
                  </a:lnTo>
                  <a:lnTo>
                    <a:pt x="1219" y="505"/>
                  </a:lnTo>
                  <a:lnTo>
                    <a:pt x="1257" y="504"/>
                  </a:lnTo>
                  <a:close/>
                  <a:moveTo>
                    <a:pt x="1257" y="2521"/>
                  </a:moveTo>
                  <a:lnTo>
                    <a:pt x="1321" y="2519"/>
                  </a:lnTo>
                  <a:lnTo>
                    <a:pt x="1386" y="2515"/>
                  </a:lnTo>
                  <a:lnTo>
                    <a:pt x="1448" y="2507"/>
                  </a:lnTo>
                  <a:lnTo>
                    <a:pt x="1510" y="2495"/>
                  </a:lnTo>
                  <a:lnTo>
                    <a:pt x="1571" y="2481"/>
                  </a:lnTo>
                  <a:lnTo>
                    <a:pt x="1630" y="2464"/>
                  </a:lnTo>
                  <a:lnTo>
                    <a:pt x="1689" y="2444"/>
                  </a:lnTo>
                  <a:lnTo>
                    <a:pt x="1746" y="2422"/>
                  </a:lnTo>
                  <a:lnTo>
                    <a:pt x="1801" y="2396"/>
                  </a:lnTo>
                  <a:lnTo>
                    <a:pt x="1856" y="2368"/>
                  </a:lnTo>
                  <a:lnTo>
                    <a:pt x="1909" y="2338"/>
                  </a:lnTo>
                  <a:lnTo>
                    <a:pt x="1959" y="2305"/>
                  </a:lnTo>
                  <a:lnTo>
                    <a:pt x="2008" y="2270"/>
                  </a:lnTo>
                  <a:lnTo>
                    <a:pt x="2057" y="2232"/>
                  </a:lnTo>
                  <a:lnTo>
                    <a:pt x="2102" y="2193"/>
                  </a:lnTo>
                  <a:lnTo>
                    <a:pt x="2145" y="2151"/>
                  </a:lnTo>
                  <a:lnTo>
                    <a:pt x="2187" y="2107"/>
                  </a:lnTo>
                  <a:lnTo>
                    <a:pt x="2227" y="2062"/>
                  </a:lnTo>
                  <a:lnTo>
                    <a:pt x="2264" y="2013"/>
                  </a:lnTo>
                  <a:lnTo>
                    <a:pt x="2299" y="1964"/>
                  </a:lnTo>
                  <a:lnTo>
                    <a:pt x="2332" y="1914"/>
                  </a:lnTo>
                  <a:lnTo>
                    <a:pt x="2363" y="1860"/>
                  </a:lnTo>
                  <a:lnTo>
                    <a:pt x="2391" y="1806"/>
                  </a:lnTo>
                  <a:lnTo>
                    <a:pt x="2416" y="1750"/>
                  </a:lnTo>
                  <a:lnTo>
                    <a:pt x="2438" y="1693"/>
                  </a:lnTo>
                  <a:lnTo>
                    <a:pt x="2458" y="1634"/>
                  </a:lnTo>
                  <a:lnTo>
                    <a:pt x="2475" y="1575"/>
                  </a:lnTo>
                  <a:lnTo>
                    <a:pt x="2489" y="1514"/>
                  </a:lnTo>
                  <a:lnTo>
                    <a:pt x="2500" y="1452"/>
                  </a:lnTo>
                  <a:lnTo>
                    <a:pt x="2508" y="1389"/>
                  </a:lnTo>
                  <a:lnTo>
                    <a:pt x="2512" y="1325"/>
                  </a:lnTo>
                  <a:lnTo>
                    <a:pt x="2514" y="1260"/>
                  </a:lnTo>
                  <a:lnTo>
                    <a:pt x="2512" y="1196"/>
                  </a:lnTo>
                  <a:lnTo>
                    <a:pt x="2508" y="1131"/>
                  </a:lnTo>
                  <a:lnTo>
                    <a:pt x="2500" y="1069"/>
                  </a:lnTo>
                  <a:lnTo>
                    <a:pt x="2489" y="1006"/>
                  </a:lnTo>
                  <a:lnTo>
                    <a:pt x="2475" y="946"/>
                  </a:lnTo>
                  <a:lnTo>
                    <a:pt x="2458" y="886"/>
                  </a:lnTo>
                  <a:lnTo>
                    <a:pt x="2438" y="828"/>
                  </a:lnTo>
                  <a:lnTo>
                    <a:pt x="2416" y="770"/>
                  </a:lnTo>
                  <a:lnTo>
                    <a:pt x="2391" y="714"/>
                  </a:lnTo>
                  <a:lnTo>
                    <a:pt x="2363" y="659"/>
                  </a:lnTo>
                  <a:lnTo>
                    <a:pt x="2332" y="607"/>
                  </a:lnTo>
                  <a:lnTo>
                    <a:pt x="2299" y="556"/>
                  </a:lnTo>
                  <a:lnTo>
                    <a:pt x="2264" y="506"/>
                  </a:lnTo>
                  <a:lnTo>
                    <a:pt x="2227" y="459"/>
                  </a:lnTo>
                  <a:lnTo>
                    <a:pt x="2187" y="413"/>
                  </a:lnTo>
                  <a:lnTo>
                    <a:pt x="2145" y="369"/>
                  </a:lnTo>
                  <a:lnTo>
                    <a:pt x="2102" y="328"/>
                  </a:lnTo>
                  <a:lnTo>
                    <a:pt x="2057" y="288"/>
                  </a:lnTo>
                  <a:lnTo>
                    <a:pt x="2008" y="251"/>
                  </a:lnTo>
                  <a:lnTo>
                    <a:pt x="1959" y="216"/>
                  </a:lnTo>
                  <a:lnTo>
                    <a:pt x="1909" y="182"/>
                  </a:lnTo>
                  <a:lnTo>
                    <a:pt x="1856" y="152"/>
                  </a:lnTo>
                  <a:lnTo>
                    <a:pt x="1801" y="124"/>
                  </a:lnTo>
                  <a:lnTo>
                    <a:pt x="1746" y="99"/>
                  </a:lnTo>
                  <a:lnTo>
                    <a:pt x="1689" y="77"/>
                  </a:lnTo>
                  <a:lnTo>
                    <a:pt x="1630" y="56"/>
                  </a:lnTo>
                  <a:lnTo>
                    <a:pt x="1571" y="39"/>
                  </a:lnTo>
                  <a:lnTo>
                    <a:pt x="1510" y="25"/>
                  </a:lnTo>
                  <a:lnTo>
                    <a:pt x="1448" y="14"/>
                  </a:lnTo>
                  <a:lnTo>
                    <a:pt x="1386" y="6"/>
                  </a:lnTo>
                  <a:lnTo>
                    <a:pt x="1321" y="2"/>
                  </a:lnTo>
                  <a:lnTo>
                    <a:pt x="1257" y="0"/>
                  </a:lnTo>
                  <a:lnTo>
                    <a:pt x="1193" y="2"/>
                  </a:lnTo>
                  <a:lnTo>
                    <a:pt x="1129" y="6"/>
                  </a:lnTo>
                  <a:lnTo>
                    <a:pt x="1066" y="14"/>
                  </a:lnTo>
                  <a:lnTo>
                    <a:pt x="1004" y="25"/>
                  </a:lnTo>
                  <a:lnTo>
                    <a:pt x="943" y="39"/>
                  </a:lnTo>
                  <a:lnTo>
                    <a:pt x="884" y="56"/>
                  </a:lnTo>
                  <a:lnTo>
                    <a:pt x="825" y="77"/>
                  </a:lnTo>
                  <a:lnTo>
                    <a:pt x="768" y="99"/>
                  </a:lnTo>
                  <a:lnTo>
                    <a:pt x="713" y="124"/>
                  </a:lnTo>
                  <a:lnTo>
                    <a:pt x="658" y="152"/>
                  </a:lnTo>
                  <a:lnTo>
                    <a:pt x="606" y="182"/>
                  </a:lnTo>
                  <a:lnTo>
                    <a:pt x="555" y="216"/>
                  </a:lnTo>
                  <a:lnTo>
                    <a:pt x="506" y="251"/>
                  </a:lnTo>
                  <a:lnTo>
                    <a:pt x="458" y="288"/>
                  </a:lnTo>
                  <a:lnTo>
                    <a:pt x="412" y="328"/>
                  </a:lnTo>
                  <a:lnTo>
                    <a:pt x="369" y="369"/>
                  </a:lnTo>
                  <a:lnTo>
                    <a:pt x="326" y="413"/>
                  </a:lnTo>
                  <a:lnTo>
                    <a:pt x="287" y="459"/>
                  </a:lnTo>
                  <a:lnTo>
                    <a:pt x="250" y="506"/>
                  </a:lnTo>
                  <a:lnTo>
                    <a:pt x="215" y="556"/>
                  </a:lnTo>
                  <a:lnTo>
                    <a:pt x="182" y="607"/>
                  </a:lnTo>
                  <a:lnTo>
                    <a:pt x="151" y="659"/>
                  </a:lnTo>
                  <a:lnTo>
                    <a:pt x="124" y="714"/>
                  </a:lnTo>
                  <a:lnTo>
                    <a:pt x="99" y="770"/>
                  </a:lnTo>
                  <a:lnTo>
                    <a:pt x="76" y="828"/>
                  </a:lnTo>
                  <a:lnTo>
                    <a:pt x="57" y="886"/>
                  </a:lnTo>
                  <a:lnTo>
                    <a:pt x="40" y="946"/>
                  </a:lnTo>
                  <a:lnTo>
                    <a:pt x="26" y="1006"/>
                  </a:lnTo>
                  <a:lnTo>
                    <a:pt x="15" y="1069"/>
                  </a:lnTo>
                  <a:lnTo>
                    <a:pt x="7" y="1131"/>
                  </a:lnTo>
                  <a:lnTo>
                    <a:pt x="2" y="1196"/>
                  </a:lnTo>
                  <a:lnTo>
                    <a:pt x="0" y="1260"/>
                  </a:lnTo>
                  <a:lnTo>
                    <a:pt x="2" y="1325"/>
                  </a:lnTo>
                  <a:lnTo>
                    <a:pt x="7" y="1389"/>
                  </a:lnTo>
                  <a:lnTo>
                    <a:pt x="15" y="1452"/>
                  </a:lnTo>
                  <a:lnTo>
                    <a:pt x="26" y="1514"/>
                  </a:lnTo>
                  <a:lnTo>
                    <a:pt x="40" y="1575"/>
                  </a:lnTo>
                  <a:lnTo>
                    <a:pt x="57" y="1634"/>
                  </a:lnTo>
                  <a:lnTo>
                    <a:pt x="76" y="1693"/>
                  </a:lnTo>
                  <a:lnTo>
                    <a:pt x="99" y="1750"/>
                  </a:lnTo>
                  <a:lnTo>
                    <a:pt x="124" y="1806"/>
                  </a:lnTo>
                  <a:lnTo>
                    <a:pt x="151" y="1860"/>
                  </a:lnTo>
                  <a:lnTo>
                    <a:pt x="182" y="1914"/>
                  </a:lnTo>
                  <a:lnTo>
                    <a:pt x="215" y="1964"/>
                  </a:lnTo>
                  <a:lnTo>
                    <a:pt x="250" y="2013"/>
                  </a:lnTo>
                  <a:lnTo>
                    <a:pt x="287" y="2062"/>
                  </a:lnTo>
                  <a:lnTo>
                    <a:pt x="326" y="2107"/>
                  </a:lnTo>
                  <a:lnTo>
                    <a:pt x="369" y="2151"/>
                  </a:lnTo>
                  <a:lnTo>
                    <a:pt x="412" y="2193"/>
                  </a:lnTo>
                  <a:lnTo>
                    <a:pt x="458" y="2232"/>
                  </a:lnTo>
                  <a:lnTo>
                    <a:pt x="506" y="2270"/>
                  </a:lnTo>
                  <a:lnTo>
                    <a:pt x="555" y="2305"/>
                  </a:lnTo>
                  <a:lnTo>
                    <a:pt x="606" y="2338"/>
                  </a:lnTo>
                  <a:lnTo>
                    <a:pt x="658" y="2368"/>
                  </a:lnTo>
                  <a:lnTo>
                    <a:pt x="713" y="2396"/>
                  </a:lnTo>
                  <a:lnTo>
                    <a:pt x="768" y="2422"/>
                  </a:lnTo>
                  <a:lnTo>
                    <a:pt x="825" y="2444"/>
                  </a:lnTo>
                  <a:lnTo>
                    <a:pt x="884" y="2464"/>
                  </a:lnTo>
                  <a:lnTo>
                    <a:pt x="943" y="2481"/>
                  </a:lnTo>
                  <a:lnTo>
                    <a:pt x="1004" y="2495"/>
                  </a:lnTo>
                  <a:lnTo>
                    <a:pt x="1066" y="2507"/>
                  </a:lnTo>
                  <a:lnTo>
                    <a:pt x="1129" y="2515"/>
                  </a:lnTo>
                  <a:lnTo>
                    <a:pt x="1193" y="2519"/>
                  </a:lnTo>
                  <a:lnTo>
                    <a:pt x="1257" y="25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27" name="îsļïdé">
              <a:extLst>
                <a:ext uri="{FF2B5EF4-FFF2-40B4-BE49-F238E27FC236}">
                  <a16:creationId xmlns:a16="http://schemas.microsoft.com/office/drawing/2014/main" id="{79C55524-CE16-4C78-B87B-26D78E822D96}"/>
                </a:ext>
              </a:extLst>
            </p:cNvPr>
            <p:cNvSpPr/>
            <p:nvPr/>
          </p:nvSpPr>
          <p:spPr bwMode="auto">
            <a:xfrm>
              <a:off x="10935651" y="1108935"/>
              <a:ext cx="76924" cy="76924"/>
            </a:xfrm>
            <a:custGeom>
              <a:avLst/>
              <a:gdLst>
                <a:gd name="T0" fmla="*/ 1106 w 2515"/>
                <a:gd name="T1" fmla="*/ 2001 h 2521"/>
                <a:gd name="T2" fmla="*/ 931 w 2515"/>
                <a:gd name="T3" fmla="*/ 1942 h 2521"/>
                <a:gd name="T4" fmla="*/ 778 w 2515"/>
                <a:gd name="T5" fmla="*/ 1844 h 2521"/>
                <a:gd name="T6" fmla="*/ 653 w 2515"/>
                <a:gd name="T7" fmla="*/ 1713 h 2521"/>
                <a:gd name="T8" fmla="*/ 562 w 2515"/>
                <a:gd name="T9" fmla="*/ 1555 h 2521"/>
                <a:gd name="T10" fmla="*/ 512 w 2515"/>
                <a:gd name="T11" fmla="*/ 1375 h 2521"/>
                <a:gd name="T12" fmla="*/ 507 w 2515"/>
                <a:gd name="T13" fmla="*/ 1183 h 2521"/>
                <a:gd name="T14" fmla="*/ 548 w 2515"/>
                <a:gd name="T15" fmla="*/ 1000 h 2521"/>
                <a:gd name="T16" fmla="*/ 632 w 2515"/>
                <a:gd name="T17" fmla="*/ 838 h 2521"/>
                <a:gd name="T18" fmla="*/ 751 w 2515"/>
                <a:gd name="T19" fmla="*/ 701 h 2521"/>
                <a:gd name="T20" fmla="*/ 897 w 2515"/>
                <a:gd name="T21" fmla="*/ 596 h 2521"/>
                <a:gd name="T22" fmla="*/ 1068 w 2515"/>
                <a:gd name="T23" fmla="*/ 528 h 2521"/>
                <a:gd name="T24" fmla="*/ 1258 w 2515"/>
                <a:gd name="T25" fmla="*/ 504 h 2521"/>
                <a:gd name="T26" fmla="*/ 1447 w 2515"/>
                <a:gd name="T27" fmla="*/ 528 h 2521"/>
                <a:gd name="T28" fmla="*/ 1618 w 2515"/>
                <a:gd name="T29" fmla="*/ 596 h 2521"/>
                <a:gd name="T30" fmla="*/ 1765 w 2515"/>
                <a:gd name="T31" fmla="*/ 701 h 2521"/>
                <a:gd name="T32" fmla="*/ 1883 w 2515"/>
                <a:gd name="T33" fmla="*/ 838 h 2521"/>
                <a:gd name="T34" fmla="*/ 1967 w 2515"/>
                <a:gd name="T35" fmla="*/ 1000 h 2521"/>
                <a:gd name="T36" fmla="*/ 2008 w 2515"/>
                <a:gd name="T37" fmla="*/ 1183 h 2521"/>
                <a:gd name="T38" fmla="*/ 2003 w 2515"/>
                <a:gd name="T39" fmla="*/ 1375 h 2521"/>
                <a:gd name="T40" fmla="*/ 1953 w 2515"/>
                <a:gd name="T41" fmla="*/ 1555 h 2521"/>
                <a:gd name="T42" fmla="*/ 1862 w 2515"/>
                <a:gd name="T43" fmla="*/ 1713 h 2521"/>
                <a:gd name="T44" fmla="*/ 1737 w 2515"/>
                <a:gd name="T45" fmla="*/ 1844 h 2521"/>
                <a:gd name="T46" fmla="*/ 1585 w 2515"/>
                <a:gd name="T47" fmla="*/ 1942 h 2521"/>
                <a:gd name="T48" fmla="*/ 1409 w 2515"/>
                <a:gd name="T49" fmla="*/ 2001 h 2521"/>
                <a:gd name="T50" fmla="*/ 1258 w 2515"/>
                <a:gd name="T51" fmla="*/ 0 h 2521"/>
                <a:gd name="T52" fmla="*/ 944 w 2515"/>
                <a:gd name="T53" fmla="*/ 39 h 2521"/>
                <a:gd name="T54" fmla="*/ 659 w 2515"/>
                <a:gd name="T55" fmla="*/ 152 h 2521"/>
                <a:gd name="T56" fmla="*/ 413 w 2515"/>
                <a:gd name="T57" fmla="*/ 328 h 2521"/>
                <a:gd name="T58" fmla="*/ 215 w 2515"/>
                <a:gd name="T59" fmla="*/ 556 h 2521"/>
                <a:gd name="T60" fmla="*/ 77 w 2515"/>
                <a:gd name="T61" fmla="*/ 827 h 2521"/>
                <a:gd name="T62" fmla="*/ 7 w 2515"/>
                <a:gd name="T63" fmla="*/ 1131 h 2521"/>
                <a:gd name="T64" fmla="*/ 14 w 2515"/>
                <a:gd name="T65" fmla="*/ 1452 h 2521"/>
                <a:gd name="T66" fmla="*/ 99 w 2515"/>
                <a:gd name="T67" fmla="*/ 1750 h 2521"/>
                <a:gd name="T68" fmla="*/ 251 w 2515"/>
                <a:gd name="T69" fmla="*/ 2014 h 2521"/>
                <a:gd name="T70" fmla="*/ 458 w 2515"/>
                <a:gd name="T71" fmla="*/ 2232 h 2521"/>
                <a:gd name="T72" fmla="*/ 713 w 2515"/>
                <a:gd name="T73" fmla="*/ 2397 h 2521"/>
                <a:gd name="T74" fmla="*/ 1004 w 2515"/>
                <a:gd name="T75" fmla="*/ 2495 h 2521"/>
                <a:gd name="T76" fmla="*/ 1322 w 2515"/>
                <a:gd name="T77" fmla="*/ 2519 h 2521"/>
                <a:gd name="T78" fmla="*/ 1631 w 2515"/>
                <a:gd name="T79" fmla="*/ 2464 h 2521"/>
                <a:gd name="T80" fmla="*/ 1908 w 2515"/>
                <a:gd name="T81" fmla="*/ 2338 h 2521"/>
                <a:gd name="T82" fmla="*/ 2146 w 2515"/>
                <a:gd name="T83" fmla="*/ 2152 h 2521"/>
                <a:gd name="T84" fmla="*/ 2333 w 2515"/>
                <a:gd name="T85" fmla="*/ 1914 h 2521"/>
                <a:gd name="T86" fmla="*/ 2459 w 2515"/>
                <a:gd name="T87" fmla="*/ 1634 h 2521"/>
                <a:gd name="T88" fmla="*/ 2513 w 2515"/>
                <a:gd name="T89" fmla="*/ 1325 h 2521"/>
                <a:gd name="T90" fmla="*/ 2490 w 2515"/>
                <a:gd name="T91" fmla="*/ 1006 h 2521"/>
                <a:gd name="T92" fmla="*/ 2390 w 2515"/>
                <a:gd name="T93" fmla="*/ 714 h 2521"/>
                <a:gd name="T94" fmla="*/ 2227 w 2515"/>
                <a:gd name="T95" fmla="*/ 459 h 2521"/>
                <a:gd name="T96" fmla="*/ 2009 w 2515"/>
                <a:gd name="T97" fmla="*/ 251 h 2521"/>
                <a:gd name="T98" fmla="*/ 1746 w 2515"/>
                <a:gd name="T99" fmla="*/ 99 h 2521"/>
                <a:gd name="T100" fmla="*/ 1449 w 2515"/>
                <a:gd name="T101" fmla="*/ 14 h 2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15" h="2521">
                  <a:moveTo>
                    <a:pt x="1258" y="2017"/>
                  </a:moveTo>
                  <a:lnTo>
                    <a:pt x="1218" y="2015"/>
                  </a:lnTo>
                  <a:lnTo>
                    <a:pt x="1180" y="2012"/>
                  </a:lnTo>
                  <a:lnTo>
                    <a:pt x="1143" y="2007"/>
                  </a:lnTo>
                  <a:lnTo>
                    <a:pt x="1106" y="2001"/>
                  </a:lnTo>
                  <a:lnTo>
                    <a:pt x="1068" y="1992"/>
                  </a:lnTo>
                  <a:lnTo>
                    <a:pt x="1033" y="1982"/>
                  </a:lnTo>
                  <a:lnTo>
                    <a:pt x="998" y="1970"/>
                  </a:lnTo>
                  <a:lnTo>
                    <a:pt x="964" y="1957"/>
                  </a:lnTo>
                  <a:lnTo>
                    <a:pt x="931" y="1942"/>
                  </a:lnTo>
                  <a:lnTo>
                    <a:pt x="897" y="1925"/>
                  </a:lnTo>
                  <a:lnTo>
                    <a:pt x="866" y="1907"/>
                  </a:lnTo>
                  <a:lnTo>
                    <a:pt x="836" y="1887"/>
                  </a:lnTo>
                  <a:lnTo>
                    <a:pt x="806" y="1866"/>
                  </a:lnTo>
                  <a:lnTo>
                    <a:pt x="778" y="1844"/>
                  </a:lnTo>
                  <a:lnTo>
                    <a:pt x="751" y="1820"/>
                  </a:lnTo>
                  <a:lnTo>
                    <a:pt x="723" y="1795"/>
                  </a:lnTo>
                  <a:lnTo>
                    <a:pt x="699" y="1768"/>
                  </a:lnTo>
                  <a:lnTo>
                    <a:pt x="675" y="1741"/>
                  </a:lnTo>
                  <a:lnTo>
                    <a:pt x="653" y="1713"/>
                  </a:lnTo>
                  <a:lnTo>
                    <a:pt x="632" y="1683"/>
                  </a:lnTo>
                  <a:lnTo>
                    <a:pt x="612" y="1653"/>
                  </a:lnTo>
                  <a:lnTo>
                    <a:pt x="594" y="1620"/>
                  </a:lnTo>
                  <a:lnTo>
                    <a:pt x="578" y="1588"/>
                  </a:lnTo>
                  <a:lnTo>
                    <a:pt x="562" y="1555"/>
                  </a:lnTo>
                  <a:lnTo>
                    <a:pt x="548" y="1520"/>
                  </a:lnTo>
                  <a:lnTo>
                    <a:pt x="537" y="1485"/>
                  </a:lnTo>
                  <a:lnTo>
                    <a:pt x="527" y="1449"/>
                  </a:lnTo>
                  <a:lnTo>
                    <a:pt x="518" y="1413"/>
                  </a:lnTo>
                  <a:lnTo>
                    <a:pt x="512" y="1375"/>
                  </a:lnTo>
                  <a:lnTo>
                    <a:pt x="507" y="1338"/>
                  </a:lnTo>
                  <a:lnTo>
                    <a:pt x="504" y="1299"/>
                  </a:lnTo>
                  <a:lnTo>
                    <a:pt x="503" y="1260"/>
                  </a:lnTo>
                  <a:lnTo>
                    <a:pt x="504" y="1221"/>
                  </a:lnTo>
                  <a:lnTo>
                    <a:pt x="507" y="1183"/>
                  </a:lnTo>
                  <a:lnTo>
                    <a:pt x="512" y="1145"/>
                  </a:lnTo>
                  <a:lnTo>
                    <a:pt x="518" y="1108"/>
                  </a:lnTo>
                  <a:lnTo>
                    <a:pt x="527" y="1072"/>
                  </a:lnTo>
                  <a:lnTo>
                    <a:pt x="537" y="1035"/>
                  </a:lnTo>
                  <a:lnTo>
                    <a:pt x="548" y="1000"/>
                  </a:lnTo>
                  <a:lnTo>
                    <a:pt x="562" y="966"/>
                  </a:lnTo>
                  <a:lnTo>
                    <a:pt x="578" y="933"/>
                  </a:lnTo>
                  <a:lnTo>
                    <a:pt x="594" y="900"/>
                  </a:lnTo>
                  <a:lnTo>
                    <a:pt x="612" y="868"/>
                  </a:lnTo>
                  <a:lnTo>
                    <a:pt x="632" y="838"/>
                  </a:lnTo>
                  <a:lnTo>
                    <a:pt x="653" y="808"/>
                  </a:lnTo>
                  <a:lnTo>
                    <a:pt x="675" y="779"/>
                  </a:lnTo>
                  <a:lnTo>
                    <a:pt x="699" y="752"/>
                  </a:lnTo>
                  <a:lnTo>
                    <a:pt x="723" y="726"/>
                  </a:lnTo>
                  <a:lnTo>
                    <a:pt x="751" y="701"/>
                  </a:lnTo>
                  <a:lnTo>
                    <a:pt x="778" y="677"/>
                  </a:lnTo>
                  <a:lnTo>
                    <a:pt x="806" y="654"/>
                  </a:lnTo>
                  <a:lnTo>
                    <a:pt x="836" y="633"/>
                  </a:lnTo>
                  <a:lnTo>
                    <a:pt x="866" y="614"/>
                  </a:lnTo>
                  <a:lnTo>
                    <a:pt x="897" y="596"/>
                  </a:lnTo>
                  <a:lnTo>
                    <a:pt x="931" y="579"/>
                  </a:lnTo>
                  <a:lnTo>
                    <a:pt x="964" y="564"/>
                  </a:lnTo>
                  <a:lnTo>
                    <a:pt x="998" y="549"/>
                  </a:lnTo>
                  <a:lnTo>
                    <a:pt x="1033" y="538"/>
                  </a:lnTo>
                  <a:lnTo>
                    <a:pt x="1068" y="528"/>
                  </a:lnTo>
                  <a:lnTo>
                    <a:pt x="1106" y="519"/>
                  </a:lnTo>
                  <a:lnTo>
                    <a:pt x="1143" y="513"/>
                  </a:lnTo>
                  <a:lnTo>
                    <a:pt x="1180" y="508"/>
                  </a:lnTo>
                  <a:lnTo>
                    <a:pt x="1218" y="505"/>
                  </a:lnTo>
                  <a:lnTo>
                    <a:pt x="1258" y="504"/>
                  </a:lnTo>
                  <a:lnTo>
                    <a:pt x="1297" y="505"/>
                  </a:lnTo>
                  <a:lnTo>
                    <a:pt x="1335" y="508"/>
                  </a:lnTo>
                  <a:lnTo>
                    <a:pt x="1372" y="513"/>
                  </a:lnTo>
                  <a:lnTo>
                    <a:pt x="1409" y="519"/>
                  </a:lnTo>
                  <a:lnTo>
                    <a:pt x="1447" y="528"/>
                  </a:lnTo>
                  <a:lnTo>
                    <a:pt x="1482" y="538"/>
                  </a:lnTo>
                  <a:lnTo>
                    <a:pt x="1517" y="549"/>
                  </a:lnTo>
                  <a:lnTo>
                    <a:pt x="1551" y="564"/>
                  </a:lnTo>
                  <a:lnTo>
                    <a:pt x="1585" y="579"/>
                  </a:lnTo>
                  <a:lnTo>
                    <a:pt x="1618" y="596"/>
                  </a:lnTo>
                  <a:lnTo>
                    <a:pt x="1649" y="614"/>
                  </a:lnTo>
                  <a:lnTo>
                    <a:pt x="1679" y="633"/>
                  </a:lnTo>
                  <a:lnTo>
                    <a:pt x="1709" y="654"/>
                  </a:lnTo>
                  <a:lnTo>
                    <a:pt x="1737" y="677"/>
                  </a:lnTo>
                  <a:lnTo>
                    <a:pt x="1765" y="701"/>
                  </a:lnTo>
                  <a:lnTo>
                    <a:pt x="1791" y="726"/>
                  </a:lnTo>
                  <a:lnTo>
                    <a:pt x="1816" y="752"/>
                  </a:lnTo>
                  <a:lnTo>
                    <a:pt x="1840" y="779"/>
                  </a:lnTo>
                  <a:lnTo>
                    <a:pt x="1862" y="808"/>
                  </a:lnTo>
                  <a:lnTo>
                    <a:pt x="1883" y="838"/>
                  </a:lnTo>
                  <a:lnTo>
                    <a:pt x="1902" y="868"/>
                  </a:lnTo>
                  <a:lnTo>
                    <a:pt x="1920" y="900"/>
                  </a:lnTo>
                  <a:lnTo>
                    <a:pt x="1938" y="933"/>
                  </a:lnTo>
                  <a:lnTo>
                    <a:pt x="1953" y="966"/>
                  </a:lnTo>
                  <a:lnTo>
                    <a:pt x="1967" y="1000"/>
                  </a:lnTo>
                  <a:lnTo>
                    <a:pt x="1978" y="1035"/>
                  </a:lnTo>
                  <a:lnTo>
                    <a:pt x="1988" y="1072"/>
                  </a:lnTo>
                  <a:lnTo>
                    <a:pt x="1997" y="1108"/>
                  </a:lnTo>
                  <a:lnTo>
                    <a:pt x="2003" y="1145"/>
                  </a:lnTo>
                  <a:lnTo>
                    <a:pt x="2008" y="1183"/>
                  </a:lnTo>
                  <a:lnTo>
                    <a:pt x="2011" y="1221"/>
                  </a:lnTo>
                  <a:lnTo>
                    <a:pt x="2012" y="1260"/>
                  </a:lnTo>
                  <a:lnTo>
                    <a:pt x="2011" y="1299"/>
                  </a:lnTo>
                  <a:lnTo>
                    <a:pt x="2008" y="1338"/>
                  </a:lnTo>
                  <a:lnTo>
                    <a:pt x="2003" y="1375"/>
                  </a:lnTo>
                  <a:lnTo>
                    <a:pt x="1997" y="1413"/>
                  </a:lnTo>
                  <a:lnTo>
                    <a:pt x="1988" y="1449"/>
                  </a:lnTo>
                  <a:lnTo>
                    <a:pt x="1978" y="1485"/>
                  </a:lnTo>
                  <a:lnTo>
                    <a:pt x="1967" y="1520"/>
                  </a:lnTo>
                  <a:lnTo>
                    <a:pt x="1953" y="1555"/>
                  </a:lnTo>
                  <a:lnTo>
                    <a:pt x="1938" y="1588"/>
                  </a:lnTo>
                  <a:lnTo>
                    <a:pt x="1920" y="1620"/>
                  </a:lnTo>
                  <a:lnTo>
                    <a:pt x="1902" y="1653"/>
                  </a:lnTo>
                  <a:lnTo>
                    <a:pt x="1883" y="1683"/>
                  </a:lnTo>
                  <a:lnTo>
                    <a:pt x="1862" y="1713"/>
                  </a:lnTo>
                  <a:lnTo>
                    <a:pt x="1840" y="1741"/>
                  </a:lnTo>
                  <a:lnTo>
                    <a:pt x="1816" y="1768"/>
                  </a:lnTo>
                  <a:lnTo>
                    <a:pt x="1791" y="1795"/>
                  </a:lnTo>
                  <a:lnTo>
                    <a:pt x="1765" y="1820"/>
                  </a:lnTo>
                  <a:lnTo>
                    <a:pt x="1737" y="1844"/>
                  </a:lnTo>
                  <a:lnTo>
                    <a:pt x="1709" y="1866"/>
                  </a:lnTo>
                  <a:lnTo>
                    <a:pt x="1679" y="1887"/>
                  </a:lnTo>
                  <a:lnTo>
                    <a:pt x="1649" y="1907"/>
                  </a:lnTo>
                  <a:lnTo>
                    <a:pt x="1618" y="1925"/>
                  </a:lnTo>
                  <a:lnTo>
                    <a:pt x="1585" y="1942"/>
                  </a:lnTo>
                  <a:lnTo>
                    <a:pt x="1551" y="1957"/>
                  </a:lnTo>
                  <a:lnTo>
                    <a:pt x="1517" y="1970"/>
                  </a:lnTo>
                  <a:lnTo>
                    <a:pt x="1482" y="1982"/>
                  </a:lnTo>
                  <a:lnTo>
                    <a:pt x="1447" y="1992"/>
                  </a:lnTo>
                  <a:lnTo>
                    <a:pt x="1409" y="2001"/>
                  </a:lnTo>
                  <a:lnTo>
                    <a:pt x="1372" y="2007"/>
                  </a:lnTo>
                  <a:lnTo>
                    <a:pt x="1335" y="2012"/>
                  </a:lnTo>
                  <a:lnTo>
                    <a:pt x="1297" y="2015"/>
                  </a:lnTo>
                  <a:lnTo>
                    <a:pt x="1258" y="2017"/>
                  </a:lnTo>
                  <a:close/>
                  <a:moveTo>
                    <a:pt x="1258" y="0"/>
                  </a:moveTo>
                  <a:lnTo>
                    <a:pt x="1193" y="2"/>
                  </a:lnTo>
                  <a:lnTo>
                    <a:pt x="1129" y="6"/>
                  </a:lnTo>
                  <a:lnTo>
                    <a:pt x="1066" y="14"/>
                  </a:lnTo>
                  <a:lnTo>
                    <a:pt x="1004" y="25"/>
                  </a:lnTo>
                  <a:lnTo>
                    <a:pt x="944" y="39"/>
                  </a:lnTo>
                  <a:lnTo>
                    <a:pt x="884" y="56"/>
                  </a:lnTo>
                  <a:lnTo>
                    <a:pt x="826" y="77"/>
                  </a:lnTo>
                  <a:lnTo>
                    <a:pt x="769" y="99"/>
                  </a:lnTo>
                  <a:lnTo>
                    <a:pt x="713" y="124"/>
                  </a:lnTo>
                  <a:lnTo>
                    <a:pt x="659" y="152"/>
                  </a:lnTo>
                  <a:lnTo>
                    <a:pt x="606" y="182"/>
                  </a:lnTo>
                  <a:lnTo>
                    <a:pt x="555" y="216"/>
                  </a:lnTo>
                  <a:lnTo>
                    <a:pt x="506" y="251"/>
                  </a:lnTo>
                  <a:lnTo>
                    <a:pt x="458" y="288"/>
                  </a:lnTo>
                  <a:lnTo>
                    <a:pt x="413" y="328"/>
                  </a:lnTo>
                  <a:lnTo>
                    <a:pt x="369" y="369"/>
                  </a:lnTo>
                  <a:lnTo>
                    <a:pt x="327" y="413"/>
                  </a:lnTo>
                  <a:lnTo>
                    <a:pt x="288" y="459"/>
                  </a:lnTo>
                  <a:lnTo>
                    <a:pt x="251" y="506"/>
                  </a:lnTo>
                  <a:lnTo>
                    <a:pt x="215" y="556"/>
                  </a:lnTo>
                  <a:lnTo>
                    <a:pt x="182" y="607"/>
                  </a:lnTo>
                  <a:lnTo>
                    <a:pt x="152" y="659"/>
                  </a:lnTo>
                  <a:lnTo>
                    <a:pt x="124" y="714"/>
                  </a:lnTo>
                  <a:lnTo>
                    <a:pt x="99" y="770"/>
                  </a:lnTo>
                  <a:lnTo>
                    <a:pt x="77" y="827"/>
                  </a:lnTo>
                  <a:lnTo>
                    <a:pt x="56" y="886"/>
                  </a:lnTo>
                  <a:lnTo>
                    <a:pt x="39" y="946"/>
                  </a:lnTo>
                  <a:lnTo>
                    <a:pt x="25" y="1006"/>
                  </a:lnTo>
                  <a:lnTo>
                    <a:pt x="14" y="1069"/>
                  </a:lnTo>
                  <a:lnTo>
                    <a:pt x="7" y="1131"/>
                  </a:lnTo>
                  <a:lnTo>
                    <a:pt x="2" y="1196"/>
                  </a:lnTo>
                  <a:lnTo>
                    <a:pt x="0" y="1260"/>
                  </a:lnTo>
                  <a:lnTo>
                    <a:pt x="2" y="1325"/>
                  </a:lnTo>
                  <a:lnTo>
                    <a:pt x="7" y="1389"/>
                  </a:lnTo>
                  <a:lnTo>
                    <a:pt x="14" y="1452"/>
                  </a:lnTo>
                  <a:lnTo>
                    <a:pt x="25" y="1514"/>
                  </a:lnTo>
                  <a:lnTo>
                    <a:pt x="39" y="1575"/>
                  </a:lnTo>
                  <a:lnTo>
                    <a:pt x="56" y="1634"/>
                  </a:lnTo>
                  <a:lnTo>
                    <a:pt x="77" y="1693"/>
                  </a:lnTo>
                  <a:lnTo>
                    <a:pt x="99" y="1750"/>
                  </a:lnTo>
                  <a:lnTo>
                    <a:pt x="124" y="1806"/>
                  </a:lnTo>
                  <a:lnTo>
                    <a:pt x="152" y="1860"/>
                  </a:lnTo>
                  <a:lnTo>
                    <a:pt x="182" y="1914"/>
                  </a:lnTo>
                  <a:lnTo>
                    <a:pt x="215" y="1964"/>
                  </a:lnTo>
                  <a:lnTo>
                    <a:pt x="251" y="2014"/>
                  </a:lnTo>
                  <a:lnTo>
                    <a:pt x="288" y="2062"/>
                  </a:lnTo>
                  <a:lnTo>
                    <a:pt x="327" y="2107"/>
                  </a:lnTo>
                  <a:lnTo>
                    <a:pt x="369" y="2152"/>
                  </a:lnTo>
                  <a:lnTo>
                    <a:pt x="413" y="2193"/>
                  </a:lnTo>
                  <a:lnTo>
                    <a:pt x="458" y="2232"/>
                  </a:lnTo>
                  <a:lnTo>
                    <a:pt x="506" y="2270"/>
                  </a:lnTo>
                  <a:lnTo>
                    <a:pt x="555" y="2305"/>
                  </a:lnTo>
                  <a:lnTo>
                    <a:pt x="606" y="2338"/>
                  </a:lnTo>
                  <a:lnTo>
                    <a:pt x="659" y="2368"/>
                  </a:lnTo>
                  <a:lnTo>
                    <a:pt x="713" y="2397"/>
                  </a:lnTo>
                  <a:lnTo>
                    <a:pt x="769" y="2422"/>
                  </a:lnTo>
                  <a:lnTo>
                    <a:pt x="826" y="2444"/>
                  </a:lnTo>
                  <a:lnTo>
                    <a:pt x="884" y="2464"/>
                  </a:lnTo>
                  <a:lnTo>
                    <a:pt x="944" y="2481"/>
                  </a:lnTo>
                  <a:lnTo>
                    <a:pt x="1004" y="2495"/>
                  </a:lnTo>
                  <a:lnTo>
                    <a:pt x="1066" y="2507"/>
                  </a:lnTo>
                  <a:lnTo>
                    <a:pt x="1129" y="2515"/>
                  </a:lnTo>
                  <a:lnTo>
                    <a:pt x="1193" y="2519"/>
                  </a:lnTo>
                  <a:lnTo>
                    <a:pt x="1258" y="2521"/>
                  </a:lnTo>
                  <a:lnTo>
                    <a:pt x="1322" y="2519"/>
                  </a:lnTo>
                  <a:lnTo>
                    <a:pt x="1385" y="2515"/>
                  </a:lnTo>
                  <a:lnTo>
                    <a:pt x="1449" y="2507"/>
                  </a:lnTo>
                  <a:lnTo>
                    <a:pt x="1510" y="2495"/>
                  </a:lnTo>
                  <a:lnTo>
                    <a:pt x="1571" y="2481"/>
                  </a:lnTo>
                  <a:lnTo>
                    <a:pt x="1631" y="2464"/>
                  </a:lnTo>
                  <a:lnTo>
                    <a:pt x="1689" y="2444"/>
                  </a:lnTo>
                  <a:lnTo>
                    <a:pt x="1746" y="2422"/>
                  </a:lnTo>
                  <a:lnTo>
                    <a:pt x="1802" y="2397"/>
                  </a:lnTo>
                  <a:lnTo>
                    <a:pt x="1856" y="2368"/>
                  </a:lnTo>
                  <a:lnTo>
                    <a:pt x="1908" y="2338"/>
                  </a:lnTo>
                  <a:lnTo>
                    <a:pt x="1960" y="2305"/>
                  </a:lnTo>
                  <a:lnTo>
                    <a:pt x="2009" y="2270"/>
                  </a:lnTo>
                  <a:lnTo>
                    <a:pt x="2056" y="2232"/>
                  </a:lnTo>
                  <a:lnTo>
                    <a:pt x="2103" y="2193"/>
                  </a:lnTo>
                  <a:lnTo>
                    <a:pt x="2146" y="2152"/>
                  </a:lnTo>
                  <a:lnTo>
                    <a:pt x="2188" y="2107"/>
                  </a:lnTo>
                  <a:lnTo>
                    <a:pt x="2227" y="2062"/>
                  </a:lnTo>
                  <a:lnTo>
                    <a:pt x="2265" y="2014"/>
                  </a:lnTo>
                  <a:lnTo>
                    <a:pt x="2300" y="1964"/>
                  </a:lnTo>
                  <a:lnTo>
                    <a:pt x="2333" y="1914"/>
                  </a:lnTo>
                  <a:lnTo>
                    <a:pt x="2363" y="1860"/>
                  </a:lnTo>
                  <a:lnTo>
                    <a:pt x="2390" y="1806"/>
                  </a:lnTo>
                  <a:lnTo>
                    <a:pt x="2416" y="1750"/>
                  </a:lnTo>
                  <a:lnTo>
                    <a:pt x="2439" y="1693"/>
                  </a:lnTo>
                  <a:lnTo>
                    <a:pt x="2459" y="1634"/>
                  </a:lnTo>
                  <a:lnTo>
                    <a:pt x="2476" y="1575"/>
                  </a:lnTo>
                  <a:lnTo>
                    <a:pt x="2490" y="1514"/>
                  </a:lnTo>
                  <a:lnTo>
                    <a:pt x="2501" y="1452"/>
                  </a:lnTo>
                  <a:lnTo>
                    <a:pt x="2508" y="1389"/>
                  </a:lnTo>
                  <a:lnTo>
                    <a:pt x="2513" y="1325"/>
                  </a:lnTo>
                  <a:lnTo>
                    <a:pt x="2515" y="1260"/>
                  </a:lnTo>
                  <a:lnTo>
                    <a:pt x="2513" y="1196"/>
                  </a:lnTo>
                  <a:lnTo>
                    <a:pt x="2508" y="1131"/>
                  </a:lnTo>
                  <a:lnTo>
                    <a:pt x="2501" y="1069"/>
                  </a:lnTo>
                  <a:lnTo>
                    <a:pt x="2490" y="1006"/>
                  </a:lnTo>
                  <a:lnTo>
                    <a:pt x="2476" y="946"/>
                  </a:lnTo>
                  <a:lnTo>
                    <a:pt x="2459" y="886"/>
                  </a:lnTo>
                  <a:lnTo>
                    <a:pt x="2439" y="827"/>
                  </a:lnTo>
                  <a:lnTo>
                    <a:pt x="2416" y="770"/>
                  </a:lnTo>
                  <a:lnTo>
                    <a:pt x="2390" y="714"/>
                  </a:lnTo>
                  <a:lnTo>
                    <a:pt x="2363" y="659"/>
                  </a:lnTo>
                  <a:lnTo>
                    <a:pt x="2333" y="607"/>
                  </a:lnTo>
                  <a:lnTo>
                    <a:pt x="2300" y="556"/>
                  </a:lnTo>
                  <a:lnTo>
                    <a:pt x="2265" y="506"/>
                  </a:lnTo>
                  <a:lnTo>
                    <a:pt x="2227" y="459"/>
                  </a:lnTo>
                  <a:lnTo>
                    <a:pt x="2188" y="413"/>
                  </a:lnTo>
                  <a:lnTo>
                    <a:pt x="2146" y="369"/>
                  </a:lnTo>
                  <a:lnTo>
                    <a:pt x="2103" y="328"/>
                  </a:lnTo>
                  <a:lnTo>
                    <a:pt x="2056" y="288"/>
                  </a:lnTo>
                  <a:lnTo>
                    <a:pt x="2009" y="251"/>
                  </a:lnTo>
                  <a:lnTo>
                    <a:pt x="1960" y="216"/>
                  </a:lnTo>
                  <a:lnTo>
                    <a:pt x="1908" y="182"/>
                  </a:lnTo>
                  <a:lnTo>
                    <a:pt x="1856" y="152"/>
                  </a:lnTo>
                  <a:lnTo>
                    <a:pt x="1802" y="124"/>
                  </a:lnTo>
                  <a:lnTo>
                    <a:pt x="1746" y="99"/>
                  </a:lnTo>
                  <a:lnTo>
                    <a:pt x="1689" y="77"/>
                  </a:lnTo>
                  <a:lnTo>
                    <a:pt x="1631" y="56"/>
                  </a:lnTo>
                  <a:lnTo>
                    <a:pt x="1571" y="39"/>
                  </a:lnTo>
                  <a:lnTo>
                    <a:pt x="1510" y="25"/>
                  </a:lnTo>
                  <a:lnTo>
                    <a:pt x="1449" y="14"/>
                  </a:lnTo>
                  <a:lnTo>
                    <a:pt x="1385" y="6"/>
                  </a:lnTo>
                  <a:lnTo>
                    <a:pt x="1322" y="2"/>
                  </a:lnTo>
                  <a:lnTo>
                    <a:pt x="125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28" name="ïšļîdè">
              <a:extLst>
                <a:ext uri="{FF2B5EF4-FFF2-40B4-BE49-F238E27FC236}">
                  <a16:creationId xmlns:a16="http://schemas.microsoft.com/office/drawing/2014/main" id="{94869437-A96E-4F9E-8346-12C2385F8F8C}"/>
                </a:ext>
              </a:extLst>
            </p:cNvPr>
            <p:cNvSpPr/>
            <p:nvPr/>
          </p:nvSpPr>
          <p:spPr bwMode="auto">
            <a:xfrm>
              <a:off x="10643791" y="1339708"/>
              <a:ext cx="61087" cy="62219"/>
            </a:xfrm>
            <a:custGeom>
              <a:avLst/>
              <a:gdLst>
                <a:gd name="T0" fmla="*/ 1107 w 2012"/>
                <a:gd name="T1" fmla="*/ 514 h 2016"/>
                <a:gd name="T2" fmla="*/ 1224 w 2012"/>
                <a:gd name="T3" fmla="*/ 553 h 2016"/>
                <a:gd name="T4" fmla="*/ 1326 w 2012"/>
                <a:gd name="T5" fmla="*/ 619 h 2016"/>
                <a:gd name="T6" fmla="*/ 1409 w 2012"/>
                <a:gd name="T7" fmla="*/ 707 h 2016"/>
                <a:gd name="T8" fmla="*/ 1469 w 2012"/>
                <a:gd name="T9" fmla="*/ 812 h 2016"/>
                <a:gd name="T10" fmla="*/ 1503 w 2012"/>
                <a:gd name="T11" fmla="*/ 931 h 2016"/>
                <a:gd name="T12" fmla="*/ 1507 w 2012"/>
                <a:gd name="T13" fmla="*/ 1060 h 2016"/>
                <a:gd name="T14" fmla="*/ 1478 w 2012"/>
                <a:gd name="T15" fmla="*/ 1182 h 2016"/>
                <a:gd name="T16" fmla="*/ 1423 w 2012"/>
                <a:gd name="T17" fmla="*/ 1290 h 2016"/>
                <a:gd name="T18" fmla="*/ 1344 w 2012"/>
                <a:gd name="T19" fmla="*/ 1381 h 2016"/>
                <a:gd name="T20" fmla="*/ 1245 w 2012"/>
                <a:gd name="T21" fmla="*/ 1452 h 2016"/>
                <a:gd name="T22" fmla="*/ 1131 w 2012"/>
                <a:gd name="T23" fmla="*/ 1496 h 2016"/>
                <a:gd name="T24" fmla="*/ 1006 w 2012"/>
                <a:gd name="T25" fmla="*/ 1512 h 2016"/>
                <a:gd name="T26" fmla="*/ 880 w 2012"/>
                <a:gd name="T27" fmla="*/ 1496 h 2016"/>
                <a:gd name="T28" fmla="*/ 766 w 2012"/>
                <a:gd name="T29" fmla="*/ 1452 h 2016"/>
                <a:gd name="T30" fmla="*/ 668 w 2012"/>
                <a:gd name="T31" fmla="*/ 1381 h 2016"/>
                <a:gd name="T32" fmla="*/ 589 w 2012"/>
                <a:gd name="T33" fmla="*/ 1290 h 2016"/>
                <a:gd name="T34" fmla="*/ 534 w 2012"/>
                <a:gd name="T35" fmla="*/ 1182 h 2016"/>
                <a:gd name="T36" fmla="*/ 506 w 2012"/>
                <a:gd name="T37" fmla="*/ 1060 h 2016"/>
                <a:gd name="T38" fmla="*/ 509 w 2012"/>
                <a:gd name="T39" fmla="*/ 931 h 2016"/>
                <a:gd name="T40" fmla="*/ 543 w 2012"/>
                <a:gd name="T41" fmla="*/ 812 h 2016"/>
                <a:gd name="T42" fmla="*/ 603 w 2012"/>
                <a:gd name="T43" fmla="*/ 707 h 2016"/>
                <a:gd name="T44" fmla="*/ 686 w 2012"/>
                <a:gd name="T45" fmla="*/ 619 h 2016"/>
                <a:gd name="T46" fmla="*/ 787 w 2012"/>
                <a:gd name="T47" fmla="*/ 553 h 2016"/>
                <a:gd name="T48" fmla="*/ 904 w 2012"/>
                <a:gd name="T49" fmla="*/ 514 h 2016"/>
                <a:gd name="T50" fmla="*/ 0 w 2012"/>
                <a:gd name="T51" fmla="*/ 1008 h 2016"/>
                <a:gd name="T52" fmla="*/ 32 w 2012"/>
                <a:gd name="T53" fmla="*/ 1260 h 2016"/>
                <a:gd name="T54" fmla="*/ 121 w 2012"/>
                <a:gd name="T55" fmla="*/ 1488 h 2016"/>
                <a:gd name="T56" fmla="*/ 261 w 2012"/>
                <a:gd name="T57" fmla="*/ 1686 h 2016"/>
                <a:gd name="T58" fmla="*/ 443 w 2012"/>
                <a:gd name="T59" fmla="*/ 1844 h 2016"/>
                <a:gd name="T60" fmla="*/ 661 w 2012"/>
                <a:gd name="T61" fmla="*/ 1955 h 2016"/>
                <a:gd name="T62" fmla="*/ 903 w 2012"/>
                <a:gd name="T63" fmla="*/ 2011 h 2016"/>
                <a:gd name="T64" fmla="*/ 1159 w 2012"/>
                <a:gd name="T65" fmla="*/ 2004 h 2016"/>
                <a:gd name="T66" fmla="*/ 1397 w 2012"/>
                <a:gd name="T67" fmla="*/ 1937 h 2016"/>
                <a:gd name="T68" fmla="*/ 1607 w 2012"/>
                <a:gd name="T69" fmla="*/ 1816 h 2016"/>
                <a:gd name="T70" fmla="*/ 1782 w 2012"/>
                <a:gd name="T71" fmla="*/ 1649 h 2016"/>
                <a:gd name="T72" fmla="*/ 1912 w 2012"/>
                <a:gd name="T73" fmla="*/ 1445 h 2016"/>
                <a:gd name="T74" fmla="*/ 1992 w 2012"/>
                <a:gd name="T75" fmla="*/ 1211 h 2016"/>
                <a:gd name="T76" fmla="*/ 2011 w 2012"/>
                <a:gd name="T77" fmla="*/ 957 h 2016"/>
                <a:gd name="T78" fmla="*/ 1966 w 2012"/>
                <a:gd name="T79" fmla="*/ 709 h 2016"/>
                <a:gd name="T80" fmla="*/ 1866 w 2012"/>
                <a:gd name="T81" fmla="*/ 486 h 2016"/>
                <a:gd name="T82" fmla="*/ 1717 w 2012"/>
                <a:gd name="T83" fmla="*/ 295 h 2016"/>
                <a:gd name="T84" fmla="*/ 1527 w 2012"/>
                <a:gd name="T85" fmla="*/ 146 h 2016"/>
                <a:gd name="T86" fmla="*/ 1304 w 2012"/>
                <a:gd name="T87" fmla="*/ 45 h 2016"/>
                <a:gd name="T88" fmla="*/ 1057 w 2012"/>
                <a:gd name="T89" fmla="*/ 1 h 2016"/>
                <a:gd name="T90" fmla="*/ 803 w 2012"/>
                <a:gd name="T91" fmla="*/ 20 h 2016"/>
                <a:gd name="T92" fmla="*/ 570 w 2012"/>
                <a:gd name="T93" fmla="*/ 100 h 2016"/>
                <a:gd name="T94" fmla="*/ 366 w 2012"/>
                <a:gd name="T95" fmla="*/ 231 h 2016"/>
                <a:gd name="T96" fmla="*/ 200 w 2012"/>
                <a:gd name="T97" fmla="*/ 405 h 2016"/>
                <a:gd name="T98" fmla="*/ 79 w 2012"/>
                <a:gd name="T99" fmla="*/ 616 h 2016"/>
                <a:gd name="T100" fmla="*/ 12 w 2012"/>
                <a:gd name="T101" fmla="*/ 855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012" h="2016">
                  <a:moveTo>
                    <a:pt x="1006" y="504"/>
                  </a:moveTo>
                  <a:lnTo>
                    <a:pt x="1032" y="505"/>
                  </a:lnTo>
                  <a:lnTo>
                    <a:pt x="1057" y="507"/>
                  </a:lnTo>
                  <a:lnTo>
                    <a:pt x="1082" y="510"/>
                  </a:lnTo>
                  <a:lnTo>
                    <a:pt x="1107" y="514"/>
                  </a:lnTo>
                  <a:lnTo>
                    <a:pt x="1131" y="520"/>
                  </a:lnTo>
                  <a:lnTo>
                    <a:pt x="1156" y="526"/>
                  </a:lnTo>
                  <a:lnTo>
                    <a:pt x="1179" y="534"/>
                  </a:lnTo>
                  <a:lnTo>
                    <a:pt x="1202" y="543"/>
                  </a:lnTo>
                  <a:lnTo>
                    <a:pt x="1224" y="553"/>
                  </a:lnTo>
                  <a:lnTo>
                    <a:pt x="1245" y="564"/>
                  </a:lnTo>
                  <a:lnTo>
                    <a:pt x="1266" y="577"/>
                  </a:lnTo>
                  <a:lnTo>
                    <a:pt x="1287" y="590"/>
                  </a:lnTo>
                  <a:lnTo>
                    <a:pt x="1306" y="604"/>
                  </a:lnTo>
                  <a:lnTo>
                    <a:pt x="1326" y="619"/>
                  </a:lnTo>
                  <a:lnTo>
                    <a:pt x="1344" y="635"/>
                  </a:lnTo>
                  <a:lnTo>
                    <a:pt x="1362" y="651"/>
                  </a:lnTo>
                  <a:lnTo>
                    <a:pt x="1378" y="669"/>
                  </a:lnTo>
                  <a:lnTo>
                    <a:pt x="1394" y="688"/>
                  </a:lnTo>
                  <a:lnTo>
                    <a:pt x="1409" y="707"/>
                  </a:lnTo>
                  <a:lnTo>
                    <a:pt x="1423" y="726"/>
                  </a:lnTo>
                  <a:lnTo>
                    <a:pt x="1436" y="747"/>
                  </a:lnTo>
                  <a:lnTo>
                    <a:pt x="1448" y="768"/>
                  </a:lnTo>
                  <a:lnTo>
                    <a:pt x="1459" y="789"/>
                  </a:lnTo>
                  <a:lnTo>
                    <a:pt x="1469" y="812"/>
                  </a:lnTo>
                  <a:lnTo>
                    <a:pt x="1478" y="835"/>
                  </a:lnTo>
                  <a:lnTo>
                    <a:pt x="1487" y="858"/>
                  </a:lnTo>
                  <a:lnTo>
                    <a:pt x="1493" y="882"/>
                  </a:lnTo>
                  <a:lnTo>
                    <a:pt x="1499" y="906"/>
                  </a:lnTo>
                  <a:lnTo>
                    <a:pt x="1503" y="931"/>
                  </a:lnTo>
                  <a:lnTo>
                    <a:pt x="1507" y="957"/>
                  </a:lnTo>
                  <a:lnTo>
                    <a:pt x="1508" y="982"/>
                  </a:lnTo>
                  <a:lnTo>
                    <a:pt x="1509" y="1008"/>
                  </a:lnTo>
                  <a:lnTo>
                    <a:pt x="1508" y="1034"/>
                  </a:lnTo>
                  <a:lnTo>
                    <a:pt x="1507" y="1060"/>
                  </a:lnTo>
                  <a:lnTo>
                    <a:pt x="1503" y="1085"/>
                  </a:lnTo>
                  <a:lnTo>
                    <a:pt x="1499" y="1110"/>
                  </a:lnTo>
                  <a:lnTo>
                    <a:pt x="1493" y="1134"/>
                  </a:lnTo>
                  <a:lnTo>
                    <a:pt x="1487" y="1158"/>
                  </a:lnTo>
                  <a:lnTo>
                    <a:pt x="1478" y="1182"/>
                  </a:lnTo>
                  <a:lnTo>
                    <a:pt x="1469" y="1205"/>
                  </a:lnTo>
                  <a:lnTo>
                    <a:pt x="1459" y="1227"/>
                  </a:lnTo>
                  <a:lnTo>
                    <a:pt x="1448" y="1248"/>
                  </a:lnTo>
                  <a:lnTo>
                    <a:pt x="1436" y="1269"/>
                  </a:lnTo>
                  <a:lnTo>
                    <a:pt x="1423" y="1290"/>
                  </a:lnTo>
                  <a:lnTo>
                    <a:pt x="1409" y="1310"/>
                  </a:lnTo>
                  <a:lnTo>
                    <a:pt x="1394" y="1329"/>
                  </a:lnTo>
                  <a:lnTo>
                    <a:pt x="1378" y="1347"/>
                  </a:lnTo>
                  <a:lnTo>
                    <a:pt x="1362" y="1365"/>
                  </a:lnTo>
                  <a:lnTo>
                    <a:pt x="1344" y="1381"/>
                  </a:lnTo>
                  <a:lnTo>
                    <a:pt x="1326" y="1397"/>
                  </a:lnTo>
                  <a:lnTo>
                    <a:pt x="1306" y="1412"/>
                  </a:lnTo>
                  <a:lnTo>
                    <a:pt x="1287" y="1427"/>
                  </a:lnTo>
                  <a:lnTo>
                    <a:pt x="1266" y="1440"/>
                  </a:lnTo>
                  <a:lnTo>
                    <a:pt x="1245" y="1452"/>
                  </a:lnTo>
                  <a:lnTo>
                    <a:pt x="1224" y="1463"/>
                  </a:lnTo>
                  <a:lnTo>
                    <a:pt x="1202" y="1473"/>
                  </a:lnTo>
                  <a:lnTo>
                    <a:pt x="1179" y="1482"/>
                  </a:lnTo>
                  <a:lnTo>
                    <a:pt x="1156" y="1490"/>
                  </a:lnTo>
                  <a:lnTo>
                    <a:pt x="1131" y="1496"/>
                  </a:lnTo>
                  <a:lnTo>
                    <a:pt x="1107" y="1502"/>
                  </a:lnTo>
                  <a:lnTo>
                    <a:pt x="1082" y="1506"/>
                  </a:lnTo>
                  <a:lnTo>
                    <a:pt x="1057" y="1509"/>
                  </a:lnTo>
                  <a:lnTo>
                    <a:pt x="1032" y="1511"/>
                  </a:lnTo>
                  <a:lnTo>
                    <a:pt x="1006" y="1512"/>
                  </a:lnTo>
                  <a:lnTo>
                    <a:pt x="980" y="1511"/>
                  </a:lnTo>
                  <a:lnTo>
                    <a:pt x="954" y="1509"/>
                  </a:lnTo>
                  <a:lnTo>
                    <a:pt x="929" y="1506"/>
                  </a:lnTo>
                  <a:lnTo>
                    <a:pt x="904" y="1502"/>
                  </a:lnTo>
                  <a:lnTo>
                    <a:pt x="880" y="1496"/>
                  </a:lnTo>
                  <a:lnTo>
                    <a:pt x="856" y="1490"/>
                  </a:lnTo>
                  <a:lnTo>
                    <a:pt x="833" y="1482"/>
                  </a:lnTo>
                  <a:lnTo>
                    <a:pt x="811" y="1473"/>
                  </a:lnTo>
                  <a:lnTo>
                    <a:pt x="787" y="1463"/>
                  </a:lnTo>
                  <a:lnTo>
                    <a:pt x="766" y="1452"/>
                  </a:lnTo>
                  <a:lnTo>
                    <a:pt x="745" y="1440"/>
                  </a:lnTo>
                  <a:lnTo>
                    <a:pt x="725" y="1427"/>
                  </a:lnTo>
                  <a:lnTo>
                    <a:pt x="705" y="1412"/>
                  </a:lnTo>
                  <a:lnTo>
                    <a:pt x="686" y="1397"/>
                  </a:lnTo>
                  <a:lnTo>
                    <a:pt x="668" y="1381"/>
                  </a:lnTo>
                  <a:lnTo>
                    <a:pt x="651" y="1365"/>
                  </a:lnTo>
                  <a:lnTo>
                    <a:pt x="633" y="1347"/>
                  </a:lnTo>
                  <a:lnTo>
                    <a:pt x="617" y="1329"/>
                  </a:lnTo>
                  <a:lnTo>
                    <a:pt x="603" y="1310"/>
                  </a:lnTo>
                  <a:lnTo>
                    <a:pt x="589" y="1290"/>
                  </a:lnTo>
                  <a:lnTo>
                    <a:pt x="576" y="1269"/>
                  </a:lnTo>
                  <a:lnTo>
                    <a:pt x="564" y="1248"/>
                  </a:lnTo>
                  <a:lnTo>
                    <a:pt x="553" y="1227"/>
                  </a:lnTo>
                  <a:lnTo>
                    <a:pt x="543" y="1205"/>
                  </a:lnTo>
                  <a:lnTo>
                    <a:pt x="534" y="1182"/>
                  </a:lnTo>
                  <a:lnTo>
                    <a:pt x="526" y="1158"/>
                  </a:lnTo>
                  <a:lnTo>
                    <a:pt x="519" y="1134"/>
                  </a:lnTo>
                  <a:lnTo>
                    <a:pt x="513" y="1110"/>
                  </a:lnTo>
                  <a:lnTo>
                    <a:pt x="509" y="1085"/>
                  </a:lnTo>
                  <a:lnTo>
                    <a:pt x="506" y="1060"/>
                  </a:lnTo>
                  <a:lnTo>
                    <a:pt x="504" y="1034"/>
                  </a:lnTo>
                  <a:lnTo>
                    <a:pt x="503" y="1008"/>
                  </a:lnTo>
                  <a:lnTo>
                    <a:pt x="504" y="982"/>
                  </a:lnTo>
                  <a:lnTo>
                    <a:pt x="506" y="957"/>
                  </a:lnTo>
                  <a:lnTo>
                    <a:pt x="509" y="931"/>
                  </a:lnTo>
                  <a:lnTo>
                    <a:pt x="513" y="906"/>
                  </a:lnTo>
                  <a:lnTo>
                    <a:pt x="519" y="882"/>
                  </a:lnTo>
                  <a:lnTo>
                    <a:pt x="526" y="858"/>
                  </a:lnTo>
                  <a:lnTo>
                    <a:pt x="534" y="835"/>
                  </a:lnTo>
                  <a:lnTo>
                    <a:pt x="543" y="812"/>
                  </a:lnTo>
                  <a:lnTo>
                    <a:pt x="553" y="789"/>
                  </a:lnTo>
                  <a:lnTo>
                    <a:pt x="564" y="768"/>
                  </a:lnTo>
                  <a:lnTo>
                    <a:pt x="576" y="747"/>
                  </a:lnTo>
                  <a:lnTo>
                    <a:pt x="589" y="726"/>
                  </a:lnTo>
                  <a:lnTo>
                    <a:pt x="603" y="707"/>
                  </a:lnTo>
                  <a:lnTo>
                    <a:pt x="617" y="688"/>
                  </a:lnTo>
                  <a:lnTo>
                    <a:pt x="633" y="669"/>
                  </a:lnTo>
                  <a:lnTo>
                    <a:pt x="651" y="651"/>
                  </a:lnTo>
                  <a:lnTo>
                    <a:pt x="668" y="635"/>
                  </a:lnTo>
                  <a:lnTo>
                    <a:pt x="686" y="619"/>
                  </a:lnTo>
                  <a:lnTo>
                    <a:pt x="705" y="604"/>
                  </a:lnTo>
                  <a:lnTo>
                    <a:pt x="725" y="590"/>
                  </a:lnTo>
                  <a:lnTo>
                    <a:pt x="745" y="577"/>
                  </a:lnTo>
                  <a:lnTo>
                    <a:pt x="766" y="564"/>
                  </a:lnTo>
                  <a:lnTo>
                    <a:pt x="787" y="553"/>
                  </a:lnTo>
                  <a:lnTo>
                    <a:pt x="811" y="543"/>
                  </a:lnTo>
                  <a:lnTo>
                    <a:pt x="833" y="534"/>
                  </a:lnTo>
                  <a:lnTo>
                    <a:pt x="856" y="526"/>
                  </a:lnTo>
                  <a:lnTo>
                    <a:pt x="880" y="520"/>
                  </a:lnTo>
                  <a:lnTo>
                    <a:pt x="904" y="514"/>
                  </a:lnTo>
                  <a:lnTo>
                    <a:pt x="929" y="510"/>
                  </a:lnTo>
                  <a:lnTo>
                    <a:pt x="954" y="507"/>
                  </a:lnTo>
                  <a:lnTo>
                    <a:pt x="980" y="505"/>
                  </a:lnTo>
                  <a:lnTo>
                    <a:pt x="1006" y="504"/>
                  </a:lnTo>
                  <a:close/>
                  <a:moveTo>
                    <a:pt x="0" y="1008"/>
                  </a:moveTo>
                  <a:lnTo>
                    <a:pt x="2" y="1060"/>
                  </a:lnTo>
                  <a:lnTo>
                    <a:pt x="5" y="1111"/>
                  </a:lnTo>
                  <a:lnTo>
                    <a:pt x="12" y="1161"/>
                  </a:lnTo>
                  <a:lnTo>
                    <a:pt x="21" y="1211"/>
                  </a:lnTo>
                  <a:lnTo>
                    <a:pt x="32" y="1260"/>
                  </a:lnTo>
                  <a:lnTo>
                    <a:pt x="45" y="1308"/>
                  </a:lnTo>
                  <a:lnTo>
                    <a:pt x="61" y="1355"/>
                  </a:lnTo>
                  <a:lnTo>
                    <a:pt x="79" y="1400"/>
                  </a:lnTo>
                  <a:lnTo>
                    <a:pt x="99" y="1445"/>
                  </a:lnTo>
                  <a:lnTo>
                    <a:pt x="121" y="1488"/>
                  </a:lnTo>
                  <a:lnTo>
                    <a:pt x="146" y="1530"/>
                  </a:lnTo>
                  <a:lnTo>
                    <a:pt x="172" y="1572"/>
                  </a:lnTo>
                  <a:lnTo>
                    <a:pt x="200" y="1611"/>
                  </a:lnTo>
                  <a:lnTo>
                    <a:pt x="230" y="1649"/>
                  </a:lnTo>
                  <a:lnTo>
                    <a:pt x="261" y="1686"/>
                  </a:lnTo>
                  <a:lnTo>
                    <a:pt x="294" y="1721"/>
                  </a:lnTo>
                  <a:lnTo>
                    <a:pt x="330" y="1754"/>
                  </a:lnTo>
                  <a:lnTo>
                    <a:pt x="366" y="1785"/>
                  </a:lnTo>
                  <a:lnTo>
                    <a:pt x="404" y="1816"/>
                  </a:lnTo>
                  <a:lnTo>
                    <a:pt x="443" y="1844"/>
                  </a:lnTo>
                  <a:lnTo>
                    <a:pt x="485" y="1870"/>
                  </a:lnTo>
                  <a:lnTo>
                    <a:pt x="527" y="1894"/>
                  </a:lnTo>
                  <a:lnTo>
                    <a:pt x="570" y="1917"/>
                  </a:lnTo>
                  <a:lnTo>
                    <a:pt x="614" y="1937"/>
                  </a:lnTo>
                  <a:lnTo>
                    <a:pt x="661" y="1955"/>
                  </a:lnTo>
                  <a:lnTo>
                    <a:pt x="707" y="1971"/>
                  </a:lnTo>
                  <a:lnTo>
                    <a:pt x="754" y="1984"/>
                  </a:lnTo>
                  <a:lnTo>
                    <a:pt x="803" y="1995"/>
                  </a:lnTo>
                  <a:lnTo>
                    <a:pt x="853" y="2004"/>
                  </a:lnTo>
                  <a:lnTo>
                    <a:pt x="903" y="2011"/>
                  </a:lnTo>
                  <a:lnTo>
                    <a:pt x="954" y="2015"/>
                  </a:lnTo>
                  <a:lnTo>
                    <a:pt x="1006" y="2016"/>
                  </a:lnTo>
                  <a:lnTo>
                    <a:pt x="1057" y="2015"/>
                  </a:lnTo>
                  <a:lnTo>
                    <a:pt x="1108" y="2011"/>
                  </a:lnTo>
                  <a:lnTo>
                    <a:pt x="1159" y="2004"/>
                  </a:lnTo>
                  <a:lnTo>
                    <a:pt x="1208" y="1995"/>
                  </a:lnTo>
                  <a:lnTo>
                    <a:pt x="1257" y="1984"/>
                  </a:lnTo>
                  <a:lnTo>
                    <a:pt x="1304" y="1971"/>
                  </a:lnTo>
                  <a:lnTo>
                    <a:pt x="1352" y="1955"/>
                  </a:lnTo>
                  <a:lnTo>
                    <a:pt x="1397" y="1937"/>
                  </a:lnTo>
                  <a:lnTo>
                    <a:pt x="1441" y="1917"/>
                  </a:lnTo>
                  <a:lnTo>
                    <a:pt x="1485" y="1894"/>
                  </a:lnTo>
                  <a:lnTo>
                    <a:pt x="1527" y="1870"/>
                  </a:lnTo>
                  <a:lnTo>
                    <a:pt x="1568" y="1844"/>
                  </a:lnTo>
                  <a:lnTo>
                    <a:pt x="1607" y="1816"/>
                  </a:lnTo>
                  <a:lnTo>
                    <a:pt x="1645" y="1785"/>
                  </a:lnTo>
                  <a:lnTo>
                    <a:pt x="1682" y="1754"/>
                  </a:lnTo>
                  <a:lnTo>
                    <a:pt x="1717" y="1721"/>
                  </a:lnTo>
                  <a:lnTo>
                    <a:pt x="1750" y="1686"/>
                  </a:lnTo>
                  <a:lnTo>
                    <a:pt x="1782" y="1649"/>
                  </a:lnTo>
                  <a:lnTo>
                    <a:pt x="1811" y="1611"/>
                  </a:lnTo>
                  <a:lnTo>
                    <a:pt x="1840" y="1572"/>
                  </a:lnTo>
                  <a:lnTo>
                    <a:pt x="1866" y="1530"/>
                  </a:lnTo>
                  <a:lnTo>
                    <a:pt x="1890" y="1488"/>
                  </a:lnTo>
                  <a:lnTo>
                    <a:pt x="1912" y="1445"/>
                  </a:lnTo>
                  <a:lnTo>
                    <a:pt x="1932" y="1400"/>
                  </a:lnTo>
                  <a:lnTo>
                    <a:pt x="1950" y="1355"/>
                  </a:lnTo>
                  <a:lnTo>
                    <a:pt x="1966" y="1308"/>
                  </a:lnTo>
                  <a:lnTo>
                    <a:pt x="1980" y="1260"/>
                  </a:lnTo>
                  <a:lnTo>
                    <a:pt x="1992" y="1211"/>
                  </a:lnTo>
                  <a:lnTo>
                    <a:pt x="2001" y="1161"/>
                  </a:lnTo>
                  <a:lnTo>
                    <a:pt x="2007" y="1111"/>
                  </a:lnTo>
                  <a:lnTo>
                    <a:pt x="2011" y="1060"/>
                  </a:lnTo>
                  <a:lnTo>
                    <a:pt x="2012" y="1008"/>
                  </a:lnTo>
                  <a:lnTo>
                    <a:pt x="2011" y="957"/>
                  </a:lnTo>
                  <a:lnTo>
                    <a:pt x="2007" y="905"/>
                  </a:lnTo>
                  <a:lnTo>
                    <a:pt x="2001" y="855"/>
                  </a:lnTo>
                  <a:lnTo>
                    <a:pt x="1992" y="805"/>
                  </a:lnTo>
                  <a:lnTo>
                    <a:pt x="1980" y="756"/>
                  </a:lnTo>
                  <a:lnTo>
                    <a:pt x="1966" y="709"/>
                  </a:lnTo>
                  <a:lnTo>
                    <a:pt x="1950" y="661"/>
                  </a:lnTo>
                  <a:lnTo>
                    <a:pt x="1932" y="616"/>
                  </a:lnTo>
                  <a:lnTo>
                    <a:pt x="1912" y="572"/>
                  </a:lnTo>
                  <a:lnTo>
                    <a:pt x="1890" y="528"/>
                  </a:lnTo>
                  <a:lnTo>
                    <a:pt x="1866" y="486"/>
                  </a:lnTo>
                  <a:lnTo>
                    <a:pt x="1840" y="445"/>
                  </a:lnTo>
                  <a:lnTo>
                    <a:pt x="1811" y="405"/>
                  </a:lnTo>
                  <a:lnTo>
                    <a:pt x="1782" y="367"/>
                  </a:lnTo>
                  <a:lnTo>
                    <a:pt x="1750" y="331"/>
                  </a:lnTo>
                  <a:lnTo>
                    <a:pt x="1717" y="295"/>
                  </a:lnTo>
                  <a:lnTo>
                    <a:pt x="1682" y="262"/>
                  </a:lnTo>
                  <a:lnTo>
                    <a:pt x="1645" y="231"/>
                  </a:lnTo>
                  <a:lnTo>
                    <a:pt x="1607" y="201"/>
                  </a:lnTo>
                  <a:lnTo>
                    <a:pt x="1568" y="172"/>
                  </a:lnTo>
                  <a:lnTo>
                    <a:pt x="1527" y="146"/>
                  </a:lnTo>
                  <a:lnTo>
                    <a:pt x="1485" y="122"/>
                  </a:lnTo>
                  <a:lnTo>
                    <a:pt x="1441" y="100"/>
                  </a:lnTo>
                  <a:lnTo>
                    <a:pt x="1397" y="80"/>
                  </a:lnTo>
                  <a:lnTo>
                    <a:pt x="1352" y="61"/>
                  </a:lnTo>
                  <a:lnTo>
                    <a:pt x="1304" y="45"/>
                  </a:lnTo>
                  <a:lnTo>
                    <a:pt x="1257" y="31"/>
                  </a:lnTo>
                  <a:lnTo>
                    <a:pt x="1208" y="20"/>
                  </a:lnTo>
                  <a:lnTo>
                    <a:pt x="1159" y="11"/>
                  </a:lnTo>
                  <a:lnTo>
                    <a:pt x="1108" y="5"/>
                  </a:lnTo>
                  <a:lnTo>
                    <a:pt x="1057" y="1"/>
                  </a:lnTo>
                  <a:lnTo>
                    <a:pt x="1006" y="0"/>
                  </a:lnTo>
                  <a:lnTo>
                    <a:pt x="954" y="1"/>
                  </a:lnTo>
                  <a:lnTo>
                    <a:pt x="903" y="5"/>
                  </a:lnTo>
                  <a:lnTo>
                    <a:pt x="853" y="11"/>
                  </a:lnTo>
                  <a:lnTo>
                    <a:pt x="803" y="20"/>
                  </a:lnTo>
                  <a:lnTo>
                    <a:pt x="754" y="31"/>
                  </a:lnTo>
                  <a:lnTo>
                    <a:pt x="707" y="45"/>
                  </a:lnTo>
                  <a:lnTo>
                    <a:pt x="661" y="61"/>
                  </a:lnTo>
                  <a:lnTo>
                    <a:pt x="614" y="80"/>
                  </a:lnTo>
                  <a:lnTo>
                    <a:pt x="570" y="100"/>
                  </a:lnTo>
                  <a:lnTo>
                    <a:pt x="527" y="122"/>
                  </a:lnTo>
                  <a:lnTo>
                    <a:pt x="485" y="146"/>
                  </a:lnTo>
                  <a:lnTo>
                    <a:pt x="443" y="172"/>
                  </a:lnTo>
                  <a:lnTo>
                    <a:pt x="404" y="201"/>
                  </a:lnTo>
                  <a:lnTo>
                    <a:pt x="366" y="231"/>
                  </a:lnTo>
                  <a:lnTo>
                    <a:pt x="330" y="262"/>
                  </a:lnTo>
                  <a:lnTo>
                    <a:pt x="294" y="295"/>
                  </a:lnTo>
                  <a:lnTo>
                    <a:pt x="261" y="331"/>
                  </a:lnTo>
                  <a:lnTo>
                    <a:pt x="230" y="367"/>
                  </a:lnTo>
                  <a:lnTo>
                    <a:pt x="200" y="405"/>
                  </a:lnTo>
                  <a:lnTo>
                    <a:pt x="172" y="445"/>
                  </a:lnTo>
                  <a:lnTo>
                    <a:pt x="146" y="486"/>
                  </a:lnTo>
                  <a:lnTo>
                    <a:pt x="121" y="528"/>
                  </a:lnTo>
                  <a:lnTo>
                    <a:pt x="99" y="572"/>
                  </a:lnTo>
                  <a:lnTo>
                    <a:pt x="79" y="616"/>
                  </a:lnTo>
                  <a:lnTo>
                    <a:pt x="61" y="661"/>
                  </a:lnTo>
                  <a:lnTo>
                    <a:pt x="45" y="709"/>
                  </a:lnTo>
                  <a:lnTo>
                    <a:pt x="32" y="756"/>
                  </a:lnTo>
                  <a:lnTo>
                    <a:pt x="21" y="805"/>
                  </a:lnTo>
                  <a:lnTo>
                    <a:pt x="12" y="855"/>
                  </a:lnTo>
                  <a:lnTo>
                    <a:pt x="5" y="905"/>
                  </a:lnTo>
                  <a:lnTo>
                    <a:pt x="2" y="957"/>
                  </a:lnTo>
                  <a:lnTo>
                    <a:pt x="0" y="10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29" name="íSḻíḋè">
              <a:extLst>
                <a:ext uri="{FF2B5EF4-FFF2-40B4-BE49-F238E27FC236}">
                  <a16:creationId xmlns:a16="http://schemas.microsoft.com/office/drawing/2014/main" id="{5A737556-3092-4CEE-AE8A-3220CB87EAEB}"/>
                </a:ext>
              </a:extLst>
            </p:cNvPr>
            <p:cNvSpPr/>
            <p:nvPr/>
          </p:nvSpPr>
          <p:spPr bwMode="auto">
            <a:xfrm>
              <a:off x="10704878" y="1448307"/>
              <a:ext cx="30544" cy="30544"/>
            </a:xfrm>
            <a:custGeom>
              <a:avLst/>
              <a:gdLst>
                <a:gd name="T0" fmla="*/ 554 w 1006"/>
                <a:gd name="T1" fmla="*/ 1005 h 1008"/>
                <a:gd name="T2" fmla="*/ 628 w 1006"/>
                <a:gd name="T3" fmla="*/ 992 h 1008"/>
                <a:gd name="T4" fmla="*/ 699 w 1006"/>
                <a:gd name="T5" fmla="*/ 969 h 1008"/>
                <a:gd name="T6" fmla="*/ 763 w 1006"/>
                <a:gd name="T7" fmla="*/ 935 h 1008"/>
                <a:gd name="T8" fmla="*/ 822 w 1006"/>
                <a:gd name="T9" fmla="*/ 893 h 1008"/>
                <a:gd name="T10" fmla="*/ 875 w 1006"/>
                <a:gd name="T11" fmla="*/ 843 h 1008"/>
                <a:gd name="T12" fmla="*/ 920 w 1006"/>
                <a:gd name="T13" fmla="*/ 786 h 1008"/>
                <a:gd name="T14" fmla="*/ 956 w 1006"/>
                <a:gd name="T15" fmla="*/ 723 h 1008"/>
                <a:gd name="T16" fmla="*/ 983 w 1006"/>
                <a:gd name="T17" fmla="*/ 654 h 1008"/>
                <a:gd name="T18" fmla="*/ 1000 w 1006"/>
                <a:gd name="T19" fmla="*/ 581 h 1008"/>
                <a:gd name="T20" fmla="*/ 1006 w 1006"/>
                <a:gd name="T21" fmla="*/ 504 h 1008"/>
                <a:gd name="T22" fmla="*/ 1000 w 1006"/>
                <a:gd name="T23" fmla="*/ 427 h 1008"/>
                <a:gd name="T24" fmla="*/ 983 w 1006"/>
                <a:gd name="T25" fmla="*/ 354 h 1008"/>
                <a:gd name="T26" fmla="*/ 956 w 1006"/>
                <a:gd name="T27" fmla="*/ 285 h 1008"/>
                <a:gd name="T28" fmla="*/ 920 w 1006"/>
                <a:gd name="T29" fmla="*/ 222 h 1008"/>
                <a:gd name="T30" fmla="*/ 875 w 1006"/>
                <a:gd name="T31" fmla="*/ 165 h 1008"/>
                <a:gd name="T32" fmla="*/ 822 w 1006"/>
                <a:gd name="T33" fmla="*/ 115 h 1008"/>
                <a:gd name="T34" fmla="*/ 763 w 1006"/>
                <a:gd name="T35" fmla="*/ 72 h 1008"/>
                <a:gd name="T36" fmla="*/ 699 w 1006"/>
                <a:gd name="T37" fmla="*/ 39 h 1008"/>
                <a:gd name="T38" fmla="*/ 628 w 1006"/>
                <a:gd name="T39" fmla="*/ 16 h 1008"/>
                <a:gd name="T40" fmla="*/ 554 w 1006"/>
                <a:gd name="T41" fmla="*/ 3 h 1008"/>
                <a:gd name="T42" fmla="*/ 476 w 1006"/>
                <a:gd name="T43" fmla="*/ 1 h 1008"/>
                <a:gd name="T44" fmla="*/ 401 w 1006"/>
                <a:gd name="T45" fmla="*/ 10 h 1008"/>
                <a:gd name="T46" fmla="*/ 330 w 1006"/>
                <a:gd name="T47" fmla="*/ 30 h 1008"/>
                <a:gd name="T48" fmla="*/ 263 w 1006"/>
                <a:gd name="T49" fmla="*/ 60 h 1008"/>
                <a:gd name="T50" fmla="*/ 202 w 1006"/>
                <a:gd name="T51" fmla="*/ 100 h 1008"/>
                <a:gd name="T52" fmla="*/ 147 w 1006"/>
                <a:gd name="T53" fmla="*/ 147 h 1008"/>
                <a:gd name="T54" fmla="*/ 99 w 1006"/>
                <a:gd name="T55" fmla="*/ 202 h 1008"/>
                <a:gd name="T56" fmla="*/ 61 w 1006"/>
                <a:gd name="T57" fmla="*/ 264 h 1008"/>
                <a:gd name="T58" fmla="*/ 30 w 1006"/>
                <a:gd name="T59" fmla="*/ 330 h 1008"/>
                <a:gd name="T60" fmla="*/ 10 w 1006"/>
                <a:gd name="T61" fmla="*/ 402 h 1008"/>
                <a:gd name="T62" fmla="*/ 1 w 1006"/>
                <a:gd name="T63" fmla="*/ 478 h 1008"/>
                <a:gd name="T64" fmla="*/ 3 w 1006"/>
                <a:gd name="T65" fmla="*/ 555 h 1008"/>
                <a:gd name="T66" fmla="*/ 16 w 1006"/>
                <a:gd name="T67" fmla="*/ 630 h 1008"/>
                <a:gd name="T68" fmla="*/ 39 w 1006"/>
                <a:gd name="T69" fmla="*/ 700 h 1008"/>
                <a:gd name="T70" fmla="*/ 73 w 1006"/>
                <a:gd name="T71" fmla="*/ 765 h 1008"/>
                <a:gd name="T72" fmla="*/ 114 w 1006"/>
                <a:gd name="T73" fmla="*/ 824 h 1008"/>
                <a:gd name="T74" fmla="*/ 165 w 1006"/>
                <a:gd name="T75" fmla="*/ 877 h 1008"/>
                <a:gd name="T76" fmla="*/ 222 w 1006"/>
                <a:gd name="T77" fmla="*/ 922 h 1008"/>
                <a:gd name="T78" fmla="*/ 284 w 1006"/>
                <a:gd name="T79" fmla="*/ 959 h 1008"/>
                <a:gd name="T80" fmla="*/ 353 w 1006"/>
                <a:gd name="T81" fmla="*/ 985 h 1008"/>
                <a:gd name="T82" fmla="*/ 426 w 1006"/>
                <a:gd name="T83" fmla="*/ 1002 h 1008"/>
                <a:gd name="T84" fmla="*/ 503 w 1006"/>
                <a:gd name="T85" fmla="*/ 1008 h 1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1008">
                  <a:moveTo>
                    <a:pt x="503" y="1008"/>
                  </a:moveTo>
                  <a:lnTo>
                    <a:pt x="529" y="1007"/>
                  </a:lnTo>
                  <a:lnTo>
                    <a:pt x="554" y="1005"/>
                  </a:lnTo>
                  <a:lnTo>
                    <a:pt x="579" y="1002"/>
                  </a:lnTo>
                  <a:lnTo>
                    <a:pt x="604" y="998"/>
                  </a:lnTo>
                  <a:lnTo>
                    <a:pt x="628" y="992"/>
                  </a:lnTo>
                  <a:lnTo>
                    <a:pt x="652" y="985"/>
                  </a:lnTo>
                  <a:lnTo>
                    <a:pt x="676" y="978"/>
                  </a:lnTo>
                  <a:lnTo>
                    <a:pt x="699" y="969"/>
                  </a:lnTo>
                  <a:lnTo>
                    <a:pt x="721" y="959"/>
                  </a:lnTo>
                  <a:lnTo>
                    <a:pt x="742" y="948"/>
                  </a:lnTo>
                  <a:lnTo>
                    <a:pt x="763" y="935"/>
                  </a:lnTo>
                  <a:lnTo>
                    <a:pt x="784" y="922"/>
                  </a:lnTo>
                  <a:lnTo>
                    <a:pt x="803" y="908"/>
                  </a:lnTo>
                  <a:lnTo>
                    <a:pt x="822" y="893"/>
                  </a:lnTo>
                  <a:lnTo>
                    <a:pt x="841" y="877"/>
                  </a:lnTo>
                  <a:lnTo>
                    <a:pt x="859" y="861"/>
                  </a:lnTo>
                  <a:lnTo>
                    <a:pt x="875" y="843"/>
                  </a:lnTo>
                  <a:lnTo>
                    <a:pt x="891" y="824"/>
                  </a:lnTo>
                  <a:lnTo>
                    <a:pt x="906" y="805"/>
                  </a:lnTo>
                  <a:lnTo>
                    <a:pt x="920" y="786"/>
                  </a:lnTo>
                  <a:lnTo>
                    <a:pt x="933" y="765"/>
                  </a:lnTo>
                  <a:lnTo>
                    <a:pt x="945" y="744"/>
                  </a:lnTo>
                  <a:lnTo>
                    <a:pt x="956" y="723"/>
                  </a:lnTo>
                  <a:lnTo>
                    <a:pt x="966" y="700"/>
                  </a:lnTo>
                  <a:lnTo>
                    <a:pt x="975" y="677"/>
                  </a:lnTo>
                  <a:lnTo>
                    <a:pt x="983" y="654"/>
                  </a:lnTo>
                  <a:lnTo>
                    <a:pt x="989" y="630"/>
                  </a:lnTo>
                  <a:lnTo>
                    <a:pt x="996" y="606"/>
                  </a:lnTo>
                  <a:lnTo>
                    <a:pt x="1000" y="581"/>
                  </a:lnTo>
                  <a:lnTo>
                    <a:pt x="1004" y="555"/>
                  </a:lnTo>
                  <a:lnTo>
                    <a:pt x="1006" y="530"/>
                  </a:lnTo>
                  <a:lnTo>
                    <a:pt x="1006" y="504"/>
                  </a:lnTo>
                  <a:lnTo>
                    <a:pt x="1006" y="478"/>
                  </a:lnTo>
                  <a:lnTo>
                    <a:pt x="1004" y="452"/>
                  </a:lnTo>
                  <a:lnTo>
                    <a:pt x="1000" y="427"/>
                  </a:lnTo>
                  <a:lnTo>
                    <a:pt x="996" y="402"/>
                  </a:lnTo>
                  <a:lnTo>
                    <a:pt x="989" y="378"/>
                  </a:lnTo>
                  <a:lnTo>
                    <a:pt x="983" y="354"/>
                  </a:lnTo>
                  <a:lnTo>
                    <a:pt x="975" y="330"/>
                  </a:lnTo>
                  <a:lnTo>
                    <a:pt x="966" y="307"/>
                  </a:lnTo>
                  <a:lnTo>
                    <a:pt x="956" y="285"/>
                  </a:lnTo>
                  <a:lnTo>
                    <a:pt x="945" y="264"/>
                  </a:lnTo>
                  <a:lnTo>
                    <a:pt x="933" y="243"/>
                  </a:lnTo>
                  <a:lnTo>
                    <a:pt x="920" y="222"/>
                  </a:lnTo>
                  <a:lnTo>
                    <a:pt x="906" y="202"/>
                  </a:lnTo>
                  <a:lnTo>
                    <a:pt x="891" y="183"/>
                  </a:lnTo>
                  <a:lnTo>
                    <a:pt x="875" y="165"/>
                  </a:lnTo>
                  <a:lnTo>
                    <a:pt x="859" y="147"/>
                  </a:lnTo>
                  <a:lnTo>
                    <a:pt x="841" y="131"/>
                  </a:lnTo>
                  <a:lnTo>
                    <a:pt x="822" y="115"/>
                  </a:lnTo>
                  <a:lnTo>
                    <a:pt x="803" y="100"/>
                  </a:lnTo>
                  <a:lnTo>
                    <a:pt x="784" y="85"/>
                  </a:lnTo>
                  <a:lnTo>
                    <a:pt x="763" y="72"/>
                  </a:lnTo>
                  <a:lnTo>
                    <a:pt x="742" y="60"/>
                  </a:lnTo>
                  <a:lnTo>
                    <a:pt x="721" y="49"/>
                  </a:lnTo>
                  <a:lnTo>
                    <a:pt x="699" y="39"/>
                  </a:lnTo>
                  <a:lnTo>
                    <a:pt x="676" y="30"/>
                  </a:lnTo>
                  <a:lnTo>
                    <a:pt x="652" y="22"/>
                  </a:lnTo>
                  <a:lnTo>
                    <a:pt x="628" y="16"/>
                  </a:lnTo>
                  <a:lnTo>
                    <a:pt x="604" y="10"/>
                  </a:lnTo>
                  <a:lnTo>
                    <a:pt x="579" y="6"/>
                  </a:lnTo>
                  <a:lnTo>
                    <a:pt x="554" y="3"/>
                  </a:lnTo>
                  <a:lnTo>
                    <a:pt x="529" y="1"/>
                  </a:lnTo>
                  <a:lnTo>
                    <a:pt x="503" y="0"/>
                  </a:lnTo>
                  <a:lnTo>
                    <a:pt x="476" y="1"/>
                  </a:lnTo>
                  <a:lnTo>
                    <a:pt x="451" y="3"/>
                  </a:lnTo>
                  <a:lnTo>
                    <a:pt x="426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4" y="49"/>
                  </a:lnTo>
                  <a:lnTo>
                    <a:pt x="263" y="60"/>
                  </a:lnTo>
                  <a:lnTo>
                    <a:pt x="242" y="72"/>
                  </a:lnTo>
                  <a:lnTo>
                    <a:pt x="222" y="85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0" y="165"/>
                  </a:lnTo>
                  <a:lnTo>
                    <a:pt x="114" y="183"/>
                  </a:lnTo>
                  <a:lnTo>
                    <a:pt x="99" y="202"/>
                  </a:lnTo>
                  <a:lnTo>
                    <a:pt x="86" y="222"/>
                  </a:lnTo>
                  <a:lnTo>
                    <a:pt x="73" y="243"/>
                  </a:lnTo>
                  <a:lnTo>
                    <a:pt x="61" y="264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0"/>
                  </a:lnTo>
                  <a:lnTo>
                    <a:pt x="23" y="354"/>
                  </a:lnTo>
                  <a:lnTo>
                    <a:pt x="16" y="378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2"/>
                  </a:lnTo>
                  <a:lnTo>
                    <a:pt x="1" y="478"/>
                  </a:lnTo>
                  <a:lnTo>
                    <a:pt x="0" y="504"/>
                  </a:lnTo>
                  <a:lnTo>
                    <a:pt x="1" y="530"/>
                  </a:lnTo>
                  <a:lnTo>
                    <a:pt x="3" y="555"/>
                  </a:lnTo>
                  <a:lnTo>
                    <a:pt x="6" y="581"/>
                  </a:lnTo>
                  <a:lnTo>
                    <a:pt x="10" y="606"/>
                  </a:lnTo>
                  <a:lnTo>
                    <a:pt x="16" y="630"/>
                  </a:lnTo>
                  <a:lnTo>
                    <a:pt x="23" y="654"/>
                  </a:lnTo>
                  <a:lnTo>
                    <a:pt x="30" y="677"/>
                  </a:lnTo>
                  <a:lnTo>
                    <a:pt x="39" y="700"/>
                  </a:lnTo>
                  <a:lnTo>
                    <a:pt x="49" y="723"/>
                  </a:lnTo>
                  <a:lnTo>
                    <a:pt x="61" y="744"/>
                  </a:lnTo>
                  <a:lnTo>
                    <a:pt x="73" y="765"/>
                  </a:lnTo>
                  <a:lnTo>
                    <a:pt x="86" y="786"/>
                  </a:lnTo>
                  <a:lnTo>
                    <a:pt x="99" y="805"/>
                  </a:lnTo>
                  <a:lnTo>
                    <a:pt x="114" y="824"/>
                  </a:lnTo>
                  <a:lnTo>
                    <a:pt x="130" y="843"/>
                  </a:lnTo>
                  <a:lnTo>
                    <a:pt x="147" y="861"/>
                  </a:lnTo>
                  <a:lnTo>
                    <a:pt x="165" y="877"/>
                  </a:lnTo>
                  <a:lnTo>
                    <a:pt x="183" y="893"/>
                  </a:lnTo>
                  <a:lnTo>
                    <a:pt x="202" y="908"/>
                  </a:lnTo>
                  <a:lnTo>
                    <a:pt x="222" y="922"/>
                  </a:lnTo>
                  <a:lnTo>
                    <a:pt x="242" y="935"/>
                  </a:lnTo>
                  <a:lnTo>
                    <a:pt x="263" y="948"/>
                  </a:lnTo>
                  <a:lnTo>
                    <a:pt x="284" y="959"/>
                  </a:lnTo>
                  <a:lnTo>
                    <a:pt x="307" y="969"/>
                  </a:lnTo>
                  <a:lnTo>
                    <a:pt x="330" y="978"/>
                  </a:lnTo>
                  <a:lnTo>
                    <a:pt x="353" y="985"/>
                  </a:lnTo>
                  <a:lnTo>
                    <a:pt x="377" y="992"/>
                  </a:lnTo>
                  <a:lnTo>
                    <a:pt x="401" y="998"/>
                  </a:lnTo>
                  <a:lnTo>
                    <a:pt x="426" y="1002"/>
                  </a:lnTo>
                  <a:lnTo>
                    <a:pt x="451" y="1005"/>
                  </a:lnTo>
                  <a:lnTo>
                    <a:pt x="476" y="1007"/>
                  </a:lnTo>
                  <a:lnTo>
                    <a:pt x="503" y="10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30" name="iṣ1îḓé">
              <a:extLst>
                <a:ext uri="{FF2B5EF4-FFF2-40B4-BE49-F238E27FC236}">
                  <a16:creationId xmlns:a16="http://schemas.microsoft.com/office/drawing/2014/main" id="{2501515B-1013-406E-9D0A-91AA807A0821}"/>
                </a:ext>
              </a:extLst>
            </p:cNvPr>
            <p:cNvSpPr/>
            <p:nvPr/>
          </p:nvSpPr>
          <p:spPr bwMode="auto">
            <a:xfrm>
              <a:off x="10951488" y="1216403"/>
              <a:ext cx="30544" cy="31675"/>
            </a:xfrm>
            <a:custGeom>
              <a:avLst/>
              <a:gdLst>
                <a:gd name="T0" fmla="*/ 452 w 1006"/>
                <a:gd name="T1" fmla="*/ 3 h 1008"/>
                <a:gd name="T2" fmla="*/ 377 w 1006"/>
                <a:gd name="T3" fmla="*/ 16 h 1008"/>
                <a:gd name="T4" fmla="*/ 307 w 1006"/>
                <a:gd name="T5" fmla="*/ 39 h 1008"/>
                <a:gd name="T6" fmla="*/ 243 w 1006"/>
                <a:gd name="T7" fmla="*/ 72 h 1008"/>
                <a:gd name="T8" fmla="*/ 183 w 1006"/>
                <a:gd name="T9" fmla="*/ 115 h 1008"/>
                <a:gd name="T10" fmla="*/ 131 w 1006"/>
                <a:gd name="T11" fmla="*/ 165 h 1008"/>
                <a:gd name="T12" fmla="*/ 86 w 1006"/>
                <a:gd name="T13" fmla="*/ 222 h 1008"/>
                <a:gd name="T14" fmla="*/ 49 w 1006"/>
                <a:gd name="T15" fmla="*/ 285 h 1008"/>
                <a:gd name="T16" fmla="*/ 22 w 1006"/>
                <a:gd name="T17" fmla="*/ 354 h 1008"/>
                <a:gd name="T18" fmla="*/ 6 w 1006"/>
                <a:gd name="T19" fmla="*/ 427 h 1008"/>
                <a:gd name="T20" fmla="*/ 0 w 1006"/>
                <a:gd name="T21" fmla="*/ 504 h 1008"/>
                <a:gd name="T22" fmla="*/ 6 w 1006"/>
                <a:gd name="T23" fmla="*/ 581 h 1008"/>
                <a:gd name="T24" fmla="*/ 22 w 1006"/>
                <a:gd name="T25" fmla="*/ 654 h 1008"/>
                <a:gd name="T26" fmla="*/ 49 w 1006"/>
                <a:gd name="T27" fmla="*/ 723 h 1008"/>
                <a:gd name="T28" fmla="*/ 86 w 1006"/>
                <a:gd name="T29" fmla="*/ 786 h 1008"/>
                <a:gd name="T30" fmla="*/ 131 w 1006"/>
                <a:gd name="T31" fmla="*/ 843 h 1008"/>
                <a:gd name="T32" fmla="*/ 183 w 1006"/>
                <a:gd name="T33" fmla="*/ 893 h 1008"/>
                <a:gd name="T34" fmla="*/ 243 w 1006"/>
                <a:gd name="T35" fmla="*/ 936 h 1008"/>
                <a:gd name="T36" fmla="*/ 307 w 1006"/>
                <a:gd name="T37" fmla="*/ 969 h 1008"/>
                <a:gd name="T38" fmla="*/ 377 w 1006"/>
                <a:gd name="T39" fmla="*/ 992 h 1008"/>
                <a:gd name="T40" fmla="*/ 452 w 1006"/>
                <a:gd name="T41" fmla="*/ 1005 h 1008"/>
                <a:gd name="T42" fmla="*/ 529 w 1006"/>
                <a:gd name="T43" fmla="*/ 1007 h 1008"/>
                <a:gd name="T44" fmla="*/ 605 w 1006"/>
                <a:gd name="T45" fmla="*/ 998 h 1008"/>
                <a:gd name="T46" fmla="*/ 676 w 1006"/>
                <a:gd name="T47" fmla="*/ 978 h 1008"/>
                <a:gd name="T48" fmla="*/ 743 w 1006"/>
                <a:gd name="T49" fmla="*/ 948 h 1008"/>
                <a:gd name="T50" fmla="*/ 804 w 1006"/>
                <a:gd name="T51" fmla="*/ 908 h 1008"/>
                <a:gd name="T52" fmla="*/ 858 w 1006"/>
                <a:gd name="T53" fmla="*/ 861 h 1008"/>
                <a:gd name="T54" fmla="*/ 906 w 1006"/>
                <a:gd name="T55" fmla="*/ 805 h 1008"/>
                <a:gd name="T56" fmla="*/ 946 w 1006"/>
                <a:gd name="T57" fmla="*/ 744 h 1008"/>
                <a:gd name="T58" fmla="*/ 976 w 1006"/>
                <a:gd name="T59" fmla="*/ 677 h 1008"/>
                <a:gd name="T60" fmla="*/ 996 w 1006"/>
                <a:gd name="T61" fmla="*/ 606 h 1008"/>
                <a:gd name="T62" fmla="*/ 1005 w 1006"/>
                <a:gd name="T63" fmla="*/ 530 h 1008"/>
                <a:gd name="T64" fmla="*/ 1003 w 1006"/>
                <a:gd name="T65" fmla="*/ 453 h 1008"/>
                <a:gd name="T66" fmla="*/ 990 w 1006"/>
                <a:gd name="T67" fmla="*/ 378 h 1008"/>
                <a:gd name="T68" fmla="*/ 967 w 1006"/>
                <a:gd name="T69" fmla="*/ 307 h 1008"/>
                <a:gd name="T70" fmla="*/ 934 w 1006"/>
                <a:gd name="T71" fmla="*/ 243 h 1008"/>
                <a:gd name="T72" fmla="*/ 891 w 1006"/>
                <a:gd name="T73" fmla="*/ 183 h 1008"/>
                <a:gd name="T74" fmla="*/ 841 w 1006"/>
                <a:gd name="T75" fmla="*/ 131 h 1008"/>
                <a:gd name="T76" fmla="*/ 784 w 1006"/>
                <a:gd name="T77" fmla="*/ 86 h 1008"/>
                <a:gd name="T78" fmla="*/ 721 w 1006"/>
                <a:gd name="T79" fmla="*/ 49 h 1008"/>
                <a:gd name="T80" fmla="*/ 653 w 1006"/>
                <a:gd name="T81" fmla="*/ 22 h 1008"/>
                <a:gd name="T82" fmla="*/ 580 w 1006"/>
                <a:gd name="T83" fmla="*/ 6 h 1008"/>
                <a:gd name="T84" fmla="*/ 503 w 1006"/>
                <a:gd name="T85" fmla="*/ 0 h 1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" h="1008">
                  <a:moveTo>
                    <a:pt x="503" y="0"/>
                  </a:moveTo>
                  <a:lnTo>
                    <a:pt x="477" y="1"/>
                  </a:lnTo>
                  <a:lnTo>
                    <a:pt x="452" y="3"/>
                  </a:lnTo>
                  <a:lnTo>
                    <a:pt x="427" y="6"/>
                  </a:lnTo>
                  <a:lnTo>
                    <a:pt x="401" y="10"/>
                  </a:lnTo>
                  <a:lnTo>
                    <a:pt x="377" y="16"/>
                  </a:lnTo>
                  <a:lnTo>
                    <a:pt x="353" y="22"/>
                  </a:lnTo>
                  <a:lnTo>
                    <a:pt x="330" y="30"/>
                  </a:lnTo>
                  <a:lnTo>
                    <a:pt x="307" y="39"/>
                  </a:lnTo>
                  <a:lnTo>
                    <a:pt x="285" y="49"/>
                  </a:lnTo>
                  <a:lnTo>
                    <a:pt x="264" y="60"/>
                  </a:lnTo>
                  <a:lnTo>
                    <a:pt x="243" y="72"/>
                  </a:lnTo>
                  <a:lnTo>
                    <a:pt x="221" y="86"/>
                  </a:lnTo>
                  <a:lnTo>
                    <a:pt x="202" y="100"/>
                  </a:lnTo>
                  <a:lnTo>
                    <a:pt x="183" y="115"/>
                  </a:lnTo>
                  <a:lnTo>
                    <a:pt x="165" y="131"/>
                  </a:lnTo>
                  <a:lnTo>
                    <a:pt x="147" y="147"/>
                  </a:lnTo>
                  <a:lnTo>
                    <a:pt x="131" y="165"/>
                  </a:lnTo>
                  <a:lnTo>
                    <a:pt x="115" y="183"/>
                  </a:lnTo>
                  <a:lnTo>
                    <a:pt x="100" y="203"/>
                  </a:lnTo>
                  <a:lnTo>
                    <a:pt x="86" y="222"/>
                  </a:lnTo>
                  <a:lnTo>
                    <a:pt x="73" y="243"/>
                  </a:lnTo>
                  <a:lnTo>
                    <a:pt x="60" y="263"/>
                  </a:lnTo>
                  <a:lnTo>
                    <a:pt x="49" y="285"/>
                  </a:lnTo>
                  <a:lnTo>
                    <a:pt x="39" y="307"/>
                  </a:lnTo>
                  <a:lnTo>
                    <a:pt x="30" y="331"/>
                  </a:lnTo>
                  <a:lnTo>
                    <a:pt x="22" y="354"/>
                  </a:lnTo>
                  <a:lnTo>
                    <a:pt x="16" y="378"/>
                  </a:lnTo>
                  <a:lnTo>
                    <a:pt x="10" y="402"/>
                  </a:lnTo>
                  <a:lnTo>
                    <a:pt x="6" y="427"/>
                  </a:lnTo>
                  <a:lnTo>
                    <a:pt x="3" y="453"/>
                  </a:lnTo>
                  <a:lnTo>
                    <a:pt x="1" y="478"/>
                  </a:lnTo>
                  <a:lnTo>
                    <a:pt x="0" y="504"/>
                  </a:lnTo>
                  <a:lnTo>
                    <a:pt x="1" y="530"/>
                  </a:lnTo>
                  <a:lnTo>
                    <a:pt x="3" y="555"/>
                  </a:lnTo>
                  <a:lnTo>
                    <a:pt x="6" y="581"/>
                  </a:lnTo>
                  <a:lnTo>
                    <a:pt x="10" y="606"/>
                  </a:lnTo>
                  <a:lnTo>
                    <a:pt x="16" y="630"/>
                  </a:lnTo>
                  <a:lnTo>
                    <a:pt x="22" y="654"/>
                  </a:lnTo>
                  <a:lnTo>
                    <a:pt x="30" y="677"/>
                  </a:lnTo>
                  <a:lnTo>
                    <a:pt x="39" y="701"/>
                  </a:lnTo>
                  <a:lnTo>
                    <a:pt x="49" y="723"/>
                  </a:lnTo>
                  <a:lnTo>
                    <a:pt x="60" y="744"/>
                  </a:lnTo>
                  <a:lnTo>
                    <a:pt x="73" y="765"/>
                  </a:lnTo>
                  <a:lnTo>
                    <a:pt x="86" y="786"/>
                  </a:lnTo>
                  <a:lnTo>
                    <a:pt x="100" y="805"/>
                  </a:lnTo>
                  <a:lnTo>
                    <a:pt x="115" y="825"/>
                  </a:lnTo>
                  <a:lnTo>
                    <a:pt x="131" y="843"/>
                  </a:lnTo>
                  <a:lnTo>
                    <a:pt x="147" y="861"/>
                  </a:lnTo>
                  <a:lnTo>
                    <a:pt x="165" y="877"/>
                  </a:lnTo>
                  <a:lnTo>
                    <a:pt x="183" y="893"/>
                  </a:lnTo>
                  <a:lnTo>
                    <a:pt x="202" y="908"/>
                  </a:lnTo>
                  <a:lnTo>
                    <a:pt x="221" y="922"/>
                  </a:lnTo>
                  <a:lnTo>
                    <a:pt x="243" y="936"/>
                  </a:lnTo>
                  <a:lnTo>
                    <a:pt x="264" y="948"/>
                  </a:lnTo>
                  <a:lnTo>
                    <a:pt x="285" y="959"/>
                  </a:lnTo>
                  <a:lnTo>
                    <a:pt x="307" y="969"/>
                  </a:lnTo>
                  <a:lnTo>
                    <a:pt x="330" y="978"/>
                  </a:lnTo>
                  <a:lnTo>
                    <a:pt x="353" y="986"/>
                  </a:lnTo>
                  <a:lnTo>
                    <a:pt x="377" y="992"/>
                  </a:lnTo>
                  <a:lnTo>
                    <a:pt x="401" y="998"/>
                  </a:lnTo>
                  <a:lnTo>
                    <a:pt x="427" y="1002"/>
                  </a:lnTo>
                  <a:lnTo>
                    <a:pt x="452" y="1005"/>
                  </a:lnTo>
                  <a:lnTo>
                    <a:pt x="477" y="1007"/>
                  </a:lnTo>
                  <a:lnTo>
                    <a:pt x="503" y="1008"/>
                  </a:lnTo>
                  <a:lnTo>
                    <a:pt x="529" y="1007"/>
                  </a:lnTo>
                  <a:lnTo>
                    <a:pt x="554" y="1005"/>
                  </a:lnTo>
                  <a:lnTo>
                    <a:pt x="580" y="1002"/>
                  </a:lnTo>
                  <a:lnTo>
                    <a:pt x="605" y="998"/>
                  </a:lnTo>
                  <a:lnTo>
                    <a:pt x="629" y="992"/>
                  </a:lnTo>
                  <a:lnTo>
                    <a:pt x="653" y="986"/>
                  </a:lnTo>
                  <a:lnTo>
                    <a:pt x="676" y="978"/>
                  </a:lnTo>
                  <a:lnTo>
                    <a:pt x="699" y="969"/>
                  </a:lnTo>
                  <a:lnTo>
                    <a:pt x="721" y="959"/>
                  </a:lnTo>
                  <a:lnTo>
                    <a:pt x="743" y="948"/>
                  </a:lnTo>
                  <a:lnTo>
                    <a:pt x="764" y="936"/>
                  </a:lnTo>
                  <a:lnTo>
                    <a:pt x="784" y="922"/>
                  </a:lnTo>
                  <a:lnTo>
                    <a:pt x="804" y="908"/>
                  </a:lnTo>
                  <a:lnTo>
                    <a:pt x="823" y="893"/>
                  </a:lnTo>
                  <a:lnTo>
                    <a:pt x="841" y="877"/>
                  </a:lnTo>
                  <a:lnTo>
                    <a:pt x="858" y="861"/>
                  </a:lnTo>
                  <a:lnTo>
                    <a:pt x="875" y="843"/>
                  </a:lnTo>
                  <a:lnTo>
                    <a:pt x="891" y="825"/>
                  </a:lnTo>
                  <a:lnTo>
                    <a:pt x="906" y="805"/>
                  </a:lnTo>
                  <a:lnTo>
                    <a:pt x="921" y="786"/>
                  </a:lnTo>
                  <a:lnTo>
                    <a:pt x="934" y="765"/>
                  </a:lnTo>
                  <a:lnTo>
                    <a:pt x="946" y="744"/>
                  </a:lnTo>
                  <a:lnTo>
                    <a:pt x="957" y="723"/>
                  </a:lnTo>
                  <a:lnTo>
                    <a:pt x="967" y="701"/>
                  </a:lnTo>
                  <a:lnTo>
                    <a:pt x="976" y="677"/>
                  </a:lnTo>
                  <a:lnTo>
                    <a:pt x="983" y="654"/>
                  </a:lnTo>
                  <a:lnTo>
                    <a:pt x="990" y="630"/>
                  </a:lnTo>
                  <a:lnTo>
                    <a:pt x="996" y="606"/>
                  </a:lnTo>
                  <a:lnTo>
                    <a:pt x="1000" y="581"/>
                  </a:lnTo>
                  <a:lnTo>
                    <a:pt x="1003" y="555"/>
                  </a:lnTo>
                  <a:lnTo>
                    <a:pt x="1005" y="530"/>
                  </a:lnTo>
                  <a:lnTo>
                    <a:pt x="1006" y="504"/>
                  </a:lnTo>
                  <a:lnTo>
                    <a:pt x="1005" y="478"/>
                  </a:lnTo>
                  <a:lnTo>
                    <a:pt x="1003" y="453"/>
                  </a:lnTo>
                  <a:lnTo>
                    <a:pt x="1000" y="427"/>
                  </a:lnTo>
                  <a:lnTo>
                    <a:pt x="996" y="402"/>
                  </a:lnTo>
                  <a:lnTo>
                    <a:pt x="990" y="378"/>
                  </a:lnTo>
                  <a:lnTo>
                    <a:pt x="983" y="354"/>
                  </a:lnTo>
                  <a:lnTo>
                    <a:pt x="976" y="331"/>
                  </a:lnTo>
                  <a:lnTo>
                    <a:pt x="967" y="307"/>
                  </a:lnTo>
                  <a:lnTo>
                    <a:pt x="957" y="285"/>
                  </a:lnTo>
                  <a:lnTo>
                    <a:pt x="946" y="263"/>
                  </a:lnTo>
                  <a:lnTo>
                    <a:pt x="934" y="243"/>
                  </a:lnTo>
                  <a:lnTo>
                    <a:pt x="921" y="222"/>
                  </a:lnTo>
                  <a:lnTo>
                    <a:pt x="906" y="203"/>
                  </a:lnTo>
                  <a:lnTo>
                    <a:pt x="891" y="183"/>
                  </a:lnTo>
                  <a:lnTo>
                    <a:pt x="875" y="165"/>
                  </a:lnTo>
                  <a:lnTo>
                    <a:pt x="858" y="147"/>
                  </a:lnTo>
                  <a:lnTo>
                    <a:pt x="841" y="131"/>
                  </a:lnTo>
                  <a:lnTo>
                    <a:pt x="823" y="115"/>
                  </a:lnTo>
                  <a:lnTo>
                    <a:pt x="804" y="100"/>
                  </a:lnTo>
                  <a:lnTo>
                    <a:pt x="784" y="86"/>
                  </a:lnTo>
                  <a:lnTo>
                    <a:pt x="764" y="72"/>
                  </a:lnTo>
                  <a:lnTo>
                    <a:pt x="743" y="60"/>
                  </a:lnTo>
                  <a:lnTo>
                    <a:pt x="721" y="49"/>
                  </a:lnTo>
                  <a:lnTo>
                    <a:pt x="699" y="39"/>
                  </a:lnTo>
                  <a:lnTo>
                    <a:pt x="676" y="30"/>
                  </a:lnTo>
                  <a:lnTo>
                    <a:pt x="653" y="22"/>
                  </a:lnTo>
                  <a:lnTo>
                    <a:pt x="629" y="16"/>
                  </a:lnTo>
                  <a:lnTo>
                    <a:pt x="605" y="10"/>
                  </a:lnTo>
                  <a:lnTo>
                    <a:pt x="580" y="6"/>
                  </a:lnTo>
                  <a:lnTo>
                    <a:pt x="554" y="3"/>
                  </a:lnTo>
                  <a:lnTo>
                    <a:pt x="529" y="1"/>
                  </a:lnTo>
                  <a:lnTo>
                    <a:pt x="50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31" name="îšļiḓe">
              <a:extLst>
                <a:ext uri="{FF2B5EF4-FFF2-40B4-BE49-F238E27FC236}">
                  <a16:creationId xmlns:a16="http://schemas.microsoft.com/office/drawing/2014/main" id="{9B02743E-0EFC-43EE-8684-C70D341F45C5}"/>
                </a:ext>
              </a:extLst>
            </p:cNvPr>
            <p:cNvSpPr/>
            <p:nvPr/>
          </p:nvSpPr>
          <p:spPr bwMode="auto">
            <a:xfrm>
              <a:off x="5951154" y="3800489"/>
              <a:ext cx="159468" cy="102588"/>
            </a:xfrm>
            <a:custGeom>
              <a:avLst/>
              <a:gdLst>
                <a:gd name="T0" fmla="*/ 4713 w 5797"/>
                <a:gd name="T1" fmla="*/ 41 h 3756"/>
                <a:gd name="T2" fmla="*/ 3661 w 5797"/>
                <a:gd name="T3" fmla="*/ 216 h 3756"/>
                <a:gd name="T4" fmla="*/ 2695 w 5797"/>
                <a:gd name="T5" fmla="*/ 516 h 3756"/>
                <a:gd name="T6" fmla="*/ 1839 w 5797"/>
                <a:gd name="T7" fmla="*/ 924 h 3756"/>
                <a:gd name="T8" fmla="*/ 1118 w 5797"/>
                <a:gd name="T9" fmla="*/ 1423 h 3756"/>
                <a:gd name="T10" fmla="*/ 556 w 5797"/>
                <a:gd name="T11" fmla="*/ 2001 h 3756"/>
                <a:gd name="T12" fmla="*/ 178 w 5797"/>
                <a:gd name="T13" fmla="*/ 2641 h 3756"/>
                <a:gd name="T14" fmla="*/ 7 w 5797"/>
                <a:gd name="T15" fmla="*/ 3329 h 3756"/>
                <a:gd name="T16" fmla="*/ 3 w 5797"/>
                <a:gd name="T17" fmla="*/ 3544 h 3756"/>
                <a:gd name="T18" fmla="*/ 15 w 5797"/>
                <a:gd name="T19" fmla="*/ 3592 h 3756"/>
                <a:gd name="T20" fmla="*/ 36 w 5797"/>
                <a:gd name="T21" fmla="*/ 3636 h 3756"/>
                <a:gd name="T22" fmla="*/ 65 w 5797"/>
                <a:gd name="T23" fmla="*/ 3674 h 3756"/>
                <a:gd name="T24" fmla="*/ 100 w 5797"/>
                <a:gd name="T25" fmla="*/ 3706 h 3756"/>
                <a:gd name="T26" fmla="*/ 143 w 5797"/>
                <a:gd name="T27" fmla="*/ 3731 h 3756"/>
                <a:gd name="T28" fmla="*/ 189 w 5797"/>
                <a:gd name="T29" fmla="*/ 3748 h 3756"/>
                <a:gd name="T30" fmla="*/ 239 w 5797"/>
                <a:gd name="T31" fmla="*/ 3756 h 3756"/>
                <a:gd name="T32" fmla="*/ 290 w 5797"/>
                <a:gd name="T33" fmla="*/ 3753 h 3756"/>
                <a:gd name="T34" fmla="*/ 338 w 5797"/>
                <a:gd name="T35" fmla="*/ 3741 h 3756"/>
                <a:gd name="T36" fmla="*/ 383 w 5797"/>
                <a:gd name="T37" fmla="*/ 3720 h 3756"/>
                <a:gd name="T38" fmla="*/ 421 w 5797"/>
                <a:gd name="T39" fmla="*/ 3691 h 3756"/>
                <a:gd name="T40" fmla="*/ 453 w 5797"/>
                <a:gd name="T41" fmla="*/ 3655 h 3756"/>
                <a:gd name="T42" fmla="*/ 479 w 5797"/>
                <a:gd name="T43" fmla="*/ 3614 h 3756"/>
                <a:gd name="T44" fmla="*/ 496 w 5797"/>
                <a:gd name="T45" fmla="*/ 3568 h 3756"/>
                <a:gd name="T46" fmla="*/ 504 w 5797"/>
                <a:gd name="T47" fmla="*/ 3519 h 3756"/>
                <a:gd name="T48" fmla="*/ 564 w 5797"/>
                <a:gd name="T49" fmla="*/ 3062 h 3756"/>
                <a:gd name="T50" fmla="*/ 820 w 5797"/>
                <a:gd name="T51" fmla="*/ 2496 h 3756"/>
                <a:gd name="T52" fmla="*/ 1257 w 5797"/>
                <a:gd name="T53" fmla="*/ 1973 h 3756"/>
                <a:gd name="T54" fmla="*/ 1848 w 5797"/>
                <a:gd name="T55" fmla="*/ 1509 h 3756"/>
                <a:gd name="T56" fmla="*/ 2572 w 5797"/>
                <a:gd name="T57" fmla="*/ 1115 h 3756"/>
                <a:gd name="T58" fmla="*/ 3402 w 5797"/>
                <a:gd name="T59" fmla="*/ 807 h 3756"/>
                <a:gd name="T60" fmla="*/ 4318 w 5797"/>
                <a:gd name="T61" fmla="*/ 599 h 3756"/>
                <a:gd name="T62" fmla="*/ 5294 w 5797"/>
                <a:gd name="T63" fmla="*/ 505 h 3756"/>
                <a:gd name="T64" fmla="*/ 5583 w 5797"/>
                <a:gd name="T65" fmla="*/ 498 h 3756"/>
                <a:gd name="T66" fmla="*/ 5632 w 5797"/>
                <a:gd name="T67" fmla="*/ 486 h 3756"/>
                <a:gd name="T68" fmla="*/ 5676 w 5797"/>
                <a:gd name="T69" fmla="*/ 465 h 3756"/>
                <a:gd name="T70" fmla="*/ 5714 w 5797"/>
                <a:gd name="T71" fmla="*/ 436 h 3756"/>
                <a:gd name="T72" fmla="*/ 5747 w 5797"/>
                <a:gd name="T73" fmla="*/ 401 h 3756"/>
                <a:gd name="T74" fmla="*/ 5772 w 5797"/>
                <a:gd name="T75" fmla="*/ 359 h 3756"/>
                <a:gd name="T76" fmla="*/ 5789 w 5797"/>
                <a:gd name="T77" fmla="*/ 313 h 3756"/>
                <a:gd name="T78" fmla="*/ 5797 w 5797"/>
                <a:gd name="T79" fmla="*/ 264 h 3756"/>
                <a:gd name="T80" fmla="*/ 5794 w 5797"/>
                <a:gd name="T81" fmla="*/ 212 h 3756"/>
                <a:gd name="T82" fmla="*/ 5782 w 5797"/>
                <a:gd name="T83" fmla="*/ 164 h 3756"/>
                <a:gd name="T84" fmla="*/ 5761 w 5797"/>
                <a:gd name="T85" fmla="*/ 120 h 3756"/>
                <a:gd name="T86" fmla="*/ 5732 w 5797"/>
                <a:gd name="T87" fmla="*/ 82 h 3756"/>
                <a:gd name="T88" fmla="*/ 5696 w 5797"/>
                <a:gd name="T89" fmla="*/ 50 h 3756"/>
                <a:gd name="T90" fmla="*/ 5654 w 5797"/>
                <a:gd name="T91" fmla="*/ 25 h 3756"/>
                <a:gd name="T92" fmla="*/ 5609 w 5797"/>
                <a:gd name="T93" fmla="*/ 8 h 3756"/>
                <a:gd name="T94" fmla="*/ 5558 w 5797"/>
                <a:gd name="T95" fmla="*/ 0 h 3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797" h="3756">
                  <a:moveTo>
                    <a:pt x="5545" y="0"/>
                  </a:moveTo>
                  <a:lnTo>
                    <a:pt x="5265" y="5"/>
                  </a:lnTo>
                  <a:lnTo>
                    <a:pt x="4987" y="18"/>
                  </a:lnTo>
                  <a:lnTo>
                    <a:pt x="4713" y="41"/>
                  </a:lnTo>
                  <a:lnTo>
                    <a:pt x="4444" y="73"/>
                  </a:lnTo>
                  <a:lnTo>
                    <a:pt x="4178" y="112"/>
                  </a:lnTo>
                  <a:lnTo>
                    <a:pt x="3917" y="160"/>
                  </a:lnTo>
                  <a:lnTo>
                    <a:pt x="3661" y="216"/>
                  </a:lnTo>
                  <a:lnTo>
                    <a:pt x="3411" y="281"/>
                  </a:lnTo>
                  <a:lnTo>
                    <a:pt x="3166" y="352"/>
                  </a:lnTo>
                  <a:lnTo>
                    <a:pt x="2927" y="431"/>
                  </a:lnTo>
                  <a:lnTo>
                    <a:pt x="2695" y="516"/>
                  </a:lnTo>
                  <a:lnTo>
                    <a:pt x="2470" y="608"/>
                  </a:lnTo>
                  <a:lnTo>
                    <a:pt x="2251" y="707"/>
                  </a:lnTo>
                  <a:lnTo>
                    <a:pt x="2041" y="812"/>
                  </a:lnTo>
                  <a:lnTo>
                    <a:pt x="1839" y="924"/>
                  </a:lnTo>
                  <a:lnTo>
                    <a:pt x="1645" y="1041"/>
                  </a:lnTo>
                  <a:lnTo>
                    <a:pt x="1460" y="1163"/>
                  </a:lnTo>
                  <a:lnTo>
                    <a:pt x="1284" y="1291"/>
                  </a:lnTo>
                  <a:lnTo>
                    <a:pt x="1118" y="1423"/>
                  </a:lnTo>
                  <a:lnTo>
                    <a:pt x="961" y="1562"/>
                  </a:lnTo>
                  <a:lnTo>
                    <a:pt x="815" y="1704"/>
                  </a:lnTo>
                  <a:lnTo>
                    <a:pt x="680" y="1851"/>
                  </a:lnTo>
                  <a:lnTo>
                    <a:pt x="556" y="2001"/>
                  </a:lnTo>
                  <a:lnTo>
                    <a:pt x="443" y="2157"/>
                  </a:lnTo>
                  <a:lnTo>
                    <a:pt x="342" y="2315"/>
                  </a:lnTo>
                  <a:lnTo>
                    <a:pt x="254" y="2477"/>
                  </a:lnTo>
                  <a:lnTo>
                    <a:pt x="178" y="2641"/>
                  </a:lnTo>
                  <a:lnTo>
                    <a:pt x="115" y="2810"/>
                  </a:lnTo>
                  <a:lnTo>
                    <a:pt x="65" y="2980"/>
                  </a:lnTo>
                  <a:lnTo>
                    <a:pt x="29" y="3153"/>
                  </a:lnTo>
                  <a:lnTo>
                    <a:pt x="7" y="3329"/>
                  </a:lnTo>
                  <a:lnTo>
                    <a:pt x="0" y="3506"/>
                  </a:lnTo>
                  <a:lnTo>
                    <a:pt x="0" y="3519"/>
                  </a:lnTo>
                  <a:lnTo>
                    <a:pt x="1" y="3531"/>
                  </a:lnTo>
                  <a:lnTo>
                    <a:pt x="3" y="3544"/>
                  </a:lnTo>
                  <a:lnTo>
                    <a:pt x="5" y="3556"/>
                  </a:lnTo>
                  <a:lnTo>
                    <a:pt x="8" y="3568"/>
                  </a:lnTo>
                  <a:lnTo>
                    <a:pt x="11" y="3580"/>
                  </a:lnTo>
                  <a:lnTo>
                    <a:pt x="15" y="3592"/>
                  </a:lnTo>
                  <a:lnTo>
                    <a:pt x="20" y="3603"/>
                  </a:lnTo>
                  <a:lnTo>
                    <a:pt x="25" y="3614"/>
                  </a:lnTo>
                  <a:lnTo>
                    <a:pt x="30" y="3625"/>
                  </a:lnTo>
                  <a:lnTo>
                    <a:pt x="36" y="3636"/>
                  </a:lnTo>
                  <a:lnTo>
                    <a:pt x="43" y="3646"/>
                  </a:lnTo>
                  <a:lnTo>
                    <a:pt x="50" y="3655"/>
                  </a:lnTo>
                  <a:lnTo>
                    <a:pt x="57" y="3665"/>
                  </a:lnTo>
                  <a:lnTo>
                    <a:pt x="65" y="3674"/>
                  </a:lnTo>
                  <a:lnTo>
                    <a:pt x="73" y="3683"/>
                  </a:lnTo>
                  <a:lnTo>
                    <a:pt x="82" y="3691"/>
                  </a:lnTo>
                  <a:lnTo>
                    <a:pt x="91" y="3699"/>
                  </a:lnTo>
                  <a:lnTo>
                    <a:pt x="100" y="3706"/>
                  </a:lnTo>
                  <a:lnTo>
                    <a:pt x="111" y="3713"/>
                  </a:lnTo>
                  <a:lnTo>
                    <a:pt x="121" y="3720"/>
                  </a:lnTo>
                  <a:lnTo>
                    <a:pt x="132" y="3726"/>
                  </a:lnTo>
                  <a:lnTo>
                    <a:pt x="143" y="3731"/>
                  </a:lnTo>
                  <a:lnTo>
                    <a:pt x="154" y="3736"/>
                  </a:lnTo>
                  <a:lnTo>
                    <a:pt x="165" y="3741"/>
                  </a:lnTo>
                  <a:lnTo>
                    <a:pt x="177" y="3745"/>
                  </a:lnTo>
                  <a:lnTo>
                    <a:pt x="189" y="3748"/>
                  </a:lnTo>
                  <a:lnTo>
                    <a:pt x="201" y="3751"/>
                  </a:lnTo>
                  <a:lnTo>
                    <a:pt x="213" y="3753"/>
                  </a:lnTo>
                  <a:lnTo>
                    <a:pt x="226" y="3755"/>
                  </a:lnTo>
                  <a:lnTo>
                    <a:pt x="239" y="3756"/>
                  </a:lnTo>
                  <a:lnTo>
                    <a:pt x="252" y="3756"/>
                  </a:lnTo>
                  <a:lnTo>
                    <a:pt x="265" y="3756"/>
                  </a:lnTo>
                  <a:lnTo>
                    <a:pt x="278" y="3755"/>
                  </a:lnTo>
                  <a:lnTo>
                    <a:pt x="290" y="3753"/>
                  </a:lnTo>
                  <a:lnTo>
                    <a:pt x="302" y="3751"/>
                  </a:lnTo>
                  <a:lnTo>
                    <a:pt x="315" y="3748"/>
                  </a:lnTo>
                  <a:lnTo>
                    <a:pt x="326" y="3745"/>
                  </a:lnTo>
                  <a:lnTo>
                    <a:pt x="338" y="3741"/>
                  </a:lnTo>
                  <a:lnTo>
                    <a:pt x="349" y="3736"/>
                  </a:lnTo>
                  <a:lnTo>
                    <a:pt x="361" y="3731"/>
                  </a:lnTo>
                  <a:lnTo>
                    <a:pt x="372" y="3726"/>
                  </a:lnTo>
                  <a:lnTo>
                    <a:pt x="383" y="3720"/>
                  </a:lnTo>
                  <a:lnTo>
                    <a:pt x="393" y="3713"/>
                  </a:lnTo>
                  <a:lnTo>
                    <a:pt x="403" y="3706"/>
                  </a:lnTo>
                  <a:lnTo>
                    <a:pt x="412" y="3699"/>
                  </a:lnTo>
                  <a:lnTo>
                    <a:pt x="421" y="3691"/>
                  </a:lnTo>
                  <a:lnTo>
                    <a:pt x="430" y="3683"/>
                  </a:lnTo>
                  <a:lnTo>
                    <a:pt x="438" y="3674"/>
                  </a:lnTo>
                  <a:lnTo>
                    <a:pt x="446" y="3665"/>
                  </a:lnTo>
                  <a:lnTo>
                    <a:pt x="453" y="3655"/>
                  </a:lnTo>
                  <a:lnTo>
                    <a:pt x="460" y="3646"/>
                  </a:lnTo>
                  <a:lnTo>
                    <a:pt x="467" y="3636"/>
                  </a:lnTo>
                  <a:lnTo>
                    <a:pt x="474" y="3625"/>
                  </a:lnTo>
                  <a:lnTo>
                    <a:pt x="479" y="3614"/>
                  </a:lnTo>
                  <a:lnTo>
                    <a:pt x="484" y="3603"/>
                  </a:lnTo>
                  <a:lnTo>
                    <a:pt x="489" y="3592"/>
                  </a:lnTo>
                  <a:lnTo>
                    <a:pt x="493" y="3580"/>
                  </a:lnTo>
                  <a:lnTo>
                    <a:pt x="496" y="3568"/>
                  </a:lnTo>
                  <a:lnTo>
                    <a:pt x="499" y="3556"/>
                  </a:lnTo>
                  <a:lnTo>
                    <a:pt x="501" y="3544"/>
                  </a:lnTo>
                  <a:lnTo>
                    <a:pt x="503" y="3531"/>
                  </a:lnTo>
                  <a:lnTo>
                    <a:pt x="504" y="3519"/>
                  </a:lnTo>
                  <a:lnTo>
                    <a:pt x="504" y="3506"/>
                  </a:lnTo>
                  <a:lnTo>
                    <a:pt x="511" y="3357"/>
                  </a:lnTo>
                  <a:lnTo>
                    <a:pt x="531" y="3208"/>
                  </a:lnTo>
                  <a:lnTo>
                    <a:pt x="564" y="3062"/>
                  </a:lnTo>
                  <a:lnTo>
                    <a:pt x="611" y="2917"/>
                  </a:lnTo>
                  <a:lnTo>
                    <a:pt x="669" y="2775"/>
                  </a:lnTo>
                  <a:lnTo>
                    <a:pt x="739" y="2634"/>
                  </a:lnTo>
                  <a:lnTo>
                    <a:pt x="820" y="2496"/>
                  </a:lnTo>
                  <a:lnTo>
                    <a:pt x="914" y="2361"/>
                  </a:lnTo>
                  <a:lnTo>
                    <a:pt x="1018" y="2229"/>
                  </a:lnTo>
                  <a:lnTo>
                    <a:pt x="1132" y="2100"/>
                  </a:lnTo>
                  <a:lnTo>
                    <a:pt x="1257" y="1973"/>
                  </a:lnTo>
                  <a:lnTo>
                    <a:pt x="1391" y="1851"/>
                  </a:lnTo>
                  <a:lnTo>
                    <a:pt x="1534" y="1733"/>
                  </a:lnTo>
                  <a:lnTo>
                    <a:pt x="1686" y="1619"/>
                  </a:lnTo>
                  <a:lnTo>
                    <a:pt x="1848" y="1509"/>
                  </a:lnTo>
                  <a:lnTo>
                    <a:pt x="2017" y="1403"/>
                  </a:lnTo>
                  <a:lnTo>
                    <a:pt x="2195" y="1302"/>
                  </a:lnTo>
                  <a:lnTo>
                    <a:pt x="2379" y="1206"/>
                  </a:lnTo>
                  <a:lnTo>
                    <a:pt x="2572" y="1115"/>
                  </a:lnTo>
                  <a:lnTo>
                    <a:pt x="2769" y="1030"/>
                  </a:lnTo>
                  <a:lnTo>
                    <a:pt x="2975" y="950"/>
                  </a:lnTo>
                  <a:lnTo>
                    <a:pt x="3186" y="876"/>
                  </a:lnTo>
                  <a:lnTo>
                    <a:pt x="3402" y="807"/>
                  </a:lnTo>
                  <a:lnTo>
                    <a:pt x="3624" y="745"/>
                  </a:lnTo>
                  <a:lnTo>
                    <a:pt x="3851" y="690"/>
                  </a:lnTo>
                  <a:lnTo>
                    <a:pt x="4083" y="641"/>
                  </a:lnTo>
                  <a:lnTo>
                    <a:pt x="4318" y="599"/>
                  </a:lnTo>
                  <a:lnTo>
                    <a:pt x="4557" y="564"/>
                  </a:lnTo>
                  <a:lnTo>
                    <a:pt x="4800" y="537"/>
                  </a:lnTo>
                  <a:lnTo>
                    <a:pt x="5046" y="517"/>
                  </a:lnTo>
                  <a:lnTo>
                    <a:pt x="5294" y="505"/>
                  </a:lnTo>
                  <a:lnTo>
                    <a:pt x="5545" y="501"/>
                  </a:lnTo>
                  <a:lnTo>
                    <a:pt x="5558" y="501"/>
                  </a:lnTo>
                  <a:lnTo>
                    <a:pt x="5571" y="500"/>
                  </a:lnTo>
                  <a:lnTo>
                    <a:pt x="5583" y="498"/>
                  </a:lnTo>
                  <a:lnTo>
                    <a:pt x="5595" y="496"/>
                  </a:lnTo>
                  <a:lnTo>
                    <a:pt x="5609" y="493"/>
                  </a:lnTo>
                  <a:lnTo>
                    <a:pt x="5620" y="490"/>
                  </a:lnTo>
                  <a:lnTo>
                    <a:pt x="5632" y="486"/>
                  </a:lnTo>
                  <a:lnTo>
                    <a:pt x="5643" y="481"/>
                  </a:lnTo>
                  <a:lnTo>
                    <a:pt x="5654" y="476"/>
                  </a:lnTo>
                  <a:lnTo>
                    <a:pt x="5665" y="471"/>
                  </a:lnTo>
                  <a:lnTo>
                    <a:pt x="5676" y="465"/>
                  </a:lnTo>
                  <a:lnTo>
                    <a:pt x="5686" y="458"/>
                  </a:lnTo>
                  <a:lnTo>
                    <a:pt x="5696" y="451"/>
                  </a:lnTo>
                  <a:lnTo>
                    <a:pt x="5705" y="444"/>
                  </a:lnTo>
                  <a:lnTo>
                    <a:pt x="5714" y="436"/>
                  </a:lnTo>
                  <a:lnTo>
                    <a:pt x="5723" y="428"/>
                  </a:lnTo>
                  <a:lnTo>
                    <a:pt x="5732" y="419"/>
                  </a:lnTo>
                  <a:lnTo>
                    <a:pt x="5740" y="410"/>
                  </a:lnTo>
                  <a:lnTo>
                    <a:pt x="5747" y="401"/>
                  </a:lnTo>
                  <a:lnTo>
                    <a:pt x="5754" y="391"/>
                  </a:lnTo>
                  <a:lnTo>
                    <a:pt x="5761" y="381"/>
                  </a:lnTo>
                  <a:lnTo>
                    <a:pt x="5767" y="370"/>
                  </a:lnTo>
                  <a:lnTo>
                    <a:pt x="5772" y="359"/>
                  </a:lnTo>
                  <a:lnTo>
                    <a:pt x="5777" y="348"/>
                  </a:lnTo>
                  <a:lnTo>
                    <a:pt x="5782" y="337"/>
                  </a:lnTo>
                  <a:lnTo>
                    <a:pt x="5786" y="325"/>
                  </a:lnTo>
                  <a:lnTo>
                    <a:pt x="5789" y="313"/>
                  </a:lnTo>
                  <a:lnTo>
                    <a:pt x="5792" y="301"/>
                  </a:lnTo>
                  <a:lnTo>
                    <a:pt x="5794" y="289"/>
                  </a:lnTo>
                  <a:lnTo>
                    <a:pt x="5796" y="277"/>
                  </a:lnTo>
                  <a:lnTo>
                    <a:pt x="5797" y="264"/>
                  </a:lnTo>
                  <a:lnTo>
                    <a:pt x="5797" y="251"/>
                  </a:lnTo>
                  <a:lnTo>
                    <a:pt x="5797" y="237"/>
                  </a:lnTo>
                  <a:lnTo>
                    <a:pt x="5796" y="225"/>
                  </a:lnTo>
                  <a:lnTo>
                    <a:pt x="5794" y="212"/>
                  </a:lnTo>
                  <a:lnTo>
                    <a:pt x="5792" y="200"/>
                  </a:lnTo>
                  <a:lnTo>
                    <a:pt x="5789" y="188"/>
                  </a:lnTo>
                  <a:lnTo>
                    <a:pt x="5786" y="176"/>
                  </a:lnTo>
                  <a:lnTo>
                    <a:pt x="5782" y="164"/>
                  </a:lnTo>
                  <a:lnTo>
                    <a:pt x="5777" y="153"/>
                  </a:lnTo>
                  <a:lnTo>
                    <a:pt x="5772" y="142"/>
                  </a:lnTo>
                  <a:lnTo>
                    <a:pt x="5767" y="131"/>
                  </a:lnTo>
                  <a:lnTo>
                    <a:pt x="5761" y="120"/>
                  </a:lnTo>
                  <a:lnTo>
                    <a:pt x="5754" y="110"/>
                  </a:lnTo>
                  <a:lnTo>
                    <a:pt x="5747" y="100"/>
                  </a:lnTo>
                  <a:lnTo>
                    <a:pt x="5740" y="91"/>
                  </a:lnTo>
                  <a:lnTo>
                    <a:pt x="5732" y="82"/>
                  </a:lnTo>
                  <a:lnTo>
                    <a:pt x="5723" y="73"/>
                  </a:lnTo>
                  <a:lnTo>
                    <a:pt x="5714" y="65"/>
                  </a:lnTo>
                  <a:lnTo>
                    <a:pt x="5705" y="57"/>
                  </a:lnTo>
                  <a:lnTo>
                    <a:pt x="5696" y="50"/>
                  </a:lnTo>
                  <a:lnTo>
                    <a:pt x="5686" y="43"/>
                  </a:lnTo>
                  <a:lnTo>
                    <a:pt x="5676" y="36"/>
                  </a:lnTo>
                  <a:lnTo>
                    <a:pt x="5665" y="30"/>
                  </a:lnTo>
                  <a:lnTo>
                    <a:pt x="5654" y="25"/>
                  </a:lnTo>
                  <a:lnTo>
                    <a:pt x="5643" y="20"/>
                  </a:lnTo>
                  <a:lnTo>
                    <a:pt x="5632" y="15"/>
                  </a:lnTo>
                  <a:lnTo>
                    <a:pt x="5620" y="11"/>
                  </a:lnTo>
                  <a:lnTo>
                    <a:pt x="5609" y="8"/>
                  </a:lnTo>
                  <a:lnTo>
                    <a:pt x="5595" y="5"/>
                  </a:lnTo>
                  <a:lnTo>
                    <a:pt x="5583" y="3"/>
                  </a:lnTo>
                  <a:lnTo>
                    <a:pt x="5571" y="1"/>
                  </a:lnTo>
                  <a:lnTo>
                    <a:pt x="5558" y="0"/>
                  </a:lnTo>
                  <a:lnTo>
                    <a:pt x="55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32" name="î$1iḋê">
              <a:extLst>
                <a:ext uri="{FF2B5EF4-FFF2-40B4-BE49-F238E27FC236}">
                  <a16:creationId xmlns:a16="http://schemas.microsoft.com/office/drawing/2014/main" id="{337B8878-74F0-41F2-8EB1-130A72F64DBC}"/>
                </a:ext>
              </a:extLst>
            </p:cNvPr>
            <p:cNvSpPr/>
            <p:nvPr/>
          </p:nvSpPr>
          <p:spPr bwMode="auto">
            <a:xfrm>
              <a:off x="5882085" y="3731420"/>
              <a:ext cx="442853" cy="384957"/>
            </a:xfrm>
            <a:custGeom>
              <a:avLst/>
              <a:gdLst>
                <a:gd name="T0" fmla="*/ 7365 w 16132"/>
                <a:gd name="T1" fmla="*/ 10992 h 14023"/>
                <a:gd name="T2" fmla="*/ 6620 w 16132"/>
                <a:gd name="T3" fmla="*/ 10910 h 14023"/>
                <a:gd name="T4" fmla="*/ 6344 w 16132"/>
                <a:gd name="T5" fmla="*/ 10917 h 14023"/>
                <a:gd name="T6" fmla="*/ 6106 w 16132"/>
                <a:gd name="T7" fmla="*/ 10988 h 14023"/>
                <a:gd name="T8" fmla="*/ 5892 w 16132"/>
                <a:gd name="T9" fmla="*/ 11114 h 14023"/>
                <a:gd name="T10" fmla="*/ 5710 w 16132"/>
                <a:gd name="T11" fmla="*/ 11296 h 14023"/>
                <a:gd name="T12" fmla="*/ 5336 w 16132"/>
                <a:gd name="T13" fmla="*/ 11674 h 14023"/>
                <a:gd name="T14" fmla="*/ 4873 w 16132"/>
                <a:gd name="T15" fmla="*/ 12065 h 14023"/>
                <a:gd name="T16" fmla="*/ 4310 w 16132"/>
                <a:gd name="T17" fmla="*/ 12459 h 14023"/>
                <a:gd name="T18" fmla="*/ 4388 w 16132"/>
                <a:gd name="T19" fmla="*/ 11971 h 14023"/>
                <a:gd name="T20" fmla="*/ 4488 w 16132"/>
                <a:gd name="T21" fmla="*/ 11553 h 14023"/>
                <a:gd name="T22" fmla="*/ 4535 w 16132"/>
                <a:gd name="T23" fmla="*/ 11121 h 14023"/>
                <a:gd name="T24" fmla="*/ 4531 w 16132"/>
                <a:gd name="T25" fmla="*/ 10842 h 14023"/>
                <a:gd name="T26" fmla="*/ 4442 w 16132"/>
                <a:gd name="T27" fmla="*/ 10547 h 14023"/>
                <a:gd name="T28" fmla="*/ 4269 w 16132"/>
                <a:gd name="T29" fmla="*/ 10296 h 14023"/>
                <a:gd name="T30" fmla="*/ 4023 w 16132"/>
                <a:gd name="T31" fmla="*/ 10106 h 14023"/>
                <a:gd name="T32" fmla="*/ 2737 w 16132"/>
                <a:gd name="T33" fmla="*/ 9277 h 14023"/>
                <a:gd name="T34" fmla="*/ 1706 w 16132"/>
                <a:gd name="T35" fmla="*/ 8163 h 14023"/>
                <a:gd name="T36" fmla="*/ 1123 w 16132"/>
                <a:gd name="T37" fmla="*/ 6901 h 14023"/>
                <a:gd name="T38" fmla="*/ 1090 w 16132"/>
                <a:gd name="T39" fmla="*/ 5248 h 14023"/>
                <a:gd name="T40" fmla="*/ 2215 w 16132"/>
                <a:gd name="T41" fmla="*/ 3211 h 14023"/>
                <a:gd name="T42" fmla="*/ 4409 w 16132"/>
                <a:gd name="T43" fmla="*/ 1728 h 14023"/>
                <a:gd name="T44" fmla="*/ 7345 w 16132"/>
                <a:gd name="T45" fmla="*/ 1028 h 14023"/>
                <a:gd name="T46" fmla="*/ 10490 w 16132"/>
                <a:gd name="T47" fmla="*/ 1306 h 14023"/>
                <a:gd name="T48" fmla="*/ 13054 w 16132"/>
                <a:gd name="T49" fmla="*/ 2470 h 14023"/>
                <a:gd name="T50" fmla="*/ 14695 w 16132"/>
                <a:gd name="T51" fmla="*/ 4290 h 14023"/>
                <a:gd name="T52" fmla="*/ 15087 w 16132"/>
                <a:gd name="T53" fmla="*/ 6521 h 14023"/>
                <a:gd name="T54" fmla="*/ 14100 w 16132"/>
                <a:gd name="T55" fmla="*/ 8605 h 14023"/>
                <a:gd name="T56" fmla="*/ 12009 w 16132"/>
                <a:gd name="T57" fmla="*/ 10162 h 14023"/>
                <a:gd name="T58" fmla="*/ 9140 w 16132"/>
                <a:gd name="T59" fmla="*/ 10960 h 14023"/>
                <a:gd name="T60" fmla="*/ 6051 w 16132"/>
                <a:gd name="T61" fmla="*/ 189 h 14023"/>
                <a:gd name="T62" fmla="*/ 2935 w 16132"/>
                <a:gd name="T63" fmla="*/ 1372 h 14023"/>
                <a:gd name="T64" fmla="*/ 796 w 16132"/>
                <a:gd name="T65" fmla="*/ 3405 h 14023"/>
                <a:gd name="T66" fmla="*/ 0 w 16132"/>
                <a:gd name="T67" fmla="*/ 6010 h 14023"/>
                <a:gd name="T68" fmla="*/ 318 w 16132"/>
                <a:gd name="T69" fmla="*/ 7685 h 14023"/>
                <a:gd name="T70" fmla="*/ 1211 w 16132"/>
                <a:gd name="T71" fmla="*/ 9177 h 14023"/>
                <a:gd name="T72" fmla="*/ 2590 w 16132"/>
                <a:gd name="T73" fmla="*/ 10421 h 14023"/>
                <a:gd name="T74" fmla="*/ 3529 w 16132"/>
                <a:gd name="T75" fmla="*/ 11018 h 14023"/>
                <a:gd name="T76" fmla="*/ 3392 w 16132"/>
                <a:gd name="T77" fmla="*/ 11780 h 14023"/>
                <a:gd name="T78" fmla="*/ 3075 w 16132"/>
                <a:gd name="T79" fmla="*/ 12505 h 14023"/>
                <a:gd name="T80" fmla="*/ 2616 w 16132"/>
                <a:gd name="T81" fmla="*/ 13290 h 14023"/>
                <a:gd name="T82" fmla="*/ 2522 w 16132"/>
                <a:gd name="T83" fmla="*/ 13545 h 14023"/>
                <a:gd name="T84" fmla="*/ 2556 w 16132"/>
                <a:gd name="T85" fmla="*/ 13746 h 14023"/>
                <a:gd name="T86" fmla="*/ 2670 w 16132"/>
                <a:gd name="T87" fmla="*/ 13905 h 14023"/>
                <a:gd name="T88" fmla="*/ 2841 w 16132"/>
                <a:gd name="T89" fmla="*/ 14003 h 14023"/>
                <a:gd name="T90" fmla="*/ 3078 w 16132"/>
                <a:gd name="T91" fmla="*/ 14016 h 14023"/>
                <a:gd name="T92" fmla="*/ 3690 w 16132"/>
                <a:gd name="T93" fmla="*/ 13870 h 14023"/>
                <a:gd name="T94" fmla="*/ 4910 w 16132"/>
                <a:gd name="T95" fmla="*/ 13267 h 14023"/>
                <a:gd name="T96" fmla="*/ 5885 w 16132"/>
                <a:gd name="T97" fmla="*/ 12528 h 14023"/>
                <a:gd name="T98" fmla="*/ 6475 w 16132"/>
                <a:gd name="T99" fmla="*/ 11947 h 14023"/>
                <a:gd name="T100" fmla="*/ 7278 w 16132"/>
                <a:gd name="T101" fmla="*/ 11990 h 14023"/>
                <a:gd name="T102" fmla="*/ 8481 w 16132"/>
                <a:gd name="T103" fmla="*/ 12012 h 14023"/>
                <a:gd name="T104" fmla="*/ 11910 w 16132"/>
                <a:gd name="T105" fmla="*/ 11295 h 14023"/>
                <a:gd name="T106" fmla="*/ 14530 w 16132"/>
                <a:gd name="T107" fmla="*/ 9606 h 14023"/>
                <a:gd name="T108" fmla="*/ 15968 w 16132"/>
                <a:gd name="T109" fmla="*/ 7221 h 14023"/>
                <a:gd name="T110" fmla="*/ 15878 w 16132"/>
                <a:gd name="T111" fmla="*/ 4508 h 14023"/>
                <a:gd name="T112" fmla="*/ 14290 w 16132"/>
                <a:gd name="T113" fmla="*/ 2188 h 14023"/>
                <a:gd name="T114" fmla="*/ 11563 w 16132"/>
                <a:gd name="T115" fmla="*/ 593 h 14023"/>
                <a:gd name="T116" fmla="*/ 8066 w 16132"/>
                <a:gd name="T117" fmla="*/ 0 h 14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132" h="14023">
                  <a:moveTo>
                    <a:pt x="8066" y="11018"/>
                  </a:moveTo>
                  <a:lnTo>
                    <a:pt x="7979" y="11018"/>
                  </a:lnTo>
                  <a:lnTo>
                    <a:pt x="7893" y="11016"/>
                  </a:lnTo>
                  <a:lnTo>
                    <a:pt x="7805" y="11014"/>
                  </a:lnTo>
                  <a:lnTo>
                    <a:pt x="7717" y="11012"/>
                  </a:lnTo>
                  <a:lnTo>
                    <a:pt x="7629" y="11008"/>
                  </a:lnTo>
                  <a:lnTo>
                    <a:pt x="7542" y="11003"/>
                  </a:lnTo>
                  <a:lnTo>
                    <a:pt x="7454" y="10998"/>
                  </a:lnTo>
                  <a:lnTo>
                    <a:pt x="7365" y="10992"/>
                  </a:lnTo>
                  <a:lnTo>
                    <a:pt x="7278" y="10985"/>
                  </a:lnTo>
                  <a:lnTo>
                    <a:pt x="7189" y="10978"/>
                  </a:lnTo>
                  <a:lnTo>
                    <a:pt x="7100" y="10969"/>
                  </a:lnTo>
                  <a:lnTo>
                    <a:pt x="7011" y="10960"/>
                  </a:lnTo>
                  <a:lnTo>
                    <a:pt x="6923" y="10950"/>
                  </a:lnTo>
                  <a:lnTo>
                    <a:pt x="6834" y="10939"/>
                  </a:lnTo>
                  <a:lnTo>
                    <a:pt x="6745" y="10927"/>
                  </a:lnTo>
                  <a:lnTo>
                    <a:pt x="6656" y="10914"/>
                  </a:lnTo>
                  <a:lnTo>
                    <a:pt x="6620" y="10910"/>
                  </a:lnTo>
                  <a:lnTo>
                    <a:pt x="6583" y="10906"/>
                  </a:lnTo>
                  <a:lnTo>
                    <a:pt x="6547" y="10904"/>
                  </a:lnTo>
                  <a:lnTo>
                    <a:pt x="6510" y="10903"/>
                  </a:lnTo>
                  <a:lnTo>
                    <a:pt x="6482" y="10904"/>
                  </a:lnTo>
                  <a:lnTo>
                    <a:pt x="6455" y="10905"/>
                  </a:lnTo>
                  <a:lnTo>
                    <a:pt x="6427" y="10907"/>
                  </a:lnTo>
                  <a:lnTo>
                    <a:pt x="6398" y="10910"/>
                  </a:lnTo>
                  <a:lnTo>
                    <a:pt x="6371" y="10913"/>
                  </a:lnTo>
                  <a:lnTo>
                    <a:pt x="6344" y="10917"/>
                  </a:lnTo>
                  <a:lnTo>
                    <a:pt x="6317" y="10922"/>
                  </a:lnTo>
                  <a:lnTo>
                    <a:pt x="6289" y="10928"/>
                  </a:lnTo>
                  <a:lnTo>
                    <a:pt x="6262" y="10934"/>
                  </a:lnTo>
                  <a:lnTo>
                    <a:pt x="6236" y="10941"/>
                  </a:lnTo>
                  <a:lnTo>
                    <a:pt x="6210" y="10949"/>
                  </a:lnTo>
                  <a:lnTo>
                    <a:pt x="6183" y="10958"/>
                  </a:lnTo>
                  <a:lnTo>
                    <a:pt x="6157" y="10967"/>
                  </a:lnTo>
                  <a:lnTo>
                    <a:pt x="6131" y="10977"/>
                  </a:lnTo>
                  <a:lnTo>
                    <a:pt x="6106" y="10988"/>
                  </a:lnTo>
                  <a:lnTo>
                    <a:pt x="6081" y="10999"/>
                  </a:lnTo>
                  <a:lnTo>
                    <a:pt x="6056" y="11011"/>
                  </a:lnTo>
                  <a:lnTo>
                    <a:pt x="6031" y="11024"/>
                  </a:lnTo>
                  <a:lnTo>
                    <a:pt x="6007" y="11037"/>
                  </a:lnTo>
                  <a:lnTo>
                    <a:pt x="5983" y="11051"/>
                  </a:lnTo>
                  <a:lnTo>
                    <a:pt x="5960" y="11066"/>
                  </a:lnTo>
                  <a:lnTo>
                    <a:pt x="5937" y="11081"/>
                  </a:lnTo>
                  <a:lnTo>
                    <a:pt x="5914" y="11097"/>
                  </a:lnTo>
                  <a:lnTo>
                    <a:pt x="5892" y="11114"/>
                  </a:lnTo>
                  <a:lnTo>
                    <a:pt x="5870" y="11131"/>
                  </a:lnTo>
                  <a:lnTo>
                    <a:pt x="5849" y="11149"/>
                  </a:lnTo>
                  <a:lnTo>
                    <a:pt x="5828" y="11167"/>
                  </a:lnTo>
                  <a:lnTo>
                    <a:pt x="5808" y="11187"/>
                  </a:lnTo>
                  <a:lnTo>
                    <a:pt x="5787" y="11206"/>
                  </a:lnTo>
                  <a:lnTo>
                    <a:pt x="5768" y="11227"/>
                  </a:lnTo>
                  <a:lnTo>
                    <a:pt x="5749" y="11248"/>
                  </a:lnTo>
                  <a:lnTo>
                    <a:pt x="5731" y="11269"/>
                  </a:lnTo>
                  <a:lnTo>
                    <a:pt x="5710" y="11296"/>
                  </a:lnTo>
                  <a:lnTo>
                    <a:pt x="5686" y="11323"/>
                  </a:lnTo>
                  <a:lnTo>
                    <a:pt x="5660" y="11352"/>
                  </a:lnTo>
                  <a:lnTo>
                    <a:pt x="5632" y="11382"/>
                  </a:lnTo>
                  <a:lnTo>
                    <a:pt x="5570" y="11448"/>
                  </a:lnTo>
                  <a:lnTo>
                    <a:pt x="5499" y="11518"/>
                  </a:lnTo>
                  <a:lnTo>
                    <a:pt x="5461" y="11556"/>
                  </a:lnTo>
                  <a:lnTo>
                    <a:pt x="5420" y="11594"/>
                  </a:lnTo>
                  <a:lnTo>
                    <a:pt x="5379" y="11633"/>
                  </a:lnTo>
                  <a:lnTo>
                    <a:pt x="5336" y="11674"/>
                  </a:lnTo>
                  <a:lnTo>
                    <a:pt x="5290" y="11715"/>
                  </a:lnTo>
                  <a:lnTo>
                    <a:pt x="5243" y="11757"/>
                  </a:lnTo>
                  <a:lnTo>
                    <a:pt x="5195" y="11799"/>
                  </a:lnTo>
                  <a:lnTo>
                    <a:pt x="5145" y="11842"/>
                  </a:lnTo>
                  <a:lnTo>
                    <a:pt x="5093" y="11886"/>
                  </a:lnTo>
                  <a:lnTo>
                    <a:pt x="5040" y="11931"/>
                  </a:lnTo>
                  <a:lnTo>
                    <a:pt x="4986" y="11975"/>
                  </a:lnTo>
                  <a:lnTo>
                    <a:pt x="4930" y="12020"/>
                  </a:lnTo>
                  <a:lnTo>
                    <a:pt x="4873" y="12065"/>
                  </a:lnTo>
                  <a:lnTo>
                    <a:pt x="4814" y="12109"/>
                  </a:lnTo>
                  <a:lnTo>
                    <a:pt x="4755" y="12154"/>
                  </a:lnTo>
                  <a:lnTo>
                    <a:pt x="4694" y="12199"/>
                  </a:lnTo>
                  <a:lnTo>
                    <a:pt x="4633" y="12243"/>
                  </a:lnTo>
                  <a:lnTo>
                    <a:pt x="4570" y="12287"/>
                  </a:lnTo>
                  <a:lnTo>
                    <a:pt x="4507" y="12331"/>
                  </a:lnTo>
                  <a:lnTo>
                    <a:pt x="4442" y="12374"/>
                  </a:lnTo>
                  <a:lnTo>
                    <a:pt x="4377" y="12417"/>
                  </a:lnTo>
                  <a:lnTo>
                    <a:pt x="4310" y="12459"/>
                  </a:lnTo>
                  <a:lnTo>
                    <a:pt x="4244" y="12501"/>
                  </a:lnTo>
                  <a:lnTo>
                    <a:pt x="4176" y="12542"/>
                  </a:lnTo>
                  <a:lnTo>
                    <a:pt x="4212" y="12456"/>
                  </a:lnTo>
                  <a:lnTo>
                    <a:pt x="4248" y="12371"/>
                  </a:lnTo>
                  <a:lnTo>
                    <a:pt x="4281" y="12284"/>
                  </a:lnTo>
                  <a:lnTo>
                    <a:pt x="4313" y="12196"/>
                  </a:lnTo>
                  <a:lnTo>
                    <a:pt x="4345" y="12107"/>
                  </a:lnTo>
                  <a:lnTo>
                    <a:pt x="4374" y="12017"/>
                  </a:lnTo>
                  <a:lnTo>
                    <a:pt x="4388" y="11971"/>
                  </a:lnTo>
                  <a:lnTo>
                    <a:pt x="4401" y="11926"/>
                  </a:lnTo>
                  <a:lnTo>
                    <a:pt x="4414" y="11879"/>
                  </a:lnTo>
                  <a:lnTo>
                    <a:pt x="4426" y="11833"/>
                  </a:lnTo>
                  <a:lnTo>
                    <a:pt x="4438" y="11787"/>
                  </a:lnTo>
                  <a:lnTo>
                    <a:pt x="4449" y="11740"/>
                  </a:lnTo>
                  <a:lnTo>
                    <a:pt x="4459" y="11694"/>
                  </a:lnTo>
                  <a:lnTo>
                    <a:pt x="4470" y="11647"/>
                  </a:lnTo>
                  <a:lnTo>
                    <a:pt x="4480" y="11600"/>
                  </a:lnTo>
                  <a:lnTo>
                    <a:pt x="4488" y="11553"/>
                  </a:lnTo>
                  <a:lnTo>
                    <a:pt x="4496" y="11506"/>
                  </a:lnTo>
                  <a:lnTo>
                    <a:pt x="4504" y="11458"/>
                  </a:lnTo>
                  <a:lnTo>
                    <a:pt x="4510" y="11411"/>
                  </a:lnTo>
                  <a:lnTo>
                    <a:pt x="4516" y="11363"/>
                  </a:lnTo>
                  <a:lnTo>
                    <a:pt x="4522" y="11315"/>
                  </a:lnTo>
                  <a:lnTo>
                    <a:pt x="4526" y="11266"/>
                  </a:lnTo>
                  <a:lnTo>
                    <a:pt x="4530" y="11218"/>
                  </a:lnTo>
                  <a:lnTo>
                    <a:pt x="4533" y="11170"/>
                  </a:lnTo>
                  <a:lnTo>
                    <a:pt x="4535" y="11121"/>
                  </a:lnTo>
                  <a:lnTo>
                    <a:pt x="4537" y="11073"/>
                  </a:lnTo>
                  <a:lnTo>
                    <a:pt x="4538" y="11049"/>
                  </a:lnTo>
                  <a:lnTo>
                    <a:pt x="4540" y="11025"/>
                  </a:lnTo>
                  <a:lnTo>
                    <a:pt x="4541" y="11002"/>
                  </a:lnTo>
                  <a:lnTo>
                    <a:pt x="4541" y="10981"/>
                  </a:lnTo>
                  <a:lnTo>
                    <a:pt x="4540" y="10946"/>
                  </a:lnTo>
                  <a:lnTo>
                    <a:pt x="4539" y="10911"/>
                  </a:lnTo>
                  <a:lnTo>
                    <a:pt x="4536" y="10876"/>
                  </a:lnTo>
                  <a:lnTo>
                    <a:pt x="4531" y="10842"/>
                  </a:lnTo>
                  <a:lnTo>
                    <a:pt x="4526" y="10808"/>
                  </a:lnTo>
                  <a:lnTo>
                    <a:pt x="4519" y="10774"/>
                  </a:lnTo>
                  <a:lnTo>
                    <a:pt x="4512" y="10741"/>
                  </a:lnTo>
                  <a:lnTo>
                    <a:pt x="4503" y="10707"/>
                  </a:lnTo>
                  <a:lnTo>
                    <a:pt x="4493" y="10675"/>
                  </a:lnTo>
                  <a:lnTo>
                    <a:pt x="4482" y="10641"/>
                  </a:lnTo>
                  <a:lnTo>
                    <a:pt x="4470" y="10610"/>
                  </a:lnTo>
                  <a:lnTo>
                    <a:pt x="4456" y="10578"/>
                  </a:lnTo>
                  <a:lnTo>
                    <a:pt x="4442" y="10547"/>
                  </a:lnTo>
                  <a:lnTo>
                    <a:pt x="4426" y="10517"/>
                  </a:lnTo>
                  <a:lnTo>
                    <a:pt x="4410" y="10487"/>
                  </a:lnTo>
                  <a:lnTo>
                    <a:pt x="4393" y="10458"/>
                  </a:lnTo>
                  <a:lnTo>
                    <a:pt x="4375" y="10429"/>
                  </a:lnTo>
                  <a:lnTo>
                    <a:pt x="4356" y="10401"/>
                  </a:lnTo>
                  <a:lnTo>
                    <a:pt x="4334" y="10374"/>
                  </a:lnTo>
                  <a:lnTo>
                    <a:pt x="4313" y="10347"/>
                  </a:lnTo>
                  <a:lnTo>
                    <a:pt x="4291" y="10321"/>
                  </a:lnTo>
                  <a:lnTo>
                    <a:pt x="4269" y="10296"/>
                  </a:lnTo>
                  <a:lnTo>
                    <a:pt x="4245" y="10271"/>
                  </a:lnTo>
                  <a:lnTo>
                    <a:pt x="4220" y="10248"/>
                  </a:lnTo>
                  <a:lnTo>
                    <a:pt x="4194" y="10225"/>
                  </a:lnTo>
                  <a:lnTo>
                    <a:pt x="4168" y="10203"/>
                  </a:lnTo>
                  <a:lnTo>
                    <a:pt x="4140" y="10182"/>
                  </a:lnTo>
                  <a:lnTo>
                    <a:pt x="4112" y="10161"/>
                  </a:lnTo>
                  <a:lnTo>
                    <a:pt x="4083" y="10142"/>
                  </a:lnTo>
                  <a:lnTo>
                    <a:pt x="4053" y="10123"/>
                  </a:lnTo>
                  <a:lnTo>
                    <a:pt x="4023" y="10106"/>
                  </a:lnTo>
                  <a:lnTo>
                    <a:pt x="3992" y="10089"/>
                  </a:lnTo>
                  <a:lnTo>
                    <a:pt x="3819" y="9998"/>
                  </a:lnTo>
                  <a:lnTo>
                    <a:pt x="3650" y="9904"/>
                  </a:lnTo>
                  <a:lnTo>
                    <a:pt x="3487" y="9807"/>
                  </a:lnTo>
                  <a:lnTo>
                    <a:pt x="3327" y="9707"/>
                  </a:lnTo>
                  <a:lnTo>
                    <a:pt x="3173" y="9604"/>
                  </a:lnTo>
                  <a:lnTo>
                    <a:pt x="3023" y="9499"/>
                  </a:lnTo>
                  <a:lnTo>
                    <a:pt x="2878" y="9389"/>
                  </a:lnTo>
                  <a:lnTo>
                    <a:pt x="2737" y="9277"/>
                  </a:lnTo>
                  <a:lnTo>
                    <a:pt x="2602" y="9163"/>
                  </a:lnTo>
                  <a:lnTo>
                    <a:pt x="2472" y="9046"/>
                  </a:lnTo>
                  <a:lnTo>
                    <a:pt x="2346" y="8927"/>
                  </a:lnTo>
                  <a:lnTo>
                    <a:pt x="2226" y="8805"/>
                  </a:lnTo>
                  <a:lnTo>
                    <a:pt x="2112" y="8681"/>
                  </a:lnTo>
                  <a:lnTo>
                    <a:pt x="2002" y="8555"/>
                  </a:lnTo>
                  <a:lnTo>
                    <a:pt x="1899" y="8427"/>
                  </a:lnTo>
                  <a:lnTo>
                    <a:pt x="1800" y="8297"/>
                  </a:lnTo>
                  <a:lnTo>
                    <a:pt x="1706" y="8163"/>
                  </a:lnTo>
                  <a:lnTo>
                    <a:pt x="1618" y="8030"/>
                  </a:lnTo>
                  <a:lnTo>
                    <a:pt x="1537" y="7894"/>
                  </a:lnTo>
                  <a:lnTo>
                    <a:pt x="1460" y="7757"/>
                  </a:lnTo>
                  <a:lnTo>
                    <a:pt x="1388" y="7617"/>
                  </a:lnTo>
                  <a:lnTo>
                    <a:pt x="1324" y="7476"/>
                  </a:lnTo>
                  <a:lnTo>
                    <a:pt x="1264" y="7335"/>
                  </a:lnTo>
                  <a:lnTo>
                    <a:pt x="1212" y="7192"/>
                  </a:lnTo>
                  <a:lnTo>
                    <a:pt x="1165" y="7047"/>
                  </a:lnTo>
                  <a:lnTo>
                    <a:pt x="1123" y="6901"/>
                  </a:lnTo>
                  <a:lnTo>
                    <a:pt x="1089" y="6755"/>
                  </a:lnTo>
                  <a:lnTo>
                    <a:pt x="1060" y="6608"/>
                  </a:lnTo>
                  <a:lnTo>
                    <a:pt x="1037" y="6459"/>
                  </a:lnTo>
                  <a:lnTo>
                    <a:pt x="1021" y="6309"/>
                  </a:lnTo>
                  <a:lnTo>
                    <a:pt x="1011" y="6160"/>
                  </a:lnTo>
                  <a:lnTo>
                    <a:pt x="1008" y="6010"/>
                  </a:lnTo>
                  <a:lnTo>
                    <a:pt x="1017" y="5752"/>
                  </a:lnTo>
                  <a:lnTo>
                    <a:pt x="1045" y="5498"/>
                  </a:lnTo>
                  <a:lnTo>
                    <a:pt x="1090" y="5248"/>
                  </a:lnTo>
                  <a:lnTo>
                    <a:pt x="1151" y="5002"/>
                  </a:lnTo>
                  <a:lnTo>
                    <a:pt x="1231" y="4760"/>
                  </a:lnTo>
                  <a:lnTo>
                    <a:pt x="1326" y="4522"/>
                  </a:lnTo>
                  <a:lnTo>
                    <a:pt x="1437" y="4290"/>
                  </a:lnTo>
                  <a:lnTo>
                    <a:pt x="1564" y="4063"/>
                  </a:lnTo>
                  <a:lnTo>
                    <a:pt x="1705" y="3840"/>
                  </a:lnTo>
                  <a:lnTo>
                    <a:pt x="1861" y="3625"/>
                  </a:lnTo>
                  <a:lnTo>
                    <a:pt x="2032" y="3415"/>
                  </a:lnTo>
                  <a:lnTo>
                    <a:pt x="2215" y="3211"/>
                  </a:lnTo>
                  <a:lnTo>
                    <a:pt x="2412" y="3015"/>
                  </a:lnTo>
                  <a:lnTo>
                    <a:pt x="2621" y="2826"/>
                  </a:lnTo>
                  <a:lnTo>
                    <a:pt x="2844" y="2644"/>
                  </a:lnTo>
                  <a:lnTo>
                    <a:pt x="3078" y="2470"/>
                  </a:lnTo>
                  <a:lnTo>
                    <a:pt x="3323" y="2304"/>
                  </a:lnTo>
                  <a:lnTo>
                    <a:pt x="3579" y="2147"/>
                  </a:lnTo>
                  <a:lnTo>
                    <a:pt x="3845" y="1998"/>
                  </a:lnTo>
                  <a:lnTo>
                    <a:pt x="4123" y="1858"/>
                  </a:lnTo>
                  <a:lnTo>
                    <a:pt x="4409" y="1728"/>
                  </a:lnTo>
                  <a:lnTo>
                    <a:pt x="4704" y="1607"/>
                  </a:lnTo>
                  <a:lnTo>
                    <a:pt x="5009" y="1496"/>
                  </a:lnTo>
                  <a:lnTo>
                    <a:pt x="5322" y="1395"/>
                  </a:lnTo>
                  <a:lnTo>
                    <a:pt x="5642" y="1306"/>
                  </a:lnTo>
                  <a:lnTo>
                    <a:pt x="5970" y="1227"/>
                  </a:lnTo>
                  <a:lnTo>
                    <a:pt x="6305" y="1160"/>
                  </a:lnTo>
                  <a:lnTo>
                    <a:pt x="6645" y="1104"/>
                  </a:lnTo>
                  <a:lnTo>
                    <a:pt x="6992" y="1060"/>
                  </a:lnTo>
                  <a:lnTo>
                    <a:pt x="7345" y="1028"/>
                  </a:lnTo>
                  <a:lnTo>
                    <a:pt x="7703" y="1008"/>
                  </a:lnTo>
                  <a:lnTo>
                    <a:pt x="8066" y="1002"/>
                  </a:lnTo>
                  <a:lnTo>
                    <a:pt x="8429" y="1008"/>
                  </a:lnTo>
                  <a:lnTo>
                    <a:pt x="8787" y="1028"/>
                  </a:lnTo>
                  <a:lnTo>
                    <a:pt x="9140" y="1060"/>
                  </a:lnTo>
                  <a:lnTo>
                    <a:pt x="9487" y="1104"/>
                  </a:lnTo>
                  <a:lnTo>
                    <a:pt x="9827" y="1160"/>
                  </a:lnTo>
                  <a:lnTo>
                    <a:pt x="10162" y="1227"/>
                  </a:lnTo>
                  <a:lnTo>
                    <a:pt x="10490" y="1306"/>
                  </a:lnTo>
                  <a:lnTo>
                    <a:pt x="10810" y="1395"/>
                  </a:lnTo>
                  <a:lnTo>
                    <a:pt x="11123" y="1496"/>
                  </a:lnTo>
                  <a:lnTo>
                    <a:pt x="11428" y="1607"/>
                  </a:lnTo>
                  <a:lnTo>
                    <a:pt x="11723" y="1728"/>
                  </a:lnTo>
                  <a:lnTo>
                    <a:pt x="12009" y="1858"/>
                  </a:lnTo>
                  <a:lnTo>
                    <a:pt x="12287" y="1998"/>
                  </a:lnTo>
                  <a:lnTo>
                    <a:pt x="12553" y="2147"/>
                  </a:lnTo>
                  <a:lnTo>
                    <a:pt x="12809" y="2304"/>
                  </a:lnTo>
                  <a:lnTo>
                    <a:pt x="13054" y="2470"/>
                  </a:lnTo>
                  <a:lnTo>
                    <a:pt x="13288" y="2644"/>
                  </a:lnTo>
                  <a:lnTo>
                    <a:pt x="13511" y="2826"/>
                  </a:lnTo>
                  <a:lnTo>
                    <a:pt x="13720" y="3015"/>
                  </a:lnTo>
                  <a:lnTo>
                    <a:pt x="13917" y="3211"/>
                  </a:lnTo>
                  <a:lnTo>
                    <a:pt x="14100" y="3415"/>
                  </a:lnTo>
                  <a:lnTo>
                    <a:pt x="14271" y="3625"/>
                  </a:lnTo>
                  <a:lnTo>
                    <a:pt x="14427" y="3840"/>
                  </a:lnTo>
                  <a:lnTo>
                    <a:pt x="14568" y="4063"/>
                  </a:lnTo>
                  <a:lnTo>
                    <a:pt x="14695" y="4290"/>
                  </a:lnTo>
                  <a:lnTo>
                    <a:pt x="14806" y="4522"/>
                  </a:lnTo>
                  <a:lnTo>
                    <a:pt x="14901" y="4760"/>
                  </a:lnTo>
                  <a:lnTo>
                    <a:pt x="14981" y="5002"/>
                  </a:lnTo>
                  <a:lnTo>
                    <a:pt x="15042" y="5248"/>
                  </a:lnTo>
                  <a:lnTo>
                    <a:pt x="15087" y="5498"/>
                  </a:lnTo>
                  <a:lnTo>
                    <a:pt x="15115" y="5752"/>
                  </a:lnTo>
                  <a:lnTo>
                    <a:pt x="15124" y="6010"/>
                  </a:lnTo>
                  <a:lnTo>
                    <a:pt x="15115" y="6267"/>
                  </a:lnTo>
                  <a:lnTo>
                    <a:pt x="15087" y="6521"/>
                  </a:lnTo>
                  <a:lnTo>
                    <a:pt x="15042" y="6771"/>
                  </a:lnTo>
                  <a:lnTo>
                    <a:pt x="14981" y="7018"/>
                  </a:lnTo>
                  <a:lnTo>
                    <a:pt x="14901" y="7260"/>
                  </a:lnTo>
                  <a:lnTo>
                    <a:pt x="14806" y="7497"/>
                  </a:lnTo>
                  <a:lnTo>
                    <a:pt x="14695" y="7730"/>
                  </a:lnTo>
                  <a:lnTo>
                    <a:pt x="14568" y="7957"/>
                  </a:lnTo>
                  <a:lnTo>
                    <a:pt x="14427" y="8179"/>
                  </a:lnTo>
                  <a:lnTo>
                    <a:pt x="14271" y="8395"/>
                  </a:lnTo>
                  <a:lnTo>
                    <a:pt x="14100" y="8605"/>
                  </a:lnTo>
                  <a:lnTo>
                    <a:pt x="13917" y="8807"/>
                  </a:lnTo>
                  <a:lnTo>
                    <a:pt x="13720" y="9005"/>
                  </a:lnTo>
                  <a:lnTo>
                    <a:pt x="13511" y="9194"/>
                  </a:lnTo>
                  <a:lnTo>
                    <a:pt x="13288" y="9375"/>
                  </a:lnTo>
                  <a:lnTo>
                    <a:pt x="13054" y="9550"/>
                  </a:lnTo>
                  <a:lnTo>
                    <a:pt x="12809" y="9715"/>
                  </a:lnTo>
                  <a:lnTo>
                    <a:pt x="12553" y="9873"/>
                  </a:lnTo>
                  <a:lnTo>
                    <a:pt x="12287" y="10021"/>
                  </a:lnTo>
                  <a:lnTo>
                    <a:pt x="12009" y="10162"/>
                  </a:lnTo>
                  <a:lnTo>
                    <a:pt x="11723" y="10292"/>
                  </a:lnTo>
                  <a:lnTo>
                    <a:pt x="11428" y="10413"/>
                  </a:lnTo>
                  <a:lnTo>
                    <a:pt x="11123" y="10523"/>
                  </a:lnTo>
                  <a:lnTo>
                    <a:pt x="10810" y="10623"/>
                  </a:lnTo>
                  <a:lnTo>
                    <a:pt x="10490" y="10714"/>
                  </a:lnTo>
                  <a:lnTo>
                    <a:pt x="10162" y="10793"/>
                  </a:lnTo>
                  <a:lnTo>
                    <a:pt x="9827" y="10860"/>
                  </a:lnTo>
                  <a:lnTo>
                    <a:pt x="9487" y="10916"/>
                  </a:lnTo>
                  <a:lnTo>
                    <a:pt x="9140" y="10960"/>
                  </a:lnTo>
                  <a:lnTo>
                    <a:pt x="8787" y="10992"/>
                  </a:lnTo>
                  <a:lnTo>
                    <a:pt x="8429" y="11011"/>
                  </a:lnTo>
                  <a:lnTo>
                    <a:pt x="8066" y="11018"/>
                  </a:lnTo>
                  <a:close/>
                  <a:moveTo>
                    <a:pt x="8066" y="0"/>
                  </a:moveTo>
                  <a:lnTo>
                    <a:pt x="7651" y="8"/>
                  </a:lnTo>
                  <a:lnTo>
                    <a:pt x="7241" y="31"/>
                  </a:lnTo>
                  <a:lnTo>
                    <a:pt x="6838" y="69"/>
                  </a:lnTo>
                  <a:lnTo>
                    <a:pt x="6441" y="122"/>
                  </a:lnTo>
                  <a:lnTo>
                    <a:pt x="6051" y="189"/>
                  </a:lnTo>
                  <a:lnTo>
                    <a:pt x="5667" y="270"/>
                  </a:lnTo>
                  <a:lnTo>
                    <a:pt x="5292" y="365"/>
                  </a:lnTo>
                  <a:lnTo>
                    <a:pt x="4926" y="473"/>
                  </a:lnTo>
                  <a:lnTo>
                    <a:pt x="4569" y="593"/>
                  </a:lnTo>
                  <a:lnTo>
                    <a:pt x="4222" y="725"/>
                  </a:lnTo>
                  <a:lnTo>
                    <a:pt x="3884" y="870"/>
                  </a:lnTo>
                  <a:lnTo>
                    <a:pt x="3556" y="1027"/>
                  </a:lnTo>
                  <a:lnTo>
                    <a:pt x="3240" y="1194"/>
                  </a:lnTo>
                  <a:lnTo>
                    <a:pt x="2935" y="1372"/>
                  </a:lnTo>
                  <a:lnTo>
                    <a:pt x="2643" y="1562"/>
                  </a:lnTo>
                  <a:lnTo>
                    <a:pt x="2362" y="1760"/>
                  </a:lnTo>
                  <a:lnTo>
                    <a:pt x="2095" y="1969"/>
                  </a:lnTo>
                  <a:lnTo>
                    <a:pt x="1842" y="2188"/>
                  </a:lnTo>
                  <a:lnTo>
                    <a:pt x="1602" y="2414"/>
                  </a:lnTo>
                  <a:lnTo>
                    <a:pt x="1377" y="2649"/>
                  </a:lnTo>
                  <a:lnTo>
                    <a:pt x="1168" y="2894"/>
                  </a:lnTo>
                  <a:lnTo>
                    <a:pt x="974" y="3145"/>
                  </a:lnTo>
                  <a:lnTo>
                    <a:pt x="796" y="3405"/>
                  </a:lnTo>
                  <a:lnTo>
                    <a:pt x="634" y="3671"/>
                  </a:lnTo>
                  <a:lnTo>
                    <a:pt x="489" y="3943"/>
                  </a:lnTo>
                  <a:lnTo>
                    <a:pt x="363" y="4223"/>
                  </a:lnTo>
                  <a:lnTo>
                    <a:pt x="254" y="4508"/>
                  </a:lnTo>
                  <a:lnTo>
                    <a:pt x="163" y="4799"/>
                  </a:lnTo>
                  <a:lnTo>
                    <a:pt x="93" y="5094"/>
                  </a:lnTo>
                  <a:lnTo>
                    <a:pt x="41" y="5396"/>
                  </a:lnTo>
                  <a:lnTo>
                    <a:pt x="10" y="5700"/>
                  </a:lnTo>
                  <a:lnTo>
                    <a:pt x="0" y="6010"/>
                  </a:lnTo>
                  <a:lnTo>
                    <a:pt x="4" y="6203"/>
                  </a:lnTo>
                  <a:lnTo>
                    <a:pt x="16" y="6394"/>
                  </a:lnTo>
                  <a:lnTo>
                    <a:pt x="36" y="6584"/>
                  </a:lnTo>
                  <a:lnTo>
                    <a:pt x="65" y="6772"/>
                  </a:lnTo>
                  <a:lnTo>
                    <a:pt x="100" y="6958"/>
                  </a:lnTo>
                  <a:lnTo>
                    <a:pt x="143" y="7144"/>
                  </a:lnTo>
                  <a:lnTo>
                    <a:pt x="195" y="7326"/>
                  </a:lnTo>
                  <a:lnTo>
                    <a:pt x="252" y="7506"/>
                  </a:lnTo>
                  <a:lnTo>
                    <a:pt x="318" y="7685"/>
                  </a:lnTo>
                  <a:lnTo>
                    <a:pt x="390" y="7861"/>
                  </a:lnTo>
                  <a:lnTo>
                    <a:pt x="470" y="8034"/>
                  </a:lnTo>
                  <a:lnTo>
                    <a:pt x="556" y="8205"/>
                  </a:lnTo>
                  <a:lnTo>
                    <a:pt x="648" y="8375"/>
                  </a:lnTo>
                  <a:lnTo>
                    <a:pt x="748" y="8541"/>
                  </a:lnTo>
                  <a:lnTo>
                    <a:pt x="855" y="8704"/>
                  </a:lnTo>
                  <a:lnTo>
                    <a:pt x="967" y="8865"/>
                  </a:lnTo>
                  <a:lnTo>
                    <a:pt x="1086" y="9023"/>
                  </a:lnTo>
                  <a:lnTo>
                    <a:pt x="1211" y="9177"/>
                  </a:lnTo>
                  <a:lnTo>
                    <a:pt x="1341" y="9329"/>
                  </a:lnTo>
                  <a:lnTo>
                    <a:pt x="1478" y="9478"/>
                  </a:lnTo>
                  <a:lnTo>
                    <a:pt x="1620" y="9623"/>
                  </a:lnTo>
                  <a:lnTo>
                    <a:pt x="1768" y="9765"/>
                  </a:lnTo>
                  <a:lnTo>
                    <a:pt x="1923" y="9903"/>
                  </a:lnTo>
                  <a:lnTo>
                    <a:pt x="2081" y="10038"/>
                  </a:lnTo>
                  <a:lnTo>
                    <a:pt x="2245" y="10170"/>
                  </a:lnTo>
                  <a:lnTo>
                    <a:pt x="2415" y="10298"/>
                  </a:lnTo>
                  <a:lnTo>
                    <a:pt x="2590" y="10421"/>
                  </a:lnTo>
                  <a:lnTo>
                    <a:pt x="2769" y="10541"/>
                  </a:lnTo>
                  <a:lnTo>
                    <a:pt x="2953" y="10657"/>
                  </a:lnTo>
                  <a:lnTo>
                    <a:pt x="3142" y="10770"/>
                  </a:lnTo>
                  <a:lnTo>
                    <a:pt x="3335" y="10878"/>
                  </a:lnTo>
                  <a:lnTo>
                    <a:pt x="3533" y="10981"/>
                  </a:lnTo>
                  <a:lnTo>
                    <a:pt x="3532" y="10990"/>
                  </a:lnTo>
                  <a:lnTo>
                    <a:pt x="3531" y="10999"/>
                  </a:lnTo>
                  <a:lnTo>
                    <a:pt x="3530" y="11008"/>
                  </a:lnTo>
                  <a:lnTo>
                    <a:pt x="3529" y="11018"/>
                  </a:lnTo>
                  <a:lnTo>
                    <a:pt x="3527" y="11102"/>
                  </a:lnTo>
                  <a:lnTo>
                    <a:pt x="3521" y="11187"/>
                  </a:lnTo>
                  <a:lnTo>
                    <a:pt x="3512" y="11271"/>
                  </a:lnTo>
                  <a:lnTo>
                    <a:pt x="3500" y="11357"/>
                  </a:lnTo>
                  <a:lnTo>
                    <a:pt x="3484" y="11442"/>
                  </a:lnTo>
                  <a:lnTo>
                    <a:pt x="3464" y="11527"/>
                  </a:lnTo>
                  <a:lnTo>
                    <a:pt x="3443" y="11612"/>
                  </a:lnTo>
                  <a:lnTo>
                    <a:pt x="3419" y="11696"/>
                  </a:lnTo>
                  <a:lnTo>
                    <a:pt x="3392" y="11780"/>
                  </a:lnTo>
                  <a:lnTo>
                    <a:pt x="3364" y="11863"/>
                  </a:lnTo>
                  <a:lnTo>
                    <a:pt x="3332" y="11947"/>
                  </a:lnTo>
                  <a:lnTo>
                    <a:pt x="3300" y="12030"/>
                  </a:lnTo>
                  <a:lnTo>
                    <a:pt x="3266" y="12111"/>
                  </a:lnTo>
                  <a:lnTo>
                    <a:pt x="3229" y="12192"/>
                  </a:lnTo>
                  <a:lnTo>
                    <a:pt x="3192" y="12271"/>
                  </a:lnTo>
                  <a:lnTo>
                    <a:pt x="3155" y="12350"/>
                  </a:lnTo>
                  <a:lnTo>
                    <a:pt x="3115" y="12428"/>
                  </a:lnTo>
                  <a:lnTo>
                    <a:pt x="3075" y="12505"/>
                  </a:lnTo>
                  <a:lnTo>
                    <a:pt x="3036" y="12580"/>
                  </a:lnTo>
                  <a:lnTo>
                    <a:pt x="2995" y="12653"/>
                  </a:lnTo>
                  <a:lnTo>
                    <a:pt x="2954" y="12726"/>
                  </a:lnTo>
                  <a:lnTo>
                    <a:pt x="2914" y="12796"/>
                  </a:lnTo>
                  <a:lnTo>
                    <a:pt x="2874" y="12864"/>
                  </a:lnTo>
                  <a:lnTo>
                    <a:pt x="2834" y="12931"/>
                  </a:lnTo>
                  <a:lnTo>
                    <a:pt x="2757" y="13059"/>
                  </a:lnTo>
                  <a:lnTo>
                    <a:pt x="2684" y="13180"/>
                  </a:lnTo>
                  <a:lnTo>
                    <a:pt x="2616" y="13290"/>
                  </a:lnTo>
                  <a:lnTo>
                    <a:pt x="2557" y="13390"/>
                  </a:lnTo>
                  <a:lnTo>
                    <a:pt x="2558" y="13390"/>
                  </a:lnTo>
                  <a:lnTo>
                    <a:pt x="2550" y="13411"/>
                  </a:lnTo>
                  <a:lnTo>
                    <a:pt x="2542" y="13432"/>
                  </a:lnTo>
                  <a:lnTo>
                    <a:pt x="2536" y="13454"/>
                  </a:lnTo>
                  <a:lnTo>
                    <a:pt x="2531" y="13476"/>
                  </a:lnTo>
                  <a:lnTo>
                    <a:pt x="2527" y="13499"/>
                  </a:lnTo>
                  <a:lnTo>
                    <a:pt x="2523" y="13522"/>
                  </a:lnTo>
                  <a:lnTo>
                    <a:pt x="2522" y="13545"/>
                  </a:lnTo>
                  <a:lnTo>
                    <a:pt x="2521" y="13569"/>
                  </a:lnTo>
                  <a:lnTo>
                    <a:pt x="2522" y="13592"/>
                  </a:lnTo>
                  <a:lnTo>
                    <a:pt x="2523" y="13615"/>
                  </a:lnTo>
                  <a:lnTo>
                    <a:pt x="2526" y="13638"/>
                  </a:lnTo>
                  <a:lnTo>
                    <a:pt x="2530" y="13660"/>
                  </a:lnTo>
                  <a:lnTo>
                    <a:pt x="2535" y="13682"/>
                  </a:lnTo>
                  <a:lnTo>
                    <a:pt x="2541" y="13704"/>
                  </a:lnTo>
                  <a:lnTo>
                    <a:pt x="2548" y="13726"/>
                  </a:lnTo>
                  <a:lnTo>
                    <a:pt x="2556" y="13746"/>
                  </a:lnTo>
                  <a:lnTo>
                    <a:pt x="2566" y="13766"/>
                  </a:lnTo>
                  <a:lnTo>
                    <a:pt x="2576" y="13786"/>
                  </a:lnTo>
                  <a:lnTo>
                    <a:pt x="2586" y="13805"/>
                  </a:lnTo>
                  <a:lnTo>
                    <a:pt x="2598" y="13823"/>
                  </a:lnTo>
                  <a:lnTo>
                    <a:pt x="2611" y="13841"/>
                  </a:lnTo>
                  <a:lnTo>
                    <a:pt x="2624" y="13858"/>
                  </a:lnTo>
                  <a:lnTo>
                    <a:pt x="2640" y="13875"/>
                  </a:lnTo>
                  <a:lnTo>
                    <a:pt x="2655" y="13890"/>
                  </a:lnTo>
                  <a:lnTo>
                    <a:pt x="2670" y="13905"/>
                  </a:lnTo>
                  <a:lnTo>
                    <a:pt x="2687" y="13920"/>
                  </a:lnTo>
                  <a:lnTo>
                    <a:pt x="2704" y="13933"/>
                  </a:lnTo>
                  <a:lnTo>
                    <a:pt x="2722" y="13946"/>
                  </a:lnTo>
                  <a:lnTo>
                    <a:pt x="2740" y="13958"/>
                  </a:lnTo>
                  <a:lnTo>
                    <a:pt x="2760" y="13968"/>
                  </a:lnTo>
                  <a:lnTo>
                    <a:pt x="2779" y="13978"/>
                  </a:lnTo>
                  <a:lnTo>
                    <a:pt x="2800" y="13987"/>
                  </a:lnTo>
                  <a:lnTo>
                    <a:pt x="2820" y="13996"/>
                  </a:lnTo>
                  <a:lnTo>
                    <a:pt x="2841" y="14003"/>
                  </a:lnTo>
                  <a:lnTo>
                    <a:pt x="2863" y="14009"/>
                  </a:lnTo>
                  <a:lnTo>
                    <a:pt x="2886" y="14014"/>
                  </a:lnTo>
                  <a:lnTo>
                    <a:pt x="2908" y="14018"/>
                  </a:lnTo>
                  <a:lnTo>
                    <a:pt x="2931" y="14021"/>
                  </a:lnTo>
                  <a:lnTo>
                    <a:pt x="2954" y="14022"/>
                  </a:lnTo>
                  <a:lnTo>
                    <a:pt x="2977" y="14023"/>
                  </a:lnTo>
                  <a:lnTo>
                    <a:pt x="3018" y="14021"/>
                  </a:lnTo>
                  <a:lnTo>
                    <a:pt x="3060" y="14017"/>
                  </a:lnTo>
                  <a:lnTo>
                    <a:pt x="3078" y="14016"/>
                  </a:lnTo>
                  <a:lnTo>
                    <a:pt x="3093" y="14015"/>
                  </a:lnTo>
                  <a:lnTo>
                    <a:pt x="3099" y="14015"/>
                  </a:lnTo>
                  <a:lnTo>
                    <a:pt x="3103" y="14015"/>
                  </a:lnTo>
                  <a:lnTo>
                    <a:pt x="3105" y="14016"/>
                  </a:lnTo>
                  <a:lnTo>
                    <a:pt x="3106" y="14016"/>
                  </a:lnTo>
                  <a:lnTo>
                    <a:pt x="3254" y="13989"/>
                  </a:lnTo>
                  <a:lnTo>
                    <a:pt x="3400" y="13955"/>
                  </a:lnTo>
                  <a:lnTo>
                    <a:pt x="3546" y="13915"/>
                  </a:lnTo>
                  <a:lnTo>
                    <a:pt x="3690" y="13870"/>
                  </a:lnTo>
                  <a:lnTo>
                    <a:pt x="3833" y="13819"/>
                  </a:lnTo>
                  <a:lnTo>
                    <a:pt x="3976" y="13763"/>
                  </a:lnTo>
                  <a:lnTo>
                    <a:pt x="4116" y="13701"/>
                  </a:lnTo>
                  <a:lnTo>
                    <a:pt x="4254" y="13637"/>
                  </a:lnTo>
                  <a:lnTo>
                    <a:pt x="4390" y="13569"/>
                  </a:lnTo>
                  <a:lnTo>
                    <a:pt x="4524" y="13497"/>
                  </a:lnTo>
                  <a:lnTo>
                    <a:pt x="4656" y="13423"/>
                  </a:lnTo>
                  <a:lnTo>
                    <a:pt x="4784" y="13346"/>
                  </a:lnTo>
                  <a:lnTo>
                    <a:pt x="4910" y="13267"/>
                  </a:lnTo>
                  <a:lnTo>
                    <a:pt x="5033" y="13186"/>
                  </a:lnTo>
                  <a:lnTo>
                    <a:pt x="5153" y="13104"/>
                  </a:lnTo>
                  <a:lnTo>
                    <a:pt x="5269" y="13021"/>
                  </a:lnTo>
                  <a:lnTo>
                    <a:pt x="5382" y="12938"/>
                  </a:lnTo>
                  <a:lnTo>
                    <a:pt x="5491" y="12854"/>
                  </a:lnTo>
                  <a:lnTo>
                    <a:pt x="5596" y="12771"/>
                  </a:lnTo>
                  <a:lnTo>
                    <a:pt x="5697" y="12689"/>
                  </a:lnTo>
                  <a:lnTo>
                    <a:pt x="5793" y="12608"/>
                  </a:lnTo>
                  <a:lnTo>
                    <a:pt x="5885" y="12528"/>
                  </a:lnTo>
                  <a:lnTo>
                    <a:pt x="5972" y="12450"/>
                  </a:lnTo>
                  <a:lnTo>
                    <a:pt x="6055" y="12375"/>
                  </a:lnTo>
                  <a:lnTo>
                    <a:pt x="6131" y="12302"/>
                  </a:lnTo>
                  <a:lnTo>
                    <a:pt x="6203" y="12233"/>
                  </a:lnTo>
                  <a:lnTo>
                    <a:pt x="6269" y="12167"/>
                  </a:lnTo>
                  <a:lnTo>
                    <a:pt x="6330" y="12105"/>
                  </a:lnTo>
                  <a:lnTo>
                    <a:pt x="6384" y="12048"/>
                  </a:lnTo>
                  <a:lnTo>
                    <a:pt x="6433" y="11995"/>
                  </a:lnTo>
                  <a:lnTo>
                    <a:pt x="6475" y="11947"/>
                  </a:lnTo>
                  <a:lnTo>
                    <a:pt x="6510" y="11906"/>
                  </a:lnTo>
                  <a:lnTo>
                    <a:pt x="6605" y="11919"/>
                  </a:lnTo>
                  <a:lnTo>
                    <a:pt x="6700" y="11932"/>
                  </a:lnTo>
                  <a:lnTo>
                    <a:pt x="6796" y="11943"/>
                  </a:lnTo>
                  <a:lnTo>
                    <a:pt x="6891" y="11954"/>
                  </a:lnTo>
                  <a:lnTo>
                    <a:pt x="6987" y="11965"/>
                  </a:lnTo>
                  <a:lnTo>
                    <a:pt x="7083" y="11974"/>
                  </a:lnTo>
                  <a:lnTo>
                    <a:pt x="7180" y="11983"/>
                  </a:lnTo>
                  <a:lnTo>
                    <a:pt x="7278" y="11990"/>
                  </a:lnTo>
                  <a:lnTo>
                    <a:pt x="7374" y="11997"/>
                  </a:lnTo>
                  <a:lnTo>
                    <a:pt x="7472" y="12003"/>
                  </a:lnTo>
                  <a:lnTo>
                    <a:pt x="7571" y="12008"/>
                  </a:lnTo>
                  <a:lnTo>
                    <a:pt x="7669" y="12012"/>
                  </a:lnTo>
                  <a:lnTo>
                    <a:pt x="7768" y="12016"/>
                  </a:lnTo>
                  <a:lnTo>
                    <a:pt x="7867" y="12018"/>
                  </a:lnTo>
                  <a:lnTo>
                    <a:pt x="7966" y="12019"/>
                  </a:lnTo>
                  <a:lnTo>
                    <a:pt x="8066" y="12020"/>
                  </a:lnTo>
                  <a:lnTo>
                    <a:pt x="8481" y="12012"/>
                  </a:lnTo>
                  <a:lnTo>
                    <a:pt x="8891" y="11989"/>
                  </a:lnTo>
                  <a:lnTo>
                    <a:pt x="9294" y="11951"/>
                  </a:lnTo>
                  <a:lnTo>
                    <a:pt x="9691" y="11898"/>
                  </a:lnTo>
                  <a:lnTo>
                    <a:pt x="10081" y="11830"/>
                  </a:lnTo>
                  <a:lnTo>
                    <a:pt x="10465" y="11749"/>
                  </a:lnTo>
                  <a:lnTo>
                    <a:pt x="10840" y="11655"/>
                  </a:lnTo>
                  <a:lnTo>
                    <a:pt x="11206" y="11547"/>
                  </a:lnTo>
                  <a:lnTo>
                    <a:pt x="11563" y="11427"/>
                  </a:lnTo>
                  <a:lnTo>
                    <a:pt x="11910" y="11295"/>
                  </a:lnTo>
                  <a:lnTo>
                    <a:pt x="12248" y="11149"/>
                  </a:lnTo>
                  <a:lnTo>
                    <a:pt x="12576" y="10993"/>
                  </a:lnTo>
                  <a:lnTo>
                    <a:pt x="12891" y="10826"/>
                  </a:lnTo>
                  <a:lnTo>
                    <a:pt x="13197" y="10647"/>
                  </a:lnTo>
                  <a:lnTo>
                    <a:pt x="13489" y="10458"/>
                  </a:lnTo>
                  <a:lnTo>
                    <a:pt x="13770" y="10260"/>
                  </a:lnTo>
                  <a:lnTo>
                    <a:pt x="14037" y="10050"/>
                  </a:lnTo>
                  <a:lnTo>
                    <a:pt x="14290" y="9832"/>
                  </a:lnTo>
                  <a:lnTo>
                    <a:pt x="14530" y="9606"/>
                  </a:lnTo>
                  <a:lnTo>
                    <a:pt x="14755" y="9370"/>
                  </a:lnTo>
                  <a:lnTo>
                    <a:pt x="14964" y="9126"/>
                  </a:lnTo>
                  <a:lnTo>
                    <a:pt x="15158" y="8875"/>
                  </a:lnTo>
                  <a:lnTo>
                    <a:pt x="15336" y="8615"/>
                  </a:lnTo>
                  <a:lnTo>
                    <a:pt x="15498" y="8349"/>
                  </a:lnTo>
                  <a:lnTo>
                    <a:pt x="15643" y="8076"/>
                  </a:lnTo>
                  <a:lnTo>
                    <a:pt x="15769" y="7797"/>
                  </a:lnTo>
                  <a:lnTo>
                    <a:pt x="15878" y="7511"/>
                  </a:lnTo>
                  <a:lnTo>
                    <a:pt x="15968" y="7221"/>
                  </a:lnTo>
                  <a:lnTo>
                    <a:pt x="16039" y="6925"/>
                  </a:lnTo>
                  <a:lnTo>
                    <a:pt x="16091" y="6624"/>
                  </a:lnTo>
                  <a:lnTo>
                    <a:pt x="16122" y="6319"/>
                  </a:lnTo>
                  <a:lnTo>
                    <a:pt x="16132" y="6010"/>
                  </a:lnTo>
                  <a:lnTo>
                    <a:pt x="16122" y="5700"/>
                  </a:lnTo>
                  <a:lnTo>
                    <a:pt x="16091" y="5396"/>
                  </a:lnTo>
                  <a:lnTo>
                    <a:pt x="16039" y="5094"/>
                  </a:lnTo>
                  <a:lnTo>
                    <a:pt x="15968" y="4799"/>
                  </a:lnTo>
                  <a:lnTo>
                    <a:pt x="15878" y="4508"/>
                  </a:lnTo>
                  <a:lnTo>
                    <a:pt x="15769" y="4223"/>
                  </a:lnTo>
                  <a:lnTo>
                    <a:pt x="15643" y="3943"/>
                  </a:lnTo>
                  <a:lnTo>
                    <a:pt x="15498" y="3671"/>
                  </a:lnTo>
                  <a:lnTo>
                    <a:pt x="15336" y="3405"/>
                  </a:lnTo>
                  <a:lnTo>
                    <a:pt x="15158" y="3145"/>
                  </a:lnTo>
                  <a:lnTo>
                    <a:pt x="14964" y="2894"/>
                  </a:lnTo>
                  <a:lnTo>
                    <a:pt x="14755" y="2649"/>
                  </a:lnTo>
                  <a:lnTo>
                    <a:pt x="14530" y="2414"/>
                  </a:lnTo>
                  <a:lnTo>
                    <a:pt x="14290" y="2188"/>
                  </a:lnTo>
                  <a:lnTo>
                    <a:pt x="14037" y="1969"/>
                  </a:lnTo>
                  <a:lnTo>
                    <a:pt x="13770" y="1760"/>
                  </a:lnTo>
                  <a:lnTo>
                    <a:pt x="13489" y="1562"/>
                  </a:lnTo>
                  <a:lnTo>
                    <a:pt x="13197" y="1372"/>
                  </a:lnTo>
                  <a:lnTo>
                    <a:pt x="12891" y="1194"/>
                  </a:lnTo>
                  <a:lnTo>
                    <a:pt x="12576" y="1027"/>
                  </a:lnTo>
                  <a:lnTo>
                    <a:pt x="12248" y="870"/>
                  </a:lnTo>
                  <a:lnTo>
                    <a:pt x="11910" y="725"/>
                  </a:lnTo>
                  <a:lnTo>
                    <a:pt x="11563" y="593"/>
                  </a:lnTo>
                  <a:lnTo>
                    <a:pt x="11206" y="473"/>
                  </a:lnTo>
                  <a:lnTo>
                    <a:pt x="10840" y="365"/>
                  </a:lnTo>
                  <a:lnTo>
                    <a:pt x="10465" y="270"/>
                  </a:lnTo>
                  <a:lnTo>
                    <a:pt x="10081" y="189"/>
                  </a:lnTo>
                  <a:lnTo>
                    <a:pt x="9691" y="122"/>
                  </a:lnTo>
                  <a:lnTo>
                    <a:pt x="9294" y="69"/>
                  </a:lnTo>
                  <a:lnTo>
                    <a:pt x="8891" y="31"/>
                  </a:lnTo>
                  <a:lnTo>
                    <a:pt x="8481" y="8"/>
                  </a:lnTo>
                  <a:lnTo>
                    <a:pt x="80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33" name="îšľíḓe">
              <a:extLst>
                <a:ext uri="{FF2B5EF4-FFF2-40B4-BE49-F238E27FC236}">
                  <a16:creationId xmlns:a16="http://schemas.microsoft.com/office/drawing/2014/main" id="{D7DED266-235A-4083-A04A-D87CC20057F7}"/>
                </a:ext>
              </a:extLst>
            </p:cNvPr>
            <p:cNvSpPr/>
            <p:nvPr/>
          </p:nvSpPr>
          <p:spPr bwMode="auto">
            <a:xfrm>
              <a:off x="6105438" y="4001553"/>
              <a:ext cx="346999" cy="346201"/>
            </a:xfrm>
            <a:custGeom>
              <a:avLst/>
              <a:gdLst>
                <a:gd name="T0" fmla="*/ 13537 w 16094"/>
                <a:gd name="T1" fmla="*/ 6059 h 16058"/>
                <a:gd name="T2" fmla="*/ 13105 w 16094"/>
                <a:gd name="T3" fmla="*/ 4843 h 16058"/>
                <a:gd name="T4" fmla="*/ 12309 w 16094"/>
                <a:gd name="T5" fmla="*/ 3778 h 16058"/>
                <a:gd name="T6" fmla="*/ 11103 w 16094"/>
                <a:gd name="T7" fmla="*/ 2914 h 16058"/>
                <a:gd name="T8" fmla="*/ 9730 w 16094"/>
                <a:gd name="T9" fmla="*/ 2510 h 16058"/>
                <a:gd name="T10" fmla="*/ 10548 w 16094"/>
                <a:gd name="T11" fmla="*/ 1344 h 16058"/>
                <a:gd name="T12" fmla="*/ 11273 w 16094"/>
                <a:gd name="T13" fmla="*/ 1058 h 16058"/>
                <a:gd name="T14" fmla="*/ 12175 w 16094"/>
                <a:gd name="T15" fmla="*/ 1030 h 16058"/>
                <a:gd name="T16" fmla="*/ 13215 w 16094"/>
                <a:gd name="T17" fmla="*/ 1370 h 16058"/>
                <a:gd name="T18" fmla="*/ 14130 w 16094"/>
                <a:gd name="T19" fmla="*/ 2061 h 16058"/>
                <a:gd name="T20" fmla="*/ 14752 w 16094"/>
                <a:gd name="T21" fmla="*/ 2927 h 16058"/>
                <a:gd name="T22" fmla="*/ 15061 w 16094"/>
                <a:gd name="T23" fmla="*/ 3885 h 16058"/>
                <a:gd name="T24" fmla="*/ 15035 w 16094"/>
                <a:gd name="T25" fmla="*/ 4794 h 16058"/>
                <a:gd name="T26" fmla="*/ 14704 w 16094"/>
                <a:gd name="T27" fmla="*/ 5577 h 16058"/>
                <a:gd name="T28" fmla="*/ 4429 w 16094"/>
                <a:gd name="T29" fmla="*/ 13990 h 16058"/>
                <a:gd name="T30" fmla="*/ 4128 w 16094"/>
                <a:gd name="T31" fmla="*/ 13119 h 16058"/>
                <a:gd name="T32" fmla="*/ 3522 w 16094"/>
                <a:gd name="T33" fmla="*/ 12349 h 16058"/>
                <a:gd name="T34" fmla="*/ 2735 w 16094"/>
                <a:gd name="T35" fmla="*/ 11832 h 16058"/>
                <a:gd name="T36" fmla="*/ 1857 w 16094"/>
                <a:gd name="T37" fmla="*/ 11600 h 16058"/>
                <a:gd name="T38" fmla="*/ 2349 w 16094"/>
                <a:gd name="T39" fmla="*/ 9539 h 16058"/>
                <a:gd name="T40" fmla="*/ 3383 w 16094"/>
                <a:gd name="T41" fmla="*/ 9051 h 16058"/>
                <a:gd name="T42" fmla="*/ 5065 w 16094"/>
                <a:gd name="T43" fmla="*/ 9305 h 16058"/>
                <a:gd name="T44" fmla="*/ 6529 w 16094"/>
                <a:gd name="T45" fmla="*/ 10574 h 16058"/>
                <a:gd name="T46" fmla="*/ 7057 w 16094"/>
                <a:gd name="T47" fmla="*/ 12341 h 16058"/>
                <a:gd name="T48" fmla="*/ 6481 w 16094"/>
                <a:gd name="T49" fmla="*/ 13816 h 16058"/>
                <a:gd name="T50" fmla="*/ 1899 w 16094"/>
                <a:gd name="T51" fmla="*/ 15034 h 16058"/>
                <a:gd name="T52" fmla="*/ 1430 w 16094"/>
                <a:gd name="T53" fmla="*/ 14978 h 16058"/>
                <a:gd name="T54" fmla="*/ 1080 w 16094"/>
                <a:gd name="T55" fmla="*/ 14626 h 16058"/>
                <a:gd name="T56" fmla="*/ 1037 w 16094"/>
                <a:gd name="T57" fmla="*/ 14110 h 16058"/>
                <a:gd name="T58" fmla="*/ 2133 w 16094"/>
                <a:gd name="T59" fmla="*/ 12161 h 16058"/>
                <a:gd name="T60" fmla="*/ 2879 w 16094"/>
                <a:gd name="T61" fmla="*/ 12483 h 16058"/>
                <a:gd name="T62" fmla="*/ 3517 w 16094"/>
                <a:gd name="T63" fmla="*/ 13089 h 16058"/>
                <a:gd name="T64" fmla="*/ 3887 w 16094"/>
                <a:gd name="T65" fmla="*/ 13837 h 16058"/>
                <a:gd name="T66" fmla="*/ 5275 w 16094"/>
                <a:gd name="T67" fmla="*/ 8311 h 16058"/>
                <a:gd name="T68" fmla="*/ 4471 w 16094"/>
                <a:gd name="T69" fmla="*/ 8075 h 16058"/>
                <a:gd name="T70" fmla="*/ 3832 w 16094"/>
                <a:gd name="T71" fmla="*/ 8011 h 16058"/>
                <a:gd name="T72" fmla="*/ 8544 w 16094"/>
                <a:gd name="T73" fmla="*/ 3613 h 16058"/>
                <a:gd name="T74" fmla="*/ 9615 w 16094"/>
                <a:gd name="T75" fmla="*/ 3512 h 16058"/>
                <a:gd name="T76" fmla="*/ 7177 w 16094"/>
                <a:gd name="T77" fmla="*/ 9768 h 16058"/>
                <a:gd name="T78" fmla="*/ 6475 w 16094"/>
                <a:gd name="T79" fmla="*/ 9029 h 16058"/>
                <a:gd name="T80" fmla="*/ 10683 w 16094"/>
                <a:gd name="T81" fmla="*/ 3831 h 16058"/>
                <a:gd name="T82" fmla="*/ 11597 w 16094"/>
                <a:gd name="T83" fmla="*/ 4487 h 16058"/>
                <a:gd name="T84" fmla="*/ 12178 w 16094"/>
                <a:gd name="T85" fmla="*/ 5258 h 16058"/>
                <a:gd name="T86" fmla="*/ 7882 w 16094"/>
                <a:gd name="T87" fmla="*/ 11105 h 16058"/>
                <a:gd name="T88" fmla="*/ 12576 w 16094"/>
                <a:gd name="T89" fmla="*/ 6482 h 16058"/>
                <a:gd name="T90" fmla="*/ 12439 w 16094"/>
                <a:gd name="T91" fmla="*/ 7635 h 16058"/>
                <a:gd name="T92" fmla="*/ 11948 w 16094"/>
                <a:gd name="T93" fmla="*/ 8406 h 16058"/>
                <a:gd name="T94" fmla="*/ 14463 w 16094"/>
                <a:gd name="T95" fmla="*/ 1003 h 16058"/>
                <a:gd name="T96" fmla="*/ 13190 w 16094"/>
                <a:gd name="T97" fmla="*/ 260 h 16058"/>
                <a:gd name="T98" fmla="*/ 11795 w 16094"/>
                <a:gd name="T99" fmla="*/ 0 h 16058"/>
                <a:gd name="T100" fmla="*/ 10660 w 16094"/>
                <a:gd name="T101" fmla="*/ 187 h 16058"/>
                <a:gd name="T102" fmla="*/ 9684 w 16094"/>
                <a:gd name="T103" fmla="*/ 727 h 16058"/>
                <a:gd name="T104" fmla="*/ 1704 w 16094"/>
                <a:gd name="T105" fmla="*/ 8728 h 16058"/>
                <a:gd name="T106" fmla="*/ 1279 w 16094"/>
                <a:gd name="T107" fmla="*/ 9454 h 16058"/>
                <a:gd name="T108" fmla="*/ 0 w 16094"/>
                <a:gd name="T109" fmla="*/ 14302 h 16058"/>
                <a:gd name="T110" fmla="*/ 402 w 16094"/>
                <a:gd name="T111" fmla="*/ 15419 h 16058"/>
                <a:gd name="T112" fmla="*/ 1407 w 16094"/>
                <a:gd name="T113" fmla="*/ 16022 h 16058"/>
                <a:gd name="T114" fmla="*/ 2275 w 16094"/>
                <a:gd name="T115" fmla="*/ 15980 h 16058"/>
                <a:gd name="T116" fmla="*/ 7227 w 16094"/>
                <a:gd name="T117" fmla="*/ 14541 h 16058"/>
                <a:gd name="T118" fmla="*/ 15901 w 16094"/>
                <a:gd name="T119" fmla="*/ 5421 h 16058"/>
                <a:gd name="T120" fmla="*/ 15857 w 16094"/>
                <a:gd name="T121" fmla="*/ 2953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094" h="16058">
                  <a:moveTo>
                    <a:pt x="14431" y="5907"/>
                  </a:moveTo>
                  <a:lnTo>
                    <a:pt x="13584" y="6759"/>
                  </a:lnTo>
                  <a:lnTo>
                    <a:pt x="13585" y="6717"/>
                  </a:lnTo>
                  <a:lnTo>
                    <a:pt x="13586" y="6675"/>
                  </a:lnTo>
                  <a:lnTo>
                    <a:pt x="13588" y="6633"/>
                  </a:lnTo>
                  <a:lnTo>
                    <a:pt x="13590" y="6591"/>
                  </a:lnTo>
                  <a:lnTo>
                    <a:pt x="13591" y="6549"/>
                  </a:lnTo>
                  <a:lnTo>
                    <a:pt x="13591" y="6507"/>
                  </a:lnTo>
                  <a:lnTo>
                    <a:pt x="13590" y="6464"/>
                  </a:lnTo>
                  <a:lnTo>
                    <a:pt x="13587" y="6420"/>
                  </a:lnTo>
                  <a:lnTo>
                    <a:pt x="13578" y="6330"/>
                  </a:lnTo>
                  <a:lnTo>
                    <a:pt x="13566" y="6240"/>
                  </a:lnTo>
                  <a:lnTo>
                    <a:pt x="13553" y="6148"/>
                  </a:lnTo>
                  <a:lnTo>
                    <a:pt x="13537" y="6059"/>
                  </a:lnTo>
                  <a:lnTo>
                    <a:pt x="13520" y="5969"/>
                  </a:lnTo>
                  <a:lnTo>
                    <a:pt x="13500" y="5879"/>
                  </a:lnTo>
                  <a:lnTo>
                    <a:pt x="13478" y="5790"/>
                  </a:lnTo>
                  <a:lnTo>
                    <a:pt x="13453" y="5702"/>
                  </a:lnTo>
                  <a:lnTo>
                    <a:pt x="13427" y="5613"/>
                  </a:lnTo>
                  <a:lnTo>
                    <a:pt x="13400" y="5525"/>
                  </a:lnTo>
                  <a:lnTo>
                    <a:pt x="13370" y="5439"/>
                  </a:lnTo>
                  <a:lnTo>
                    <a:pt x="13338" y="5351"/>
                  </a:lnTo>
                  <a:lnTo>
                    <a:pt x="13305" y="5265"/>
                  </a:lnTo>
                  <a:lnTo>
                    <a:pt x="13268" y="5180"/>
                  </a:lnTo>
                  <a:lnTo>
                    <a:pt x="13230" y="5094"/>
                  </a:lnTo>
                  <a:lnTo>
                    <a:pt x="13191" y="5010"/>
                  </a:lnTo>
                  <a:lnTo>
                    <a:pt x="13150" y="4927"/>
                  </a:lnTo>
                  <a:lnTo>
                    <a:pt x="13105" y="4843"/>
                  </a:lnTo>
                  <a:lnTo>
                    <a:pt x="13060" y="4761"/>
                  </a:lnTo>
                  <a:lnTo>
                    <a:pt x="13014" y="4680"/>
                  </a:lnTo>
                  <a:lnTo>
                    <a:pt x="12965" y="4600"/>
                  </a:lnTo>
                  <a:lnTo>
                    <a:pt x="12913" y="4520"/>
                  </a:lnTo>
                  <a:lnTo>
                    <a:pt x="12861" y="4441"/>
                  </a:lnTo>
                  <a:lnTo>
                    <a:pt x="12807" y="4364"/>
                  </a:lnTo>
                  <a:lnTo>
                    <a:pt x="12750" y="4286"/>
                  </a:lnTo>
                  <a:lnTo>
                    <a:pt x="12692" y="4210"/>
                  </a:lnTo>
                  <a:lnTo>
                    <a:pt x="12633" y="4136"/>
                  </a:lnTo>
                  <a:lnTo>
                    <a:pt x="12571" y="4062"/>
                  </a:lnTo>
                  <a:lnTo>
                    <a:pt x="12508" y="3989"/>
                  </a:lnTo>
                  <a:lnTo>
                    <a:pt x="12443" y="3917"/>
                  </a:lnTo>
                  <a:lnTo>
                    <a:pt x="12376" y="3847"/>
                  </a:lnTo>
                  <a:lnTo>
                    <a:pt x="12309" y="3778"/>
                  </a:lnTo>
                  <a:lnTo>
                    <a:pt x="12230" y="3701"/>
                  </a:lnTo>
                  <a:lnTo>
                    <a:pt x="12152" y="3628"/>
                  </a:lnTo>
                  <a:lnTo>
                    <a:pt x="12071" y="3557"/>
                  </a:lnTo>
                  <a:lnTo>
                    <a:pt x="11989" y="3487"/>
                  </a:lnTo>
                  <a:lnTo>
                    <a:pt x="11905" y="3419"/>
                  </a:lnTo>
                  <a:lnTo>
                    <a:pt x="11821" y="3354"/>
                  </a:lnTo>
                  <a:lnTo>
                    <a:pt x="11735" y="3292"/>
                  </a:lnTo>
                  <a:lnTo>
                    <a:pt x="11648" y="3231"/>
                  </a:lnTo>
                  <a:lnTo>
                    <a:pt x="11560" y="3172"/>
                  </a:lnTo>
                  <a:lnTo>
                    <a:pt x="11471" y="3116"/>
                  </a:lnTo>
                  <a:lnTo>
                    <a:pt x="11380" y="3062"/>
                  </a:lnTo>
                  <a:lnTo>
                    <a:pt x="11289" y="3010"/>
                  </a:lnTo>
                  <a:lnTo>
                    <a:pt x="11196" y="2961"/>
                  </a:lnTo>
                  <a:lnTo>
                    <a:pt x="11103" y="2914"/>
                  </a:lnTo>
                  <a:lnTo>
                    <a:pt x="11009" y="2868"/>
                  </a:lnTo>
                  <a:lnTo>
                    <a:pt x="10913" y="2826"/>
                  </a:lnTo>
                  <a:lnTo>
                    <a:pt x="10818" y="2786"/>
                  </a:lnTo>
                  <a:lnTo>
                    <a:pt x="10721" y="2749"/>
                  </a:lnTo>
                  <a:lnTo>
                    <a:pt x="10625" y="2714"/>
                  </a:lnTo>
                  <a:lnTo>
                    <a:pt x="10527" y="2681"/>
                  </a:lnTo>
                  <a:lnTo>
                    <a:pt x="10429" y="2651"/>
                  </a:lnTo>
                  <a:lnTo>
                    <a:pt x="10330" y="2622"/>
                  </a:lnTo>
                  <a:lnTo>
                    <a:pt x="10231" y="2597"/>
                  </a:lnTo>
                  <a:lnTo>
                    <a:pt x="10132" y="2574"/>
                  </a:lnTo>
                  <a:lnTo>
                    <a:pt x="10031" y="2554"/>
                  </a:lnTo>
                  <a:lnTo>
                    <a:pt x="9932" y="2537"/>
                  </a:lnTo>
                  <a:lnTo>
                    <a:pt x="9831" y="2522"/>
                  </a:lnTo>
                  <a:lnTo>
                    <a:pt x="9730" y="2510"/>
                  </a:lnTo>
                  <a:lnTo>
                    <a:pt x="9630" y="2500"/>
                  </a:lnTo>
                  <a:lnTo>
                    <a:pt x="9529" y="2493"/>
                  </a:lnTo>
                  <a:lnTo>
                    <a:pt x="9428" y="2489"/>
                  </a:lnTo>
                  <a:lnTo>
                    <a:pt x="9327" y="2487"/>
                  </a:lnTo>
                  <a:lnTo>
                    <a:pt x="10160" y="1649"/>
                  </a:lnTo>
                  <a:lnTo>
                    <a:pt x="10199" y="1611"/>
                  </a:lnTo>
                  <a:lnTo>
                    <a:pt x="10240" y="1574"/>
                  </a:lnTo>
                  <a:lnTo>
                    <a:pt x="10282" y="1538"/>
                  </a:lnTo>
                  <a:lnTo>
                    <a:pt x="10324" y="1502"/>
                  </a:lnTo>
                  <a:lnTo>
                    <a:pt x="10367" y="1468"/>
                  </a:lnTo>
                  <a:lnTo>
                    <a:pt x="10411" y="1435"/>
                  </a:lnTo>
                  <a:lnTo>
                    <a:pt x="10456" y="1404"/>
                  </a:lnTo>
                  <a:lnTo>
                    <a:pt x="10502" y="1373"/>
                  </a:lnTo>
                  <a:lnTo>
                    <a:pt x="10548" y="1344"/>
                  </a:lnTo>
                  <a:lnTo>
                    <a:pt x="10596" y="1316"/>
                  </a:lnTo>
                  <a:lnTo>
                    <a:pt x="10644" y="1289"/>
                  </a:lnTo>
                  <a:lnTo>
                    <a:pt x="10692" y="1263"/>
                  </a:lnTo>
                  <a:lnTo>
                    <a:pt x="10742" y="1237"/>
                  </a:lnTo>
                  <a:lnTo>
                    <a:pt x="10793" y="1214"/>
                  </a:lnTo>
                  <a:lnTo>
                    <a:pt x="10843" y="1192"/>
                  </a:lnTo>
                  <a:lnTo>
                    <a:pt x="10894" y="1171"/>
                  </a:lnTo>
                  <a:lnTo>
                    <a:pt x="10947" y="1151"/>
                  </a:lnTo>
                  <a:lnTo>
                    <a:pt x="11000" y="1132"/>
                  </a:lnTo>
                  <a:lnTo>
                    <a:pt x="11053" y="1115"/>
                  </a:lnTo>
                  <a:lnTo>
                    <a:pt x="11108" y="1099"/>
                  </a:lnTo>
                  <a:lnTo>
                    <a:pt x="11162" y="1084"/>
                  </a:lnTo>
                  <a:lnTo>
                    <a:pt x="11217" y="1070"/>
                  </a:lnTo>
                  <a:lnTo>
                    <a:pt x="11273" y="1058"/>
                  </a:lnTo>
                  <a:lnTo>
                    <a:pt x="11329" y="1046"/>
                  </a:lnTo>
                  <a:lnTo>
                    <a:pt x="11386" y="1037"/>
                  </a:lnTo>
                  <a:lnTo>
                    <a:pt x="11444" y="1028"/>
                  </a:lnTo>
                  <a:lnTo>
                    <a:pt x="11501" y="1021"/>
                  </a:lnTo>
                  <a:lnTo>
                    <a:pt x="11559" y="1015"/>
                  </a:lnTo>
                  <a:lnTo>
                    <a:pt x="11618" y="1010"/>
                  </a:lnTo>
                  <a:lnTo>
                    <a:pt x="11676" y="1007"/>
                  </a:lnTo>
                  <a:lnTo>
                    <a:pt x="11735" y="1005"/>
                  </a:lnTo>
                  <a:lnTo>
                    <a:pt x="11795" y="1004"/>
                  </a:lnTo>
                  <a:lnTo>
                    <a:pt x="11871" y="1005"/>
                  </a:lnTo>
                  <a:lnTo>
                    <a:pt x="11947" y="1008"/>
                  </a:lnTo>
                  <a:lnTo>
                    <a:pt x="12023" y="1014"/>
                  </a:lnTo>
                  <a:lnTo>
                    <a:pt x="12098" y="1021"/>
                  </a:lnTo>
                  <a:lnTo>
                    <a:pt x="12175" y="1030"/>
                  </a:lnTo>
                  <a:lnTo>
                    <a:pt x="12251" y="1042"/>
                  </a:lnTo>
                  <a:lnTo>
                    <a:pt x="12327" y="1055"/>
                  </a:lnTo>
                  <a:lnTo>
                    <a:pt x="12402" y="1071"/>
                  </a:lnTo>
                  <a:lnTo>
                    <a:pt x="12478" y="1088"/>
                  </a:lnTo>
                  <a:lnTo>
                    <a:pt x="12553" y="1108"/>
                  </a:lnTo>
                  <a:lnTo>
                    <a:pt x="12629" y="1129"/>
                  </a:lnTo>
                  <a:lnTo>
                    <a:pt x="12703" y="1153"/>
                  </a:lnTo>
                  <a:lnTo>
                    <a:pt x="12777" y="1178"/>
                  </a:lnTo>
                  <a:lnTo>
                    <a:pt x="12852" y="1205"/>
                  </a:lnTo>
                  <a:lnTo>
                    <a:pt x="12925" y="1234"/>
                  </a:lnTo>
                  <a:lnTo>
                    <a:pt x="12999" y="1266"/>
                  </a:lnTo>
                  <a:lnTo>
                    <a:pt x="13071" y="1299"/>
                  </a:lnTo>
                  <a:lnTo>
                    <a:pt x="13144" y="1334"/>
                  </a:lnTo>
                  <a:lnTo>
                    <a:pt x="13215" y="1370"/>
                  </a:lnTo>
                  <a:lnTo>
                    <a:pt x="13285" y="1408"/>
                  </a:lnTo>
                  <a:lnTo>
                    <a:pt x="13356" y="1448"/>
                  </a:lnTo>
                  <a:lnTo>
                    <a:pt x="13425" y="1490"/>
                  </a:lnTo>
                  <a:lnTo>
                    <a:pt x="13495" y="1535"/>
                  </a:lnTo>
                  <a:lnTo>
                    <a:pt x="13562" y="1580"/>
                  </a:lnTo>
                  <a:lnTo>
                    <a:pt x="13629" y="1627"/>
                  </a:lnTo>
                  <a:lnTo>
                    <a:pt x="13696" y="1676"/>
                  </a:lnTo>
                  <a:lnTo>
                    <a:pt x="13761" y="1727"/>
                  </a:lnTo>
                  <a:lnTo>
                    <a:pt x="13827" y="1779"/>
                  </a:lnTo>
                  <a:lnTo>
                    <a:pt x="13890" y="1834"/>
                  </a:lnTo>
                  <a:lnTo>
                    <a:pt x="13952" y="1889"/>
                  </a:lnTo>
                  <a:lnTo>
                    <a:pt x="14014" y="1946"/>
                  </a:lnTo>
                  <a:lnTo>
                    <a:pt x="14075" y="2005"/>
                  </a:lnTo>
                  <a:lnTo>
                    <a:pt x="14130" y="2061"/>
                  </a:lnTo>
                  <a:lnTo>
                    <a:pt x="14185" y="2119"/>
                  </a:lnTo>
                  <a:lnTo>
                    <a:pt x="14237" y="2177"/>
                  </a:lnTo>
                  <a:lnTo>
                    <a:pt x="14288" y="2235"/>
                  </a:lnTo>
                  <a:lnTo>
                    <a:pt x="14338" y="2295"/>
                  </a:lnTo>
                  <a:lnTo>
                    <a:pt x="14386" y="2356"/>
                  </a:lnTo>
                  <a:lnTo>
                    <a:pt x="14433" y="2417"/>
                  </a:lnTo>
                  <a:lnTo>
                    <a:pt x="14478" y="2478"/>
                  </a:lnTo>
                  <a:lnTo>
                    <a:pt x="14522" y="2540"/>
                  </a:lnTo>
                  <a:lnTo>
                    <a:pt x="14564" y="2603"/>
                  </a:lnTo>
                  <a:lnTo>
                    <a:pt x="14605" y="2667"/>
                  </a:lnTo>
                  <a:lnTo>
                    <a:pt x="14644" y="2731"/>
                  </a:lnTo>
                  <a:lnTo>
                    <a:pt x="14682" y="2796"/>
                  </a:lnTo>
                  <a:lnTo>
                    <a:pt x="14718" y="2861"/>
                  </a:lnTo>
                  <a:lnTo>
                    <a:pt x="14752" y="2927"/>
                  </a:lnTo>
                  <a:lnTo>
                    <a:pt x="14785" y="2993"/>
                  </a:lnTo>
                  <a:lnTo>
                    <a:pt x="14816" y="3060"/>
                  </a:lnTo>
                  <a:lnTo>
                    <a:pt x="14846" y="3126"/>
                  </a:lnTo>
                  <a:lnTo>
                    <a:pt x="14874" y="3195"/>
                  </a:lnTo>
                  <a:lnTo>
                    <a:pt x="14900" y="3262"/>
                  </a:lnTo>
                  <a:lnTo>
                    <a:pt x="14925" y="3330"/>
                  </a:lnTo>
                  <a:lnTo>
                    <a:pt x="14948" y="3398"/>
                  </a:lnTo>
                  <a:lnTo>
                    <a:pt x="14969" y="3468"/>
                  </a:lnTo>
                  <a:lnTo>
                    <a:pt x="14988" y="3537"/>
                  </a:lnTo>
                  <a:lnTo>
                    <a:pt x="15007" y="3606"/>
                  </a:lnTo>
                  <a:lnTo>
                    <a:pt x="15023" y="3675"/>
                  </a:lnTo>
                  <a:lnTo>
                    <a:pt x="15038" y="3746"/>
                  </a:lnTo>
                  <a:lnTo>
                    <a:pt x="15050" y="3816"/>
                  </a:lnTo>
                  <a:lnTo>
                    <a:pt x="15061" y="3885"/>
                  </a:lnTo>
                  <a:lnTo>
                    <a:pt x="15070" y="3955"/>
                  </a:lnTo>
                  <a:lnTo>
                    <a:pt x="15078" y="4026"/>
                  </a:lnTo>
                  <a:lnTo>
                    <a:pt x="15084" y="4097"/>
                  </a:lnTo>
                  <a:lnTo>
                    <a:pt x="15087" y="4162"/>
                  </a:lnTo>
                  <a:lnTo>
                    <a:pt x="15089" y="4227"/>
                  </a:lnTo>
                  <a:lnTo>
                    <a:pt x="15089" y="4292"/>
                  </a:lnTo>
                  <a:lnTo>
                    <a:pt x="15088" y="4357"/>
                  </a:lnTo>
                  <a:lnTo>
                    <a:pt x="15085" y="4420"/>
                  </a:lnTo>
                  <a:lnTo>
                    <a:pt x="15081" y="4484"/>
                  </a:lnTo>
                  <a:lnTo>
                    <a:pt x="15075" y="4546"/>
                  </a:lnTo>
                  <a:lnTo>
                    <a:pt x="15067" y="4610"/>
                  </a:lnTo>
                  <a:lnTo>
                    <a:pt x="15058" y="4672"/>
                  </a:lnTo>
                  <a:lnTo>
                    <a:pt x="15048" y="4733"/>
                  </a:lnTo>
                  <a:lnTo>
                    <a:pt x="15035" y="4794"/>
                  </a:lnTo>
                  <a:lnTo>
                    <a:pt x="15022" y="4855"/>
                  </a:lnTo>
                  <a:lnTo>
                    <a:pt x="15006" y="4914"/>
                  </a:lnTo>
                  <a:lnTo>
                    <a:pt x="14989" y="4973"/>
                  </a:lnTo>
                  <a:lnTo>
                    <a:pt x="14970" y="5032"/>
                  </a:lnTo>
                  <a:lnTo>
                    <a:pt x="14950" y="5089"/>
                  </a:lnTo>
                  <a:lnTo>
                    <a:pt x="14929" y="5147"/>
                  </a:lnTo>
                  <a:lnTo>
                    <a:pt x="14906" y="5203"/>
                  </a:lnTo>
                  <a:lnTo>
                    <a:pt x="14882" y="5259"/>
                  </a:lnTo>
                  <a:lnTo>
                    <a:pt x="14856" y="5314"/>
                  </a:lnTo>
                  <a:lnTo>
                    <a:pt x="14829" y="5368"/>
                  </a:lnTo>
                  <a:lnTo>
                    <a:pt x="14799" y="5422"/>
                  </a:lnTo>
                  <a:lnTo>
                    <a:pt x="14769" y="5474"/>
                  </a:lnTo>
                  <a:lnTo>
                    <a:pt x="14737" y="5526"/>
                  </a:lnTo>
                  <a:lnTo>
                    <a:pt x="14704" y="5577"/>
                  </a:lnTo>
                  <a:lnTo>
                    <a:pt x="14670" y="5627"/>
                  </a:lnTo>
                  <a:lnTo>
                    <a:pt x="14633" y="5675"/>
                  </a:lnTo>
                  <a:lnTo>
                    <a:pt x="14595" y="5724"/>
                  </a:lnTo>
                  <a:lnTo>
                    <a:pt x="14557" y="5772"/>
                  </a:lnTo>
                  <a:lnTo>
                    <a:pt x="14516" y="5818"/>
                  </a:lnTo>
                  <a:lnTo>
                    <a:pt x="14474" y="5863"/>
                  </a:lnTo>
                  <a:lnTo>
                    <a:pt x="14431" y="5907"/>
                  </a:lnTo>
                  <a:close/>
                  <a:moveTo>
                    <a:pt x="4463" y="14370"/>
                  </a:moveTo>
                  <a:lnTo>
                    <a:pt x="4461" y="14307"/>
                  </a:lnTo>
                  <a:lnTo>
                    <a:pt x="4458" y="14243"/>
                  </a:lnTo>
                  <a:lnTo>
                    <a:pt x="4453" y="14180"/>
                  </a:lnTo>
                  <a:lnTo>
                    <a:pt x="4446" y="14117"/>
                  </a:lnTo>
                  <a:lnTo>
                    <a:pt x="4438" y="14053"/>
                  </a:lnTo>
                  <a:lnTo>
                    <a:pt x="4429" y="13990"/>
                  </a:lnTo>
                  <a:lnTo>
                    <a:pt x="4417" y="13926"/>
                  </a:lnTo>
                  <a:lnTo>
                    <a:pt x="4405" y="13863"/>
                  </a:lnTo>
                  <a:lnTo>
                    <a:pt x="4391" y="13800"/>
                  </a:lnTo>
                  <a:lnTo>
                    <a:pt x="4375" y="13737"/>
                  </a:lnTo>
                  <a:lnTo>
                    <a:pt x="4357" y="13673"/>
                  </a:lnTo>
                  <a:lnTo>
                    <a:pt x="4338" y="13610"/>
                  </a:lnTo>
                  <a:lnTo>
                    <a:pt x="4317" y="13548"/>
                  </a:lnTo>
                  <a:lnTo>
                    <a:pt x="4295" y="13486"/>
                  </a:lnTo>
                  <a:lnTo>
                    <a:pt x="4271" y="13423"/>
                  </a:lnTo>
                  <a:lnTo>
                    <a:pt x="4246" y="13362"/>
                  </a:lnTo>
                  <a:lnTo>
                    <a:pt x="4219" y="13300"/>
                  </a:lnTo>
                  <a:lnTo>
                    <a:pt x="4191" y="13240"/>
                  </a:lnTo>
                  <a:lnTo>
                    <a:pt x="4161" y="13179"/>
                  </a:lnTo>
                  <a:lnTo>
                    <a:pt x="4128" y="13119"/>
                  </a:lnTo>
                  <a:lnTo>
                    <a:pt x="4095" y="13059"/>
                  </a:lnTo>
                  <a:lnTo>
                    <a:pt x="4060" y="13000"/>
                  </a:lnTo>
                  <a:lnTo>
                    <a:pt x="4024" y="12942"/>
                  </a:lnTo>
                  <a:lnTo>
                    <a:pt x="3986" y="12884"/>
                  </a:lnTo>
                  <a:lnTo>
                    <a:pt x="3946" y="12826"/>
                  </a:lnTo>
                  <a:lnTo>
                    <a:pt x="3905" y="12769"/>
                  </a:lnTo>
                  <a:lnTo>
                    <a:pt x="3862" y="12714"/>
                  </a:lnTo>
                  <a:lnTo>
                    <a:pt x="3818" y="12658"/>
                  </a:lnTo>
                  <a:lnTo>
                    <a:pt x="3771" y="12604"/>
                  </a:lnTo>
                  <a:lnTo>
                    <a:pt x="3723" y="12549"/>
                  </a:lnTo>
                  <a:lnTo>
                    <a:pt x="3674" y="12497"/>
                  </a:lnTo>
                  <a:lnTo>
                    <a:pt x="3622" y="12445"/>
                  </a:lnTo>
                  <a:lnTo>
                    <a:pt x="3573" y="12396"/>
                  </a:lnTo>
                  <a:lnTo>
                    <a:pt x="3522" y="12349"/>
                  </a:lnTo>
                  <a:lnTo>
                    <a:pt x="3470" y="12303"/>
                  </a:lnTo>
                  <a:lnTo>
                    <a:pt x="3418" y="12258"/>
                  </a:lnTo>
                  <a:lnTo>
                    <a:pt x="3366" y="12215"/>
                  </a:lnTo>
                  <a:lnTo>
                    <a:pt x="3312" y="12174"/>
                  </a:lnTo>
                  <a:lnTo>
                    <a:pt x="3257" y="12133"/>
                  </a:lnTo>
                  <a:lnTo>
                    <a:pt x="3202" y="12094"/>
                  </a:lnTo>
                  <a:lnTo>
                    <a:pt x="3146" y="12057"/>
                  </a:lnTo>
                  <a:lnTo>
                    <a:pt x="3088" y="12020"/>
                  </a:lnTo>
                  <a:lnTo>
                    <a:pt x="3031" y="11985"/>
                  </a:lnTo>
                  <a:lnTo>
                    <a:pt x="2974" y="11952"/>
                  </a:lnTo>
                  <a:lnTo>
                    <a:pt x="2914" y="11920"/>
                  </a:lnTo>
                  <a:lnTo>
                    <a:pt x="2855" y="11889"/>
                  </a:lnTo>
                  <a:lnTo>
                    <a:pt x="2796" y="11860"/>
                  </a:lnTo>
                  <a:lnTo>
                    <a:pt x="2735" y="11832"/>
                  </a:lnTo>
                  <a:lnTo>
                    <a:pt x="2675" y="11806"/>
                  </a:lnTo>
                  <a:lnTo>
                    <a:pt x="2613" y="11781"/>
                  </a:lnTo>
                  <a:lnTo>
                    <a:pt x="2552" y="11757"/>
                  </a:lnTo>
                  <a:lnTo>
                    <a:pt x="2490" y="11735"/>
                  </a:lnTo>
                  <a:lnTo>
                    <a:pt x="2427" y="11715"/>
                  </a:lnTo>
                  <a:lnTo>
                    <a:pt x="2365" y="11696"/>
                  </a:lnTo>
                  <a:lnTo>
                    <a:pt x="2303" y="11679"/>
                  </a:lnTo>
                  <a:lnTo>
                    <a:pt x="2239" y="11663"/>
                  </a:lnTo>
                  <a:lnTo>
                    <a:pt x="2176" y="11648"/>
                  </a:lnTo>
                  <a:lnTo>
                    <a:pt x="2112" y="11636"/>
                  </a:lnTo>
                  <a:lnTo>
                    <a:pt x="2048" y="11625"/>
                  </a:lnTo>
                  <a:lnTo>
                    <a:pt x="1985" y="11615"/>
                  </a:lnTo>
                  <a:lnTo>
                    <a:pt x="1920" y="11607"/>
                  </a:lnTo>
                  <a:lnTo>
                    <a:pt x="1857" y="11600"/>
                  </a:lnTo>
                  <a:lnTo>
                    <a:pt x="1793" y="11595"/>
                  </a:lnTo>
                  <a:lnTo>
                    <a:pt x="1728" y="11592"/>
                  </a:lnTo>
                  <a:lnTo>
                    <a:pt x="2229" y="9781"/>
                  </a:lnTo>
                  <a:lnTo>
                    <a:pt x="2236" y="9759"/>
                  </a:lnTo>
                  <a:lnTo>
                    <a:pt x="2244" y="9736"/>
                  </a:lnTo>
                  <a:lnTo>
                    <a:pt x="2253" y="9714"/>
                  </a:lnTo>
                  <a:lnTo>
                    <a:pt x="2263" y="9692"/>
                  </a:lnTo>
                  <a:lnTo>
                    <a:pt x="2273" y="9670"/>
                  </a:lnTo>
                  <a:lnTo>
                    <a:pt x="2284" y="9648"/>
                  </a:lnTo>
                  <a:lnTo>
                    <a:pt x="2296" y="9626"/>
                  </a:lnTo>
                  <a:lnTo>
                    <a:pt x="2308" y="9604"/>
                  </a:lnTo>
                  <a:lnTo>
                    <a:pt x="2321" y="9583"/>
                  </a:lnTo>
                  <a:lnTo>
                    <a:pt x="2335" y="9561"/>
                  </a:lnTo>
                  <a:lnTo>
                    <a:pt x="2349" y="9539"/>
                  </a:lnTo>
                  <a:lnTo>
                    <a:pt x="2363" y="9518"/>
                  </a:lnTo>
                  <a:lnTo>
                    <a:pt x="2378" y="9498"/>
                  </a:lnTo>
                  <a:lnTo>
                    <a:pt x="2393" y="9478"/>
                  </a:lnTo>
                  <a:lnTo>
                    <a:pt x="2409" y="9458"/>
                  </a:lnTo>
                  <a:lnTo>
                    <a:pt x="2426" y="9438"/>
                  </a:lnTo>
                  <a:lnTo>
                    <a:pt x="2522" y="9374"/>
                  </a:lnTo>
                  <a:lnTo>
                    <a:pt x="2621" y="9314"/>
                  </a:lnTo>
                  <a:lnTo>
                    <a:pt x="2723" y="9260"/>
                  </a:lnTo>
                  <a:lnTo>
                    <a:pt x="2828" y="9211"/>
                  </a:lnTo>
                  <a:lnTo>
                    <a:pt x="2934" y="9169"/>
                  </a:lnTo>
                  <a:lnTo>
                    <a:pt x="3044" y="9131"/>
                  </a:lnTo>
                  <a:lnTo>
                    <a:pt x="3156" y="9099"/>
                  </a:lnTo>
                  <a:lnTo>
                    <a:pt x="3268" y="9072"/>
                  </a:lnTo>
                  <a:lnTo>
                    <a:pt x="3383" y="9051"/>
                  </a:lnTo>
                  <a:lnTo>
                    <a:pt x="3500" y="9034"/>
                  </a:lnTo>
                  <a:lnTo>
                    <a:pt x="3617" y="9024"/>
                  </a:lnTo>
                  <a:lnTo>
                    <a:pt x="3736" y="9018"/>
                  </a:lnTo>
                  <a:lnTo>
                    <a:pt x="3857" y="9018"/>
                  </a:lnTo>
                  <a:lnTo>
                    <a:pt x="3976" y="9023"/>
                  </a:lnTo>
                  <a:lnTo>
                    <a:pt x="4098" y="9033"/>
                  </a:lnTo>
                  <a:lnTo>
                    <a:pt x="4220" y="9049"/>
                  </a:lnTo>
                  <a:lnTo>
                    <a:pt x="4342" y="9070"/>
                  </a:lnTo>
                  <a:lnTo>
                    <a:pt x="4463" y="9096"/>
                  </a:lnTo>
                  <a:lnTo>
                    <a:pt x="4584" y="9127"/>
                  </a:lnTo>
                  <a:lnTo>
                    <a:pt x="4706" y="9164"/>
                  </a:lnTo>
                  <a:lnTo>
                    <a:pt x="4826" y="9206"/>
                  </a:lnTo>
                  <a:lnTo>
                    <a:pt x="4946" y="9252"/>
                  </a:lnTo>
                  <a:lnTo>
                    <a:pt x="5065" y="9305"/>
                  </a:lnTo>
                  <a:lnTo>
                    <a:pt x="5184" y="9363"/>
                  </a:lnTo>
                  <a:lnTo>
                    <a:pt x="5300" y="9425"/>
                  </a:lnTo>
                  <a:lnTo>
                    <a:pt x="5415" y="9493"/>
                  </a:lnTo>
                  <a:lnTo>
                    <a:pt x="5529" y="9566"/>
                  </a:lnTo>
                  <a:lnTo>
                    <a:pt x="5640" y="9644"/>
                  </a:lnTo>
                  <a:lnTo>
                    <a:pt x="5750" y="9727"/>
                  </a:lnTo>
                  <a:lnTo>
                    <a:pt x="5857" y="9815"/>
                  </a:lnTo>
                  <a:lnTo>
                    <a:pt x="5962" y="9909"/>
                  </a:lnTo>
                  <a:lnTo>
                    <a:pt x="6065" y="10007"/>
                  </a:lnTo>
                  <a:lnTo>
                    <a:pt x="6168" y="10115"/>
                  </a:lnTo>
                  <a:lnTo>
                    <a:pt x="6267" y="10226"/>
                  </a:lnTo>
                  <a:lnTo>
                    <a:pt x="6360" y="10339"/>
                  </a:lnTo>
                  <a:lnTo>
                    <a:pt x="6447" y="10456"/>
                  </a:lnTo>
                  <a:lnTo>
                    <a:pt x="6529" y="10574"/>
                  </a:lnTo>
                  <a:lnTo>
                    <a:pt x="6604" y="10695"/>
                  </a:lnTo>
                  <a:lnTo>
                    <a:pt x="6673" y="10816"/>
                  </a:lnTo>
                  <a:lnTo>
                    <a:pt x="6738" y="10941"/>
                  </a:lnTo>
                  <a:lnTo>
                    <a:pt x="6796" y="11065"/>
                  </a:lnTo>
                  <a:lnTo>
                    <a:pt x="6848" y="11191"/>
                  </a:lnTo>
                  <a:lnTo>
                    <a:pt x="6895" y="11318"/>
                  </a:lnTo>
                  <a:lnTo>
                    <a:pt x="6936" y="11446"/>
                  </a:lnTo>
                  <a:lnTo>
                    <a:pt x="6971" y="11574"/>
                  </a:lnTo>
                  <a:lnTo>
                    <a:pt x="7000" y="11702"/>
                  </a:lnTo>
                  <a:lnTo>
                    <a:pt x="7023" y="11831"/>
                  </a:lnTo>
                  <a:lnTo>
                    <a:pt x="7041" y="11959"/>
                  </a:lnTo>
                  <a:lnTo>
                    <a:pt x="7052" y="12087"/>
                  </a:lnTo>
                  <a:lnTo>
                    <a:pt x="7058" y="12214"/>
                  </a:lnTo>
                  <a:lnTo>
                    <a:pt x="7057" y="12341"/>
                  </a:lnTo>
                  <a:lnTo>
                    <a:pt x="7051" y="12466"/>
                  </a:lnTo>
                  <a:lnTo>
                    <a:pt x="7039" y="12589"/>
                  </a:lnTo>
                  <a:lnTo>
                    <a:pt x="7019" y="12712"/>
                  </a:lnTo>
                  <a:lnTo>
                    <a:pt x="6995" y="12832"/>
                  </a:lnTo>
                  <a:lnTo>
                    <a:pt x="6965" y="12952"/>
                  </a:lnTo>
                  <a:lnTo>
                    <a:pt x="6929" y="13068"/>
                  </a:lnTo>
                  <a:lnTo>
                    <a:pt x="6886" y="13183"/>
                  </a:lnTo>
                  <a:lnTo>
                    <a:pt x="6837" y="13294"/>
                  </a:lnTo>
                  <a:lnTo>
                    <a:pt x="6783" y="13402"/>
                  </a:lnTo>
                  <a:lnTo>
                    <a:pt x="6722" y="13508"/>
                  </a:lnTo>
                  <a:lnTo>
                    <a:pt x="6655" y="13610"/>
                  </a:lnTo>
                  <a:lnTo>
                    <a:pt x="6582" y="13710"/>
                  </a:lnTo>
                  <a:lnTo>
                    <a:pt x="6502" y="13805"/>
                  </a:lnTo>
                  <a:lnTo>
                    <a:pt x="6481" y="13816"/>
                  </a:lnTo>
                  <a:lnTo>
                    <a:pt x="6459" y="13827"/>
                  </a:lnTo>
                  <a:lnTo>
                    <a:pt x="6437" y="13838"/>
                  </a:lnTo>
                  <a:lnTo>
                    <a:pt x="6415" y="13848"/>
                  </a:lnTo>
                  <a:lnTo>
                    <a:pt x="6392" y="13858"/>
                  </a:lnTo>
                  <a:lnTo>
                    <a:pt x="6369" y="13867"/>
                  </a:lnTo>
                  <a:lnTo>
                    <a:pt x="6345" y="13876"/>
                  </a:lnTo>
                  <a:lnTo>
                    <a:pt x="6322" y="13884"/>
                  </a:lnTo>
                  <a:lnTo>
                    <a:pt x="4463" y="14370"/>
                  </a:lnTo>
                  <a:close/>
                  <a:moveTo>
                    <a:pt x="2096" y="14991"/>
                  </a:moveTo>
                  <a:lnTo>
                    <a:pt x="2070" y="14997"/>
                  </a:lnTo>
                  <a:lnTo>
                    <a:pt x="2036" y="15005"/>
                  </a:lnTo>
                  <a:lnTo>
                    <a:pt x="1995" y="15014"/>
                  </a:lnTo>
                  <a:lnTo>
                    <a:pt x="1949" y="15024"/>
                  </a:lnTo>
                  <a:lnTo>
                    <a:pt x="1899" y="15034"/>
                  </a:lnTo>
                  <a:lnTo>
                    <a:pt x="1849" y="15043"/>
                  </a:lnTo>
                  <a:lnTo>
                    <a:pt x="1825" y="15046"/>
                  </a:lnTo>
                  <a:lnTo>
                    <a:pt x="1801" y="15050"/>
                  </a:lnTo>
                  <a:lnTo>
                    <a:pt x="1777" y="15052"/>
                  </a:lnTo>
                  <a:lnTo>
                    <a:pt x="1755" y="15054"/>
                  </a:lnTo>
                  <a:lnTo>
                    <a:pt x="1716" y="15053"/>
                  </a:lnTo>
                  <a:lnTo>
                    <a:pt x="1679" y="15049"/>
                  </a:lnTo>
                  <a:lnTo>
                    <a:pt x="1641" y="15044"/>
                  </a:lnTo>
                  <a:lnTo>
                    <a:pt x="1604" y="15037"/>
                  </a:lnTo>
                  <a:lnTo>
                    <a:pt x="1568" y="15029"/>
                  </a:lnTo>
                  <a:lnTo>
                    <a:pt x="1532" y="15018"/>
                  </a:lnTo>
                  <a:lnTo>
                    <a:pt x="1498" y="15006"/>
                  </a:lnTo>
                  <a:lnTo>
                    <a:pt x="1464" y="14993"/>
                  </a:lnTo>
                  <a:lnTo>
                    <a:pt x="1430" y="14978"/>
                  </a:lnTo>
                  <a:lnTo>
                    <a:pt x="1398" y="14961"/>
                  </a:lnTo>
                  <a:lnTo>
                    <a:pt x="1367" y="14943"/>
                  </a:lnTo>
                  <a:lnTo>
                    <a:pt x="1336" y="14923"/>
                  </a:lnTo>
                  <a:lnTo>
                    <a:pt x="1307" y="14902"/>
                  </a:lnTo>
                  <a:lnTo>
                    <a:pt x="1279" y="14880"/>
                  </a:lnTo>
                  <a:lnTo>
                    <a:pt x="1251" y="14856"/>
                  </a:lnTo>
                  <a:lnTo>
                    <a:pt x="1225" y="14832"/>
                  </a:lnTo>
                  <a:lnTo>
                    <a:pt x="1201" y="14804"/>
                  </a:lnTo>
                  <a:lnTo>
                    <a:pt x="1177" y="14777"/>
                  </a:lnTo>
                  <a:lnTo>
                    <a:pt x="1155" y="14749"/>
                  </a:lnTo>
                  <a:lnTo>
                    <a:pt x="1134" y="14720"/>
                  </a:lnTo>
                  <a:lnTo>
                    <a:pt x="1115" y="14689"/>
                  </a:lnTo>
                  <a:lnTo>
                    <a:pt x="1096" y="14658"/>
                  </a:lnTo>
                  <a:lnTo>
                    <a:pt x="1080" y="14626"/>
                  </a:lnTo>
                  <a:lnTo>
                    <a:pt x="1065" y="14593"/>
                  </a:lnTo>
                  <a:lnTo>
                    <a:pt x="1051" y="14559"/>
                  </a:lnTo>
                  <a:lnTo>
                    <a:pt x="1040" y="14524"/>
                  </a:lnTo>
                  <a:lnTo>
                    <a:pt x="1030" y="14488"/>
                  </a:lnTo>
                  <a:lnTo>
                    <a:pt x="1021" y="14452"/>
                  </a:lnTo>
                  <a:lnTo>
                    <a:pt x="1015" y="14415"/>
                  </a:lnTo>
                  <a:lnTo>
                    <a:pt x="1010" y="14378"/>
                  </a:lnTo>
                  <a:lnTo>
                    <a:pt x="1007" y="14340"/>
                  </a:lnTo>
                  <a:lnTo>
                    <a:pt x="1006" y="14302"/>
                  </a:lnTo>
                  <a:lnTo>
                    <a:pt x="1009" y="14268"/>
                  </a:lnTo>
                  <a:lnTo>
                    <a:pt x="1015" y="14229"/>
                  </a:lnTo>
                  <a:lnTo>
                    <a:pt x="1022" y="14189"/>
                  </a:lnTo>
                  <a:lnTo>
                    <a:pt x="1029" y="14149"/>
                  </a:lnTo>
                  <a:lnTo>
                    <a:pt x="1037" y="14110"/>
                  </a:lnTo>
                  <a:lnTo>
                    <a:pt x="1045" y="14074"/>
                  </a:lnTo>
                  <a:lnTo>
                    <a:pt x="1051" y="14043"/>
                  </a:lnTo>
                  <a:lnTo>
                    <a:pt x="1056" y="14020"/>
                  </a:lnTo>
                  <a:lnTo>
                    <a:pt x="1586" y="12106"/>
                  </a:lnTo>
                  <a:lnTo>
                    <a:pt x="1641" y="12105"/>
                  </a:lnTo>
                  <a:lnTo>
                    <a:pt x="1695" y="12105"/>
                  </a:lnTo>
                  <a:lnTo>
                    <a:pt x="1749" y="12107"/>
                  </a:lnTo>
                  <a:lnTo>
                    <a:pt x="1804" y="12111"/>
                  </a:lnTo>
                  <a:lnTo>
                    <a:pt x="1858" y="12116"/>
                  </a:lnTo>
                  <a:lnTo>
                    <a:pt x="1913" y="12122"/>
                  </a:lnTo>
                  <a:lnTo>
                    <a:pt x="1968" y="12130"/>
                  </a:lnTo>
                  <a:lnTo>
                    <a:pt x="2023" y="12139"/>
                  </a:lnTo>
                  <a:lnTo>
                    <a:pt x="2077" y="12149"/>
                  </a:lnTo>
                  <a:lnTo>
                    <a:pt x="2133" y="12161"/>
                  </a:lnTo>
                  <a:lnTo>
                    <a:pt x="2187" y="12175"/>
                  </a:lnTo>
                  <a:lnTo>
                    <a:pt x="2242" y="12190"/>
                  </a:lnTo>
                  <a:lnTo>
                    <a:pt x="2297" y="12206"/>
                  </a:lnTo>
                  <a:lnTo>
                    <a:pt x="2351" y="12224"/>
                  </a:lnTo>
                  <a:lnTo>
                    <a:pt x="2405" y="12243"/>
                  </a:lnTo>
                  <a:lnTo>
                    <a:pt x="2460" y="12264"/>
                  </a:lnTo>
                  <a:lnTo>
                    <a:pt x="2513" y="12286"/>
                  </a:lnTo>
                  <a:lnTo>
                    <a:pt x="2566" y="12309"/>
                  </a:lnTo>
                  <a:lnTo>
                    <a:pt x="2619" y="12335"/>
                  </a:lnTo>
                  <a:lnTo>
                    <a:pt x="2673" y="12362"/>
                  </a:lnTo>
                  <a:lnTo>
                    <a:pt x="2725" y="12390"/>
                  </a:lnTo>
                  <a:lnTo>
                    <a:pt x="2776" y="12420"/>
                  </a:lnTo>
                  <a:lnTo>
                    <a:pt x="2829" y="12451"/>
                  </a:lnTo>
                  <a:lnTo>
                    <a:pt x="2879" y="12483"/>
                  </a:lnTo>
                  <a:lnTo>
                    <a:pt x="2930" y="12517"/>
                  </a:lnTo>
                  <a:lnTo>
                    <a:pt x="2980" y="12553"/>
                  </a:lnTo>
                  <a:lnTo>
                    <a:pt x="3029" y="12590"/>
                  </a:lnTo>
                  <a:lnTo>
                    <a:pt x="3078" y="12629"/>
                  </a:lnTo>
                  <a:lnTo>
                    <a:pt x="3126" y="12669"/>
                  </a:lnTo>
                  <a:lnTo>
                    <a:pt x="3174" y="12711"/>
                  </a:lnTo>
                  <a:lnTo>
                    <a:pt x="3220" y="12754"/>
                  </a:lnTo>
                  <a:lnTo>
                    <a:pt x="3266" y="12799"/>
                  </a:lnTo>
                  <a:lnTo>
                    <a:pt x="3312" y="12845"/>
                  </a:lnTo>
                  <a:lnTo>
                    <a:pt x="3356" y="12893"/>
                  </a:lnTo>
                  <a:lnTo>
                    <a:pt x="3398" y="12941"/>
                  </a:lnTo>
                  <a:lnTo>
                    <a:pt x="3439" y="12990"/>
                  </a:lnTo>
                  <a:lnTo>
                    <a:pt x="3479" y="13039"/>
                  </a:lnTo>
                  <a:lnTo>
                    <a:pt x="3517" y="13089"/>
                  </a:lnTo>
                  <a:lnTo>
                    <a:pt x="3553" y="13139"/>
                  </a:lnTo>
                  <a:lnTo>
                    <a:pt x="3588" y="13191"/>
                  </a:lnTo>
                  <a:lnTo>
                    <a:pt x="3621" y="13243"/>
                  </a:lnTo>
                  <a:lnTo>
                    <a:pt x="3653" y="13295"/>
                  </a:lnTo>
                  <a:lnTo>
                    <a:pt x="3683" y="13348"/>
                  </a:lnTo>
                  <a:lnTo>
                    <a:pt x="3712" y="13401"/>
                  </a:lnTo>
                  <a:lnTo>
                    <a:pt x="3739" y="13455"/>
                  </a:lnTo>
                  <a:lnTo>
                    <a:pt x="3765" y="13509"/>
                  </a:lnTo>
                  <a:lnTo>
                    <a:pt x="3788" y="13563"/>
                  </a:lnTo>
                  <a:lnTo>
                    <a:pt x="3811" y="13617"/>
                  </a:lnTo>
                  <a:lnTo>
                    <a:pt x="3833" y="13671"/>
                  </a:lnTo>
                  <a:lnTo>
                    <a:pt x="3852" y="13727"/>
                  </a:lnTo>
                  <a:lnTo>
                    <a:pt x="3870" y="13782"/>
                  </a:lnTo>
                  <a:lnTo>
                    <a:pt x="3887" y="13837"/>
                  </a:lnTo>
                  <a:lnTo>
                    <a:pt x="3902" y="13892"/>
                  </a:lnTo>
                  <a:lnTo>
                    <a:pt x="3915" y="13948"/>
                  </a:lnTo>
                  <a:lnTo>
                    <a:pt x="3927" y="14004"/>
                  </a:lnTo>
                  <a:lnTo>
                    <a:pt x="3938" y="14060"/>
                  </a:lnTo>
                  <a:lnTo>
                    <a:pt x="3946" y="14115"/>
                  </a:lnTo>
                  <a:lnTo>
                    <a:pt x="3954" y="14170"/>
                  </a:lnTo>
                  <a:lnTo>
                    <a:pt x="3960" y="14225"/>
                  </a:lnTo>
                  <a:lnTo>
                    <a:pt x="3964" y="14282"/>
                  </a:lnTo>
                  <a:lnTo>
                    <a:pt x="3967" y="14337"/>
                  </a:lnTo>
                  <a:lnTo>
                    <a:pt x="3968" y="14391"/>
                  </a:lnTo>
                  <a:lnTo>
                    <a:pt x="3968" y="14446"/>
                  </a:lnTo>
                  <a:lnTo>
                    <a:pt x="3967" y="14500"/>
                  </a:lnTo>
                  <a:lnTo>
                    <a:pt x="2096" y="14991"/>
                  </a:lnTo>
                  <a:close/>
                  <a:moveTo>
                    <a:pt x="5275" y="8311"/>
                  </a:moveTo>
                  <a:lnTo>
                    <a:pt x="5187" y="8277"/>
                  </a:lnTo>
                  <a:lnTo>
                    <a:pt x="5099" y="8245"/>
                  </a:lnTo>
                  <a:lnTo>
                    <a:pt x="5011" y="8215"/>
                  </a:lnTo>
                  <a:lnTo>
                    <a:pt x="4921" y="8186"/>
                  </a:lnTo>
                  <a:lnTo>
                    <a:pt x="4877" y="8173"/>
                  </a:lnTo>
                  <a:lnTo>
                    <a:pt x="4833" y="8159"/>
                  </a:lnTo>
                  <a:lnTo>
                    <a:pt x="4787" y="8147"/>
                  </a:lnTo>
                  <a:lnTo>
                    <a:pt x="4742" y="8135"/>
                  </a:lnTo>
                  <a:lnTo>
                    <a:pt x="4698" y="8124"/>
                  </a:lnTo>
                  <a:lnTo>
                    <a:pt x="4652" y="8113"/>
                  </a:lnTo>
                  <a:lnTo>
                    <a:pt x="4607" y="8103"/>
                  </a:lnTo>
                  <a:lnTo>
                    <a:pt x="4562" y="8093"/>
                  </a:lnTo>
                  <a:lnTo>
                    <a:pt x="4517" y="8084"/>
                  </a:lnTo>
                  <a:lnTo>
                    <a:pt x="4471" y="8075"/>
                  </a:lnTo>
                  <a:lnTo>
                    <a:pt x="4426" y="8067"/>
                  </a:lnTo>
                  <a:lnTo>
                    <a:pt x="4380" y="8059"/>
                  </a:lnTo>
                  <a:lnTo>
                    <a:pt x="4335" y="8052"/>
                  </a:lnTo>
                  <a:lnTo>
                    <a:pt x="4289" y="8045"/>
                  </a:lnTo>
                  <a:lnTo>
                    <a:pt x="4243" y="8039"/>
                  </a:lnTo>
                  <a:lnTo>
                    <a:pt x="4198" y="8034"/>
                  </a:lnTo>
                  <a:lnTo>
                    <a:pt x="4153" y="8029"/>
                  </a:lnTo>
                  <a:lnTo>
                    <a:pt x="4106" y="8025"/>
                  </a:lnTo>
                  <a:lnTo>
                    <a:pt x="4061" y="8021"/>
                  </a:lnTo>
                  <a:lnTo>
                    <a:pt x="4015" y="8018"/>
                  </a:lnTo>
                  <a:lnTo>
                    <a:pt x="3969" y="8015"/>
                  </a:lnTo>
                  <a:lnTo>
                    <a:pt x="3923" y="8013"/>
                  </a:lnTo>
                  <a:lnTo>
                    <a:pt x="3878" y="8011"/>
                  </a:lnTo>
                  <a:lnTo>
                    <a:pt x="3832" y="8011"/>
                  </a:lnTo>
                  <a:lnTo>
                    <a:pt x="7706" y="4116"/>
                  </a:lnTo>
                  <a:lnTo>
                    <a:pt x="7763" y="4063"/>
                  </a:lnTo>
                  <a:lnTo>
                    <a:pt x="7820" y="4012"/>
                  </a:lnTo>
                  <a:lnTo>
                    <a:pt x="7880" y="3964"/>
                  </a:lnTo>
                  <a:lnTo>
                    <a:pt x="7941" y="3918"/>
                  </a:lnTo>
                  <a:lnTo>
                    <a:pt x="8003" y="3875"/>
                  </a:lnTo>
                  <a:lnTo>
                    <a:pt x="8067" y="3834"/>
                  </a:lnTo>
                  <a:lnTo>
                    <a:pt x="8131" y="3796"/>
                  </a:lnTo>
                  <a:lnTo>
                    <a:pt x="8197" y="3760"/>
                  </a:lnTo>
                  <a:lnTo>
                    <a:pt x="8265" y="3725"/>
                  </a:lnTo>
                  <a:lnTo>
                    <a:pt x="8333" y="3694"/>
                  </a:lnTo>
                  <a:lnTo>
                    <a:pt x="8403" y="3665"/>
                  </a:lnTo>
                  <a:lnTo>
                    <a:pt x="8473" y="3638"/>
                  </a:lnTo>
                  <a:lnTo>
                    <a:pt x="8544" y="3613"/>
                  </a:lnTo>
                  <a:lnTo>
                    <a:pt x="8616" y="3591"/>
                  </a:lnTo>
                  <a:lnTo>
                    <a:pt x="8689" y="3571"/>
                  </a:lnTo>
                  <a:lnTo>
                    <a:pt x="8764" y="3554"/>
                  </a:lnTo>
                  <a:lnTo>
                    <a:pt x="8838" y="3539"/>
                  </a:lnTo>
                  <a:lnTo>
                    <a:pt x="8914" y="3526"/>
                  </a:lnTo>
                  <a:lnTo>
                    <a:pt x="8989" y="3515"/>
                  </a:lnTo>
                  <a:lnTo>
                    <a:pt x="9067" y="3507"/>
                  </a:lnTo>
                  <a:lnTo>
                    <a:pt x="9143" y="3501"/>
                  </a:lnTo>
                  <a:lnTo>
                    <a:pt x="9220" y="3497"/>
                  </a:lnTo>
                  <a:lnTo>
                    <a:pt x="9299" y="3496"/>
                  </a:lnTo>
                  <a:lnTo>
                    <a:pt x="9377" y="3497"/>
                  </a:lnTo>
                  <a:lnTo>
                    <a:pt x="9457" y="3500"/>
                  </a:lnTo>
                  <a:lnTo>
                    <a:pt x="9535" y="3505"/>
                  </a:lnTo>
                  <a:lnTo>
                    <a:pt x="9615" y="3512"/>
                  </a:lnTo>
                  <a:lnTo>
                    <a:pt x="9694" y="3522"/>
                  </a:lnTo>
                  <a:lnTo>
                    <a:pt x="9775" y="3534"/>
                  </a:lnTo>
                  <a:lnTo>
                    <a:pt x="9854" y="3548"/>
                  </a:lnTo>
                  <a:lnTo>
                    <a:pt x="9934" y="3565"/>
                  </a:lnTo>
                  <a:lnTo>
                    <a:pt x="10014" y="3583"/>
                  </a:lnTo>
                  <a:lnTo>
                    <a:pt x="5275" y="8311"/>
                  </a:lnTo>
                  <a:close/>
                  <a:moveTo>
                    <a:pt x="7441" y="10165"/>
                  </a:moveTo>
                  <a:lnTo>
                    <a:pt x="7406" y="10107"/>
                  </a:lnTo>
                  <a:lnTo>
                    <a:pt x="7369" y="10049"/>
                  </a:lnTo>
                  <a:lnTo>
                    <a:pt x="7332" y="9992"/>
                  </a:lnTo>
                  <a:lnTo>
                    <a:pt x="7295" y="9936"/>
                  </a:lnTo>
                  <a:lnTo>
                    <a:pt x="7257" y="9880"/>
                  </a:lnTo>
                  <a:lnTo>
                    <a:pt x="7218" y="9824"/>
                  </a:lnTo>
                  <a:lnTo>
                    <a:pt x="7177" y="9768"/>
                  </a:lnTo>
                  <a:lnTo>
                    <a:pt x="7137" y="9714"/>
                  </a:lnTo>
                  <a:lnTo>
                    <a:pt x="7096" y="9660"/>
                  </a:lnTo>
                  <a:lnTo>
                    <a:pt x="7053" y="9606"/>
                  </a:lnTo>
                  <a:lnTo>
                    <a:pt x="7009" y="9553"/>
                  </a:lnTo>
                  <a:lnTo>
                    <a:pt x="6965" y="9500"/>
                  </a:lnTo>
                  <a:lnTo>
                    <a:pt x="6919" y="9448"/>
                  </a:lnTo>
                  <a:lnTo>
                    <a:pt x="6873" y="9397"/>
                  </a:lnTo>
                  <a:lnTo>
                    <a:pt x="6824" y="9347"/>
                  </a:lnTo>
                  <a:lnTo>
                    <a:pt x="6776" y="9297"/>
                  </a:lnTo>
                  <a:lnTo>
                    <a:pt x="6718" y="9240"/>
                  </a:lnTo>
                  <a:lnTo>
                    <a:pt x="6658" y="9185"/>
                  </a:lnTo>
                  <a:lnTo>
                    <a:pt x="6598" y="9131"/>
                  </a:lnTo>
                  <a:lnTo>
                    <a:pt x="6538" y="9079"/>
                  </a:lnTo>
                  <a:lnTo>
                    <a:pt x="6475" y="9029"/>
                  </a:lnTo>
                  <a:lnTo>
                    <a:pt x="6412" y="8978"/>
                  </a:lnTo>
                  <a:lnTo>
                    <a:pt x="6348" y="8930"/>
                  </a:lnTo>
                  <a:lnTo>
                    <a:pt x="6284" y="8884"/>
                  </a:lnTo>
                  <a:lnTo>
                    <a:pt x="6220" y="8838"/>
                  </a:lnTo>
                  <a:lnTo>
                    <a:pt x="6153" y="8794"/>
                  </a:lnTo>
                  <a:lnTo>
                    <a:pt x="6087" y="8750"/>
                  </a:lnTo>
                  <a:lnTo>
                    <a:pt x="6021" y="8707"/>
                  </a:lnTo>
                  <a:lnTo>
                    <a:pt x="5953" y="8666"/>
                  </a:lnTo>
                  <a:lnTo>
                    <a:pt x="5885" y="8626"/>
                  </a:lnTo>
                  <a:lnTo>
                    <a:pt x="5816" y="8587"/>
                  </a:lnTo>
                  <a:lnTo>
                    <a:pt x="5748" y="8549"/>
                  </a:lnTo>
                  <a:lnTo>
                    <a:pt x="10542" y="3766"/>
                  </a:lnTo>
                  <a:lnTo>
                    <a:pt x="10613" y="3798"/>
                  </a:lnTo>
                  <a:lnTo>
                    <a:pt x="10683" y="3831"/>
                  </a:lnTo>
                  <a:lnTo>
                    <a:pt x="10752" y="3866"/>
                  </a:lnTo>
                  <a:lnTo>
                    <a:pt x="10821" y="3903"/>
                  </a:lnTo>
                  <a:lnTo>
                    <a:pt x="10889" y="3942"/>
                  </a:lnTo>
                  <a:lnTo>
                    <a:pt x="10958" y="3983"/>
                  </a:lnTo>
                  <a:lnTo>
                    <a:pt x="11025" y="4026"/>
                  </a:lnTo>
                  <a:lnTo>
                    <a:pt x="11091" y="4070"/>
                  </a:lnTo>
                  <a:lnTo>
                    <a:pt x="11157" y="4115"/>
                  </a:lnTo>
                  <a:lnTo>
                    <a:pt x="11222" y="4163"/>
                  </a:lnTo>
                  <a:lnTo>
                    <a:pt x="11287" y="4212"/>
                  </a:lnTo>
                  <a:lnTo>
                    <a:pt x="11351" y="4263"/>
                  </a:lnTo>
                  <a:lnTo>
                    <a:pt x="11413" y="4317"/>
                  </a:lnTo>
                  <a:lnTo>
                    <a:pt x="11476" y="4372"/>
                  </a:lnTo>
                  <a:lnTo>
                    <a:pt x="11537" y="4428"/>
                  </a:lnTo>
                  <a:lnTo>
                    <a:pt x="11597" y="4487"/>
                  </a:lnTo>
                  <a:lnTo>
                    <a:pt x="11648" y="4537"/>
                  </a:lnTo>
                  <a:lnTo>
                    <a:pt x="11696" y="4590"/>
                  </a:lnTo>
                  <a:lnTo>
                    <a:pt x="11743" y="4642"/>
                  </a:lnTo>
                  <a:lnTo>
                    <a:pt x="11790" y="4696"/>
                  </a:lnTo>
                  <a:lnTo>
                    <a:pt x="11835" y="4749"/>
                  </a:lnTo>
                  <a:lnTo>
                    <a:pt x="11878" y="4803"/>
                  </a:lnTo>
                  <a:lnTo>
                    <a:pt x="11919" y="4859"/>
                  </a:lnTo>
                  <a:lnTo>
                    <a:pt x="11961" y="4915"/>
                  </a:lnTo>
                  <a:lnTo>
                    <a:pt x="12000" y="4970"/>
                  </a:lnTo>
                  <a:lnTo>
                    <a:pt x="12038" y="5027"/>
                  </a:lnTo>
                  <a:lnTo>
                    <a:pt x="12075" y="5084"/>
                  </a:lnTo>
                  <a:lnTo>
                    <a:pt x="12110" y="5142"/>
                  </a:lnTo>
                  <a:lnTo>
                    <a:pt x="12145" y="5200"/>
                  </a:lnTo>
                  <a:lnTo>
                    <a:pt x="12178" y="5258"/>
                  </a:lnTo>
                  <a:lnTo>
                    <a:pt x="12210" y="5316"/>
                  </a:lnTo>
                  <a:lnTo>
                    <a:pt x="12241" y="5375"/>
                  </a:lnTo>
                  <a:lnTo>
                    <a:pt x="7441" y="10165"/>
                  </a:lnTo>
                  <a:close/>
                  <a:moveTo>
                    <a:pt x="8055" y="11941"/>
                  </a:moveTo>
                  <a:lnTo>
                    <a:pt x="8045" y="11856"/>
                  </a:lnTo>
                  <a:lnTo>
                    <a:pt x="8035" y="11772"/>
                  </a:lnTo>
                  <a:lnTo>
                    <a:pt x="8022" y="11687"/>
                  </a:lnTo>
                  <a:lnTo>
                    <a:pt x="8008" y="11603"/>
                  </a:lnTo>
                  <a:lnTo>
                    <a:pt x="7991" y="11519"/>
                  </a:lnTo>
                  <a:lnTo>
                    <a:pt x="7973" y="11435"/>
                  </a:lnTo>
                  <a:lnTo>
                    <a:pt x="7953" y="11352"/>
                  </a:lnTo>
                  <a:lnTo>
                    <a:pt x="7931" y="11270"/>
                  </a:lnTo>
                  <a:lnTo>
                    <a:pt x="7907" y="11187"/>
                  </a:lnTo>
                  <a:lnTo>
                    <a:pt x="7882" y="11105"/>
                  </a:lnTo>
                  <a:lnTo>
                    <a:pt x="7854" y="11024"/>
                  </a:lnTo>
                  <a:lnTo>
                    <a:pt x="7825" y="10943"/>
                  </a:lnTo>
                  <a:lnTo>
                    <a:pt x="7795" y="10861"/>
                  </a:lnTo>
                  <a:lnTo>
                    <a:pt x="7763" y="10781"/>
                  </a:lnTo>
                  <a:lnTo>
                    <a:pt x="7729" y="10702"/>
                  </a:lnTo>
                  <a:lnTo>
                    <a:pt x="7693" y="10622"/>
                  </a:lnTo>
                  <a:lnTo>
                    <a:pt x="12448" y="5878"/>
                  </a:lnTo>
                  <a:lnTo>
                    <a:pt x="12475" y="5965"/>
                  </a:lnTo>
                  <a:lnTo>
                    <a:pt x="12499" y="6051"/>
                  </a:lnTo>
                  <a:lnTo>
                    <a:pt x="12519" y="6137"/>
                  </a:lnTo>
                  <a:lnTo>
                    <a:pt x="12537" y="6223"/>
                  </a:lnTo>
                  <a:lnTo>
                    <a:pt x="12553" y="6310"/>
                  </a:lnTo>
                  <a:lnTo>
                    <a:pt x="12566" y="6396"/>
                  </a:lnTo>
                  <a:lnTo>
                    <a:pt x="12576" y="6482"/>
                  </a:lnTo>
                  <a:lnTo>
                    <a:pt x="12583" y="6568"/>
                  </a:lnTo>
                  <a:lnTo>
                    <a:pt x="12588" y="6654"/>
                  </a:lnTo>
                  <a:lnTo>
                    <a:pt x="12591" y="6739"/>
                  </a:lnTo>
                  <a:lnTo>
                    <a:pt x="12591" y="6824"/>
                  </a:lnTo>
                  <a:lnTo>
                    <a:pt x="12588" y="6908"/>
                  </a:lnTo>
                  <a:lnTo>
                    <a:pt x="12582" y="6992"/>
                  </a:lnTo>
                  <a:lnTo>
                    <a:pt x="12574" y="7075"/>
                  </a:lnTo>
                  <a:lnTo>
                    <a:pt x="12563" y="7158"/>
                  </a:lnTo>
                  <a:lnTo>
                    <a:pt x="12549" y="7239"/>
                  </a:lnTo>
                  <a:lnTo>
                    <a:pt x="12533" y="7320"/>
                  </a:lnTo>
                  <a:lnTo>
                    <a:pt x="12513" y="7400"/>
                  </a:lnTo>
                  <a:lnTo>
                    <a:pt x="12492" y="7479"/>
                  </a:lnTo>
                  <a:lnTo>
                    <a:pt x="12467" y="7557"/>
                  </a:lnTo>
                  <a:lnTo>
                    <a:pt x="12439" y="7635"/>
                  </a:lnTo>
                  <a:lnTo>
                    <a:pt x="12409" y="7710"/>
                  </a:lnTo>
                  <a:lnTo>
                    <a:pt x="12376" y="7784"/>
                  </a:lnTo>
                  <a:lnTo>
                    <a:pt x="12340" y="7857"/>
                  </a:lnTo>
                  <a:lnTo>
                    <a:pt x="12302" y="7930"/>
                  </a:lnTo>
                  <a:lnTo>
                    <a:pt x="12260" y="8000"/>
                  </a:lnTo>
                  <a:lnTo>
                    <a:pt x="12216" y="8069"/>
                  </a:lnTo>
                  <a:lnTo>
                    <a:pt x="12169" y="8136"/>
                  </a:lnTo>
                  <a:lnTo>
                    <a:pt x="12120" y="8203"/>
                  </a:lnTo>
                  <a:lnTo>
                    <a:pt x="12066" y="8267"/>
                  </a:lnTo>
                  <a:lnTo>
                    <a:pt x="12011" y="8329"/>
                  </a:lnTo>
                  <a:lnTo>
                    <a:pt x="11953" y="8389"/>
                  </a:lnTo>
                  <a:lnTo>
                    <a:pt x="11947" y="8394"/>
                  </a:lnTo>
                  <a:lnTo>
                    <a:pt x="11940" y="8400"/>
                  </a:lnTo>
                  <a:lnTo>
                    <a:pt x="11948" y="8406"/>
                  </a:lnTo>
                  <a:lnTo>
                    <a:pt x="8060" y="12314"/>
                  </a:lnTo>
                  <a:lnTo>
                    <a:pt x="8061" y="12268"/>
                  </a:lnTo>
                  <a:lnTo>
                    <a:pt x="8061" y="12222"/>
                  </a:lnTo>
                  <a:lnTo>
                    <a:pt x="8062" y="12175"/>
                  </a:lnTo>
                  <a:lnTo>
                    <a:pt x="8062" y="12129"/>
                  </a:lnTo>
                  <a:lnTo>
                    <a:pt x="8062" y="12082"/>
                  </a:lnTo>
                  <a:lnTo>
                    <a:pt x="8061" y="12035"/>
                  </a:lnTo>
                  <a:lnTo>
                    <a:pt x="8059" y="11988"/>
                  </a:lnTo>
                  <a:lnTo>
                    <a:pt x="8055" y="11941"/>
                  </a:lnTo>
                  <a:close/>
                  <a:moveTo>
                    <a:pt x="14785" y="1295"/>
                  </a:moveTo>
                  <a:lnTo>
                    <a:pt x="14707" y="1218"/>
                  </a:lnTo>
                  <a:lnTo>
                    <a:pt x="14626" y="1144"/>
                  </a:lnTo>
                  <a:lnTo>
                    <a:pt x="14546" y="1072"/>
                  </a:lnTo>
                  <a:lnTo>
                    <a:pt x="14463" y="1003"/>
                  </a:lnTo>
                  <a:lnTo>
                    <a:pt x="14379" y="934"/>
                  </a:lnTo>
                  <a:lnTo>
                    <a:pt x="14294" y="869"/>
                  </a:lnTo>
                  <a:lnTo>
                    <a:pt x="14208" y="806"/>
                  </a:lnTo>
                  <a:lnTo>
                    <a:pt x="14119" y="745"/>
                  </a:lnTo>
                  <a:lnTo>
                    <a:pt x="14031" y="685"/>
                  </a:lnTo>
                  <a:lnTo>
                    <a:pt x="13941" y="629"/>
                  </a:lnTo>
                  <a:lnTo>
                    <a:pt x="13851" y="575"/>
                  </a:lnTo>
                  <a:lnTo>
                    <a:pt x="13758" y="523"/>
                  </a:lnTo>
                  <a:lnTo>
                    <a:pt x="13666" y="473"/>
                  </a:lnTo>
                  <a:lnTo>
                    <a:pt x="13572" y="426"/>
                  </a:lnTo>
                  <a:lnTo>
                    <a:pt x="13478" y="380"/>
                  </a:lnTo>
                  <a:lnTo>
                    <a:pt x="13382" y="338"/>
                  </a:lnTo>
                  <a:lnTo>
                    <a:pt x="13286" y="298"/>
                  </a:lnTo>
                  <a:lnTo>
                    <a:pt x="13190" y="260"/>
                  </a:lnTo>
                  <a:lnTo>
                    <a:pt x="13092" y="225"/>
                  </a:lnTo>
                  <a:lnTo>
                    <a:pt x="12995" y="193"/>
                  </a:lnTo>
                  <a:lnTo>
                    <a:pt x="12896" y="162"/>
                  </a:lnTo>
                  <a:lnTo>
                    <a:pt x="12798" y="134"/>
                  </a:lnTo>
                  <a:lnTo>
                    <a:pt x="12698" y="109"/>
                  </a:lnTo>
                  <a:lnTo>
                    <a:pt x="12598" y="86"/>
                  </a:lnTo>
                  <a:lnTo>
                    <a:pt x="12499" y="66"/>
                  </a:lnTo>
                  <a:lnTo>
                    <a:pt x="12398" y="49"/>
                  </a:lnTo>
                  <a:lnTo>
                    <a:pt x="12299" y="34"/>
                  </a:lnTo>
                  <a:lnTo>
                    <a:pt x="12198" y="22"/>
                  </a:lnTo>
                  <a:lnTo>
                    <a:pt x="12097" y="12"/>
                  </a:lnTo>
                  <a:lnTo>
                    <a:pt x="11996" y="5"/>
                  </a:lnTo>
                  <a:lnTo>
                    <a:pt x="11895" y="1"/>
                  </a:lnTo>
                  <a:lnTo>
                    <a:pt x="11795" y="0"/>
                  </a:lnTo>
                  <a:lnTo>
                    <a:pt x="11710" y="1"/>
                  </a:lnTo>
                  <a:lnTo>
                    <a:pt x="11626" y="4"/>
                  </a:lnTo>
                  <a:lnTo>
                    <a:pt x="11542" y="9"/>
                  </a:lnTo>
                  <a:lnTo>
                    <a:pt x="11459" y="16"/>
                  </a:lnTo>
                  <a:lnTo>
                    <a:pt x="11376" y="24"/>
                  </a:lnTo>
                  <a:lnTo>
                    <a:pt x="11294" y="35"/>
                  </a:lnTo>
                  <a:lnTo>
                    <a:pt x="11212" y="47"/>
                  </a:lnTo>
                  <a:lnTo>
                    <a:pt x="11131" y="62"/>
                  </a:lnTo>
                  <a:lnTo>
                    <a:pt x="11051" y="78"/>
                  </a:lnTo>
                  <a:lnTo>
                    <a:pt x="10971" y="96"/>
                  </a:lnTo>
                  <a:lnTo>
                    <a:pt x="10892" y="116"/>
                  </a:lnTo>
                  <a:lnTo>
                    <a:pt x="10814" y="139"/>
                  </a:lnTo>
                  <a:lnTo>
                    <a:pt x="10736" y="162"/>
                  </a:lnTo>
                  <a:lnTo>
                    <a:pt x="10660" y="187"/>
                  </a:lnTo>
                  <a:lnTo>
                    <a:pt x="10584" y="215"/>
                  </a:lnTo>
                  <a:lnTo>
                    <a:pt x="10509" y="243"/>
                  </a:lnTo>
                  <a:lnTo>
                    <a:pt x="10435" y="274"/>
                  </a:lnTo>
                  <a:lnTo>
                    <a:pt x="10361" y="307"/>
                  </a:lnTo>
                  <a:lnTo>
                    <a:pt x="10289" y="341"/>
                  </a:lnTo>
                  <a:lnTo>
                    <a:pt x="10217" y="377"/>
                  </a:lnTo>
                  <a:lnTo>
                    <a:pt x="10147" y="416"/>
                  </a:lnTo>
                  <a:lnTo>
                    <a:pt x="10078" y="455"/>
                  </a:lnTo>
                  <a:lnTo>
                    <a:pt x="10010" y="496"/>
                  </a:lnTo>
                  <a:lnTo>
                    <a:pt x="9943" y="539"/>
                  </a:lnTo>
                  <a:lnTo>
                    <a:pt x="9876" y="583"/>
                  </a:lnTo>
                  <a:lnTo>
                    <a:pt x="9811" y="629"/>
                  </a:lnTo>
                  <a:lnTo>
                    <a:pt x="9748" y="677"/>
                  </a:lnTo>
                  <a:lnTo>
                    <a:pt x="9684" y="727"/>
                  </a:lnTo>
                  <a:lnTo>
                    <a:pt x="9623" y="778"/>
                  </a:lnTo>
                  <a:lnTo>
                    <a:pt x="9562" y="831"/>
                  </a:lnTo>
                  <a:lnTo>
                    <a:pt x="9503" y="885"/>
                  </a:lnTo>
                  <a:lnTo>
                    <a:pt x="9446" y="941"/>
                  </a:lnTo>
                  <a:lnTo>
                    <a:pt x="6997" y="3403"/>
                  </a:lnTo>
                  <a:lnTo>
                    <a:pt x="6986" y="3412"/>
                  </a:lnTo>
                  <a:lnTo>
                    <a:pt x="6974" y="3422"/>
                  </a:lnTo>
                  <a:lnTo>
                    <a:pt x="6969" y="3428"/>
                  </a:lnTo>
                  <a:lnTo>
                    <a:pt x="6964" y="3435"/>
                  </a:lnTo>
                  <a:lnTo>
                    <a:pt x="6965" y="3436"/>
                  </a:lnTo>
                  <a:lnTo>
                    <a:pt x="1769" y="8659"/>
                  </a:lnTo>
                  <a:lnTo>
                    <a:pt x="1747" y="8681"/>
                  </a:lnTo>
                  <a:lnTo>
                    <a:pt x="1725" y="8704"/>
                  </a:lnTo>
                  <a:lnTo>
                    <a:pt x="1704" y="8728"/>
                  </a:lnTo>
                  <a:lnTo>
                    <a:pt x="1683" y="8751"/>
                  </a:lnTo>
                  <a:lnTo>
                    <a:pt x="1642" y="8799"/>
                  </a:lnTo>
                  <a:lnTo>
                    <a:pt x="1602" y="8847"/>
                  </a:lnTo>
                  <a:lnTo>
                    <a:pt x="1564" y="8897"/>
                  </a:lnTo>
                  <a:lnTo>
                    <a:pt x="1528" y="8949"/>
                  </a:lnTo>
                  <a:lnTo>
                    <a:pt x="1494" y="9002"/>
                  </a:lnTo>
                  <a:lnTo>
                    <a:pt x="1461" y="9055"/>
                  </a:lnTo>
                  <a:lnTo>
                    <a:pt x="1429" y="9109"/>
                  </a:lnTo>
                  <a:lnTo>
                    <a:pt x="1400" y="9165"/>
                  </a:lnTo>
                  <a:lnTo>
                    <a:pt x="1372" y="9221"/>
                  </a:lnTo>
                  <a:lnTo>
                    <a:pt x="1347" y="9279"/>
                  </a:lnTo>
                  <a:lnTo>
                    <a:pt x="1322" y="9336"/>
                  </a:lnTo>
                  <a:lnTo>
                    <a:pt x="1300" y="9395"/>
                  </a:lnTo>
                  <a:lnTo>
                    <a:pt x="1279" y="9454"/>
                  </a:lnTo>
                  <a:lnTo>
                    <a:pt x="1260" y="9514"/>
                  </a:lnTo>
                  <a:lnTo>
                    <a:pt x="78" y="13784"/>
                  </a:lnTo>
                  <a:lnTo>
                    <a:pt x="74" y="13803"/>
                  </a:lnTo>
                  <a:lnTo>
                    <a:pt x="65" y="13846"/>
                  </a:lnTo>
                  <a:lnTo>
                    <a:pt x="53" y="13908"/>
                  </a:lnTo>
                  <a:lnTo>
                    <a:pt x="38" y="13984"/>
                  </a:lnTo>
                  <a:lnTo>
                    <a:pt x="31" y="14025"/>
                  </a:lnTo>
                  <a:lnTo>
                    <a:pt x="24" y="14066"/>
                  </a:lnTo>
                  <a:lnTo>
                    <a:pt x="18" y="14109"/>
                  </a:lnTo>
                  <a:lnTo>
                    <a:pt x="12" y="14151"/>
                  </a:lnTo>
                  <a:lnTo>
                    <a:pt x="7" y="14192"/>
                  </a:lnTo>
                  <a:lnTo>
                    <a:pt x="3" y="14231"/>
                  </a:lnTo>
                  <a:lnTo>
                    <a:pt x="1" y="14268"/>
                  </a:lnTo>
                  <a:lnTo>
                    <a:pt x="0" y="14302"/>
                  </a:lnTo>
                  <a:lnTo>
                    <a:pt x="2" y="14392"/>
                  </a:lnTo>
                  <a:lnTo>
                    <a:pt x="9" y="14481"/>
                  </a:lnTo>
                  <a:lnTo>
                    <a:pt x="20" y="14569"/>
                  </a:lnTo>
                  <a:lnTo>
                    <a:pt x="36" y="14656"/>
                  </a:lnTo>
                  <a:lnTo>
                    <a:pt x="55" y="14740"/>
                  </a:lnTo>
                  <a:lnTo>
                    <a:pt x="79" y="14824"/>
                  </a:lnTo>
                  <a:lnTo>
                    <a:pt x="107" y="14906"/>
                  </a:lnTo>
                  <a:lnTo>
                    <a:pt x="139" y="14985"/>
                  </a:lnTo>
                  <a:lnTo>
                    <a:pt x="174" y="15063"/>
                  </a:lnTo>
                  <a:lnTo>
                    <a:pt x="212" y="15139"/>
                  </a:lnTo>
                  <a:lnTo>
                    <a:pt x="256" y="15212"/>
                  </a:lnTo>
                  <a:lnTo>
                    <a:pt x="301" y="15283"/>
                  </a:lnTo>
                  <a:lnTo>
                    <a:pt x="350" y="15352"/>
                  </a:lnTo>
                  <a:lnTo>
                    <a:pt x="402" y="15419"/>
                  </a:lnTo>
                  <a:lnTo>
                    <a:pt x="458" y="15483"/>
                  </a:lnTo>
                  <a:lnTo>
                    <a:pt x="516" y="15543"/>
                  </a:lnTo>
                  <a:lnTo>
                    <a:pt x="577" y="15601"/>
                  </a:lnTo>
                  <a:lnTo>
                    <a:pt x="642" y="15657"/>
                  </a:lnTo>
                  <a:lnTo>
                    <a:pt x="708" y="15709"/>
                  </a:lnTo>
                  <a:lnTo>
                    <a:pt x="778" y="15758"/>
                  </a:lnTo>
                  <a:lnTo>
                    <a:pt x="849" y="15804"/>
                  </a:lnTo>
                  <a:lnTo>
                    <a:pt x="922" y="15846"/>
                  </a:lnTo>
                  <a:lnTo>
                    <a:pt x="999" y="15884"/>
                  </a:lnTo>
                  <a:lnTo>
                    <a:pt x="1076" y="15919"/>
                  </a:lnTo>
                  <a:lnTo>
                    <a:pt x="1157" y="15952"/>
                  </a:lnTo>
                  <a:lnTo>
                    <a:pt x="1238" y="15979"/>
                  </a:lnTo>
                  <a:lnTo>
                    <a:pt x="1323" y="16003"/>
                  </a:lnTo>
                  <a:lnTo>
                    <a:pt x="1407" y="16022"/>
                  </a:lnTo>
                  <a:lnTo>
                    <a:pt x="1495" y="16038"/>
                  </a:lnTo>
                  <a:lnTo>
                    <a:pt x="1582" y="16049"/>
                  </a:lnTo>
                  <a:lnTo>
                    <a:pt x="1672" y="16056"/>
                  </a:lnTo>
                  <a:lnTo>
                    <a:pt x="1763" y="16058"/>
                  </a:lnTo>
                  <a:lnTo>
                    <a:pt x="1801" y="16057"/>
                  </a:lnTo>
                  <a:lnTo>
                    <a:pt x="1843" y="16054"/>
                  </a:lnTo>
                  <a:lnTo>
                    <a:pt x="1887" y="16049"/>
                  </a:lnTo>
                  <a:lnTo>
                    <a:pt x="1933" y="16044"/>
                  </a:lnTo>
                  <a:lnTo>
                    <a:pt x="1981" y="16037"/>
                  </a:lnTo>
                  <a:lnTo>
                    <a:pt x="2028" y="16029"/>
                  </a:lnTo>
                  <a:lnTo>
                    <a:pt x="2075" y="16020"/>
                  </a:lnTo>
                  <a:lnTo>
                    <a:pt x="2122" y="16012"/>
                  </a:lnTo>
                  <a:lnTo>
                    <a:pt x="2205" y="15995"/>
                  </a:lnTo>
                  <a:lnTo>
                    <a:pt x="2275" y="15980"/>
                  </a:lnTo>
                  <a:lnTo>
                    <a:pt x="2324" y="15969"/>
                  </a:lnTo>
                  <a:lnTo>
                    <a:pt x="2345" y="15964"/>
                  </a:lnTo>
                  <a:lnTo>
                    <a:pt x="6609" y="14846"/>
                  </a:lnTo>
                  <a:lnTo>
                    <a:pt x="6669" y="14827"/>
                  </a:lnTo>
                  <a:lnTo>
                    <a:pt x="6729" y="14805"/>
                  </a:lnTo>
                  <a:lnTo>
                    <a:pt x="6788" y="14783"/>
                  </a:lnTo>
                  <a:lnTo>
                    <a:pt x="6845" y="14759"/>
                  </a:lnTo>
                  <a:lnTo>
                    <a:pt x="6903" y="14733"/>
                  </a:lnTo>
                  <a:lnTo>
                    <a:pt x="6960" y="14705"/>
                  </a:lnTo>
                  <a:lnTo>
                    <a:pt x="7015" y="14675"/>
                  </a:lnTo>
                  <a:lnTo>
                    <a:pt x="7070" y="14644"/>
                  </a:lnTo>
                  <a:lnTo>
                    <a:pt x="7123" y="14612"/>
                  </a:lnTo>
                  <a:lnTo>
                    <a:pt x="7175" y="14577"/>
                  </a:lnTo>
                  <a:lnTo>
                    <a:pt x="7227" y="14541"/>
                  </a:lnTo>
                  <a:lnTo>
                    <a:pt x="7277" y="14502"/>
                  </a:lnTo>
                  <a:lnTo>
                    <a:pt x="7326" y="14463"/>
                  </a:lnTo>
                  <a:lnTo>
                    <a:pt x="7375" y="14422"/>
                  </a:lnTo>
                  <a:lnTo>
                    <a:pt x="7421" y="14380"/>
                  </a:lnTo>
                  <a:lnTo>
                    <a:pt x="7466" y="14336"/>
                  </a:lnTo>
                  <a:lnTo>
                    <a:pt x="15143" y="6617"/>
                  </a:lnTo>
                  <a:lnTo>
                    <a:pt x="15270" y="6483"/>
                  </a:lnTo>
                  <a:lnTo>
                    <a:pt x="15387" y="6344"/>
                  </a:lnTo>
                  <a:lnTo>
                    <a:pt x="15495" y="6200"/>
                  </a:lnTo>
                  <a:lnTo>
                    <a:pt x="15594" y="6053"/>
                  </a:lnTo>
                  <a:lnTo>
                    <a:pt x="15685" y="5900"/>
                  </a:lnTo>
                  <a:lnTo>
                    <a:pt x="15766" y="5744"/>
                  </a:lnTo>
                  <a:lnTo>
                    <a:pt x="15837" y="5584"/>
                  </a:lnTo>
                  <a:lnTo>
                    <a:pt x="15901" y="5421"/>
                  </a:lnTo>
                  <a:lnTo>
                    <a:pt x="15955" y="5254"/>
                  </a:lnTo>
                  <a:lnTo>
                    <a:pt x="16000" y="5084"/>
                  </a:lnTo>
                  <a:lnTo>
                    <a:pt x="16037" y="4913"/>
                  </a:lnTo>
                  <a:lnTo>
                    <a:pt x="16065" y="4739"/>
                  </a:lnTo>
                  <a:lnTo>
                    <a:pt x="16083" y="4563"/>
                  </a:lnTo>
                  <a:lnTo>
                    <a:pt x="16093" y="4387"/>
                  </a:lnTo>
                  <a:lnTo>
                    <a:pt x="16094" y="4208"/>
                  </a:lnTo>
                  <a:lnTo>
                    <a:pt x="16087" y="4030"/>
                  </a:lnTo>
                  <a:lnTo>
                    <a:pt x="16070" y="3850"/>
                  </a:lnTo>
                  <a:lnTo>
                    <a:pt x="16045" y="3669"/>
                  </a:lnTo>
                  <a:lnTo>
                    <a:pt x="16011" y="3490"/>
                  </a:lnTo>
                  <a:lnTo>
                    <a:pt x="15968" y="3310"/>
                  </a:lnTo>
                  <a:lnTo>
                    <a:pt x="15917" y="3131"/>
                  </a:lnTo>
                  <a:lnTo>
                    <a:pt x="15857" y="2953"/>
                  </a:lnTo>
                  <a:lnTo>
                    <a:pt x="15788" y="2776"/>
                  </a:lnTo>
                  <a:lnTo>
                    <a:pt x="15711" y="2601"/>
                  </a:lnTo>
                  <a:lnTo>
                    <a:pt x="15625" y="2428"/>
                  </a:lnTo>
                  <a:lnTo>
                    <a:pt x="15531" y="2257"/>
                  </a:lnTo>
                  <a:lnTo>
                    <a:pt x="15428" y="2089"/>
                  </a:lnTo>
                  <a:lnTo>
                    <a:pt x="15316" y="1923"/>
                  </a:lnTo>
                  <a:lnTo>
                    <a:pt x="15196" y="1760"/>
                  </a:lnTo>
                  <a:lnTo>
                    <a:pt x="15067" y="1602"/>
                  </a:lnTo>
                  <a:lnTo>
                    <a:pt x="14930" y="1446"/>
                  </a:lnTo>
                  <a:lnTo>
                    <a:pt x="14785" y="129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34" name="îŝļíḑé">
              <a:extLst>
                <a:ext uri="{FF2B5EF4-FFF2-40B4-BE49-F238E27FC236}">
                  <a16:creationId xmlns:a16="http://schemas.microsoft.com/office/drawing/2014/main" id="{0DCD6072-629E-45D5-BE72-4CEE62A42625}"/>
                </a:ext>
              </a:extLst>
            </p:cNvPr>
            <p:cNvSpPr/>
            <p:nvPr/>
          </p:nvSpPr>
          <p:spPr bwMode="auto">
            <a:xfrm>
              <a:off x="6352283" y="3701082"/>
              <a:ext cx="236712" cy="214402"/>
            </a:xfrm>
            <a:custGeom>
              <a:avLst/>
              <a:gdLst>
                <a:gd name="T0" fmla="*/ 13271 w 16095"/>
                <a:gd name="T1" fmla="*/ 332 h 14578"/>
                <a:gd name="T2" fmla="*/ 11351 w 16095"/>
                <a:gd name="T3" fmla="*/ 5 h 14578"/>
                <a:gd name="T4" fmla="*/ 9463 w 16095"/>
                <a:gd name="T5" fmla="*/ 518 h 14578"/>
                <a:gd name="T6" fmla="*/ 789 w 16095"/>
                <a:gd name="T7" fmla="*/ 8840 h 14578"/>
                <a:gd name="T8" fmla="*/ 101 w 16095"/>
                <a:gd name="T9" fmla="*/ 10223 h 14578"/>
                <a:gd name="T10" fmla="*/ 64 w 16095"/>
                <a:gd name="T11" fmla="*/ 11733 h 14578"/>
                <a:gd name="T12" fmla="*/ 680 w 16095"/>
                <a:gd name="T13" fmla="*/ 13142 h 14578"/>
                <a:gd name="T14" fmla="*/ 1881 w 16095"/>
                <a:gd name="T15" fmla="*/ 14176 h 14578"/>
                <a:gd name="T16" fmla="*/ 3350 w 16095"/>
                <a:gd name="T17" fmla="*/ 14574 h 14578"/>
                <a:gd name="T18" fmla="*/ 4844 w 16095"/>
                <a:gd name="T19" fmla="*/ 14321 h 14578"/>
                <a:gd name="T20" fmla="*/ 13346 w 16095"/>
                <a:gd name="T21" fmla="*/ 6301 h 14578"/>
                <a:gd name="T22" fmla="*/ 13942 w 16095"/>
                <a:gd name="T23" fmla="*/ 5355 h 14578"/>
                <a:gd name="T24" fmla="*/ 14071 w 16095"/>
                <a:gd name="T25" fmla="*/ 4284 h 14578"/>
                <a:gd name="T26" fmla="*/ 13735 w 16095"/>
                <a:gd name="T27" fmla="*/ 3247 h 14578"/>
                <a:gd name="T28" fmla="*/ 12951 w 16095"/>
                <a:gd name="T29" fmla="*/ 2425 h 14578"/>
                <a:gd name="T30" fmla="*/ 11928 w 16095"/>
                <a:gd name="T31" fmla="*/ 2037 h 14578"/>
                <a:gd name="T32" fmla="*/ 10852 w 16095"/>
                <a:gd name="T33" fmla="*/ 2115 h 14578"/>
                <a:gd name="T34" fmla="*/ 9884 w 16095"/>
                <a:gd name="T35" fmla="*/ 2658 h 14578"/>
                <a:gd name="T36" fmla="*/ 4173 w 16095"/>
                <a:gd name="T37" fmla="*/ 8404 h 14578"/>
                <a:gd name="T38" fmla="*/ 4125 w 16095"/>
                <a:gd name="T39" fmla="*/ 8617 h 14578"/>
                <a:gd name="T40" fmla="*/ 4173 w 16095"/>
                <a:gd name="T41" fmla="*/ 8828 h 14578"/>
                <a:gd name="T42" fmla="*/ 4311 w 16095"/>
                <a:gd name="T43" fmla="*/ 9007 h 14578"/>
                <a:gd name="T44" fmla="*/ 4509 w 16095"/>
                <a:gd name="T45" fmla="*/ 9105 h 14578"/>
                <a:gd name="T46" fmla="*/ 4725 w 16095"/>
                <a:gd name="T47" fmla="*/ 9110 h 14578"/>
                <a:gd name="T48" fmla="*/ 4926 w 16095"/>
                <a:gd name="T49" fmla="*/ 9022 h 14578"/>
                <a:gd name="T50" fmla="*/ 10802 w 16095"/>
                <a:gd name="T51" fmla="*/ 3226 h 14578"/>
                <a:gd name="T52" fmla="*/ 11423 w 16095"/>
                <a:gd name="T53" fmla="*/ 3024 h 14578"/>
                <a:gd name="T54" fmla="*/ 12067 w 16095"/>
                <a:gd name="T55" fmla="*/ 3101 h 14578"/>
                <a:gd name="T56" fmla="*/ 12635 w 16095"/>
                <a:gd name="T57" fmla="*/ 3458 h 14578"/>
                <a:gd name="T58" fmla="*/ 12992 w 16095"/>
                <a:gd name="T59" fmla="*/ 4025 h 14578"/>
                <a:gd name="T60" fmla="*/ 13069 w 16095"/>
                <a:gd name="T61" fmla="*/ 4669 h 14578"/>
                <a:gd name="T62" fmla="*/ 12868 w 16095"/>
                <a:gd name="T63" fmla="*/ 5291 h 14578"/>
                <a:gd name="T64" fmla="*/ 5006 w 16095"/>
                <a:gd name="T65" fmla="*/ 13088 h 14578"/>
                <a:gd name="T66" fmla="*/ 3999 w 16095"/>
                <a:gd name="T67" fmla="*/ 13528 h 14578"/>
                <a:gd name="T68" fmla="*/ 2920 w 16095"/>
                <a:gd name="T69" fmla="*/ 13502 h 14578"/>
                <a:gd name="T70" fmla="*/ 1931 w 16095"/>
                <a:gd name="T71" fmla="*/ 13011 h 14578"/>
                <a:gd name="T72" fmla="*/ 1237 w 16095"/>
                <a:gd name="T73" fmla="*/ 12119 h 14578"/>
                <a:gd name="T74" fmla="*/ 1004 w 16095"/>
                <a:gd name="T75" fmla="*/ 11060 h 14578"/>
                <a:gd name="T76" fmla="*/ 1237 w 16095"/>
                <a:gd name="T77" fmla="*/ 10003 h 14578"/>
                <a:gd name="T78" fmla="*/ 9139 w 16095"/>
                <a:gd name="T79" fmla="*/ 1982 h 14578"/>
                <a:gd name="T80" fmla="*/ 10495 w 16095"/>
                <a:gd name="T81" fmla="*/ 1221 h 14578"/>
                <a:gd name="T82" fmla="*/ 12003 w 16095"/>
                <a:gd name="T83" fmla="*/ 1113 h 14578"/>
                <a:gd name="T84" fmla="*/ 13433 w 16095"/>
                <a:gd name="T85" fmla="*/ 1657 h 14578"/>
                <a:gd name="T86" fmla="*/ 14530 w 16095"/>
                <a:gd name="T87" fmla="*/ 2808 h 14578"/>
                <a:gd name="T88" fmla="*/ 15002 w 16095"/>
                <a:gd name="T89" fmla="*/ 4258 h 14578"/>
                <a:gd name="T90" fmla="*/ 14820 w 16095"/>
                <a:gd name="T91" fmla="*/ 5759 h 14578"/>
                <a:gd name="T92" fmla="*/ 13987 w 16095"/>
                <a:gd name="T93" fmla="*/ 7083 h 14578"/>
                <a:gd name="T94" fmla="*/ 8431 w 16095"/>
                <a:gd name="T95" fmla="*/ 12692 h 14578"/>
                <a:gd name="T96" fmla="*/ 8395 w 16095"/>
                <a:gd name="T97" fmla="*/ 12905 h 14578"/>
                <a:gd name="T98" fmla="*/ 8451 w 16095"/>
                <a:gd name="T99" fmla="*/ 13115 h 14578"/>
                <a:gd name="T100" fmla="*/ 8600 w 16095"/>
                <a:gd name="T101" fmla="*/ 13286 h 14578"/>
                <a:gd name="T102" fmla="*/ 8801 w 16095"/>
                <a:gd name="T103" fmla="*/ 13375 h 14578"/>
                <a:gd name="T104" fmla="*/ 9017 w 16095"/>
                <a:gd name="T105" fmla="*/ 13370 h 14578"/>
                <a:gd name="T106" fmla="*/ 9214 w 16095"/>
                <a:gd name="T107" fmla="*/ 13271 h 14578"/>
                <a:gd name="T108" fmla="*/ 15577 w 16095"/>
                <a:gd name="T109" fmla="*/ 6628 h 14578"/>
                <a:gd name="T110" fmla="*/ 16090 w 16095"/>
                <a:gd name="T111" fmla="*/ 4742 h 14578"/>
                <a:gd name="T112" fmla="*/ 15763 w 16095"/>
                <a:gd name="T113" fmla="*/ 2822 h 14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4578">
                  <a:moveTo>
                    <a:pt x="14768" y="1326"/>
                  </a:moveTo>
                  <a:lnTo>
                    <a:pt x="14600" y="1165"/>
                  </a:lnTo>
                  <a:lnTo>
                    <a:pt x="14425" y="1015"/>
                  </a:lnTo>
                  <a:lnTo>
                    <a:pt x="14244" y="875"/>
                  </a:lnTo>
                  <a:lnTo>
                    <a:pt x="14059" y="746"/>
                  </a:lnTo>
                  <a:lnTo>
                    <a:pt x="13868" y="626"/>
                  </a:lnTo>
                  <a:lnTo>
                    <a:pt x="13673" y="518"/>
                  </a:lnTo>
                  <a:lnTo>
                    <a:pt x="13474" y="419"/>
                  </a:lnTo>
                  <a:lnTo>
                    <a:pt x="13271" y="332"/>
                  </a:lnTo>
                  <a:lnTo>
                    <a:pt x="13065" y="253"/>
                  </a:lnTo>
                  <a:lnTo>
                    <a:pt x="12857" y="187"/>
                  </a:lnTo>
                  <a:lnTo>
                    <a:pt x="12646" y="130"/>
                  </a:lnTo>
                  <a:lnTo>
                    <a:pt x="12432" y="83"/>
                  </a:lnTo>
                  <a:lnTo>
                    <a:pt x="12218" y="46"/>
                  </a:lnTo>
                  <a:lnTo>
                    <a:pt x="12002" y="21"/>
                  </a:lnTo>
                  <a:lnTo>
                    <a:pt x="11786" y="5"/>
                  </a:lnTo>
                  <a:lnTo>
                    <a:pt x="11568" y="0"/>
                  </a:lnTo>
                  <a:lnTo>
                    <a:pt x="11351" y="5"/>
                  </a:lnTo>
                  <a:lnTo>
                    <a:pt x="11134" y="21"/>
                  </a:lnTo>
                  <a:lnTo>
                    <a:pt x="10918" y="46"/>
                  </a:lnTo>
                  <a:lnTo>
                    <a:pt x="10703" y="83"/>
                  </a:lnTo>
                  <a:lnTo>
                    <a:pt x="10490" y="130"/>
                  </a:lnTo>
                  <a:lnTo>
                    <a:pt x="10280" y="187"/>
                  </a:lnTo>
                  <a:lnTo>
                    <a:pt x="10070" y="253"/>
                  </a:lnTo>
                  <a:lnTo>
                    <a:pt x="9864" y="332"/>
                  </a:lnTo>
                  <a:lnTo>
                    <a:pt x="9662" y="419"/>
                  </a:lnTo>
                  <a:lnTo>
                    <a:pt x="9463" y="518"/>
                  </a:lnTo>
                  <a:lnTo>
                    <a:pt x="9268" y="626"/>
                  </a:lnTo>
                  <a:lnTo>
                    <a:pt x="9078" y="746"/>
                  </a:lnTo>
                  <a:lnTo>
                    <a:pt x="8891" y="875"/>
                  </a:lnTo>
                  <a:lnTo>
                    <a:pt x="8711" y="1015"/>
                  </a:lnTo>
                  <a:lnTo>
                    <a:pt x="8536" y="1165"/>
                  </a:lnTo>
                  <a:lnTo>
                    <a:pt x="8367" y="1326"/>
                  </a:lnTo>
                  <a:lnTo>
                    <a:pt x="1029" y="8572"/>
                  </a:lnTo>
                  <a:lnTo>
                    <a:pt x="904" y="8704"/>
                  </a:lnTo>
                  <a:lnTo>
                    <a:pt x="789" y="8840"/>
                  </a:lnTo>
                  <a:lnTo>
                    <a:pt x="680" y="8979"/>
                  </a:lnTo>
                  <a:lnTo>
                    <a:pt x="579" y="9124"/>
                  </a:lnTo>
                  <a:lnTo>
                    <a:pt x="487" y="9272"/>
                  </a:lnTo>
                  <a:lnTo>
                    <a:pt x="402" y="9424"/>
                  </a:lnTo>
                  <a:lnTo>
                    <a:pt x="326" y="9579"/>
                  </a:lnTo>
                  <a:lnTo>
                    <a:pt x="258" y="9736"/>
                  </a:lnTo>
                  <a:lnTo>
                    <a:pt x="197" y="9896"/>
                  </a:lnTo>
                  <a:lnTo>
                    <a:pt x="145" y="10058"/>
                  </a:lnTo>
                  <a:lnTo>
                    <a:pt x="101" y="10223"/>
                  </a:lnTo>
                  <a:lnTo>
                    <a:pt x="64" y="10388"/>
                  </a:lnTo>
                  <a:lnTo>
                    <a:pt x="36" y="10556"/>
                  </a:lnTo>
                  <a:lnTo>
                    <a:pt x="16" y="10724"/>
                  </a:lnTo>
                  <a:lnTo>
                    <a:pt x="4" y="10892"/>
                  </a:lnTo>
                  <a:lnTo>
                    <a:pt x="0" y="11060"/>
                  </a:lnTo>
                  <a:lnTo>
                    <a:pt x="4" y="11229"/>
                  </a:lnTo>
                  <a:lnTo>
                    <a:pt x="16" y="11398"/>
                  </a:lnTo>
                  <a:lnTo>
                    <a:pt x="36" y="11566"/>
                  </a:lnTo>
                  <a:lnTo>
                    <a:pt x="64" y="11733"/>
                  </a:lnTo>
                  <a:lnTo>
                    <a:pt x="101" y="11899"/>
                  </a:lnTo>
                  <a:lnTo>
                    <a:pt x="145" y="12064"/>
                  </a:lnTo>
                  <a:lnTo>
                    <a:pt x="197" y="12226"/>
                  </a:lnTo>
                  <a:lnTo>
                    <a:pt x="258" y="12385"/>
                  </a:lnTo>
                  <a:lnTo>
                    <a:pt x="326" y="12543"/>
                  </a:lnTo>
                  <a:lnTo>
                    <a:pt x="402" y="12698"/>
                  </a:lnTo>
                  <a:lnTo>
                    <a:pt x="487" y="12850"/>
                  </a:lnTo>
                  <a:lnTo>
                    <a:pt x="579" y="12998"/>
                  </a:lnTo>
                  <a:lnTo>
                    <a:pt x="680" y="13142"/>
                  </a:lnTo>
                  <a:lnTo>
                    <a:pt x="789" y="13282"/>
                  </a:lnTo>
                  <a:lnTo>
                    <a:pt x="904" y="13418"/>
                  </a:lnTo>
                  <a:lnTo>
                    <a:pt x="1029" y="13550"/>
                  </a:lnTo>
                  <a:lnTo>
                    <a:pt x="1161" y="13673"/>
                  </a:lnTo>
                  <a:lnTo>
                    <a:pt x="1297" y="13790"/>
                  </a:lnTo>
                  <a:lnTo>
                    <a:pt x="1436" y="13898"/>
                  </a:lnTo>
                  <a:lnTo>
                    <a:pt x="1581" y="13999"/>
                  </a:lnTo>
                  <a:lnTo>
                    <a:pt x="1729" y="14091"/>
                  </a:lnTo>
                  <a:lnTo>
                    <a:pt x="1881" y="14176"/>
                  </a:lnTo>
                  <a:lnTo>
                    <a:pt x="2036" y="14252"/>
                  </a:lnTo>
                  <a:lnTo>
                    <a:pt x="2193" y="14321"/>
                  </a:lnTo>
                  <a:lnTo>
                    <a:pt x="2354" y="14381"/>
                  </a:lnTo>
                  <a:lnTo>
                    <a:pt x="2516" y="14433"/>
                  </a:lnTo>
                  <a:lnTo>
                    <a:pt x="2680" y="14477"/>
                  </a:lnTo>
                  <a:lnTo>
                    <a:pt x="2846" y="14514"/>
                  </a:lnTo>
                  <a:lnTo>
                    <a:pt x="3013" y="14542"/>
                  </a:lnTo>
                  <a:lnTo>
                    <a:pt x="3181" y="14562"/>
                  </a:lnTo>
                  <a:lnTo>
                    <a:pt x="3350" y="14574"/>
                  </a:lnTo>
                  <a:lnTo>
                    <a:pt x="3519" y="14578"/>
                  </a:lnTo>
                  <a:lnTo>
                    <a:pt x="3688" y="14574"/>
                  </a:lnTo>
                  <a:lnTo>
                    <a:pt x="3857" y="14562"/>
                  </a:lnTo>
                  <a:lnTo>
                    <a:pt x="4025" y="14542"/>
                  </a:lnTo>
                  <a:lnTo>
                    <a:pt x="4192" y="14514"/>
                  </a:lnTo>
                  <a:lnTo>
                    <a:pt x="4358" y="14477"/>
                  </a:lnTo>
                  <a:lnTo>
                    <a:pt x="4522" y="14433"/>
                  </a:lnTo>
                  <a:lnTo>
                    <a:pt x="4684" y="14381"/>
                  </a:lnTo>
                  <a:lnTo>
                    <a:pt x="4844" y="14321"/>
                  </a:lnTo>
                  <a:lnTo>
                    <a:pt x="5002" y="14252"/>
                  </a:lnTo>
                  <a:lnTo>
                    <a:pt x="5156" y="14176"/>
                  </a:lnTo>
                  <a:lnTo>
                    <a:pt x="5308" y="14091"/>
                  </a:lnTo>
                  <a:lnTo>
                    <a:pt x="5456" y="13999"/>
                  </a:lnTo>
                  <a:lnTo>
                    <a:pt x="5601" y="13898"/>
                  </a:lnTo>
                  <a:lnTo>
                    <a:pt x="5741" y="13790"/>
                  </a:lnTo>
                  <a:lnTo>
                    <a:pt x="5877" y="13673"/>
                  </a:lnTo>
                  <a:lnTo>
                    <a:pt x="6007" y="13550"/>
                  </a:lnTo>
                  <a:lnTo>
                    <a:pt x="13346" y="6301"/>
                  </a:lnTo>
                  <a:lnTo>
                    <a:pt x="13435" y="6208"/>
                  </a:lnTo>
                  <a:lnTo>
                    <a:pt x="13519" y="6110"/>
                  </a:lnTo>
                  <a:lnTo>
                    <a:pt x="13596" y="6011"/>
                  </a:lnTo>
                  <a:lnTo>
                    <a:pt x="13669" y="5907"/>
                  </a:lnTo>
                  <a:lnTo>
                    <a:pt x="13735" y="5802"/>
                  </a:lnTo>
                  <a:lnTo>
                    <a:pt x="13795" y="5693"/>
                  </a:lnTo>
                  <a:lnTo>
                    <a:pt x="13850" y="5582"/>
                  </a:lnTo>
                  <a:lnTo>
                    <a:pt x="13899" y="5470"/>
                  </a:lnTo>
                  <a:lnTo>
                    <a:pt x="13942" y="5355"/>
                  </a:lnTo>
                  <a:lnTo>
                    <a:pt x="13980" y="5240"/>
                  </a:lnTo>
                  <a:lnTo>
                    <a:pt x="14011" y="5123"/>
                  </a:lnTo>
                  <a:lnTo>
                    <a:pt x="14037" y="5004"/>
                  </a:lnTo>
                  <a:lnTo>
                    <a:pt x="14057" y="4885"/>
                  </a:lnTo>
                  <a:lnTo>
                    <a:pt x="14071" y="4765"/>
                  </a:lnTo>
                  <a:lnTo>
                    <a:pt x="14080" y="4645"/>
                  </a:lnTo>
                  <a:lnTo>
                    <a:pt x="14083" y="4524"/>
                  </a:lnTo>
                  <a:lnTo>
                    <a:pt x="14080" y="4404"/>
                  </a:lnTo>
                  <a:lnTo>
                    <a:pt x="14071" y="4284"/>
                  </a:lnTo>
                  <a:lnTo>
                    <a:pt x="14057" y="4164"/>
                  </a:lnTo>
                  <a:lnTo>
                    <a:pt x="14037" y="4044"/>
                  </a:lnTo>
                  <a:lnTo>
                    <a:pt x="14011" y="3926"/>
                  </a:lnTo>
                  <a:lnTo>
                    <a:pt x="13980" y="3809"/>
                  </a:lnTo>
                  <a:lnTo>
                    <a:pt x="13942" y="3693"/>
                  </a:lnTo>
                  <a:lnTo>
                    <a:pt x="13899" y="3579"/>
                  </a:lnTo>
                  <a:lnTo>
                    <a:pt x="13850" y="3466"/>
                  </a:lnTo>
                  <a:lnTo>
                    <a:pt x="13795" y="3356"/>
                  </a:lnTo>
                  <a:lnTo>
                    <a:pt x="13735" y="3247"/>
                  </a:lnTo>
                  <a:lnTo>
                    <a:pt x="13669" y="3142"/>
                  </a:lnTo>
                  <a:lnTo>
                    <a:pt x="13596" y="3038"/>
                  </a:lnTo>
                  <a:lnTo>
                    <a:pt x="13519" y="2939"/>
                  </a:lnTo>
                  <a:lnTo>
                    <a:pt x="13435" y="2841"/>
                  </a:lnTo>
                  <a:lnTo>
                    <a:pt x="13346" y="2748"/>
                  </a:lnTo>
                  <a:lnTo>
                    <a:pt x="13252" y="2658"/>
                  </a:lnTo>
                  <a:lnTo>
                    <a:pt x="13156" y="2575"/>
                  </a:lnTo>
                  <a:lnTo>
                    <a:pt x="13055" y="2497"/>
                  </a:lnTo>
                  <a:lnTo>
                    <a:pt x="12951" y="2425"/>
                  </a:lnTo>
                  <a:lnTo>
                    <a:pt x="12846" y="2359"/>
                  </a:lnTo>
                  <a:lnTo>
                    <a:pt x="12737" y="2299"/>
                  </a:lnTo>
                  <a:lnTo>
                    <a:pt x="12627" y="2244"/>
                  </a:lnTo>
                  <a:lnTo>
                    <a:pt x="12514" y="2196"/>
                  </a:lnTo>
                  <a:lnTo>
                    <a:pt x="12400" y="2152"/>
                  </a:lnTo>
                  <a:lnTo>
                    <a:pt x="12284" y="2115"/>
                  </a:lnTo>
                  <a:lnTo>
                    <a:pt x="12167" y="2083"/>
                  </a:lnTo>
                  <a:lnTo>
                    <a:pt x="12048" y="2057"/>
                  </a:lnTo>
                  <a:lnTo>
                    <a:pt x="11928" y="2037"/>
                  </a:lnTo>
                  <a:lnTo>
                    <a:pt x="11809" y="2023"/>
                  </a:lnTo>
                  <a:lnTo>
                    <a:pt x="11689" y="2015"/>
                  </a:lnTo>
                  <a:lnTo>
                    <a:pt x="11568" y="2012"/>
                  </a:lnTo>
                  <a:lnTo>
                    <a:pt x="11448" y="2015"/>
                  </a:lnTo>
                  <a:lnTo>
                    <a:pt x="11327" y="2023"/>
                  </a:lnTo>
                  <a:lnTo>
                    <a:pt x="11207" y="2037"/>
                  </a:lnTo>
                  <a:lnTo>
                    <a:pt x="11087" y="2057"/>
                  </a:lnTo>
                  <a:lnTo>
                    <a:pt x="10969" y="2083"/>
                  </a:lnTo>
                  <a:lnTo>
                    <a:pt x="10852" y="2115"/>
                  </a:lnTo>
                  <a:lnTo>
                    <a:pt x="10736" y="2152"/>
                  </a:lnTo>
                  <a:lnTo>
                    <a:pt x="10622" y="2196"/>
                  </a:lnTo>
                  <a:lnTo>
                    <a:pt x="10509" y="2244"/>
                  </a:lnTo>
                  <a:lnTo>
                    <a:pt x="10398" y="2299"/>
                  </a:lnTo>
                  <a:lnTo>
                    <a:pt x="10291" y="2359"/>
                  </a:lnTo>
                  <a:lnTo>
                    <a:pt x="10184" y="2425"/>
                  </a:lnTo>
                  <a:lnTo>
                    <a:pt x="10082" y="2497"/>
                  </a:lnTo>
                  <a:lnTo>
                    <a:pt x="9981" y="2575"/>
                  </a:lnTo>
                  <a:lnTo>
                    <a:pt x="9884" y="2658"/>
                  </a:lnTo>
                  <a:lnTo>
                    <a:pt x="9790" y="2748"/>
                  </a:lnTo>
                  <a:lnTo>
                    <a:pt x="4273" y="8261"/>
                  </a:lnTo>
                  <a:lnTo>
                    <a:pt x="4255" y="8279"/>
                  </a:lnTo>
                  <a:lnTo>
                    <a:pt x="4239" y="8299"/>
                  </a:lnTo>
                  <a:lnTo>
                    <a:pt x="4223" y="8319"/>
                  </a:lnTo>
                  <a:lnTo>
                    <a:pt x="4209" y="8339"/>
                  </a:lnTo>
                  <a:lnTo>
                    <a:pt x="4196" y="8361"/>
                  </a:lnTo>
                  <a:lnTo>
                    <a:pt x="4184" y="8382"/>
                  </a:lnTo>
                  <a:lnTo>
                    <a:pt x="4173" y="8404"/>
                  </a:lnTo>
                  <a:lnTo>
                    <a:pt x="4163" y="8427"/>
                  </a:lnTo>
                  <a:lnTo>
                    <a:pt x="4154" y="8450"/>
                  </a:lnTo>
                  <a:lnTo>
                    <a:pt x="4146" y="8473"/>
                  </a:lnTo>
                  <a:lnTo>
                    <a:pt x="4140" y="8497"/>
                  </a:lnTo>
                  <a:lnTo>
                    <a:pt x="4134" y="8520"/>
                  </a:lnTo>
                  <a:lnTo>
                    <a:pt x="4130" y="8544"/>
                  </a:lnTo>
                  <a:lnTo>
                    <a:pt x="4128" y="8568"/>
                  </a:lnTo>
                  <a:lnTo>
                    <a:pt x="4126" y="8592"/>
                  </a:lnTo>
                  <a:lnTo>
                    <a:pt x="4125" y="8617"/>
                  </a:lnTo>
                  <a:lnTo>
                    <a:pt x="4126" y="8640"/>
                  </a:lnTo>
                  <a:lnTo>
                    <a:pt x="4128" y="8664"/>
                  </a:lnTo>
                  <a:lnTo>
                    <a:pt x="4130" y="8688"/>
                  </a:lnTo>
                  <a:lnTo>
                    <a:pt x="4134" y="8712"/>
                  </a:lnTo>
                  <a:lnTo>
                    <a:pt x="4140" y="8736"/>
                  </a:lnTo>
                  <a:lnTo>
                    <a:pt x="4146" y="8759"/>
                  </a:lnTo>
                  <a:lnTo>
                    <a:pt x="4154" y="8782"/>
                  </a:lnTo>
                  <a:lnTo>
                    <a:pt x="4163" y="8806"/>
                  </a:lnTo>
                  <a:lnTo>
                    <a:pt x="4173" y="8828"/>
                  </a:lnTo>
                  <a:lnTo>
                    <a:pt x="4184" y="8850"/>
                  </a:lnTo>
                  <a:lnTo>
                    <a:pt x="4196" y="8872"/>
                  </a:lnTo>
                  <a:lnTo>
                    <a:pt x="4209" y="8893"/>
                  </a:lnTo>
                  <a:lnTo>
                    <a:pt x="4223" y="8913"/>
                  </a:lnTo>
                  <a:lnTo>
                    <a:pt x="4239" y="8933"/>
                  </a:lnTo>
                  <a:lnTo>
                    <a:pt x="4255" y="8953"/>
                  </a:lnTo>
                  <a:lnTo>
                    <a:pt x="4273" y="8971"/>
                  </a:lnTo>
                  <a:lnTo>
                    <a:pt x="4292" y="8989"/>
                  </a:lnTo>
                  <a:lnTo>
                    <a:pt x="4311" y="9007"/>
                  </a:lnTo>
                  <a:lnTo>
                    <a:pt x="4332" y="9022"/>
                  </a:lnTo>
                  <a:lnTo>
                    <a:pt x="4352" y="9036"/>
                  </a:lnTo>
                  <a:lnTo>
                    <a:pt x="4373" y="9050"/>
                  </a:lnTo>
                  <a:lnTo>
                    <a:pt x="4395" y="9062"/>
                  </a:lnTo>
                  <a:lnTo>
                    <a:pt x="4417" y="9073"/>
                  </a:lnTo>
                  <a:lnTo>
                    <a:pt x="4439" y="9082"/>
                  </a:lnTo>
                  <a:lnTo>
                    <a:pt x="4462" y="9091"/>
                  </a:lnTo>
                  <a:lnTo>
                    <a:pt x="4485" y="9098"/>
                  </a:lnTo>
                  <a:lnTo>
                    <a:pt x="4509" y="9105"/>
                  </a:lnTo>
                  <a:lnTo>
                    <a:pt x="4533" y="9110"/>
                  </a:lnTo>
                  <a:lnTo>
                    <a:pt x="4557" y="9114"/>
                  </a:lnTo>
                  <a:lnTo>
                    <a:pt x="4580" y="9117"/>
                  </a:lnTo>
                  <a:lnTo>
                    <a:pt x="4604" y="9118"/>
                  </a:lnTo>
                  <a:lnTo>
                    <a:pt x="4628" y="9119"/>
                  </a:lnTo>
                  <a:lnTo>
                    <a:pt x="4652" y="9118"/>
                  </a:lnTo>
                  <a:lnTo>
                    <a:pt x="4677" y="9117"/>
                  </a:lnTo>
                  <a:lnTo>
                    <a:pt x="4701" y="9114"/>
                  </a:lnTo>
                  <a:lnTo>
                    <a:pt x="4725" y="9110"/>
                  </a:lnTo>
                  <a:lnTo>
                    <a:pt x="4748" y="9105"/>
                  </a:lnTo>
                  <a:lnTo>
                    <a:pt x="4772" y="9098"/>
                  </a:lnTo>
                  <a:lnTo>
                    <a:pt x="4795" y="9091"/>
                  </a:lnTo>
                  <a:lnTo>
                    <a:pt x="4817" y="9082"/>
                  </a:lnTo>
                  <a:lnTo>
                    <a:pt x="4841" y="9073"/>
                  </a:lnTo>
                  <a:lnTo>
                    <a:pt x="4863" y="9062"/>
                  </a:lnTo>
                  <a:lnTo>
                    <a:pt x="4884" y="9050"/>
                  </a:lnTo>
                  <a:lnTo>
                    <a:pt x="4905" y="9036"/>
                  </a:lnTo>
                  <a:lnTo>
                    <a:pt x="4926" y="9022"/>
                  </a:lnTo>
                  <a:lnTo>
                    <a:pt x="4946" y="9007"/>
                  </a:lnTo>
                  <a:lnTo>
                    <a:pt x="4965" y="8989"/>
                  </a:lnTo>
                  <a:lnTo>
                    <a:pt x="4984" y="8971"/>
                  </a:lnTo>
                  <a:lnTo>
                    <a:pt x="10501" y="3458"/>
                  </a:lnTo>
                  <a:lnTo>
                    <a:pt x="10557" y="3405"/>
                  </a:lnTo>
                  <a:lnTo>
                    <a:pt x="10616" y="3355"/>
                  </a:lnTo>
                  <a:lnTo>
                    <a:pt x="10676" y="3308"/>
                  </a:lnTo>
                  <a:lnTo>
                    <a:pt x="10738" y="3265"/>
                  </a:lnTo>
                  <a:lnTo>
                    <a:pt x="10802" y="3226"/>
                  </a:lnTo>
                  <a:lnTo>
                    <a:pt x="10866" y="3190"/>
                  </a:lnTo>
                  <a:lnTo>
                    <a:pt x="10933" y="3157"/>
                  </a:lnTo>
                  <a:lnTo>
                    <a:pt x="11000" y="3128"/>
                  </a:lnTo>
                  <a:lnTo>
                    <a:pt x="11069" y="3101"/>
                  </a:lnTo>
                  <a:lnTo>
                    <a:pt x="11139" y="3079"/>
                  </a:lnTo>
                  <a:lnTo>
                    <a:pt x="11209" y="3060"/>
                  </a:lnTo>
                  <a:lnTo>
                    <a:pt x="11280" y="3045"/>
                  </a:lnTo>
                  <a:lnTo>
                    <a:pt x="11352" y="3033"/>
                  </a:lnTo>
                  <a:lnTo>
                    <a:pt x="11423" y="3024"/>
                  </a:lnTo>
                  <a:lnTo>
                    <a:pt x="11496" y="3019"/>
                  </a:lnTo>
                  <a:lnTo>
                    <a:pt x="11568" y="3017"/>
                  </a:lnTo>
                  <a:lnTo>
                    <a:pt x="11641" y="3019"/>
                  </a:lnTo>
                  <a:lnTo>
                    <a:pt x="11713" y="3024"/>
                  </a:lnTo>
                  <a:lnTo>
                    <a:pt x="11785" y="3033"/>
                  </a:lnTo>
                  <a:lnTo>
                    <a:pt x="11857" y="3045"/>
                  </a:lnTo>
                  <a:lnTo>
                    <a:pt x="11927" y="3060"/>
                  </a:lnTo>
                  <a:lnTo>
                    <a:pt x="11998" y="3079"/>
                  </a:lnTo>
                  <a:lnTo>
                    <a:pt x="12067" y="3101"/>
                  </a:lnTo>
                  <a:lnTo>
                    <a:pt x="12137" y="3128"/>
                  </a:lnTo>
                  <a:lnTo>
                    <a:pt x="12204" y="3157"/>
                  </a:lnTo>
                  <a:lnTo>
                    <a:pt x="12270" y="3190"/>
                  </a:lnTo>
                  <a:lnTo>
                    <a:pt x="12335" y="3226"/>
                  </a:lnTo>
                  <a:lnTo>
                    <a:pt x="12398" y="3265"/>
                  </a:lnTo>
                  <a:lnTo>
                    <a:pt x="12461" y="3308"/>
                  </a:lnTo>
                  <a:lnTo>
                    <a:pt x="12521" y="3355"/>
                  </a:lnTo>
                  <a:lnTo>
                    <a:pt x="12579" y="3405"/>
                  </a:lnTo>
                  <a:lnTo>
                    <a:pt x="12635" y="3458"/>
                  </a:lnTo>
                  <a:lnTo>
                    <a:pt x="12689" y="3515"/>
                  </a:lnTo>
                  <a:lnTo>
                    <a:pt x="12738" y="3572"/>
                  </a:lnTo>
                  <a:lnTo>
                    <a:pt x="12785" y="3632"/>
                  </a:lnTo>
                  <a:lnTo>
                    <a:pt x="12828" y="3695"/>
                  </a:lnTo>
                  <a:lnTo>
                    <a:pt x="12868" y="3758"/>
                  </a:lnTo>
                  <a:lnTo>
                    <a:pt x="12904" y="3823"/>
                  </a:lnTo>
                  <a:lnTo>
                    <a:pt x="12936" y="3890"/>
                  </a:lnTo>
                  <a:lnTo>
                    <a:pt x="12967" y="3957"/>
                  </a:lnTo>
                  <a:lnTo>
                    <a:pt x="12992" y="4025"/>
                  </a:lnTo>
                  <a:lnTo>
                    <a:pt x="13015" y="4095"/>
                  </a:lnTo>
                  <a:lnTo>
                    <a:pt x="13033" y="4165"/>
                  </a:lnTo>
                  <a:lnTo>
                    <a:pt x="13049" y="4236"/>
                  </a:lnTo>
                  <a:lnTo>
                    <a:pt x="13061" y="4308"/>
                  </a:lnTo>
                  <a:lnTo>
                    <a:pt x="13069" y="4380"/>
                  </a:lnTo>
                  <a:lnTo>
                    <a:pt x="13075" y="4452"/>
                  </a:lnTo>
                  <a:lnTo>
                    <a:pt x="13076" y="4524"/>
                  </a:lnTo>
                  <a:lnTo>
                    <a:pt x="13075" y="4596"/>
                  </a:lnTo>
                  <a:lnTo>
                    <a:pt x="13069" y="4669"/>
                  </a:lnTo>
                  <a:lnTo>
                    <a:pt x="13061" y="4741"/>
                  </a:lnTo>
                  <a:lnTo>
                    <a:pt x="13049" y="4812"/>
                  </a:lnTo>
                  <a:lnTo>
                    <a:pt x="13033" y="4884"/>
                  </a:lnTo>
                  <a:lnTo>
                    <a:pt x="13015" y="4954"/>
                  </a:lnTo>
                  <a:lnTo>
                    <a:pt x="12992" y="5024"/>
                  </a:lnTo>
                  <a:lnTo>
                    <a:pt x="12967" y="5092"/>
                  </a:lnTo>
                  <a:lnTo>
                    <a:pt x="12936" y="5159"/>
                  </a:lnTo>
                  <a:lnTo>
                    <a:pt x="12904" y="5226"/>
                  </a:lnTo>
                  <a:lnTo>
                    <a:pt x="12868" y="5291"/>
                  </a:lnTo>
                  <a:lnTo>
                    <a:pt x="12828" y="5354"/>
                  </a:lnTo>
                  <a:lnTo>
                    <a:pt x="12785" y="5417"/>
                  </a:lnTo>
                  <a:lnTo>
                    <a:pt x="12738" y="5476"/>
                  </a:lnTo>
                  <a:lnTo>
                    <a:pt x="12689" y="5534"/>
                  </a:lnTo>
                  <a:lnTo>
                    <a:pt x="12635" y="5591"/>
                  </a:lnTo>
                  <a:lnTo>
                    <a:pt x="5297" y="12838"/>
                  </a:lnTo>
                  <a:lnTo>
                    <a:pt x="5203" y="12927"/>
                  </a:lnTo>
                  <a:lnTo>
                    <a:pt x="5106" y="13011"/>
                  </a:lnTo>
                  <a:lnTo>
                    <a:pt x="5006" y="13088"/>
                  </a:lnTo>
                  <a:lnTo>
                    <a:pt x="4902" y="13160"/>
                  </a:lnTo>
                  <a:lnTo>
                    <a:pt x="4796" y="13226"/>
                  </a:lnTo>
                  <a:lnTo>
                    <a:pt x="4688" y="13286"/>
                  </a:lnTo>
                  <a:lnTo>
                    <a:pt x="4577" y="13341"/>
                  </a:lnTo>
                  <a:lnTo>
                    <a:pt x="4465" y="13390"/>
                  </a:lnTo>
                  <a:lnTo>
                    <a:pt x="4351" y="13433"/>
                  </a:lnTo>
                  <a:lnTo>
                    <a:pt x="4235" y="13470"/>
                  </a:lnTo>
                  <a:lnTo>
                    <a:pt x="4117" y="13502"/>
                  </a:lnTo>
                  <a:lnTo>
                    <a:pt x="3999" y="13528"/>
                  </a:lnTo>
                  <a:lnTo>
                    <a:pt x="3880" y="13549"/>
                  </a:lnTo>
                  <a:lnTo>
                    <a:pt x="3760" y="13563"/>
                  </a:lnTo>
                  <a:lnTo>
                    <a:pt x="3639" y="13571"/>
                  </a:lnTo>
                  <a:lnTo>
                    <a:pt x="3519" y="13574"/>
                  </a:lnTo>
                  <a:lnTo>
                    <a:pt x="3398" y="13571"/>
                  </a:lnTo>
                  <a:lnTo>
                    <a:pt x="3277" y="13563"/>
                  </a:lnTo>
                  <a:lnTo>
                    <a:pt x="3158" y="13549"/>
                  </a:lnTo>
                  <a:lnTo>
                    <a:pt x="3039" y="13528"/>
                  </a:lnTo>
                  <a:lnTo>
                    <a:pt x="2920" y="13502"/>
                  </a:lnTo>
                  <a:lnTo>
                    <a:pt x="2803" y="13470"/>
                  </a:lnTo>
                  <a:lnTo>
                    <a:pt x="2687" y="13433"/>
                  </a:lnTo>
                  <a:lnTo>
                    <a:pt x="2572" y="13390"/>
                  </a:lnTo>
                  <a:lnTo>
                    <a:pt x="2460" y="13341"/>
                  </a:lnTo>
                  <a:lnTo>
                    <a:pt x="2350" y="13286"/>
                  </a:lnTo>
                  <a:lnTo>
                    <a:pt x="2241" y="13226"/>
                  </a:lnTo>
                  <a:lnTo>
                    <a:pt x="2136" y="13160"/>
                  </a:lnTo>
                  <a:lnTo>
                    <a:pt x="2032" y="13088"/>
                  </a:lnTo>
                  <a:lnTo>
                    <a:pt x="1931" y="13011"/>
                  </a:lnTo>
                  <a:lnTo>
                    <a:pt x="1835" y="12927"/>
                  </a:lnTo>
                  <a:lnTo>
                    <a:pt x="1740" y="12838"/>
                  </a:lnTo>
                  <a:lnTo>
                    <a:pt x="1652" y="12744"/>
                  </a:lnTo>
                  <a:lnTo>
                    <a:pt x="1568" y="12647"/>
                  </a:lnTo>
                  <a:lnTo>
                    <a:pt x="1491" y="12546"/>
                  </a:lnTo>
                  <a:lnTo>
                    <a:pt x="1418" y="12444"/>
                  </a:lnTo>
                  <a:lnTo>
                    <a:pt x="1352" y="12338"/>
                  </a:lnTo>
                  <a:lnTo>
                    <a:pt x="1292" y="12230"/>
                  </a:lnTo>
                  <a:lnTo>
                    <a:pt x="1237" y="12119"/>
                  </a:lnTo>
                  <a:lnTo>
                    <a:pt x="1188" y="12006"/>
                  </a:lnTo>
                  <a:lnTo>
                    <a:pt x="1145" y="11892"/>
                  </a:lnTo>
                  <a:lnTo>
                    <a:pt x="1108" y="11776"/>
                  </a:lnTo>
                  <a:lnTo>
                    <a:pt x="1076" y="11660"/>
                  </a:lnTo>
                  <a:lnTo>
                    <a:pt x="1050" y="11541"/>
                  </a:lnTo>
                  <a:lnTo>
                    <a:pt x="1030" y="11421"/>
                  </a:lnTo>
                  <a:lnTo>
                    <a:pt x="1016" y="11302"/>
                  </a:lnTo>
                  <a:lnTo>
                    <a:pt x="1007" y="11181"/>
                  </a:lnTo>
                  <a:lnTo>
                    <a:pt x="1004" y="11060"/>
                  </a:lnTo>
                  <a:lnTo>
                    <a:pt x="1007" y="10940"/>
                  </a:lnTo>
                  <a:lnTo>
                    <a:pt x="1016" y="10820"/>
                  </a:lnTo>
                  <a:lnTo>
                    <a:pt x="1030" y="10701"/>
                  </a:lnTo>
                  <a:lnTo>
                    <a:pt x="1050" y="10581"/>
                  </a:lnTo>
                  <a:lnTo>
                    <a:pt x="1076" y="10462"/>
                  </a:lnTo>
                  <a:lnTo>
                    <a:pt x="1108" y="10346"/>
                  </a:lnTo>
                  <a:lnTo>
                    <a:pt x="1145" y="10229"/>
                  </a:lnTo>
                  <a:lnTo>
                    <a:pt x="1188" y="10115"/>
                  </a:lnTo>
                  <a:lnTo>
                    <a:pt x="1237" y="10003"/>
                  </a:lnTo>
                  <a:lnTo>
                    <a:pt x="1292" y="9892"/>
                  </a:lnTo>
                  <a:lnTo>
                    <a:pt x="1352" y="9784"/>
                  </a:lnTo>
                  <a:lnTo>
                    <a:pt x="1418" y="9678"/>
                  </a:lnTo>
                  <a:lnTo>
                    <a:pt x="1491" y="9575"/>
                  </a:lnTo>
                  <a:lnTo>
                    <a:pt x="1568" y="9475"/>
                  </a:lnTo>
                  <a:lnTo>
                    <a:pt x="1652" y="9378"/>
                  </a:lnTo>
                  <a:lnTo>
                    <a:pt x="1740" y="9284"/>
                  </a:lnTo>
                  <a:lnTo>
                    <a:pt x="9007" y="2108"/>
                  </a:lnTo>
                  <a:lnTo>
                    <a:pt x="9139" y="1982"/>
                  </a:lnTo>
                  <a:lnTo>
                    <a:pt x="9275" y="1866"/>
                  </a:lnTo>
                  <a:lnTo>
                    <a:pt x="9415" y="1757"/>
                  </a:lnTo>
                  <a:lnTo>
                    <a:pt x="9559" y="1657"/>
                  </a:lnTo>
                  <a:lnTo>
                    <a:pt x="9707" y="1564"/>
                  </a:lnTo>
                  <a:lnTo>
                    <a:pt x="9859" y="1480"/>
                  </a:lnTo>
                  <a:lnTo>
                    <a:pt x="10014" y="1402"/>
                  </a:lnTo>
                  <a:lnTo>
                    <a:pt x="10172" y="1334"/>
                  </a:lnTo>
                  <a:lnTo>
                    <a:pt x="10332" y="1274"/>
                  </a:lnTo>
                  <a:lnTo>
                    <a:pt x="10495" y="1221"/>
                  </a:lnTo>
                  <a:lnTo>
                    <a:pt x="10659" y="1177"/>
                  </a:lnTo>
                  <a:lnTo>
                    <a:pt x="10825" y="1141"/>
                  </a:lnTo>
                  <a:lnTo>
                    <a:pt x="10992" y="1113"/>
                  </a:lnTo>
                  <a:lnTo>
                    <a:pt x="11160" y="1093"/>
                  </a:lnTo>
                  <a:lnTo>
                    <a:pt x="11328" y="1081"/>
                  </a:lnTo>
                  <a:lnTo>
                    <a:pt x="11497" y="1077"/>
                  </a:lnTo>
                  <a:lnTo>
                    <a:pt x="11666" y="1081"/>
                  </a:lnTo>
                  <a:lnTo>
                    <a:pt x="11835" y="1093"/>
                  </a:lnTo>
                  <a:lnTo>
                    <a:pt x="12003" y="1113"/>
                  </a:lnTo>
                  <a:lnTo>
                    <a:pt x="12170" y="1141"/>
                  </a:lnTo>
                  <a:lnTo>
                    <a:pt x="12335" y="1177"/>
                  </a:lnTo>
                  <a:lnTo>
                    <a:pt x="12500" y="1221"/>
                  </a:lnTo>
                  <a:lnTo>
                    <a:pt x="12662" y="1274"/>
                  </a:lnTo>
                  <a:lnTo>
                    <a:pt x="12822" y="1334"/>
                  </a:lnTo>
                  <a:lnTo>
                    <a:pt x="12980" y="1402"/>
                  </a:lnTo>
                  <a:lnTo>
                    <a:pt x="13135" y="1480"/>
                  </a:lnTo>
                  <a:lnTo>
                    <a:pt x="13285" y="1564"/>
                  </a:lnTo>
                  <a:lnTo>
                    <a:pt x="13433" y="1657"/>
                  </a:lnTo>
                  <a:lnTo>
                    <a:pt x="13578" y="1757"/>
                  </a:lnTo>
                  <a:lnTo>
                    <a:pt x="13718" y="1866"/>
                  </a:lnTo>
                  <a:lnTo>
                    <a:pt x="13855" y="1982"/>
                  </a:lnTo>
                  <a:lnTo>
                    <a:pt x="13986" y="2108"/>
                  </a:lnTo>
                  <a:lnTo>
                    <a:pt x="14110" y="2239"/>
                  </a:lnTo>
                  <a:lnTo>
                    <a:pt x="14228" y="2376"/>
                  </a:lnTo>
                  <a:lnTo>
                    <a:pt x="14337" y="2515"/>
                  </a:lnTo>
                  <a:lnTo>
                    <a:pt x="14437" y="2660"/>
                  </a:lnTo>
                  <a:lnTo>
                    <a:pt x="14530" y="2808"/>
                  </a:lnTo>
                  <a:lnTo>
                    <a:pt x="14614" y="2960"/>
                  </a:lnTo>
                  <a:lnTo>
                    <a:pt x="14692" y="3114"/>
                  </a:lnTo>
                  <a:lnTo>
                    <a:pt x="14760" y="3272"/>
                  </a:lnTo>
                  <a:lnTo>
                    <a:pt x="14820" y="3432"/>
                  </a:lnTo>
                  <a:lnTo>
                    <a:pt x="14873" y="3594"/>
                  </a:lnTo>
                  <a:lnTo>
                    <a:pt x="14917" y="3758"/>
                  </a:lnTo>
                  <a:lnTo>
                    <a:pt x="14953" y="3924"/>
                  </a:lnTo>
                  <a:lnTo>
                    <a:pt x="14981" y="4091"/>
                  </a:lnTo>
                  <a:lnTo>
                    <a:pt x="15002" y="4258"/>
                  </a:lnTo>
                  <a:lnTo>
                    <a:pt x="15014" y="4427"/>
                  </a:lnTo>
                  <a:lnTo>
                    <a:pt x="15018" y="4596"/>
                  </a:lnTo>
                  <a:lnTo>
                    <a:pt x="15014" y="4765"/>
                  </a:lnTo>
                  <a:lnTo>
                    <a:pt x="15002" y="4933"/>
                  </a:lnTo>
                  <a:lnTo>
                    <a:pt x="14981" y="5101"/>
                  </a:lnTo>
                  <a:lnTo>
                    <a:pt x="14953" y="5268"/>
                  </a:lnTo>
                  <a:lnTo>
                    <a:pt x="14917" y="5434"/>
                  </a:lnTo>
                  <a:lnTo>
                    <a:pt x="14873" y="5598"/>
                  </a:lnTo>
                  <a:lnTo>
                    <a:pt x="14820" y="5759"/>
                  </a:lnTo>
                  <a:lnTo>
                    <a:pt x="14760" y="5919"/>
                  </a:lnTo>
                  <a:lnTo>
                    <a:pt x="14692" y="6077"/>
                  </a:lnTo>
                  <a:lnTo>
                    <a:pt x="14615" y="6232"/>
                  </a:lnTo>
                  <a:lnTo>
                    <a:pt x="14531" y="6384"/>
                  </a:lnTo>
                  <a:lnTo>
                    <a:pt x="14438" y="6531"/>
                  </a:lnTo>
                  <a:lnTo>
                    <a:pt x="14338" y="6676"/>
                  </a:lnTo>
                  <a:lnTo>
                    <a:pt x="14228" y="6816"/>
                  </a:lnTo>
                  <a:lnTo>
                    <a:pt x="14111" y="6953"/>
                  </a:lnTo>
                  <a:lnTo>
                    <a:pt x="13987" y="7083"/>
                  </a:lnTo>
                  <a:lnTo>
                    <a:pt x="8541" y="12525"/>
                  </a:lnTo>
                  <a:lnTo>
                    <a:pt x="8523" y="12544"/>
                  </a:lnTo>
                  <a:lnTo>
                    <a:pt x="8507" y="12563"/>
                  </a:lnTo>
                  <a:lnTo>
                    <a:pt x="8491" y="12583"/>
                  </a:lnTo>
                  <a:lnTo>
                    <a:pt x="8477" y="12605"/>
                  </a:lnTo>
                  <a:lnTo>
                    <a:pt x="8464" y="12626"/>
                  </a:lnTo>
                  <a:lnTo>
                    <a:pt x="8451" y="12648"/>
                  </a:lnTo>
                  <a:lnTo>
                    <a:pt x="8441" y="12670"/>
                  </a:lnTo>
                  <a:lnTo>
                    <a:pt x="8431" y="12692"/>
                  </a:lnTo>
                  <a:lnTo>
                    <a:pt x="8422" y="12715"/>
                  </a:lnTo>
                  <a:lnTo>
                    <a:pt x="8415" y="12738"/>
                  </a:lnTo>
                  <a:lnTo>
                    <a:pt x="8408" y="12761"/>
                  </a:lnTo>
                  <a:lnTo>
                    <a:pt x="8403" y="12786"/>
                  </a:lnTo>
                  <a:lnTo>
                    <a:pt x="8399" y="12810"/>
                  </a:lnTo>
                  <a:lnTo>
                    <a:pt x="8396" y="12833"/>
                  </a:lnTo>
                  <a:lnTo>
                    <a:pt x="8395" y="12857"/>
                  </a:lnTo>
                  <a:lnTo>
                    <a:pt x="8394" y="12881"/>
                  </a:lnTo>
                  <a:lnTo>
                    <a:pt x="8395" y="12905"/>
                  </a:lnTo>
                  <a:lnTo>
                    <a:pt x="8396" y="12929"/>
                  </a:lnTo>
                  <a:lnTo>
                    <a:pt x="8399" y="12953"/>
                  </a:lnTo>
                  <a:lnTo>
                    <a:pt x="8403" y="12978"/>
                  </a:lnTo>
                  <a:lnTo>
                    <a:pt x="8408" y="13001"/>
                  </a:lnTo>
                  <a:lnTo>
                    <a:pt x="8415" y="13025"/>
                  </a:lnTo>
                  <a:lnTo>
                    <a:pt x="8422" y="13048"/>
                  </a:lnTo>
                  <a:lnTo>
                    <a:pt x="8431" y="13070"/>
                  </a:lnTo>
                  <a:lnTo>
                    <a:pt x="8441" y="13093"/>
                  </a:lnTo>
                  <a:lnTo>
                    <a:pt x="8451" y="13115"/>
                  </a:lnTo>
                  <a:lnTo>
                    <a:pt x="8464" y="13136"/>
                  </a:lnTo>
                  <a:lnTo>
                    <a:pt x="8477" y="13157"/>
                  </a:lnTo>
                  <a:lnTo>
                    <a:pt x="8491" y="13179"/>
                  </a:lnTo>
                  <a:lnTo>
                    <a:pt x="8507" y="13199"/>
                  </a:lnTo>
                  <a:lnTo>
                    <a:pt x="8523" y="13218"/>
                  </a:lnTo>
                  <a:lnTo>
                    <a:pt x="8541" y="13237"/>
                  </a:lnTo>
                  <a:lnTo>
                    <a:pt x="8561" y="13254"/>
                  </a:lnTo>
                  <a:lnTo>
                    <a:pt x="8580" y="13271"/>
                  </a:lnTo>
                  <a:lnTo>
                    <a:pt x="8600" y="13286"/>
                  </a:lnTo>
                  <a:lnTo>
                    <a:pt x="8621" y="13301"/>
                  </a:lnTo>
                  <a:lnTo>
                    <a:pt x="8642" y="13314"/>
                  </a:lnTo>
                  <a:lnTo>
                    <a:pt x="8663" y="13326"/>
                  </a:lnTo>
                  <a:lnTo>
                    <a:pt x="8685" y="13337"/>
                  </a:lnTo>
                  <a:lnTo>
                    <a:pt x="8708" y="13348"/>
                  </a:lnTo>
                  <a:lnTo>
                    <a:pt x="8731" y="13356"/>
                  </a:lnTo>
                  <a:lnTo>
                    <a:pt x="8754" y="13364"/>
                  </a:lnTo>
                  <a:lnTo>
                    <a:pt x="8778" y="13370"/>
                  </a:lnTo>
                  <a:lnTo>
                    <a:pt x="8801" y="13375"/>
                  </a:lnTo>
                  <a:lnTo>
                    <a:pt x="8825" y="13379"/>
                  </a:lnTo>
                  <a:lnTo>
                    <a:pt x="8849" y="13382"/>
                  </a:lnTo>
                  <a:lnTo>
                    <a:pt x="8873" y="13384"/>
                  </a:lnTo>
                  <a:lnTo>
                    <a:pt x="8898" y="13385"/>
                  </a:lnTo>
                  <a:lnTo>
                    <a:pt x="8922" y="13384"/>
                  </a:lnTo>
                  <a:lnTo>
                    <a:pt x="8946" y="13382"/>
                  </a:lnTo>
                  <a:lnTo>
                    <a:pt x="8969" y="13379"/>
                  </a:lnTo>
                  <a:lnTo>
                    <a:pt x="8993" y="13375"/>
                  </a:lnTo>
                  <a:lnTo>
                    <a:pt x="9017" y="13370"/>
                  </a:lnTo>
                  <a:lnTo>
                    <a:pt x="9040" y="13364"/>
                  </a:lnTo>
                  <a:lnTo>
                    <a:pt x="9063" y="13356"/>
                  </a:lnTo>
                  <a:lnTo>
                    <a:pt x="9087" y="13348"/>
                  </a:lnTo>
                  <a:lnTo>
                    <a:pt x="9109" y="13337"/>
                  </a:lnTo>
                  <a:lnTo>
                    <a:pt x="9131" y="13326"/>
                  </a:lnTo>
                  <a:lnTo>
                    <a:pt x="9153" y="13314"/>
                  </a:lnTo>
                  <a:lnTo>
                    <a:pt x="9174" y="13301"/>
                  </a:lnTo>
                  <a:lnTo>
                    <a:pt x="9194" y="13286"/>
                  </a:lnTo>
                  <a:lnTo>
                    <a:pt x="9214" y="13271"/>
                  </a:lnTo>
                  <a:lnTo>
                    <a:pt x="9234" y="13254"/>
                  </a:lnTo>
                  <a:lnTo>
                    <a:pt x="9253" y="13237"/>
                  </a:lnTo>
                  <a:lnTo>
                    <a:pt x="14768" y="7724"/>
                  </a:lnTo>
                  <a:lnTo>
                    <a:pt x="14929" y="7555"/>
                  </a:lnTo>
                  <a:lnTo>
                    <a:pt x="15080" y="7380"/>
                  </a:lnTo>
                  <a:lnTo>
                    <a:pt x="15220" y="7200"/>
                  </a:lnTo>
                  <a:lnTo>
                    <a:pt x="15349" y="7014"/>
                  </a:lnTo>
                  <a:lnTo>
                    <a:pt x="15468" y="6823"/>
                  </a:lnTo>
                  <a:lnTo>
                    <a:pt x="15577" y="6628"/>
                  </a:lnTo>
                  <a:lnTo>
                    <a:pt x="15676" y="6430"/>
                  </a:lnTo>
                  <a:lnTo>
                    <a:pt x="15763" y="6227"/>
                  </a:lnTo>
                  <a:lnTo>
                    <a:pt x="15842" y="6021"/>
                  </a:lnTo>
                  <a:lnTo>
                    <a:pt x="15909" y="5813"/>
                  </a:lnTo>
                  <a:lnTo>
                    <a:pt x="15965" y="5602"/>
                  </a:lnTo>
                  <a:lnTo>
                    <a:pt x="16013" y="5388"/>
                  </a:lnTo>
                  <a:lnTo>
                    <a:pt x="16049" y="5174"/>
                  </a:lnTo>
                  <a:lnTo>
                    <a:pt x="16074" y="4958"/>
                  </a:lnTo>
                  <a:lnTo>
                    <a:pt x="16090" y="4742"/>
                  </a:lnTo>
                  <a:lnTo>
                    <a:pt x="16095" y="4525"/>
                  </a:lnTo>
                  <a:lnTo>
                    <a:pt x="16090" y="4308"/>
                  </a:lnTo>
                  <a:lnTo>
                    <a:pt x="16074" y="4091"/>
                  </a:lnTo>
                  <a:lnTo>
                    <a:pt x="16049" y="3875"/>
                  </a:lnTo>
                  <a:lnTo>
                    <a:pt x="16013" y="3660"/>
                  </a:lnTo>
                  <a:lnTo>
                    <a:pt x="15965" y="3447"/>
                  </a:lnTo>
                  <a:lnTo>
                    <a:pt x="15909" y="3236"/>
                  </a:lnTo>
                  <a:lnTo>
                    <a:pt x="15842" y="3028"/>
                  </a:lnTo>
                  <a:lnTo>
                    <a:pt x="15763" y="2822"/>
                  </a:lnTo>
                  <a:lnTo>
                    <a:pt x="15676" y="2620"/>
                  </a:lnTo>
                  <a:lnTo>
                    <a:pt x="15577" y="2421"/>
                  </a:lnTo>
                  <a:lnTo>
                    <a:pt x="15468" y="2226"/>
                  </a:lnTo>
                  <a:lnTo>
                    <a:pt x="15349" y="2036"/>
                  </a:lnTo>
                  <a:lnTo>
                    <a:pt x="15220" y="1850"/>
                  </a:lnTo>
                  <a:lnTo>
                    <a:pt x="15080" y="1669"/>
                  </a:lnTo>
                  <a:lnTo>
                    <a:pt x="14929" y="1495"/>
                  </a:lnTo>
                  <a:lnTo>
                    <a:pt x="14768" y="13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3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35" name="iṩlîḓe">
              <a:extLst>
                <a:ext uri="{FF2B5EF4-FFF2-40B4-BE49-F238E27FC236}">
                  <a16:creationId xmlns:a16="http://schemas.microsoft.com/office/drawing/2014/main" id="{D4FCE1E6-EC5D-490E-83D3-C35940F7DA19}"/>
                </a:ext>
              </a:extLst>
            </p:cNvPr>
            <p:cNvSpPr/>
            <p:nvPr/>
          </p:nvSpPr>
          <p:spPr bwMode="auto">
            <a:xfrm>
              <a:off x="5364349" y="3857225"/>
              <a:ext cx="489925" cy="458391"/>
            </a:xfrm>
            <a:custGeom>
              <a:avLst/>
              <a:gdLst>
                <a:gd name="T0" fmla="*/ 15066 w 16095"/>
                <a:gd name="T1" fmla="*/ 11696 h 15059"/>
                <a:gd name="T2" fmla="*/ 14988 w 16095"/>
                <a:gd name="T3" fmla="*/ 11847 h 15059"/>
                <a:gd name="T4" fmla="*/ 14867 w 16095"/>
                <a:gd name="T5" fmla="*/ 11963 h 15059"/>
                <a:gd name="T6" fmla="*/ 14712 w 16095"/>
                <a:gd name="T7" fmla="*/ 12033 h 15059"/>
                <a:gd name="T8" fmla="*/ 6036 w 16095"/>
                <a:gd name="T9" fmla="*/ 12049 h 15059"/>
                <a:gd name="T10" fmla="*/ 1359 w 16095"/>
                <a:gd name="T11" fmla="*/ 12027 h 15059"/>
                <a:gd name="T12" fmla="*/ 1208 w 16095"/>
                <a:gd name="T13" fmla="*/ 11949 h 15059"/>
                <a:gd name="T14" fmla="*/ 1091 w 16095"/>
                <a:gd name="T15" fmla="*/ 11828 h 15059"/>
                <a:gd name="T16" fmla="*/ 1022 w 16095"/>
                <a:gd name="T17" fmla="*/ 11672 h 15059"/>
                <a:gd name="T18" fmla="*/ 1007 w 16095"/>
                <a:gd name="T19" fmla="*/ 1480 h 15059"/>
                <a:gd name="T20" fmla="*/ 1045 w 16095"/>
                <a:gd name="T21" fmla="*/ 1310 h 15059"/>
                <a:gd name="T22" fmla="*/ 1137 w 16095"/>
                <a:gd name="T23" fmla="*/ 1169 h 15059"/>
                <a:gd name="T24" fmla="*/ 1268 w 16095"/>
                <a:gd name="T25" fmla="*/ 1064 h 15059"/>
                <a:gd name="T26" fmla="*/ 1432 w 16095"/>
                <a:gd name="T27" fmla="*/ 1010 h 15059"/>
                <a:gd name="T28" fmla="*/ 14663 w 16095"/>
                <a:gd name="T29" fmla="*/ 1010 h 15059"/>
                <a:gd name="T30" fmla="*/ 14826 w 16095"/>
                <a:gd name="T31" fmla="*/ 1064 h 15059"/>
                <a:gd name="T32" fmla="*/ 14958 w 16095"/>
                <a:gd name="T33" fmla="*/ 1169 h 15059"/>
                <a:gd name="T34" fmla="*/ 15050 w 16095"/>
                <a:gd name="T35" fmla="*/ 1310 h 15059"/>
                <a:gd name="T36" fmla="*/ 15088 w 16095"/>
                <a:gd name="T37" fmla="*/ 1480 h 15059"/>
                <a:gd name="T38" fmla="*/ 1279 w 16095"/>
                <a:gd name="T39" fmla="*/ 17 h 15059"/>
                <a:gd name="T40" fmla="*/ 790 w 16095"/>
                <a:gd name="T41" fmla="*/ 182 h 15059"/>
                <a:gd name="T42" fmla="*/ 391 w 16095"/>
                <a:gd name="T43" fmla="*/ 493 h 15059"/>
                <a:gd name="T44" fmla="*/ 119 w 16095"/>
                <a:gd name="T45" fmla="*/ 920 h 15059"/>
                <a:gd name="T46" fmla="*/ 2 w 16095"/>
                <a:gd name="T47" fmla="*/ 1429 h 15059"/>
                <a:gd name="T48" fmla="*/ 47 w 16095"/>
                <a:gd name="T49" fmla="*/ 11922 h 15059"/>
                <a:gd name="T50" fmla="*/ 257 w 16095"/>
                <a:gd name="T51" fmla="*/ 12387 h 15059"/>
                <a:gd name="T52" fmla="*/ 604 w 16095"/>
                <a:gd name="T53" fmla="*/ 12752 h 15059"/>
                <a:gd name="T54" fmla="*/ 1056 w 16095"/>
                <a:gd name="T55" fmla="*/ 12984 h 15059"/>
                <a:gd name="T56" fmla="*/ 6539 w 16095"/>
                <a:gd name="T57" fmla="*/ 13053 h 15059"/>
                <a:gd name="T58" fmla="*/ 3299 w 16095"/>
                <a:gd name="T59" fmla="*/ 14106 h 15059"/>
                <a:gd name="T60" fmla="*/ 3180 w 16095"/>
                <a:gd name="T61" fmla="*/ 14188 h 15059"/>
                <a:gd name="T62" fmla="*/ 3089 w 16095"/>
                <a:gd name="T63" fmla="*/ 14299 h 15059"/>
                <a:gd name="T64" fmla="*/ 3034 w 16095"/>
                <a:gd name="T65" fmla="*/ 14431 h 15059"/>
                <a:gd name="T66" fmla="*/ 3019 w 16095"/>
                <a:gd name="T67" fmla="*/ 14583 h 15059"/>
                <a:gd name="T68" fmla="*/ 3057 w 16095"/>
                <a:gd name="T69" fmla="*/ 14753 h 15059"/>
                <a:gd name="T70" fmla="*/ 3149 w 16095"/>
                <a:gd name="T71" fmla="*/ 14894 h 15059"/>
                <a:gd name="T72" fmla="*/ 3280 w 16095"/>
                <a:gd name="T73" fmla="*/ 14999 h 15059"/>
                <a:gd name="T74" fmla="*/ 3444 w 16095"/>
                <a:gd name="T75" fmla="*/ 15053 h 15059"/>
                <a:gd name="T76" fmla="*/ 12651 w 16095"/>
                <a:gd name="T77" fmla="*/ 15053 h 15059"/>
                <a:gd name="T78" fmla="*/ 12814 w 16095"/>
                <a:gd name="T79" fmla="*/ 14999 h 15059"/>
                <a:gd name="T80" fmla="*/ 12946 w 16095"/>
                <a:gd name="T81" fmla="*/ 14894 h 15059"/>
                <a:gd name="T82" fmla="*/ 13038 w 16095"/>
                <a:gd name="T83" fmla="*/ 14753 h 15059"/>
                <a:gd name="T84" fmla="*/ 13076 w 16095"/>
                <a:gd name="T85" fmla="*/ 14583 h 15059"/>
                <a:gd name="T86" fmla="*/ 13061 w 16095"/>
                <a:gd name="T87" fmla="*/ 14431 h 15059"/>
                <a:gd name="T88" fmla="*/ 13006 w 16095"/>
                <a:gd name="T89" fmla="*/ 14299 h 15059"/>
                <a:gd name="T90" fmla="*/ 12915 w 16095"/>
                <a:gd name="T91" fmla="*/ 14188 h 15059"/>
                <a:gd name="T92" fmla="*/ 12796 w 16095"/>
                <a:gd name="T93" fmla="*/ 14106 h 15059"/>
                <a:gd name="T94" fmla="*/ 9556 w 16095"/>
                <a:gd name="T95" fmla="*/ 13053 h 15059"/>
                <a:gd name="T96" fmla="*/ 15039 w 16095"/>
                <a:gd name="T97" fmla="*/ 12984 h 15059"/>
                <a:gd name="T98" fmla="*/ 15491 w 16095"/>
                <a:gd name="T99" fmla="*/ 12752 h 15059"/>
                <a:gd name="T100" fmla="*/ 15838 w 16095"/>
                <a:gd name="T101" fmla="*/ 12387 h 15059"/>
                <a:gd name="T102" fmla="*/ 16048 w 16095"/>
                <a:gd name="T103" fmla="*/ 11922 h 15059"/>
                <a:gd name="T104" fmla="*/ 16093 w 16095"/>
                <a:gd name="T105" fmla="*/ 1429 h 15059"/>
                <a:gd name="T106" fmla="*/ 15976 w 16095"/>
                <a:gd name="T107" fmla="*/ 920 h 15059"/>
                <a:gd name="T108" fmla="*/ 15703 w 16095"/>
                <a:gd name="T109" fmla="*/ 493 h 15059"/>
                <a:gd name="T110" fmla="*/ 15305 w 16095"/>
                <a:gd name="T111" fmla="*/ 182 h 15059"/>
                <a:gd name="T112" fmla="*/ 14815 w 16095"/>
                <a:gd name="T113" fmla="*/ 17 h 15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5059">
                  <a:moveTo>
                    <a:pt x="15089" y="11547"/>
                  </a:moveTo>
                  <a:lnTo>
                    <a:pt x="15088" y="11573"/>
                  </a:lnTo>
                  <a:lnTo>
                    <a:pt x="15086" y="11598"/>
                  </a:lnTo>
                  <a:lnTo>
                    <a:pt x="15083" y="11623"/>
                  </a:lnTo>
                  <a:lnTo>
                    <a:pt x="15079" y="11648"/>
                  </a:lnTo>
                  <a:lnTo>
                    <a:pt x="15073" y="11672"/>
                  </a:lnTo>
                  <a:lnTo>
                    <a:pt x="15066" y="11696"/>
                  </a:lnTo>
                  <a:lnTo>
                    <a:pt x="15059" y="11719"/>
                  </a:lnTo>
                  <a:lnTo>
                    <a:pt x="15050" y="11743"/>
                  </a:lnTo>
                  <a:lnTo>
                    <a:pt x="15040" y="11765"/>
                  </a:lnTo>
                  <a:lnTo>
                    <a:pt x="15029" y="11786"/>
                  </a:lnTo>
                  <a:lnTo>
                    <a:pt x="15016" y="11807"/>
                  </a:lnTo>
                  <a:lnTo>
                    <a:pt x="15003" y="11828"/>
                  </a:lnTo>
                  <a:lnTo>
                    <a:pt x="14988" y="11847"/>
                  </a:lnTo>
                  <a:lnTo>
                    <a:pt x="14974" y="11866"/>
                  </a:lnTo>
                  <a:lnTo>
                    <a:pt x="14958" y="11884"/>
                  </a:lnTo>
                  <a:lnTo>
                    <a:pt x="14941" y="11902"/>
                  </a:lnTo>
                  <a:lnTo>
                    <a:pt x="14924" y="11918"/>
                  </a:lnTo>
                  <a:lnTo>
                    <a:pt x="14906" y="11934"/>
                  </a:lnTo>
                  <a:lnTo>
                    <a:pt x="14887" y="11949"/>
                  </a:lnTo>
                  <a:lnTo>
                    <a:pt x="14867" y="11963"/>
                  </a:lnTo>
                  <a:lnTo>
                    <a:pt x="14847" y="11977"/>
                  </a:lnTo>
                  <a:lnTo>
                    <a:pt x="14826" y="11989"/>
                  </a:lnTo>
                  <a:lnTo>
                    <a:pt x="14803" y="12000"/>
                  </a:lnTo>
                  <a:lnTo>
                    <a:pt x="14781" y="12010"/>
                  </a:lnTo>
                  <a:lnTo>
                    <a:pt x="14759" y="12019"/>
                  </a:lnTo>
                  <a:lnTo>
                    <a:pt x="14735" y="12027"/>
                  </a:lnTo>
                  <a:lnTo>
                    <a:pt x="14712" y="12033"/>
                  </a:lnTo>
                  <a:lnTo>
                    <a:pt x="14687" y="12039"/>
                  </a:lnTo>
                  <a:lnTo>
                    <a:pt x="14663" y="12043"/>
                  </a:lnTo>
                  <a:lnTo>
                    <a:pt x="14637" y="12047"/>
                  </a:lnTo>
                  <a:lnTo>
                    <a:pt x="14612" y="12048"/>
                  </a:lnTo>
                  <a:lnTo>
                    <a:pt x="14586" y="12049"/>
                  </a:lnTo>
                  <a:lnTo>
                    <a:pt x="10059" y="12049"/>
                  </a:lnTo>
                  <a:lnTo>
                    <a:pt x="6036" y="12049"/>
                  </a:lnTo>
                  <a:lnTo>
                    <a:pt x="1509" y="12049"/>
                  </a:lnTo>
                  <a:lnTo>
                    <a:pt x="1483" y="12048"/>
                  </a:lnTo>
                  <a:lnTo>
                    <a:pt x="1458" y="12047"/>
                  </a:lnTo>
                  <a:lnTo>
                    <a:pt x="1432" y="12043"/>
                  </a:lnTo>
                  <a:lnTo>
                    <a:pt x="1407" y="12039"/>
                  </a:lnTo>
                  <a:lnTo>
                    <a:pt x="1383" y="12033"/>
                  </a:lnTo>
                  <a:lnTo>
                    <a:pt x="1359" y="12027"/>
                  </a:lnTo>
                  <a:lnTo>
                    <a:pt x="1336" y="12019"/>
                  </a:lnTo>
                  <a:lnTo>
                    <a:pt x="1313" y="12010"/>
                  </a:lnTo>
                  <a:lnTo>
                    <a:pt x="1291" y="12000"/>
                  </a:lnTo>
                  <a:lnTo>
                    <a:pt x="1268" y="11989"/>
                  </a:lnTo>
                  <a:lnTo>
                    <a:pt x="1248" y="11977"/>
                  </a:lnTo>
                  <a:lnTo>
                    <a:pt x="1227" y="11963"/>
                  </a:lnTo>
                  <a:lnTo>
                    <a:pt x="1208" y="11949"/>
                  </a:lnTo>
                  <a:lnTo>
                    <a:pt x="1189" y="11934"/>
                  </a:lnTo>
                  <a:lnTo>
                    <a:pt x="1171" y="11918"/>
                  </a:lnTo>
                  <a:lnTo>
                    <a:pt x="1153" y="11902"/>
                  </a:lnTo>
                  <a:lnTo>
                    <a:pt x="1137" y="11884"/>
                  </a:lnTo>
                  <a:lnTo>
                    <a:pt x="1121" y="11866"/>
                  </a:lnTo>
                  <a:lnTo>
                    <a:pt x="1106" y="11847"/>
                  </a:lnTo>
                  <a:lnTo>
                    <a:pt x="1091" y="11828"/>
                  </a:lnTo>
                  <a:lnTo>
                    <a:pt x="1078" y="11807"/>
                  </a:lnTo>
                  <a:lnTo>
                    <a:pt x="1066" y="11786"/>
                  </a:lnTo>
                  <a:lnTo>
                    <a:pt x="1055" y="11765"/>
                  </a:lnTo>
                  <a:lnTo>
                    <a:pt x="1045" y="11743"/>
                  </a:lnTo>
                  <a:lnTo>
                    <a:pt x="1036" y="11719"/>
                  </a:lnTo>
                  <a:lnTo>
                    <a:pt x="1028" y="11696"/>
                  </a:lnTo>
                  <a:lnTo>
                    <a:pt x="1022" y="11672"/>
                  </a:lnTo>
                  <a:lnTo>
                    <a:pt x="1016" y="11648"/>
                  </a:lnTo>
                  <a:lnTo>
                    <a:pt x="1012" y="11623"/>
                  </a:lnTo>
                  <a:lnTo>
                    <a:pt x="1009" y="11598"/>
                  </a:lnTo>
                  <a:lnTo>
                    <a:pt x="1007" y="11573"/>
                  </a:lnTo>
                  <a:lnTo>
                    <a:pt x="1006" y="11547"/>
                  </a:lnTo>
                  <a:lnTo>
                    <a:pt x="1006" y="1506"/>
                  </a:lnTo>
                  <a:lnTo>
                    <a:pt x="1007" y="1480"/>
                  </a:lnTo>
                  <a:lnTo>
                    <a:pt x="1009" y="1455"/>
                  </a:lnTo>
                  <a:lnTo>
                    <a:pt x="1012" y="1430"/>
                  </a:lnTo>
                  <a:lnTo>
                    <a:pt x="1016" y="1405"/>
                  </a:lnTo>
                  <a:lnTo>
                    <a:pt x="1022" y="1381"/>
                  </a:lnTo>
                  <a:lnTo>
                    <a:pt x="1028" y="1356"/>
                  </a:lnTo>
                  <a:lnTo>
                    <a:pt x="1036" y="1333"/>
                  </a:lnTo>
                  <a:lnTo>
                    <a:pt x="1045" y="1310"/>
                  </a:lnTo>
                  <a:lnTo>
                    <a:pt x="1055" y="1288"/>
                  </a:lnTo>
                  <a:lnTo>
                    <a:pt x="1066" y="1267"/>
                  </a:lnTo>
                  <a:lnTo>
                    <a:pt x="1078" y="1246"/>
                  </a:lnTo>
                  <a:lnTo>
                    <a:pt x="1091" y="1225"/>
                  </a:lnTo>
                  <a:lnTo>
                    <a:pt x="1106" y="1206"/>
                  </a:lnTo>
                  <a:lnTo>
                    <a:pt x="1121" y="1187"/>
                  </a:lnTo>
                  <a:lnTo>
                    <a:pt x="1137" y="1169"/>
                  </a:lnTo>
                  <a:lnTo>
                    <a:pt x="1153" y="1151"/>
                  </a:lnTo>
                  <a:lnTo>
                    <a:pt x="1171" y="1135"/>
                  </a:lnTo>
                  <a:lnTo>
                    <a:pt x="1189" y="1119"/>
                  </a:lnTo>
                  <a:lnTo>
                    <a:pt x="1208" y="1103"/>
                  </a:lnTo>
                  <a:lnTo>
                    <a:pt x="1227" y="1090"/>
                  </a:lnTo>
                  <a:lnTo>
                    <a:pt x="1248" y="1077"/>
                  </a:lnTo>
                  <a:lnTo>
                    <a:pt x="1268" y="1064"/>
                  </a:lnTo>
                  <a:lnTo>
                    <a:pt x="1291" y="1053"/>
                  </a:lnTo>
                  <a:lnTo>
                    <a:pt x="1313" y="1043"/>
                  </a:lnTo>
                  <a:lnTo>
                    <a:pt x="1336" y="1034"/>
                  </a:lnTo>
                  <a:lnTo>
                    <a:pt x="1359" y="1027"/>
                  </a:lnTo>
                  <a:lnTo>
                    <a:pt x="1383" y="1020"/>
                  </a:lnTo>
                  <a:lnTo>
                    <a:pt x="1407" y="1014"/>
                  </a:lnTo>
                  <a:lnTo>
                    <a:pt x="1432" y="1010"/>
                  </a:lnTo>
                  <a:lnTo>
                    <a:pt x="1458" y="1007"/>
                  </a:lnTo>
                  <a:lnTo>
                    <a:pt x="1483" y="1005"/>
                  </a:lnTo>
                  <a:lnTo>
                    <a:pt x="1509" y="1004"/>
                  </a:lnTo>
                  <a:lnTo>
                    <a:pt x="14586" y="1004"/>
                  </a:lnTo>
                  <a:lnTo>
                    <a:pt x="14612" y="1005"/>
                  </a:lnTo>
                  <a:lnTo>
                    <a:pt x="14637" y="1007"/>
                  </a:lnTo>
                  <a:lnTo>
                    <a:pt x="14663" y="1010"/>
                  </a:lnTo>
                  <a:lnTo>
                    <a:pt x="14687" y="1014"/>
                  </a:lnTo>
                  <a:lnTo>
                    <a:pt x="14712" y="1020"/>
                  </a:lnTo>
                  <a:lnTo>
                    <a:pt x="14735" y="1027"/>
                  </a:lnTo>
                  <a:lnTo>
                    <a:pt x="14759" y="1034"/>
                  </a:lnTo>
                  <a:lnTo>
                    <a:pt x="14781" y="1043"/>
                  </a:lnTo>
                  <a:lnTo>
                    <a:pt x="14803" y="1053"/>
                  </a:lnTo>
                  <a:lnTo>
                    <a:pt x="14826" y="1064"/>
                  </a:lnTo>
                  <a:lnTo>
                    <a:pt x="14847" y="1077"/>
                  </a:lnTo>
                  <a:lnTo>
                    <a:pt x="14867" y="1090"/>
                  </a:lnTo>
                  <a:lnTo>
                    <a:pt x="14887" y="1103"/>
                  </a:lnTo>
                  <a:lnTo>
                    <a:pt x="14906" y="1119"/>
                  </a:lnTo>
                  <a:lnTo>
                    <a:pt x="14924" y="1135"/>
                  </a:lnTo>
                  <a:lnTo>
                    <a:pt x="14941" y="1151"/>
                  </a:lnTo>
                  <a:lnTo>
                    <a:pt x="14958" y="1169"/>
                  </a:lnTo>
                  <a:lnTo>
                    <a:pt x="14974" y="1187"/>
                  </a:lnTo>
                  <a:lnTo>
                    <a:pt x="14988" y="1206"/>
                  </a:lnTo>
                  <a:lnTo>
                    <a:pt x="15003" y="1225"/>
                  </a:lnTo>
                  <a:lnTo>
                    <a:pt x="15016" y="1246"/>
                  </a:lnTo>
                  <a:lnTo>
                    <a:pt x="15029" y="1267"/>
                  </a:lnTo>
                  <a:lnTo>
                    <a:pt x="15040" y="1288"/>
                  </a:lnTo>
                  <a:lnTo>
                    <a:pt x="15050" y="1310"/>
                  </a:lnTo>
                  <a:lnTo>
                    <a:pt x="15059" y="1333"/>
                  </a:lnTo>
                  <a:lnTo>
                    <a:pt x="15066" y="1356"/>
                  </a:lnTo>
                  <a:lnTo>
                    <a:pt x="15073" y="1381"/>
                  </a:lnTo>
                  <a:lnTo>
                    <a:pt x="15079" y="1405"/>
                  </a:lnTo>
                  <a:lnTo>
                    <a:pt x="15083" y="1430"/>
                  </a:lnTo>
                  <a:lnTo>
                    <a:pt x="15086" y="1455"/>
                  </a:lnTo>
                  <a:lnTo>
                    <a:pt x="15088" y="1480"/>
                  </a:lnTo>
                  <a:lnTo>
                    <a:pt x="15089" y="1506"/>
                  </a:lnTo>
                  <a:lnTo>
                    <a:pt x="15089" y="11547"/>
                  </a:lnTo>
                  <a:close/>
                  <a:moveTo>
                    <a:pt x="14586" y="0"/>
                  </a:moveTo>
                  <a:lnTo>
                    <a:pt x="1509" y="0"/>
                  </a:lnTo>
                  <a:lnTo>
                    <a:pt x="1431" y="2"/>
                  </a:lnTo>
                  <a:lnTo>
                    <a:pt x="1354" y="8"/>
                  </a:lnTo>
                  <a:lnTo>
                    <a:pt x="1279" y="17"/>
                  </a:lnTo>
                  <a:lnTo>
                    <a:pt x="1204" y="30"/>
                  </a:lnTo>
                  <a:lnTo>
                    <a:pt x="1132" y="47"/>
                  </a:lnTo>
                  <a:lnTo>
                    <a:pt x="1060" y="67"/>
                  </a:lnTo>
                  <a:lnTo>
                    <a:pt x="990" y="91"/>
                  </a:lnTo>
                  <a:lnTo>
                    <a:pt x="921" y="118"/>
                  </a:lnTo>
                  <a:lnTo>
                    <a:pt x="854" y="149"/>
                  </a:lnTo>
                  <a:lnTo>
                    <a:pt x="790" y="182"/>
                  </a:lnTo>
                  <a:lnTo>
                    <a:pt x="726" y="218"/>
                  </a:lnTo>
                  <a:lnTo>
                    <a:pt x="665" y="257"/>
                  </a:lnTo>
                  <a:lnTo>
                    <a:pt x="606" y="299"/>
                  </a:lnTo>
                  <a:lnTo>
                    <a:pt x="549" y="344"/>
                  </a:lnTo>
                  <a:lnTo>
                    <a:pt x="494" y="392"/>
                  </a:lnTo>
                  <a:lnTo>
                    <a:pt x="442" y="441"/>
                  </a:lnTo>
                  <a:lnTo>
                    <a:pt x="391" y="493"/>
                  </a:lnTo>
                  <a:lnTo>
                    <a:pt x="344" y="548"/>
                  </a:lnTo>
                  <a:lnTo>
                    <a:pt x="300" y="605"/>
                  </a:lnTo>
                  <a:lnTo>
                    <a:pt x="258" y="664"/>
                  </a:lnTo>
                  <a:lnTo>
                    <a:pt x="218" y="725"/>
                  </a:lnTo>
                  <a:lnTo>
                    <a:pt x="182" y="788"/>
                  </a:lnTo>
                  <a:lnTo>
                    <a:pt x="149" y="853"/>
                  </a:lnTo>
                  <a:lnTo>
                    <a:pt x="119" y="920"/>
                  </a:lnTo>
                  <a:lnTo>
                    <a:pt x="92" y="988"/>
                  </a:lnTo>
                  <a:lnTo>
                    <a:pt x="67" y="1058"/>
                  </a:lnTo>
                  <a:lnTo>
                    <a:pt x="47" y="1130"/>
                  </a:lnTo>
                  <a:lnTo>
                    <a:pt x="30" y="1203"/>
                  </a:lnTo>
                  <a:lnTo>
                    <a:pt x="17" y="1277"/>
                  </a:lnTo>
                  <a:lnTo>
                    <a:pt x="8" y="1352"/>
                  </a:lnTo>
                  <a:lnTo>
                    <a:pt x="2" y="1429"/>
                  </a:lnTo>
                  <a:lnTo>
                    <a:pt x="0" y="1506"/>
                  </a:lnTo>
                  <a:lnTo>
                    <a:pt x="0" y="11547"/>
                  </a:lnTo>
                  <a:lnTo>
                    <a:pt x="2" y="11624"/>
                  </a:lnTo>
                  <a:lnTo>
                    <a:pt x="8" y="11700"/>
                  </a:lnTo>
                  <a:lnTo>
                    <a:pt x="17" y="11776"/>
                  </a:lnTo>
                  <a:lnTo>
                    <a:pt x="30" y="11850"/>
                  </a:lnTo>
                  <a:lnTo>
                    <a:pt x="47" y="11922"/>
                  </a:lnTo>
                  <a:lnTo>
                    <a:pt x="67" y="11994"/>
                  </a:lnTo>
                  <a:lnTo>
                    <a:pt x="92" y="12064"/>
                  </a:lnTo>
                  <a:lnTo>
                    <a:pt x="118" y="12132"/>
                  </a:lnTo>
                  <a:lnTo>
                    <a:pt x="148" y="12198"/>
                  </a:lnTo>
                  <a:lnTo>
                    <a:pt x="181" y="12264"/>
                  </a:lnTo>
                  <a:lnTo>
                    <a:pt x="217" y="12326"/>
                  </a:lnTo>
                  <a:lnTo>
                    <a:pt x="257" y="12387"/>
                  </a:lnTo>
                  <a:lnTo>
                    <a:pt x="299" y="12446"/>
                  </a:lnTo>
                  <a:lnTo>
                    <a:pt x="343" y="12504"/>
                  </a:lnTo>
                  <a:lnTo>
                    <a:pt x="390" y="12558"/>
                  </a:lnTo>
                  <a:lnTo>
                    <a:pt x="441" y="12610"/>
                  </a:lnTo>
                  <a:lnTo>
                    <a:pt x="493" y="12660"/>
                  </a:lnTo>
                  <a:lnTo>
                    <a:pt x="547" y="12707"/>
                  </a:lnTo>
                  <a:lnTo>
                    <a:pt x="604" y="12752"/>
                  </a:lnTo>
                  <a:lnTo>
                    <a:pt x="663" y="12794"/>
                  </a:lnTo>
                  <a:lnTo>
                    <a:pt x="724" y="12833"/>
                  </a:lnTo>
                  <a:lnTo>
                    <a:pt x="787" y="12869"/>
                  </a:lnTo>
                  <a:lnTo>
                    <a:pt x="852" y="12902"/>
                  </a:lnTo>
                  <a:lnTo>
                    <a:pt x="918" y="12933"/>
                  </a:lnTo>
                  <a:lnTo>
                    <a:pt x="987" y="12959"/>
                  </a:lnTo>
                  <a:lnTo>
                    <a:pt x="1056" y="12984"/>
                  </a:lnTo>
                  <a:lnTo>
                    <a:pt x="1128" y="13004"/>
                  </a:lnTo>
                  <a:lnTo>
                    <a:pt x="1201" y="13021"/>
                  </a:lnTo>
                  <a:lnTo>
                    <a:pt x="1275" y="13035"/>
                  </a:lnTo>
                  <a:lnTo>
                    <a:pt x="1350" y="13044"/>
                  </a:lnTo>
                  <a:lnTo>
                    <a:pt x="1426" y="13050"/>
                  </a:lnTo>
                  <a:lnTo>
                    <a:pt x="1504" y="13053"/>
                  </a:lnTo>
                  <a:lnTo>
                    <a:pt x="6539" y="13053"/>
                  </a:lnTo>
                  <a:lnTo>
                    <a:pt x="6539" y="13663"/>
                  </a:lnTo>
                  <a:lnTo>
                    <a:pt x="3399" y="14070"/>
                  </a:lnTo>
                  <a:lnTo>
                    <a:pt x="3378" y="14076"/>
                  </a:lnTo>
                  <a:lnTo>
                    <a:pt x="3358" y="14082"/>
                  </a:lnTo>
                  <a:lnTo>
                    <a:pt x="3338" y="14090"/>
                  </a:lnTo>
                  <a:lnTo>
                    <a:pt x="3319" y="14098"/>
                  </a:lnTo>
                  <a:lnTo>
                    <a:pt x="3299" y="14106"/>
                  </a:lnTo>
                  <a:lnTo>
                    <a:pt x="3280" y="14116"/>
                  </a:lnTo>
                  <a:lnTo>
                    <a:pt x="3262" y="14126"/>
                  </a:lnTo>
                  <a:lnTo>
                    <a:pt x="3245" y="14137"/>
                  </a:lnTo>
                  <a:lnTo>
                    <a:pt x="3228" y="14149"/>
                  </a:lnTo>
                  <a:lnTo>
                    <a:pt x="3211" y="14161"/>
                  </a:lnTo>
                  <a:lnTo>
                    <a:pt x="3196" y="14174"/>
                  </a:lnTo>
                  <a:lnTo>
                    <a:pt x="3180" y="14188"/>
                  </a:lnTo>
                  <a:lnTo>
                    <a:pt x="3166" y="14203"/>
                  </a:lnTo>
                  <a:lnTo>
                    <a:pt x="3151" y="14217"/>
                  </a:lnTo>
                  <a:lnTo>
                    <a:pt x="3138" y="14233"/>
                  </a:lnTo>
                  <a:lnTo>
                    <a:pt x="3124" y="14249"/>
                  </a:lnTo>
                  <a:lnTo>
                    <a:pt x="3112" y="14265"/>
                  </a:lnTo>
                  <a:lnTo>
                    <a:pt x="3100" y="14282"/>
                  </a:lnTo>
                  <a:lnTo>
                    <a:pt x="3089" y="14299"/>
                  </a:lnTo>
                  <a:lnTo>
                    <a:pt x="3079" y="14316"/>
                  </a:lnTo>
                  <a:lnTo>
                    <a:pt x="3070" y="14335"/>
                  </a:lnTo>
                  <a:lnTo>
                    <a:pt x="3061" y="14353"/>
                  </a:lnTo>
                  <a:lnTo>
                    <a:pt x="3053" y="14372"/>
                  </a:lnTo>
                  <a:lnTo>
                    <a:pt x="3046" y="14391"/>
                  </a:lnTo>
                  <a:lnTo>
                    <a:pt x="3039" y="14411"/>
                  </a:lnTo>
                  <a:lnTo>
                    <a:pt x="3034" y="14431"/>
                  </a:lnTo>
                  <a:lnTo>
                    <a:pt x="3029" y="14452"/>
                  </a:lnTo>
                  <a:lnTo>
                    <a:pt x="3025" y="14473"/>
                  </a:lnTo>
                  <a:lnTo>
                    <a:pt x="3022" y="14493"/>
                  </a:lnTo>
                  <a:lnTo>
                    <a:pt x="3020" y="14514"/>
                  </a:lnTo>
                  <a:lnTo>
                    <a:pt x="3018" y="14536"/>
                  </a:lnTo>
                  <a:lnTo>
                    <a:pt x="3018" y="14557"/>
                  </a:lnTo>
                  <a:lnTo>
                    <a:pt x="3019" y="14583"/>
                  </a:lnTo>
                  <a:lnTo>
                    <a:pt x="3020" y="14608"/>
                  </a:lnTo>
                  <a:lnTo>
                    <a:pt x="3024" y="14633"/>
                  </a:lnTo>
                  <a:lnTo>
                    <a:pt x="3028" y="14658"/>
                  </a:lnTo>
                  <a:lnTo>
                    <a:pt x="3034" y="14682"/>
                  </a:lnTo>
                  <a:lnTo>
                    <a:pt x="3040" y="14707"/>
                  </a:lnTo>
                  <a:lnTo>
                    <a:pt x="3048" y="14730"/>
                  </a:lnTo>
                  <a:lnTo>
                    <a:pt x="3057" y="14753"/>
                  </a:lnTo>
                  <a:lnTo>
                    <a:pt x="3067" y="14775"/>
                  </a:lnTo>
                  <a:lnTo>
                    <a:pt x="3078" y="14797"/>
                  </a:lnTo>
                  <a:lnTo>
                    <a:pt x="3090" y="14818"/>
                  </a:lnTo>
                  <a:lnTo>
                    <a:pt x="3103" y="14838"/>
                  </a:lnTo>
                  <a:lnTo>
                    <a:pt x="3117" y="14857"/>
                  </a:lnTo>
                  <a:lnTo>
                    <a:pt x="3132" y="14876"/>
                  </a:lnTo>
                  <a:lnTo>
                    <a:pt x="3149" y="14894"/>
                  </a:lnTo>
                  <a:lnTo>
                    <a:pt x="3165" y="14912"/>
                  </a:lnTo>
                  <a:lnTo>
                    <a:pt x="3183" y="14928"/>
                  </a:lnTo>
                  <a:lnTo>
                    <a:pt x="3201" y="14945"/>
                  </a:lnTo>
                  <a:lnTo>
                    <a:pt x="3220" y="14960"/>
                  </a:lnTo>
                  <a:lnTo>
                    <a:pt x="3239" y="14974"/>
                  </a:lnTo>
                  <a:lnTo>
                    <a:pt x="3260" y="14987"/>
                  </a:lnTo>
                  <a:lnTo>
                    <a:pt x="3280" y="14999"/>
                  </a:lnTo>
                  <a:lnTo>
                    <a:pt x="3302" y="15010"/>
                  </a:lnTo>
                  <a:lnTo>
                    <a:pt x="3325" y="15020"/>
                  </a:lnTo>
                  <a:lnTo>
                    <a:pt x="3348" y="15029"/>
                  </a:lnTo>
                  <a:lnTo>
                    <a:pt x="3371" y="15037"/>
                  </a:lnTo>
                  <a:lnTo>
                    <a:pt x="3395" y="15043"/>
                  </a:lnTo>
                  <a:lnTo>
                    <a:pt x="3419" y="15049"/>
                  </a:lnTo>
                  <a:lnTo>
                    <a:pt x="3444" y="15053"/>
                  </a:lnTo>
                  <a:lnTo>
                    <a:pt x="3469" y="15056"/>
                  </a:lnTo>
                  <a:lnTo>
                    <a:pt x="3495" y="15058"/>
                  </a:lnTo>
                  <a:lnTo>
                    <a:pt x="3521" y="15059"/>
                  </a:lnTo>
                  <a:lnTo>
                    <a:pt x="12574" y="15059"/>
                  </a:lnTo>
                  <a:lnTo>
                    <a:pt x="12600" y="15058"/>
                  </a:lnTo>
                  <a:lnTo>
                    <a:pt x="12626" y="15056"/>
                  </a:lnTo>
                  <a:lnTo>
                    <a:pt x="12651" y="15053"/>
                  </a:lnTo>
                  <a:lnTo>
                    <a:pt x="12676" y="15049"/>
                  </a:lnTo>
                  <a:lnTo>
                    <a:pt x="12700" y="15043"/>
                  </a:lnTo>
                  <a:lnTo>
                    <a:pt x="12724" y="15037"/>
                  </a:lnTo>
                  <a:lnTo>
                    <a:pt x="12747" y="15029"/>
                  </a:lnTo>
                  <a:lnTo>
                    <a:pt x="12770" y="15020"/>
                  </a:lnTo>
                  <a:lnTo>
                    <a:pt x="12793" y="15010"/>
                  </a:lnTo>
                  <a:lnTo>
                    <a:pt x="12814" y="14999"/>
                  </a:lnTo>
                  <a:lnTo>
                    <a:pt x="12835" y="14987"/>
                  </a:lnTo>
                  <a:lnTo>
                    <a:pt x="12856" y="14974"/>
                  </a:lnTo>
                  <a:lnTo>
                    <a:pt x="12875" y="14960"/>
                  </a:lnTo>
                  <a:lnTo>
                    <a:pt x="12894" y="14945"/>
                  </a:lnTo>
                  <a:lnTo>
                    <a:pt x="12912" y="14928"/>
                  </a:lnTo>
                  <a:lnTo>
                    <a:pt x="12930" y="14912"/>
                  </a:lnTo>
                  <a:lnTo>
                    <a:pt x="12946" y="14894"/>
                  </a:lnTo>
                  <a:lnTo>
                    <a:pt x="12963" y="14876"/>
                  </a:lnTo>
                  <a:lnTo>
                    <a:pt x="12978" y="14857"/>
                  </a:lnTo>
                  <a:lnTo>
                    <a:pt x="12992" y="14838"/>
                  </a:lnTo>
                  <a:lnTo>
                    <a:pt x="13005" y="14818"/>
                  </a:lnTo>
                  <a:lnTo>
                    <a:pt x="13017" y="14797"/>
                  </a:lnTo>
                  <a:lnTo>
                    <a:pt x="13028" y="14775"/>
                  </a:lnTo>
                  <a:lnTo>
                    <a:pt x="13038" y="14753"/>
                  </a:lnTo>
                  <a:lnTo>
                    <a:pt x="13047" y="14730"/>
                  </a:lnTo>
                  <a:lnTo>
                    <a:pt x="13055" y="14707"/>
                  </a:lnTo>
                  <a:lnTo>
                    <a:pt x="13061" y="14682"/>
                  </a:lnTo>
                  <a:lnTo>
                    <a:pt x="13067" y="14658"/>
                  </a:lnTo>
                  <a:lnTo>
                    <a:pt x="13071" y="14633"/>
                  </a:lnTo>
                  <a:lnTo>
                    <a:pt x="13074" y="14608"/>
                  </a:lnTo>
                  <a:lnTo>
                    <a:pt x="13076" y="14583"/>
                  </a:lnTo>
                  <a:lnTo>
                    <a:pt x="13077" y="14557"/>
                  </a:lnTo>
                  <a:lnTo>
                    <a:pt x="13077" y="14536"/>
                  </a:lnTo>
                  <a:lnTo>
                    <a:pt x="13075" y="14514"/>
                  </a:lnTo>
                  <a:lnTo>
                    <a:pt x="13073" y="14493"/>
                  </a:lnTo>
                  <a:lnTo>
                    <a:pt x="13070" y="14473"/>
                  </a:lnTo>
                  <a:lnTo>
                    <a:pt x="13066" y="14452"/>
                  </a:lnTo>
                  <a:lnTo>
                    <a:pt x="13061" y="14431"/>
                  </a:lnTo>
                  <a:lnTo>
                    <a:pt x="13056" y="14411"/>
                  </a:lnTo>
                  <a:lnTo>
                    <a:pt x="13049" y="14391"/>
                  </a:lnTo>
                  <a:lnTo>
                    <a:pt x="13042" y="14372"/>
                  </a:lnTo>
                  <a:lnTo>
                    <a:pt x="13034" y="14353"/>
                  </a:lnTo>
                  <a:lnTo>
                    <a:pt x="13025" y="14335"/>
                  </a:lnTo>
                  <a:lnTo>
                    <a:pt x="13016" y="14316"/>
                  </a:lnTo>
                  <a:lnTo>
                    <a:pt x="13006" y="14299"/>
                  </a:lnTo>
                  <a:lnTo>
                    <a:pt x="12995" y="14282"/>
                  </a:lnTo>
                  <a:lnTo>
                    <a:pt x="12983" y="14265"/>
                  </a:lnTo>
                  <a:lnTo>
                    <a:pt x="12971" y="14249"/>
                  </a:lnTo>
                  <a:lnTo>
                    <a:pt x="12957" y="14233"/>
                  </a:lnTo>
                  <a:lnTo>
                    <a:pt x="12944" y="14217"/>
                  </a:lnTo>
                  <a:lnTo>
                    <a:pt x="12930" y="14203"/>
                  </a:lnTo>
                  <a:lnTo>
                    <a:pt x="12915" y="14188"/>
                  </a:lnTo>
                  <a:lnTo>
                    <a:pt x="12900" y="14174"/>
                  </a:lnTo>
                  <a:lnTo>
                    <a:pt x="12884" y="14161"/>
                  </a:lnTo>
                  <a:lnTo>
                    <a:pt x="12867" y="14149"/>
                  </a:lnTo>
                  <a:lnTo>
                    <a:pt x="12850" y="14137"/>
                  </a:lnTo>
                  <a:lnTo>
                    <a:pt x="12833" y="14126"/>
                  </a:lnTo>
                  <a:lnTo>
                    <a:pt x="12815" y="14116"/>
                  </a:lnTo>
                  <a:lnTo>
                    <a:pt x="12796" y="14106"/>
                  </a:lnTo>
                  <a:lnTo>
                    <a:pt x="12776" y="14098"/>
                  </a:lnTo>
                  <a:lnTo>
                    <a:pt x="12757" y="14090"/>
                  </a:lnTo>
                  <a:lnTo>
                    <a:pt x="12737" y="14082"/>
                  </a:lnTo>
                  <a:lnTo>
                    <a:pt x="12717" y="14076"/>
                  </a:lnTo>
                  <a:lnTo>
                    <a:pt x="12696" y="14070"/>
                  </a:lnTo>
                  <a:lnTo>
                    <a:pt x="9556" y="13663"/>
                  </a:lnTo>
                  <a:lnTo>
                    <a:pt x="9556" y="13053"/>
                  </a:lnTo>
                  <a:lnTo>
                    <a:pt x="14591" y="13053"/>
                  </a:lnTo>
                  <a:lnTo>
                    <a:pt x="14669" y="13050"/>
                  </a:lnTo>
                  <a:lnTo>
                    <a:pt x="14745" y="13044"/>
                  </a:lnTo>
                  <a:lnTo>
                    <a:pt x="14820" y="13035"/>
                  </a:lnTo>
                  <a:lnTo>
                    <a:pt x="14894" y="13021"/>
                  </a:lnTo>
                  <a:lnTo>
                    <a:pt x="14967" y="13004"/>
                  </a:lnTo>
                  <a:lnTo>
                    <a:pt x="15039" y="12984"/>
                  </a:lnTo>
                  <a:lnTo>
                    <a:pt x="15108" y="12959"/>
                  </a:lnTo>
                  <a:lnTo>
                    <a:pt x="15177" y="12933"/>
                  </a:lnTo>
                  <a:lnTo>
                    <a:pt x="15243" y="12902"/>
                  </a:lnTo>
                  <a:lnTo>
                    <a:pt x="15308" y="12869"/>
                  </a:lnTo>
                  <a:lnTo>
                    <a:pt x="15371" y="12833"/>
                  </a:lnTo>
                  <a:lnTo>
                    <a:pt x="15432" y="12794"/>
                  </a:lnTo>
                  <a:lnTo>
                    <a:pt x="15491" y="12752"/>
                  </a:lnTo>
                  <a:lnTo>
                    <a:pt x="15548" y="12707"/>
                  </a:lnTo>
                  <a:lnTo>
                    <a:pt x="15602" y="12660"/>
                  </a:lnTo>
                  <a:lnTo>
                    <a:pt x="15654" y="12610"/>
                  </a:lnTo>
                  <a:lnTo>
                    <a:pt x="15705" y="12558"/>
                  </a:lnTo>
                  <a:lnTo>
                    <a:pt x="15752" y="12504"/>
                  </a:lnTo>
                  <a:lnTo>
                    <a:pt x="15796" y="12446"/>
                  </a:lnTo>
                  <a:lnTo>
                    <a:pt x="15838" y="12387"/>
                  </a:lnTo>
                  <a:lnTo>
                    <a:pt x="15878" y="12326"/>
                  </a:lnTo>
                  <a:lnTo>
                    <a:pt x="15914" y="12264"/>
                  </a:lnTo>
                  <a:lnTo>
                    <a:pt x="15947" y="12198"/>
                  </a:lnTo>
                  <a:lnTo>
                    <a:pt x="15977" y="12132"/>
                  </a:lnTo>
                  <a:lnTo>
                    <a:pt x="16003" y="12064"/>
                  </a:lnTo>
                  <a:lnTo>
                    <a:pt x="16028" y="11994"/>
                  </a:lnTo>
                  <a:lnTo>
                    <a:pt x="16048" y="11922"/>
                  </a:lnTo>
                  <a:lnTo>
                    <a:pt x="16065" y="11850"/>
                  </a:lnTo>
                  <a:lnTo>
                    <a:pt x="16078" y="11776"/>
                  </a:lnTo>
                  <a:lnTo>
                    <a:pt x="16087" y="11700"/>
                  </a:lnTo>
                  <a:lnTo>
                    <a:pt x="16093" y="11624"/>
                  </a:lnTo>
                  <a:lnTo>
                    <a:pt x="16095" y="11547"/>
                  </a:lnTo>
                  <a:lnTo>
                    <a:pt x="16095" y="1506"/>
                  </a:lnTo>
                  <a:lnTo>
                    <a:pt x="16093" y="1429"/>
                  </a:lnTo>
                  <a:lnTo>
                    <a:pt x="16087" y="1352"/>
                  </a:lnTo>
                  <a:lnTo>
                    <a:pt x="16078" y="1277"/>
                  </a:lnTo>
                  <a:lnTo>
                    <a:pt x="16064" y="1203"/>
                  </a:lnTo>
                  <a:lnTo>
                    <a:pt x="16048" y="1130"/>
                  </a:lnTo>
                  <a:lnTo>
                    <a:pt x="16028" y="1058"/>
                  </a:lnTo>
                  <a:lnTo>
                    <a:pt x="16003" y="988"/>
                  </a:lnTo>
                  <a:lnTo>
                    <a:pt x="15976" y="920"/>
                  </a:lnTo>
                  <a:lnTo>
                    <a:pt x="15946" y="853"/>
                  </a:lnTo>
                  <a:lnTo>
                    <a:pt x="15913" y="788"/>
                  </a:lnTo>
                  <a:lnTo>
                    <a:pt x="15877" y="725"/>
                  </a:lnTo>
                  <a:lnTo>
                    <a:pt x="15837" y="664"/>
                  </a:lnTo>
                  <a:lnTo>
                    <a:pt x="15795" y="605"/>
                  </a:lnTo>
                  <a:lnTo>
                    <a:pt x="15750" y="548"/>
                  </a:lnTo>
                  <a:lnTo>
                    <a:pt x="15703" y="493"/>
                  </a:lnTo>
                  <a:lnTo>
                    <a:pt x="15652" y="441"/>
                  </a:lnTo>
                  <a:lnTo>
                    <a:pt x="15600" y="392"/>
                  </a:lnTo>
                  <a:lnTo>
                    <a:pt x="15546" y="344"/>
                  </a:lnTo>
                  <a:lnTo>
                    <a:pt x="15488" y="299"/>
                  </a:lnTo>
                  <a:lnTo>
                    <a:pt x="15429" y="257"/>
                  </a:lnTo>
                  <a:lnTo>
                    <a:pt x="15369" y="218"/>
                  </a:lnTo>
                  <a:lnTo>
                    <a:pt x="15305" y="182"/>
                  </a:lnTo>
                  <a:lnTo>
                    <a:pt x="15240" y="149"/>
                  </a:lnTo>
                  <a:lnTo>
                    <a:pt x="15174" y="118"/>
                  </a:lnTo>
                  <a:lnTo>
                    <a:pt x="15105" y="91"/>
                  </a:lnTo>
                  <a:lnTo>
                    <a:pt x="15035" y="67"/>
                  </a:lnTo>
                  <a:lnTo>
                    <a:pt x="14963" y="47"/>
                  </a:lnTo>
                  <a:lnTo>
                    <a:pt x="14890" y="30"/>
                  </a:lnTo>
                  <a:lnTo>
                    <a:pt x="14815" y="17"/>
                  </a:lnTo>
                  <a:lnTo>
                    <a:pt x="14740" y="8"/>
                  </a:lnTo>
                  <a:lnTo>
                    <a:pt x="14664" y="2"/>
                  </a:lnTo>
                  <a:lnTo>
                    <a:pt x="145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36" name="ïşľïḋe">
              <a:extLst>
                <a:ext uri="{FF2B5EF4-FFF2-40B4-BE49-F238E27FC236}">
                  <a16:creationId xmlns:a16="http://schemas.microsoft.com/office/drawing/2014/main" id="{9C63394D-E055-4F7A-95E8-5A8D3ECBA566}"/>
                </a:ext>
              </a:extLst>
            </p:cNvPr>
            <p:cNvSpPr/>
            <p:nvPr/>
          </p:nvSpPr>
          <p:spPr bwMode="auto">
            <a:xfrm>
              <a:off x="5216180" y="4449191"/>
              <a:ext cx="402604" cy="401680"/>
            </a:xfrm>
            <a:custGeom>
              <a:avLst/>
              <a:gdLst>
                <a:gd name="T0" fmla="*/ 15050 w 16095"/>
                <a:gd name="T1" fmla="*/ 7221 h 16058"/>
                <a:gd name="T2" fmla="*/ 14924 w 16095"/>
                <a:gd name="T3" fmla="*/ 7397 h 16058"/>
                <a:gd name="T4" fmla="*/ 14736 w 16095"/>
                <a:gd name="T5" fmla="*/ 7505 h 16058"/>
                <a:gd name="T6" fmla="*/ 13077 w 16095"/>
                <a:gd name="T7" fmla="*/ 4015 h 16058"/>
                <a:gd name="T8" fmla="*/ 13328 w 16095"/>
                <a:gd name="T9" fmla="*/ 4081 h 16058"/>
                <a:gd name="T10" fmla="*/ 15001 w 16095"/>
                <a:gd name="T11" fmla="*/ 6239 h 16058"/>
                <a:gd name="T12" fmla="*/ 15074 w 16095"/>
                <a:gd name="T13" fmla="*/ 6403 h 16058"/>
                <a:gd name="T14" fmla="*/ 10562 w 16095"/>
                <a:gd name="T15" fmla="*/ 15054 h 16058"/>
                <a:gd name="T16" fmla="*/ 10523 w 16095"/>
                <a:gd name="T17" fmla="*/ 9841 h 16058"/>
                <a:gd name="T18" fmla="*/ 10397 w 16095"/>
                <a:gd name="T19" fmla="*/ 9665 h 16058"/>
                <a:gd name="T20" fmla="*/ 10209 w 16095"/>
                <a:gd name="T21" fmla="*/ 9557 h 16058"/>
                <a:gd name="T22" fmla="*/ 6236 w 16095"/>
                <a:gd name="T23" fmla="*/ 9537 h 16058"/>
                <a:gd name="T24" fmla="*/ 6027 w 16095"/>
                <a:gd name="T25" fmla="*/ 9607 h 16058"/>
                <a:gd name="T26" fmla="*/ 5870 w 16095"/>
                <a:gd name="T27" fmla="*/ 9755 h 16058"/>
                <a:gd name="T28" fmla="*/ 5790 w 16095"/>
                <a:gd name="T29" fmla="*/ 9960 h 16058"/>
                <a:gd name="T30" fmla="*/ 10059 w 16095"/>
                <a:gd name="T31" fmla="*/ 15054 h 16058"/>
                <a:gd name="T32" fmla="*/ 1010 w 16095"/>
                <a:gd name="T33" fmla="*/ 6462 h 16058"/>
                <a:gd name="T34" fmla="*/ 1063 w 16095"/>
                <a:gd name="T35" fmla="*/ 6291 h 16058"/>
                <a:gd name="T36" fmla="*/ 2696 w 16095"/>
                <a:gd name="T37" fmla="*/ 4131 h 16058"/>
                <a:gd name="T38" fmla="*/ 2930 w 16095"/>
                <a:gd name="T39" fmla="*/ 4023 h 16058"/>
                <a:gd name="T40" fmla="*/ 1432 w 16095"/>
                <a:gd name="T41" fmla="*/ 7521 h 16058"/>
                <a:gd name="T42" fmla="*/ 1227 w 16095"/>
                <a:gd name="T43" fmla="*/ 7442 h 16058"/>
                <a:gd name="T44" fmla="*/ 1078 w 16095"/>
                <a:gd name="T45" fmla="*/ 7285 h 16058"/>
                <a:gd name="T46" fmla="*/ 1009 w 16095"/>
                <a:gd name="T47" fmla="*/ 7077 h 16058"/>
                <a:gd name="T48" fmla="*/ 9439 w 16095"/>
                <a:gd name="T49" fmla="*/ 4015 h 16058"/>
                <a:gd name="T50" fmla="*/ 5127 w 16095"/>
                <a:gd name="T51" fmla="*/ 7527 h 16058"/>
                <a:gd name="T52" fmla="*/ 13077 w 16095"/>
                <a:gd name="T53" fmla="*/ 1004 h 16058"/>
                <a:gd name="T54" fmla="*/ 14110 w 16095"/>
                <a:gd name="T55" fmla="*/ 3426 h 16058"/>
                <a:gd name="T56" fmla="*/ 14022 w 16095"/>
                <a:gd name="T57" fmla="*/ 658 h 16058"/>
                <a:gd name="T58" fmla="*/ 13788 w 16095"/>
                <a:gd name="T59" fmla="*/ 294 h 16058"/>
                <a:gd name="T60" fmla="*/ 13423 w 16095"/>
                <a:gd name="T61" fmla="*/ 61 h 16058"/>
                <a:gd name="T62" fmla="*/ 2967 w 16095"/>
                <a:gd name="T63" fmla="*/ 1 h 16058"/>
                <a:gd name="T64" fmla="*/ 2538 w 16095"/>
                <a:gd name="T65" fmla="*/ 121 h 16058"/>
                <a:gd name="T66" fmla="*/ 2212 w 16095"/>
                <a:gd name="T67" fmla="*/ 403 h 16058"/>
                <a:gd name="T68" fmla="*/ 2032 w 16095"/>
                <a:gd name="T69" fmla="*/ 802 h 16058"/>
                <a:gd name="T70" fmla="*/ 1906 w 16095"/>
                <a:gd name="T71" fmla="*/ 3503 h 16058"/>
                <a:gd name="T72" fmla="*/ 233 w 16095"/>
                <a:gd name="T73" fmla="*/ 5720 h 16058"/>
                <a:gd name="T74" fmla="*/ 110 w 16095"/>
                <a:gd name="T75" fmla="*/ 5962 h 16058"/>
                <a:gd name="T76" fmla="*/ 31 w 16095"/>
                <a:gd name="T77" fmla="*/ 6222 h 16058"/>
                <a:gd name="T78" fmla="*/ 0 w 16095"/>
                <a:gd name="T79" fmla="*/ 6493 h 16058"/>
                <a:gd name="T80" fmla="*/ 92 w 16095"/>
                <a:gd name="T81" fmla="*/ 7542 h 16058"/>
                <a:gd name="T82" fmla="*/ 443 w 16095"/>
                <a:gd name="T83" fmla="*/ 8089 h 16058"/>
                <a:gd name="T84" fmla="*/ 991 w 16095"/>
                <a:gd name="T85" fmla="*/ 8439 h 16058"/>
                <a:gd name="T86" fmla="*/ 1510 w 16095"/>
                <a:gd name="T87" fmla="*/ 15106 h 16058"/>
                <a:gd name="T88" fmla="*/ 1631 w 16095"/>
                <a:gd name="T89" fmla="*/ 15533 h 16058"/>
                <a:gd name="T90" fmla="*/ 1913 w 16095"/>
                <a:gd name="T91" fmla="*/ 15858 h 16058"/>
                <a:gd name="T92" fmla="*/ 2312 w 16095"/>
                <a:gd name="T93" fmla="*/ 16038 h 16058"/>
                <a:gd name="T94" fmla="*/ 13782 w 16095"/>
                <a:gd name="T95" fmla="*/ 16038 h 16058"/>
                <a:gd name="T96" fmla="*/ 14182 w 16095"/>
                <a:gd name="T97" fmla="*/ 15858 h 16058"/>
                <a:gd name="T98" fmla="*/ 14464 w 16095"/>
                <a:gd name="T99" fmla="*/ 15533 h 16058"/>
                <a:gd name="T100" fmla="*/ 14585 w 16095"/>
                <a:gd name="T101" fmla="*/ 15106 h 16058"/>
                <a:gd name="T102" fmla="*/ 15104 w 16095"/>
                <a:gd name="T103" fmla="*/ 8439 h 16058"/>
                <a:gd name="T104" fmla="*/ 15652 w 16095"/>
                <a:gd name="T105" fmla="*/ 8089 h 16058"/>
                <a:gd name="T106" fmla="*/ 16003 w 16095"/>
                <a:gd name="T107" fmla="*/ 7542 h 16058"/>
                <a:gd name="T108" fmla="*/ 16095 w 16095"/>
                <a:gd name="T109" fmla="*/ 6493 h 16058"/>
                <a:gd name="T110" fmla="*/ 16064 w 16095"/>
                <a:gd name="T111" fmla="*/ 6222 h 16058"/>
                <a:gd name="T112" fmla="*/ 15985 w 16095"/>
                <a:gd name="T113" fmla="*/ 5963 h 16058"/>
                <a:gd name="T114" fmla="*/ 15862 w 16095"/>
                <a:gd name="T115" fmla="*/ 5720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095" h="16058">
                  <a:moveTo>
                    <a:pt x="15089" y="7025"/>
                  </a:moveTo>
                  <a:lnTo>
                    <a:pt x="15088" y="7051"/>
                  </a:lnTo>
                  <a:lnTo>
                    <a:pt x="15086" y="7077"/>
                  </a:lnTo>
                  <a:lnTo>
                    <a:pt x="15083" y="7102"/>
                  </a:lnTo>
                  <a:lnTo>
                    <a:pt x="15079" y="7127"/>
                  </a:lnTo>
                  <a:lnTo>
                    <a:pt x="15073" y="7151"/>
                  </a:lnTo>
                  <a:lnTo>
                    <a:pt x="15066" y="7175"/>
                  </a:lnTo>
                  <a:lnTo>
                    <a:pt x="15059" y="7198"/>
                  </a:lnTo>
                  <a:lnTo>
                    <a:pt x="15050" y="7221"/>
                  </a:lnTo>
                  <a:lnTo>
                    <a:pt x="15040" y="7243"/>
                  </a:lnTo>
                  <a:lnTo>
                    <a:pt x="15029" y="7264"/>
                  </a:lnTo>
                  <a:lnTo>
                    <a:pt x="15017" y="7285"/>
                  </a:lnTo>
                  <a:lnTo>
                    <a:pt x="15004" y="7306"/>
                  </a:lnTo>
                  <a:lnTo>
                    <a:pt x="14989" y="7325"/>
                  </a:lnTo>
                  <a:lnTo>
                    <a:pt x="14974" y="7345"/>
                  </a:lnTo>
                  <a:lnTo>
                    <a:pt x="14958" y="7363"/>
                  </a:lnTo>
                  <a:lnTo>
                    <a:pt x="14942" y="7381"/>
                  </a:lnTo>
                  <a:lnTo>
                    <a:pt x="14924" y="7397"/>
                  </a:lnTo>
                  <a:lnTo>
                    <a:pt x="14906" y="7413"/>
                  </a:lnTo>
                  <a:lnTo>
                    <a:pt x="14887" y="7428"/>
                  </a:lnTo>
                  <a:lnTo>
                    <a:pt x="14867" y="7442"/>
                  </a:lnTo>
                  <a:lnTo>
                    <a:pt x="14847" y="7455"/>
                  </a:lnTo>
                  <a:lnTo>
                    <a:pt x="14826" y="7467"/>
                  </a:lnTo>
                  <a:lnTo>
                    <a:pt x="14804" y="7478"/>
                  </a:lnTo>
                  <a:lnTo>
                    <a:pt x="14782" y="7488"/>
                  </a:lnTo>
                  <a:lnTo>
                    <a:pt x="14759" y="7497"/>
                  </a:lnTo>
                  <a:lnTo>
                    <a:pt x="14736" y="7505"/>
                  </a:lnTo>
                  <a:lnTo>
                    <a:pt x="14712" y="7511"/>
                  </a:lnTo>
                  <a:lnTo>
                    <a:pt x="14688" y="7517"/>
                  </a:lnTo>
                  <a:lnTo>
                    <a:pt x="14663" y="7521"/>
                  </a:lnTo>
                  <a:lnTo>
                    <a:pt x="14637" y="7524"/>
                  </a:lnTo>
                  <a:lnTo>
                    <a:pt x="14612" y="7526"/>
                  </a:lnTo>
                  <a:lnTo>
                    <a:pt x="14586" y="7527"/>
                  </a:lnTo>
                  <a:lnTo>
                    <a:pt x="13654" y="7527"/>
                  </a:lnTo>
                  <a:lnTo>
                    <a:pt x="11642" y="4015"/>
                  </a:lnTo>
                  <a:lnTo>
                    <a:pt x="13077" y="4015"/>
                  </a:lnTo>
                  <a:lnTo>
                    <a:pt x="13106" y="4016"/>
                  </a:lnTo>
                  <a:lnTo>
                    <a:pt x="13137" y="4018"/>
                  </a:lnTo>
                  <a:lnTo>
                    <a:pt x="13165" y="4023"/>
                  </a:lnTo>
                  <a:lnTo>
                    <a:pt x="13194" y="4029"/>
                  </a:lnTo>
                  <a:lnTo>
                    <a:pt x="13222" y="4036"/>
                  </a:lnTo>
                  <a:lnTo>
                    <a:pt x="13249" y="4045"/>
                  </a:lnTo>
                  <a:lnTo>
                    <a:pt x="13276" y="4056"/>
                  </a:lnTo>
                  <a:lnTo>
                    <a:pt x="13303" y="4068"/>
                  </a:lnTo>
                  <a:lnTo>
                    <a:pt x="13328" y="4081"/>
                  </a:lnTo>
                  <a:lnTo>
                    <a:pt x="13352" y="4096"/>
                  </a:lnTo>
                  <a:lnTo>
                    <a:pt x="13376" y="4113"/>
                  </a:lnTo>
                  <a:lnTo>
                    <a:pt x="13399" y="4131"/>
                  </a:lnTo>
                  <a:lnTo>
                    <a:pt x="13420" y="4150"/>
                  </a:lnTo>
                  <a:lnTo>
                    <a:pt x="13441" y="4170"/>
                  </a:lnTo>
                  <a:lnTo>
                    <a:pt x="13461" y="4192"/>
                  </a:lnTo>
                  <a:lnTo>
                    <a:pt x="13480" y="4215"/>
                  </a:lnTo>
                  <a:lnTo>
                    <a:pt x="14988" y="6222"/>
                  </a:lnTo>
                  <a:lnTo>
                    <a:pt x="15001" y="6239"/>
                  </a:lnTo>
                  <a:lnTo>
                    <a:pt x="15012" y="6256"/>
                  </a:lnTo>
                  <a:lnTo>
                    <a:pt x="15022" y="6274"/>
                  </a:lnTo>
                  <a:lnTo>
                    <a:pt x="15032" y="6291"/>
                  </a:lnTo>
                  <a:lnTo>
                    <a:pt x="15041" y="6309"/>
                  </a:lnTo>
                  <a:lnTo>
                    <a:pt x="15049" y="6327"/>
                  </a:lnTo>
                  <a:lnTo>
                    <a:pt x="15057" y="6346"/>
                  </a:lnTo>
                  <a:lnTo>
                    <a:pt x="15063" y="6365"/>
                  </a:lnTo>
                  <a:lnTo>
                    <a:pt x="15069" y="6384"/>
                  </a:lnTo>
                  <a:lnTo>
                    <a:pt x="15074" y="6403"/>
                  </a:lnTo>
                  <a:lnTo>
                    <a:pt x="15079" y="6423"/>
                  </a:lnTo>
                  <a:lnTo>
                    <a:pt x="15082" y="6443"/>
                  </a:lnTo>
                  <a:lnTo>
                    <a:pt x="15085" y="6462"/>
                  </a:lnTo>
                  <a:lnTo>
                    <a:pt x="15087" y="6483"/>
                  </a:lnTo>
                  <a:lnTo>
                    <a:pt x="15089" y="6503"/>
                  </a:lnTo>
                  <a:lnTo>
                    <a:pt x="15089" y="6524"/>
                  </a:lnTo>
                  <a:lnTo>
                    <a:pt x="15089" y="7025"/>
                  </a:lnTo>
                  <a:close/>
                  <a:moveTo>
                    <a:pt x="13580" y="15054"/>
                  </a:moveTo>
                  <a:lnTo>
                    <a:pt x="10562" y="15054"/>
                  </a:lnTo>
                  <a:lnTo>
                    <a:pt x="10562" y="10036"/>
                  </a:lnTo>
                  <a:lnTo>
                    <a:pt x="10561" y="10010"/>
                  </a:lnTo>
                  <a:lnTo>
                    <a:pt x="10559" y="9985"/>
                  </a:lnTo>
                  <a:lnTo>
                    <a:pt x="10556" y="9960"/>
                  </a:lnTo>
                  <a:lnTo>
                    <a:pt x="10552" y="9935"/>
                  </a:lnTo>
                  <a:lnTo>
                    <a:pt x="10546" y="9911"/>
                  </a:lnTo>
                  <a:lnTo>
                    <a:pt x="10539" y="9887"/>
                  </a:lnTo>
                  <a:lnTo>
                    <a:pt x="10532" y="9864"/>
                  </a:lnTo>
                  <a:lnTo>
                    <a:pt x="10523" y="9841"/>
                  </a:lnTo>
                  <a:lnTo>
                    <a:pt x="10513" y="9818"/>
                  </a:lnTo>
                  <a:lnTo>
                    <a:pt x="10502" y="9797"/>
                  </a:lnTo>
                  <a:lnTo>
                    <a:pt x="10490" y="9776"/>
                  </a:lnTo>
                  <a:lnTo>
                    <a:pt x="10477" y="9755"/>
                  </a:lnTo>
                  <a:lnTo>
                    <a:pt x="10463" y="9736"/>
                  </a:lnTo>
                  <a:lnTo>
                    <a:pt x="10448" y="9717"/>
                  </a:lnTo>
                  <a:lnTo>
                    <a:pt x="10432" y="9699"/>
                  </a:lnTo>
                  <a:lnTo>
                    <a:pt x="10415" y="9681"/>
                  </a:lnTo>
                  <a:lnTo>
                    <a:pt x="10397" y="9665"/>
                  </a:lnTo>
                  <a:lnTo>
                    <a:pt x="10379" y="9649"/>
                  </a:lnTo>
                  <a:lnTo>
                    <a:pt x="10360" y="9634"/>
                  </a:lnTo>
                  <a:lnTo>
                    <a:pt x="10340" y="9620"/>
                  </a:lnTo>
                  <a:lnTo>
                    <a:pt x="10320" y="9607"/>
                  </a:lnTo>
                  <a:lnTo>
                    <a:pt x="10299" y="9595"/>
                  </a:lnTo>
                  <a:lnTo>
                    <a:pt x="10278" y="9584"/>
                  </a:lnTo>
                  <a:lnTo>
                    <a:pt x="10256" y="9574"/>
                  </a:lnTo>
                  <a:lnTo>
                    <a:pt x="10232" y="9565"/>
                  </a:lnTo>
                  <a:lnTo>
                    <a:pt x="10209" y="9557"/>
                  </a:lnTo>
                  <a:lnTo>
                    <a:pt x="10185" y="9550"/>
                  </a:lnTo>
                  <a:lnTo>
                    <a:pt x="10161" y="9544"/>
                  </a:lnTo>
                  <a:lnTo>
                    <a:pt x="10136" y="9540"/>
                  </a:lnTo>
                  <a:lnTo>
                    <a:pt x="10111" y="9537"/>
                  </a:lnTo>
                  <a:lnTo>
                    <a:pt x="10086" y="9535"/>
                  </a:lnTo>
                  <a:lnTo>
                    <a:pt x="10059" y="9534"/>
                  </a:lnTo>
                  <a:lnTo>
                    <a:pt x="6287" y="9534"/>
                  </a:lnTo>
                  <a:lnTo>
                    <a:pt x="6261" y="9535"/>
                  </a:lnTo>
                  <a:lnTo>
                    <a:pt x="6236" y="9537"/>
                  </a:lnTo>
                  <a:lnTo>
                    <a:pt x="6211" y="9540"/>
                  </a:lnTo>
                  <a:lnTo>
                    <a:pt x="6186" y="9544"/>
                  </a:lnTo>
                  <a:lnTo>
                    <a:pt x="6161" y="9550"/>
                  </a:lnTo>
                  <a:lnTo>
                    <a:pt x="6137" y="9557"/>
                  </a:lnTo>
                  <a:lnTo>
                    <a:pt x="6114" y="9565"/>
                  </a:lnTo>
                  <a:lnTo>
                    <a:pt x="6091" y="9574"/>
                  </a:lnTo>
                  <a:lnTo>
                    <a:pt x="6069" y="9584"/>
                  </a:lnTo>
                  <a:lnTo>
                    <a:pt x="6048" y="9595"/>
                  </a:lnTo>
                  <a:lnTo>
                    <a:pt x="6027" y="9607"/>
                  </a:lnTo>
                  <a:lnTo>
                    <a:pt x="6005" y="9620"/>
                  </a:lnTo>
                  <a:lnTo>
                    <a:pt x="5986" y="9634"/>
                  </a:lnTo>
                  <a:lnTo>
                    <a:pt x="5967" y="9649"/>
                  </a:lnTo>
                  <a:lnTo>
                    <a:pt x="5949" y="9665"/>
                  </a:lnTo>
                  <a:lnTo>
                    <a:pt x="5931" y="9681"/>
                  </a:lnTo>
                  <a:lnTo>
                    <a:pt x="5915" y="9699"/>
                  </a:lnTo>
                  <a:lnTo>
                    <a:pt x="5899" y="9717"/>
                  </a:lnTo>
                  <a:lnTo>
                    <a:pt x="5884" y="9736"/>
                  </a:lnTo>
                  <a:lnTo>
                    <a:pt x="5870" y="9755"/>
                  </a:lnTo>
                  <a:lnTo>
                    <a:pt x="5857" y="9776"/>
                  </a:lnTo>
                  <a:lnTo>
                    <a:pt x="5844" y="9797"/>
                  </a:lnTo>
                  <a:lnTo>
                    <a:pt x="5833" y="9818"/>
                  </a:lnTo>
                  <a:lnTo>
                    <a:pt x="5823" y="9841"/>
                  </a:lnTo>
                  <a:lnTo>
                    <a:pt x="5814" y="9864"/>
                  </a:lnTo>
                  <a:lnTo>
                    <a:pt x="5806" y="9887"/>
                  </a:lnTo>
                  <a:lnTo>
                    <a:pt x="5800" y="9911"/>
                  </a:lnTo>
                  <a:lnTo>
                    <a:pt x="5794" y="9935"/>
                  </a:lnTo>
                  <a:lnTo>
                    <a:pt x="5790" y="9960"/>
                  </a:lnTo>
                  <a:lnTo>
                    <a:pt x="5787" y="9985"/>
                  </a:lnTo>
                  <a:lnTo>
                    <a:pt x="5785" y="10010"/>
                  </a:lnTo>
                  <a:lnTo>
                    <a:pt x="5784" y="10036"/>
                  </a:lnTo>
                  <a:lnTo>
                    <a:pt x="5784" y="15054"/>
                  </a:lnTo>
                  <a:lnTo>
                    <a:pt x="2515" y="15054"/>
                  </a:lnTo>
                  <a:lnTo>
                    <a:pt x="2515" y="8531"/>
                  </a:lnTo>
                  <a:lnTo>
                    <a:pt x="13580" y="8531"/>
                  </a:lnTo>
                  <a:lnTo>
                    <a:pt x="13580" y="15054"/>
                  </a:lnTo>
                  <a:close/>
                  <a:moveTo>
                    <a:pt x="10059" y="15054"/>
                  </a:moveTo>
                  <a:lnTo>
                    <a:pt x="6287" y="15054"/>
                  </a:lnTo>
                  <a:lnTo>
                    <a:pt x="6287" y="10036"/>
                  </a:lnTo>
                  <a:lnTo>
                    <a:pt x="10059" y="10036"/>
                  </a:lnTo>
                  <a:lnTo>
                    <a:pt x="10059" y="15054"/>
                  </a:lnTo>
                  <a:close/>
                  <a:moveTo>
                    <a:pt x="1006" y="7025"/>
                  </a:moveTo>
                  <a:lnTo>
                    <a:pt x="1006" y="6524"/>
                  </a:lnTo>
                  <a:lnTo>
                    <a:pt x="1006" y="6503"/>
                  </a:lnTo>
                  <a:lnTo>
                    <a:pt x="1008" y="6483"/>
                  </a:lnTo>
                  <a:lnTo>
                    <a:pt x="1010" y="6462"/>
                  </a:lnTo>
                  <a:lnTo>
                    <a:pt x="1012" y="6443"/>
                  </a:lnTo>
                  <a:lnTo>
                    <a:pt x="1016" y="6423"/>
                  </a:lnTo>
                  <a:lnTo>
                    <a:pt x="1020" y="6403"/>
                  </a:lnTo>
                  <a:lnTo>
                    <a:pt x="1026" y="6384"/>
                  </a:lnTo>
                  <a:lnTo>
                    <a:pt x="1032" y="6365"/>
                  </a:lnTo>
                  <a:lnTo>
                    <a:pt x="1038" y="6346"/>
                  </a:lnTo>
                  <a:lnTo>
                    <a:pt x="1046" y="6327"/>
                  </a:lnTo>
                  <a:lnTo>
                    <a:pt x="1054" y="6309"/>
                  </a:lnTo>
                  <a:lnTo>
                    <a:pt x="1063" y="6291"/>
                  </a:lnTo>
                  <a:lnTo>
                    <a:pt x="1073" y="6274"/>
                  </a:lnTo>
                  <a:lnTo>
                    <a:pt x="1083" y="6256"/>
                  </a:lnTo>
                  <a:lnTo>
                    <a:pt x="1094" y="6239"/>
                  </a:lnTo>
                  <a:lnTo>
                    <a:pt x="1107" y="6222"/>
                  </a:lnTo>
                  <a:lnTo>
                    <a:pt x="2615" y="4215"/>
                  </a:lnTo>
                  <a:lnTo>
                    <a:pt x="2634" y="4192"/>
                  </a:lnTo>
                  <a:lnTo>
                    <a:pt x="2654" y="4170"/>
                  </a:lnTo>
                  <a:lnTo>
                    <a:pt x="2674" y="4150"/>
                  </a:lnTo>
                  <a:lnTo>
                    <a:pt x="2696" y="4131"/>
                  </a:lnTo>
                  <a:lnTo>
                    <a:pt x="2719" y="4113"/>
                  </a:lnTo>
                  <a:lnTo>
                    <a:pt x="2743" y="4096"/>
                  </a:lnTo>
                  <a:lnTo>
                    <a:pt x="2767" y="4081"/>
                  </a:lnTo>
                  <a:lnTo>
                    <a:pt x="2792" y="4068"/>
                  </a:lnTo>
                  <a:lnTo>
                    <a:pt x="2819" y="4056"/>
                  </a:lnTo>
                  <a:lnTo>
                    <a:pt x="2846" y="4045"/>
                  </a:lnTo>
                  <a:lnTo>
                    <a:pt x="2873" y="4036"/>
                  </a:lnTo>
                  <a:lnTo>
                    <a:pt x="2901" y="4029"/>
                  </a:lnTo>
                  <a:lnTo>
                    <a:pt x="2930" y="4023"/>
                  </a:lnTo>
                  <a:lnTo>
                    <a:pt x="2958" y="4018"/>
                  </a:lnTo>
                  <a:lnTo>
                    <a:pt x="2989" y="4016"/>
                  </a:lnTo>
                  <a:lnTo>
                    <a:pt x="3018" y="4015"/>
                  </a:lnTo>
                  <a:lnTo>
                    <a:pt x="4452" y="4015"/>
                  </a:lnTo>
                  <a:lnTo>
                    <a:pt x="2440" y="7527"/>
                  </a:lnTo>
                  <a:lnTo>
                    <a:pt x="1509" y="7527"/>
                  </a:lnTo>
                  <a:lnTo>
                    <a:pt x="1483" y="7526"/>
                  </a:lnTo>
                  <a:lnTo>
                    <a:pt x="1458" y="7524"/>
                  </a:lnTo>
                  <a:lnTo>
                    <a:pt x="1432" y="7521"/>
                  </a:lnTo>
                  <a:lnTo>
                    <a:pt x="1407" y="7517"/>
                  </a:lnTo>
                  <a:lnTo>
                    <a:pt x="1383" y="7511"/>
                  </a:lnTo>
                  <a:lnTo>
                    <a:pt x="1359" y="7505"/>
                  </a:lnTo>
                  <a:lnTo>
                    <a:pt x="1336" y="7497"/>
                  </a:lnTo>
                  <a:lnTo>
                    <a:pt x="1313" y="7488"/>
                  </a:lnTo>
                  <a:lnTo>
                    <a:pt x="1291" y="7478"/>
                  </a:lnTo>
                  <a:lnTo>
                    <a:pt x="1269" y="7467"/>
                  </a:lnTo>
                  <a:lnTo>
                    <a:pt x="1248" y="7455"/>
                  </a:lnTo>
                  <a:lnTo>
                    <a:pt x="1227" y="7442"/>
                  </a:lnTo>
                  <a:lnTo>
                    <a:pt x="1208" y="7428"/>
                  </a:lnTo>
                  <a:lnTo>
                    <a:pt x="1189" y="7413"/>
                  </a:lnTo>
                  <a:lnTo>
                    <a:pt x="1171" y="7397"/>
                  </a:lnTo>
                  <a:lnTo>
                    <a:pt x="1153" y="7381"/>
                  </a:lnTo>
                  <a:lnTo>
                    <a:pt x="1137" y="7363"/>
                  </a:lnTo>
                  <a:lnTo>
                    <a:pt x="1121" y="7345"/>
                  </a:lnTo>
                  <a:lnTo>
                    <a:pt x="1106" y="7325"/>
                  </a:lnTo>
                  <a:lnTo>
                    <a:pt x="1091" y="7306"/>
                  </a:lnTo>
                  <a:lnTo>
                    <a:pt x="1078" y="7285"/>
                  </a:lnTo>
                  <a:lnTo>
                    <a:pt x="1066" y="7264"/>
                  </a:lnTo>
                  <a:lnTo>
                    <a:pt x="1055" y="7243"/>
                  </a:lnTo>
                  <a:lnTo>
                    <a:pt x="1045" y="7221"/>
                  </a:lnTo>
                  <a:lnTo>
                    <a:pt x="1036" y="7198"/>
                  </a:lnTo>
                  <a:lnTo>
                    <a:pt x="1028" y="7175"/>
                  </a:lnTo>
                  <a:lnTo>
                    <a:pt x="1022" y="7151"/>
                  </a:lnTo>
                  <a:lnTo>
                    <a:pt x="1016" y="7127"/>
                  </a:lnTo>
                  <a:lnTo>
                    <a:pt x="1012" y="7102"/>
                  </a:lnTo>
                  <a:lnTo>
                    <a:pt x="1009" y="7077"/>
                  </a:lnTo>
                  <a:lnTo>
                    <a:pt x="1007" y="7051"/>
                  </a:lnTo>
                  <a:lnTo>
                    <a:pt x="1006" y="7025"/>
                  </a:lnTo>
                  <a:close/>
                  <a:moveTo>
                    <a:pt x="9962" y="4015"/>
                  </a:moveTo>
                  <a:lnTo>
                    <a:pt x="11062" y="4015"/>
                  </a:lnTo>
                  <a:lnTo>
                    <a:pt x="13074" y="7527"/>
                  </a:lnTo>
                  <a:lnTo>
                    <a:pt x="10968" y="7527"/>
                  </a:lnTo>
                  <a:lnTo>
                    <a:pt x="9962" y="4015"/>
                  </a:lnTo>
                  <a:close/>
                  <a:moveTo>
                    <a:pt x="8299" y="4015"/>
                  </a:moveTo>
                  <a:lnTo>
                    <a:pt x="9439" y="4015"/>
                  </a:lnTo>
                  <a:lnTo>
                    <a:pt x="10444" y="7527"/>
                  </a:lnTo>
                  <a:lnTo>
                    <a:pt x="8299" y="7527"/>
                  </a:lnTo>
                  <a:lnTo>
                    <a:pt x="8299" y="4015"/>
                  </a:lnTo>
                  <a:close/>
                  <a:moveTo>
                    <a:pt x="6656" y="4015"/>
                  </a:moveTo>
                  <a:lnTo>
                    <a:pt x="7796" y="4015"/>
                  </a:lnTo>
                  <a:lnTo>
                    <a:pt x="7796" y="7527"/>
                  </a:lnTo>
                  <a:lnTo>
                    <a:pt x="5650" y="7527"/>
                  </a:lnTo>
                  <a:lnTo>
                    <a:pt x="6656" y="4015"/>
                  </a:lnTo>
                  <a:close/>
                  <a:moveTo>
                    <a:pt x="5127" y="7527"/>
                  </a:moveTo>
                  <a:lnTo>
                    <a:pt x="3020" y="7527"/>
                  </a:lnTo>
                  <a:lnTo>
                    <a:pt x="5032" y="4015"/>
                  </a:lnTo>
                  <a:lnTo>
                    <a:pt x="6132" y="4015"/>
                  </a:lnTo>
                  <a:lnTo>
                    <a:pt x="5127" y="7527"/>
                  </a:lnTo>
                  <a:close/>
                  <a:moveTo>
                    <a:pt x="13077" y="1004"/>
                  </a:moveTo>
                  <a:lnTo>
                    <a:pt x="13077" y="3011"/>
                  </a:lnTo>
                  <a:lnTo>
                    <a:pt x="3018" y="3011"/>
                  </a:lnTo>
                  <a:lnTo>
                    <a:pt x="3018" y="1004"/>
                  </a:lnTo>
                  <a:lnTo>
                    <a:pt x="13077" y="1004"/>
                  </a:lnTo>
                  <a:close/>
                  <a:moveTo>
                    <a:pt x="15793" y="5620"/>
                  </a:moveTo>
                  <a:lnTo>
                    <a:pt x="14284" y="3614"/>
                  </a:lnTo>
                  <a:lnTo>
                    <a:pt x="14262" y="3585"/>
                  </a:lnTo>
                  <a:lnTo>
                    <a:pt x="14239" y="3557"/>
                  </a:lnTo>
                  <a:lnTo>
                    <a:pt x="14214" y="3530"/>
                  </a:lnTo>
                  <a:lnTo>
                    <a:pt x="14189" y="3503"/>
                  </a:lnTo>
                  <a:lnTo>
                    <a:pt x="14164" y="3477"/>
                  </a:lnTo>
                  <a:lnTo>
                    <a:pt x="14137" y="3451"/>
                  </a:lnTo>
                  <a:lnTo>
                    <a:pt x="14110" y="3426"/>
                  </a:lnTo>
                  <a:lnTo>
                    <a:pt x="14083" y="3401"/>
                  </a:lnTo>
                  <a:lnTo>
                    <a:pt x="14083" y="1004"/>
                  </a:lnTo>
                  <a:lnTo>
                    <a:pt x="14082" y="952"/>
                  </a:lnTo>
                  <a:lnTo>
                    <a:pt x="14078" y="901"/>
                  </a:lnTo>
                  <a:lnTo>
                    <a:pt x="14072" y="851"/>
                  </a:lnTo>
                  <a:lnTo>
                    <a:pt x="14063" y="802"/>
                  </a:lnTo>
                  <a:lnTo>
                    <a:pt x="14052" y="753"/>
                  </a:lnTo>
                  <a:lnTo>
                    <a:pt x="14038" y="706"/>
                  </a:lnTo>
                  <a:lnTo>
                    <a:pt x="14022" y="658"/>
                  </a:lnTo>
                  <a:lnTo>
                    <a:pt x="14004" y="613"/>
                  </a:lnTo>
                  <a:lnTo>
                    <a:pt x="13984" y="569"/>
                  </a:lnTo>
                  <a:lnTo>
                    <a:pt x="13961" y="526"/>
                  </a:lnTo>
                  <a:lnTo>
                    <a:pt x="13937" y="484"/>
                  </a:lnTo>
                  <a:lnTo>
                    <a:pt x="13911" y="443"/>
                  </a:lnTo>
                  <a:lnTo>
                    <a:pt x="13883" y="403"/>
                  </a:lnTo>
                  <a:lnTo>
                    <a:pt x="13854" y="365"/>
                  </a:lnTo>
                  <a:lnTo>
                    <a:pt x="13822" y="329"/>
                  </a:lnTo>
                  <a:lnTo>
                    <a:pt x="13788" y="294"/>
                  </a:lnTo>
                  <a:lnTo>
                    <a:pt x="13753" y="261"/>
                  </a:lnTo>
                  <a:lnTo>
                    <a:pt x="13717" y="229"/>
                  </a:lnTo>
                  <a:lnTo>
                    <a:pt x="13679" y="200"/>
                  </a:lnTo>
                  <a:lnTo>
                    <a:pt x="13640" y="172"/>
                  </a:lnTo>
                  <a:lnTo>
                    <a:pt x="13598" y="146"/>
                  </a:lnTo>
                  <a:lnTo>
                    <a:pt x="13557" y="121"/>
                  </a:lnTo>
                  <a:lnTo>
                    <a:pt x="13513" y="99"/>
                  </a:lnTo>
                  <a:lnTo>
                    <a:pt x="13468" y="79"/>
                  </a:lnTo>
                  <a:lnTo>
                    <a:pt x="13423" y="61"/>
                  </a:lnTo>
                  <a:lnTo>
                    <a:pt x="13376" y="45"/>
                  </a:lnTo>
                  <a:lnTo>
                    <a:pt x="13329" y="32"/>
                  </a:lnTo>
                  <a:lnTo>
                    <a:pt x="13279" y="20"/>
                  </a:lnTo>
                  <a:lnTo>
                    <a:pt x="13230" y="12"/>
                  </a:lnTo>
                  <a:lnTo>
                    <a:pt x="13180" y="5"/>
                  </a:lnTo>
                  <a:lnTo>
                    <a:pt x="13128" y="1"/>
                  </a:lnTo>
                  <a:lnTo>
                    <a:pt x="13077" y="0"/>
                  </a:lnTo>
                  <a:lnTo>
                    <a:pt x="3018" y="0"/>
                  </a:lnTo>
                  <a:lnTo>
                    <a:pt x="2967" y="1"/>
                  </a:lnTo>
                  <a:lnTo>
                    <a:pt x="2915" y="5"/>
                  </a:lnTo>
                  <a:lnTo>
                    <a:pt x="2865" y="12"/>
                  </a:lnTo>
                  <a:lnTo>
                    <a:pt x="2815" y="20"/>
                  </a:lnTo>
                  <a:lnTo>
                    <a:pt x="2766" y="32"/>
                  </a:lnTo>
                  <a:lnTo>
                    <a:pt x="2718" y="45"/>
                  </a:lnTo>
                  <a:lnTo>
                    <a:pt x="2672" y="61"/>
                  </a:lnTo>
                  <a:lnTo>
                    <a:pt x="2627" y="79"/>
                  </a:lnTo>
                  <a:lnTo>
                    <a:pt x="2581" y="99"/>
                  </a:lnTo>
                  <a:lnTo>
                    <a:pt x="2538" y="121"/>
                  </a:lnTo>
                  <a:lnTo>
                    <a:pt x="2496" y="146"/>
                  </a:lnTo>
                  <a:lnTo>
                    <a:pt x="2455" y="172"/>
                  </a:lnTo>
                  <a:lnTo>
                    <a:pt x="2416" y="200"/>
                  </a:lnTo>
                  <a:lnTo>
                    <a:pt x="2378" y="229"/>
                  </a:lnTo>
                  <a:lnTo>
                    <a:pt x="2341" y="261"/>
                  </a:lnTo>
                  <a:lnTo>
                    <a:pt x="2307" y="294"/>
                  </a:lnTo>
                  <a:lnTo>
                    <a:pt x="2273" y="329"/>
                  </a:lnTo>
                  <a:lnTo>
                    <a:pt x="2241" y="365"/>
                  </a:lnTo>
                  <a:lnTo>
                    <a:pt x="2212" y="403"/>
                  </a:lnTo>
                  <a:lnTo>
                    <a:pt x="2184" y="443"/>
                  </a:lnTo>
                  <a:lnTo>
                    <a:pt x="2158" y="484"/>
                  </a:lnTo>
                  <a:lnTo>
                    <a:pt x="2134" y="526"/>
                  </a:lnTo>
                  <a:lnTo>
                    <a:pt x="2111" y="569"/>
                  </a:lnTo>
                  <a:lnTo>
                    <a:pt x="2091" y="613"/>
                  </a:lnTo>
                  <a:lnTo>
                    <a:pt x="2073" y="658"/>
                  </a:lnTo>
                  <a:lnTo>
                    <a:pt x="2057" y="706"/>
                  </a:lnTo>
                  <a:lnTo>
                    <a:pt x="2043" y="753"/>
                  </a:lnTo>
                  <a:lnTo>
                    <a:pt x="2032" y="802"/>
                  </a:lnTo>
                  <a:lnTo>
                    <a:pt x="2023" y="851"/>
                  </a:lnTo>
                  <a:lnTo>
                    <a:pt x="2017" y="901"/>
                  </a:lnTo>
                  <a:lnTo>
                    <a:pt x="2013" y="952"/>
                  </a:lnTo>
                  <a:lnTo>
                    <a:pt x="2012" y="1004"/>
                  </a:lnTo>
                  <a:lnTo>
                    <a:pt x="2012" y="3402"/>
                  </a:lnTo>
                  <a:lnTo>
                    <a:pt x="1985" y="3426"/>
                  </a:lnTo>
                  <a:lnTo>
                    <a:pt x="1959" y="3451"/>
                  </a:lnTo>
                  <a:lnTo>
                    <a:pt x="1931" y="3477"/>
                  </a:lnTo>
                  <a:lnTo>
                    <a:pt x="1906" y="3503"/>
                  </a:lnTo>
                  <a:lnTo>
                    <a:pt x="1881" y="3529"/>
                  </a:lnTo>
                  <a:lnTo>
                    <a:pt x="1857" y="3556"/>
                  </a:lnTo>
                  <a:lnTo>
                    <a:pt x="1833" y="3584"/>
                  </a:lnTo>
                  <a:lnTo>
                    <a:pt x="1811" y="3613"/>
                  </a:lnTo>
                  <a:lnTo>
                    <a:pt x="303" y="5619"/>
                  </a:lnTo>
                  <a:lnTo>
                    <a:pt x="285" y="5644"/>
                  </a:lnTo>
                  <a:lnTo>
                    <a:pt x="268" y="5669"/>
                  </a:lnTo>
                  <a:lnTo>
                    <a:pt x="250" y="5695"/>
                  </a:lnTo>
                  <a:lnTo>
                    <a:pt x="233" y="5720"/>
                  </a:lnTo>
                  <a:lnTo>
                    <a:pt x="217" y="5746"/>
                  </a:lnTo>
                  <a:lnTo>
                    <a:pt x="202" y="5772"/>
                  </a:lnTo>
                  <a:lnTo>
                    <a:pt x="187" y="5798"/>
                  </a:lnTo>
                  <a:lnTo>
                    <a:pt x="173" y="5825"/>
                  </a:lnTo>
                  <a:lnTo>
                    <a:pt x="159" y="5851"/>
                  </a:lnTo>
                  <a:lnTo>
                    <a:pt x="146" y="5879"/>
                  </a:lnTo>
                  <a:lnTo>
                    <a:pt x="133" y="5906"/>
                  </a:lnTo>
                  <a:lnTo>
                    <a:pt x="121" y="5934"/>
                  </a:lnTo>
                  <a:lnTo>
                    <a:pt x="110" y="5962"/>
                  </a:lnTo>
                  <a:lnTo>
                    <a:pt x="99" y="5991"/>
                  </a:lnTo>
                  <a:lnTo>
                    <a:pt x="88" y="6019"/>
                  </a:lnTo>
                  <a:lnTo>
                    <a:pt x="78" y="6047"/>
                  </a:lnTo>
                  <a:lnTo>
                    <a:pt x="68" y="6076"/>
                  </a:lnTo>
                  <a:lnTo>
                    <a:pt x="60" y="6105"/>
                  </a:lnTo>
                  <a:lnTo>
                    <a:pt x="51" y="6134"/>
                  </a:lnTo>
                  <a:lnTo>
                    <a:pt x="44" y="6163"/>
                  </a:lnTo>
                  <a:lnTo>
                    <a:pt x="37" y="6193"/>
                  </a:lnTo>
                  <a:lnTo>
                    <a:pt x="31" y="6222"/>
                  </a:lnTo>
                  <a:lnTo>
                    <a:pt x="25" y="6253"/>
                  </a:lnTo>
                  <a:lnTo>
                    <a:pt x="20" y="6282"/>
                  </a:lnTo>
                  <a:lnTo>
                    <a:pt x="15" y="6312"/>
                  </a:lnTo>
                  <a:lnTo>
                    <a:pt x="11" y="6342"/>
                  </a:lnTo>
                  <a:lnTo>
                    <a:pt x="8" y="6372"/>
                  </a:lnTo>
                  <a:lnTo>
                    <a:pt x="5" y="6402"/>
                  </a:lnTo>
                  <a:lnTo>
                    <a:pt x="3" y="6432"/>
                  </a:lnTo>
                  <a:lnTo>
                    <a:pt x="1" y="6463"/>
                  </a:lnTo>
                  <a:lnTo>
                    <a:pt x="0" y="6493"/>
                  </a:lnTo>
                  <a:lnTo>
                    <a:pt x="0" y="6524"/>
                  </a:lnTo>
                  <a:lnTo>
                    <a:pt x="0" y="7025"/>
                  </a:lnTo>
                  <a:lnTo>
                    <a:pt x="2" y="7103"/>
                  </a:lnTo>
                  <a:lnTo>
                    <a:pt x="8" y="7179"/>
                  </a:lnTo>
                  <a:lnTo>
                    <a:pt x="17" y="7254"/>
                  </a:lnTo>
                  <a:lnTo>
                    <a:pt x="31" y="7328"/>
                  </a:lnTo>
                  <a:lnTo>
                    <a:pt x="47" y="7401"/>
                  </a:lnTo>
                  <a:lnTo>
                    <a:pt x="68" y="7473"/>
                  </a:lnTo>
                  <a:lnTo>
                    <a:pt x="92" y="7542"/>
                  </a:lnTo>
                  <a:lnTo>
                    <a:pt x="119" y="7610"/>
                  </a:lnTo>
                  <a:lnTo>
                    <a:pt x="149" y="7678"/>
                  </a:lnTo>
                  <a:lnTo>
                    <a:pt x="182" y="7742"/>
                  </a:lnTo>
                  <a:lnTo>
                    <a:pt x="218" y="7805"/>
                  </a:lnTo>
                  <a:lnTo>
                    <a:pt x="259" y="7866"/>
                  </a:lnTo>
                  <a:lnTo>
                    <a:pt x="300" y="7926"/>
                  </a:lnTo>
                  <a:lnTo>
                    <a:pt x="345" y="7983"/>
                  </a:lnTo>
                  <a:lnTo>
                    <a:pt x="392" y="8037"/>
                  </a:lnTo>
                  <a:lnTo>
                    <a:pt x="443" y="8089"/>
                  </a:lnTo>
                  <a:lnTo>
                    <a:pt x="495" y="8139"/>
                  </a:lnTo>
                  <a:lnTo>
                    <a:pt x="549" y="8187"/>
                  </a:lnTo>
                  <a:lnTo>
                    <a:pt x="607" y="8232"/>
                  </a:lnTo>
                  <a:lnTo>
                    <a:pt x="666" y="8273"/>
                  </a:lnTo>
                  <a:lnTo>
                    <a:pt x="727" y="8313"/>
                  </a:lnTo>
                  <a:lnTo>
                    <a:pt x="791" y="8349"/>
                  </a:lnTo>
                  <a:lnTo>
                    <a:pt x="855" y="8382"/>
                  </a:lnTo>
                  <a:lnTo>
                    <a:pt x="922" y="8412"/>
                  </a:lnTo>
                  <a:lnTo>
                    <a:pt x="991" y="8439"/>
                  </a:lnTo>
                  <a:lnTo>
                    <a:pt x="1060" y="8464"/>
                  </a:lnTo>
                  <a:lnTo>
                    <a:pt x="1133" y="8484"/>
                  </a:lnTo>
                  <a:lnTo>
                    <a:pt x="1205" y="8501"/>
                  </a:lnTo>
                  <a:lnTo>
                    <a:pt x="1280" y="8514"/>
                  </a:lnTo>
                  <a:lnTo>
                    <a:pt x="1355" y="8523"/>
                  </a:lnTo>
                  <a:lnTo>
                    <a:pt x="1431" y="8529"/>
                  </a:lnTo>
                  <a:lnTo>
                    <a:pt x="1509" y="8531"/>
                  </a:lnTo>
                  <a:lnTo>
                    <a:pt x="1509" y="15054"/>
                  </a:lnTo>
                  <a:lnTo>
                    <a:pt x="1510" y="15106"/>
                  </a:lnTo>
                  <a:lnTo>
                    <a:pt x="1514" y="15157"/>
                  </a:lnTo>
                  <a:lnTo>
                    <a:pt x="1520" y="15207"/>
                  </a:lnTo>
                  <a:lnTo>
                    <a:pt x="1529" y="15257"/>
                  </a:lnTo>
                  <a:lnTo>
                    <a:pt x="1540" y="15305"/>
                  </a:lnTo>
                  <a:lnTo>
                    <a:pt x="1554" y="15352"/>
                  </a:lnTo>
                  <a:lnTo>
                    <a:pt x="1570" y="15400"/>
                  </a:lnTo>
                  <a:lnTo>
                    <a:pt x="1588" y="15445"/>
                  </a:lnTo>
                  <a:lnTo>
                    <a:pt x="1608" y="15489"/>
                  </a:lnTo>
                  <a:lnTo>
                    <a:pt x="1631" y="15533"/>
                  </a:lnTo>
                  <a:lnTo>
                    <a:pt x="1655" y="15574"/>
                  </a:lnTo>
                  <a:lnTo>
                    <a:pt x="1681" y="15615"/>
                  </a:lnTo>
                  <a:lnTo>
                    <a:pt x="1709" y="15655"/>
                  </a:lnTo>
                  <a:lnTo>
                    <a:pt x="1738" y="15693"/>
                  </a:lnTo>
                  <a:lnTo>
                    <a:pt x="1770" y="15729"/>
                  </a:lnTo>
                  <a:lnTo>
                    <a:pt x="1804" y="15764"/>
                  </a:lnTo>
                  <a:lnTo>
                    <a:pt x="1839" y="15797"/>
                  </a:lnTo>
                  <a:lnTo>
                    <a:pt x="1875" y="15829"/>
                  </a:lnTo>
                  <a:lnTo>
                    <a:pt x="1913" y="15858"/>
                  </a:lnTo>
                  <a:lnTo>
                    <a:pt x="1953" y="15886"/>
                  </a:lnTo>
                  <a:lnTo>
                    <a:pt x="1993" y="15912"/>
                  </a:lnTo>
                  <a:lnTo>
                    <a:pt x="2035" y="15937"/>
                  </a:lnTo>
                  <a:lnTo>
                    <a:pt x="2078" y="15959"/>
                  </a:lnTo>
                  <a:lnTo>
                    <a:pt x="2124" y="15979"/>
                  </a:lnTo>
                  <a:lnTo>
                    <a:pt x="2169" y="15997"/>
                  </a:lnTo>
                  <a:lnTo>
                    <a:pt x="2216" y="16013"/>
                  </a:lnTo>
                  <a:lnTo>
                    <a:pt x="2263" y="16026"/>
                  </a:lnTo>
                  <a:lnTo>
                    <a:pt x="2312" y="16038"/>
                  </a:lnTo>
                  <a:lnTo>
                    <a:pt x="2362" y="16046"/>
                  </a:lnTo>
                  <a:lnTo>
                    <a:pt x="2412" y="16053"/>
                  </a:lnTo>
                  <a:lnTo>
                    <a:pt x="2464" y="16057"/>
                  </a:lnTo>
                  <a:lnTo>
                    <a:pt x="2515" y="16058"/>
                  </a:lnTo>
                  <a:lnTo>
                    <a:pt x="13580" y="16058"/>
                  </a:lnTo>
                  <a:lnTo>
                    <a:pt x="13632" y="16057"/>
                  </a:lnTo>
                  <a:lnTo>
                    <a:pt x="13683" y="16053"/>
                  </a:lnTo>
                  <a:lnTo>
                    <a:pt x="13733" y="16046"/>
                  </a:lnTo>
                  <a:lnTo>
                    <a:pt x="13782" y="16038"/>
                  </a:lnTo>
                  <a:lnTo>
                    <a:pt x="13832" y="16026"/>
                  </a:lnTo>
                  <a:lnTo>
                    <a:pt x="13879" y="16013"/>
                  </a:lnTo>
                  <a:lnTo>
                    <a:pt x="13926" y="15997"/>
                  </a:lnTo>
                  <a:lnTo>
                    <a:pt x="13971" y="15979"/>
                  </a:lnTo>
                  <a:lnTo>
                    <a:pt x="14016" y="15959"/>
                  </a:lnTo>
                  <a:lnTo>
                    <a:pt x="14060" y="15937"/>
                  </a:lnTo>
                  <a:lnTo>
                    <a:pt x="14101" y="15912"/>
                  </a:lnTo>
                  <a:lnTo>
                    <a:pt x="14142" y="15886"/>
                  </a:lnTo>
                  <a:lnTo>
                    <a:pt x="14182" y="15858"/>
                  </a:lnTo>
                  <a:lnTo>
                    <a:pt x="14220" y="15829"/>
                  </a:lnTo>
                  <a:lnTo>
                    <a:pt x="14256" y="15797"/>
                  </a:lnTo>
                  <a:lnTo>
                    <a:pt x="14291" y="15764"/>
                  </a:lnTo>
                  <a:lnTo>
                    <a:pt x="14325" y="15729"/>
                  </a:lnTo>
                  <a:lnTo>
                    <a:pt x="14356" y="15693"/>
                  </a:lnTo>
                  <a:lnTo>
                    <a:pt x="14386" y="15655"/>
                  </a:lnTo>
                  <a:lnTo>
                    <a:pt x="14414" y="15615"/>
                  </a:lnTo>
                  <a:lnTo>
                    <a:pt x="14440" y="15574"/>
                  </a:lnTo>
                  <a:lnTo>
                    <a:pt x="14464" y="15533"/>
                  </a:lnTo>
                  <a:lnTo>
                    <a:pt x="14487" y="15489"/>
                  </a:lnTo>
                  <a:lnTo>
                    <a:pt x="14507" y="15445"/>
                  </a:lnTo>
                  <a:lnTo>
                    <a:pt x="14525" y="15400"/>
                  </a:lnTo>
                  <a:lnTo>
                    <a:pt x="14541" y="15352"/>
                  </a:lnTo>
                  <a:lnTo>
                    <a:pt x="14554" y="15305"/>
                  </a:lnTo>
                  <a:lnTo>
                    <a:pt x="14566" y="15257"/>
                  </a:lnTo>
                  <a:lnTo>
                    <a:pt x="14574" y="15207"/>
                  </a:lnTo>
                  <a:lnTo>
                    <a:pt x="14581" y="15157"/>
                  </a:lnTo>
                  <a:lnTo>
                    <a:pt x="14585" y="15106"/>
                  </a:lnTo>
                  <a:lnTo>
                    <a:pt x="14586" y="15054"/>
                  </a:lnTo>
                  <a:lnTo>
                    <a:pt x="14586" y="8531"/>
                  </a:lnTo>
                  <a:lnTo>
                    <a:pt x="14664" y="8529"/>
                  </a:lnTo>
                  <a:lnTo>
                    <a:pt x="14740" y="8523"/>
                  </a:lnTo>
                  <a:lnTo>
                    <a:pt x="14815" y="8514"/>
                  </a:lnTo>
                  <a:lnTo>
                    <a:pt x="14890" y="8501"/>
                  </a:lnTo>
                  <a:lnTo>
                    <a:pt x="14962" y="8484"/>
                  </a:lnTo>
                  <a:lnTo>
                    <a:pt x="15034" y="8464"/>
                  </a:lnTo>
                  <a:lnTo>
                    <a:pt x="15104" y="8439"/>
                  </a:lnTo>
                  <a:lnTo>
                    <a:pt x="15173" y="8412"/>
                  </a:lnTo>
                  <a:lnTo>
                    <a:pt x="15240" y="8382"/>
                  </a:lnTo>
                  <a:lnTo>
                    <a:pt x="15304" y="8349"/>
                  </a:lnTo>
                  <a:lnTo>
                    <a:pt x="15368" y="8313"/>
                  </a:lnTo>
                  <a:lnTo>
                    <a:pt x="15429" y="8273"/>
                  </a:lnTo>
                  <a:lnTo>
                    <a:pt x="15488" y="8232"/>
                  </a:lnTo>
                  <a:lnTo>
                    <a:pt x="15545" y="8187"/>
                  </a:lnTo>
                  <a:lnTo>
                    <a:pt x="15600" y="8139"/>
                  </a:lnTo>
                  <a:lnTo>
                    <a:pt x="15652" y="8089"/>
                  </a:lnTo>
                  <a:lnTo>
                    <a:pt x="15703" y="8037"/>
                  </a:lnTo>
                  <a:lnTo>
                    <a:pt x="15750" y="7983"/>
                  </a:lnTo>
                  <a:lnTo>
                    <a:pt x="15795" y="7926"/>
                  </a:lnTo>
                  <a:lnTo>
                    <a:pt x="15836" y="7866"/>
                  </a:lnTo>
                  <a:lnTo>
                    <a:pt x="15876" y="7805"/>
                  </a:lnTo>
                  <a:lnTo>
                    <a:pt x="15913" y="7742"/>
                  </a:lnTo>
                  <a:lnTo>
                    <a:pt x="15946" y="7678"/>
                  </a:lnTo>
                  <a:lnTo>
                    <a:pt x="15976" y="7610"/>
                  </a:lnTo>
                  <a:lnTo>
                    <a:pt x="16003" y="7542"/>
                  </a:lnTo>
                  <a:lnTo>
                    <a:pt x="16027" y="7473"/>
                  </a:lnTo>
                  <a:lnTo>
                    <a:pt x="16048" y="7401"/>
                  </a:lnTo>
                  <a:lnTo>
                    <a:pt x="16064" y="7328"/>
                  </a:lnTo>
                  <a:lnTo>
                    <a:pt x="16078" y="7254"/>
                  </a:lnTo>
                  <a:lnTo>
                    <a:pt x="16087" y="7179"/>
                  </a:lnTo>
                  <a:lnTo>
                    <a:pt x="16093" y="7103"/>
                  </a:lnTo>
                  <a:lnTo>
                    <a:pt x="16095" y="7025"/>
                  </a:lnTo>
                  <a:lnTo>
                    <a:pt x="16095" y="6524"/>
                  </a:lnTo>
                  <a:lnTo>
                    <a:pt x="16095" y="6493"/>
                  </a:lnTo>
                  <a:lnTo>
                    <a:pt x="16094" y="6463"/>
                  </a:lnTo>
                  <a:lnTo>
                    <a:pt x="16092" y="6432"/>
                  </a:lnTo>
                  <a:lnTo>
                    <a:pt x="16090" y="6402"/>
                  </a:lnTo>
                  <a:lnTo>
                    <a:pt x="16087" y="6372"/>
                  </a:lnTo>
                  <a:lnTo>
                    <a:pt x="16084" y="6342"/>
                  </a:lnTo>
                  <a:lnTo>
                    <a:pt x="16080" y="6312"/>
                  </a:lnTo>
                  <a:lnTo>
                    <a:pt x="16075" y="6282"/>
                  </a:lnTo>
                  <a:lnTo>
                    <a:pt x="16070" y="6253"/>
                  </a:lnTo>
                  <a:lnTo>
                    <a:pt x="16064" y="6222"/>
                  </a:lnTo>
                  <a:lnTo>
                    <a:pt x="16058" y="6193"/>
                  </a:lnTo>
                  <a:lnTo>
                    <a:pt x="16051" y="6163"/>
                  </a:lnTo>
                  <a:lnTo>
                    <a:pt x="16044" y="6134"/>
                  </a:lnTo>
                  <a:lnTo>
                    <a:pt x="16035" y="6105"/>
                  </a:lnTo>
                  <a:lnTo>
                    <a:pt x="16027" y="6076"/>
                  </a:lnTo>
                  <a:lnTo>
                    <a:pt x="16018" y="6047"/>
                  </a:lnTo>
                  <a:lnTo>
                    <a:pt x="16007" y="6019"/>
                  </a:lnTo>
                  <a:lnTo>
                    <a:pt x="15996" y="5991"/>
                  </a:lnTo>
                  <a:lnTo>
                    <a:pt x="15985" y="5963"/>
                  </a:lnTo>
                  <a:lnTo>
                    <a:pt x="15974" y="5934"/>
                  </a:lnTo>
                  <a:lnTo>
                    <a:pt x="15962" y="5906"/>
                  </a:lnTo>
                  <a:lnTo>
                    <a:pt x="15949" y="5879"/>
                  </a:lnTo>
                  <a:lnTo>
                    <a:pt x="15936" y="5852"/>
                  </a:lnTo>
                  <a:lnTo>
                    <a:pt x="15922" y="5825"/>
                  </a:lnTo>
                  <a:lnTo>
                    <a:pt x="15908" y="5798"/>
                  </a:lnTo>
                  <a:lnTo>
                    <a:pt x="15893" y="5772"/>
                  </a:lnTo>
                  <a:lnTo>
                    <a:pt x="15878" y="5746"/>
                  </a:lnTo>
                  <a:lnTo>
                    <a:pt x="15862" y="5720"/>
                  </a:lnTo>
                  <a:lnTo>
                    <a:pt x="15846" y="5695"/>
                  </a:lnTo>
                  <a:lnTo>
                    <a:pt x="15828" y="5669"/>
                  </a:lnTo>
                  <a:lnTo>
                    <a:pt x="15811" y="5644"/>
                  </a:lnTo>
                  <a:lnTo>
                    <a:pt x="15793" y="56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37" name="iš1îďê">
              <a:extLst>
                <a:ext uri="{FF2B5EF4-FFF2-40B4-BE49-F238E27FC236}">
                  <a16:creationId xmlns:a16="http://schemas.microsoft.com/office/drawing/2014/main" id="{F5128AE9-000F-4656-BB35-BAD4A8E65A1C}"/>
                </a:ext>
              </a:extLst>
            </p:cNvPr>
            <p:cNvSpPr/>
            <p:nvPr/>
          </p:nvSpPr>
          <p:spPr bwMode="auto">
            <a:xfrm>
              <a:off x="5755546" y="4365812"/>
              <a:ext cx="236712" cy="214402"/>
            </a:xfrm>
            <a:custGeom>
              <a:avLst/>
              <a:gdLst>
                <a:gd name="T0" fmla="*/ 13271 w 16095"/>
                <a:gd name="T1" fmla="*/ 332 h 14578"/>
                <a:gd name="T2" fmla="*/ 11351 w 16095"/>
                <a:gd name="T3" fmla="*/ 5 h 14578"/>
                <a:gd name="T4" fmla="*/ 9463 w 16095"/>
                <a:gd name="T5" fmla="*/ 518 h 14578"/>
                <a:gd name="T6" fmla="*/ 789 w 16095"/>
                <a:gd name="T7" fmla="*/ 8840 h 14578"/>
                <a:gd name="T8" fmla="*/ 101 w 16095"/>
                <a:gd name="T9" fmla="*/ 10223 h 14578"/>
                <a:gd name="T10" fmla="*/ 64 w 16095"/>
                <a:gd name="T11" fmla="*/ 11733 h 14578"/>
                <a:gd name="T12" fmla="*/ 680 w 16095"/>
                <a:gd name="T13" fmla="*/ 13142 h 14578"/>
                <a:gd name="T14" fmla="*/ 1881 w 16095"/>
                <a:gd name="T15" fmla="*/ 14176 h 14578"/>
                <a:gd name="T16" fmla="*/ 3350 w 16095"/>
                <a:gd name="T17" fmla="*/ 14574 h 14578"/>
                <a:gd name="T18" fmla="*/ 4844 w 16095"/>
                <a:gd name="T19" fmla="*/ 14321 h 14578"/>
                <a:gd name="T20" fmla="*/ 13346 w 16095"/>
                <a:gd name="T21" fmla="*/ 6301 h 14578"/>
                <a:gd name="T22" fmla="*/ 13942 w 16095"/>
                <a:gd name="T23" fmla="*/ 5355 h 14578"/>
                <a:gd name="T24" fmla="*/ 14071 w 16095"/>
                <a:gd name="T25" fmla="*/ 4284 h 14578"/>
                <a:gd name="T26" fmla="*/ 13735 w 16095"/>
                <a:gd name="T27" fmla="*/ 3247 h 14578"/>
                <a:gd name="T28" fmla="*/ 12951 w 16095"/>
                <a:gd name="T29" fmla="*/ 2425 h 14578"/>
                <a:gd name="T30" fmla="*/ 11928 w 16095"/>
                <a:gd name="T31" fmla="*/ 2037 h 14578"/>
                <a:gd name="T32" fmla="*/ 10852 w 16095"/>
                <a:gd name="T33" fmla="*/ 2115 h 14578"/>
                <a:gd name="T34" fmla="*/ 9884 w 16095"/>
                <a:gd name="T35" fmla="*/ 2658 h 14578"/>
                <a:gd name="T36" fmla="*/ 4173 w 16095"/>
                <a:gd name="T37" fmla="*/ 8404 h 14578"/>
                <a:gd name="T38" fmla="*/ 4125 w 16095"/>
                <a:gd name="T39" fmla="*/ 8617 h 14578"/>
                <a:gd name="T40" fmla="*/ 4173 w 16095"/>
                <a:gd name="T41" fmla="*/ 8828 h 14578"/>
                <a:gd name="T42" fmla="*/ 4311 w 16095"/>
                <a:gd name="T43" fmla="*/ 9007 h 14578"/>
                <a:gd name="T44" fmla="*/ 4509 w 16095"/>
                <a:gd name="T45" fmla="*/ 9105 h 14578"/>
                <a:gd name="T46" fmla="*/ 4725 w 16095"/>
                <a:gd name="T47" fmla="*/ 9110 h 14578"/>
                <a:gd name="T48" fmla="*/ 4926 w 16095"/>
                <a:gd name="T49" fmla="*/ 9022 h 14578"/>
                <a:gd name="T50" fmla="*/ 10802 w 16095"/>
                <a:gd name="T51" fmla="*/ 3226 h 14578"/>
                <a:gd name="T52" fmla="*/ 11423 w 16095"/>
                <a:gd name="T53" fmla="*/ 3024 h 14578"/>
                <a:gd name="T54" fmla="*/ 12067 w 16095"/>
                <a:gd name="T55" fmla="*/ 3101 h 14578"/>
                <a:gd name="T56" fmla="*/ 12635 w 16095"/>
                <a:gd name="T57" fmla="*/ 3458 h 14578"/>
                <a:gd name="T58" fmla="*/ 12992 w 16095"/>
                <a:gd name="T59" fmla="*/ 4025 h 14578"/>
                <a:gd name="T60" fmla="*/ 13069 w 16095"/>
                <a:gd name="T61" fmla="*/ 4669 h 14578"/>
                <a:gd name="T62" fmla="*/ 12868 w 16095"/>
                <a:gd name="T63" fmla="*/ 5291 h 14578"/>
                <a:gd name="T64" fmla="*/ 5006 w 16095"/>
                <a:gd name="T65" fmla="*/ 13088 h 14578"/>
                <a:gd name="T66" fmla="*/ 3999 w 16095"/>
                <a:gd name="T67" fmla="*/ 13528 h 14578"/>
                <a:gd name="T68" fmla="*/ 2920 w 16095"/>
                <a:gd name="T69" fmla="*/ 13502 h 14578"/>
                <a:gd name="T70" fmla="*/ 1931 w 16095"/>
                <a:gd name="T71" fmla="*/ 13011 h 14578"/>
                <a:gd name="T72" fmla="*/ 1237 w 16095"/>
                <a:gd name="T73" fmla="*/ 12119 h 14578"/>
                <a:gd name="T74" fmla="*/ 1004 w 16095"/>
                <a:gd name="T75" fmla="*/ 11060 h 14578"/>
                <a:gd name="T76" fmla="*/ 1237 w 16095"/>
                <a:gd name="T77" fmla="*/ 10003 h 14578"/>
                <a:gd name="T78" fmla="*/ 9139 w 16095"/>
                <a:gd name="T79" fmla="*/ 1982 h 14578"/>
                <a:gd name="T80" fmla="*/ 10495 w 16095"/>
                <a:gd name="T81" fmla="*/ 1221 h 14578"/>
                <a:gd name="T82" fmla="*/ 12003 w 16095"/>
                <a:gd name="T83" fmla="*/ 1113 h 14578"/>
                <a:gd name="T84" fmla="*/ 13433 w 16095"/>
                <a:gd name="T85" fmla="*/ 1657 h 14578"/>
                <a:gd name="T86" fmla="*/ 14530 w 16095"/>
                <a:gd name="T87" fmla="*/ 2808 h 14578"/>
                <a:gd name="T88" fmla="*/ 15002 w 16095"/>
                <a:gd name="T89" fmla="*/ 4258 h 14578"/>
                <a:gd name="T90" fmla="*/ 14820 w 16095"/>
                <a:gd name="T91" fmla="*/ 5759 h 14578"/>
                <a:gd name="T92" fmla="*/ 13987 w 16095"/>
                <a:gd name="T93" fmla="*/ 7083 h 14578"/>
                <a:gd name="T94" fmla="*/ 8431 w 16095"/>
                <a:gd name="T95" fmla="*/ 12692 h 14578"/>
                <a:gd name="T96" fmla="*/ 8395 w 16095"/>
                <a:gd name="T97" fmla="*/ 12905 h 14578"/>
                <a:gd name="T98" fmla="*/ 8451 w 16095"/>
                <a:gd name="T99" fmla="*/ 13115 h 14578"/>
                <a:gd name="T100" fmla="*/ 8600 w 16095"/>
                <a:gd name="T101" fmla="*/ 13286 h 14578"/>
                <a:gd name="T102" fmla="*/ 8801 w 16095"/>
                <a:gd name="T103" fmla="*/ 13375 h 14578"/>
                <a:gd name="T104" fmla="*/ 9017 w 16095"/>
                <a:gd name="T105" fmla="*/ 13370 h 14578"/>
                <a:gd name="T106" fmla="*/ 9214 w 16095"/>
                <a:gd name="T107" fmla="*/ 13271 h 14578"/>
                <a:gd name="T108" fmla="*/ 15577 w 16095"/>
                <a:gd name="T109" fmla="*/ 6628 h 14578"/>
                <a:gd name="T110" fmla="*/ 16090 w 16095"/>
                <a:gd name="T111" fmla="*/ 4742 h 14578"/>
                <a:gd name="T112" fmla="*/ 15763 w 16095"/>
                <a:gd name="T113" fmla="*/ 2822 h 14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4578">
                  <a:moveTo>
                    <a:pt x="14768" y="1326"/>
                  </a:moveTo>
                  <a:lnTo>
                    <a:pt x="14600" y="1165"/>
                  </a:lnTo>
                  <a:lnTo>
                    <a:pt x="14425" y="1015"/>
                  </a:lnTo>
                  <a:lnTo>
                    <a:pt x="14244" y="875"/>
                  </a:lnTo>
                  <a:lnTo>
                    <a:pt x="14059" y="746"/>
                  </a:lnTo>
                  <a:lnTo>
                    <a:pt x="13868" y="626"/>
                  </a:lnTo>
                  <a:lnTo>
                    <a:pt x="13673" y="518"/>
                  </a:lnTo>
                  <a:lnTo>
                    <a:pt x="13474" y="419"/>
                  </a:lnTo>
                  <a:lnTo>
                    <a:pt x="13271" y="332"/>
                  </a:lnTo>
                  <a:lnTo>
                    <a:pt x="13065" y="253"/>
                  </a:lnTo>
                  <a:lnTo>
                    <a:pt x="12857" y="187"/>
                  </a:lnTo>
                  <a:lnTo>
                    <a:pt x="12646" y="130"/>
                  </a:lnTo>
                  <a:lnTo>
                    <a:pt x="12432" y="83"/>
                  </a:lnTo>
                  <a:lnTo>
                    <a:pt x="12218" y="46"/>
                  </a:lnTo>
                  <a:lnTo>
                    <a:pt x="12002" y="21"/>
                  </a:lnTo>
                  <a:lnTo>
                    <a:pt x="11786" y="5"/>
                  </a:lnTo>
                  <a:lnTo>
                    <a:pt x="11568" y="0"/>
                  </a:lnTo>
                  <a:lnTo>
                    <a:pt x="11351" y="5"/>
                  </a:lnTo>
                  <a:lnTo>
                    <a:pt x="11134" y="21"/>
                  </a:lnTo>
                  <a:lnTo>
                    <a:pt x="10918" y="46"/>
                  </a:lnTo>
                  <a:lnTo>
                    <a:pt x="10703" y="83"/>
                  </a:lnTo>
                  <a:lnTo>
                    <a:pt x="10490" y="130"/>
                  </a:lnTo>
                  <a:lnTo>
                    <a:pt x="10280" y="187"/>
                  </a:lnTo>
                  <a:lnTo>
                    <a:pt x="10070" y="253"/>
                  </a:lnTo>
                  <a:lnTo>
                    <a:pt x="9864" y="332"/>
                  </a:lnTo>
                  <a:lnTo>
                    <a:pt x="9662" y="419"/>
                  </a:lnTo>
                  <a:lnTo>
                    <a:pt x="9463" y="518"/>
                  </a:lnTo>
                  <a:lnTo>
                    <a:pt x="9268" y="626"/>
                  </a:lnTo>
                  <a:lnTo>
                    <a:pt x="9078" y="746"/>
                  </a:lnTo>
                  <a:lnTo>
                    <a:pt x="8891" y="875"/>
                  </a:lnTo>
                  <a:lnTo>
                    <a:pt x="8711" y="1015"/>
                  </a:lnTo>
                  <a:lnTo>
                    <a:pt x="8536" y="1165"/>
                  </a:lnTo>
                  <a:lnTo>
                    <a:pt x="8367" y="1326"/>
                  </a:lnTo>
                  <a:lnTo>
                    <a:pt x="1029" y="8572"/>
                  </a:lnTo>
                  <a:lnTo>
                    <a:pt x="904" y="8704"/>
                  </a:lnTo>
                  <a:lnTo>
                    <a:pt x="789" y="8840"/>
                  </a:lnTo>
                  <a:lnTo>
                    <a:pt x="680" y="8979"/>
                  </a:lnTo>
                  <a:lnTo>
                    <a:pt x="579" y="9124"/>
                  </a:lnTo>
                  <a:lnTo>
                    <a:pt x="487" y="9272"/>
                  </a:lnTo>
                  <a:lnTo>
                    <a:pt x="402" y="9424"/>
                  </a:lnTo>
                  <a:lnTo>
                    <a:pt x="326" y="9579"/>
                  </a:lnTo>
                  <a:lnTo>
                    <a:pt x="258" y="9736"/>
                  </a:lnTo>
                  <a:lnTo>
                    <a:pt x="197" y="9896"/>
                  </a:lnTo>
                  <a:lnTo>
                    <a:pt x="145" y="10058"/>
                  </a:lnTo>
                  <a:lnTo>
                    <a:pt x="101" y="10223"/>
                  </a:lnTo>
                  <a:lnTo>
                    <a:pt x="64" y="10388"/>
                  </a:lnTo>
                  <a:lnTo>
                    <a:pt x="36" y="10556"/>
                  </a:lnTo>
                  <a:lnTo>
                    <a:pt x="16" y="10724"/>
                  </a:lnTo>
                  <a:lnTo>
                    <a:pt x="4" y="10892"/>
                  </a:lnTo>
                  <a:lnTo>
                    <a:pt x="0" y="11060"/>
                  </a:lnTo>
                  <a:lnTo>
                    <a:pt x="4" y="11229"/>
                  </a:lnTo>
                  <a:lnTo>
                    <a:pt x="16" y="11398"/>
                  </a:lnTo>
                  <a:lnTo>
                    <a:pt x="36" y="11566"/>
                  </a:lnTo>
                  <a:lnTo>
                    <a:pt x="64" y="11733"/>
                  </a:lnTo>
                  <a:lnTo>
                    <a:pt x="101" y="11899"/>
                  </a:lnTo>
                  <a:lnTo>
                    <a:pt x="145" y="12064"/>
                  </a:lnTo>
                  <a:lnTo>
                    <a:pt x="197" y="12226"/>
                  </a:lnTo>
                  <a:lnTo>
                    <a:pt x="258" y="12385"/>
                  </a:lnTo>
                  <a:lnTo>
                    <a:pt x="326" y="12543"/>
                  </a:lnTo>
                  <a:lnTo>
                    <a:pt x="402" y="12698"/>
                  </a:lnTo>
                  <a:lnTo>
                    <a:pt x="487" y="12850"/>
                  </a:lnTo>
                  <a:lnTo>
                    <a:pt x="579" y="12998"/>
                  </a:lnTo>
                  <a:lnTo>
                    <a:pt x="680" y="13142"/>
                  </a:lnTo>
                  <a:lnTo>
                    <a:pt x="789" y="13282"/>
                  </a:lnTo>
                  <a:lnTo>
                    <a:pt x="904" y="13418"/>
                  </a:lnTo>
                  <a:lnTo>
                    <a:pt x="1029" y="13550"/>
                  </a:lnTo>
                  <a:lnTo>
                    <a:pt x="1161" y="13673"/>
                  </a:lnTo>
                  <a:lnTo>
                    <a:pt x="1297" y="13790"/>
                  </a:lnTo>
                  <a:lnTo>
                    <a:pt x="1436" y="13898"/>
                  </a:lnTo>
                  <a:lnTo>
                    <a:pt x="1581" y="13999"/>
                  </a:lnTo>
                  <a:lnTo>
                    <a:pt x="1729" y="14091"/>
                  </a:lnTo>
                  <a:lnTo>
                    <a:pt x="1881" y="14176"/>
                  </a:lnTo>
                  <a:lnTo>
                    <a:pt x="2036" y="14252"/>
                  </a:lnTo>
                  <a:lnTo>
                    <a:pt x="2193" y="14321"/>
                  </a:lnTo>
                  <a:lnTo>
                    <a:pt x="2354" y="14381"/>
                  </a:lnTo>
                  <a:lnTo>
                    <a:pt x="2516" y="14433"/>
                  </a:lnTo>
                  <a:lnTo>
                    <a:pt x="2680" y="14477"/>
                  </a:lnTo>
                  <a:lnTo>
                    <a:pt x="2846" y="14514"/>
                  </a:lnTo>
                  <a:lnTo>
                    <a:pt x="3013" y="14542"/>
                  </a:lnTo>
                  <a:lnTo>
                    <a:pt x="3181" y="14562"/>
                  </a:lnTo>
                  <a:lnTo>
                    <a:pt x="3350" y="14574"/>
                  </a:lnTo>
                  <a:lnTo>
                    <a:pt x="3519" y="14578"/>
                  </a:lnTo>
                  <a:lnTo>
                    <a:pt x="3688" y="14574"/>
                  </a:lnTo>
                  <a:lnTo>
                    <a:pt x="3857" y="14562"/>
                  </a:lnTo>
                  <a:lnTo>
                    <a:pt x="4025" y="14542"/>
                  </a:lnTo>
                  <a:lnTo>
                    <a:pt x="4192" y="14514"/>
                  </a:lnTo>
                  <a:lnTo>
                    <a:pt x="4358" y="14477"/>
                  </a:lnTo>
                  <a:lnTo>
                    <a:pt x="4522" y="14433"/>
                  </a:lnTo>
                  <a:lnTo>
                    <a:pt x="4684" y="14381"/>
                  </a:lnTo>
                  <a:lnTo>
                    <a:pt x="4844" y="14321"/>
                  </a:lnTo>
                  <a:lnTo>
                    <a:pt x="5002" y="14252"/>
                  </a:lnTo>
                  <a:lnTo>
                    <a:pt x="5156" y="14176"/>
                  </a:lnTo>
                  <a:lnTo>
                    <a:pt x="5308" y="14091"/>
                  </a:lnTo>
                  <a:lnTo>
                    <a:pt x="5456" y="13999"/>
                  </a:lnTo>
                  <a:lnTo>
                    <a:pt x="5601" y="13898"/>
                  </a:lnTo>
                  <a:lnTo>
                    <a:pt x="5741" y="13790"/>
                  </a:lnTo>
                  <a:lnTo>
                    <a:pt x="5877" y="13673"/>
                  </a:lnTo>
                  <a:lnTo>
                    <a:pt x="6007" y="13550"/>
                  </a:lnTo>
                  <a:lnTo>
                    <a:pt x="13346" y="6301"/>
                  </a:lnTo>
                  <a:lnTo>
                    <a:pt x="13435" y="6208"/>
                  </a:lnTo>
                  <a:lnTo>
                    <a:pt x="13519" y="6110"/>
                  </a:lnTo>
                  <a:lnTo>
                    <a:pt x="13596" y="6011"/>
                  </a:lnTo>
                  <a:lnTo>
                    <a:pt x="13669" y="5907"/>
                  </a:lnTo>
                  <a:lnTo>
                    <a:pt x="13735" y="5802"/>
                  </a:lnTo>
                  <a:lnTo>
                    <a:pt x="13795" y="5693"/>
                  </a:lnTo>
                  <a:lnTo>
                    <a:pt x="13850" y="5582"/>
                  </a:lnTo>
                  <a:lnTo>
                    <a:pt x="13899" y="5470"/>
                  </a:lnTo>
                  <a:lnTo>
                    <a:pt x="13942" y="5355"/>
                  </a:lnTo>
                  <a:lnTo>
                    <a:pt x="13980" y="5240"/>
                  </a:lnTo>
                  <a:lnTo>
                    <a:pt x="14011" y="5123"/>
                  </a:lnTo>
                  <a:lnTo>
                    <a:pt x="14037" y="5004"/>
                  </a:lnTo>
                  <a:lnTo>
                    <a:pt x="14057" y="4885"/>
                  </a:lnTo>
                  <a:lnTo>
                    <a:pt x="14071" y="4765"/>
                  </a:lnTo>
                  <a:lnTo>
                    <a:pt x="14080" y="4645"/>
                  </a:lnTo>
                  <a:lnTo>
                    <a:pt x="14083" y="4524"/>
                  </a:lnTo>
                  <a:lnTo>
                    <a:pt x="14080" y="4404"/>
                  </a:lnTo>
                  <a:lnTo>
                    <a:pt x="14071" y="4284"/>
                  </a:lnTo>
                  <a:lnTo>
                    <a:pt x="14057" y="4164"/>
                  </a:lnTo>
                  <a:lnTo>
                    <a:pt x="14037" y="4044"/>
                  </a:lnTo>
                  <a:lnTo>
                    <a:pt x="14011" y="3926"/>
                  </a:lnTo>
                  <a:lnTo>
                    <a:pt x="13980" y="3809"/>
                  </a:lnTo>
                  <a:lnTo>
                    <a:pt x="13942" y="3693"/>
                  </a:lnTo>
                  <a:lnTo>
                    <a:pt x="13899" y="3579"/>
                  </a:lnTo>
                  <a:lnTo>
                    <a:pt x="13850" y="3466"/>
                  </a:lnTo>
                  <a:lnTo>
                    <a:pt x="13795" y="3356"/>
                  </a:lnTo>
                  <a:lnTo>
                    <a:pt x="13735" y="3247"/>
                  </a:lnTo>
                  <a:lnTo>
                    <a:pt x="13669" y="3142"/>
                  </a:lnTo>
                  <a:lnTo>
                    <a:pt x="13596" y="3038"/>
                  </a:lnTo>
                  <a:lnTo>
                    <a:pt x="13519" y="2939"/>
                  </a:lnTo>
                  <a:lnTo>
                    <a:pt x="13435" y="2841"/>
                  </a:lnTo>
                  <a:lnTo>
                    <a:pt x="13346" y="2748"/>
                  </a:lnTo>
                  <a:lnTo>
                    <a:pt x="13252" y="2658"/>
                  </a:lnTo>
                  <a:lnTo>
                    <a:pt x="13156" y="2575"/>
                  </a:lnTo>
                  <a:lnTo>
                    <a:pt x="13055" y="2497"/>
                  </a:lnTo>
                  <a:lnTo>
                    <a:pt x="12951" y="2425"/>
                  </a:lnTo>
                  <a:lnTo>
                    <a:pt x="12846" y="2359"/>
                  </a:lnTo>
                  <a:lnTo>
                    <a:pt x="12737" y="2299"/>
                  </a:lnTo>
                  <a:lnTo>
                    <a:pt x="12627" y="2244"/>
                  </a:lnTo>
                  <a:lnTo>
                    <a:pt x="12514" y="2196"/>
                  </a:lnTo>
                  <a:lnTo>
                    <a:pt x="12400" y="2152"/>
                  </a:lnTo>
                  <a:lnTo>
                    <a:pt x="12284" y="2115"/>
                  </a:lnTo>
                  <a:lnTo>
                    <a:pt x="12167" y="2083"/>
                  </a:lnTo>
                  <a:lnTo>
                    <a:pt x="12048" y="2057"/>
                  </a:lnTo>
                  <a:lnTo>
                    <a:pt x="11928" y="2037"/>
                  </a:lnTo>
                  <a:lnTo>
                    <a:pt x="11809" y="2023"/>
                  </a:lnTo>
                  <a:lnTo>
                    <a:pt x="11689" y="2015"/>
                  </a:lnTo>
                  <a:lnTo>
                    <a:pt x="11568" y="2012"/>
                  </a:lnTo>
                  <a:lnTo>
                    <a:pt x="11448" y="2015"/>
                  </a:lnTo>
                  <a:lnTo>
                    <a:pt x="11327" y="2023"/>
                  </a:lnTo>
                  <a:lnTo>
                    <a:pt x="11207" y="2037"/>
                  </a:lnTo>
                  <a:lnTo>
                    <a:pt x="11087" y="2057"/>
                  </a:lnTo>
                  <a:lnTo>
                    <a:pt x="10969" y="2083"/>
                  </a:lnTo>
                  <a:lnTo>
                    <a:pt x="10852" y="2115"/>
                  </a:lnTo>
                  <a:lnTo>
                    <a:pt x="10736" y="2152"/>
                  </a:lnTo>
                  <a:lnTo>
                    <a:pt x="10622" y="2196"/>
                  </a:lnTo>
                  <a:lnTo>
                    <a:pt x="10509" y="2244"/>
                  </a:lnTo>
                  <a:lnTo>
                    <a:pt x="10398" y="2299"/>
                  </a:lnTo>
                  <a:lnTo>
                    <a:pt x="10291" y="2359"/>
                  </a:lnTo>
                  <a:lnTo>
                    <a:pt x="10184" y="2425"/>
                  </a:lnTo>
                  <a:lnTo>
                    <a:pt x="10082" y="2497"/>
                  </a:lnTo>
                  <a:lnTo>
                    <a:pt x="9981" y="2575"/>
                  </a:lnTo>
                  <a:lnTo>
                    <a:pt x="9884" y="2658"/>
                  </a:lnTo>
                  <a:lnTo>
                    <a:pt x="9790" y="2748"/>
                  </a:lnTo>
                  <a:lnTo>
                    <a:pt x="4273" y="8261"/>
                  </a:lnTo>
                  <a:lnTo>
                    <a:pt x="4255" y="8279"/>
                  </a:lnTo>
                  <a:lnTo>
                    <a:pt x="4239" y="8299"/>
                  </a:lnTo>
                  <a:lnTo>
                    <a:pt x="4223" y="8319"/>
                  </a:lnTo>
                  <a:lnTo>
                    <a:pt x="4209" y="8339"/>
                  </a:lnTo>
                  <a:lnTo>
                    <a:pt x="4196" y="8361"/>
                  </a:lnTo>
                  <a:lnTo>
                    <a:pt x="4184" y="8382"/>
                  </a:lnTo>
                  <a:lnTo>
                    <a:pt x="4173" y="8404"/>
                  </a:lnTo>
                  <a:lnTo>
                    <a:pt x="4163" y="8427"/>
                  </a:lnTo>
                  <a:lnTo>
                    <a:pt x="4154" y="8450"/>
                  </a:lnTo>
                  <a:lnTo>
                    <a:pt x="4146" y="8473"/>
                  </a:lnTo>
                  <a:lnTo>
                    <a:pt x="4140" y="8497"/>
                  </a:lnTo>
                  <a:lnTo>
                    <a:pt x="4134" y="8520"/>
                  </a:lnTo>
                  <a:lnTo>
                    <a:pt x="4130" y="8544"/>
                  </a:lnTo>
                  <a:lnTo>
                    <a:pt x="4128" y="8568"/>
                  </a:lnTo>
                  <a:lnTo>
                    <a:pt x="4126" y="8592"/>
                  </a:lnTo>
                  <a:lnTo>
                    <a:pt x="4125" y="8617"/>
                  </a:lnTo>
                  <a:lnTo>
                    <a:pt x="4126" y="8640"/>
                  </a:lnTo>
                  <a:lnTo>
                    <a:pt x="4128" y="8664"/>
                  </a:lnTo>
                  <a:lnTo>
                    <a:pt x="4130" y="8688"/>
                  </a:lnTo>
                  <a:lnTo>
                    <a:pt x="4134" y="8712"/>
                  </a:lnTo>
                  <a:lnTo>
                    <a:pt x="4140" y="8736"/>
                  </a:lnTo>
                  <a:lnTo>
                    <a:pt x="4146" y="8759"/>
                  </a:lnTo>
                  <a:lnTo>
                    <a:pt x="4154" y="8782"/>
                  </a:lnTo>
                  <a:lnTo>
                    <a:pt x="4163" y="8806"/>
                  </a:lnTo>
                  <a:lnTo>
                    <a:pt x="4173" y="8828"/>
                  </a:lnTo>
                  <a:lnTo>
                    <a:pt x="4184" y="8850"/>
                  </a:lnTo>
                  <a:lnTo>
                    <a:pt x="4196" y="8872"/>
                  </a:lnTo>
                  <a:lnTo>
                    <a:pt x="4209" y="8893"/>
                  </a:lnTo>
                  <a:lnTo>
                    <a:pt x="4223" y="8913"/>
                  </a:lnTo>
                  <a:lnTo>
                    <a:pt x="4239" y="8933"/>
                  </a:lnTo>
                  <a:lnTo>
                    <a:pt x="4255" y="8953"/>
                  </a:lnTo>
                  <a:lnTo>
                    <a:pt x="4273" y="8971"/>
                  </a:lnTo>
                  <a:lnTo>
                    <a:pt x="4292" y="8989"/>
                  </a:lnTo>
                  <a:lnTo>
                    <a:pt x="4311" y="9007"/>
                  </a:lnTo>
                  <a:lnTo>
                    <a:pt x="4332" y="9022"/>
                  </a:lnTo>
                  <a:lnTo>
                    <a:pt x="4352" y="9036"/>
                  </a:lnTo>
                  <a:lnTo>
                    <a:pt x="4373" y="9050"/>
                  </a:lnTo>
                  <a:lnTo>
                    <a:pt x="4395" y="9062"/>
                  </a:lnTo>
                  <a:lnTo>
                    <a:pt x="4417" y="9073"/>
                  </a:lnTo>
                  <a:lnTo>
                    <a:pt x="4439" y="9082"/>
                  </a:lnTo>
                  <a:lnTo>
                    <a:pt x="4462" y="9091"/>
                  </a:lnTo>
                  <a:lnTo>
                    <a:pt x="4485" y="9098"/>
                  </a:lnTo>
                  <a:lnTo>
                    <a:pt x="4509" y="9105"/>
                  </a:lnTo>
                  <a:lnTo>
                    <a:pt x="4533" y="9110"/>
                  </a:lnTo>
                  <a:lnTo>
                    <a:pt x="4557" y="9114"/>
                  </a:lnTo>
                  <a:lnTo>
                    <a:pt x="4580" y="9117"/>
                  </a:lnTo>
                  <a:lnTo>
                    <a:pt x="4604" y="9118"/>
                  </a:lnTo>
                  <a:lnTo>
                    <a:pt x="4628" y="9119"/>
                  </a:lnTo>
                  <a:lnTo>
                    <a:pt x="4652" y="9118"/>
                  </a:lnTo>
                  <a:lnTo>
                    <a:pt x="4677" y="9117"/>
                  </a:lnTo>
                  <a:lnTo>
                    <a:pt x="4701" y="9114"/>
                  </a:lnTo>
                  <a:lnTo>
                    <a:pt x="4725" y="9110"/>
                  </a:lnTo>
                  <a:lnTo>
                    <a:pt x="4748" y="9105"/>
                  </a:lnTo>
                  <a:lnTo>
                    <a:pt x="4772" y="9098"/>
                  </a:lnTo>
                  <a:lnTo>
                    <a:pt x="4795" y="9091"/>
                  </a:lnTo>
                  <a:lnTo>
                    <a:pt x="4817" y="9082"/>
                  </a:lnTo>
                  <a:lnTo>
                    <a:pt x="4841" y="9073"/>
                  </a:lnTo>
                  <a:lnTo>
                    <a:pt x="4863" y="9062"/>
                  </a:lnTo>
                  <a:lnTo>
                    <a:pt x="4884" y="9050"/>
                  </a:lnTo>
                  <a:lnTo>
                    <a:pt x="4905" y="9036"/>
                  </a:lnTo>
                  <a:lnTo>
                    <a:pt x="4926" y="9022"/>
                  </a:lnTo>
                  <a:lnTo>
                    <a:pt x="4946" y="9007"/>
                  </a:lnTo>
                  <a:lnTo>
                    <a:pt x="4965" y="8989"/>
                  </a:lnTo>
                  <a:lnTo>
                    <a:pt x="4984" y="8971"/>
                  </a:lnTo>
                  <a:lnTo>
                    <a:pt x="10501" y="3458"/>
                  </a:lnTo>
                  <a:lnTo>
                    <a:pt x="10557" y="3405"/>
                  </a:lnTo>
                  <a:lnTo>
                    <a:pt x="10616" y="3355"/>
                  </a:lnTo>
                  <a:lnTo>
                    <a:pt x="10676" y="3308"/>
                  </a:lnTo>
                  <a:lnTo>
                    <a:pt x="10738" y="3265"/>
                  </a:lnTo>
                  <a:lnTo>
                    <a:pt x="10802" y="3226"/>
                  </a:lnTo>
                  <a:lnTo>
                    <a:pt x="10866" y="3190"/>
                  </a:lnTo>
                  <a:lnTo>
                    <a:pt x="10933" y="3157"/>
                  </a:lnTo>
                  <a:lnTo>
                    <a:pt x="11000" y="3128"/>
                  </a:lnTo>
                  <a:lnTo>
                    <a:pt x="11069" y="3101"/>
                  </a:lnTo>
                  <a:lnTo>
                    <a:pt x="11139" y="3079"/>
                  </a:lnTo>
                  <a:lnTo>
                    <a:pt x="11209" y="3060"/>
                  </a:lnTo>
                  <a:lnTo>
                    <a:pt x="11280" y="3045"/>
                  </a:lnTo>
                  <a:lnTo>
                    <a:pt x="11352" y="3033"/>
                  </a:lnTo>
                  <a:lnTo>
                    <a:pt x="11423" y="3024"/>
                  </a:lnTo>
                  <a:lnTo>
                    <a:pt x="11496" y="3019"/>
                  </a:lnTo>
                  <a:lnTo>
                    <a:pt x="11568" y="3017"/>
                  </a:lnTo>
                  <a:lnTo>
                    <a:pt x="11641" y="3019"/>
                  </a:lnTo>
                  <a:lnTo>
                    <a:pt x="11713" y="3024"/>
                  </a:lnTo>
                  <a:lnTo>
                    <a:pt x="11785" y="3033"/>
                  </a:lnTo>
                  <a:lnTo>
                    <a:pt x="11857" y="3045"/>
                  </a:lnTo>
                  <a:lnTo>
                    <a:pt x="11927" y="3060"/>
                  </a:lnTo>
                  <a:lnTo>
                    <a:pt x="11998" y="3079"/>
                  </a:lnTo>
                  <a:lnTo>
                    <a:pt x="12067" y="3101"/>
                  </a:lnTo>
                  <a:lnTo>
                    <a:pt x="12137" y="3128"/>
                  </a:lnTo>
                  <a:lnTo>
                    <a:pt x="12204" y="3157"/>
                  </a:lnTo>
                  <a:lnTo>
                    <a:pt x="12270" y="3190"/>
                  </a:lnTo>
                  <a:lnTo>
                    <a:pt x="12335" y="3226"/>
                  </a:lnTo>
                  <a:lnTo>
                    <a:pt x="12398" y="3265"/>
                  </a:lnTo>
                  <a:lnTo>
                    <a:pt x="12461" y="3308"/>
                  </a:lnTo>
                  <a:lnTo>
                    <a:pt x="12521" y="3355"/>
                  </a:lnTo>
                  <a:lnTo>
                    <a:pt x="12579" y="3405"/>
                  </a:lnTo>
                  <a:lnTo>
                    <a:pt x="12635" y="3458"/>
                  </a:lnTo>
                  <a:lnTo>
                    <a:pt x="12689" y="3515"/>
                  </a:lnTo>
                  <a:lnTo>
                    <a:pt x="12738" y="3572"/>
                  </a:lnTo>
                  <a:lnTo>
                    <a:pt x="12785" y="3632"/>
                  </a:lnTo>
                  <a:lnTo>
                    <a:pt x="12828" y="3695"/>
                  </a:lnTo>
                  <a:lnTo>
                    <a:pt x="12868" y="3758"/>
                  </a:lnTo>
                  <a:lnTo>
                    <a:pt x="12904" y="3823"/>
                  </a:lnTo>
                  <a:lnTo>
                    <a:pt x="12936" y="3890"/>
                  </a:lnTo>
                  <a:lnTo>
                    <a:pt x="12967" y="3957"/>
                  </a:lnTo>
                  <a:lnTo>
                    <a:pt x="12992" y="4025"/>
                  </a:lnTo>
                  <a:lnTo>
                    <a:pt x="13015" y="4095"/>
                  </a:lnTo>
                  <a:lnTo>
                    <a:pt x="13033" y="4165"/>
                  </a:lnTo>
                  <a:lnTo>
                    <a:pt x="13049" y="4236"/>
                  </a:lnTo>
                  <a:lnTo>
                    <a:pt x="13061" y="4308"/>
                  </a:lnTo>
                  <a:lnTo>
                    <a:pt x="13069" y="4380"/>
                  </a:lnTo>
                  <a:lnTo>
                    <a:pt x="13075" y="4452"/>
                  </a:lnTo>
                  <a:lnTo>
                    <a:pt x="13076" y="4524"/>
                  </a:lnTo>
                  <a:lnTo>
                    <a:pt x="13075" y="4596"/>
                  </a:lnTo>
                  <a:lnTo>
                    <a:pt x="13069" y="4669"/>
                  </a:lnTo>
                  <a:lnTo>
                    <a:pt x="13061" y="4741"/>
                  </a:lnTo>
                  <a:lnTo>
                    <a:pt x="13049" y="4812"/>
                  </a:lnTo>
                  <a:lnTo>
                    <a:pt x="13033" y="4884"/>
                  </a:lnTo>
                  <a:lnTo>
                    <a:pt x="13015" y="4954"/>
                  </a:lnTo>
                  <a:lnTo>
                    <a:pt x="12992" y="5024"/>
                  </a:lnTo>
                  <a:lnTo>
                    <a:pt x="12967" y="5092"/>
                  </a:lnTo>
                  <a:lnTo>
                    <a:pt x="12936" y="5159"/>
                  </a:lnTo>
                  <a:lnTo>
                    <a:pt x="12904" y="5226"/>
                  </a:lnTo>
                  <a:lnTo>
                    <a:pt x="12868" y="5291"/>
                  </a:lnTo>
                  <a:lnTo>
                    <a:pt x="12828" y="5354"/>
                  </a:lnTo>
                  <a:lnTo>
                    <a:pt x="12785" y="5417"/>
                  </a:lnTo>
                  <a:lnTo>
                    <a:pt x="12738" y="5476"/>
                  </a:lnTo>
                  <a:lnTo>
                    <a:pt x="12689" y="5534"/>
                  </a:lnTo>
                  <a:lnTo>
                    <a:pt x="12635" y="5591"/>
                  </a:lnTo>
                  <a:lnTo>
                    <a:pt x="5297" y="12838"/>
                  </a:lnTo>
                  <a:lnTo>
                    <a:pt x="5203" y="12927"/>
                  </a:lnTo>
                  <a:lnTo>
                    <a:pt x="5106" y="13011"/>
                  </a:lnTo>
                  <a:lnTo>
                    <a:pt x="5006" y="13088"/>
                  </a:lnTo>
                  <a:lnTo>
                    <a:pt x="4902" y="13160"/>
                  </a:lnTo>
                  <a:lnTo>
                    <a:pt x="4796" y="13226"/>
                  </a:lnTo>
                  <a:lnTo>
                    <a:pt x="4688" y="13286"/>
                  </a:lnTo>
                  <a:lnTo>
                    <a:pt x="4577" y="13341"/>
                  </a:lnTo>
                  <a:lnTo>
                    <a:pt x="4465" y="13390"/>
                  </a:lnTo>
                  <a:lnTo>
                    <a:pt x="4351" y="13433"/>
                  </a:lnTo>
                  <a:lnTo>
                    <a:pt x="4235" y="13470"/>
                  </a:lnTo>
                  <a:lnTo>
                    <a:pt x="4117" y="13502"/>
                  </a:lnTo>
                  <a:lnTo>
                    <a:pt x="3999" y="13528"/>
                  </a:lnTo>
                  <a:lnTo>
                    <a:pt x="3880" y="13549"/>
                  </a:lnTo>
                  <a:lnTo>
                    <a:pt x="3760" y="13563"/>
                  </a:lnTo>
                  <a:lnTo>
                    <a:pt x="3639" y="13571"/>
                  </a:lnTo>
                  <a:lnTo>
                    <a:pt x="3519" y="13574"/>
                  </a:lnTo>
                  <a:lnTo>
                    <a:pt x="3398" y="13571"/>
                  </a:lnTo>
                  <a:lnTo>
                    <a:pt x="3277" y="13563"/>
                  </a:lnTo>
                  <a:lnTo>
                    <a:pt x="3158" y="13549"/>
                  </a:lnTo>
                  <a:lnTo>
                    <a:pt x="3039" y="13528"/>
                  </a:lnTo>
                  <a:lnTo>
                    <a:pt x="2920" y="13502"/>
                  </a:lnTo>
                  <a:lnTo>
                    <a:pt x="2803" y="13470"/>
                  </a:lnTo>
                  <a:lnTo>
                    <a:pt x="2687" y="13433"/>
                  </a:lnTo>
                  <a:lnTo>
                    <a:pt x="2572" y="13390"/>
                  </a:lnTo>
                  <a:lnTo>
                    <a:pt x="2460" y="13341"/>
                  </a:lnTo>
                  <a:lnTo>
                    <a:pt x="2350" y="13286"/>
                  </a:lnTo>
                  <a:lnTo>
                    <a:pt x="2241" y="13226"/>
                  </a:lnTo>
                  <a:lnTo>
                    <a:pt x="2136" y="13160"/>
                  </a:lnTo>
                  <a:lnTo>
                    <a:pt x="2032" y="13088"/>
                  </a:lnTo>
                  <a:lnTo>
                    <a:pt x="1931" y="13011"/>
                  </a:lnTo>
                  <a:lnTo>
                    <a:pt x="1835" y="12927"/>
                  </a:lnTo>
                  <a:lnTo>
                    <a:pt x="1740" y="12838"/>
                  </a:lnTo>
                  <a:lnTo>
                    <a:pt x="1652" y="12744"/>
                  </a:lnTo>
                  <a:lnTo>
                    <a:pt x="1568" y="12647"/>
                  </a:lnTo>
                  <a:lnTo>
                    <a:pt x="1491" y="12546"/>
                  </a:lnTo>
                  <a:lnTo>
                    <a:pt x="1418" y="12444"/>
                  </a:lnTo>
                  <a:lnTo>
                    <a:pt x="1352" y="12338"/>
                  </a:lnTo>
                  <a:lnTo>
                    <a:pt x="1292" y="12230"/>
                  </a:lnTo>
                  <a:lnTo>
                    <a:pt x="1237" y="12119"/>
                  </a:lnTo>
                  <a:lnTo>
                    <a:pt x="1188" y="12006"/>
                  </a:lnTo>
                  <a:lnTo>
                    <a:pt x="1145" y="11892"/>
                  </a:lnTo>
                  <a:lnTo>
                    <a:pt x="1108" y="11776"/>
                  </a:lnTo>
                  <a:lnTo>
                    <a:pt x="1076" y="11660"/>
                  </a:lnTo>
                  <a:lnTo>
                    <a:pt x="1050" y="11541"/>
                  </a:lnTo>
                  <a:lnTo>
                    <a:pt x="1030" y="11421"/>
                  </a:lnTo>
                  <a:lnTo>
                    <a:pt x="1016" y="11302"/>
                  </a:lnTo>
                  <a:lnTo>
                    <a:pt x="1007" y="11181"/>
                  </a:lnTo>
                  <a:lnTo>
                    <a:pt x="1004" y="11060"/>
                  </a:lnTo>
                  <a:lnTo>
                    <a:pt x="1007" y="10940"/>
                  </a:lnTo>
                  <a:lnTo>
                    <a:pt x="1016" y="10820"/>
                  </a:lnTo>
                  <a:lnTo>
                    <a:pt x="1030" y="10701"/>
                  </a:lnTo>
                  <a:lnTo>
                    <a:pt x="1050" y="10581"/>
                  </a:lnTo>
                  <a:lnTo>
                    <a:pt x="1076" y="10462"/>
                  </a:lnTo>
                  <a:lnTo>
                    <a:pt x="1108" y="10346"/>
                  </a:lnTo>
                  <a:lnTo>
                    <a:pt x="1145" y="10229"/>
                  </a:lnTo>
                  <a:lnTo>
                    <a:pt x="1188" y="10115"/>
                  </a:lnTo>
                  <a:lnTo>
                    <a:pt x="1237" y="10003"/>
                  </a:lnTo>
                  <a:lnTo>
                    <a:pt x="1292" y="9892"/>
                  </a:lnTo>
                  <a:lnTo>
                    <a:pt x="1352" y="9784"/>
                  </a:lnTo>
                  <a:lnTo>
                    <a:pt x="1418" y="9678"/>
                  </a:lnTo>
                  <a:lnTo>
                    <a:pt x="1491" y="9575"/>
                  </a:lnTo>
                  <a:lnTo>
                    <a:pt x="1568" y="9475"/>
                  </a:lnTo>
                  <a:lnTo>
                    <a:pt x="1652" y="9378"/>
                  </a:lnTo>
                  <a:lnTo>
                    <a:pt x="1740" y="9284"/>
                  </a:lnTo>
                  <a:lnTo>
                    <a:pt x="9007" y="2108"/>
                  </a:lnTo>
                  <a:lnTo>
                    <a:pt x="9139" y="1982"/>
                  </a:lnTo>
                  <a:lnTo>
                    <a:pt x="9275" y="1866"/>
                  </a:lnTo>
                  <a:lnTo>
                    <a:pt x="9415" y="1757"/>
                  </a:lnTo>
                  <a:lnTo>
                    <a:pt x="9559" y="1657"/>
                  </a:lnTo>
                  <a:lnTo>
                    <a:pt x="9707" y="1564"/>
                  </a:lnTo>
                  <a:lnTo>
                    <a:pt x="9859" y="1480"/>
                  </a:lnTo>
                  <a:lnTo>
                    <a:pt x="10014" y="1402"/>
                  </a:lnTo>
                  <a:lnTo>
                    <a:pt x="10172" y="1334"/>
                  </a:lnTo>
                  <a:lnTo>
                    <a:pt x="10332" y="1274"/>
                  </a:lnTo>
                  <a:lnTo>
                    <a:pt x="10495" y="1221"/>
                  </a:lnTo>
                  <a:lnTo>
                    <a:pt x="10659" y="1177"/>
                  </a:lnTo>
                  <a:lnTo>
                    <a:pt x="10825" y="1141"/>
                  </a:lnTo>
                  <a:lnTo>
                    <a:pt x="10992" y="1113"/>
                  </a:lnTo>
                  <a:lnTo>
                    <a:pt x="11160" y="1093"/>
                  </a:lnTo>
                  <a:lnTo>
                    <a:pt x="11328" y="1081"/>
                  </a:lnTo>
                  <a:lnTo>
                    <a:pt x="11497" y="1077"/>
                  </a:lnTo>
                  <a:lnTo>
                    <a:pt x="11666" y="1081"/>
                  </a:lnTo>
                  <a:lnTo>
                    <a:pt x="11835" y="1093"/>
                  </a:lnTo>
                  <a:lnTo>
                    <a:pt x="12003" y="1113"/>
                  </a:lnTo>
                  <a:lnTo>
                    <a:pt x="12170" y="1141"/>
                  </a:lnTo>
                  <a:lnTo>
                    <a:pt x="12335" y="1177"/>
                  </a:lnTo>
                  <a:lnTo>
                    <a:pt x="12500" y="1221"/>
                  </a:lnTo>
                  <a:lnTo>
                    <a:pt x="12662" y="1274"/>
                  </a:lnTo>
                  <a:lnTo>
                    <a:pt x="12822" y="1334"/>
                  </a:lnTo>
                  <a:lnTo>
                    <a:pt x="12980" y="1402"/>
                  </a:lnTo>
                  <a:lnTo>
                    <a:pt x="13135" y="1480"/>
                  </a:lnTo>
                  <a:lnTo>
                    <a:pt x="13285" y="1564"/>
                  </a:lnTo>
                  <a:lnTo>
                    <a:pt x="13433" y="1657"/>
                  </a:lnTo>
                  <a:lnTo>
                    <a:pt x="13578" y="1757"/>
                  </a:lnTo>
                  <a:lnTo>
                    <a:pt x="13718" y="1866"/>
                  </a:lnTo>
                  <a:lnTo>
                    <a:pt x="13855" y="1982"/>
                  </a:lnTo>
                  <a:lnTo>
                    <a:pt x="13986" y="2108"/>
                  </a:lnTo>
                  <a:lnTo>
                    <a:pt x="14110" y="2239"/>
                  </a:lnTo>
                  <a:lnTo>
                    <a:pt x="14228" y="2376"/>
                  </a:lnTo>
                  <a:lnTo>
                    <a:pt x="14337" y="2515"/>
                  </a:lnTo>
                  <a:lnTo>
                    <a:pt x="14437" y="2660"/>
                  </a:lnTo>
                  <a:lnTo>
                    <a:pt x="14530" y="2808"/>
                  </a:lnTo>
                  <a:lnTo>
                    <a:pt x="14614" y="2960"/>
                  </a:lnTo>
                  <a:lnTo>
                    <a:pt x="14692" y="3114"/>
                  </a:lnTo>
                  <a:lnTo>
                    <a:pt x="14760" y="3272"/>
                  </a:lnTo>
                  <a:lnTo>
                    <a:pt x="14820" y="3432"/>
                  </a:lnTo>
                  <a:lnTo>
                    <a:pt x="14873" y="3594"/>
                  </a:lnTo>
                  <a:lnTo>
                    <a:pt x="14917" y="3758"/>
                  </a:lnTo>
                  <a:lnTo>
                    <a:pt x="14953" y="3924"/>
                  </a:lnTo>
                  <a:lnTo>
                    <a:pt x="14981" y="4091"/>
                  </a:lnTo>
                  <a:lnTo>
                    <a:pt x="15002" y="4258"/>
                  </a:lnTo>
                  <a:lnTo>
                    <a:pt x="15014" y="4427"/>
                  </a:lnTo>
                  <a:lnTo>
                    <a:pt x="15018" y="4596"/>
                  </a:lnTo>
                  <a:lnTo>
                    <a:pt x="15014" y="4765"/>
                  </a:lnTo>
                  <a:lnTo>
                    <a:pt x="15002" y="4933"/>
                  </a:lnTo>
                  <a:lnTo>
                    <a:pt x="14981" y="5101"/>
                  </a:lnTo>
                  <a:lnTo>
                    <a:pt x="14953" y="5268"/>
                  </a:lnTo>
                  <a:lnTo>
                    <a:pt x="14917" y="5434"/>
                  </a:lnTo>
                  <a:lnTo>
                    <a:pt x="14873" y="5598"/>
                  </a:lnTo>
                  <a:lnTo>
                    <a:pt x="14820" y="5759"/>
                  </a:lnTo>
                  <a:lnTo>
                    <a:pt x="14760" y="5919"/>
                  </a:lnTo>
                  <a:lnTo>
                    <a:pt x="14692" y="6077"/>
                  </a:lnTo>
                  <a:lnTo>
                    <a:pt x="14615" y="6232"/>
                  </a:lnTo>
                  <a:lnTo>
                    <a:pt x="14531" y="6384"/>
                  </a:lnTo>
                  <a:lnTo>
                    <a:pt x="14438" y="6531"/>
                  </a:lnTo>
                  <a:lnTo>
                    <a:pt x="14338" y="6676"/>
                  </a:lnTo>
                  <a:lnTo>
                    <a:pt x="14228" y="6816"/>
                  </a:lnTo>
                  <a:lnTo>
                    <a:pt x="14111" y="6953"/>
                  </a:lnTo>
                  <a:lnTo>
                    <a:pt x="13987" y="7083"/>
                  </a:lnTo>
                  <a:lnTo>
                    <a:pt x="8541" y="12525"/>
                  </a:lnTo>
                  <a:lnTo>
                    <a:pt x="8523" y="12544"/>
                  </a:lnTo>
                  <a:lnTo>
                    <a:pt x="8507" y="12563"/>
                  </a:lnTo>
                  <a:lnTo>
                    <a:pt x="8491" y="12583"/>
                  </a:lnTo>
                  <a:lnTo>
                    <a:pt x="8477" y="12605"/>
                  </a:lnTo>
                  <a:lnTo>
                    <a:pt x="8464" y="12626"/>
                  </a:lnTo>
                  <a:lnTo>
                    <a:pt x="8451" y="12648"/>
                  </a:lnTo>
                  <a:lnTo>
                    <a:pt x="8441" y="12670"/>
                  </a:lnTo>
                  <a:lnTo>
                    <a:pt x="8431" y="12692"/>
                  </a:lnTo>
                  <a:lnTo>
                    <a:pt x="8422" y="12715"/>
                  </a:lnTo>
                  <a:lnTo>
                    <a:pt x="8415" y="12738"/>
                  </a:lnTo>
                  <a:lnTo>
                    <a:pt x="8408" y="12761"/>
                  </a:lnTo>
                  <a:lnTo>
                    <a:pt x="8403" y="12786"/>
                  </a:lnTo>
                  <a:lnTo>
                    <a:pt x="8399" y="12810"/>
                  </a:lnTo>
                  <a:lnTo>
                    <a:pt x="8396" y="12833"/>
                  </a:lnTo>
                  <a:lnTo>
                    <a:pt x="8395" y="12857"/>
                  </a:lnTo>
                  <a:lnTo>
                    <a:pt x="8394" y="12881"/>
                  </a:lnTo>
                  <a:lnTo>
                    <a:pt x="8395" y="12905"/>
                  </a:lnTo>
                  <a:lnTo>
                    <a:pt x="8396" y="12929"/>
                  </a:lnTo>
                  <a:lnTo>
                    <a:pt x="8399" y="12953"/>
                  </a:lnTo>
                  <a:lnTo>
                    <a:pt x="8403" y="12978"/>
                  </a:lnTo>
                  <a:lnTo>
                    <a:pt x="8408" y="13001"/>
                  </a:lnTo>
                  <a:lnTo>
                    <a:pt x="8415" y="13025"/>
                  </a:lnTo>
                  <a:lnTo>
                    <a:pt x="8422" y="13048"/>
                  </a:lnTo>
                  <a:lnTo>
                    <a:pt x="8431" y="13070"/>
                  </a:lnTo>
                  <a:lnTo>
                    <a:pt x="8441" y="13093"/>
                  </a:lnTo>
                  <a:lnTo>
                    <a:pt x="8451" y="13115"/>
                  </a:lnTo>
                  <a:lnTo>
                    <a:pt x="8464" y="13136"/>
                  </a:lnTo>
                  <a:lnTo>
                    <a:pt x="8477" y="13157"/>
                  </a:lnTo>
                  <a:lnTo>
                    <a:pt x="8491" y="13179"/>
                  </a:lnTo>
                  <a:lnTo>
                    <a:pt x="8507" y="13199"/>
                  </a:lnTo>
                  <a:lnTo>
                    <a:pt x="8523" y="13218"/>
                  </a:lnTo>
                  <a:lnTo>
                    <a:pt x="8541" y="13237"/>
                  </a:lnTo>
                  <a:lnTo>
                    <a:pt x="8561" y="13254"/>
                  </a:lnTo>
                  <a:lnTo>
                    <a:pt x="8580" y="13271"/>
                  </a:lnTo>
                  <a:lnTo>
                    <a:pt x="8600" y="13286"/>
                  </a:lnTo>
                  <a:lnTo>
                    <a:pt x="8621" y="13301"/>
                  </a:lnTo>
                  <a:lnTo>
                    <a:pt x="8642" y="13314"/>
                  </a:lnTo>
                  <a:lnTo>
                    <a:pt x="8663" y="13326"/>
                  </a:lnTo>
                  <a:lnTo>
                    <a:pt x="8685" y="13337"/>
                  </a:lnTo>
                  <a:lnTo>
                    <a:pt x="8708" y="13348"/>
                  </a:lnTo>
                  <a:lnTo>
                    <a:pt x="8731" y="13356"/>
                  </a:lnTo>
                  <a:lnTo>
                    <a:pt x="8754" y="13364"/>
                  </a:lnTo>
                  <a:lnTo>
                    <a:pt x="8778" y="13370"/>
                  </a:lnTo>
                  <a:lnTo>
                    <a:pt x="8801" y="13375"/>
                  </a:lnTo>
                  <a:lnTo>
                    <a:pt x="8825" y="13379"/>
                  </a:lnTo>
                  <a:lnTo>
                    <a:pt x="8849" y="13382"/>
                  </a:lnTo>
                  <a:lnTo>
                    <a:pt x="8873" y="13384"/>
                  </a:lnTo>
                  <a:lnTo>
                    <a:pt x="8898" y="13385"/>
                  </a:lnTo>
                  <a:lnTo>
                    <a:pt x="8922" y="13384"/>
                  </a:lnTo>
                  <a:lnTo>
                    <a:pt x="8946" y="13382"/>
                  </a:lnTo>
                  <a:lnTo>
                    <a:pt x="8969" y="13379"/>
                  </a:lnTo>
                  <a:lnTo>
                    <a:pt x="8993" y="13375"/>
                  </a:lnTo>
                  <a:lnTo>
                    <a:pt x="9017" y="13370"/>
                  </a:lnTo>
                  <a:lnTo>
                    <a:pt x="9040" y="13364"/>
                  </a:lnTo>
                  <a:lnTo>
                    <a:pt x="9063" y="13356"/>
                  </a:lnTo>
                  <a:lnTo>
                    <a:pt x="9087" y="13348"/>
                  </a:lnTo>
                  <a:lnTo>
                    <a:pt x="9109" y="13337"/>
                  </a:lnTo>
                  <a:lnTo>
                    <a:pt x="9131" y="13326"/>
                  </a:lnTo>
                  <a:lnTo>
                    <a:pt x="9153" y="13314"/>
                  </a:lnTo>
                  <a:lnTo>
                    <a:pt x="9174" y="13301"/>
                  </a:lnTo>
                  <a:lnTo>
                    <a:pt x="9194" y="13286"/>
                  </a:lnTo>
                  <a:lnTo>
                    <a:pt x="9214" y="13271"/>
                  </a:lnTo>
                  <a:lnTo>
                    <a:pt x="9234" y="13254"/>
                  </a:lnTo>
                  <a:lnTo>
                    <a:pt x="9253" y="13237"/>
                  </a:lnTo>
                  <a:lnTo>
                    <a:pt x="14768" y="7724"/>
                  </a:lnTo>
                  <a:lnTo>
                    <a:pt x="14929" y="7555"/>
                  </a:lnTo>
                  <a:lnTo>
                    <a:pt x="15080" y="7380"/>
                  </a:lnTo>
                  <a:lnTo>
                    <a:pt x="15220" y="7200"/>
                  </a:lnTo>
                  <a:lnTo>
                    <a:pt x="15349" y="7014"/>
                  </a:lnTo>
                  <a:lnTo>
                    <a:pt x="15468" y="6823"/>
                  </a:lnTo>
                  <a:lnTo>
                    <a:pt x="15577" y="6628"/>
                  </a:lnTo>
                  <a:lnTo>
                    <a:pt x="15676" y="6430"/>
                  </a:lnTo>
                  <a:lnTo>
                    <a:pt x="15763" y="6227"/>
                  </a:lnTo>
                  <a:lnTo>
                    <a:pt x="15842" y="6021"/>
                  </a:lnTo>
                  <a:lnTo>
                    <a:pt x="15909" y="5813"/>
                  </a:lnTo>
                  <a:lnTo>
                    <a:pt x="15965" y="5602"/>
                  </a:lnTo>
                  <a:lnTo>
                    <a:pt x="16013" y="5388"/>
                  </a:lnTo>
                  <a:lnTo>
                    <a:pt x="16049" y="5174"/>
                  </a:lnTo>
                  <a:lnTo>
                    <a:pt x="16074" y="4958"/>
                  </a:lnTo>
                  <a:lnTo>
                    <a:pt x="16090" y="4742"/>
                  </a:lnTo>
                  <a:lnTo>
                    <a:pt x="16095" y="4525"/>
                  </a:lnTo>
                  <a:lnTo>
                    <a:pt x="16090" y="4308"/>
                  </a:lnTo>
                  <a:lnTo>
                    <a:pt x="16074" y="4091"/>
                  </a:lnTo>
                  <a:lnTo>
                    <a:pt x="16049" y="3875"/>
                  </a:lnTo>
                  <a:lnTo>
                    <a:pt x="16013" y="3660"/>
                  </a:lnTo>
                  <a:lnTo>
                    <a:pt x="15965" y="3447"/>
                  </a:lnTo>
                  <a:lnTo>
                    <a:pt x="15909" y="3236"/>
                  </a:lnTo>
                  <a:lnTo>
                    <a:pt x="15842" y="3028"/>
                  </a:lnTo>
                  <a:lnTo>
                    <a:pt x="15763" y="2822"/>
                  </a:lnTo>
                  <a:lnTo>
                    <a:pt x="15676" y="2620"/>
                  </a:lnTo>
                  <a:lnTo>
                    <a:pt x="15577" y="2421"/>
                  </a:lnTo>
                  <a:lnTo>
                    <a:pt x="15468" y="2226"/>
                  </a:lnTo>
                  <a:lnTo>
                    <a:pt x="15349" y="2036"/>
                  </a:lnTo>
                  <a:lnTo>
                    <a:pt x="15220" y="1850"/>
                  </a:lnTo>
                  <a:lnTo>
                    <a:pt x="15080" y="1669"/>
                  </a:lnTo>
                  <a:lnTo>
                    <a:pt x="14929" y="1495"/>
                  </a:lnTo>
                  <a:lnTo>
                    <a:pt x="14768" y="13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325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38" name="i$ḷïďè">
              <a:extLst>
                <a:ext uri="{FF2B5EF4-FFF2-40B4-BE49-F238E27FC236}">
                  <a16:creationId xmlns:a16="http://schemas.microsoft.com/office/drawing/2014/main" id="{F5A5E840-A58B-4AAB-9194-AB66D835897F}"/>
                </a:ext>
              </a:extLst>
            </p:cNvPr>
            <p:cNvSpPr/>
            <p:nvPr/>
          </p:nvSpPr>
          <p:spPr bwMode="auto">
            <a:xfrm>
              <a:off x="4813576" y="3009000"/>
              <a:ext cx="402604" cy="401680"/>
            </a:xfrm>
            <a:custGeom>
              <a:avLst/>
              <a:gdLst>
                <a:gd name="T0" fmla="*/ 15050 w 16095"/>
                <a:gd name="T1" fmla="*/ 7221 h 16058"/>
                <a:gd name="T2" fmla="*/ 14924 w 16095"/>
                <a:gd name="T3" fmla="*/ 7397 h 16058"/>
                <a:gd name="T4" fmla="*/ 14736 w 16095"/>
                <a:gd name="T5" fmla="*/ 7505 h 16058"/>
                <a:gd name="T6" fmla="*/ 13077 w 16095"/>
                <a:gd name="T7" fmla="*/ 4015 h 16058"/>
                <a:gd name="T8" fmla="*/ 13328 w 16095"/>
                <a:gd name="T9" fmla="*/ 4081 h 16058"/>
                <a:gd name="T10" fmla="*/ 15001 w 16095"/>
                <a:gd name="T11" fmla="*/ 6239 h 16058"/>
                <a:gd name="T12" fmla="*/ 15074 w 16095"/>
                <a:gd name="T13" fmla="*/ 6403 h 16058"/>
                <a:gd name="T14" fmla="*/ 10562 w 16095"/>
                <a:gd name="T15" fmla="*/ 15054 h 16058"/>
                <a:gd name="T16" fmla="*/ 10523 w 16095"/>
                <a:gd name="T17" fmla="*/ 9841 h 16058"/>
                <a:gd name="T18" fmla="*/ 10397 w 16095"/>
                <a:gd name="T19" fmla="*/ 9665 h 16058"/>
                <a:gd name="T20" fmla="*/ 10209 w 16095"/>
                <a:gd name="T21" fmla="*/ 9557 h 16058"/>
                <a:gd name="T22" fmla="*/ 6236 w 16095"/>
                <a:gd name="T23" fmla="*/ 9537 h 16058"/>
                <a:gd name="T24" fmla="*/ 6027 w 16095"/>
                <a:gd name="T25" fmla="*/ 9607 h 16058"/>
                <a:gd name="T26" fmla="*/ 5870 w 16095"/>
                <a:gd name="T27" fmla="*/ 9755 h 16058"/>
                <a:gd name="T28" fmla="*/ 5790 w 16095"/>
                <a:gd name="T29" fmla="*/ 9960 h 16058"/>
                <a:gd name="T30" fmla="*/ 10059 w 16095"/>
                <a:gd name="T31" fmla="*/ 15054 h 16058"/>
                <a:gd name="T32" fmla="*/ 1010 w 16095"/>
                <a:gd name="T33" fmla="*/ 6462 h 16058"/>
                <a:gd name="T34" fmla="*/ 1063 w 16095"/>
                <a:gd name="T35" fmla="*/ 6291 h 16058"/>
                <a:gd name="T36" fmla="*/ 2696 w 16095"/>
                <a:gd name="T37" fmla="*/ 4131 h 16058"/>
                <a:gd name="T38" fmla="*/ 2930 w 16095"/>
                <a:gd name="T39" fmla="*/ 4023 h 16058"/>
                <a:gd name="T40" fmla="*/ 1432 w 16095"/>
                <a:gd name="T41" fmla="*/ 7521 h 16058"/>
                <a:gd name="T42" fmla="*/ 1227 w 16095"/>
                <a:gd name="T43" fmla="*/ 7442 h 16058"/>
                <a:gd name="T44" fmla="*/ 1078 w 16095"/>
                <a:gd name="T45" fmla="*/ 7285 h 16058"/>
                <a:gd name="T46" fmla="*/ 1009 w 16095"/>
                <a:gd name="T47" fmla="*/ 7077 h 16058"/>
                <a:gd name="T48" fmla="*/ 9439 w 16095"/>
                <a:gd name="T49" fmla="*/ 4015 h 16058"/>
                <a:gd name="T50" fmla="*/ 5127 w 16095"/>
                <a:gd name="T51" fmla="*/ 7527 h 16058"/>
                <a:gd name="T52" fmla="*/ 13077 w 16095"/>
                <a:gd name="T53" fmla="*/ 1004 h 16058"/>
                <a:gd name="T54" fmla="*/ 14110 w 16095"/>
                <a:gd name="T55" fmla="*/ 3426 h 16058"/>
                <a:gd name="T56" fmla="*/ 14022 w 16095"/>
                <a:gd name="T57" fmla="*/ 658 h 16058"/>
                <a:gd name="T58" fmla="*/ 13788 w 16095"/>
                <a:gd name="T59" fmla="*/ 294 h 16058"/>
                <a:gd name="T60" fmla="*/ 13423 w 16095"/>
                <a:gd name="T61" fmla="*/ 61 h 16058"/>
                <a:gd name="T62" fmla="*/ 2967 w 16095"/>
                <a:gd name="T63" fmla="*/ 1 h 16058"/>
                <a:gd name="T64" fmla="*/ 2538 w 16095"/>
                <a:gd name="T65" fmla="*/ 121 h 16058"/>
                <a:gd name="T66" fmla="*/ 2212 w 16095"/>
                <a:gd name="T67" fmla="*/ 403 h 16058"/>
                <a:gd name="T68" fmla="*/ 2032 w 16095"/>
                <a:gd name="T69" fmla="*/ 802 h 16058"/>
                <a:gd name="T70" fmla="*/ 1906 w 16095"/>
                <a:gd name="T71" fmla="*/ 3503 h 16058"/>
                <a:gd name="T72" fmla="*/ 233 w 16095"/>
                <a:gd name="T73" fmla="*/ 5720 h 16058"/>
                <a:gd name="T74" fmla="*/ 110 w 16095"/>
                <a:gd name="T75" fmla="*/ 5962 h 16058"/>
                <a:gd name="T76" fmla="*/ 31 w 16095"/>
                <a:gd name="T77" fmla="*/ 6222 h 16058"/>
                <a:gd name="T78" fmla="*/ 0 w 16095"/>
                <a:gd name="T79" fmla="*/ 6493 h 16058"/>
                <a:gd name="T80" fmla="*/ 92 w 16095"/>
                <a:gd name="T81" fmla="*/ 7542 h 16058"/>
                <a:gd name="T82" fmla="*/ 443 w 16095"/>
                <a:gd name="T83" fmla="*/ 8089 h 16058"/>
                <a:gd name="T84" fmla="*/ 991 w 16095"/>
                <a:gd name="T85" fmla="*/ 8439 h 16058"/>
                <a:gd name="T86" fmla="*/ 1510 w 16095"/>
                <a:gd name="T87" fmla="*/ 15106 h 16058"/>
                <a:gd name="T88" fmla="*/ 1631 w 16095"/>
                <a:gd name="T89" fmla="*/ 15533 h 16058"/>
                <a:gd name="T90" fmla="*/ 1913 w 16095"/>
                <a:gd name="T91" fmla="*/ 15858 h 16058"/>
                <a:gd name="T92" fmla="*/ 2312 w 16095"/>
                <a:gd name="T93" fmla="*/ 16038 h 16058"/>
                <a:gd name="T94" fmla="*/ 13782 w 16095"/>
                <a:gd name="T95" fmla="*/ 16038 h 16058"/>
                <a:gd name="T96" fmla="*/ 14182 w 16095"/>
                <a:gd name="T97" fmla="*/ 15858 h 16058"/>
                <a:gd name="T98" fmla="*/ 14464 w 16095"/>
                <a:gd name="T99" fmla="*/ 15533 h 16058"/>
                <a:gd name="T100" fmla="*/ 14585 w 16095"/>
                <a:gd name="T101" fmla="*/ 15106 h 16058"/>
                <a:gd name="T102" fmla="*/ 15104 w 16095"/>
                <a:gd name="T103" fmla="*/ 8439 h 16058"/>
                <a:gd name="T104" fmla="*/ 15652 w 16095"/>
                <a:gd name="T105" fmla="*/ 8089 h 16058"/>
                <a:gd name="T106" fmla="*/ 16003 w 16095"/>
                <a:gd name="T107" fmla="*/ 7542 h 16058"/>
                <a:gd name="T108" fmla="*/ 16095 w 16095"/>
                <a:gd name="T109" fmla="*/ 6493 h 16058"/>
                <a:gd name="T110" fmla="*/ 16064 w 16095"/>
                <a:gd name="T111" fmla="*/ 6222 h 16058"/>
                <a:gd name="T112" fmla="*/ 15985 w 16095"/>
                <a:gd name="T113" fmla="*/ 5963 h 16058"/>
                <a:gd name="T114" fmla="*/ 15862 w 16095"/>
                <a:gd name="T115" fmla="*/ 5720 h 16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095" h="16058">
                  <a:moveTo>
                    <a:pt x="15089" y="7025"/>
                  </a:moveTo>
                  <a:lnTo>
                    <a:pt x="15088" y="7051"/>
                  </a:lnTo>
                  <a:lnTo>
                    <a:pt x="15086" y="7077"/>
                  </a:lnTo>
                  <a:lnTo>
                    <a:pt x="15083" y="7102"/>
                  </a:lnTo>
                  <a:lnTo>
                    <a:pt x="15079" y="7127"/>
                  </a:lnTo>
                  <a:lnTo>
                    <a:pt x="15073" y="7151"/>
                  </a:lnTo>
                  <a:lnTo>
                    <a:pt x="15066" y="7175"/>
                  </a:lnTo>
                  <a:lnTo>
                    <a:pt x="15059" y="7198"/>
                  </a:lnTo>
                  <a:lnTo>
                    <a:pt x="15050" y="7221"/>
                  </a:lnTo>
                  <a:lnTo>
                    <a:pt x="15040" y="7243"/>
                  </a:lnTo>
                  <a:lnTo>
                    <a:pt x="15029" y="7264"/>
                  </a:lnTo>
                  <a:lnTo>
                    <a:pt x="15017" y="7285"/>
                  </a:lnTo>
                  <a:lnTo>
                    <a:pt x="15004" y="7306"/>
                  </a:lnTo>
                  <a:lnTo>
                    <a:pt x="14989" y="7325"/>
                  </a:lnTo>
                  <a:lnTo>
                    <a:pt x="14974" y="7345"/>
                  </a:lnTo>
                  <a:lnTo>
                    <a:pt x="14958" y="7363"/>
                  </a:lnTo>
                  <a:lnTo>
                    <a:pt x="14942" y="7381"/>
                  </a:lnTo>
                  <a:lnTo>
                    <a:pt x="14924" y="7397"/>
                  </a:lnTo>
                  <a:lnTo>
                    <a:pt x="14906" y="7413"/>
                  </a:lnTo>
                  <a:lnTo>
                    <a:pt x="14887" y="7428"/>
                  </a:lnTo>
                  <a:lnTo>
                    <a:pt x="14867" y="7442"/>
                  </a:lnTo>
                  <a:lnTo>
                    <a:pt x="14847" y="7455"/>
                  </a:lnTo>
                  <a:lnTo>
                    <a:pt x="14826" y="7467"/>
                  </a:lnTo>
                  <a:lnTo>
                    <a:pt x="14804" y="7478"/>
                  </a:lnTo>
                  <a:lnTo>
                    <a:pt x="14782" y="7488"/>
                  </a:lnTo>
                  <a:lnTo>
                    <a:pt x="14759" y="7497"/>
                  </a:lnTo>
                  <a:lnTo>
                    <a:pt x="14736" y="7505"/>
                  </a:lnTo>
                  <a:lnTo>
                    <a:pt x="14712" y="7511"/>
                  </a:lnTo>
                  <a:lnTo>
                    <a:pt x="14688" y="7517"/>
                  </a:lnTo>
                  <a:lnTo>
                    <a:pt x="14663" y="7521"/>
                  </a:lnTo>
                  <a:lnTo>
                    <a:pt x="14637" y="7524"/>
                  </a:lnTo>
                  <a:lnTo>
                    <a:pt x="14612" y="7526"/>
                  </a:lnTo>
                  <a:lnTo>
                    <a:pt x="14586" y="7527"/>
                  </a:lnTo>
                  <a:lnTo>
                    <a:pt x="13654" y="7527"/>
                  </a:lnTo>
                  <a:lnTo>
                    <a:pt x="11642" y="4015"/>
                  </a:lnTo>
                  <a:lnTo>
                    <a:pt x="13077" y="4015"/>
                  </a:lnTo>
                  <a:lnTo>
                    <a:pt x="13106" y="4016"/>
                  </a:lnTo>
                  <a:lnTo>
                    <a:pt x="13137" y="4018"/>
                  </a:lnTo>
                  <a:lnTo>
                    <a:pt x="13165" y="4023"/>
                  </a:lnTo>
                  <a:lnTo>
                    <a:pt x="13194" y="4029"/>
                  </a:lnTo>
                  <a:lnTo>
                    <a:pt x="13222" y="4036"/>
                  </a:lnTo>
                  <a:lnTo>
                    <a:pt x="13249" y="4045"/>
                  </a:lnTo>
                  <a:lnTo>
                    <a:pt x="13276" y="4056"/>
                  </a:lnTo>
                  <a:lnTo>
                    <a:pt x="13303" y="4068"/>
                  </a:lnTo>
                  <a:lnTo>
                    <a:pt x="13328" y="4081"/>
                  </a:lnTo>
                  <a:lnTo>
                    <a:pt x="13352" y="4096"/>
                  </a:lnTo>
                  <a:lnTo>
                    <a:pt x="13376" y="4113"/>
                  </a:lnTo>
                  <a:lnTo>
                    <a:pt x="13399" y="4131"/>
                  </a:lnTo>
                  <a:lnTo>
                    <a:pt x="13420" y="4150"/>
                  </a:lnTo>
                  <a:lnTo>
                    <a:pt x="13441" y="4170"/>
                  </a:lnTo>
                  <a:lnTo>
                    <a:pt x="13461" y="4192"/>
                  </a:lnTo>
                  <a:lnTo>
                    <a:pt x="13480" y="4215"/>
                  </a:lnTo>
                  <a:lnTo>
                    <a:pt x="14988" y="6222"/>
                  </a:lnTo>
                  <a:lnTo>
                    <a:pt x="15001" y="6239"/>
                  </a:lnTo>
                  <a:lnTo>
                    <a:pt x="15012" y="6256"/>
                  </a:lnTo>
                  <a:lnTo>
                    <a:pt x="15022" y="6274"/>
                  </a:lnTo>
                  <a:lnTo>
                    <a:pt x="15032" y="6291"/>
                  </a:lnTo>
                  <a:lnTo>
                    <a:pt x="15041" y="6309"/>
                  </a:lnTo>
                  <a:lnTo>
                    <a:pt x="15049" y="6327"/>
                  </a:lnTo>
                  <a:lnTo>
                    <a:pt x="15057" y="6346"/>
                  </a:lnTo>
                  <a:lnTo>
                    <a:pt x="15063" y="6365"/>
                  </a:lnTo>
                  <a:lnTo>
                    <a:pt x="15069" y="6384"/>
                  </a:lnTo>
                  <a:lnTo>
                    <a:pt x="15074" y="6403"/>
                  </a:lnTo>
                  <a:lnTo>
                    <a:pt x="15079" y="6423"/>
                  </a:lnTo>
                  <a:lnTo>
                    <a:pt x="15082" y="6443"/>
                  </a:lnTo>
                  <a:lnTo>
                    <a:pt x="15085" y="6462"/>
                  </a:lnTo>
                  <a:lnTo>
                    <a:pt x="15087" y="6483"/>
                  </a:lnTo>
                  <a:lnTo>
                    <a:pt x="15089" y="6503"/>
                  </a:lnTo>
                  <a:lnTo>
                    <a:pt x="15089" y="6524"/>
                  </a:lnTo>
                  <a:lnTo>
                    <a:pt x="15089" y="7025"/>
                  </a:lnTo>
                  <a:close/>
                  <a:moveTo>
                    <a:pt x="13580" y="15054"/>
                  </a:moveTo>
                  <a:lnTo>
                    <a:pt x="10562" y="15054"/>
                  </a:lnTo>
                  <a:lnTo>
                    <a:pt x="10562" y="10036"/>
                  </a:lnTo>
                  <a:lnTo>
                    <a:pt x="10561" y="10010"/>
                  </a:lnTo>
                  <a:lnTo>
                    <a:pt x="10559" y="9985"/>
                  </a:lnTo>
                  <a:lnTo>
                    <a:pt x="10556" y="9960"/>
                  </a:lnTo>
                  <a:lnTo>
                    <a:pt x="10552" y="9935"/>
                  </a:lnTo>
                  <a:lnTo>
                    <a:pt x="10546" y="9911"/>
                  </a:lnTo>
                  <a:lnTo>
                    <a:pt x="10539" y="9887"/>
                  </a:lnTo>
                  <a:lnTo>
                    <a:pt x="10532" y="9864"/>
                  </a:lnTo>
                  <a:lnTo>
                    <a:pt x="10523" y="9841"/>
                  </a:lnTo>
                  <a:lnTo>
                    <a:pt x="10513" y="9818"/>
                  </a:lnTo>
                  <a:lnTo>
                    <a:pt x="10502" y="9797"/>
                  </a:lnTo>
                  <a:lnTo>
                    <a:pt x="10490" y="9776"/>
                  </a:lnTo>
                  <a:lnTo>
                    <a:pt x="10477" y="9755"/>
                  </a:lnTo>
                  <a:lnTo>
                    <a:pt x="10463" y="9736"/>
                  </a:lnTo>
                  <a:lnTo>
                    <a:pt x="10448" y="9717"/>
                  </a:lnTo>
                  <a:lnTo>
                    <a:pt x="10432" y="9699"/>
                  </a:lnTo>
                  <a:lnTo>
                    <a:pt x="10415" y="9681"/>
                  </a:lnTo>
                  <a:lnTo>
                    <a:pt x="10397" y="9665"/>
                  </a:lnTo>
                  <a:lnTo>
                    <a:pt x="10379" y="9649"/>
                  </a:lnTo>
                  <a:lnTo>
                    <a:pt x="10360" y="9634"/>
                  </a:lnTo>
                  <a:lnTo>
                    <a:pt x="10340" y="9620"/>
                  </a:lnTo>
                  <a:lnTo>
                    <a:pt x="10320" y="9607"/>
                  </a:lnTo>
                  <a:lnTo>
                    <a:pt x="10299" y="9595"/>
                  </a:lnTo>
                  <a:lnTo>
                    <a:pt x="10278" y="9584"/>
                  </a:lnTo>
                  <a:lnTo>
                    <a:pt x="10256" y="9574"/>
                  </a:lnTo>
                  <a:lnTo>
                    <a:pt x="10232" y="9565"/>
                  </a:lnTo>
                  <a:lnTo>
                    <a:pt x="10209" y="9557"/>
                  </a:lnTo>
                  <a:lnTo>
                    <a:pt x="10185" y="9550"/>
                  </a:lnTo>
                  <a:lnTo>
                    <a:pt x="10161" y="9544"/>
                  </a:lnTo>
                  <a:lnTo>
                    <a:pt x="10136" y="9540"/>
                  </a:lnTo>
                  <a:lnTo>
                    <a:pt x="10111" y="9537"/>
                  </a:lnTo>
                  <a:lnTo>
                    <a:pt x="10086" y="9535"/>
                  </a:lnTo>
                  <a:lnTo>
                    <a:pt x="10059" y="9534"/>
                  </a:lnTo>
                  <a:lnTo>
                    <a:pt x="6287" y="9534"/>
                  </a:lnTo>
                  <a:lnTo>
                    <a:pt x="6261" y="9535"/>
                  </a:lnTo>
                  <a:lnTo>
                    <a:pt x="6236" y="9537"/>
                  </a:lnTo>
                  <a:lnTo>
                    <a:pt x="6211" y="9540"/>
                  </a:lnTo>
                  <a:lnTo>
                    <a:pt x="6186" y="9544"/>
                  </a:lnTo>
                  <a:lnTo>
                    <a:pt x="6161" y="9550"/>
                  </a:lnTo>
                  <a:lnTo>
                    <a:pt x="6137" y="9557"/>
                  </a:lnTo>
                  <a:lnTo>
                    <a:pt x="6114" y="9565"/>
                  </a:lnTo>
                  <a:lnTo>
                    <a:pt x="6091" y="9574"/>
                  </a:lnTo>
                  <a:lnTo>
                    <a:pt x="6069" y="9584"/>
                  </a:lnTo>
                  <a:lnTo>
                    <a:pt x="6048" y="9595"/>
                  </a:lnTo>
                  <a:lnTo>
                    <a:pt x="6027" y="9607"/>
                  </a:lnTo>
                  <a:lnTo>
                    <a:pt x="6005" y="9620"/>
                  </a:lnTo>
                  <a:lnTo>
                    <a:pt x="5986" y="9634"/>
                  </a:lnTo>
                  <a:lnTo>
                    <a:pt x="5967" y="9649"/>
                  </a:lnTo>
                  <a:lnTo>
                    <a:pt x="5949" y="9665"/>
                  </a:lnTo>
                  <a:lnTo>
                    <a:pt x="5931" y="9681"/>
                  </a:lnTo>
                  <a:lnTo>
                    <a:pt x="5915" y="9699"/>
                  </a:lnTo>
                  <a:lnTo>
                    <a:pt x="5899" y="9717"/>
                  </a:lnTo>
                  <a:lnTo>
                    <a:pt x="5884" y="9736"/>
                  </a:lnTo>
                  <a:lnTo>
                    <a:pt x="5870" y="9755"/>
                  </a:lnTo>
                  <a:lnTo>
                    <a:pt x="5857" y="9776"/>
                  </a:lnTo>
                  <a:lnTo>
                    <a:pt x="5844" y="9797"/>
                  </a:lnTo>
                  <a:lnTo>
                    <a:pt x="5833" y="9818"/>
                  </a:lnTo>
                  <a:lnTo>
                    <a:pt x="5823" y="9841"/>
                  </a:lnTo>
                  <a:lnTo>
                    <a:pt x="5814" y="9864"/>
                  </a:lnTo>
                  <a:lnTo>
                    <a:pt x="5806" y="9887"/>
                  </a:lnTo>
                  <a:lnTo>
                    <a:pt x="5800" y="9911"/>
                  </a:lnTo>
                  <a:lnTo>
                    <a:pt x="5794" y="9935"/>
                  </a:lnTo>
                  <a:lnTo>
                    <a:pt x="5790" y="9960"/>
                  </a:lnTo>
                  <a:lnTo>
                    <a:pt x="5787" y="9985"/>
                  </a:lnTo>
                  <a:lnTo>
                    <a:pt x="5785" y="10010"/>
                  </a:lnTo>
                  <a:lnTo>
                    <a:pt x="5784" y="10036"/>
                  </a:lnTo>
                  <a:lnTo>
                    <a:pt x="5784" y="15054"/>
                  </a:lnTo>
                  <a:lnTo>
                    <a:pt x="2515" y="15054"/>
                  </a:lnTo>
                  <a:lnTo>
                    <a:pt x="2515" y="8531"/>
                  </a:lnTo>
                  <a:lnTo>
                    <a:pt x="13580" y="8531"/>
                  </a:lnTo>
                  <a:lnTo>
                    <a:pt x="13580" y="15054"/>
                  </a:lnTo>
                  <a:close/>
                  <a:moveTo>
                    <a:pt x="10059" y="15054"/>
                  </a:moveTo>
                  <a:lnTo>
                    <a:pt x="6287" y="15054"/>
                  </a:lnTo>
                  <a:lnTo>
                    <a:pt x="6287" y="10036"/>
                  </a:lnTo>
                  <a:lnTo>
                    <a:pt x="10059" y="10036"/>
                  </a:lnTo>
                  <a:lnTo>
                    <a:pt x="10059" y="15054"/>
                  </a:lnTo>
                  <a:close/>
                  <a:moveTo>
                    <a:pt x="1006" y="7025"/>
                  </a:moveTo>
                  <a:lnTo>
                    <a:pt x="1006" y="6524"/>
                  </a:lnTo>
                  <a:lnTo>
                    <a:pt x="1006" y="6503"/>
                  </a:lnTo>
                  <a:lnTo>
                    <a:pt x="1008" y="6483"/>
                  </a:lnTo>
                  <a:lnTo>
                    <a:pt x="1010" y="6462"/>
                  </a:lnTo>
                  <a:lnTo>
                    <a:pt x="1012" y="6443"/>
                  </a:lnTo>
                  <a:lnTo>
                    <a:pt x="1016" y="6423"/>
                  </a:lnTo>
                  <a:lnTo>
                    <a:pt x="1020" y="6403"/>
                  </a:lnTo>
                  <a:lnTo>
                    <a:pt x="1026" y="6384"/>
                  </a:lnTo>
                  <a:lnTo>
                    <a:pt x="1032" y="6365"/>
                  </a:lnTo>
                  <a:lnTo>
                    <a:pt x="1038" y="6346"/>
                  </a:lnTo>
                  <a:lnTo>
                    <a:pt x="1046" y="6327"/>
                  </a:lnTo>
                  <a:lnTo>
                    <a:pt x="1054" y="6309"/>
                  </a:lnTo>
                  <a:lnTo>
                    <a:pt x="1063" y="6291"/>
                  </a:lnTo>
                  <a:lnTo>
                    <a:pt x="1073" y="6274"/>
                  </a:lnTo>
                  <a:lnTo>
                    <a:pt x="1083" y="6256"/>
                  </a:lnTo>
                  <a:lnTo>
                    <a:pt x="1094" y="6239"/>
                  </a:lnTo>
                  <a:lnTo>
                    <a:pt x="1107" y="6222"/>
                  </a:lnTo>
                  <a:lnTo>
                    <a:pt x="2615" y="4215"/>
                  </a:lnTo>
                  <a:lnTo>
                    <a:pt x="2634" y="4192"/>
                  </a:lnTo>
                  <a:lnTo>
                    <a:pt x="2654" y="4170"/>
                  </a:lnTo>
                  <a:lnTo>
                    <a:pt x="2674" y="4150"/>
                  </a:lnTo>
                  <a:lnTo>
                    <a:pt x="2696" y="4131"/>
                  </a:lnTo>
                  <a:lnTo>
                    <a:pt x="2719" y="4113"/>
                  </a:lnTo>
                  <a:lnTo>
                    <a:pt x="2743" y="4096"/>
                  </a:lnTo>
                  <a:lnTo>
                    <a:pt x="2767" y="4081"/>
                  </a:lnTo>
                  <a:lnTo>
                    <a:pt x="2792" y="4068"/>
                  </a:lnTo>
                  <a:lnTo>
                    <a:pt x="2819" y="4056"/>
                  </a:lnTo>
                  <a:lnTo>
                    <a:pt x="2846" y="4045"/>
                  </a:lnTo>
                  <a:lnTo>
                    <a:pt x="2873" y="4036"/>
                  </a:lnTo>
                  <a:lnTo>
                    <a:pt x="2901" y="4029"/>
                  </a:lnTo>
                  <a:lnTo>
                    <a:pt x="2930" y="4023"/>
                  </a:lnTo>
                  <a:lnTo>
                    <a:pt x="2958" y="4018"/>
                  </a:lnTo>
                  <a:lnTo>
                    <a:pt x="2989" y="4016"/>
                  </a:lnTo>
                  <a:lnTo>
                    <a:pt x="3018" y="4015"/>
                  </a:lnTo>
                  <a:lnTo>
                    <a:pt x="4452" y="4015"/>
                  </a:lnTo>
                  <a:lnTo>
                    <a:pt x="2440" y="7527"/>
                  </a:lnTo>
                  <a:lnTo>
                    <a:pt x="1509" y="7527"/>
                  </a:lnTo>
                  <a:lnTo>
                    <a:pt x="1483" y="7526"/>
                  </a:lnTo>
                  <a:lnTo>
                    <a:pt x="1458" y="7524"/>
                  </a:lnTo>
                  <a:lnTo>
                    <a:pt x="1432" y="7521"/>
                  </a:lnTo>
                  <a:lnTo>
                    <a:pt x="1407" y="7517"/>
                  </a:lnTo>
                  <a:lnTo>
                    <a:pt x="1383" y="7511"/>
                  </a:lnTo>
                  <a:lnTo>
                    <a:pt x="1359" y="7505"/>
                  </a:lnTo>
                  <a:lnTo>
                    <a:pt x="1336" y="7497"/>
                  </a:lnTo>
                  <a:lnTo>
                    <a:pt x="1313" y="7488"/>
                  </a:lnTo>
                  <a:lnTo>
                    <a:pt x="1291" y="7478"/>
                  </a:lnTo>
                  <a:lnTo>
                    <a:pt x="1269" y="7467"/>
                  </a:lnTo>
                  <a:lnTo>
                    <a:pt x="1248" y="7455"/>
                  </a:lnTo>
                  <a:lnTo>
                    <a:pt x="1227" y="7442"/>
                  </a:lnTo>
                  <a:lnTo>
                    <a:pt x="1208" y="7428"/>
                  </a:lnTo>
                  <a:lnTo>
                    <a:pt x="1189" y="7413"/>
                  </a:lnTo>
                  <a:lnTo>
                    <a:pt x="1171" y="7397"/>
                  </a:lnTo>
                  <a:lnTo>
                    <a:pt x="1153" y="7381"/>
                  </a:lnTo>
                  <a:lnTo>
                    <a:pt x="1137" y="7363"/>
                  </a:lnTo>
                  <a:lnTo>
                    <a:pt x="1121" y="7345"/>
                  </a:lnTo>
                  <a:lnTo>
                    <a:pt x="1106" y="7325"/>
                  </a:lnTo>
                  <a:lnTo>
                    <a:pt x="1091" y="7306"/>
                  </a:lnTo>
                  <a:lnTo>
                    <a:pt x="1078" y="7285"/>
                  </a:lnTo>
                  <a:lnTo>
                    <a:pt x="1066" y="7264"/>
                  </a:lnTo>
                  <a:lnTo>
                    <a:pt x="1055" y="7243"/>
                  </a:lnTo>
                  <a:lnTo>
                    <a:pt x="1045" y="7221"/>
                  </a:lnTo>
                  <a:lnTo>
                    <a:pt x="1036" y="7198"/>
                  </a:lnTo>
                  <a:lnTo>
                    <a:pt x="1028" y="7175"/>
                  </a:lnTo>
                  <a:lnTo>
                    <a:pt x="1022" y="7151"/>
                  </a:lnTo>
                  <a:lnTo>
                    <a:pt x="1016" y="7127"/>
                  </a:lnTo>
                  <a:lnTo>
                    <a:pt x="1012" y="7102"/>
                  </a:lnTo>
                  <a:lnTo>
                    <a:pt x="1009" y="7077"/>
                  </a:lnTo>
                  <a:lnTo>
                    <a:pt x="1007" y="7051"/>
                  </a:lnTo>
                  <a:lnTo>
                    <a:pt x="1006" y="7025"/>
                  </a:lnTo>
                  <a:close/>
                  <a:moveTo>
                    <a:pt x="9962" y="4015"/>
                  </a:moveTo>
                  <a:lnTo>
                    <a:pt x="11062" y="4015"/>
                  </a:lnTo>
                  <a:lnTo>
                    <a:pt x="13074" y="7527"/>
                  </a:lnTo>
                  <a:lnTo>
                    <a:pt x="10968" y="7527"/>
                  </a:lnTo>
                  <a:lnTo>
                    <a:pt x="9962" y="4015"/>
                  </a:lnTo>
                  <a:close/>
                  <a:moveTo>
                    <a:pt x="8299" y="4015"/>
                  </a:moveTo>
                  <a:lnTo>
                    <a:pt x="9439" y="4015"/>
                  </a:lnTo>
                  <a:lnTo>
                    <a:pt x="10444" y="7527"/>
                  </a:lnTo>
                  <a:lnTo>
                    <a:pt x="8299" y="7527"/>
                  </a:lnTo>
                  <a:lnTo>
                    <a:pt x="8299" y="4015"/>
                  </a:lnTo>
                  <a:close/>
                  <a:moveTo>
                    <a:pt x="6656" y="4015"/>
                  </a:moveTo>
                  <a:lnTo>
                    <a:pt x="7796" y="4015"/>
                  </a:lnTo>
                  <a:lnTo>
                    <a:pt x="7796" y="7527"/>
                  </a:lnTo>
                  <a:lnTo>
                    <a:pt x="5650" y="7527"/>
                  </a:lnTo>
                  <a:lnTo>
                    <a:pt x="6656" y="4015"/>
                  </a:lnTo>
                  <a:close/>
                  <a:moveTo>
                    <a:pt x="5127" y="7527"/>
                  </a:moveTo>
                  <a:lnTo>
                    <a:pt x="3020" y="7527"/>
                  </a:lnTo>
                  <a:lnTo>
                    <a:pt x="5032" y="4015"/>
                  </a:lnTo>
                  <a:lnTo>
                    <a:pt x="6132" y="4015"/>
                  </a:lnTo>
                  <a:lnTo>
                    <a:pt x="5127" y="7527"/>
                  </a:lnTo>
                  <a:close/>
                  <a:moveTo>
                    <a:pt x="13077" y="1004"/>
                  </a:moveTo>
                  <a:lnTo>
                    <a:pt x="13077" y="3011"/>
                  </a:lnTo>
                  <a:lnTo>
                    <a:pt x="3018" y="3011"/>
                  </a:lnTo>
                  <a:lnTo>
                    <a:pt x="3018" y="1004"/>
                  </a:lnTo>
                  <a:lnTo>
                    <a:pt x="13077" y="1004"/>
                  </a:lnTo>
                  <a:close/>
                  <a:moveTo>
                    <a:pt x="15793" y="5620"/>
                  </a:moveTo>
                  <a:lnTo>
                    <a:pt x="14284" y="3614"/>
                  </a:lnTo>
                  <a:lnTo>
                    <a:pt x="14262" y="3585"/>
                  </a:lnTo>
                  <a:lnTo>
                    <a:pt x="14239" y="3557"/>
                  </a:lnTo>
                  <a:lnTo>
                    <a:pt x="14214" y="3530"/>
                  </a:lnTo>
                  <a:lnTo>
                    <a:pt x="14189" y="3503"/>
                  </a:lnTo>
                  <a:lnTo>
                    <a:pt x="14164" y="3477"/>
                  </a:lnTo>
                  <a:lnTo>
                    <a:pt x="14137" y="3451"/>
                  </a:lnTo>
                  <a:lnTo>
                    <a:pt x="14110" y="3426"/>
                  </a:lnTo>
                  <a:lnTo>
                    <a:pt x="14083" y="3401"/>
                  </a:lnTo>
                  <a:lnTo>
                    <a:pt x="14083" y="1004"/>
                  </a:lnTo>
                  <a:lnTo>
                    <a:pt x="14082" y="952"/>
                  </a:lnTo>
                  <a:lnTo>
                    <a:pt x="14078" y="901"/>
                  </a:lnTo>
                  <a:lnTo>
                    <a:pt x="14072" y="851"/>
                  </a:lnTo>
                  <a:lnTo>
                    <a:pt x="14063" y="802"/>
                  </a:lnTo>
                  <a:lnTo>
                    <a:pt x="14052" y="753"/>
                  </a:lnTo>
                  <a:lnTo>
                    <a:pt x="14038" y="706"/>
                  </a:lnTo>
                  <a:lnTo>
                    <a:pt x="14022" y="658"/>
                  </a:lnTo>
                  <a:lnTo>
                    <a:pt x="14004" y="613"/>
                  </a:lnTo>
                  <a:lnTo>
                    <a:pt x="13984" y="569"/>
                  </a:lnTo>
                  <a:lnTo>
                    <a:pt x="13961" y="526"/>
                  </a:lnTo>
                  <a:lnTo>
                    <a:pt x="13937" y="484"/>
                  </a:lnTo>
                  <a:lnTo>
                    <a:pt x="13911" y="443"/>
                  </a:lnTo>
                  <a:lnTo>
                    <a:pt x="13883" y="403"/>
                  </a:lnTo>
                  <a:lnTo>
                    <a:pt x="13854" y="365"/>
                  </a:lnTo>
                  <a:lnTo>
                    <a:pt x="13822" y="329"/>
                  </a:lnTo>
                  <a:lnTo>
                    <a:pt x="13788" y="294"/>
                  </a:lnTo>
                  <a:lnTo>
                    <a:pt x="13753" y="261"/>
                  </a:lnTo>
                  <a:lnTo>
                    <a:pt x="13717" y="229"/>
                  </a:lnTo>
                  <a:lnTo>
                    <a:pt x="13679" y="200"/>
                  </a:lnTo>
                  <a:lnTo>
                    <a:pt x="13640" y="172"/>
                  </a:lnTo>
                  <a:lnTo>
                    <a:pt x="13598" y="146"/>
                  </a:lnTo>
                  <a:lnTo>
                    <a:pt x="13557" y="121"/>
                  </a:lnTo>
                  <a:lnTo>
                    <a:pt x="13513" y="99"/>
                  </a:lnTo>
                  <a:lnTo>
                    <a:pt x="13468" y="79"/>
                  </a:lnTo>
                  <a:lnTo>
                    <a:pt x="13423" y="61"/>
                  </a:lnTo>
                  <a:lnTo>
                    <a:pt x="13376" y="45"/>
                  </a:lnTo>
                  <a:lnTo>
                    <a:pt x="13329" y="32"/>
                  </a:lnTo>
                  <a:lnTo>
                    <a:pt x="13279" y="20"/>
                  </a:lnTo>
                  <a:lnTo>
                    <a:pt x="13230" y="12"/>
                  </a:lnTo>
                  <a:lnTo>
                    <a:pt x="13180" y="5"/>
                  </a:lnTo>
                  <a:lnTo>
                    <a:pt x="13128" y="1"/>
                  </a:lnTo>
                  <a:lnTo>
                    <a:pt x="13077" y="0"/>
                  </a:lnTo>
                  <a:lnTo>
                    <a:pt x="3018" y="0"/>
                  </a:lnTo>
                  <a:lnTo>
                    <a:pt x="2967" y="1"/>
                  </a:lnTo>
                  <a:lnTo>
                    <a:pt x="2915" y="5"/>
                  </a:lnTo>
                  <a:lnTo>
                    <a:pt x="2865" y="12"/>
                  </a:lnTo>
                  <a:lnTo>
                    <a:pt x="2815" y="20"/>
                  </a:lnTo>
                  <a:lnTo>
                    <a:pt x="2766" y="32"/>
                  </a:lnTo>
                  <a:lnTo>
                    <a:pt x="2718" y="45"/>
                  </a:lnTo>
                  <a:lnTo>
                    <a:pt x="2672" y="61"/>
                  </a:lnTo>
                  <a:lnTo>
                    <a:pt x="2627" y="79"/>
                  </a:lnTo>
                  <a:lnTo>
                    <a:pt x="2581" y="99"/>
                  </a:lnTo>
                  <a:lnTo>
                    <a:pt x="2538" y="121"/>
                  </a:lnTo>
                  <a:lnTo>
                    <a:pt x="2496" y="146"/>
                  </a:lnTo>
                  <a:lnTo>
                    <a:pt x="2455" y="172"/>
                  </a:lnTo>
                  <a:lnTo>
                    <a:pt x="2416" y="200"/>
                  </a:lnTo>
                  <a:lnTo>
                    <a:pt x="2378" y="229"/>
                  </a:lnTo>
                  <a:lnTo>
                    <a:pt x="2341" y="261"/>
                  </a:lnTo>
                  <a:lnTo>
                    <a:pt x="2307" y="294"/>
                  </a:lnTo>
                  <a:lnTo>
                    <a:pt x="2273" y="329"/>
                  </a:lnTo>
                  <a:lnTo>
                    <a:pt x="2241" y="365"/>
                  </a:lnTo>
                  <a:lnTo>
                    <a:pt x="2212" y="403"/>
                  </a:lnTo>
                  <a:lnTo>
                    <a:pt x="2184" y="443"/>
                  </a:lnTo>
                  <a:lnTo>
                    <a:pt x="2158" y="484"/>
                  </a:lnTo>
                  <a:lnTo>
                    <a:pt x="2134" y="526"/>
                  </a:lnTo>
                  <a:lnTo>
                    <a:pt x="2111" y="569"/>
                  </a:lnTo>
                  <a:lnTo>
                    <a:pt x="2091" y="613"/>
                  </a:lnTo>
                  <a:lnTo>
                    <a:pt x="2073" y="658"/>
                  </a:lnTo>
                  <a:lnTo>
                    <a:pt x="2057" y="706"/>
                  </a:lnTo>
                  <a:lnTo>
                    <a:pt x="2043" y="753"/>
                  </a:lnTo>
                  <a:lnTo>
                    <a:pt x="2032" y="802"/>
                  </a:lnTo>
                  <a:lnTo>
                    <a:pt x="2023" y="851"/>
                  </a:lnTo>
                  <a:lnTo>
                    <a:pt x="2017" y="901"/>
                  </a:lnTo>
                  <a:lnTo>
                    <a:pt x="2013" y="952"/>
                  </a:lnTo>
                  <a:lnTo>
                    <a:pt x="2012" y="1004"/>
                  </a:lnTo>
                  <a:lnTo>
                    <a:pt x="2012" y="3402"/>
                  </a:lnTo>
                  <a:lnTo>
                    <a:pt x="1985" y="3426"/>
                  </a:lnTo>
                  <a:lnTo>
                    <a:pt x="1959" y="3451"/>
                  </a:lnTo>
                  <a:lnTo>
                    <a:pt x="1931" y="3477"/>
                  </a:lnTo>
                  <a:lnTo>
                    <a:pt x="1906" y="3503"/>
                  </a:lnTo>
                  <a:lnTo>
                    <a:pt x="1881" y="3529"/>
                  </a:lnTo>
                  <a:lnTo>
                    <a:pt x="1857" y="3556"/>
                  </a:lnTo>
                  <a:lnTo>
                    <a:pt x="1833" y="3584"/>
                  </a:lnTo>
                  <a:lnTo>
                    <a:pt x="1811" y="3613"/>
                  </a:lnTo>
                  <a:lnTo>
                    <a:pt x="303" y="5619"/>
                  </a:lnTo>
                  <a:lnTo>
                    <a:pt x="285" y="5644"/>
                  </a:lnTo>
                  <a:lnTo>
                    <a:pt x="268" y="5669"/>
                  </a:lnTo>
                  <a:lnTo>
                    <a:pt x="250" y="5695"/>
                  </a:lnTo>
                  <a:lnTo>
                    <a:pt x="233" y="5720"/>
                  </a:lnTo>
                  <a:lnTo>
                    <a:pt x="217" y="5746"/>
                  </a:lnTo>
                  <a:lnTo>
                    <a:pt x="202" y="5772"/>
                  </a:lnTo>
                  <a:lnTo>
                    <a:pt x="187" y="5798"/>
                  </a:lnTo>
                  <a:lnTo>
                    <a:pt x="173" y="5825"/>
                  </a:lnTo>
                  <a:lnTo>
                    <a:pt x="159" y="5851"/>
                  </a:lnTo>
                  <a:lnTo>
                    <a:pt x="146" y="5879"/>
                  </a:lnTo>
                  <a:lnTo>
                    <a:pt x="133" y="5906"/>
                  </a:lnTo>
                  <a:lnTo>
                    <a:pt x="121" y="5934"/>
                  </a:lnTo>
                  <a:lnTo>
                    <a:pt x="110" y="5962"/>
                  </a:lnTo>
                  <a:lnTo>
                    <a:pt x="99" y="5991"/>
                  </a:lnTo>
                  <a:lnTo>
                    <a:pt x="88" y="6019"/>
                  </a:lnTo>
                  <a:lnTo>
                    <a:pt x="78" y="6047"/>
                  </a:lnTo>
                  <a:lnTo>
                    <a:pt x="68" y="6076"/>
                  </a:lnTo>
                  <a:lnTo>
                    <a:pt x="60" y="6105"/>
                  </a:lnTo>
                  <a:lnTo>
                    <a:pt x="51" y="6134"/>
                  </a:lnTo>
                  <a:lnTo>
                    <a:pt x="44" y="6163"/>
                  </a:lnTo>
                  <a:lnTo>
                    <a:pt x="37" y="6193"/>
                  </a:lnTo>
                  <a:lnTo>
                    <a:pt x="31" y="6222"/>
                  </a:lnTo>
                  <a:lnTo>
                    <a:pt x="25" y="6253"/>
                  </a:lnTo>
                  <a:lnTo>
                    <a:pt x="20" y="6282"/>
                  </a:lnTo>
                  <a:lnTo>
                    <a:pt x="15" y="6312"/>
                  </a:lnTo>
                  <a:lnTo>
                    <a:pt x="11" y="6342"/>
                  </a:lnTo>
                  <a:lnTo>
                    <a:pt x="8" y="6372"/>
                  </a:lnTo>
                  <a:lnTo>
                    <a:pt x="5" y="6402"/>
                  </a:lnTo>
                  <a:lnTo>
                    <a:pt x="3" y="6432"/>
                  </a:lnTo>
                  <a:lnTo>
                    <a:pt x="1" y="6463"/>
                  </a:lnTo>
                  <a:lnTo>
                    <a:pt x="0" y="6493"/>
                  </a:lnTo>
                  <a:lnTo>
                    <a:pt x="0" y="6524"/>
                  </a:lnTo>
                  <a:lnTo>
                    <a:pt x="0" y="7025"/>
                  </a:lnTo>
                  <a:lnTo>
                    <a:pt x="2" y="7103"/>
                  </a:lnTo>
                  <a:lnTo>
                    <a:pt x="8" y="7179"/>
                  </a:lnTo>
                  <a:lnTo>
                    <a:pt x="17" y="7254"/>
                  </a:lnTo>
                  <a:lnTo>
                    <a:pt x="31" y="7328"/>
                  </a:lnTo>
                  <a:lnTo>
                    <a:pt x="47" y="7401"/>
                  </a:lnTo>
                  <a:lnTo>
                    <a:pt x="68" y="7473"/>
                  </a:lnTo>
                  <a:lnTo>
                    <a:pt x="92" y="7542"/>
                  </a:lnTo>
                  <a:lnTo>
                    <a:pt x="119" y="7610"/>
                  </a:lnTo>
                  <a:lnTo>
                    <a:pt x="149" y="7678"/>
                  </a:lnTo>
                  <a:lnTo>
                    <a:pt x="182" y="7742"/>
                  </a:lnTo>
                  <a:lnTo>
                    <a:pt x="218" y="7805"/>
                  </a:lnTo>
                  <a:lnTo>
                    <a:pt x="259" y="7866"/>
                  </a:lnTo>
                  <a:lnTo>
                    <a:pt x="300" y="7926"/>
                  </a:lnTo>
                  <a:lnTo>
                    <a:pt x="345" y="7983"/>
                  </a:lnTo>
                  <a:lnTo>
                    <a:pt x="392" y="8037"/>
                  </a:lnTo>
                  <a:lnTo>
                    <a:pt x="443" y="8089"/>
                  </a:lnTo>
                  <a:lnTo>
                    <a:pt x="495" y="8139"/>
                  </a:lnTo>
                  <a:lnTo>
                    <a:pt x="549" y="8187"/>
                  </a:lnTo>
                  <a:lnTo>
                    <a:pt x="607" y="8232"/>
                  </a:lnTo>
                  <a:lnTo>
                    <a:pt x="666" y="8273"/>
                  </a:lnTo>
                  <a:lnTo>
                    <a:pt x="727" y="8313"/>
                  </a:lnTo>
                  <a:lnTo>
                    <a:pt x="791" y="8349"/>
                  </a:lnTo>
                  <a:lnTo>
                    <a:pt x="855" y="8382"/>
                  </a:lnTo>
                  <a:lnTo>
                    <a:pt x="922" y="8412"/>
                  </a:lnTo>
                  <a:lnTo>
                    <a:pt x="991" y="8439"/>
                  </a:lnTo>
                  <a:lnTo>
                    <a:pt x="1060" y="8464"/>
                  </a:lnTo>
                  <a:lnTo>
                    <a:pt x="1133" y="8484"/>
                  </a:lnTo>
                  <a:lnTo>
                    <a:pt x="1205" y="8501"/>
                  </a:lnTo>
                  <a:lnTo>
                    <a:pt x="1280" y="8514"/>
                  </a:lnTo>
                  <a:lnTo>
                    <a:pt x="1355" y="8523"/>
                  </a:lnTo>
                  <a:lnTo>
                    <a:pt x="1431" y="8529"/>
                  </a:lnTo>
                  <a:lnTo>
                    <a:pt x="1509" y="8531"/>
                  </a:lnTo>
                  <a:lnTo>
                    <a:pt x="1509" y="15054"/>
                  </a:lnTo>
                  <a:lnTo>
                    <a:pt x="1510" y="15106"/>
                  </a:lnTo>
                  <a:lnTo>
                    <a:pt x="1514" y="15157"/>
                  </a:lnTo>
                  <a:lnTo>
                    <a:pt x="1520" y="15207"/>
                  </a:lnTo>
                  <a:lnTo>
                    <a:pt x="1529" y="15257"/>
                  </a:lnTo>
                  <a:lnTo>
                    <a:pt x="1540" y="15305"/>
                  </a:lnTo>
                  <a:lnTo>
                    <a:pt x="1554" y="15352"/>
                  </a:lnTo>
                  <a:lnTo>
                    <a:pt x="1570" y="15400"/>
                  </a:lnTo>
                  <a:lnTo>
                    <a:pt x="1588" y="15445"/>
                  </a:lnTo>
                  <a:lnTo>
                    <a:pt x="1608" y="15489"/>
                  </a:lnTo>
                  <a:lnTo>
                    <a:pt x="1631" y="15533"/>
                  </a:lnTo>
                  <a:lnTo>
                    <a:pt x="1655" y="15574"/>
                  </a:lnTo>
                  <a:lnTo>
                    <a:pt x="1681" y="15615"/>
                  </a:lnTo>
                  <a:lnTo>
                    <a:pt x="1709" y="15655"/>
                  </a:lnTo>
                  <a:lnTo>
                    <a:pt x="1738" y="15693"/>
                  </a:lnTo>
                  <a:lnTo>
                    <a:pt x="1770" y="15729"/>
                  </a:lnTo>
                  <a:lnTo>
                    <a:pt x="1804" y="15764"/>
                  </a:lnTo>
                  <a:lnTo>
                    <a:pt x="1839" y="15797"/>
                  </a:lnTo>
                  <a:lnTo>
                    <a:pt x="1875" y="15829"/>
                  </a:lnTo>
                  <a:lnTo>
                    <a:pt x="1913" y="15858"/>
                  </a:lnTo>
                  <a:lnTo>
                    <a:pt x="1953" y="15886"/>
                  </a:lnTo>
                  <a:lnTo>
                    <a:pt x="1993" y="15912"/>
                  </a:lnTo>
                  <a:lnTo>
                    <a:pt x="2035" y="15937"/>
                  </a:lnTo>
                  <a:lnTo>
                    <a:pt x="2078" y="15959"/>
                  </a:lnTo>
                  <a:lnTo>
                    <a:pt x="2124" y="15979"/>
                  </a:lnTo>
                  <a:lnTo>
                    <a:pt x="2169" y="15997"/>
                  </a:lnTo>
                  <a:lnTo>
                    <a:pt x="2216" y="16013"/>
                  </a:lnTo>
                  <a:lnTo>
                    <a:pt x="2263" y="16026"/>
                  </a:lnTo>
                  <a:lnTo>
                    <a:pt x="2312" y="16038"/>
                  </a:lnTo>
                  <a:lnTo>
                    <a:pt x="2362" y="16046"/>
                  </a:lnTo>
                  <a:lnTo>
                    <a:pt x="2412" y="16053"/>
                  </a:lnTo>
                  <a:lnTo>
                    <a:pt x="2464" y="16057"/>
                  </a:lnTo>
                  <a:lnTo>
                    <a:pt x="2515" y="16058"/>
                  </a:lnTo>
                  <a:lnTo>
                    <a:pt x="13580" y="16058"/>
                  </a:lnTo>
                  <a:lnTo>
                    <a:pt x="13632" y="16057"/>
                  </a:lnTo>
                  <a:lnTo>
                    <a:pt x="13683" y="16053"/>
                  </a:lnTo>
                  <a:lnTo>
                    <a:pt x="13733" y="16046"/>
                  </a:lnTo>
                  <a:lnTo>
                    <a:pt x="13782" y="16038"/>
                  </a:lnTo>
                  <a:lnTo>
                    <a:pt x="13832" y="16026"/>
                  </a:lnTo>
                  <a:lnTo>
                    <a:pt x="13879" y="16013"/>
                  </a:lnTo>
                  <a:lnTo>
                    <a:pt x="13926" y="15997"/>
                  </a:lnTo>
                  <a:lnTo>
                    <a:pt x="13971" y="15979"/>
                  </a:lnTo>
                  <a:lnTo>
                    <a:pt x="14016" y="15959"/>
                  </a:lnTo>
                  <a:lnTo>
                    <a:pt x="14060" y="15937"/>
                  </a:lnTo>
                  <a:lnTo>
                    <a:pt x="14101" y="15912"/>
                  </a:lnTo>
                  <a:lnTo>
                    <a:pt x="14142" y="15886"/>
                  </a:lnTo>
                  <a:lnTo>
                    <a:pt x="14182" y="15858"/>
                  </a:lnTo>
                  <a:lnTo>
                    <a:pt x="14220" y="15829"/>
                  </a:lnTo>
                  <a:lnTo>
                    <a:pt x="14256" y="15797"/>
                  </a:lnTo>
                  <a:lnTo>
                    <a:pt x="14291" y="15764"/>
                  </a:lnTo>
                  <a:lnTo>
                    <a:pt x="14325" y="15729"/>
                  </a:lnTo>
                  <a:lnTo>
                    <a:pt x="14356" y="15693"/>
                  </a:lnTo>
                  <a:lnTo>
                    <a:pt x="14386" y="15655"/>
                  </a:lnTo>
                  <a:lnTo>
                    <a:pt x="14414" y="15615"/>
                  </a:lnTo>
                  <a:lnTo>
                    <a:pt x="14440" y="15574"/>
                  </a:lnTo>
                  <a:lnTo>
                    <a:pt x="14464" y="15533"/>
                  </a:lnTo>
                  <a:lnTo>
                    <a:pt x="14487" y="15489"/>
                  </a:lnTo>
                  <a:lnTo>
                    <a:pt x="14507" y="15445"/>
                  </a:lnTo>
                  <a:lnTo>
                    <a:pt x="14525" y="15400"/>
                  </a:lnTo>
                  <a:lnTo>
                    <a:pt x="14541" y="15352"/>
                  </a:lnTo>
                  <a:lnTo>
                    <a:pt x="14554" y="15305"/>
                  </a:lnTo>
                  <a:lnTo>
                    <a:pt x="14566" y="15257"/>
                  </a:lnTo>
                  <a:lnTo>
                    <a:pt x="14574" y="15207"/>
                  </a:lnTo>
                  <a:lnTo>
                    <a:pt x="14581" y="15157"/>
                  </a:lnTo>
                  <a:lnTo>
                    <a:pt x="14585" y="15106"/>
                  </a:lnTo>
                  <a:lnTo>
                    <a:pt x="14586" y="15054"/>
                  </a:lnTo>
                  <a:lnTo>
                    <a:pt x="14586" y="8531"/>
                  </a:lnTo>
                  <a:lnTo>
                    <a:pt x="14664" y="8529"/>
                  </a:lnTo>
                  <a:lnTo>
                    <a:pt x="14740" y="8523"/>
                  </a:lnTo>
                  <a:lnTo>
                    <a:pt x="14815" y="8514"/>
                  </a:lnTo>
                  <a:lnTo>
                    <a:pt x="14890" y="8501"/>
                  </a:lnTo>
                  <a:lnTo>
                    <a:pt x="14962" y="8484"/>
                  </a:lnTo>
                  <a:lnTo>
                    <a:pt x="15034" y="8464"/>
                  </a:lnTo>
                  <a:lnTo>
                    <a:pt x="15104" y="8439"/>
                  </a:lnTo>
                  <a:lnTo>
                    <a:pt x="15173" y="8412"/>
                  </a:lnTo>
                  <a:lnTo>
                    <a:pt x="15240" y="8382"/>
                  </a:lnTo>
                  <a:lnTo>
                    <a:pt x="15304" y="8349"/>
                  </a:lnTo>
                  <a:lnTo>
                    <a:pt x="15368" y="8313"/>
                  </a:lnTo>
                  <a:lnTo>
                    <a:pt x="15429" y="8273"/>
                  </a:lnTo>
                  <a:lnTo>
                    <a:pt x="15488" y="8232"/>
                  </a:lnTo>
                  <a:lnTo>
                    <a:pt x="15545" y="8187"/>
                  </a:lnTo>
                  <a:lnTo>
                    <a:pt x="15600" y="8139"/>
                  </a:lnTo>
                  <a:lnTo>
                    <a:pt x="15652" y="8089"/>
                  </a:lnTo>
                  <a:lnTo>
                    <a:pt x="15703" y="8037"/>
                  </a:lnTo>
                  <a:lnTo>
                    <a:pt x="15750" y="7983"/>
                  </a:lnTo>
                  <a:lnTo>
                    <a:pt x="15795" y="7926"/>
                  </a:lnTo>
                  <a:lnTo>
                    <a:pt x="15836" y="7866"/>
                  </a:lnTo>
                  <a:lnTo>
                    <a:pt x="15876" y="7805"/>
                  </a:lnTo>
                  <a:lnTo>
                    <a:pt x="15913" y="7742"/>
                  </a:lnTo>
                  <a:lnTo>
                    <a:pt x="15946" y="7678"/>
                  </a:lnTo>
                  <a:lnTo>
                    <a:pt x="15976" y="7610"/>
                  </a:lnTo>
                  <a:lnTo>
                    <a:pt x="16003" y="7542"/>
                  </a:lnTo>
                  <a:lnTo>
                    <a:pt x="16027" y="7473"/>
                  </a:lnTo>
                  <a:lnTo>
                    <a:pt x="16048" y="7401"/>
                  </a:lnTo>
                  <a:lnTo>
                    <a:pt x="16064" y="7328"/>
                  </a:lnTo>
                  <a:lnTo>
                    <a:pt x="16078" y="7254"/>
                  </a:lnTo>
                  <a:lnTo>
                    <a:pt x="16087" y="7179"/>
                  </a:lnTo>
                  <a:lnTo>
                    <a:pt x="16093" y="7103"/>
                  </a:lnTo>
                  <a:lnTo>
                    <a:pt x="16095" y="7025"/>
                  </a:lnTo>
                  <a:lnTo>
                    <a:pt x="16095" y="6524"/>
                  </a:lnTo>
                  <a:lnTo>
                    <a:pt x="16095" y="6493"/>
                  </a:lnTo>
                  <a:lnTo>
                    <a:pt x="16094" y="6463"/>
                  </a:lnTo>
                  <a:lnTo>
                    <a:pt x="16092" y="6432"/>
                  </a:lnTo>
                  <a:lnTo>
                    <a:pt x="16090" y="6402"/>
                  </a:lnTo>
                  <a:lnTo>
                    <a:pt x="16087" y="6372"/>
                  </a:lnTo>
                  <a:lnTo>
                    <a:pt x="16084" y="6342"/>
                  </a:lnTo>
                  <a:lnTo>
                    <a:pt x="16080" y="6312"/>
                  </a:lnTo>
                  <a:lnTo>
                    <a:pt x="16075" y="6282"/>
                  </a:lnTo>
                  <a:lnTo>
                    <a:pt x="16070" y="6253"/>
                  </a:lnTo>
                  <a:lnTo>
                    <a:pt x="16064" y="6222"/>
                  </a:lnTo>
                  <a:lnTo>
                    <a:pt x="16058" y="6193"/>
                  </a:lnTo>
                  <a:lnTo>
                    <a:pt x="16051" y="6163"/>
                  </a:lnTo>
                  <a:lnTo>
                    <a:pt x="16044" y="6134"/>
                  </a:lnTo>
                  <a:lnTo>
                    <a:pt x="16035" y="6105"/>
                  </a:lnTo>
                  <a:lnTo>
                    <a:pt x="16027" y="6076"/>
                  </a:lnTo>
                  <a:lnTo>
                    <a:pt x="16018" y="6047"/>
                  </a:lnTo>
                  <a:lnTo>
                    <a:pt x="16007" y="6019"/>
                  </a:lnTo>
                  <a:lnTo>
                    <a:pt x="15996" y="5991"/>
                  </a:lnTo>
                  <a:lnTo>
                    <a:pt x="15985" y="5963"/>
                  </a:lnTo>
                  <a:lnTo>
                    <a:pt x="15974" y="5934"/>
                  </a:lnTo>
                  <a:lnTo>
                    <a:pt x="15962" y="5906"/>
                  </a:lnTo>
                  <a:lnTo>
                    <a:pt x="15949" y="5879"/>
                  </a:lnTo>
                  <a:lnTo>
                    <a:pt x="15936" y="5852"/>
                  </a:lnTo>
                  <a:lnTo>
                    <a:pt x="15922" y="5825"/>
                  </a:lnTo>
                  <a:lnTo>
                    <a:pt x="15908" y="5798"/>
                  </a:lnTo>
                  <a:lnTo>
                    <a:pt x="15893" y="5772"/>
                  </a:lnTo>
                  <a:lnTo>
                    <a:pt x="15878" y="5746"/>
                  </a:lnTo>
                  <a:lnTo>
                    <a:pt x="15862" y="5720"/>
                  </a:lnTo>
                  <a:lnTo>
                    <a:pt x="15846" y="5695"/>
                  </a:lnTo>
                  <a:lnTo>
                    <a:pt x="15828" y="5669"/>
                  </a:lnTo>
                  <a:lnTo>
                    <a:pt x="15811" y="5644"/>
                  </a:lnTo>
                  <a:lnTo>
                    <a:pt x="15793" y="56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439" name="ïṣḻïďe">
              <a:extLst>
                <a:ext uri="{FF2B5EF4-FFF2-40B4-BE49-F238E27FC236}">
                  <a16:creationId xmlns:a16="http://schemas.microsoft.com/office/drawing/2014/main" id="{09AD8D4C-3294-4CF5-AF1F-07FF5A46BC32}"/>
                </a:ext>
              </a:extLst>
            </p:cNvPr>
            <p:cNvSpPr/>
            <p:nvPr/>
          </p:nvSpPr>
          <p:spPr bwMode="auto">
            <a:xfrm>
              <a:off x="5141620" y="3559717"/>
              <a:ext cx="261690" cy="237026"/>
            </a:xfrm>
            <a:custGeom>
              <a:avLst/>
              <a:gdLst>
                <a:gd name="T0" fmla="*/ 13271 w 16095"/>
                <a:gd name="T1" fmla="*/ 332 h 14578"/>
                <a:gd name="T2" fmla="*/ 11351 w 16095"/>
                <a:gd name="T3" fmla="*/ 5 h 14578"/>
                <a:gd name="T4" fmla="*/ 9463 w 16095"/>
                <a:gd name="T5" fmla="*/ 518 h 14578"/>
                <a:gd name="T6" fmla="*/ 789 w 16095"/>
                <a:gd name="T7" fmla="*/ 8840 h 14578"/>
                <a:gd name="T8" fmla="*/ 101 w 16095"/>
                <a:gd name="T9" fmla="*/ 10223 h 14578"/>
                <a:gd name="T10" fmla="*/ 64 w 16095"/>
                <a:gd name="T11" fmla="*/ 11733 h 14578"/>
                <a:gd name="T12" fmla="*/ 680 w 16095"/>
                <a:gd name="T13" fmla="*/ 13142 h 14578"/>
                <a:gd name="T14" fmla="*/ 1881 w 16095"/>
                <a:gd name="T15" fmla="*/ 14176 h 14578"/>
                <a:gd name="T16" fmla="*/ 3350 w 16095"/>
                <a:gd name="T17" fmla="*/ 14574 h 14578"/>
                <a:gd name="T18" fmla="*/ 4844 w 16095"/>
                <a:gd name="T19" fmla="*/ 14321 h 14578"/>
                <a:gd name="T20" fmla="*/ 13346 w 16095"/>
                <a:gd name="T21" fmla="*/ 6301 h 14578"/>
                <a:gd name="T22" fmla="*/ 13942 w 16095"/>
                <a:gd name="T23" fmla="*/ 5355 h 14578"/>
                <a:gd name="T24" fmla="*/ 14071 w 16095"/>
                <a:gd name="T25" fmla="*/ 4284 h 14578"/>
                <a:gd name="T26" fmla="*/ 13735 w 16095"/>
                <a:gd name="T27" fmla="*/ 3247 h 14578"/>
                <a:gd name="T28" fmla="*/ 12951 w 16095"/>
                <a:gd name="T29" fmla="*/ 2425 h 14578"/>
                <a:gd name="T30" fmla="*/ 11928 w 16095"/>
                <a:gd name="T31" fmla="*/ 2037 h 14578"/>
                <a:gd name="T32" fmla="*/ 10852 w 16095"/>
                <a:gd name="T33" fmla="*/ 2115 h 14578"/>
                <a:gd name="T34" fmla="*/ 9884 w 16095"/>
                <a:gd name="T35" fmla="*/ 2658 h 14578"/>
                <a:gd name="T36" fmla="*/ 4173 w 16095"/>
                <a:gd name="T37" fmla="*/ 8404 h 14578"/>
                <a:gd name="T38" fmla="*/ 4125 w 16095"/>
                <a:gd name="T39" fmla="*/ 8617 h 14578"/>
                <a:gd name="T40" fmla="*/ 4173 w 16095"/>
                <a:gd name="T41" fmla="*/ 8828 h 14578"/>
                <a:gd name="T42" fmla="*/ 4311 w 16095"/>
                <a:gd name="T43" fmla="*/ 9007 h 14578"/>
                <a:gd name="T44" fmla="*/ 4509 w 16095"/>
                <a:gd name="T45" fmla="*/ 9105 h 14578"/>
                <a:gd name="T46" fmla="*/ 4725 w 16095"/>
                <a:gd name="T47" fmla="*/ 9110 h 14578"/>
                <a:gd name="T48" fmla="*/ 4926 w 16095"/>
                <a:gd name="T49" fmla="*/ 9022 h 14578"/>
                <a:gd name="T50" fmla="*/ 10802 w 16095"/>
                <a:gd name="T51" fmla="*/ 3226 h 14578"/>
                <a:gd name="T52" fmla="*/ 11423 w 16095"/>
                <a:gd name="T53" fmla="*/ 3024 h 14578"/>
                <a:gd name="T54" fmla="*/ 12067 w 16095"/>
                <a:gd name="T55" fmla="*/ 3101 h 14578"/>
                <a:gd name="T56" fmla="*/ 12635 w 16095"/>
                <a:gd name="T57" fmla="*/ 3458 h 14578"/>
                <a:gd name="T58" fmla="*/ 12992 w 16095"/>
                <a:gd name="T59" fmla="*/ 4025 h 14578"/>
                <a:gd name="T60" fmla="*/ 13069 w 16095"/>
                <a:gd name="T61" fmla="*/ 4669 h 14578"/>
                <a:gd name="T62" fmla="*/ 12868 w 16095"/>
                <a:gd name="T63" fmla="*/ 5291 h 14578"/>
                <a:gd name="T64" fmla="*/ 5006 w 16095"/>
                <a:gd name="T65" fmla="*/ 13088 h 14578"/>
                <a:gd name="T66" fmla="*/ 3999 w 16095"/>
                <a:gd name="T67" fmla="*/ 13528 h 14578"/>
                <a:gd name="T68" fmla="*/ 2920 w 16095"/>
                <a:gd name="T69" fmla="*/ 13502 h 14578"/>
                <a:gd name="T70" fmla="*/ 1931 w 16095"/>
                <a:gd name="T71" fmla="*/ 13011 h 14578"/>
                <a:gd name="T72" fmla="*/ 1237 w 16095"/>
                <a:gd name="T73" fmla="*/ 12119 h 14578"/>
                <a:gd name="T74" fmla="*/ 1004 w 16095"/>
                <a:gd name="T75" fmla="*/ 11060 h 14578"/>
                <a:gd name="T76" fmla="*/ 1237 w 16095"/>
                <a:gd name="T77" fmla="*/ 10003 h 14578"/>
                <a:gd name="T78" fmla="*/ 9139 w 16095"/>
                <a:gd name="T79" fmla="*/ 1982 h 14578"/>
                <a:gd name="T80" fmla="*/ 10495 w 16095"/>
                <a:gd name="T81" fmla="*/ 1221 h 14578"/>
                <a:gd name="T82" fmla="*/ 12003 w 16095"/>
                <a:gd name="T83" fmla="*/ 1113 h 14578"/>
                <a:gd name="T84" fmla="*/ 13433 w 16095"/>
                <a:gd name="T85" fmla="*/ 1657 h 14578"/>
                <a:gd name="T86" fmla="*/ 14530 w 16095"/>
                <a:gd name="T87" fmla="*/ 2808 h 14578"/>
                <a:gd name="T88" fmla="*/ 15002 w 16095"/>
                <a:gd name="T89" fmla="*/ 4258 h 14578"/>
                <a:gd name="T90" fmla="*/ 14820 w 16095"/>
                <a:gd name="T91" fmla="*/ 5759 h 14578"/>
                <a:gd name="T92" fmla="*/ 13987 w 16095"/>
                <a:gd name="T93" fmla="*/ 7083 h 14578"/>
                <a:gd name="T94" fmla="*/ 8431 w 16095"/>
                <a:gd name="T95" fmla="*/ 12692 h 14578"/>
                <a:gd name="T96" fmla="*/ 8395 w 16095"/>
                <a:gd name="T97" fmla="*/ 12905 h 14578"/>
                <a:gd name="T98" fmla="*/ 8451 w 16095"/>
                <a:gd name="T99" fmla="*/ 13115 h 14578"/>
                <a:gd name="T100" fmla="*/ 8600 w 16095"/>
                <a:gd name="T101" fmla="*/ 13286 h 14578"/>
                <a:gd name="T102" fmla="*/ 8801 w 16095"/>
                <a:gd name="T103" fmla="*/ 13375 h 14578"/>
                <a:gd name="T104" fmla="*/ 9017 w 16095"/>
                <a:gd name="T105" fmla="*/ 13370 h 14578"/>
                <a:gd name="T106" fmla="*/ 9214 w 16095"/>
                <a:gd name="T107" fmla="*/ 13271 h 14578"/>
                <a:gd name="T108" fmla="*/ 15577 w 16095"/>
                <a:gd name="T109" fmla="*/ 6628 h 14578"/>
                <a:gd name="T110" fmla="*/ 16090 w 16095"/>
                <a:gd name="T111" fmla="*/ 4742 h 14578"/>
                <a:gd name="T112" fmla="*/ 15763 w 16095"/>
                <a:gd name="T113" fmla="*/ 2822 h 14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95" h="14578">
                  <a:moveTo>
                    <a:pt x="14768" y="1326"/>
                  </a:moveTo>
                  <a:lnTo>
                    <a:pt x="14600" y="1165"/>
                  </a:lnTo>
                  <a:lnTo>
                    <a:pt x="14425" y="1015"/>
                  </a:lnTo>
                  <a:lnTo>
                    <a:pt x="14244" y="875"/>
                  </a:lnTo>
                  <a:lnTo>
                    <a:pt x="14059" y="746"/>
                  </a:lnTo>
                  <a:lnTo>
                    <a:pt x="13868" y="626"/>
                  </a:lnTo>
                  <a:lnTo>
                    <a:pt x="13673" y="518"/>
                  </a:lnTo>
                  <a:lnTo>
                    <a:pt x="13474" y="419"/>
                  </a:lnTo>
                  <a:lnTo>
                    <a:pt x="13271" y="332"/>
                  </a:lnTo>
                  <a:lnTo>
                    <a:pt x="13065" y="253"/>
                  </a:lnTo>
                  <a:lnTo>
                    <a:pt x="12857" y="187"/>
                  </a:lnTo>
                  <a:lnTo>
                    <a:pt x="12646" y="130"/>
                  </a:lnTo>
                  <a:lnTo>
                    <a:pt x="12432" y="83"/>
                  </a:lnTo>
                  <a:lnTo>
                    <a:pt x="12218" y="46"/>
                  </a:lnTo>
                  <a:lnTo>
                    <a:pt x="12002" y="21"/>
                  </a:lnTo>
                  <a:lnTo>
                    <a:pt x="11786" y="5"/>
                  </a:lnTo>
                  <a:lnTo>
                    <a:pt x="11568" y="0"/>
                  </a:lnTo>
                  <a:lnTo>
                    <a:pt x="11351" y="5"/>
                  </a:lnTo>
                  <a:lnTo>
                    <a:pt x="11134" y="21"/>
                  </a:lnTo>
                  <a:lnTo>
                    <a:pt x="10918" y="46"/>
                  </a:lnTo>
                  <a:lnTo>
                    <a:pt x="10703" y="83"/>
                  </a:lnTo>
                  <a:lnTo>
                    <a:pt x="10490" y="130"/>
                  </a:lnTo>
                  <a:lnTo>
                    <a:pt x="10280" y="187"/>
                  </a:lnTo>
                  <a:lnTo>
                    <a:pt x="10070" y="253"/>
                  </a:lnTo>
                  <a:lnTo>
                    <a:pt x="9864" y="332"/>
                  </a:lnTo>
                  <a:lnTo>
                    <a:pt x="9662" y="419"/>
                  </a:lnTo>
                  <a:lnTo>
                    <a:pt x="9463" y="518"/>
                  </a:lnTo>
                  <a:lnTo>
                    <a:pt x="9268" y="626"/>
                  </a:lnTo>
                  <a:lnTo>
                    <a:pt x="9078" y="746"/>
                  </a:lnTo>
                  <a:lnTo>
                    <a:pt x="8891" y="875"/>
                  </a:lnTo>
                  <a:lnTo>
                    <a:pt x="8711" y="1015"/>
                  </a:lnTo>
                  <a:lnTo>
                    <a:pt x="8536" y="1165"/>
                  </a:lnTo>
                  <a:lnTo>
                    <a:pt x="8367" y="1326"/>
                  </a:lnTo>
                  <a:lnTo>
                    <a:pt x="1029" y="8572"/>
                  </a:lnTo>
                  <a:lnTo>
                    <a:pt x="904" y="8704"/>
                  </a:lnTo>
                  <a:lnTo>
                    <a:pt x="789" y="8840"/>
                  </a:lnTo>
                  <a:lnTo>
                    <a:pt x="680" y="8979"/>
                  </a:lnTo>
                  <a:lnTo>
                    <a:pt x="579" y="9124"/>
                  </a:lnTo>
                  <a:lnTo>
                    <a:pt x="487" y="9272"/>
                  </a:lnTo>
                  <a:lnTo>
                    <a:pt x="402" y="9424"/>
                  </a:lnTo>
                  <a:lnTo>
                    <a:pt x="326" y="9579"/>
                  </a:lnTo>
                  <a:lnTo>
                    <a:pt x="258" y="9736"/>
                  </a:lnTo>
                  <a:lnTo>
                    <a:pt x="197" y="9896"/>
                  </a:lnTo>
                  <a:lnTo>
                    <a:pt x="145" y="10058"/>
                  </a:lnTo>
                  <a:lnTo>
                    <a:pt x="101" y="10223"/>
                  </a:lnTo>
                  <a:lnTo>
                    <a:pt x="64" y="10388"/>
                  </a:lnTo>
                  <a:lnTo>
                    <a:pt x="36" y="10556"/>
                  </a:lnTo>
                  <a:lnTo>
                    <a:pt x="16" y="10724"/>
                  </a:lnTo>
                  <a:lnTo>
                    <a:pt x="4" y="10892"/>
                  </a:lnTo>
                  <a:lnTo>
                    <a:pt x="0" y="11060"/>
                  </a:lnTo>
                  <a:lnTo>
                    <a:pt x="4" y="11229"/>
                  </a:lnTo>
                  <a:lnTo>
                    <a:pt x="16" y="11398"/>
                  </a:lnTo>
                  <a:lnTo>
                    <a:pt x="36" y="11566"/>
                  </a:lnTo>
                  <a:lnTo>
                    <a:pt x="64" y="11733"/>
                  </a:lnTo>
                  <a:lnTo>
                    <a:pt x="101" y="11899"/>
                  </a:lnTo>
                  <a:lnTo>
                    <a:pt x="145" y="12064"/>
                  </a:lnTo>
                  <a:lnTo>
                    <a:pt x="197" y="12226"/>
                  </a:lnTo>
                  <a:lnTo>
                    <a:pt x="258" y="12385"/>
                  </a:lnTo>
                  <a:lnTo>
                    <a:pt x="326" y="12543"/>
                  </a:lnTo>
                  <a:lnTo>
                    <a:pt x="402" y="12698"/>
                  </a:lnTo>
                  <a:lnTo>
                    <a:pt x="487" y="12850"/>
                  </a:lnTo>
                  <a:lnTo>
                    <a:pt x="579" y="12998"/>
                  </a:lnTo>
                  <a:lnTo>
                    <a:pt x="680" y="13142"/>
                  </a:lnTo>
                  <a:lnTo>
                    <a:pt x="789" y="13282"/>
                  </a:lnTo>
                  <a:lnTo>
                    <a:pt x="904" y="13418"/>
                  </a:lnTo>
                  <a:lnTo>
                    <a:pt x="1029" y="13550"/>
                  </a:lnTo>
                  <a:lnTo>
                    <a:pt x="1161" y="13673"/>
                  </a:lnTo>
                  <a:lnTo>
                    <a:pt x="1297" y="13790"/>
                  </a:lnTo>
                  <a:lnTo>
                    <a:pt x="1436" y="13898"/>
                  </a:lnTo>
                  <a:lnTo>
                    <a:pt x="1581" y="13999"/>
                  </a:lnTo>
                  <a:lnTo>
                    <a:pt x="1729" y="14091"/>
                  </a:lnTo>
                  <a:lnTo>
                    <a:pt x="1881" y="14176"/>
                  </a:lnTo>
                  <a:lnTo>
                    <a:pt x="2036" y="14252"/>
                  </a:lnTo>
                  <a:lnTo>
                    <a:pt x="2193" y="14321"/>
                  </a:lnTo>
                  <a:lnTo>
                    <a:pt x="2354" y="14381"/>
                  </a:lnTo>
                  <a:lnTo>
                    <a:pt x="2516" y="14433"/>
                  </a:lnTo>
                  <a:lnTo>
                    <a:pt x="2680" y="14477"/>
                  </a:lnTo>
                  <a:lnTo>
                    <a:pt x="2846" y="14514"/>
                  </a:lnTo>
                  <a:lnTo>
                    <a:pt x="3013" y="14542"/>
                  </a:lnTo>
                  <a:lnTo>
                    <a:pt x="3181" y="14562"/>
                  </a:lnTo>
                  <a:lnTo>
                    <a:pt x="3350" y="14574"/>
                  </a:lnTo>
                  <a:lnTo>
                    <a:pt x="3519" y="14578"/>
                  </a:lnTo>
                  <a:lnTo>
                    <a:pt x="3688" y="14574"/>
                  </a:lnTo>
                  <a:lnTo>
                    <a:pt x="3857" y="14562"/>
                  </a:lnTo>
                  <a:lnTo>
                    <a:pt x="4025" y="14542"/>
                  </a:lnTo>
                  <a:lnTo>
                    <a:pt x="4192" y="14514"/>
                  </a:lnTo>
                  <a:lnTo>
                    <a:pt x="4358" y="14477"/>
                  </a:lnTo>
                  <a:lnTo>
                    <a:pt x="4522" y="14433"/>
                  </a:lnTo>
                  <a:lnTo>
                    <a:pt x="4684" y="14381"/>
                  </a:lnTo>
                  <a:lnTo>
                    <a:pt x="4844" y="14321"/>
                  </a:lnTo>
                  <a:lnTo>
                    <a:pt x="5002" y="14252"/>
                  </a:lnTo>
                  <a:lnTo>
                    <a:pt x="5156" y="14176"/>
                  </a:lnTo>
                  <a:lnTo>
                    <a:pt x="5308" y="14091"/>
                  </a:lnTo>
                  <a:lnTo>
                    <a:pt x="5456" y="13999"/>
                  </a:lnTo>
                  <a:lnTo>
                    <a:pt x="5601" y="13898"/>
                  </a:lnTo>
                  <a:lnTo>
                    <a:pt x="5741" y="13790"/>
                  </a:lnTo>
                  <a:lnTo>
                    <a:pt x="5877" y="13673"/>
                  </a:lnTo>
                  <a:lnTo>
                    <a:pt x="6007" y="13550"/>
                  </a:lnTo>
                  <a:lnTo>
                    <a:pt x="13346" y="6301"/>
                  </a:lnTo>
                  <a:lnTo>
                    <a:pt x="13435" y="6208"/>
                  </a:lnTo>
                  <a:lnTo>
                    <a:pt x="13519" y="6110"/>
                  </a:lnTo>
                  <a:lnTo>
                    <a:pt x="13596" y="6011"/>
                  </a:lnTo>
                  <a:lnTo>
                    <a:pt x="13669" y="5907"/>
                  </a:lnTo>
                  <a:lnTo>
                    <a:pt x="13735" y="5802"/>
                  </a:lnTo>
                  <a:lnTo>
                    <a:pt x="13795" y="5693"/>
                  </a:lnTo>
                  <a:lnTo>
                    <a:pt x="13850" y="5582"/>
                  </a:lnTo>
                  <a:lnTo>
                    <a:pt x="13899" y="5470"/>
                  </a:lnTo>
                  <a:lnTo>
                    <a:pt x="13942" y="5355"/>
                  </a:lnTo>
                  <a:lnTo>
                    <a:pt x="13980" y="5240"/>
                  </a:lnTo>
                  <a:lnTo>
                    <a:pt x="14011" y="5123"/>
                  </a:lnTo>
                  <a:lnTo>
                    <a:pt x="14037" y="5004"/>
                  </a:lnTo>
                  <a:lnTo>
                    <a:pt x="14057" y="4885"/>
                  </a:lnTo>
                  <a:lnTo>
                    <a:pt x="14071" y="4765"/>
                  </a:lnTo>
                  <a:lnTo>
                    <a:pt x="14080" y="4645"/>
                  </a:lnTo>
                  <a:lnTo>
                    <a:pt x="14083" y="4524"/>
                  </a:lnTo>
                  <a:lnTo>
                    <a:pt x="14080" y="4404"/>
                  </a:lnTo>
                  <a:lnTo>
                    <a:pt x="14071" y="4284"/>
                  </a:lnTo>
                  <a:lnTo>
                    <a:pt x="14057" y="4164"/>
                  </a:lnTo>
                  <a:lnTo>
                    <a:pt x="14037" y="4044"/>
                  </a:lnTo>
                  <a:lnTo>
                    <a:pt x="14011" y="3926"/>
                  </a:lnTo>
                  <a:lnTo>
                    <a:pt x="13980" y="3809"/>
                  </a:lnTo>
                  <a:lnTo>
                    <a:pt x="13942" y="3693"/>
                  </a:lnTo>
                  <a:lnTo>
                    <a:pt x="13899" y="3579"/>
                  </a:lnTo>
                  <a:lnTo>
                    <a:pt x="13850" y="3466"/>
                  </a:lnTo>
                  <a:lnTo>
                    <a:pt x="13795" y="3356"/>
                  </a:lnTo>
                  <a:lnTo>
                    <a:pt x="13735" y="3247"/>
                  </a:lnTo>
                  <a:lnTo>
                    <a:pt x="13669" y="3142"/>
                  </a:lnTo>
                  <a:lnTo>
                    <a:pt x="13596" y="3038"/>
                  </a:lnTo>
                  <a:lnTo>
                    <a:pt x="13519" y="2939"/>
                  </a:lnTo>
                  <a:lnTo>
                    <a:pt x="13435" y="2841"/>
                  </a:lnTo>
                  <a:lnTo>
                    <a:pt x="13346" y="2748"/>
                  </a:lnTo>
                  <a:lnTo>
                    <a:pt x="13252" y="2658"/>
                  </a:lnTo>
                  <a:lnTo>
                    <a:pt x="13156" y="2575"/>
                  </a:lnTo>
                  <a:lnTo>
                    <a:pt x="13055" y="2497"/>
                  </a:lnTo>
                  <a:lnTo>
                    <a:pt x="12951" y="2425"/>
                  </a:lnTo>
                  <a:lnTo>
                    <a:pt x="12846" y="2359"/>
                  </a:lnTo>
                  <a:lnTo>
                    <a:pt x="12737" y="2299"/>
                  </a:lnTo>
                  <a:lnTo>
                    <a:pt x="12627" y="2244"/>
                  </a:lnTo>
                  <a:lnTo>
                    <a:pt x="12514" y="2196"/>
                  </a:lnTo>
                  <a:lnTo>
                    <a:pt x="12400" y="2152"/>
                  </a:lnTo>
                  <a:lnTo>
                    <a:pt x="12284" y="2115"/>
                  </a:lnTo>
                  <a:lnTo>
                    <a:pt x="12167" y="2083"/>
                  </a:lnTo>
                  <a:lnTo>
                    <a:pt x="12048" y="2057"/>
                  </a:lnTo>
                  <a:lnTo>
                    <a:pt x="11928" y="2037"/>
                  </a:lnTo>
                  <a:lnTo>
                    <a:pt x="11809" y="2023"/>
                  </a:lnTo>
                  <a:lnTo>
                    <a:pt x="11689" y="2015"/>
                  </a:lnTo>
                  <a:lnTo>
                    <a:pt x="11568" y="2012"/>
                  </a:lnTo>
                  <a:lnTo>
                    <a:pt x="11448" y="2015"/>
                  </a:lnTo>
                  <a:lnTo>
                    <a:pt x="11327" y="2023"/>
                  </a:lnTo>
                  <a:lnTo>
                    <a:pt x="11207" y="2037"/>
                  </a:lnTo>
                  <a:lnTo>
                    <a:pt x="11087" y="2057"/>
                  </a:lnTo>
                  <a:lnTo>
                    <a:pt x="10969" y="2083"/>
                  </a:lnTo>
                  <a:lnTo>
                    <a:pt x="10852" y="2115"/>
                  </a:lnTo>
                  <a:lnTo>
                    <a:pt x="10736" y="2152"/>
                  </a:lnTo>
                  <a:lnTo>
                    <a:pt x="10622" y="2196"/>
                  </a:lnTo>
                  <a:lnTo>
                    <a:pt x="10509" y="2244"/>
                  </a:lnTo>
                  <a:lnTo>
                    <a:pt x="10398" y="2299"/>
                  </a:lnTo>
                  <a:lnTo>
                    <a:pt x="10291" y="2359"/>
                  </a:lnTo>
                  <a:lnTo>
                    <a:pt x="10184" y="2425"/>
                  </a:lnTo>
                  <a:lnTo>
                    <a:pt x="10082" y="2497"/>
                  </a:lnTo>
                  <a:lnTo>
                    <a:pt x="9981" y="2575"/>
                  </a:lnTo>
                  <a:lnTo>
                    <a:pt x="9884" y="2658"/>
                  </a:lnTo>
                  <a:lnTo>
                    <a:pt x="9790" y="2748"/>
                  </a:lnTo>
                  <a:lnTo>
                    <a:pt x="4273" y="8261"/>
                  </a:lnTo>
                  <a:lnTo>
                    <a:pt x="4255" y="8279"/>
                  </a:lnTo>
                  <a:lnTo>
                    <a:pt x="4239" y="8299"/>
                  </a:lnTo>
                  <a:lnTo>
                    <a:pt x="4223" y="8319"/>
                  </a:lnTo>
                  <a:lnTo>
                    <a:pt x="4209" y="8339"/>
                  </a:lnTo>
                  <a:lnTo>
                    <a:pt x="4196" y="8361"/>
                  </a:lnTo>
                  <a:lnTo>
                    <a:pt x="4184" y="8382"/>
                  </a:lnTo>
                  <a:lnTo>
                    <a:pt x="4173" y="8404"/>
                  </a:lnTo>
                  <a:lnTo>
                    <a:pt x="4163" y="8427"/>
                  </a:lnTo>
                  <a:lnTo>
                    <a:pt x="4154" y="8450"/>
                  </a:lnTo>
                  <a:lnTo>
                    <a:pt x="4146" y="8473"/>
                  </a:lnTo>
                  <a:lnTo>
                    <a:pt x="4140" y="8497"/>
                  </a:lnTo>
                  <a:lnTo>
                    <a:pt x="4134" y="8520"/>
                  </a:lnTo>
                  <a:lnTo>
                    <a:pt x="4130" y="8544"/>
                  </a:lnTo>
                  <a:lnTo>
                    <a:pt x="4128" y="8568"/>
                  </a:lnTo>
                  <a:lnTo>
                    <a:pt x="4126" y="8592"/>
                  </a:lnTo>
                  <a:lnTo>
                    <a:pt x="4125" y="8617"/>
                  </a:lnTo>
                  <a:lnTo>
                    <a:pt x="4126" y="8640"/>
                  </a:lnTo>
                  <a:lnTo>
                    <a:pt x="4128" y="8664"/>
                  </a:lnTo>
                  <a:lnTo>
                    <a:pt x="4130" y="8688"/>
                  </a:lnTo>
                  <a:lnTo>
                    <a:pt x="4134" y="8712"/>
                  </a:lnTo>
                  <a:lnTo>
                    <a:pt x="4140" y="8736"/>
                  </a:lnTo>
                  <a:lnTo>
                    <a:pt x="4146" y="8759"/>
                  </a:lnTo>
                  <a:lnTo>
                    <a:pt x="4154" y="8782"/>
                  </a:lnTo>
                  <a:lnTo>
                    <a:pt x="4163" y="8806"/>
                  </a:lnTo>
                  <a:lnTo>
                    <a:pt x="4173" y="8828"/>
                  </a:lnTo>
                  <a:lnTo>
                    <a:pt x="4184" y="8850"/>
                  </a:lnTo>
                  <a:lnTo>
                    <a:pt x="4196" y="8872"/>
                  </a:lnTo>
                  <a:lnTo>
                    <a:pt x="4209" y="8893"/>
                  </a:lnTo>
                  <a:lnTo>
                    <a:pt x="4223" y="8913"/>
                  </a:lnTo>
                  <a:lnTo>
                    <a:pt x="4239" y="8933"/>
                  </a:lnTo>
                  <a:lnTo>
                    <a:pt x="4255" y="8953"/>
                  </a:lnTo>
                  <a:lnTo>
                    <a:pt x="4273" y="8971"/>
                  </a:lnTo>
                  <a:lnTo>
                    <a:pt x="4292" y="8989"/>
                  </a:lnTo>
                  <a:lnTo>
                    <a:pt x="4311" y="9007"/>
                  </a:lnTo>
                  <a:lnTo>
                    <a:pt x="4332" y="9022"/>
                  </a:lnTo>
                  <a:lnTo>
                    <a:pt x="4352" y="9036"/>
                  </a:lnTo>
                  <a:lnTo>
                    <a:pt x="4373" y="9050"/>
                  </a:lnTo>
                  <a:lnTo>
                    <a:pt x="4395" y="9062"/>
                  </a:lnTo>
                  <a:lnTo>
                    <a:pt x="4417" y="9073"/>
                  </a:lnTo>
                  <a:lnTo>
                    <a:pt x="4439" y="9082"/>
                  </a:lnTo>
                  <a:lnTo>
                    <a:pt x="4462" y="9091"/>
                  </a:lnTo>
                  <a:lnTo>
                    <a:pt x="4485" y="9098"/>
                  </a:lnTo>
                  <a:lnTo>
                    <a:pt x="4509" y="9105"/>
                  </a:lnTo>
                  <a:lnTo>
                    <a:pt x="4533" y="9110"/>
                  </a:lnTo>
                  <a:lnTo>
                    <a:pt x="4557" y="9114"/>
                  </a:lnTo>
                  <a:lnTo>
                    <a:pt x="4580" y="9117"/>
                  </a:lnTo>
                  <a:lnTo>
                    <a:pt x="4604" y="9118"/>
                  </a:lnTo>
                  <a:lnTo>
                    <a:pt x="4628" y="9119"/>
                  </a:lnTo>
                  <a:lnTo>
                    <a:pt x="4652" y="9118"/>
                  </a:lnTo>
                  <a:lnTo>
                    <a:pt x="4677" y="9117"/>
                  </a:lnTo>
                  <a:lnTo>
                    <a:pt x="4701" y="9114"/>
                  </a:lnTo>
                  <a:lnTo>
                    <a:pt x="4725" y="9110"/>
                  </a:lnTo>
                  <a:lnTo>
                    <a:pt x="4748" y="9105"/>
                  </a:lnTo>
                  <a:lnTo>
                    <a:pt x="4772" y="9098"/>
                  </a:lnTo>
                  <a:lnTo>
                    <a:pt x="4795" y="9091"/>
                  </a:lnTo>
                  <a:lnTo>
                    <a:pt x="4817" y="9082"/>
                  </a:lnTo>
                  <a:lnTo>
                    <a:pt x="4841" y="9073"/>
                  </a:lnTo>
                  <a:lnTo>
                    <a:pt x="4863" y="9062"/>
                  </a:lnTo>
                  <a:lnTo>
                    <a:pt x="4884" y="9050"/>
                  </a:lnTo>
                  <a:lnTo>
                    <a:pt x="4905" y="9036"/>
                  </a:lnTo>
                  <a:lnTo>
                    <a:pt x="4926" y="9022"/>
                  </a:lnTo>
                  <a:lnTo>
                    <a:pt x="4946" y="9007"/>
                  </a:lnTo>
                  <a:lnTo>
                    <a:pt x="4965" y="8989"/>
                  </a:lnTo>
                  <a:lnTo>
                    <a:pt x="4984" y="8971"/>
                  </a:lnTo>
                  <a:lnTo>
                    <a:pt x="10501" y="3458"/>
                  </a:lnTo>
                  <a:lnTo>
                    <a:pt x="10557" y="3405"/>
                  </a:lnTo>
                  <a:lnTo>
                    <a:pt x="10616" y="3355"/>
                  </a:lnTo>
                  <a:lnTo>
                    <a:pt x="10676" y="3308"/>
                  </a:lnTo>
                  <a:lnTo>
                    <a:pt x="10738" y="3265"/>
                  </a:lnTo>
                  <a:lnTo>
                    <a:pt x="10802" y="3226"/>
                  </a:lnTo>
                  <a:lnTo>
                    <a:pt x="10866" y="3190"/>
                  </a:lnTo>
                  <a:lnTo>
                    <a:pt x="10933" y="3157"/>
                  </a:lnTo>
                  <a:lnTo>
                    <a:pt x="11000" y="3128"/>
                  </a:lnTo>
                  <a:lnTo>
                    <a:pt x="11069" y="3101"/>
                  </a:lnTo>
                  <a:lnTo>
                    <a:pt x="11139" y="3079"/>
                  </a:lnTo>
                  <a:lnTo>
                    <a:pt x="11209" y="3060"/>
                  </a:lnTo>
                  <a:lnTo>
                    <a:pt x="11280" y="3045"/>
                  </a:lnTo>
                  <a:lnTo>
                    <a:pt x="11352" y="3033"/>
                  </a:lnTo>
                  <a:lnTo>
                    <a:pt x="11423" y="3024"/>
                  </a:lnTo>
                  <a:lnTo>
                    <a:pt x="11496" y="3019"/>
                  </a:lnTo>
                  <a:lnTo>
                    <a:pt x="11568" y="3017"/>
                  </a:lnTo>
                  <a:lnTo>
                    <a:pt x="11641" y="3019"/>
                  </a:lnTo>
                  <a:lnTo>
                    <a:pt x="11713" y="3024"/>
                  </a:lnTo>
                  <a:lnTo>
                    <a:pt x="11785" y="3033"/>
                  </a:lnTo>
                  <a:lnTo>
                    <a:pt x="11857" y="3045"/>
                  </a:lnTo>
                  <a:lnTo>
                    <a:pt x="11927" y="3060"/>
                  </a:lnTo>
                  <a:lnTo>
                    <a:pt x="11998" y="3079"/>
                  </a:lnTo>
                  <a:lnTo>
                    <a:pt x="12067" y="3101"/>
                  </a:lnTo>
                  <a:lnTo>
                    <a:pt x="12137" y="3128"/>
                  </a:lnTo>
                  <a:lnTo>
                    <a:pt x="12204" y="3157"/>
                  </a:lnTo>
                  <a:lnTo>
                    <a:pt x="12270" y="3190"/>
                  </a:lnTo>
                  <a:lnTo>
                    <a:pt x="12335" y="3226"/>
                  </a:lnTo>
                  <a:lnTo>
                    <a:pt x="12398" y="3265"/>
                  </a:lnTo>
                  <a:lnTo>
                    <a:pt x="12461" y="3308"/>
                  </a:lnTo>
                  <a:lnTo>
                    <a:pt x="12521" y="3355"/>
                  </a:lnTo>
                  <a:lnTo>
                    <a:pt x="12579" y="3405"/>
                  </a:lnTo>
                  <a:lnTo>
                    <a:pt x="12635" y="3458"/>
                  </a:lnTo>
                  <a:lnTo>
                    <a:pt x="12689" y="3515"/>
                  </a:lnTo>
                  <a:lnTo>
                    <a:pt x="12738" y="3572"/>
                  </a:lnTo>
                  <a:lnTo>
                    <a:pt x="12785" y="3632"/>
                  </a:lnTo>
                  <a:lnTo>
                    <a:pt x="12828" y="3695"/>
                  </a:lnTo>
                  <a:lnTo>
                    <a:pt x="12868" y="3758"/>
                  </a:lnTo>
                  <a:lnTo>
                    <a:pt x="12904" y="3823"/>
                  </a:lnTo>
                  <a:lnTo>
                    <a:pt x="12936" y="3890"/>
                  </a:lnTo>
                  <a:lnTo>
                    <a:pt x="12967" y="3957"/>
                  </a:lnTo>
                  <a:lnTo>
                    <a:pt x="12992" y="4025"/>
                  </a:lnTo>
                  <a:lnTo>
                    <a:pt x="13015" y="4095"/>
                  </a:lnTo>
                  <a:lnTo>
                    <a:pt x="13033" y="4165"/>
                  </a:lnTo>
                  <a:lnTo>
                    <a:pt x="13049" y="4236"/>
                  </a:lnTo>
                  <a:lnTo>
                    <a:pt x="13061" y="4308"/>
                  </a:lnTo>
                  <a:lnTo>
                    <a:pt x="13069" y="4380"/>
                  </a:lnTo>
                  <a:lnTo>
                    <a:pt x="13075" y="4452"/>
                  </a:lnTo>
                  <a:lnTo>
                    <a:pt x="13076" y="4524"/>
                  </a:lnTo>
                  <a:lnTo>
                    <a:pt x="13075" y="4596"/>
                  </a:lnTo>
                  <a:lnTo>
                    <a:pt x="13069" y="4669"/>
                  </a:lnTo>
                  <a:lnTo>
                    <a:pt x="13061" y="4741"/>
                  </a:lnTo>
                  <a:lnTo>
                    <a:pt x="13049" y="4812"/>
                  </a:lnTo>
                  <a:lnTo>
                    <a:pt x="13033" y="4884"/>
                  </a:lnTo>
                  <a:lnTo>
                    <a:pt x="13015" y="4954"/>
                  </a:lnTo>
                  <a:lnTo>
                    <a:pt x="12992" y="5024"/>
                  </a:lnTo>
                  <a:lnTo>
                    <a:pt x="12967" y="5092"/>
                  </a:lnTo>
                  <a:lnTo>
                    <a:pt x="12936" y="5159"/>
                  </a:lnTo>
                  <a:lnTo>
                    <a:pt x="12904" y="5226"/>
                  </a:lnTo>
                  <a:lnTo>
                    <a:pt x="12868" y="5291"/>
                  </a:lnTo>
                  <a:lnTo>
                    <a:pt x="12828" y="5354"/>
                  </a:lnTo>
                  <a:lnTo>
                    <a:pt x="12785" y="5417"/>
                  </a:lnTo>
                  <a:lnTo>
                    <a:pt x="12738" y="5476"/>
                  </a:lnTo>
                  <a:lnTo>
                    <a:pt x="12689" y="5534"/>
                  </a:lnTo>
                  <a:lnTo>
                    <a:pt x="12635" y="5591"/>
                  </a:lnTo>
                  <a:lnTo>
                    <a:pt x="5297" y="12838"/>
                  </a:lnTo>
                  <a:lnTo>
                    <a:pt x="5203" y="12927"/>
                  </a:lnTo>
                  <a:lnTo>
                    <a:pt x="5106" y="13011"/>
                  </a:lnTo>
                  <a:lnTo>
                    <a:pt x="5006" y="13088"/>
                  </a:lnTo>
                  <a:lnTo>
                    <a:pt x="4902" y="13160"/>
                  </a:lnTo>
                  <a:lnTo>
                    <a:pt x="4796" y="13226"/>
                  </a:lnTo>
                  <a:lnTo>
                    <a:pt x="4688" y="13286"/>
                  </a:lnTo>
                  <a:lnTo>
                    <a:pt x="4577" y="13341"/>
                  </a:lnTo>
                  <a:lnTo>
                    <a:pt x="4465" y="13390"/>
                  </a:lnTo>
                  <a:lnTo>
                    <a:pt x="4351" y="13433"/>
                  </a:lnTo>
                  <a:lnTo>
                    <a:pt x="4235" y="13470"/>
                  </a:lnTo>
                  <a:lnTo>
                    <a:pt x="4117" y="13502"/>
                  </a:lnTo>
                  <a:lnTo>
                    <a:pt x="3999" y="13528"/>
                  </a:lnTo>
                  <a:lnTo>
                    <a:pt x="3880" y="13549"/>
                  </a:lnTo>
                  <a:lnTo>
                    <a:pt x="3760" y="13563"/>
                  </a:lnTo>
                  <a:lnTo>
                    <a:pt x="3639" y="13571"/>
                  </a:lnTo>
                  <a:lnTo>
                    <a:pt x="3519" y="13574"/>
                  </a:lnTo>
                  <a:lnTo>
                    <a:pt x="3398" y="13571"/>
                  </a:lnTo>
                  <a:lnTo>
                    <a:pt x="3277" y="13563"/>
                  </a:lnTo>
                  <a:lnTo>
                    <a:pt x="3158" y="13549"/>
                  </a:lnTo>
                  <a:lnTo>
                    <a:pt x="3039" y="13528"/>
                  </a:lnTo>
                  <a:lnTo>
                    <a:pt x="2920" y="13502"/>
                  </a:lnTo>
                  <a:lnTo>
                    <a:pt x="2803" y="13470"/>
                  </a:lnTo>
                  <a:lnTo>
                    <a:pt x="2687" y="13433"/>
                  </a:lnTo>
                  <a:lnTo>
                    <a:pt x="2572" y="13390"/>
                  </a:lnTo>
                  <a:lnTo>
                    <a:pt x="2460" y="13341"/>
                  </a:lnTo>
                  <a:lnTo>
                    <a:pt x="2350" y="13286"/>
                  </a:lnTo>
                  <a:lnTo>
                    <a:pt x="2241" y="13226"/>
                  </a:lnTo>
                  <a:lnTo>
                    <a:pt x="2136" y="13160"/>
                  </a:lnTo>
                  <a:lnTo>
                    <a:pt x="2032" y="13088"/>
                  </a:lnTo>
                  <a:lnTo>
                    <a:pt x="1931" y="13011"/>
                  </a:lnTo>
                  <a:lnTo>
                    <a:pt x="1835" y="12927"/>
                  </a:lnTo>
                  <a:lnTo>
                    <a:pt x="1740" y="12838"/>
                  </a:lnTo>
                  <a:lnTo>
                    <a:pt x="1652" y="12744"/>
                  </a:lnTo>
                  <a:lnTo>
                    <a:pt x="1568" y="12647"/>
                  </a:lnTo>
                  <a:lnTo>
                    <a:pt x="1491" y="12546"/>
                  </a:lnTo>
                  <a:lnTo>
                    <a:pt x="1418" y="12444"/>
                  </a:lnTo>
                  <a:lnTo>
                    <a:pt x="1352" y="12338"/>
                  </a:lnTo>
                  <a:lnTo>
                    <a:pt x="1292" y="12230"/>
                  </a:lnTo>
                  <a:lnTo>
                    <a:pt x="1237" y="12119"/>
                  </a:lnTo>
                  <a:lnTo>
                    <a:pt x="1188" y="12006"/>
                  </a:lnTo>
                  <a:lnTo>
                    <a:pt x="1145" y="11892"/>
                  </a:lnTo>
                  <a:lnTo>
                    <a:pt x="1108" y="11776"/>
                  </a:lnTo>
                  <a:lnTo>
                    <a:pt x="1076" y="11660"/>
                  </a:lnTo>
                  <a:lnTo>
                    <a:pt x="1050" y="11541"/>
                  </a:lnTo>
                  <a:lnTo>
                    <a:pt x="1030" y="11421"/>
                  </a:lnTo>
                  <a:lnTo>
                    <a:pt x="1016" y="11302"/>
                  </a:lnTo>
                  <a:lnTo>
                    <a:pt x="1007" y="11181"/>
                  </a:lnTo>
                  <a:lnTo>
                    <a:pt x="1004" y="11060"/>
                  </a:lnTo>
                  <a:lnTo>
                    <a:pt x="1007" y="10940"/>
                  </a:lnTo>
                  <a:lnTo>
                    <a:pt x="1016" y="10820"/>
                  </a:lnTo>
                  <a:lnTo>
                    <a:pt x="1030" y="10701"/>
                  </a:lnTo>
                  <a:lnTo>
                    <a:pt x="1050" y="10581"/>
                  </a:lnTo>
                  <a:lnTo>
                    <a:pt x="1076" y="10462"/>
                  </a:lnTo>
                  <a:lnTo>
                    <a:pt x="1108" y="10346"/>
                  </a:lnTo>
                  <a:lnTo>
                    <a:pt x="1145" y="10229"/>
                  </a:lnTo>
                  <a:lnTo>
                    <a:pt x="1188" y="10115"/>
                  </a:lnTo>
                  <a:lnTo>
                    <a:pt x="1237" y="10003"/>
                  </a:lnTo>
                  <a:lnTo>
                    <a:pt x="1292" y="9892"/>
                  </a:lnTo>
                  <a:lnTo>
                    <a:pt x="1352" y="9784"/>
                  </a:lnTo>
                  <a:lnTo>
                    <a:pt x="1418" y="9678"/>
                  </a:lnTo>
                  <a:lnTo>
                    <a:pt x="1491" y="9575"/>
                  </a:lnTo>
                  <a:lnTo>
                    <a:pt x="1568" y="9475"/>
                  </a:lnTo>
                  <a:lnTo>
                    <a:pt x="1652" y="9378"/>
                  </a:lnTo>
                  <a:lnTo>
                    <a:pt x="1740" y="9284"/>
                  </a:lnTo>
                  <a:lnTo>
                    <a:pt x="9007" y="2108"/>
                  </a:lnTo>
                  <a:lnTo>
                    <a:pt x="9139" y="1982"/>
                  </a:lnTo>
                  <a:lnTo>
                    <a:pt x="9275" y="1866"/>
                  </a:lnTo>
                  <a:lnTo>
                    <a:pt x="9415" y="1757"/>
                  </a:lnTo>
                  <a:lnTo>
                    <a:pt x="9559" y="1657"/>
                  </a:lnTo>
                  <a:lnTo>
                    <a:pt x="9707" y="1564"/>
                  </a:lnTo>
                  <a:lnTo>
                    <a:pt x="9859" y="1480"/>
                  </a:lnTo>
                  <a:lnTo>
                    <a:pt x="10014" y="1402"/>
                  </a:lnTo>
                  <a:lnTo>
                    <a:pt x="10172" y="1334"/>
                  </a:lnTo>
                  <a:lnTo>
                    <a:pt x="10332" y="1274"/>
                  </a:lnTo>
                  <a:lnTo>
                    <a:pt x="10495" y="1221"/>
                  </a:lnTo>
                  <a:lnTo>
                    <a:pt x="10659" y="1177"/>
                  </a:lnTo>
                  <a:lnTo>
                    <a:pt x="10825" y="1141"/>
                  </a:lnTo>
                  <a:lnTo>
                    <a:pt x="10992" y="1113"/>
                  </a:lnTo>
                  <a:lnTo>
                    <a:pt x="11160" y="1093"/>
                  </a:lnTo>
                  <a:lnTo>
                    <a:pt x="11328" y="1081"/>
                  </a:lnTo>
                  <a:lnTo>
                    <a:pt x="11497" y="1077"/>
                  </a:lnTo>
                  <a:lnTo>
                    <a:pt x="11666" y="1081"/>
                  </a:lnTo>
                  <a:lnTo>
                    <a:pt x="11835" y="1093"/>
                  </a:lnTo>
                  <a:lnTo>
                    <a:pt x="12003" y="1113"/>
                  </a:lnTo>
                  <a:lnTo>
                    <a:pt x="12170" y="1141"/>
                  </a:lnTo>
                  <a:lnTo>
                    <a:pt x="12335" y="1177"/>
                  </a:lnTo>
                  <a:lnTo>
                    <a:pt x="12500" y="1221"/>
                  </a:lnTo>
                  <a:lnTo>
                    <a:pt x="12662" y="1274"/>
                  </a:lnTo>
                  <a:lnTo>
                    <a:pt x="12822" y="1334"/>
                  </a:lnTo>
                  <a:lnTo>
                    <a:pt x="12980" y="1402"/>
                  </a:lnTo>
                  <a:lnTo>
                    <a:pt x="13135" y="1480"/>
                  </a:lnTo>
                  <a:lnTo>
                    <a:pt x="13285" y="1564"/>
                  </a:lnTo>
                  <a:lnTo>
                    <a:pt x="13433" y="1657"/>
                  </a:lnTo>
                  <a:lnTo>
                    <a:pt x="13578" y="1757"/>
                  </a:lnTo>
                  <a:lnTo>
                    <a:pt x="13718" y="1866"/>
                  </a:lnTo>
                  <a:lnTo>
                    <a:pt x="13855" y="1982"/>
                  </a:lnTo>
                  <a:lnTo>
                    <a:pt x="13986" y="2108"/>
                  </a:lnTo>
                  <a:lnTo>
                    <a:pt x="14110" y="2239"/>
                  </a:lnTo>
                  <a:lnTo>
                    <a:pt x="14228" y="2376"/>
                  </a:lnTo>
                  <a:lnTo>
                    <a:pt x="14337" y="2515"/>
                  </a:lnTo>
                  <a:lnTo>
                    <a:pt x="14437" y="2660"/>
                  </a:lnTo>
                  <a:lnTo>
                    <a:pt x="14530" y="2808"/>
                  </a:lnTo>
                  <a:lnTo>
                    <a:pt x="14614" y="2960"/>
                  </a:lnTo>
                  <a:lnTo>
                    <a:pt x="14692" y="3114"/>
                  </a:lnTo>
                  <a:lnTo>
                    <a:pt x="14760" y="3272"/>
                  </a:lnTo>
                  <a:lnTo>
                    <a:pt x="14820" y="3432"/>
                  </a:lnTo>
                  <a:lnTo>
                    <a:pt x="14873" y="3594"/>
                  </a:lnTo>
                  <a:lnTo>
                    <a:pt x="14917" y="3758"/>
                  </a:lnTo>
                  <a:lnTo>
                    <a:pt x="14953" y="3924"/>
                  </a:lnTo>
                  <a:lnTo>
                    <a:pt x="14981" y="4091"/>
                  </a:lnTo>
                  <a:lnTo>
                    <a:pt x="15002" y="4258"/>
                  </a:lnTo>
                  <a:lnTo>
                    <a:pt x="15014" y="4427"/>
                  </a:lnTo>
                  <a:lnTo>
                    <a:pt x="15018" y="4596"/>
                  </a:lnTo>
                  <a:lnTo>
                    <a:pt x="15014" y="4765"/>
                  </a:lnTo>
                  <a:lnTo>
                    <a:pt x="15002" y="4933"/>
                  </a:lnTo>
                  <a:lnTo>
                    <a:pt x="14981" y="5101"/>
                  </a:lnTo>
                  <a:lnTo>
                    <a:pt x="14953" y="5268"/>
                  </a:lnTo>
                  <a:lnTo>
                    <a:pt x="14917" y="5434"/>
                  </a:lnTo>
                  <a:lnTo>
                    <a:pt x="14873" y="5598"/>
                  </a:lnTo>
                  <a:lnTo>
                    <a:pt x="14820" y="5759"/>
                  </a:lnTo>
                  <a:lnTo>
                    <a:pt x="14760" y="5919"/>
                  </a:lnTo>
                  <a:lnTo>
                    <a:pt x="14692" y="6077"/>
                  </a:lnTo>
                  <a:lnTo>
                    <a:pt x="14615" y="6232"/>
                  </a:lnTo>
                  <a:lnTo>
                    <a:pt x="14531" y="6384"/>
                  </a:lnTo>
                  <a:lnTo>
                    <a:pt x="14438" y="6531"/>
                  </a:lnTo>
                  <a:lnTo>
                    <a:pt x="14338" y="6676"/>
                  </a:lnTo>
                  <a:lnTo>
                    <a:pt x="14228" y="6816"/>
                  </a:lnTo>
                  <a:lnTo>
                    <a:pt x="14111" y="6953"/>
                  </a:lnTo>
                  <a:lnTo>
                    <a:pt x="13987" y="7083"/>
                  </a:lnTo>
                  <a:lnTo>
                    <a:pt x="8541" y="12525"/>
                  </a:lnTo>
                  <a:lnTo>
                    <a:pt x="8523" y="12544"/>
                  </a:lnTo>
                  <a:lnTo>
                    <a:pt x="8507" y="12563"/>
                  </a:lnTo>
                  <a:lnTo>
                    <a:pt x="8491" y="12583"/>
                  </a:lnTo>
                  <a:lnTo>
                    <a:pt x="8477" y="12605"/>
                  </a:lnTo>
                  <a:lnTo>
                    <a:pt x="8464" y="12626"/>
                  </a:lnTo>
                  <a:lnTo>
                    <a:pt x="8451" y="12648"/>
                  </a:lnTo>
                  <a:lnTo>
                    <a:pt x="8441" y="12670"/>
                  </a:lnTo>
                  <a:lnTo>
                    <a:pt x="8431" y="12692"/>
                  </a:lnTo>
                  <a:lnTo>
                    <a:pt x="8422" y="12715"/>
                  </a:lnTo>
                  <a:lnTo>
                    <a:pt x="8415" y="12738"/>
                  </a:lnTo>
                  <a:lnTo>
                    <a:pt x="8408" y="12761"/>
                  </a:lnTo>
                  <a:lnTo>
                    <a:pt x="8403" y="12786"/>
                  </a:lnTo>
                  <a:lnTo>
                    <a:pt x="8399" y="12810"/>
                  </a:lnTo>
                  <a:lnTo>
                    <a:pt x="8396" y="12833"/>
                  </a:lnTo>
                  <a:lnTo>
                    <a:pt x="8395" y="12857"/>
                  </a:lnTo>
                  <a:lnTo>
                    <a:pt x="8394" y="12881"/>
                  </a:lnTo>
                  <a:lnTo>
                    <a:pt x="8395" y="12905"/>
                  </a:lnTo>
                  <a:lnTo>
                    <a:pt x="8396" y="12929"/>
                  </a:lnTo>
                  <a:lnTo>
                    <a:pt x="8399" y="12953"/>
                  </a:lnTo>
                  <a:lnTo>
                    <a:pt x="8403" y="12978"/>
                  </a:lnTo>
                  <a:lnTo>
                    <a:pt x="8408" y="13001"/>
                  </a:lnTo>
                  <a:lnTo>
                    <a:pt x="8415" y="13025"/>
                  </a:lnTo>
                  <a:lnTo>
                    <a:pt x="8422" y="13048"/>
                  </a:lnTo>
                  <a:lnTo>
                    <a:pt x="8431" y="13070"/>
                  </a:lnTo>
                  <a:lnTo>
                    <a:pt x="8441" y="13093"/>
                  </a:lnTo>
                  <a:lnTo>
                    <a:pt x="8451" y="13115"/>
                  </a:lnTo>
                  <a:lnTo>
                    <a:pt x="8464" y="13136"/>
                  </a:lnTo>
                  <a:lnTo>
                    <a:pt x="8477" y="13157"/>
                  </a:lnTo>
                  <a:lnTo>
                    <a:pt x="8491" y="13179"/>
                  </a:lnTo>
                  <a:lnTo>
                    <a:pt x="8507" y="13199"/>
                  </a:lnTo>
                  <a:lnTo>
                    <a:pt x="8523" y="13218"/>
                  </a:lnTo>
                  <a:lnTo>
                    <a:pt x="8541" y="13237"/>
                  </a:lnTo>
                  <a:lnTo>
                    <a:pt x="8561" y="13254"/>
                  </a:lnTo>
                  <a:lnTo>
                    <a:pt x="8580" y="13271"/>
                  </a:lnTo>
                  <a:lnTo>
                    <a:pt x="8600" y="13286"/>
                  </a:lnTo>
                  <a:lnTo>
                    <a:pt x="8621" y="13301"/>
                  </a:lnTo>
                  <a:lnTo>
                    <a:pt x="8642" y="13314"/>
                  </a:lnTo>
                  <a:lnTo>
                    <a:pt x="8663" y="13326"/>
                  </a:lnTo>
                  <a:lnTo>
                    <a:pt x="8685" y="13337"/>
                  </a:lnTo>
                  <a:lnTo>
                    <a:pt x="8708" y="13348"/>
                  </a:lnTo>
                  <a:lnTo>
                    <a:pt x="8731" y="13356"/>
                  </a:lnTo>
                  <a:lnTo>
                    <a:pt x="8754" y="13364"/>
                  </a:lnTo>
                  <a:lnTo>
                    <a:pt x="8778" y="13370"/>
                  </a:lnTo>
                  <a:lnTo>
                    <a:pt x="8801" y="13375"/>
                  </a:lnTo>
                  <a:lnTo>
                    <a:pt x="8825" y="13379"/>
                  </a:lnTo>
                  <a:lnTo>
                    <a:pt x="8849" y="13382"/>
                  </a:lnTo>
                  <a:lnTo>
                    <a:pt x="8873" y="13384"/>
                  </a:lnTo>
                  <a:lnTo>
                    <a:pt x="8898" y="13385"/>
                  </a:lnTo>
                  <a:lnTo>
                    <a:pt x="8922" y="13384"/>
                  </a:lnTo>
                  <a:lnTo>
                    <a:pt x="8946" y="13382"/>
                  </a:lnTo>
                  <a:lnTo>
                    <a:pt x="8969" y="13379"/>
                  </a:lnTo>
                  <a:lnTo>
                    <a:pt x="8993" y="13375"/>
                  </a:lnTo>
                  <a:lnTo>
                    <a:pt x="9017" y="13370"/>
                  </a:lnTo>
                  <a:lnTo>
                    <a:pt x="9040" y="13364"/>
                  </a:lnTo>
                  <a:lnTo>
                    <a:pt x="9063" y="13356"/>
                  </a:lnTo>
                  <a:lnTo>
                    <a:pt x="9087" y="13348"/>
                  </a:lnTo>
                  <a:lnTo>
                    <a:pt x="9109" y="13337"/>
                  </a:lnTo>
                  <a:lnTo>
                    <a:pt x="9131" y="13326"/>
                  </a:lnTo>
                  <a:lnTo>
                    <a:pt x="9153" y="13314"/>
                  </a:lnTo>
                  <a:lnTo>
                    <a:pt x="9174" y="13301"/>
                  </a:lnTo>
                  <a:lnTo>
                    <a:pt x="9194" y="13286"/>
                  </a:lnTo>
                  <a:lnTo>
                    <a:pt x="9214" y="13271"/>
                  </a:lnTo>
                  <a:lnTo>
                    <a:pt x="9234" y="13254"/>
                  </a:lnTo>
                  <a:lnTo>
                    <a:pt x="9253" y="13237"/>
                  </a:lnTo>
                  <a:lnTo>
                    <a:pt x="14768" y="7724"/>
                  </a:lnTo>
                  <a:lnTo>
                    <a:pt x="14929" y="7555"/>
                  </a:lnTo>
                  <a:lnTo>
                    <a:pt x="15080" y="7380"/>
                  </a:lnTo>
                  <a:lnTo>
                    <a:pt x="15220" y="7200"/>
                  </a:lnTo>
                  <a:lnTo>
                    <a:pt x="15349" y="7014"/>
                  </a:lnTo>
                  <a:lnTo>
                    <a:pt x="15468" y="6823"/>
                  </a:lnTo>
                  <a:lnTo>
                    <a:pt x="15577" y="6628"/>
                  </a:lnTo>
                  <a:lnTo>
                    <a:pt x="15676" y="6430"/>
                  </a:lnTo>
                  <a:lnTo>
                    <a:pt x="15763" y="6227"/>
                  </a:lnTo>
                  <a:lnTo>
                    <a:pt x="15842" y="6021"/>
                  </a:lnTo>
                  <a:lnTo>
                    <a:pt x="15909" y="5813"/>
                  </a:lnTo>
                  <a:lnTo>
                    <a:pt x="15965" y="5602"/>
                  </a:lnTo>
                  <a:lnTo>
                    <a:pt x="16013" y="5388"/>
                  </a:lnTo>
                  <a:lnTo>
                    <a:pt x="16049" y="5174"/>
                  </a:lnTo>
                  <a:lnTo>
                    <a:pt x="16074" y="4958"/>
                  </a:lnTo>
                  <a:lnTo>
                    <a:pt x="16090" y="4742"/>
                  </a:lnTo>
                  <a:lnTo>
                    <a:pt x="16095" y="4525"/>
                  </a:lnTo>
                  <a:lnTo>
                    <a:pt x="16090" y="4308"/>
                  </a:lnTo>
                  <a:lnTo>
                    <a:pt x="16074" y="4091"/>
                  </a:lnTo>
                  <a:lnTo>
                    <a:pt x="16049" y="3875"/>
                  </a:lnTo>
                  <a:lnTo>
                    <a:pt x="16013" y="3660"/>
                  </a:lnTo>
                  <a:lnTo>
                    <a:pt x="15965" y="3447"/>
                  </a:lnTo>
                  <a:lnTo>
                    <a:pt x="15909" y="3236"/>
                  </a:lnTo>
                  <a:lnTo>
                    <a:pt x="15842" y="3028"/>
                  </a:lnTo>
                  <a:lnTo>
                    <a:pt x="15763" y="2822"/>
                  </a:lnTo>
                  <a:lnTo>
                    <a:pt x="15676" y="2620"/>
                  </a:lnTo>
                  <a:lnTo>
                    <a:pt x="15577" y="2421"/>
                  </a:lnTo>
                  <a:lnTo>
                    <a:pt x="15468" y="2226"/>
                  </a:lnTo>
                  <a:lnTo>
                    <a:pt x="15349" y="2036"/>
                  </a:lnTo>
                  <a:lnTo>
                    <a:pt x="15220" y="1850"/>
                  </a:lnTo>
                  <a:lnTo>
                    <a:pt x="15080" y="1669"/>
                  </a:lnTo>
                  <a:lnTo>
                    <a:pt x="14929" y="1495"/>
                  </a:lnTo>
                  <a:lnTo>
                    <a:pt x="14768" y="13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endParaRPr lang="id-ID">
                <a:solidFill>
                  <a:schemeClr val="bg1">
                    <a:lumMod val="95000"/>
                  </a:schemeClr>
                </a:solidFill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</p:grpSp>
      <p:grpSp>
        <p:nvGrpSpPr>
          <p:cNvPr id="7" name="í$ḷiďé">
            <a:extLst>
              <a:ext uri="{FF2B5EF4-FFF2-40B4-BE49-F238E27FC236}">
                <a16:creationId xmlns:a16="http://schemas.microsoft.com/office/drawing/2014/main" id="{7D7E3AF1-2087-442E-BA77-3B9F9E10DB34}"/>
              </a:ext>
            </a:extLst>
          </p:cNvPr>
          <p:cNvGrpSpPr/>
          <p:nvPr/>
        </p:nvGrpSpPr>
        <p:grpSpPr>
          <a:xfrm>
            <a:off x="1545723" y="4237483"/>
            <a:ext cx="1808716" cy="2643944"/>
            <a:chOff x="7663267" y="3500283"/>
            <a:chExt cx="1808716" cy="2643944"/>
          </a:xfrm>
        </p:grpSpPr>
        <p:sp>
          <p:nvSpPr>
            <p:cNvPr id="12" name="iSľïďè">
              <a:extLst>
                <a:ext uri="{FF2B5EF4-FFF2-40B4-BE49-F238E27FC236}">
                  <a16:creationId xmlns:a16="http://schemas.microsoft.com/office/drawing/2014/main" id="{A0076C35-3531-44DC-AFCA-7CD4573F6660}"/>
                </a:ext>
              </a:extLst>
            </p:cNvPr>
            <p:cNvSpPr/>
            <p:nvPr/>
          </p:nvSpPr>
          <p:spPr bwMode="auto">
            <a:xfrm>
              <a:off x="8330106" y="4623202"/>
              <a:ext cx="473924" cy="372448"/>
            </a:xfrm>
            <a:custGeom>
              <a:avLst/>
              <a:gdLst>
                <a:gd name="T0" fmla="*/ 0 w 425"/>
                <a:gd name="T1" fmla="*/ 0 h 334"/>
                <a:gd name="T2" fmla="*/ 213 w 425"/>
                <a:gd name="T3" fmla="*/ 0 h 334"/>
                <a:gd name="T4" fmla="*/ 425 w 425"/>
                <a:gd name="T5" fmla="*/ 0 h 334"/>
                <a:gd name="T6" fmla="*/ 425 w 425"/>
                <a:gd name="T7" fmla="*/ 334 h 334"/>
                <a:gd name="T8" fmla="*/ 213 w 425"/>
                <a:gd name="T9" fmla="*/ 334 h 334"/>
                <a:gd name="T10" fmla="*/ 0 w 425"/>
                <a:gd name="T11" fmla="*/ 334 h 334"/>
                <a:gd name="T12" fmla="*/ 0 w 425"/>
                <a:gd name="T13" fmla="*/ 0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5" h="334">
                  <a:moveTo>
                    <a:pt x="0" y="0"/>
                  </a:moveTo>
                  <a:lnTo>
                    <a:pt x="213" y="0"/>
                  </a:lnTo>
                  <a:lnTo>
                    <a:pt x="425" y="0"/>
                  </a:lnTo>
                  <a:lnTo>
                    <a:pt x="425" y="334"/>
                  </a:lnTo>
                  <a:lnTo>
                    <a:pt x="213" y="334"/>
                  </a:lnTo>
                  <a:lnTo>
                    <a:pt x="0" y="3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BF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10000"/>
            </a:bodyPr>
            <a:lstStyle/>
            <a:p>
              <a:pPr>
                <a:lnSpc>
                  <a:spcPct val="14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3" name="ï$ľïḋè">
              <a:extLst>
                <a:ext uri="{FF2B5EF4-FFF2-40B4-BE49-F238E27FC236}">
                  <a16:creationId xmlns:a16="http://schemas.microsoft.com/office/drawing/2014/main" id="{1D4DC7E1-3536-486F-9467-70B10C93CC4D}"/>
                </a:ext>
              </a:extLst>
            </p:cNvPr>
            <p:cNvSpPr/>
            <p:nvPr/>
          </p:nvSpPr>
          <p:spPr bwMode="auto">
            <a:xfrm>
              <a:off x="8111543" y="3580571"/>
              <a:ext cx="912164" cy="1218820"/>
            </a:xfrm>
            <a:custGeom>
              <a:avLst/>
              <a:gdLst>
                <a:gd name="T0" fmla="*/ 336 w 671"/>
                <a:gd name="T1" fmla="*/ 898 h 898"/>
                <a:gd name="T2" fmla="*/ 0 w 671"/>
                <a:gd name="T3" fmla="*/ 449 h 898"/>
                <a:gd name="T4" fmla="*/ 336 w 671"/>
                <a:gd name="T5" fmla="*/ 0 h 898"/>
                <a:gd name="T6" fmla="*/ 671 w 671"/>
                <a:gd name="T7" fmla="*/ 449 h 898"/>
                <a:gd name="T8" fmla="*/ 336 w 671"/>
                <a:gd name="T9" fmla="*/ 898 h 8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1" h="898">
                  <a:moveTo>
                    <a:pt x="336" y="898"/>
                  </a:moveTo>
                  <a:cubicBezTo>
                    <a:pt x="150" y="896"/>
                    <a:pt x="0" y="696"/>
                    <a:pt x="0" y="449"/>
                  </a:cubicBezTo>
                  <a:cubicBezTo>
                    <a:pt x="0" y="202"/>
                    <a:pt x="150" y="2"/>
                    <a:pt x="336" y="0"/>
                  </a:cubicBezTo>
                  <a:cubicBezTo>
                    <a:pt x="521" y="2"/>
                    <a:pt x="671" y="202"/>
                    <a:pt x="671" y="449"/>
                  </a:cubicBezTo>
                  <a:cubicBezTo>
                    <a:pt x="671" y="696"/>
                    <a:pt x="521" y="896"/>
                    <a:pt x="336" y="898"/>
                  </a:cubicBezTo>
                  <a:close/>
                </a:path>
              </a:pathLst>
            </a:custGeom>
            <a:solidFill>
              <a:srgbClr val="F9D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4" name="îṣļiḋê">
              <a:extLst>
                <a:ext uri="{FF2B5EF4-FFF2-40B4-BE49-F238E27FC236}">
                  <a16:creationId xmlns:a16="http://schemas.microsoft.com/office/drawing/2014/main" id="{7EA80B7A-4614-4256-AA8E-BF58208AE4D6}"/>
                </a:ext>
              </a:extLst>
            </p:cNvPr>
            <p:cNvSpPr/>
            <p:nvPr/>
          </p:nvSpPr>
          <p:spPr bwMode="auto">
            <a:xfrm>
              <a:off x="8213019" y="4857376"/>
              <a:ext cx="708098" cy="1286850"/>
            </a:xfrm>
            <a:custGeom>
              <a:avLst/>
              <a:gdLst>
                <a:gd name="connsiteX0" fmla="*/ 117087 w 708098"/>
                <a:gd name="connsiteY0" fmla="*/ 0 h 1286850"/>
                <a:gd name="connsiteX1" fmla="*/ 354607 w 708098"/>
                <a:gd name="connsiteY1" fmla="*/ 102591 h 1286850"/>
                <a:gd name="connsiteX2" fmla="*/ 591011 w 708098"/>
                <a:gd name="connsiteY2" fmla="*/ 0 h 1286850"/>
                <a:gd name="connsiteX3" fmla="*/ 708098 w 708098"/>
                <a:gd name="connsiteY3" fmla="*/ 10036 h 1286850"/>
                <a:gd name="connsiteX4" fmla="*/ 400326 w 708098"/>
                <a:gd name="connsiteY4" fmla="*/ 1119576 h 1286850"/>
                <a:gd name="connsiteX5" fmla="*/ 400326 w 708098"/>
                <a:gd name="connsiteY5" fmla="*/ 1286850 h 1286850"/>
                <a:gd name="connsiteX6" fmla="*/ 355549 w 708098"/>
                <a:gd name="connsiteY6" fmla="*/ 1286850 h 1286850"/>
                <a:gd name="connsiteX7" fmla="*/ 354607 w 708098"/>
                <a:gd name="connsiteY7" fmla="*/ 1283497 h 1286850"/>
                <a:gd name="connsiteX8" fmla="*/ 353665 w 708098"/>
                <a:gd name="connsiteY8" fmla="*/ 1286850 h 1286850"/>
                <a:gd name="connsiteX9" fmla="*/ 308887 w 708098"/>
                <a:gd name="connsiteY9" fmla="*/ 1286850 h 1286850"/>
                <a:gd name="connsiteX10" fmla="*/ 308887 w 708098"/>
                <a:gd name="connsiteY10" fmla="*/ 1119576 h 1286850"/>
                <a:gd name="connsiteX11" fmla="*/ 0 w 708098"/>
                <a:gd name="connsiteY11" fmla="*/ 10036 h 1286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08098" h="1286850">
                  <a:moveTo>
                    <a:pt x="117087" y="0"/>
                  </a:moveTo>
                  <a:lnTo>
                    <a:pt x="354607" y="102591"/>
                  </a:lnTo>
                  <a:lnTo>
                    <a:pt x="591011" y="0"/>
                  </a:lnTo>
                  <a:lnTo>
                    <a:pt x="708098" y="10036"/>
                  </a:lnTo>
                  <a:lnTo>
                    <a:pt x="400326" y="1119576"/>
                  </a:lnTo>
                  <a:lnTo>
                    <a:pt x="400326" y="1286850"/>
                  </a:lnTo>
                  <a:lnTo>
                    <a:pt x="355549" y="1286850"/>
                  </a:lnTo>
                  <a:lnTo>
                    <a:pt x="354607" y="1283497"/>
                  </a:lnTo>
                  <a:lnTo>
                    <a:pt x="353665" y="1286850"/>
                  </a:lnTo>
                  <a:lnTo>
                    <a:pt x="308887" y="1286850"/>
                  </a:lnTo>
                  <a:lnTo>
                    <a:pt x="308887" y="1119576"/>
                  </a:lnTo>
                  <a:lnTo>
                    <a:pt x="0" y="10036"/>
                  </a:lnTo>
                  <a:close/>
                </a:path>
              </a:pathLst>
            </a:custGeom>
            <a:solidFill>
              <a:srgbClr val="FBFF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5" name="isḷïḋè">
              <a:extLst>
                <a:ext uri="{FF2B5EF4-FFF2-40B4-BE49-F238E27FC236}">
                  <a16:creationId xmlns:a16="http://schemas.microsoft.com/office/drawing/2014/main" id="{DAB1D2E0-BE0B-46C5-B66D-E7FA4CA50486}"/>
                </a:ext>
              </a:extLst>
            </p:cNvPr>
            <p:cNvSpPr/>
            <p:nvPr/>
          </p:nvSpPr>
          <p:spPr bwMode="auto">
            <a:xfrm>
              <a:off x="7663267" y="4867414"/>
              <a:ext cx="1808716" cy="1276813"/>
            </a:xfrm>
            <a:custGeom>
              <a:avLst/>
              <a:gdLst>
                <a:gd name="connsiteX0" fmla="*/ 549752 w 1808716"/>
                <a:gd name="connsiteY0" fmla="*/ 0 h 1276813"/>
                <a:gd name="connsiteX1" fmla="*/ 904358 w 1808716"/>
                <a:gd name="connsiteY1" fmla="*/ 1240008 h 1276813"/>
                <a:gd name="connsiteX2" fmla="*/ 1257849 w 1808716"/>
                <a:gd name="connsiteY2" fmla="*/ 0 h 1276813"/>
                <a:gd name="connsiteX3" fmla="*/ 1670442 w 1808716"/>
                <a:gd name="connsiteY3" fmla="*/ 152771 h 1276813"/>
                <a:gd name="connsiteX4" fmla="*/ 1808716 w 1808716"/>
                <a:gd name="connsiteY4" fmla="*/ 958999 h 1276813"/>
                <a:gd name="connsiteX5" fmla="*/ 1719855 w 1808716"/>
                <a:gd name="connsiteY5" fmla="*/ 1276813 h 1276813"/>
                <a:gd name="connsiteX6" fmla="*/ 88861 w 1808716"/>
                <a:gd name="connsiteY6" fmla="*/ 1276813 h 1276813"/>
                <a:gd name="connsiteX7" fmla="*/ 0 w 1808716"/>
                <a:gd name="connsiteY7" fmla="*/ 958999 h 1276813"/>
                <a:gd name="connsiteX8" fmla="*/ 139390 w 1808716"/>
                <a:gd name="connsiteY8" fmla="*/ 152771 h 1276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08716" h="1276813">
                  <a:moveTo>
                    <a:pt x="549752" y="0"/>
                  </a:moveTo>
                  <a:lnTo>
                    <a:pt x="904358" y="1240008"/>
                  </a:lnTo>
                  <a:lnTo>
                    <a:pt x="1257849" y="0"/>
                  </a:lnTo>
                  <a:lnTo>
                    <a:pt x="1670442" y="152771"/>
                  </a:lnTo>
                  <a:lnTo>
                    <a:pt x="1808716" y="958999"/>
                  </a:lnTo>
                  <a:lnTo>
                    <a:pt x="1719855" y="1276813"/>
                  </a:lnTo>
                  <a:lnTo>
                    <a:pt x="88861" y="1276813"/>
                  </a:lnTo>
                  <a:lnTo>
                    <a:pt x="0" y="958999"/>
                  </a:lnTo>
                  <a:lnTo>
                    <a:pt x="139390" y="152771"/>
                  </a:lnTo>
                  <a:close/>
                </a:path>
              </a:pathLst>
            </a:custGeom>
            <a:solidFill>
              <a:srgbClr val="3C46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6" name="ï$ļïḑe">
              <a:extLst>
                <a:ext uri="{FF2B5EF4-FFF2-40B4-BE49-F238E27FC236}">
                  <a16:creationId xmlns:a16="http://schemas.microsoft.com/office/drawing/2014/main" id="{7F310B93-128F-4856-9091-DE7C93515377}"/>
                </a:ext>
              </a:extLst>
            </p:cNvPr>
            <p:cNvSpPr/>
            <p:nvPr/>
          </p:nvSpPr>
          <p:spPr bwMode="auto">
            <a:xfrm>
              <a:off x="8037946" y="3500283"/>
              <a:ext cx="1060475" cy="822954"/>
            </a:xfrm>
            <a:custGeom>
              <a:avLst/>
              <a:gdLst>
                <a:gd name="T0" fmla="*/ 390 w 780"/>
                <a:gd name="T1" fmla="*/ 2 h 606"/>
                <a:gd name="T2" fmla="*/ 171 w 780"/>
                <a:gd name="T3" fmla="*/ 39 h 606"/>
                <a:gd name="T4" fmla="*/ 33 w 780"/>
                <a:gd name="T5" fmla="*/ 437 h 606"/>
                <a:gd name="T6" fmla="*/ 62 w 780"/>
                <a:gd name="T7" fmla="*/ 606 h 606"/>
                <a:gd name="T8" fmla="*/ 152 w 780"/>
                <a:gd name="T9" fmla="*/ 316 h 606"/>
                <a:gd name="T10" fmla="*/ 166 w 780"/>
                <a:gd name="T11" fmla="*/ 409 h 606"/>
                <a:gd name="T12" fmla="*/ 390 w 780"/>
                <a:gd name="T13" fmla="*/ 287 h 606"/>
                <a:gd name="T14" fmla="*/ 673 w 780"/>
                <a:gd name="T15" fmla="*/ 347 h 606"/>
                <a:gd name="T16" fmla="*/ 717 w 780"/>
                <a:gd name="T17" fmla="*/ 606 h 606"/>
                <a:gd name="T18" fmla="*/ 746 w 780"/>
                <a:gd name="T19" fmla="*/ 437 h 606"/>
                <a:gd name="T20" fmla="*/ 608 w 780"/>
                <a:gd name="T21" fmla="*/ 39 h 606"/>
                <a:gd name="T22" fmla="*/ 390 w 780"/>
                <a:gd name="T23" fmla="*/ 2 h 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80" h="606">
                  <a:moveTo>
                    <a:pt x="390" y="2"/>
                  </a:moveTo>
                  <a:cubicBezTo>
                    <a:pt x="292" y="21"/>
                    <a:pt x="235" y="0"/>
                    <a:pt x="171" y="39"/>
                  </a:cubicBezTo>
                  <a:cubicBezTo>
                    <a:pt x="82" y="93"/>
                    <a:pt x="0" y="236"/>
                    <a:pt x="33" y="437"/>
                  </a:cubicBezTo>
                  <a:cubicBezTo>
                    <a:pt x="43" y="493"/>
                    <a:pt x="53" y="550"/>
                    <a:pt x="62" y="606"/>
                  </a:cubicBezTo>
                  <a:cubicBezTo>
                    <a:pt x="80" y="508"/>
                    <a:pt x="73" y="408"/>
                    <a:pt x="152" y="316"/>
                  </a:cubicBezTo>
                  <a:cubicBezTo>
                    <a:pt x="180" y="345"/>
                    <a:pt x="137" y="380"/>
                    <a:pt x="166" y="409"/>
                  </a:cubicBezTo>
                  <a:cubicBezTo>
                    <a:pt x="191" y="339"/>
                    <a:pt x="310" y="298"/>
                    <a:pt x="390" y="287"/>
                  </a:cubicBezTo>
                  <a:cubicBezTo>
                    <a:pt x="473" y="283"/>
                    <a:pt x="620" y="300"/>
                    <a:pt x="673" y="347"/>
                  </a:cubicBezTo>
                  <a:cubicBezTo>
                    <a:pt x="734" y="402"/>
                    <a:pt x="698" y="501"/>
                    <a:pt x="717" y="606"/>
                  </a:cubicBezTo>
                  <a:cubicBezTo>
                    <a:pt x="727" y="550"/>
                    <a:pt x="736" y="493"/>
                    <a:pt x="746" y="437"/>
                  </a:cubicBezTo>
                  <a:cubicBezTo>
                    <a:pt x="780" y="236"/>
                    <a:pt x="697" y="93"/>
                    <a:pt x="608" y="39"/>
                  </a:cubicBezTo>
                  <a:cubicBezTo>
                    <a:pt x="544" y="0"/>
                    <a:pt x="487" y="21"/>
                    <a:pt x="390" y="2"/>
                  </a:cubicBezTo>
                  <a:close/>
                </a:path>
              </a:pathLst>
            </a:custGeom>
            <a:solidFill>
              <a:srgbClr val="3F3E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7" name="išḻíḓè">
              <a:extLst>
                <a:ext uri="{FF2B5EF4-FFF2-40B4-BE49-F238E27FC236}">
                  <a16:creationId xmlns:a16="http://schemas.microsoft.com/office/drawing/2014/main" id="{B7813790-248A-45F3-9A77-AD720C635C59}"/>
                </a:ext>
              </a:extLst>
            </p:cNvPr>
            <p:cNvSpPr/>
            <p:nvPr/>
          </p:nvSpPr>
          <p:spPr bwMode="auto">
            <a:xfrm>
              <a:off x="8460575" y="4959967"/>
              <a:ext cx="212987" cy="1147453"/>
            </a:xfrm>
            <a:custGeom>
              <a:avLst/>
              <a:gdLst>
                <a:gd name="T0" fmla="*/ 96 w 191"/>
                <a:gd name="T1" fmla="*/ 0 h 1029"/>
                <a:gd name="T2" fmla="*/ 0 w 191"/>
                <a:gd name="T3" fmla="*/ 97 h 1029"/>
                <a:gd name="T4" fmla="*/ 51 w 191"/>
                <a:gd name="T5" fmla="*/ 216 h 1029"/>
                <a:gd name="T6" fmla="*/ 12 w 191"/>
                <a:gd name="T7" fmla="*/ 752 h 1029"/>
                <a:gd name="T8" fmla="*/ 96 w 191"/>
                <a:gd name="T9" fmla="*/ 1029 h 1029"/>
                <a:gd name="T10" fmla="*/ 179 w 191"/>
                <a:gd name="T11" fmla="*/ 752 h 1029"/>
                <a:gd name="T12" fmla="*/ 141 w 191"/>
                <a:gd name="T13" fmla="*/ 216 h 1029"/>
                <a:gd name="T14" fmla="*/ 191 w 191"/>
                <a:gd name="T15" fmla="*/ 97 h 1029"/>
                <a:gd name="T16" fmla="*/ 96 w 191"/>
                <a:gd name="T1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1" h="1029">
                  <a:moveTo>
                    <a:pt x="96" y="0"/>
                  </a:moveTo>
                  <a:lnTo>
                    <a:pt x="0" y="97"/>
                  </a:lnTo>
                  <a:lnTo>
                    <a:pt x="51" y="216"/>
                  </a:lnTo>
                  <a:lnTo>
                    <a:pt x="12" y="752"/>
                  </a:lnTo>
                  <a:lnTo>
                    <a:pt x="96" y="1029"/>
                  </a:lnTo>
                  <a:lnTo>
                    <a:pt x="179" y="752"/>
                  </a:lnTo>
                  <a:lnTo>
                    <a:pt x="141" y="216"/>
                  </a:lnTo>
                  <a:lnTo>
                    <a:pt x="191" y="97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EE62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>
                <a:lnSpc>
                  <a:spcPct val="130000"/>
                </a:lnSpc>
              </a:pPr>
              <a:endParaRPr lang="zh-CN" altLang="en-US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</p:grp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BCFA7C3F-B62C-4037-9EC9-3E87F0A6D245}"/>
              </a:ext>
            </a:extLst>
          </p:cNvPr>
          <p:cNvCxnSpPr>
            <a:cxnSpLocks/>
          </p:cNvCxnSpPr>
          <p:nvPr/>
        </p:nvCxnSpPr>
        <p:spPr>
          <a:xfrm>
            <a:off x="4943573" y="3609898"/>
            <a:ext cx="123190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ïṧļíḓè">
            <a:extLst>
              <a:ext uri="{FF2B5EF4-FFF2-40B4-BE49-F238E27FC236}">
                <a16:creationId xmlns:a16="http://schemas.microsoft.com/office/drawing/2014/main" id="{F39F88FF-616C-4E0A-901D-E7CDBBAB1E59}"/>
              </a:ext>
            </a:extLst>
          </p:cNvPr>
          <p:cNvGrpSpPr/>
          <p:nvPr/>
        </p:nvGrpSpPr>
        <p:grpSpPr>
          <a:xfrm>
            <a:off x="4862027" y="3195127"/>
            <a:ext cx="5827903" cy="1625924"/>
            <a:chOff x="6447684" y="4054511"/>
            <a:chExt cx="5827903" cy="1625924"/>
          </a:xfrm>
        </p:grpSpPr>
        <p:sp>
          <p:nvSpPr>
            <p:cNvPr id="10" name="ïśḻïḓé">
              <a:extLst>
                <a:ext uri="{FF2B5EF4-FFF2-40B4-BE49-F238E27FC236}">
                  <a16:creationId xmlns:a16="http://schemas.microsoft.com/office/drawing/2014/main" id="{8316902B-9F15-4AE4-BBCF-5E1CB0686F18}"/>
                </a:ext>
              </a:extLst>
            </p:cNvPr>
            <p:cNvSpPr/>
            <p:nvPr/>
          </p:nvSpPr>
          <p:spPr bwMode="auto">
            <a:xfrm>
              <a:off x="6501371" y="4573096"/>
              <a:ext cx="5774216" cy="11073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endParaRPr lang="en-US" altLang="zh-CN" sz="1400" dirty="0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  <p:sp>
          <p:nvSpPr>
            <p:cNvPr id="11" name="í$1íḍè">
              <a:extLst>
                <a:ext uri="{FF2B5EF4-FFF2-40B4-BE49-F238E27FC236}">
                  <a16:creationId xmlns:a16="http://schemas.microsoft.com/office/drawing/2014/main" id="{FCBCE448-A746-45FC-ABE2-27B64D489326}"/>
                </a:ext>
              </a:extLst>
            </p:cNvPr>
            <p:cNvSpPr txBox="1"/>
            <p:nvPr/>
          </p:nvSpPr>
          <p:spPr bwMode="auto">
            <a:xfrm>
              <a:off x="6447684" y="4054511"/>
              <a:ext cx="5774216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  <a:spcBef>
                  <a:spcPct val="0"/>
                </a:spcBef>
              </a:pPr>
              <a:r>
                <a:rPr lang="zh-CN" altLang="en-US" sz="2400" b="1" dirty="0">
                  <a:latin typeface=""/>
                  <a:ea typeface="微软雅黑" panose="020B0503020204020204" pitchFamily="34" charset="-122"/>
                  <a:sym typeface=""/>
                </a:rPr>
                <a:t>趋势因素影响，是如何影响？影响是否相同呢？ </a:t>
              </a:r>
              <a:endParaRPr lang="en-US" altLang="zh-CN" sz="2400" b="1" dirty="0">
                <a:latin typeface=""/>
                <a:ea typeface="微软雅黑" panose="020B0503020204020204" pitchFamily="34" charset="-122"/>
                <a:sym typeface=""/>
              </a:endParaRPr>
            </a:p>
          </p:txBody>
        </p:sp>
      </p:grpSp>
      <p:sp>
        <p:nvSpPr>
          <p:cNvPr id="441" name="í$1íḍè">
            <a:extLst>
              <a:ext uri="{FF2B5EF4-FFF2-40B4-BE49-F238E27FC236}">
                <a16:creationId xmlns:a16="http://schemas.microsoft.com/office/drawing/2014/main" id="{88654F95-0AEB-4064-BF0C-D41C2EAC2FA5}"/>
              </a:ext>
            </a:extLst>
          </p:cNvPr>
          <p:cNvSpPr txBox="1"/>
          <p:nvPr/>
        </p:nvSpPr>
        <p:spPr bwMode="auto">
          <a:xfrm>
            <a:off x="4866552" y="4551813"/>
            <a:ext cx="5774216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>
            <a:normAutofit fontScale="7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zh-CN" altLang="en-US" sz="2400" dirty="0">
                <a:latin typeface=""/>
                <a:ea typeface="微软雅黑" panose="020B0503020204020204" pitchFamily="34" charset="-122"/>
                <a:sym typeface=""/>
              </a:rPr>
              <a:t>以男毛衫为例，进行分析；</a:t>
            </a:r>
            <a:endParaRPr lang="en-US" altLang="zh-CN" sz="2400" dirty="0">
              <a:latin typeface=""/>
              <a:ea typeface="微软雅黑" panose="020B0503020204020204" pitchFamily="34" charset="-122"/>
              <a:sym typeface="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F11B7334-4A7E-44EA-B9D1-8FB280859883}"/>
              </a:ext>
            </a:extLst>
          </p:cNvPr>
          <p:cNvSpPr txBox="1"/>
          <p:nvPr/>
        </p:nvSpPr>
        <p:spPr>
          <a:xfrm>
            <a:off x="9516866" y="135736"/>
            <a:ext cx="27781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趋势因素是否影响相同</a:t>
            </a:r>
          </a:p>
        </p:txBody>
      </p:sp>
    </p:spTree>
    <p:extLst>
      <p:ext uri="{BB962C8B-B14F-4D97-AF65-F5344CB8AC3E}">
        <p14:creationId xmlns:p14="http://schemas.microsoft.com/office/powerpoint/2010/main" val="25496486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>
            <a:extLst>
              <a:ext uri="{FF2B5EF4-FFF2-40B4-BE49-F238E27FC236}">
                <a16:creationId xmlns:a16="http://schemas.microsoft.com/office/drawing/2014/main" id="{5F6EC5F8-F604-47A8-A250-27DBF083C4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23" y="1028700"/>
            <a:ext cx="10914200" cy="2793222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3168651" cy="1028699"/>
          </a:xfrm>
        </p:spPr>
        <p:txBody>
          <a:bodyPr/>
          <a:lstStyle/>
          <a:p>
            <a:pPr>
              <a:lnSpc>
                <a:spcPct val="130000"/>
              </a:lnSpc>
            </a:pPr>
            <a:r>
              <a:rPr lang="zh-CN" altLang="en-US" dirty="0">
                <a:latin typeface=""/>
                <a:ea typeface="微软雅黑" panose="020B0503020204020204" pitchFamily="34" charset="-122"/>
                <a:sym typeface=""/>
              </a:rPr>
              <a:t>结构变化拆解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fld id="{5DD3DB80-B894-403A-B48E-6FDC1A72010E}" type="slidenum">
              <a:rPr lang="zh-CN" altLang="en-US" smtClean="0">
                <a:latin typeface=""/>
                <a:ea typeface="微软雅黑" panose="020B0503020204020204" pitchFamily="34" charset="-122"/>
                <a:sym typeface=""/>
              </a:rPr>
              <a:pPr>
                <a:lnSpc>
                  <a:spcPct val="130000"/>
                </a:lnSpc>
              </a:pPr>
              <a:t>7</a:t>
            </a:fld>
            <a:endParaRPr lang="zh-CN" altLang="en-US">
              <a:latin typeface=""/>
              <a:ea typeface="微软雅黑" panose="020B0503020204020204" pitchFamily="34" charset="-122"/>
              <a:sym typeface="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1EC86C1E-C753-4DE8-B185-9C710896FA01}"/>
              </a:ext>
            </a:extLst>
          </p:cNvPr>
          <p:cNvSpPr txBox="1"/>
          <p:nvPr/>
        </p:nvSpPr>
        <p:spPr>
          <a:xfrm>
            <a:off x="7476526" y="584927"/>
            <a:ext cx="41075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趋势因素对男毛衫不同结构影响不同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DDC88585-F7DA-45F3-A0DA-F3AD75486DFF}"/>
              </a:ext>
            </a:extLst>
          </p:cNvPr>
          <p:cNvSpPr/>
          <p:nvPr/>
        </p:nvSpPr>
        <p:spPr>
          <a:xfrm>
            <a:off x="9916709" y="1304051"/>
            <a:ext cx="599963" cy="2362532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DE981D59-202B-4E53-925E-6ED22A5EDB2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923" y="3821922"/>
            <a:ext cx="10850562" cy="2469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11477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3168651" cy="1028699"/>
          </a:xfrm>
        </p:spPr>
        <p:txBody>
          <a:bodyPr/>
          <a:lstStyle/>
          <a:p>
            <a:pPr>
              <a:lnSpc>
                <a:spcPct val="130000"/>
              </a:lnSpc>
            </a:pPr>
            <a:r>
              <a:rPr lang="zh-CN" altLang="en-US" dirty="0">
                <a:latin typeface=""/>
                <a:ea typeface="微软雅黑" panose="020B0503020204020204" pitchFamily="34" charset="-122"/>
                <a:sym typeface=""/>
              </a:rPr>
              <a:t>影响因素分析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fld id="{5DD3DB80-B894-403A-B48E-6FDC1A72010E}" type="slidenum">
              <a:rPr lang="zh-CN" altLang="en-US" smtClean="0">
                <a:latin typeface=""/>
                <a:ea typeface="微软雅黑" panose="020B0503020204020204" pitchFamily="34" charset="-122"/>
                <a:sym typeface=""/>
              </a:rPr>
              <a:pPr>
                <a:lnSpc>
                  <a:spcPct val="130000"/>
                </a:lnSpc>
              </a:pPr>
              <a:t>8</a:t>
            </a:fld>
            <a:endParaRPr lang="zh-CN" altLang="en-US">
              <a:latin typeface=""/>
              <a:ea typeface="微软雅黑" panose="020B0503020204020204" pitchFamily="34" charset="-122"/>
              <a:sym typeface="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CA0971BC-38A5-415B-B493-961C0828F741}"/>
              </a:ext>
            </a:extLst>
          </p:cNvPr>
          <p:cNvSpPr txBox="1"/>
          <p:nvPr/>
        </p:nvSpPr>
        <p:spPr>
          <a:xfrm>
            <a:off x="6890197" y="584927"/>
            <a:ext cx="46939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具体分析的影响因素，以及男毛衫影响差异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BB37B9C4-485F-47F2-A145-C889D76CB6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7089" y="1811702"/>
            <a:ext cx="4363154" cy="1416341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3A669AD5-A44B-465E-8B7C-240484F2534B}"/>
              </a:ext>
            </a:extLst>
          </p:cNvPr>
          <p:cNvSpPr txBox="1"/>
          <p:nvPr/>
        </p:nvSpPr>
        <p:spPr>
          <a:xfrm>
            <a:off x="768927" y="3976541"/>
            <a:ext cx="412519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      使用不同主因素下的子因素预测，用子因素的变化差异大小为衡量标准；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/>
              <a:t>      </a:t>
            </a:r>
            <a:r>
              <a:rPr lang="zh-CN" altLang="en-US" dirty="0"/>
              <a:t>得到男毛衫最重要的影响因素：业态；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8E97A49E-7CB4-4F10-BB21-E91968361AE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04530" y="2222709"/>
            <a:ext cx="5736833" cy="3231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98137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ED8828E-A0EF-4472-BB3D-0C666E05F5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901" y="137717"/>
            <a:ext cx="3836968" cy="883136"/>
          </a:xfrm>
        </p:spPr>
        <p:txBody>
          <a:bodyPr/>
          <a:lstStyle/>
          <a:p>
            <a:r>
              <a:rPr lang="zh-CN" altLang="en-US" dirty="0"/>
              <a:t>业态结构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D3ED6994-CAF6-4997-97CD-ABF561A13E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FF3A69E0-5EE9-489B-8890-9EF4CB4A2681}"/>
              </a:ext>
            </a:extLst>
          </p:cNvPr>
          <p:cNvSpPr txBox="1"/>
          <p:nvPr/>
        </p:nvSpPr>
        <p:spPr>
          <a:xfrm>
            <a:off x="154236" y="2637431"/>
            <a:ext cx="461665" cy="2076165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/>
              <a:t>y:</a:t>
            </a:r>
            <a:r>
              <a:rPr lang="zh-CN" altLang="en-US" dirty="0"/>
              <a:t>规模占比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EED607C0-9A81-48BA-825F-8264858A296B}"/>
              </a:ext>
            </a:extLst>
          </p:cNvPr>
          <p:cNvSpPr txBox="1"/>
          <p:nvPr/>
        </p:nvSpPr>
        <p:spPr>
          <a:xfrm>
            <a:off x="9287684" y="6402026"/>
            <a:ext cx="14748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X:</a:t>
            </a:r>
            <a:r>
              <a:rPr lang="zh-CN" altLang="en-US" dirty="0"/>
              <a:t>结构区间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147B6D61-A029-4086-A1AC-F22B7291765A}"/>
              </a:ext>
            </a:extLst>
          </p:cNvPr>
          <p:cNvSpPr txBox="1"/>
          <p:nvPr/>
        </p:nvSpPr>
        <p:spPr>
          <a:xfrm>
            <a:off x="7334865" y="412955"/>
            <a:ext cx="3834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业态纬度：男毛衫占比变化不同；</a:t>
            </a: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C1A79F38-34F7-481A-82AA-DE2C1FC145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1514" y="1034028"/>
            <a:ext cx="10830777" cy="2389839"/>
          </a:xfrm>
          <a:prstGeom prst="rect">
            <a:avLst/>
          </a:prstGeom>
        </p:spPr>
      </p:pic>
      <p:pic>
        <p:nvPicPr>
          <p:cNvPr id="18" name="图片 17">
            <a:extLst>
              <a:ext uri="{FF2B5EF4-FFF2-40B4-BE49-F238E27FC236}">
                <a16:creationId xmlns:a16="http://schemas.microsoft.com/office/drawing/2014/main" id="{A02786D2-1A24-4E96-BB37-3AFEF26469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2843" y="3433030"/>
            <a:ext cx="10812582" cy="2816596"/>
          </a:xfrm>
          <a:prstGeom prst="rect">
            <a:avLst/>
          </a:prstGeom>
        </p:spPr>
      </p:pic>
      <p:sp>
        <p:nvSpPr>
          <p:cNvPr id="22" name="rotating-arrows-circle_50446">
            <a:extLst>
              <a:ext uri="{FF2B5EF4-FFF2-40B4-BE49-F238E27FC236}">
                <a16:creationId xmlns:a16="http://schemas.microsoft.com/office/drawing/2014/main" id="{806DAEA3-6D36-49D5-8DA3-E1F878735B28}"/>
              </a:ext>
            </a:extLst>
          </p:cNvPr>
          <p:cNvSpPr>
            <a:spLocks noChangeAspect="1"/>
          </p:cNvSpPr>
          <p:nvPr/>
        </p:nvSpPr>
        <p:spPr bwMode="auto">
          <a:xfrm>
            <a:off x="1906037" y="4816203"/>
            <a:ext cx="488618" cy="487825"/>
          </a:xfrm>
          <a:custGeom>
            <a:avLst/>
            <a:gdLst>
              <a:gd name="connsiteX0" fmla="*/ 460696 w 608556"/>
              <a:gd name="connsiteY0" fmla="*/ 435530 h 607568"/>
              <a:gd name="connsiteX1" fmla="*/ 506378 w 608556"/>
              <a:gd name="connsiteY1" fmla="*/ 472847 h 607568"/>
              <a:gd name="connsiteX2" fmla="*/ 317397 w 608556"/>
              <a:gd name="connsiteY2" fmla="*/ 566140 h 607568"/>
              <a:gd name="connsiteX3" fmla="*/ 317397 w 608556"/>
              <a:gd name="connsiteY3" fmla="*/ 607568 h 607568"/>
              <a:gd name="connsiteX4" fmla="*/ 194761 w 608556"/>
              <a:gd name="connsiteY4" fmla="*/ 536887 h 607568"/>
              <a:gd name="connsiteX5" fmla="*/ 317397 w 608556"/>
              <a:gd name="connsiteY5" fmla="*/ 466127 h 607568"/>
              <a:gd name="connsiteX6" fmla="*/ 317397 w 608556"/>
              <a:gd name="connsiteY6" fmla="*/ 507160 h 607568"/>
              <a:gd name="connsiteX7" fmla="*/ 460696 w 608556"/>
              <a:gd name="connsiteY7" fmla="*/ 435530 h 607568"/>
              <a:gd name="connsiteX8" fmla="*/ 70847 w 608556"/>
              <a:gd name="connsiteY8" fmla="*/ 194478 h 607568"/>
              <a:gd name="connsiteX9" fmla="*/ 141616 w 608556"/>
              <a:gd name="connsiteY9" fmla="*/ 316919 h 607568"/>
              <a:gd name="connsiteX10" fmla="*/ 100532 w 608556"/>
              <a:gd name="connsiteY10" fmla="*/ 316919 h 607568"/>
              <a:gd name="connsiteX11" fmla="*/ 172250 w 608556"/>
              <a:gd name="connsiteY11" fmla="*/ 459992 h 607568"/>
              <a:gd name="connsiteX12" fmla="*/ 134966 w 608556"/>
              <a:gd name="connsiteY12" fmla="*/ 505601 h 607568"/>
              <a:gd name="connsiteX13" fmla="*/ 41479 w 608556"/>
              <a:gd name="connsiteY13" fmla="*/ 316919 h 607568"/>
              <a:gd name="connsiteX14" fmla="*/ 0 w 608556"/>
              <a:gd name="connsiteY14" fmla="*/ 316919 h 607568"/>
              <a:gd name="connsiteX15" fmla="*/ 473614 w 608556"/>
              <a:gd name="connsiteY15" fmla="*/ 101967 h 607568"/>
              <a:gd name="connsiteX16" fmla="*/ 567060 w 608556"/>
              <a:gd name="connsiteY16" fmla="*/ 290643 h 607568"/>
              <a:gd name="connsiteX17" fmla="*/ 608556 w 608556"/>
              <a:gd name="connsiteY17" fmla="*/ 290643 h 607568"/>
              <a:gd name="connsiteX18" fmla="*/ 537759 w 608556"/>
              <a:gd name="connsiteY18" fmla="*/ 413160 h 607568"/>
              <a:gd name="connsiteX19" fmla="*/ 466882 w 608556"/>
              <a:gd name="connsiteY19" fmla="*/ 290643 h 607568"/>
              <a:gd name="connsiteX20" fmla="*/ 507983 w 608556"/>
              <a:gd name="connsiteY20" fmla="*/ 290643 h 607568"/>
              <a:gd name="connsiteX21" fmla="*/ 436235 w 608556"/>
              <a:gd name="connsiteY21" fmla="*/ 147654 h 607568"/>
              <a:gd name="connsiteX22" fmla="*/ 291127 w 608556"/>
              <a:gd name="connsiteY22" fmla="*/ 0 h 607568"/>
              <a:gd name="connsiteX23" fmla="*/ 413866 w 608556"/>
              <a:gd name="connsiteY23" fmla="*/ 70760 h 607568"/>
              <a:gd name="connsiteX24" fmla="*/ 291127 w 608556"/>
              <a:gd name="connsiteY24" fmla="*/ 141441 h 607568"/>
              <a:gd name="connsiteX25" fmla="*/ 291127 w 608556"/>
              <a:gd name="connsiteY25" fmla="*/ 100408 h 607568"/>
              <a:gd name="connsiteX26" fmla="*/ 147878 w 608556"/>
              <a:gd name="connsiteY26" fmla="*/ 172038 h 607568"/>
              <a:gd name="connsiteX27" fmla="*/ 102108 w 608556"/>
              <a:gd name="connsiteY27" fmla="*/ 134800 h 607568"/>
              <a:gd name="connsiteX28" fmla="*/ 291127 w 608556"/>
              <a:gd name="connsiteY28" fmla="*/ 41428 h 60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608556" h="607568">
                <a:moveTo>
                  <a:pt x="460696" y="435530"/>
                </a:moveTo>
                <a:lnTo>
                  <a:pt x="506378" y="472847"/>
                </a:lnTo>
                <a:cubicBezTo>
                  <a:pt x="459509" y="530088"/>
                  <a:pt x="391026" y="563768"/>
                  <a:pt x="317397" y="566140"/>
                </a:cubicBezTo>
                <a:lnTo>
                  <a:pt x="317397" y="607568"/>
                </a:lnTo>
                <a:lnTo>
                  <a:pt x="194761" y="536887"/>
                </a:lnTo>
                <a:lnTo>
                  <a:pt x="317397" y="466127"/>
                </a:lnTo>
                <a:lnTo>
                  <a:pt x="317397" y="507160"/>
                </a:lnTo>
                <a:cubicBezTo>
                  <a:pt x="373212" y="504788"/>
                  <a:pt x="425069" y="479014"/>
                  <a:pt x="460696" y="435530"/>
                </a:cubicBezTo>
                <a:close/>
                <a:moveTo>
                  <a:pt x="70847" y="194478"/>
                </a:moveTo>
                <a:lnTo>
                  <a:pt x="141616" y="316919"/>
                </a:lnTo>
                <a:lnTo>
                  <a:pt x="100532" y="316919"/>
                </a:lnTo>
                <a:cubicBezTo>
                  <a:pt x="102907" y="372647"/>
                  <a:pt x="128713" y="424421"/>
                  <a:pt x="172250" y="459992"/>
                </a:cubicBezTo>
                <a:lnTo>
                  <a:pt x="134966" y="505601"/>
                </a:lnTo>
                <a:cubicBezTo>
                  <a:pt x="77576" y="458806"/>
                  <a:pt x="43854" y="390432"/>
                  <a:pt x="41479" y="316919"/>
                </a:cubicBezTo>
                <a:lnTo>
                  <a:pt x="0" y="316919"/>
                </a:lnTo>
                <a:close/>
                <a:moveTo>
                  <a:pt x="473614" y="101967"/>
                </a:moveTo>
                <a:cubicBezTo>
                  <a:pt x="530948" y="148761"/>
                  <a:pt x="564684" y="217133"/>
                  <a:pt x="567060" y="290643"/>
                </a:cubicBezTo>
                <a:lnTo>
                  <a:pt x="608556" y="290643"/>
                </a:lnTo>
                <a:lnTo>
                  <a:pt x="537759" y="413160"/>
                </a:lnTo>
                <a:lnTo>
                  <a:pt x="466882" y="290643"/>
                </a:lnTo>
                <a:lnTo>
                  <a:pt x="507983" y="290643"/>
                </a:lnTo>
                <a:cubicBezTo>
                  <a:pt x="505607" y="234918"/>
                  <a:pt x="479790" y="183144"/>
                  <a:pt x="436235" y="147654"/>
                </a:cubicBezTo>
                <a:close/>
                <a:moveTo>
                  <a:pt x="291127" y="0"/>
                </a:moveTo>
                <a:lnTo>
                  <a:pt x="413866" y="70760"/>
                </a:lnTo>
                <a:lnTo>
                  <a:pt x="291127" y="141441"/>
                </a:lnTo>
                <a:lnTo>
                  <a:pt x="291127" y="100408"/>
                </a:lnTo>
                <a:cubicBezTo>
                  <a:pt x="235300" y="102780"/>
                  <a:pt x="183433" y="128554"/>
                  <a:pt x="147878" y="172038"/>
                </a:cubicBezTo>
                <a:lnTo>
                  <a:pt x="102108" y="134800"/>
                </a:lnTo>
                <a:cubicBezTo>
                  <a:pt x="148987" y="77480"/>
                  <a:pt x="217483" y="43800"/>
                  <a:pt x="291127" y="41428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</p:sp>
      <p:sp>
        <p:nvSpPr>
          <p:cNvPr id="24" name="文本框 1">
            <a:extLst>
              <a:ext uri="{FF2B5EF4-FFF2-40B4-BE49-F238E27FC236}">
                <a16:creationId xmlns:a16="http://schemas.microsoft.com/office/drawing/2014/main" id="{DAF226DE-558B-406D-B63A-B9C48C3F0DFC}"/>
              </a:ext>
            </a:extLst>
          </p:cNvPr>
          <p:cNvSpPr txBox="1"/>
          <p:nvPr/>
        </p:nvSpPr>
        <p:spPr>
          <a:xfrm>
            <a:off x="7151879" y="1724075"/>
            <a:ext cx="3836868" cy="116218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PM: </a:t>
            </a:r>
            <a:r>
              <a:rPr lang="zh-CN" altLang="en-US" sz="18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毛衫占比减少；</a:t>
            </a:r>
            <a:endParaRPr lang="en-US" altLang="zh-CN" sz="18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8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8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规模集中程度更高；</a:t>
            </a:r>
          </a:p>
        </p:txBody>
      </p:sp>
      <p:sp>
        <p:nvSpPr>
          <p:cNvPr id="25" name="文本框 1">
            <a:extLst>
              <a:ext uri="{FF2B5EF4-FFF2-40B4-BE49-F238E27FC236}">
                <a16:creationId xmlns:a16="http://schemas.microsoft.com/office/drawing/2014/main" id="{4FF6F4CB-03E6-467D-8760-083BE6712CF1}"/>
              </a:ext>
            </a:extLst>
          </p:cNvPr>
          <p:cNvSpPr txBox="1"/>
          <p:nvPr/>
        </p:nvSpPr>
        <p:spPr>
          <a:xfrm>
            <a:off x="7151879" y="4132503"/>
            <a:ext cx="3836868" cy="116218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8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商超：毛衫占比不变；</a:t>
            </a:r>
            <a:endParaRPr lang="en-US" altLang="zh-CN" sz="18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8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8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规模集中程度不变；</a:t>
            </a:r>
          </a:p>
        </p:txBody>
      </p:sp>
      <p:sp>
        <p:nvSpPr>
          <p:cNvPr id="26" name="箭头: 直角上 25">
            <a:extLst>
              <a:ext uri="{FF2B5EF4-FFF2-40B4-BE49-F238E27FC236}">
                <a16:creationId xmlns:a16="http://schemas.microsoft.com/office/drawing/2014/main" id="{E6E37E58-9341-4B7F-978C-042376D46174}"/>
              </a:ext>
            </a:extLst>
          </p:cNvPr>
          <p:cNvSpPr/>
          <p:nvPr/>
        </p:nvSpPr>
        <p:spPr>
          <a:xfrm rot="10800000" flipV="1">
            <a:off x="1906037" y="2311121"/>
            <a:ext cx="405084" cy="477035"/>
          </a:xfrm>
          <a:prstGeom prst="bentUpArrow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n>
                <a:solidFill>
                  <a:srgbClr val="FF0000"/>
                </a:solidFill>
              </a:ln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21577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THINKCELLUNDODONOTDELETE" val="0"/>
  <p:tag name="ISLIDE.THEME" val="246cb630-d477-46d4-848c-2f8f5f6f234f"/>
  <p:tag name="ISLIDE.GUIDESSETTING" val="{&quot;Id&quot;:null,&quot;Name&quot;:&quot;无&quot;,&quot;HeaderHeight&quot;:0.0,&quot;FooterHeight&quot;:0.0,&quot;SideMargin&quot;:0.0,&quot;TopMargin&quot;:0.0,&quot;BottomMargin&quot;:0.0,&quot;IntervalMargin&quot;:0.0,&quot;SettingType&quot;:&quot;System&quot;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2439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171a5da4-c0df-458e-a05c-fa476a893fdf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171a5da4-c0df-458e-a05c-fa476a893fdf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171a5da4-c0df-458e-a05c-fa476a893fdf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82189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414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70710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E12A27"/>
      </a:accent1>
      <a:accent2>
        <a:srgbClr val="E96663"/>
      </a:accent2>
      <a:accent3>
        <a:srgbClr val="225171"/>
      </a:accent3>
      <a:accent4>
        <a:srgbClr val="65A4CF"/>
      </a:accent4>
      <a:accent5>
        <a:srgbClr val="6D6E6D"/>
      </a:accent5>
      <a:accent6>
        <a:srgbClr val="A3A3A3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E12A27"/>
    </a:accent1>
    <a:accent2>
      <a:srgbClr val="E96663"/>
    </a:accent2>
    <a:accent3>
      <a:srgbClr val="225171"/>
    </a:accent3>
    <a:accent4>
      <a:srgbClr val="65A4CF"/>
    </a:accent4>
    <a:accent5>
      <a:srgbClr val="6D6E6D"/>
    </a:accent5>
    <a:accent6>
      <a:srgbClr val="A3A3A3"/>
    </a:accent6>
    <a:hlink>
      <a:srgbClr val="4472C4"/>
    </a:hlink>
    <a:folHlink>
      <a:srgbClr val="BFBFBF"/>
    </a:folHlink>
  </a:clrScheme>
</a:themeOverride>
</file>

<file path=ppt/theme/themeOverride10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E12A27"/>
    </a:accent1>
    <a:accent2>
      <a:srgbClr val="E96663"/>
    </a:accent2>
    <a:accent3>
      <a:srgbClr val="225171"/>
    </a:accent3>
    <a:accent4>
      <a:srgbClr val="65A4CF"/>
    </a:accent4>
    <a:accent5>
      <a:srgbClr val="6D6E6D"/>
    </a:accent5>
    <a:accent6>
      <a:srgbClr val="A3A3A3"/>
    </a:accent6>
    <a:hlink>
      <a:srgbClr val="4472C4"/>
    </a:hlink>
    <a:folHlink>
      <a:srgbClr val="BFBFBF"/>
    </a:folHlink>
  </a:clrScheme>
</a:themeOverride>
</file>

<file path=ppt/theme/themeOverride1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E12A27"/>
    </a:accent1>
    <a:accent2>
      <a:srgbClr val="E96663"/>
    </a:accent2>
    <a:accent3>
      <a:srgbClr val="225171"/>
    </a:accent3>
    <a:accent4>
      <a:srgbClr val="65A4CF"/>
    </a:accent4>
    <a:accent5>
      <a:srgbClr val="6D6E6D"/>
    </a:accent5>
    <a:accent6>
      <a:srgbClr val="A3A3A3"/>
    </a:accent6>
    <a:hlink>
      <a:srgbClr val="4472C4"/>
    </a:hlink>
    <a:folHlink>
      <a:srgbClr val="BFBFBF"/>
    </a:folHlink>
  </a:clr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E12A27"/>
    </a:accent1>
    <a:accent2>
      <a:srgbClr val="E96663"/>
    </a:accent2>
    <a:accent3>
      <a:srgbClr val="225171"/>
    </a:accent3>
    <a:accent4>
      <a:srgbClr val="65A4CF"/>
    </a:accent4>
    <a:accent5>
      <a:srgbClr val="6D6E6D"/>
    </a:accent5>
    <a:accent6>
      <a:srgbClr val="A3A3A3"/>
    </a:accent6>
    <a:hlink>
      <a:srgbClr val="4472C4"/>
    </a:hlink>
    <a:folHlink>
      <a:srgbClr val="BFBFBF"/>
    </a:folHlink>
  </a:clrScheme>
</a:themeOverride>
</file>

<file path=ppt/theme/themeOverride1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E12A27"/>
    </a:accent1>
    <a:accent2>
      <a:srgbClr val="E96663"/>
    </a:accent2>
    <a:accent3>
      <a:srgbClr val="225171"/>
    </a:accent3>
    <a:accent4>
      <a:srgbClr val="65A4CF"/>
    </a:accent4>
    <a:accent5>
      <a:srgbClr val="6D6E6D"/>
    </a:accent5>
    <a:accent6>
      <a:srgbClr val="A3A3A3"/>
    </a:accent6>
    <a:hlink>
      <a:srgbClr val="4472C4"/>
    </a:hlink>
    <a:folHlink>
      <a:srgbClr val="BFBFBF"/>
    </a:folHlink>
  </a:clrScheme>
</a:themeOverride>
</file>

<file path=ppt/theme/themeOverride1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E12A27"/>
    </a:accent1>
    <a:accent2>
      <a:srgbClr val="E96663"/>
    </a:accent2>
    <a:accent3>
      <a:srgbClr val="225171"/>
    </a:accent3>
    <a:accent4>
      <a:srgbClr val="65A4CF"/>
    </a:accent4>
    <a:accent5>
      <a:srgbClr val="6D6E6D"/>
    </a:accent5>
    <a:accent6>
      <a:srgbClr val="A3A3A3"/>
    </a:accent6>
    <a:hlink>
      <a:srgbClr val="4472C4"/>
    </a:hlink>
    <a:folHlink>
      <a:srgbClr val="BFBFBF"/>
    </a:folHlink>
  </a:clrScheme>
</a:themeOverride>
</file>

<file path=ppt/theme/themeOverride16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E12A27"/>
    </a:accent1>
    <a:accent2>
      <a:srgbClr val="E96663"/>
    </a:accent2>
    <a:accent3>
      <a:srgbClr val="225171"/>
    </a:accent3>
    <a:accent4>
      <a:srgbClr val="65A4CF"/>
    </a:accent4>
    <a:accent5>
      <a:srgbClr val="6D6E6D"/>
    </a:accent5>
    <a:accent6>
      <a:srgbClr val="A3A3A3"/>
    </a:accent6>
    <a:hlink>
      <a:srgbClr val="4472C4"/>
    </a:hlink>
    <a:folHlink>
      <a:srgbClr val="BFBFBF"/>
    </a:folHlink>
  </a:clrScheme>
</a:themeOverride>
</file>

<file path=ppt/theme/themeOverride17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E12A27"/>
    </a:accent1>
    <a:accent2>
      <a:srgbClr val="E96663"/>
    </a:accent2>
    <a:accent3>
      <a:srgbClr val="225171"/>
    </a:accent3>
    <a:accent4>
      <a:srgbClr val="65A4CF"/>
    </a:accent4>
    <a:accent5>
      <a:srgbClr val="6D6E6D"/>
    </a:accent5>
    <a:accent6>
      <a:srgbClr val="A3A3A3"/>
    </a:accent6>
    <a:hlink>
      <a:srgbClr val="4472C4"/>
    </a:hlink>
    <a:folHlink>
      <a:srgbClr val="BFBFBF"/>
    </a:folHlink>
  </a:clrScheme>
</a:themeOverride>
</file>

<file path=ppt/theme/themeOverride18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E12A27"/>
    </a:accent1>
    <a:accent2>
      <a:srgbClr val="E96663"/>
    </a:accent2>
    <a:accent3>
      <a:srgbClr val="225171"/>
    </a:accent3>
    <a:accent4>
      <a:srgbClr val="65A4CF"/>
    </a:accent4>
    <a:accent5>
      <a:srgbClr val="6D6E6D"/>
    </a:accent5>
    <a:accent6>
      <a:srgbClr val="A3A3A3"/>
    </a:accent6>
    <a:hlink>
      <a:srgbClr val="4472C4"/>
    </a:hlink>
    <a:folHlink>
      <a:srgbClr val="BFBFBF"/>
    </a:folHlink>
  </a:clrScheme>
</a:themeOverride>
</file>

<file path=ppt/theme/themeOverride19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E12A27"/>
    </a:accent1>
    <a:accent2>
      <a:srgbClr val="E96663"/>
    </a:accent2>
    <a:accent3>
      <a:srgbClr val="225171"/>
    </a:accent3>
    <a:accent4>
      <a:srgbClr val="65A4CF"/>
    </a:accent4>
    <a:accent5>
      <a:srgbClr val="6D6E6D"/>
    </a:accent5>
    <a:accent6>
      <a:srgbClr val="A3A3A3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E12A27"/>
    </a:accent1>
    <a:accent2>
      <a:srgbClr val="E96663"/>
    </a:accent2>
    <a:accent3>
      <a:srgbClr val="225171"/>
    </a:accent3>
    <a:accent4>
      <a:srgbClr val="65A4CF"/>
    </a:accent4>
    <a:accent5>
      <a:srgbClr val="6D6E6D"/>
    </a:accent5>
    <a:accent6>
      <a:srgbClr val="A3A3A3"/>
    </a:accent6>
    <a:hlink>
      <a:srgbClr val="4472C4"/>
    </a:hlink>
    <a:folHlink>
      <a:srgbClr val="BFBFBF"/>
    </a:folHlink>
  </a:clrScheme>
</a:themeOverride>
</file>

<file path=ppt/theme/themeOverride20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E12A27"/>
    </a:accent1>
    <a:accent2>
      <a:srgbClr val="E96663"/>
    </a:accent2>
    <a:accent3>
      <a:srgbClr val="225171"/>
    </a:accent3>
    <a:accent4>
      <a:srgbClr val="65A4CF"/>
    </a:accent4>
    <a:accent5>
      <a:srgbClr val="6D6E6D"/>
    </a:accent5>
    <a:accent6>
      <a:srgbClr val="A3A3A3"/>
    </a:accent6>
    <a:hlink>
      <a:srgbClr val="4472C4"/>
    </a:hlink>
    <a:folHlink>
      <a:srgbClr val="BFBFBF"/>
    </a:folHlink>
  </a:clrScheme>
</a:themeOverride>
</file>

<file path=ppt/theme/themeOverride2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E12A27"/>
    </a:accent1>
    <a:accent2>
      <a:srgbClr val="E96663"/>
    </a:accent2>
    <a:accent3>
      <a:srgbClr val="225171"/>
    </a:accent3>
    <a:accent4>
      <a:srgbClr val="65A4CF"/>
    </a:accent4>
    <a:accent5>
      <a:srgbClr val="6D6E6D"/>
    </a:accent5>
    <a:accent6>
      <a:srgbClr val="A3A3A3"/>
    </a:accent6>
    <a:hlink>
      <a:srgbClr val="4472C4"/>
    </a:hlink>
    <a:folHlink>
      <a:srgbClr val="BFBFBF"/>
    </a:folHlink>
  </a:clrScheme>
</a:themeOverride>
</file>

<file path=ppt/theme/themeOverride2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E12A27"/>
    </a:accent1>
    <a:accent2>
      <a:srgbClr val="E96663"/>
    </a:accent2>
    <a:accent3>
      <a:srgbClr val="225171"/>
    </a:accent3>
    <a:accent4>
      <a:srgbClr val="65A4CF"/>
    </a:accent4>
    <a:accent5>
      <a:srgbClr val="6D6E6D"/>
    </a:accent5>
    <a:accent6>
      <a:srgbClr val="A3A3A3"/>
    </a:accent6>
    <a:hlink>
      <a:srgbClr val="4472C4"/>
    </a:hlink>
    <a:folHlink>
      <a:srgbClr val="BFBFBF"/>
    </a:folHlink>
  </a:clrScheme>
</a:themeOverride>
</file>

<file path=ppt/theme/themeOverride2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E12A27"/>
    </a:accent1>
    <a:accent2>
      <a:srgbClr val="E96663"/>
    </a:accent2>
    <a:accent3>
      <a:srgbClr val="225171"/>
    </a:accent3>
    <a:accent4>
      <a:srgbClr val="65A4CF"/>
    </a:accent4>
    <a:accent5>
      <a:srgbClr val="6D6E6D"/>
    </a:accent5>
    <a:accent6>
      <a:srgbClr val="A3A3A3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E12A27"/>
    </a:accent1>
    <a:accent2>
      <a:srgbClr val="E96663"/>
    </a:accent2>
    <a:accent3>
      <a:srgbClr val="225171"/>
    </a:accent3>
    <a:accent4>
      <a:srgbClr val="65A4CF"/>
    </a:accent4>
    <a:accent5>
      <a:srgbClr val="6D6E6D"/>
    </a:accent5>
    <a:accent6>
      <a:srgbClr val="A3A3A3"/>
    </a:accent6>
    <a:hlink>
      <a:srgbClr val="4472C4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E12A27"/>
    </a:accent1>
    <a:accent2>
      <a:srgbClr val="E96663"/>
    </a:accent2>
    <a:accent3>
      <a:srgbClr val="225171"/>
    </a:accent3>
    <a:accent4>
      <a:srgbClr val="65A4CF"/>
    </a:accent4>
    <a:accent5>
      <a:srgbClr val="6D6E6D"/>
    </a:accent5>
    <a:accent6>
      <a:srgbClr val="A3A3A3"/>
    </a:accent6>
    <a:hlink>
      <a:srgbClr val="4472C4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E12A27"/>
    </a:accent1>
    <a:accent2>
      <a:srgbClr val="E96663"/>
    </a:accent2>
    <a:accent3>
      <a:srgbClr val="225171"/>
    </a:accent3>
    <a:accent4>
      <a:srgbClr val="65A4CF"/>
    </a:accent4>
    <a:accent5>
      <a:srgbClr val="6D6E6D"/>
    </a:accent5>
    <a:accent6>
      <a:srgbClr val="A3A3A3"/>
    </a:accent6>
    <a:hlink>
      <a:srgbClr val="4472C4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E12A27"/>
    </a:accent1>
    <a:accent2>
      <a:srgbClr val="E96663"/>
    </a:accent2>
    <a:accent3>
      <a:srgbClr val="225171"/>
    </a:accent3>
    <a:accent4>
      <a:srgbClr val="65A4CF"/>
    </a:accent4>
    <a:accent5>
      <a:srgbClr val="6D6E6D"/>
    </a:accent5>
    <a:accent6>
      <a:srgbClr val="A3A3A3"/>
    </a:accent6>
    <a:hlink>
      <a:srgbClr val="4472C4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E12A27"/>
    </a:accent1>
    <a:accent2>
      <a:srgbClr val="E96663"/>
    </a:accent2>
    <a:accent3>
      <a:srgbClr val="225171"/>
    </a:accent3>
    <a:accent4>
      <a:srgbClr val="65A4CF"/>
    </a:accent4>
    <a:accent5>
      <a:srgbClr val="6D6E6D"/>
    </a:accent5>
    <a:accent6>
      <a:srgbClr val="A3A3A3"/>
    </a:accent6>
    <a:hlink>
      <a:srgbClr val="4472C4"/>
    </a:hlink>
    <a:folHlink>
      <a:srgbClr val="BFBFBF"/>
    </a:folHlink>
  </a:clrScheme>
</a:themeOverride>
</file>

<file path=ppt/theme/themeOverride8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E12A27"/>
    </a:accent1>
    <a:accent2>
      <a:srgbClr val="E96663"/>
    </a:accent2>
    <a:accent3>
      <a:srgbClr val="225171"/>
    </a:accent3>
    <a:accent4>
      <a:srgbClr val="65A4CF"/>
    </a:accent4>
    <a:accent5>
      <a:srgbClr val="6D6E6D"/>
    </a:accent5>
    <a:accent6>
      <a:srgbClr val="A3A3A3"/>
    </a:accent6>
    <a:hlink>
      <a:srgbClr val="4472C4"/>
    </a:hlink>
    <a:folHlink>
      <a:srgbClr val="BFBFBF"/>
    </a:folHlink>
  </a:clrScheme>
</a:themeOverride>
</file>

<file path=ppt/theme/themeOverride9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E12A27"/>
    </a:accent1>
    <a:accent2>
      <a:srgbClr val="E96663"/>
    </a:accent2>
    <a:accent3>
      <a:srgbClr val="225171"/>
    </a:accent3>
    <a:accent4>
      <a:srgbClr val="65A4CF"/>
    </a:accent4>
    <a:accent5>
      <a:srgbClr val="6D6E6D"/>
    </a:accent5>
    <a:accent6>
      <a:srgbClr val="A3A3A3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498</TotalTime>
  <Words>870</Words>
  <Application>Microsoft Office PowerPoint</Application>
  <PresentationFormat>宽屏</PresentationFormat>
  <Paragraphs>160</Paragraphs>
  <Slides>22</Slides>
  <Notes>3</Notes>
  <HiddenSlides>2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2</vt:i4>
      </vt:variant>
    </vt:vector>
  </HeadingPairs>
  <TitlesOfParts>
    <vt:vector size="29" baseType="lpstr">
      <vt:lpstr>微软雅黑</vt:lpstr>
      <vt:lpstr>Arial</vt:lpstr>
      <vt:lpstr>Calibri</vt:lpstr>
      <vt:lpstr>Impact</vt:lpstr>
      <vt:lpstr>Wingdings</vt:lpstr>
      <vt:lpstr>主题5</vt:lpstr>
      <vt:lpstr>think-cell Slide</vt:lpstr>
      <vt:lpstr>20秋品类结构预估</vt:lpstr>
      <vt:lpstr>重点结论</vt:lpstr>
      <vt:lpstr>提纲</vt:lpstr>
      <vt:lpstr>项目背景分析</vt:lpstr>
      <vt:lpstr>项目背景介绍——结构预测</vt:lpstr>
      <vt:lpstr>PowerPoint 演示文稿</vt:lpstr>
      <vt:lpstr>结构变化拆解</vt:lpstr>
      <vt:lpstr>影响因素分析</vt:lpstr>
      <vt:lpstr>业态结构</vt:lpstr>
      <vt:lpstr>业态结构</vt:lpstr>
      <vt:lpstr>业态规模</vt:lpstr>
      <vt:lpstr>男毛衫-业态综合变化</vt:lpstr>
      <vt:lpstr>最终结果趋势</vt:lpstr>
      <vt:lpstr>模型原理</vt:lpstr>
      <vt:lpstr>项目背景介绍——思路汇总</vt:lpstr>
      <vt:lpstr>整体结构准确率</vt:lpstr>
      <vt:lpstr>模型效果</vt:lpstr>
      <vt:lpstr>20秋品类结构变化</vt:lpstr>
      <vt:lpstr>20秋结构变化原因</vt:lpstr>
      <vt:lpstr>20秋品类结构预估</vt:lpstr>
      <vt:lpstr>Thanks  </vt:lpstr>
      <vt:lpstr>影响因素变化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zhh</cp:lastModifiedBy>
  <cp:revision>148</cp:revision>
  <cp:lastPrinted>2018-10-30T16:00:00Z</cp:lastPrinted>
  <dcterms:created xsi:type="dcterms:W3CDTF">2018-10-30T16:00:00Z</dcterms:created>
  <dcterms:modified xsi:type="dcterms:W3CDTF">2019-07-22T06:55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